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2.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3.xml" ContentType="application/vnd.openxmlformats-officedocument.presentationml.notesSlide+xml"/>
  <Override PartName="/ppt/tags/tag82.xml" ContentType="application/vnd.openxmlformats-officedocument.presentationml.tags+xml"/>
  <Override PartName="/ppt/notesSlides/notesSlide4.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5.xml" ContentType="application/vnd.openxmlformats-officedocument.presentationml.notesSlide+xml"/>
  <Override PartName="/ppt/tags/tag86.xml" ContentType="application/vnd.openxmlformats-officedocument.presentationml.tags+xml"/>
  <Override PartName="/ppt/notesSlides/notesSlide6.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charts/chart1.xml" ContentType="application/vnd.openxmlformats-officedocument.drawingml.chart+xml"/>
  <Override PartName="/ppt/tags/tag91.xml" ContentType="application/vnd.openxmlformats-officedocument.presentationml.tags+xml"/>
  <Override PartName="/ppt/tags/tag92.xml" ContentType="application/vnd.openxmlformats-officedocument.presentationml.tags+xml"/>
  <Override PartName="/ppt/charts/chart2.xml" ContentType="application/vnd.openxmlformats-officedocument.drawingml.chart+xml"/>
  <Override PartName="/ppt/tags/tag93.xml" ContentType="application/vnd.openxmlformats-officedocument.presentationml.tags+xml"/>
  <Override PartName="/ppt/tags/tag94.xml" ContentType="application/vnd.openxmlformats-officedocument.presentationml.tags+xml"/>
  <Override PartName="/ppt/charts/chart3.xml" ContentType="application/vnd.openxmlformats-officedocument.drawingml.chart+xml"/>
  <Override PartName="/ppt/tags/tag95.xml" ContentType="application/vnd.openxmlformats-officedocument.presentationml.tags+xml"/>
  <Override PartName="/ppt/tags/tag96.xml" ContentType="application/vnd.openxmlformats-officedocument.presentationml.tags+xml"/>
  <Override PartName="/ppt/charts/chart4.xml" ContentType="application/vnd.openxmlformats-officedocument.drawingml.chart+xml"/>
  <Override PartName="/ppt/tags/tag97.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98.xml" ContentType="application/vnd.openxmlformats-officedocument.presentationml.tags+xml"/>
  <Override PartName="/ppt/notesSlides/notesSlide8.xml" ContentType="application/vnd.openxmlformats-officedocument.presentationml.notesSlide+xml"/>
  <Override PartName="/ppt/charts/chart7.xml" ContentType="application/vnd.openxmlformats-officedocument.drawingml.chart+xml"/>
  <Override PartName="/ppt/charts/style1.xml" ContentType="application/vnd.ms-office.chartstyle+xml"/>
  <Override PartName="/ppt/charts/colors1.xml" ContentType="application/vnd.ms-office.chartcolorstyle+xml"/>
  <Override PartName="/ppt/tags/tag99.xml" ContentType="application/vnd.openxmlformats-officedocument.presentationml.tags+xml"/>
  <Override PartName="/ppt/charts/chart8.xml" ContentType="application/vnd.openxmlformats-officedocument.drawingml.chart+xml"/>
  <Override PartName="/ppt/charts/style2.xml" ContentType="application/vnd.ms-office.chartstyle+xml"/>
  <Override PartName="/ppt/charts/colors2.xml" ContentType="application/vnd.ms-office.chartcolorstyle+xml"/>
  <Override PartName="/ppt/tags/tag100.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tags/tag101.xml" ContentType="application/vnd.openxmlformats-officedocument.presentationml.tags+xml"/>
  <Override PartName="/ppt/notesSlides/notesSlide10.xml" ContentType="application/vnd.openxmlformats-officedocument.presentationml.notesSlide+xml"/>
  <Override PartName="/ppt/charts/chart11.xml" ContentType="application/vnd.openxmlformats-officedocument.drawingml.chart+xml"/>
  <Override PartName="/ppt/charts/style5.xml" ContentType="application/vnd.ms-office.chartstyle+xml"/>
  <Override PartName="/ppt/charts/colors5.xml" ContentType="application/vnd.ms-office.chartcolorstyle+xml"/>
  <Override PartName="/ppt/charts/chart12.xml" ContentType="application/vnd.openxmlformats-officedocument.drawingml.chart+xml"/>
  <Override PartName="/ppt/charts/style6.xml" ContentType="application/vnd.ms-office.chartstyle+xml"/>
  <Override PartName="/ppt/charts/colors6.xml" ContentType="application/vnd.ms-office.chartcolorstyle+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microsoft.com/office/2006/relationships/ui/userCustomization" Target="userCustomization/customUI.xml"/><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1" r:id="rId19"/>
  </p:sldMasterIdLst>
  <p:notesMasterIdLst>
    <p:notesMasterId r:id="rId127"/>
  </p:notesMasterIdLst>
  <p:handoutMasterIdLst>
    <p:handoutMasterId r:id="rId128"/>
  </p:handoutMasterIdLst>
  <p:sldIdLst>
    <p:sldId id="2147483645" r:id="rId20"/>
    <p:sldId id="280" r:id="rId21"/>
    <p:sldId id="269" r:id="rId22"/>
    <p:sldId id="2147483644" r:id="rId23"/>
    <p:sldId id="327" r:id="rId24"/>
    <p:sldId id="2147478465" r:id="rId25"/>
    <p:sldId id="285" r:id="rId26"/>
    <p:sldId id="296" r:id="rId27"/>
    <p:sldId id="325" r:id="rId28"/>
    <p:sldId id="291" r:id="rId29"/>
    <p:sldId id="434" r:id="rId30"/>
    <p:sldId id="454" r:id="rId31"/>
    <p:sldId id="2147478463" r:id="rId32"/>
    <p:sldId id="271" r:id="rId33"/>
    <p:sldId id="394" r:id="rId34"/>
    <p:sldId id="348" r:id="rId35"/>
    <p:sldId id="396" r:id="rId36"/>
    <p:sldId id="347" r:id="rId37"/>
    <p:sldId id="358" r:id="rId38"/>
    <p:sldId id="359" r:id="rId39"/>
    <p:sldId id="259" r:id="rId40"/>
    <p:sldId id="261" r:id="rId41"/>
    <p:sldId id="262" r:id="rId42"/>
    <p:sldId id="270" r:id="rId43"/>
    <p:sldId id="2147478490" r:id="rId44"/>
    <p:sldId id="2147483646" r:id="rId45"/>
    <p:sldId id="263" r:id="rId46"/>
    <p:sldId id="2147478481" r:id="rId47"/>
    <p:sldId id="2147478480" r:id="rId48"/>
    <p:sldId id="330" r:id="rId49"/>
    <p:sldId id="2147478474" r:id="rId50"/>
    <p:sldId id="2147478491" r:id="rId51"/>
    <p:sldId id="288" r:id="rId52"/>
    <p:sldId id="281" r:id="rId53"/>
    <p:sldId id="265" r:id="rId54"/>
    <p:sldId id="2147483647" r:id="rId55"/>
    <p:sldId id="284" r:id="rId56"/>
    <p:sldId id="337" r:id="rId57"/>
    <p:sldId id="273" r:id="rId58"/>
    <p:sldId id="274" r:id="rId59"/>
    <p:sldId id="276" r:id="rId60"/>
    <p:sldId id="277" r:id="rId61"/>
    <p:sldId id="413" r:id="rId62"/>
    <p:sldId id="438" r:id="rId63"/>
    <p:sldId id="385" r:id="rId64"/>
    <p:sldId id="2147478467" r:id="rId65"/>
    <p:sldId id="2147478468" r:id="rId66"/>
    <p:sldId id="2147478470" r:id="rId67"/>
    <p:sldId id="2147478479" r:id="rId68"/>
    <p:sldId id="2147483642" r:id="rId69"/>
    <p:sldId id="287" r:id="rId70"/>
    <p:sldId id="384" r:id="rId71"/>
    <p:sldId id="338" r:id="rId72"/>
    <p:sldId id="329" r:id="rId73"/>
    <p:sldId id="335" r:id="rId74"/>
    <p:sldId id="411" r:id="rId75"/>
    <p:sldId id="379" r:id="rId76"/>
    <p:sldId id="302" r:id="rId77"/>
    <p:sldId id="256" r:id="rId78"/>
    <p:sldId id="299" r:id="rId79"/>
    <p:sldId id="260" r:id="rId80"/>
    <p:sldId id="268" r:id="rId81"/>
    <p:sldId id="336" r:id="rId82"/>
    <p:sldId id="266" r:id="rId83"/>
    <p:sldId id="282" r:id="rId84"/>
    <p:sldId id="257" r:id="rId85"/>
    <p:sldId id="2147478487" r:id="rId86"/>
    <p:sldId id="2147478484" r:id="rId87"/>
    <p:sldId id="2147478476" r:id="rId88"/>
    <p:sldId id="2147478475" r:id="rId89"/>
    <p:sldId id="2147478486" r:id="rId90"/>
    <p:sldId id="2147478477" r:id="rId91"/>
    <p:sldId id="2147478478" r:id="rId92"/>
    <p:sldId id="2147478489" r:id="rId93"/>
    <p:sldId id="264" r:id="rId94"/>
    <p:sldId id="391" r:id="rId95"/>
    <p:sldId id="297" r:id="rId96"/>
    <p:sldId id="305" r:id="rId97"/>
    <p:sldId id="382" r:id="rId98"/>
    <p:sldId id="279" r:id="rId99"/>
    <p:sldId id="459" r:id="rId100"/>
    <p:sldId id="301" r:id="rId101"/>
    <p:sldId id="457" r:id="rId102"/>
    <p:sldId id="456" r:id="rId103"/>
    <p:sldId id="306" r:id="rId104"/>
    <p:sldId id="307" r:id="rId105"/>
    <p:sldId id="308" r:id="rId106"/>
    <p:sldId id="309" r:id="rId107"/>
    <p:sldId id="310" r:id="rId108"/>
    <p:sldId id="321" r:id="rId109"/>
    <p:sldId id="289" r:id="rId110"/>
    <p:sldId id="314" r:id="rId111"/>
    <p:sldId id="312" r:id="rId112"/>
    <p:sldId id="258" r:id="rId113"/>
    <p:sldId id="275" r:id="rId114"/>
    <p:sldId id="295" r:id="rId115"/>
    <p:sldId id="316" r:id="rId116"/>
    <p:sldId id="272" r:id="rId117"/>
    <p:sldId id="2147478469" r:id="rId118"/>
    <p:sldId id="323" r:id="rId119"/>
    <p:sldId id="398" r:id="rId120"/>
    <p:sldId id="298" r:id="rId121"/>
    <p:sldId id="267" r:id="rId122"/>
    <p:sldId id="278" r:id="rId123"/>
    <p:sldId id="283" r:id="rId124"/>
    <p:sldId id="290" r:id="rId125"/>
    <p:sldId id="292" r:id="rId126"/>
  </p:sldIdLst>
  <p:sldSz cx="12855575" cy="7231063"/>
  <p:notesSz cx="6794500" cy="9906000"/>
  <p:custDataLst>
    <p:tags r:id="rId129"/>
  </p:custDataLst>
  <p:defaultTextStyle>
    <a:defPPr>
      <a:defRPr lang="de-CH"/>
    </a:defPPr>
    <a:lvl1pPr algn="l" rtl="0" fontAlgn="base">
      <a:spcBef>
        <a:spcPct val="20000"/>
      </a:spcBef>
      <a:spcAft>
        <a:spcPct val="0"/>
      </a:spcAft>
      <a:defRPr sz="6303" kern="1200">
        <a:solidFill>
          <a:schemeClr val="tx1"/>
        </a:solidFill>
        <a:latin typeface="Frutiger for ZKB Light" pitchFamily="2" charset="0"/>
        <a:ea typeface="+mn-ea"/>
        <a:cs typeface="+mn-cs"/>
      </a:defRPr>
    </a:lvl1pPr>
    <a:lvl2pPr marL="1217814" algn="l" rtl="0" fontAlgn="base">
      <a:spcBef>
        <a:spcPct val="20000"/>
      </a:spcBef>
      <a:spcAft>
        <a:spcPct val="0"/>
      </a:spcAft>
      <a:defRPr sz="6303" kern="1200">
        <a:solidFill>
          <a:schemeClr val="tx1"/>
        </a:solidFill>
        <a:latin typeface="Frutiger for ZKB Light" pitchFamily="2" charset="0"/>
        <a:ea typeface="+mn-ea"/>
        <a:cs typeface="+mn-cs"/>
      </a:defRPr>
    </a:lvl2pPr>
    <a:lvl3pPr marL="2435629" algn="l" rtl="0" fontAlgn="base">
      <a:spcBef>
        <a:spcPct val="20000"/>
      </a:spcBef>
      <a:spcAft>
        <a:spcPct val="0"/>
      </a:spcAft>
      <a:defRPr sz="6303" kern="1200">
        <a:solidFill>
          <a:schemeClr val="tx1"/>
        </a:solidFill>
        <a:latin typeface="Frutiger for ZKB Light" pitchFamily="2" charset="0"/>
        <a:ea typeface="+mn-ea"/>
        <a:cs typeface="+mn-cs"/>
      </a:defRPr>
    </a:lvl3pPr>
    <a:lvl4pPr marL="3653444" algn="l" rtl="0" fontAlgn="base">
      <a:spcBef>
        <a:spcPct val="20000"/>
      </a:spcBef>
      <a:spcAft>
        <a:spcPct val="0"/>
      </a:spcAft>
      <a:defRPr sz="6303" kern="1200">
        <a:solidFill>
          <a:schemeClr val="tx1"/>
        </a:solidFill>
        <a:latin typeface="Frutiger for ZKB Light" pitchFamily="2" charset="0"/>
        <a:ea typeface="+mn-ea"/>
        <a:cs typeface="+mn-cs"/>
      </a:defRPr>
    </a:lvl4pPr>
    <a:lvl5pPr marL="4871259" algn="l" rtl="0" fontAlgn="base">
      <a:spcBef>
        <a:spcPct val="20000"/>
      </a:spcBef>
      <a:spcAft>
        <a:spcPct val="0"/>
      </a:spcAft>
      <a:defRPr sz="6303" kern="1200">
        <a:solidFill>
          <a:schemeClr val="tx1"/>
        </a:solidFill>
        <a:latin typeface="Frutiger for ZKB Light" pitchFamily="2" charset="0"/>
        <a:ea typeface="+mn-ea"/>
        <a:cs typeface="+mn-cs"/>
      </a:defRPr>
    </a:lvl5pPr>
    <a:lvl6pPr marL="6089073" algn="l" defTabSz="2435629" rtl="0" eaLnBrk="1" latinLnBrk="0" hangingPunct="1">
      <a:defRPr sz="6303" kern="1200">
        <a:solidFill>
          <a:schemeClr val="tx1"/>
        </a:solidFill>
        <a:latin typeface="Frutiger for ZKB Light" pitchFamily="2" charset="0"/>
        <a:ea typeface="+mn-ea"/>
        <a:cs typeface="+mn-cs"/>
      </a:defRPr>
    </a:lvl6pPr>
    <a:lvl7pPr marL="7306889" algn="l" defTabSz="2435629" rtl="0" eaLnBrk="1" latinLnBrk="0" hangingPunct="1">
      <a:defRPr sz="6303" kern="1200">
        <a:solidFill>
          <a:schemeClr val="tx1"/>
        </a:solidFill>
        <a:latin typeface="Frutiger for ZKB Light" pitchFamily="2" charset="0"/>
        <a:ea typeface="+mn-ea"/>
        <a:cs typeface="+mn-cs"/>
      </a:defRPr>
    </a:lvl7pPr>
    <a:lvl8pPr marL="8524703" algn="l" defTabSz="2435629" rtl="0" eaLnBrk="1" latinLnBrk="0" hangingPunct="1">
      <a:defRPr sz="6303" kern="1200">
        <a:solidFill>
          <a:schemeClr val="tx1"/>
        </a:solidFill>
        <a:latin typeface="Frutiger for ZKB Light" pitchFamily="2" charset="0"/>
        <a:ea typeface="+mn-ea"/>
        <a:cs typeface="+mn-cs"/>
      </a:defRPr>
    </a:lvl8pPr>
    <a:lvl9pPr marL="9742519" algn="l" defTabSz="2435629" rtl="0" eaLnBrk="1" latinLnBrk="0" hangingPunct="1">
      <a:defRPr sz="6303" kern="1200">
        <a:solidFill>
          <a:schemeClr val="tx1"/>
        </a:solidFill>
        <a:latin typeface="Frutiger for ZKB Light" pitchFamily="2" charset="0"/>
        <a:ea typeface="+mn-ea"/>
        <a:cs typeface="+mn-cs"/>
      </a:defRPr>
    </a:lvl9pPr>
  </p:defaultTextStyle>
  <p:extLst>
    <p:ext uri="{EFAFB233-063F-42B5-8137-9DF3F51BA10A}">
      <p15:sldGuideLst xmlns:p15="http://schemas.microsoft.com/office/powerpoint/2012/main">
        <p15:guide id="1" orient="horz" pos="2685" userDrawn="1">
          <p15:clr>
            <a:srgbClr val="A4A3A4"/>
          </p15:clr>
        </p15:guide>
        <p15:guide id="2" orient="horz" pos="871" userDrawn="1">
          <p15:clr>
            <a:srgbClr val="A4A3A4"/>
          </p15:clr>
        </p15:guide>
        <p15:guide id="3" orient="horz" pos="327" userDrawn="1">
          <p15:clr>
            <a:srgbClr val="A4A3A4"/>
          </p15:clr>
        </p15:guide>
        <p15:guide id="4" pos="447" userDrawn="1">
          <p15:clr>
            <a:srgbClr val="A4A3A4"/>
          </p15:clr>
        </p15:guide>
        <p15:guide id="5" pos="5455" userDrawn="1">
          <p15:clr>
            <a:srgbClr val="A4A3A4"/>
          </p15:clr>
        </p15:guide>
        <p15:guide id="6" orient="horz" pos="1461" userDrawn="1">
          <p15:clr>
            <a:srgbClr val="A4A3A4"/>
          </p15:clr>
        </p15:guide>
        <p15:guide id="7" pos="4340" userDrawn="1">
          <p15:clr>
            <a:srgbClr val="A4A3A4"/>
          </p15:clr>
        </p15:guide>
        <p15:guide id="8" pos="5271" userDrawn="1">
          <p15:clr>
            <a:srgbClr val="A4A3A4"/>
          </p15:clr>
        </p15:guide>
      </p15:sldGuideLst>
    </p:ext>
    <p:ext uri="{2D200454-40CA-4A62-9FC3-DE9A4176ACB9}">
      <p15:notesGuideLst xmlns:p15="http://schemas.microsoft.com/office/powerpoint/2012/main">
        <p15:guide id="1" orient="horz" pos="3120">
          <p15:clr>
            <a:srgbClr val="A4A3A4"/>
          </p15:clr>
        </p15:guide>
        <p15:guide id="2" pos="214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737"/>
    <a:srgbClr val="F0EA00"/>
    <a:srgbClr val="1964C8"/>
    <a:srgbClr val="FF0000"/>
    <a:srgbClr val="103C12"/>
    <a:srgbClr val="646200"/>
    <a:srgbClr val="640000"/>
    <a:srgbClr val="34C63B"/>
    <a:srgbClr val="36C436"/>
    <a:srgbClr val="DDDD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5758FB7-9AC5-4552-8A53-C91805E547FA}" styleName="Designformatvorlage 1 - Akz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DA37D80-6434-44D0-A028-1B22A696006F}" styleName="Helle Formatvorlage 3 - Akz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4" autoAdjust="0"/>
    <p:restoredTop sz="90135" autoAdjust="0"/>
  </p:normalViewPr>
  <p:slideViewPr>
    <p:cSldViewPr>
      <p:cViewPr varScale="1">
        <p:scale>
          <a:sx n="63" d="100"/>
          <a:sy n="63" d="100"/>
        </p:scale>
        <p:origin x="92" y="220"/>
      </p:cViewPr>
      <p:guideLst>
        <p:guide orient="horz" pos="2685"/>
        <p:guide orient="horz" pos="871"/>
        <p:guide orient="horz" pos="327"/>
        <p:guide pos="447"/>
        <p:guide pos="5455"/>
        <p:guide orient="horz" pos="1461"/>
        <p:guide pos="4340"/>
        <p:guide pos="5271"/>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p:cViewPr varScale="1">
        <p:scale>
          <a:sx n="83" d="100"/>
          <a:sy n="83" d="100"/>
        </p:scale>
        <p:origin x="3870" y="102"/>
      </p:cViewPr>
      <p:guideLst>
        <p:guide orient="horz" pos="3120"/>
        <p:guide pos="214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98.xml"/><Relationship Id="rId21" Type="http://schemas.openxmlformats.org/officeDocument/2006/relationships/slide" Target="slides/slide2.xml"/><Relationship Id="rId42" Type="http://schemas.openxmlformats.org/officeDocument/2006/relationships/slide" Target="slides/slide23.xml"/><Relationship Id="rId63" Type="http://schemas.openxmlformats.org/officeDocument/2006/relationships/slide" Target="slides/slide44.xml"/><Relationship Id="rId84" Type="http://schemas.openxmlformats.org/officeDocument/2006/relationships/slide" Target="slides/slide65.xml"/><Relationship Id="rId16" Type="http://schemas.openxmlformats.org/officeDocument/2006/relationships/customXml" Target="../customXml/item16.xml"/><Relationship Id="rId107" Type="http://schemas.openxmlformats.org/officeDocument/2006/relationships/slide" Target="slides/slide88.xml"/><Relationship Id="rId11" Type="http://schemas.openxmlformats.org/officeDocument/2006/relationships/customXml" Target="../customXml/item11.xml"/><Relationship Id="rId32" Type="http://schemas.openxmlformats.org/officeDocument/2006/relationships/slide" Target="slides/slide13.xml"/><Relationship Id="rId37" Type="http://schemas.openxmlformats.org/officeDocument/2006/relationships/slide" Target="slides/slide18.xml"/><Relationship Id="rId53" Type="http://schemas.openxmlformats.org/officeDocument/2006/relationships/slide" Target="slides/slide34.xml"/><Relationship Id="rId58" Type="http://schemas.openxmlformats.org/officeDocument/2006/relationships/slide" Target="slides/slide39.xml"/><Relationship Id="rId74" Type="http://schemas.openxmlformats.org/officeDocument/2006/relationships/slide" Target="slides/slide55.xml"/><Relationship Id="rId79" Type="http://schemas.openxmlformats.org/officeDocument/2006/relationships/slide" Target="slides/slide60.xml"/><Relationship Id="rId102" Type="http://schemas.openxmlformats.org/officeDocument/2006/relationships/slide" Target="slides/slide83.xml"/><Relationship Id="rId123" Type="http://schemas.openxmlformats.org/officeDocument/2006/relationships/slide" Target="slides/slide104.xml"/><Relationship Id="rId128" Type="http://schemas.openxmlformats.org/officeDocument/2006/relationships/handoutMaster" Target="handoutMasters/handoutMaster1.xml"/><Relationship Id="rId5" Type="http://schemas.openxmlformats.org/officeDocument/2006/relationships/customXml" Target="../customXml/item5.xml"/><Relationship Id="rId90" Type="http://schemas.openxmlformats.org/officeDocument/2006/relationships/slide" Target="slides/slide71.xml"/><Relationship Id="rId95" Type="http://schemas.openxmlformats.org/officeDocument/2006/relationships/slide" Target="slides/slide76.xml"/><Relationship Id="rId22" Type="http://schemas.openxmlformats.org/officeDocument/2006/relationships/slide" Target="slides/slide3.xml"/><Relationship Id="rId27" Type="http://schemas.openxmlformats.org/officeDocument/2006/relationships/slide" Target="slides/slide8.xml"/><Relationship Id="rId43" Type="http://schemas.openxmlformats.org/officeDocument/2006/relationships/slide" Target="slides/slide24.xml"/><Relationship Id="rId48" Type="http://schemas.openxmlformats.org/officeDocument/2006/relationships/slide" Target="slides/slide29.xml"/><Relationship Id="rId64" Type="http://schemas.openxmlformats.org/officeDocument/2006/relationships/slide" Target="slides/slide45.xml"/><Relationship Id="rId69" Type="http://schemas.openxmlformats.org/officeDocument/2006/relationships/slide" Target="slides/slide50.xml"/><Relationship Id="rId113" Type="http://schemas.openxmlformats.org/officeDocument/2006/relationships/slide" Target="slides/slide94.xml"/><Relationship Id="rId118" Type="http://schemas.openxmlformats.org/officeDocument/2006/relationships/slide" Target="slides/slide99.xml"/><Relationship Id="rId80" Type="http://schemas.openxmlformats.org/officeDocument/2006/relationships/slide" Target="slides/slide61.xml"/><Relationship Id="rId85" Type="http://schemas.openxmlformats.org/officeDocument/2006/relationships/slide" Target="slides/slide66.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slide" Target="slides/slide14.xml"/><Relationship Id="rId38" Type="http://schemas.openxmlformats.org/officeDocument/2006/relationships/slide" Target="slides/slide19.xml"/><Relationship Id="rId59" Type="http://schemas.openxmlformats.org/officeDocument/2006/relationships/slide" Target="slides/slide40.xml"/><Relationship Id="rId103" Type="http://schemas.openxmlformats.org/officeDocument/2006/relationships/slide" Target="slides/slide84.xml"/><Relationship Id="rId108" Type="http://schemas.openxmlformats.org/officeDocument/2006/relationships/slide" Target="slides/slide89.xml"/><Relationship Id="rId124" Type="http://schemas.openxmlformats.org/officeDocument/2006/relationships/slide" Target="slides/slide105.xml"/><Relationship Id="rId129" Type="http://schemas.openxmlformats.org/officeDocument/2006/relationships/tags" Target="tags/tag1.xml"/><Relationship Id="rId54" Type="http://schemas.openxmlformats.org/officeDocument/2006/relationships/slide" Target="slides/slide35.xml"/><Relationship Id="rId70" Type="http://schemas.openxmlformats.org/officeDocument/2006/relationships/slide" Target="slides/slide51.xml"/><Relationship Id="rId75" Type="http://schemas.openxmlformats.org/officeDocument/2006/relationships/slide" Target="slides/slide56.xml"/><Relationship Id="rId91" Type="http://schemas.openxmlformats.org/officeDocument/2006/relationships/slide" Target="slides/slide72.xml"/><Relationship Id="rId96" Type="http://schemas.openxmlformats.org/officeDocument/2006/relationships/slide" Target="slides/slide77.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slide" Target="slides/slide4.xml"/><Relationship Id="rId28" Type="http://schemas.openxmlformats.org/officeDocument/2006/relationships/slide" Target="slides/slide9.xml"/><Relationship Id="rId49" Type="http://schemas.openxmlformats.org/officeDocument/2006/relationships/slide" Target="slides/slide30.xml"/><Relationship Id="rId114" Type="http://schemas.openxmlformats.org/officeDocument/2006/relationships/slide" Target="slides/slide95.xml"/><Relationship Id="rId119" Type="http://schemas.openxmlformats.org/officeDocument/2006/relationships/slide" Target="slides/slide100.xml"/><Relationship Id="rId44" Type="http://schemas.openxmlformats.org/officeDocument/2006/relationships/slide" Target="slides/slide25.xml"/><Relationship Id="rId60" Type="http://schemas.openxmlformats.org/officeDocument/2006/relationships/slide" Target="slides/slide41.xml"/><Relationship Id="rId65" Type="http://schemas.openxmlformats.org/officeDocument/2006/relationships/slide" Target="slides/slide46.xml"/><Relationship Id="rId81" Type="http://schemas.openxmlformats.org/officeDocument/2006/relationships/slide" Target="slides/slide62.xml"/><Relationship Id="rId86" Type="http://schemas.openxmlformats.org/officeDocument/2006/relationships/slide" Target="slides/slide67.xml"/><Relationship Id="rId130" Type="http://schemas.openxmlformats.org/officeDocument/2006/relationships/presProps" Target="presProps.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20.xml"/><Relationship Id="rId109" Type="http://schemas.openxmlformats.org/officeDocument/2006/relationships/slide" Target="slides/slide90.xml"/><Relationship Id="rId34" Type="http://schemas.openxmlformats.org/officeDocument/2006/relationships/slide" Target="slides/slide15.xml"/><Relationship Id="rId50" Type="http://schemas.openxmlformats.org/officeDocument/2006/relationships/slide" Target="slides/slide31.xml"/><Relationship Id="rId55" Type="http://schemas.openxmlformats.org/officeDocument/2006/relationships/slide" Target="slides/slide36.xml"/><Relationship Id="rId76" Type="http://schemas.openxmlformats.org/officeDocument/2006/relationships/slide" Target="slides/slide57.xml"/><Relationship Id="rId97" Type="http://schemas.openxmlformats.org/officeDocument/2006/relationships/slide" Target="slides/slide78.xml"/><Relationship Id="rId104" Type="http://schemas.openxmlformats.org/officeDocument/2006/relationships/slide" Target="slides/slide85.xml"/><Relationship Id="rId120" Type="http://schemas.openxmlformats.org/officeDocument/2006/relationships/slide" Target="slides/slide101.xml"/><Relationship Id="rId125" Type="http://schemas.openxmlformats.org/officeDocument/2006/relationships/slide" Target="slides/slide106.xml"/><Relationship Id="rId7" Type="http://schemas.openxmlformats.org/officeDocument/2006/relationships/customXml" Target="../customXml/item7.xml"/><Relationship Id="rId71" Type="http://schemas.openxmlformats.org/officeDocument/2006/relationships/slide" Target="slides/slide52.xml"/><Relationship Id="rId92" Type="http://schemas.openxmlformats.org/officeDocument/2006/relationships/slide" Target="slides/slide73.xml"/><Relationship Id="rId2" Type="http://schemas.openxmlformats.org/officeDocument/2006/relationships/customXml" Target="../customXml/item2.xml"/><Relationship Id="rId29" Type="http://schemas.openxmlformats.org/officeDocument/2006/relationships/slide" Target="slides/slide10.xml"/><Relationship Id="rId24" Type="http://schemas.openxmlformats.org/officeDocument/2006/relationships/slide" Target="slides/slide5.xml"/><Relationship Id="rId40" Type="http://schemas.openxmlformats.org/officeDocument/2006/relationships/slide" Target="slides/slide21.xml"/><Relationship Id="rId45" Type="http://schemas.openxmlformats.org/officeDocument/2006/relationships/slide" Target="slides/slide26.xml"/><Relationship Id="rId66" Type="http://schemas.openxmlformats.org/officeDocument/2006/relationships/slide" Target="slides/slide47.xml"/><Relationship Id="rId87" Type="http://schemas.openxmlformats.org/officeDocument/2006/relationships/slide" Target="slides/slide68.xml"/><Relationship Id="rId110" Type="http://schemas.openxmlformats.org/officeDocument/2006/relationships/slide" Target="slides/slide91.xml"/><Relationship Id="rId115" Type="http://schemas.openxmlformats.org/officeDocument/2006/relationships/slide" Target="slides/slide96.xml"/><Relationship Id="rId131" Type="http://schemas.openxmlformats.org/officeDocument/2006/relationships/viewProps" Target="viewProps.xml"/><Relationship Id="rId61" Type="http://schemas.openxmlformats.org/officeDocument/2006/relationships/slide" Target="slides/slide42.xml"/><Relationship Id="rId82" Type="http://schemas.openxmlformats.org/officeDocument/2006/relationships/slide" Target="slides/slide63.xml"/><Relationship Id="rId19" Type="http://schemas.openxmlformats.org/officeDocument/2006/relationships/slideMaster" Target="slideMasters/slideMaster1.xml"/><Relationship Id="rId14" Type="http://schemas.openxmlformats.org/officeDocument/2006/relationships/customXml" Target="../customXml/item14.xml"/><Relationship Id="rId30" Type="http://schemas.openxmlformats.org/officeDocument/2006/relationships/slide" Target="slides/slide11.xml"/><Relationship Id="rId35" Type="http://schemas.openxmlformats.org/officeDocument/2006/relationships/slide" Target="slides/slide16.xml"/><Relationship Id="rId56" Type="http://schemas.openxmlformats.org/officeDocument/2006/relationships/slide" Target="slides/slide37.xml"/><Relationship Id="rId77" Type="http://schemas.openxmlformats.org/officeDocument/2006/relationships/slide" Target="slides/slide58.xml"/><Relationship Id="rId100" Type="http://schemas.openxmlformats.org/officeDocument/2006/relationships/slide" Target="slides/slide81.xml"/><Relationship Id="rId105" Type="http://schemas.openxmlformats.org/officeDocument/2006/relationships/slide" Target="slides/slide86.xml"/><Relationship Id="rId126" Type="http://schemas.openxmlformats.org/officeDocument/2006/relationships/slide" Target="slides/slide107.xml"/><Relationship Id="rId8" Type="http://schemas.openxmlformats.org/officeDocument/2006/relationships/customXml" Target="../customXml/item8.xml"/><Relationship Id="rId51" Type="http://schemas.openxmlformats.org/officeDocument/2006/relationships/slide" Target="slides/slide32.xml"/><Relationship Id="rId72" Type="http://schemas.openxmlformats.org/officeDocument/2006/relationships/slide" Target="slides/slide53.xml"/><Relationship Id="rId93" Type="http://schemas.openxmlformats.org/officeDocument/2006/relationships/slide" Target="slides/slide74.xml"/><Relationship Id="rId98" Type="http://schemas.openxmlformats.org/officeDocument/2006/relationships/slide" Target="slides/slide79.xml"/><Relationship Id="rId121" Type="http://schemas.openxmlformats.org/officeDocument/2006/relationships/slide" Target="slides/slide102.xml"/><Relationship Id="rId3" Type="http://schemas.openxmlformats.org/officeDocument/2006/relationships/customXml" Target="../customXml/item3.xml"/><Relationship Id="rId25" Type="http://schemas.openxmlformats.org/officeDocument/2006/relationships/slide" Target="slides/slide6.xml"/><Relationship Id="rId46" Type="http://schemas.openxmlformats.org/officeDocument/2006/relationships/slide" Target="slides/slide27.xml"/><Relationship Id="rId67" Type="http://schemas.openxmlformats.org/officeDocument/2006/relationships/slide" Target="slides/slide48.xml"/><Relationship Id="rId116" Type="http://schemas.openxmlformats.org/officeDocument/2006/relationships/slide" Target="slides/slide97.xml"/><Relationship Id="rId20" Type="http://schemas.openxmlformats.org/officeDocument/2006/relationships/slide" Target="slides/slide1.xml"/><Relationship Id="rId41" Type="http://schemas.openxmlformats.org/officeDocument/2006/relationships/slide" Target="slides/slide22.xml"/><Relationship Id="rId62" Type="http://schemas.openxmlformats.org/officeDocument/2006/relationships/slide" Target="slides/slide43.xml"/><Relationship Id="rId83" Type="http://schemas.openxmlformats.org/officeDocument/2006/relationships/slide" Target="slides/slide64.xml"/><Relationship Id="rId88" Type="http://schemas.openxmlformats.org/officeDocument/2006/relationships/slide" Target="slides/slide69.xml"/><Relationship Id="rId111" Type="http://schemas.openxmlformats.org/officeDocument/2006/relationships/slide" Target="slides/slide92.xml"/><Relationship Id="rId132" Type="http://schemas.openxmlformats.org/officeDocument/2006/relationships/theme" Target="theme/theme1.xml"/><Relationship Id="rId15" Type="http://schemas.openxmlformats.org/officeDocument/2006/relationships/customXml" Target="../customXml/item15.xml"/><Relationship Id="rId36" Type="http://schemas.openxmlformats.org/officeDocument/2006/relationships/slide" Target="slides/slide17.xml"/><Relationship Id="rId57" Type="http://schemas.openxmlformats.org/officeDocument/2006/relationships/slide" Target="slides/slide38.xml"/><Relationship Id="rId106" Type="http://schemas.openxmlformats.org/officeDocument/2006/relationships/slide" Target="slides/slide87.xml"/><Relationship Id="rId127" Type="http://schemas.openxmlformats.org/officeDocument/2006/relationships/notesMaster" Target="notesMasters/notesMaster1.xml"/><Relationship Id="rId10" Type="http://schemas.openxmlformats.org/officeDocument/2006/relationships/customXml" Target="../customXml/item10.xml"/><Relationship Id="rId31" Type="http://schemas.openxmlformats.org/officeDocument/2006/relationships/slide" Target="slides/slide12.xml"/><Relationship Id="rId52" Type="http://schemas.openxmlformats.org/officeDocument/2006/relationships/slide" Target="slides/slide33.xml"/><Relationship Id="rId73" Type="http://schemas.openxmlformats.org/officeDocument/2006/relationships/slide" Target="slides/slide54.xml"/><Relationship Id="rId78" Type="http://schemas.openxmlformats.org/officeDocument/2006/relationships/slide" Target="slides/slide59.xml"/><Relationship Id="rId94" Type="http://schemas.openxmlformats.org/officeDocument/2006/relationships/slide" Target="slides/slide75.xml"/><Relationship Id="rId99" Type="http://schemas.openxmlformats.org/officeDocument/2006/relationships/slide" Target="slides/slide80.xml"/><Relationship Id="rId101" Type="http://schemas.openxmlformats.org/officeDocument/2006/relationships/slide" Target="slides/slide82.xml"/><Relationship Id="rId122" Type="http://schemas.openxmlformats.org/officeDocument/2006/relationships/slide" Target="slides/slide103.xml"/><Relationship Id="rId4" Type="http://schemas.openxmlformats.org/officeDocument/2006/relationships/customXml" Target="../customXml/item4.xml"/><Relationship Id="rId9" Type="http://schemas.openxmlformats.org/officeDocument/2006/relationships/customXml" Target="../customXml/item9.xml"/><Relationship Id="rId26" Type="http://schemas.openxmlformats.org/officeDocument/2006/relationships/slide" Target="slides/slide7.xml"/><Relationship Id="rId47" Type="http://schemas.openxmlformats.org/officeDocument/2006/relationships/slide" Target="slides/slide28.xml"/><Relationship Id="rId68" Type="http://schemas.openxmlformats.org/officeDocument/2006/relationships/slide" Target="slides/slide49.xml"/><Relationship Id="rId89" Type="http://schemas.openxmlformats.org/officeDocument/2006/relationships/slide" Target="slides/slide70.xml"/><Relationship Id="rId112" Type="http://schemas.openxmlformats.org/officeDocument/2006/relationships/slide" Target="slides/slide93.xml"/><Relationship Id="rId13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5.xml"/><Relationship Id="rId1" Type="http://schemas.microsoft.com/office/2011/relationships/chartStyle" Target="style5.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6.xml"/><Relationship Id="rId1" Type="http://schemas.microsoft.com/office/2011/relationships/chartStyle" Target="style6.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7.xml"/><Relationship Id="rId1" Type="http://schemas.microsoft.com/office/2011/relationships/chartStyle" Target="style7.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1.xml"/><Relationship Id="rId1" Type="http://schemas.microsoft.com/office/2011/relationships/chartStyle" Target="style1.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2.xml"/><Relationship Id="rId1" Type="http://schemas.microsoft.com/office/2011/relationships/chartStyle" Target="style2.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532308105867991E-2"/>
          <c:y val="9.3659902029391229E-2"/>
          <c:w val="0.72643182760049729"/>
          <c:h val="0.71473978278957262"/>
        </c:manualLayout>
      </c:layout>
      <c:doughnutChart>
        <c:varyColors val="1"/>
        <c:ser>
          <c:idx val="0"/>
          <c:order val="0"/>
          <c:tx>
            <c:strRef>
              <c:f>Sheet1!$A$2</c:f>
              <c:strCache>
                <c:ptCount val="1"/>
              </c:strCache>
            </c:strRef>
          </c:tx>
          <c:spPr>
            <a:solidFill>
              <a:srgbClr val="666666"/>
            </a:solidFill>
            <a:ln w="9525">
              <a:noFill/>
            </a:ln>
          </c:spPr>
          <c:dPt>
            <c:idx val="0"/>
            <c:bubble3D val="0"/>
            <c:spPr>
              <a:solidFill>
                <a:srgbClr val="A0CAFD"/>
              </a:solidFill>
              <a:ln w="9525">
                <a:noFill/>
              </a:ln>
            </c:spPr>
            <c:extLst>
              <c:ext xmlns:c16="http://schemas.microsoft.com/office/drawing/2014/chart" uri="{C3380CC4-5D6E-409C-BE32-E72D297353CC}">
                <c16:uniqueId val="{00000001-7452-480B-9DCF-538F11B3C904}"/>
              </c:ext>
            </c:extLst>
          </c:dPt>
          <c:dPt>
            <c:idx val="1"/>
            <c:bubble3D val="0"/>
            <c:spPr>
              <a:solidFill>
                <a:srgbClr val="65A6FB"/>
              </a:solidFill>
              <a:ln w="9525">
                <a:noFill/>
              </a:ln>
            </c:spPr>
            <c:extLst>
              <c:ext xmlns:c16="http://schemas.microsoft.com/office/drawing/2014/chart" uri="{C3380CC4-5D6E-409C-BE32-E72D297353CC}">
                <c16:uniqueId val="{00000003-7452-480B-9DCF-538F11B3C904}"/>
              </c:ext>
            </c:extLst>
          </c:dPt>
          <c:dPt>
            <c:idx val="2"/>
            <c:bubble3D val="0"/>
            <c:spPr>
              <a:solidFill>
                <a:srgbClr val="003CB4"/>
              </a:solidFill>
              <a:ln w="9525">
                <a:noFill/>
              </a:ln>
            </c:spPr>
            <c:extLst>
              <c:ext xmlns:c16="http://schemas.microsoft.com/office/drawing/2014/chart" uri="{C3380CC4-5D6E-409C-BE32-E72D297353CC}">
                <c16:uniqueId val="{00000005-7452-480B-9DCF-538F11B3C904}"/>
              </c:ext>
            </c:extLst>
          </c:dPt>
          <c:dPt>
            <c:idx val="3"/>
            <c:bubble3D val="0"/>
            <c:spPr>
              <a:solidFill>
                <a:srgbClr val="68D9B1"/>
              </a:solidFill>
              <a:ln w="9525">
                <a:noFill/>
              </a:ln>
            </c:spPr>
            <c:extLst>
              <c:ext xmlns:c16="http://schemas.microsoft.com/office/drawing/2014/chart" uri="{C3380CC4-5D6E-409C-BE32-E72D297353CC}">
                <c16:uniqueId val="{00000007-7452-480B-9DCF-538F11B3C904}"/>
              </c:ext>
            </c:extLst>
          </c:dPt>
          <c:dPt>
            <c:idx val="4"/>
            <c:bubble3D val="0"/>
            <c:spPr>
              <a:solidFill>
                <a:srgbClr val="169C72"/>
              </a:solidFill>
              <a:ln w="9525">
                <a:noFill/>
              </a:ln>
            </c:spPr>
            <c:extLst>
              <c:ext xmlns:c16="http://schemas.microsoft.com/office/drawing/2014/chart" uri="{C3380CC4-5D6E-409C-BE32-E72D297353CC}">
                <c16:uniqueId val="{00000009-7452-480B-9DCF-538F11B3C904}"/>
              </c:ext>
            </c:extLst>
          </c:dPt>
          <c:dPt>
            <c:idx val="5"/>
            <c:bubble3D val="0"/>
            <c:spPr>
              <a:solidFill>
                <a:srgbClr val="D3BEF4"/>
              </a:solidFill>
              <a:ln w="9525">
                <a:noFill/>
              </a:ln>
            </c:spPr>
            <c:extLst>
              <c:ext xmlns:c16="http://schemas.microsoft.com/office/drawing/2014/chart" uri="{C3380CC4-5D6E-409C-BE32-E72D297353CC}">
                <c16:uniqueId val="{0000000B-7452-480B-9DCF-538F11B3C904}"/>
              </c:ext>
            </c:extLst>
          </c:dPt>
          <c:dPt>
            <c:idx val="6"/>
            <c:bubble3D val="0"/>
            <c:spPr>
              <a:solidFill>
                <a:srgbClr val="9D70D5"/>
              </a:solidFill>
              <a:ln w="9525">
                <a:noFill/>
              </a:ln>
            </c:spPr>
            <c:extLst>
              <c:ext xmlns:c16="http://schemas.microsoft.com/office/drawing/2014/chart" uri="{C3380CC4-5D6E-409C-BE32-E72D297353CC}">
                <c16:uniqueId val="{0000000D-7452-480B-9DCF-538F11B3C904}"/>
              </c:ext>
            </c:extLst>
          </c:dPt>
          <c:dLbls>
            <c:spPr>
              <a:noFill/>
              <a:ln>
                <a:noFill/>
              </a:ln>
              <a:effectLst/>
            </c:spPr>
            <c:txPr>
              <a:bodyPr wrap="square" lIns="38100" tIns="19050" rIns="38100" bIns="19050" anchor="ctr">
                <a:spAutoFit/>
              </a:bodyPr>
              <a:lstStyle/>
              <a:p>
                <a:pPr>
                  <a:defRPr>
                    <a:solidFill>
                      <a:srgbClr val="FFFFFF"/>
                    </a:solidFill>
                    <a:latin typeface="Frutiger for ZKB Light" panose="020B0303030504020204" pitchFamily="34" charset="0"/>
                  </a:defRPr>
                </a:pPr>
                <a:endParaRPr lang="de-DE"/>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1:$H$1</c:f>
              <c:strCache>
                <c:ptCount val="7"/>
                <c:pt idx="0">
                  <c:v>Datenreihe 1</c:v>
                </c:pt>
                <c:pt idx="1">
                  <c:v>Datenreihe 2</c:v>
                </c:pt>
                <c:pt idx="2">
                  <c:v>Datenreihe 3</c:v>
                </c:pt>
                <c:pt idx="3">
                  <c:v>Datenreihe 4</c:v>
                </c:pt>
                <c:pt idx="4">
                  <c:v>Datenreihe 5</c:v>
                </c:pt>
                <c:pt idx="5">
                  <c:v>Datenreihe 6</c:v>
                </c:pt>
                <c:pt idx="6">
                  <c:v>Datenreihe 7</c:v>
                </c:pt>
              </c:strCache>
            </c:strRef>
          </c:cat>
          <c:val>
            <c:numRef>
              <c:f>Sheet1!$B$2:$H$2</c:f>
              <c:numCache>
                <c:formatCode>General</c:formatCode>
                <c:ptCount val="7"/>
                <c:pt idx="0">
                  <c:v>25</c:v>
                </c:pt>
                <c:pt idx="1">
                  <c:v>22</c:v>
                </c:pt>
                <c:pt idx="2">
                  <c:v>20</c:v>
                </c:pt>
                <c:pt idx="3">
                  <c:v>15</c:v>
                </c:pt>
                <c:pt idx="4">
                  <c:v>10</c:v>
                </c:pt>
                <c:pt idx="5">
                  <c:v>5</c:v>
                </c:pt>
                <c:pt idx="6">
                  <c:v>3</c:v>
                </c:pt>
              </c:numCache>
            </c:numRef>
          </c:val>
          <c:extLst>
            <c:ext xmlns:c16="http://schemas.microsoft.com/office/drawing/2014/chart" uri="{C3380CC4-5D6E-409C-BE32-E72D297353CC}">
              <c16:uniqueId val="{0000000E-7452-480B-9DCF-538F11B3C904}"/>
            </c:ext>
          </c:extLst>
        </c:ser>
        <c:dLbls>
          <c:showLegendKey val="0"/>
          <c:showVal val="0"/>
          <c:showCatName val="0"/>
          <c:showSerName val="0"/>
          <c:showPercent val="0"/>
          <c:showBubbleSize val="0"/>
          <c:showLeaderLines val="1"/>
        </c:dLbls>
        <c:firstSliceAng val="0"/>
        <c:holeSize val="50"/>
      </c:doughnutChart>
      <c:spPr>
        <a:noFill/>
        <a:ln w="25402">
          <a:noFill/>
        </a:ln>
      </c:spPr>
    </c:plotArea>
    <c:legend>
      <c:legendPos val="b"/>
      <c:layout>
        <c:manualLayout>
          <c:xMode val="edge"/>
          <c:yMode val="edge"/>
          <c:x val="0"/>
          <c:y val="0.85225150565066687"/>
          <c:w val="1"/>
          <c:h val="0.11135941107431549"/>
        </c:manualLayout>
      </c:layout>
      <c:overlay val="0"/>
      <c:txPr>
        <a:bodyPr/>
        <a:lstStyle/>
        <a:p>
          <a:pPr>
            <a:defRPr sz="1400">
              <a:solidFill>
                <a:srgbClr val="003CB4"/>
              </a:solidFill>
              <a:latin typeface="Frutiger for ZKB Light" panose="020B0303030504020204" pitchFamily="34" charset="0"/>
            </a:defRPr>
          </a:pPr>
          <a:endParaRPr lang="de-DE"/>
        </a:p>
      </c:txPr>
    </c:legend>
    <c:plotVisOnly val="1"/>
    <c:dispBlanksAs val="zero"/>
    <c:showDLblsOverMax val="0"/>
  </c:chart>
  <c:spPr>
    <a:noFill/>
    <a:ln w="19050">
      <a:noFill/>
      <a:prstDash val="solid"/>
    </a:ln>
    <a:effectLst/>
    <a:extLst>
      <a:ext uri="{91240B29-F687-4F45-9708-019B960494DF}">
        <a14:hiddenLine xmlns:a14="http://schemas.microsoft.com/office/drawing/2010/main" w="19050">
          <a:solidFill>
            <a:srgbClr val="008000"/>
          </a:solidFill>
          <a:prstDash val="solid"/>
        </a14:hiddenLine>
      </a:ext>
    </a:extLst>
  </c:spPr>
  <c:txPr>
    <a:bodyPr/>
    <a:lstStyle/>
    <a:p>
      <a:pPr>
        <a:defRPr sz="1600" b="0" i="0" u="none" strike="noStrike" baseline="0">
          <a:solidFill>
            <a:schemeClr val="tx1"/>
          </a:solidFill>
          <a:latin typeface="+mn-lt"/>
          <a:ea typeface="Arial"/>
          <a:cs typeface="Arial"/>
        </a:defRPr>
      </a:pPr>
      <a:endParaRPr lang="de-D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56012995282868E-2"/>
          <c:y val="3.9008244231205677E-2"/>
          <c:w val="0.95984398700471718"/>
          <c:h val="0.7506950093458421"/>
        </c:manualLayout>
      </c:layout>
      <c:barChart>
        <c:barDir val="col"/>
        <c:grouping val="clustered"/>
        <c:varyColors val="0"/>
        <c:ser>
          <c:idx val="0"/>
          <c:order val="0"/>
          <c:tx>
            <c:strRef>
              <c:f>Tabelle1!$B$1</c:f>
              <c:strCache>
                <c:ptCount val="1"/>
                <c:pt idx="0">
                  <c:v>Datenreihe 1</c:v>
                </c:pt>
              </c:strCache>
            </c:strRef>
          </c:tx>
          <c:spPr>
            <a:solidFill>
              <a:srgbClr val="A0CAFD"/>
            </a:solidFill>
            <a:ln>
              <a:noFill/>
            </a:ln>
            <a:effectLst/>
          </c:spPr>
          <c:invertIfNegative val="0"/>
          <c:cat>
            <c:numRef>
              <c:f>Tabelle1!$A$2:$A$5</c:f>
              <c:numCache>
                <c:formatCode>General</c:formatCode>
                <c:ptCount val="4"/>
                <c:pt idx="0">
                  <c:v>2022</c:v>
                </c:pt>
                <c:pt idx="1">
                  <c:v>2023</c:v>
                </c:pt>
                <c:pt idx="2">
                  <c:v>2024</c:v>
                </c:pt>
                <c:pt idx="3">
                  <c:v>2025</c:v>
                </c:pt>
              </c:numCache>
            </c:num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45C1-4FE5-8B98-167BB00C56B3}"/>
            </c:ext>
          </c:extLst>
        </c:ser>
        <c:ser>
          <c:idx val="1"/>
          <c:order val="1"/>
          <c:tx>
            <c:strRef>
              <c:f>Tabelle1!$C$1</c:f>
              <c:strCache>
                <c:ptCount val="1"/>
                <c:pt idx="0">
                  <c:v>Datenreihe 2</c:v>
                </c:pt>
              </c:strCache>
            </c:strRef>
          </c:tx>
          <c:spPr>
            <a:solidFill>
              <a:srgbClr val="65A6FB"/>
            </a:solidFill>
            <a:ln>
              <a:noFill/>
            </a:ln>
            <a:effectLst/>
          </c:spPr>
          <c:invertIfNegative val="0"/>
          <c:cat>
            <c:numRef>
              <c:f>Tabelle1!$A$2:$A$5</c:f>
              <c:numCache>
                <c:formatCode>General</c:formatCode>
                <c:ptCount val="4"/>
                <c:pt idx="0">
                  <c:v>2022</c:v>
                </c:pt>
                <c:pt idx="1">
                  <c:v>2023</c:v>
                </c:pt>
                <c:pt idx="2">
                  <c:v>2024</c:v>
                </c:pt>
                <c:pt idx="3">
                  <c:v>2025</c:v>
                </c:pt>
              </c:numCache>
            </c:num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45C1-4FE5-8B98-167BB00C56B3}"/>
            </c:ext>
          </c:extLst>
        </c:ser>
        <c:ser>
          <c:idx val="2"/>
          <c:order val="2"/>
          <c:tx>
            <c:strRef>
              <c:f>Tabelle1!$D$1</c:f>
              <c:strCache>
                <c:ptCount val="1"/>
                <c:pt idx="0">
                  <c:v>Datenreihe 3</c:v>
                </c:pt>
              </c:strCache>
            </c:strRef>
          </c:tx>
          <c:spPr>
            <a:solidFill>
              <a:srgbClr val="1264F3"/>
            </a:solidFill>
            <a:ln>
              <a:noFill/>
            </a:ln>
            <a:effectLst/>
          </c:spPr>
          <c:invertIfNegative val="0"/>
          <c:cat>
            <c:numRef>
              <c:f>Tabelle1!$A$2:$A$5</c:f>
              <c:numCache>
                <c:formatCode>General</c:formatCode>
                <c:ptCount val="4"/>
                <c:pt idx="0">
                  <c:v>2022</c:v>
                </c:pt>
                <c:pt idx="1">
                  <c:v>2023</c:v>
                </c:pt>
                <c:pt idx="2">
                  <c:v>2024</c:v>
                </c:pt>
                <c:pt idx="3">
                  <c:v>2025</c:v>
                </c:pt>
              </c:numCache>
            </c:numRef>
          </c:cat>
          <c:val>
            <c:numRef>
              <c:f>Tabelle1!$D$2:$D$5</c:f>
              <c:numCache>
                <c:formatCode>General</c:formatCode>
                <c:ptCount val="4"/>
                <c:pt idx="0">
                  <c:v>2</c:v>
                </c:pt>
                <c:pt idx="1">
                  <c:v>2</c:v>
                </c:pt>
                <c:pt idx="2">
                  <c:v>3</c:v>
                </c:pt>
                <c:pt idx="3">
                  <c:v>3.2</c:v>
                </c:pt>
              </c:numCache>
            </c:numRef>
          </c:val>
          <c:extLst>
            <c:ext xmlns:c16="http://schemas.microsoft.com/office/drawing/2014/chart" uri="{C3380CC4-5D6E-409C-BE32-E72D297353CC}">
              <c16:uniqueId val="{00000002-45C1-4FE5-8B98-167BB00C56B3}"/>
            </c:ext>
          </c:extLst>
        </c:ser>
        <c:ser>
          <c:idx val="3"/>
          <c:order val="3"/>
          <c:tx>
            <c:strRef>
              <c:f>Tabelle1!$E$1</c:f>
              <c:strCache>
                <c:ptCount val="1"/>
                <c:pt idx="0">
                  <c:v>Datenreihe 4</c:v>
                </c:pt>
              </c:strCache>
            </c:strRef>
          </c:tx>
          <c:spPr>
            <a:solidFill>
              <a:srgbClr val="68D9B1"/>
            </a:solidFill>
            <a:ln>
              <a:noFill/>
            </a:ln>
            <a:effectLst/>
          </c:spPr>
          <c:invertIfNegative val="0"/>
          <c:cat>
            <c:numRef>
              <c:f>Tabelle1!$A$2:$A$5</c:f>
              <c:numCache>
                <c:formatCode>General</c:formatCode>
                <c:ptCount val="4"/>
                <c:pt idx="0">
                  <c:v>2022</c:v>
                </c:pt>
                <c:pt idx="1">
                  <c:v>2023</c:v>
                </c:pt>
                <c:pt idx="2">
                  <c:v>2024</c:v>
                </c:pt>
                <c:pt idx="3">
                  <c:v>2025</c:v>
                </c:pt>
              </c:numCache>
            </c:numRef>
          </c:cat>
          <c:val>
            <c:numRef>
              <c:f>Tabelle1!$E$2:$E$5</c:f>
              <c:numCache>
                <c:formatCode>General</c:formatCode>
                <c:ptCount val="4"/>
                <c:pt idx="0">
                  <c:v>3</c:v>
                </c:pt>
                <c:pt idx="1">
                  <c:v>3.4</c:v>
                </c:pt>
                <c:pt idx="2">
                  <c:v>2</c:v>
                </c:pt>
                <c:pt idx="3">
                  <c:v>1.4</c:v>
                </c:pt>
              </c:numCache>
            </c:numRef>
          </c:val>
          <c:extLst>
            <c:ext xmlns:c16="http://schemas.microsoft.com/office/drawing/2014/chart" uri="{C3380CC4-5D6E-409C-BE32-E72D297353CC}">
              <c16:uniqueId val="{00000003-45C1-4FE5-8B98-167BB00C56B3}"/>
            </c:ext>
          </c:extLst>
        </c:ser>
        <c:ser>
          <c:idx val="4"/>
          <c:order val="4"/>
          <c:tx>
            <c:strRef>
              <c:f>Tabelle1!$F$1</c:f>
              <c:strCache>
                <c:ptCount val="1"/>
                <c:pt idx="0">
                  <c:v>Datenreihe 5</c:v>
                </c:pt>
              </c:strCache>
            </c:strRef>
          </c:tx>
          <c:spPr>
            <a:solidFill>
              <a:srgbClr val="169C72"/>
            </a:solidFill>
            <a:ln>
              <a:noFill/>
            </a:ln>
            <a:effectLst/>
          </c:spPr>
          <c:invertIfNegative val="0"/>
          <c:cat>
            <c:numRef>
              <c:f>Tabelle1!$A$2:$A$5</c:f>
              <c:numCache>
                <c:formatCode>General</c:formatCode>
                <c:ptCount val="4"/>
                <c:pt idx="0">
                  <c:v>2022</c:v>
                </c:pt>
                <c:pt idx="1">
                  <c:v>2023</c:v>
                </c:pt>
                <c:pt idx="2">
                  <c:v>2024</c:v>
                </c:pt>
                <c:pt idx="3">
                  <c:v>2025</c:v>
                </c:pt>
              </c:numCache>
            </c:numRef>
          </c:cat>
          <c:val>
            <c:numRef>
              <c:f>Tabelle1!$F$2:$F$5</c:f>
              <c:numCache>
                <c:formatCode>General</c:formatCode>
                <c:ptCount val="4"/>
                <c:pt idx="0">
                  <c:v>4</c:v>
                </c:pt>
                <c:pt idx="1">
                  <c:v>2.2000000000000002</c:v>
                </c:pt>
                <c:pt idx="2">
                  <c:v>1.5</c:v>
                </c:pt>
                <c:pt idx="3">
                  <c:v>3.3</c:v>
                </c:pt>
              </c:numCache>
            </c:numRef>
          </c:val>
          <c:extLst>
            <c:ext xmlns:c16="http://schemas.microsoft.com/office/drawing/2014/chart" uri="{C3380CC4-5D6E-409C-BE32-E72D297353CC}">
              <c16:uniqueId val="{00000004-45C1-4FE5-8B98-167BB00C56B3}"/>
            </c:ext>
          </c:extLst>
        </c:ser>
        <c:dLbls>
          <c:showLegendKey val="0"/>
          <c:showVal val="0"/>
          <c:showCatName val="0"/>
          <c:showSerName val="0"/>
          <c:showPercent val="0"/>
          <c:showBubbleSize val="0"/>
        </c:dLbls>
        <c:gapWidth val="219"/>
        <c:axId val="870237263"/>
        <c:axId val="896694432"/>
      </c:barChart>
      <c:catAx>
        <c:axId val="870237263"/>
        <c:scaling>
          <c:orientation val="minMax"/>
        </c:scaling>
        <c:delete val="0"/>
        <c:axPos val="b"/>
        <c:numFmt formatCode="General" sourceLinked="1"/>
        <c:majorTickMark val="none"/>
        <c:minorTickMark val="none"/>
        <c:tickLblPos val="nextTo"/>
        <c:spPr>
          <a:noFill/>
          <a:ln w="3175" cap="flat" cmpd="sng" algn="ctr">
            <a:solidFill>
              <a:srgbClr val="003CB4"/>
            </a:solidFill>
            <a:round/>
          </a:ln>
          <a:effectLst/>
        </c:spPr>
        <c:txPr>
          <a:bodyPr rot="-60000000" spcFirstLastPara="1" vertOverflow="ellipsis" vert="horz" wrap="square" anchor="ctr" anchorCtr="1"/>
          <a:lstStyle/>
          <a:p>
            <a:pPr>
              <a:defRPr sz="1197" b="0" i="0" u="none" strike="noStrike" kern="1200" baseline="0">
                <a:solidFill>
                  <a:srgbClr val="003CB4"/>
                </a:solidFill>
                <a:latin typeface="Frutiger for ZKB Light"/>
                <a:ea typeface="Frutiger for ZKB Light"/>
                <a:cs typeface="Frutiger for ZKB Light"/>
              </a:defRPr>
            </a:pPr>
            <a:endParaRPr lang="de-DE"/>
          </a:p>
        </c:txPr>
        <c:crossAx val="896694432"/>
        <c:crosses val="autoZero"/>
        <c:auto val="1"/>
        <c:lblAlgn val="ctr"/>
        <c:lblOffset val="100"/>
        <c:noMultiLvlLbl val="0"/>
      </c:catAx>
      <c:valAx>
        <c:axId val="896694432"/>
        <c:scaling>
          <c:orientation val="minMax"/>
        </c:scaling>
        <c:delete val="0"/>
        <c:axPos val="l"/>
        <c:majorGridlines>
          <c:spPr>
            <a:ln w="3175" cap="flat" cmpd="sng" algn="ctr">
              <a:solidFill>
                <a:srgbClr val="A0CAFD"/>
              </a:solidFill>
              <a:round/>
            </a:ln>
            <a:effectLst/>
          </c:spPr>
        </c:majorGridlines>
        <c:numFmt formatCode="General" sourceLinked="1"/>
        <c:majorTickMark val="none"/>
        <c:minorTickMark val="none"/>
        <c:tickLblPos val="nextTo"/>
        <c:spPr>
          <a:noFill/>
          <a:ln>
            <a:noFill/>
          </a:ln>
          <a:effectLst/>
          <a:extLst>
            <a:ext uri="{91240B29-F687-4F45-9708-019B960494DF}">
              <a14:hiddenLine xmlns:a14="http://schemas.microsoft.com/office/drawing/2010/main">
                <a:solidFill>
                  <a:srgbClr val="003CB4"/>
                </a:solidFill>
              </a14:hiddenLine>
            </a:ext>
          </a:extLst>
        </c:spPr>
        <c:txPr>
          <a:bodyPr rot="-60000000" spcFirstLastPara="1" vertOverflow="ellipsis" vert="horz" wrap="square" anchor="ctr" anchorCtr="1"/>
          <a:lstStyle/>
          <a:p>
            <a:pPr>
              <a:defRPr sz="1197" b="0" i="0" u="none" strike="noStrike" kern="1200" baseline="0">
                <a:solidFill>
                  <a:srgbClr val="003CB4"/>
                </a:solidFill>
                <a:latin typeface="Frutiger for ZKB Light"/>
                <a:ea typeface="Frutiger for ZKB Light"/>
                <a:cs typeface="Frutiger for ZKB Light"/>
              </a:defRPr>
            </a:pPr>
            <a:endParaRPr lang="de-DE"/>
          </a:p>
        </c:txPr>
        <c:crossAx val="870237263"/>
        <c:crosses val="autoZero"/>
        <c:crossBetween val="between"/>
        <c:majorUnit val="1"/>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b"/>
      <c:layout>
        <c:manualLayout>
          <c:xMode val="edge"/>
          <c:yMode val="edge"/>
          <c:x val="0"/>
          <c:y val="0.8641466468444714"/>
          <c:w val="1"/>
          <c:h val="9.3752438461518844E-2"/>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003CB4"/>
              </a:solidFill>
              <a:latin typeface="Frutiger for ZKB Light" panose="020B0303030504020204" pitchFamily="34" charset="0"/>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a:extLst>
      <a:ext uri="{91240B29-F687-4F45-9708-019B960494DF}">
        <a14:hiddenLine xmlns:a14="http://schemas.microsoft.com/office/drawing/2010/main">
          <a:noFill/>
        </a14:hiddenLine>
      </a:ext>
    </a:ex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15737949289345"/>
          <c:y val="7.7033384863456525E-2"/>
          <c:w val="0.65082439599483555"/>
          <c:h val="0.63249317131962102"/>
        </c:manualLayout>
      </c:layout>
      <c:doughnutChart>
        <c:varyColors val="1"/>
        <c:ser>
          <c:idx val="0"/>
          <c:order val="0"/>
          <c:tx>
            <c:strRef>
              <c:f>Tabelle1!$B$1</c:f>
              <c:strCache>
                <c:ptCount val="1"/>
                <c:pt idx="0">
                  <c:v>Spalte1</c:v>
                </c:pt>
              </c:strCache>
            </c:strRef>
          </c:tx>
          <c:spPr>
            <a:ln>
              <a:noFill/>
            </a:ln>
          </c:spPr>
          <c:dPt>
            <c:idx val="0"/>
            <c:bubble3D val="0"/>
            <c:spPr>
              <a:solidFill>
                <a:srgbClr val="A0CAFD"/>
              </a:solidFill>
              <a:ln w="19050">
                <a:noFill/>
              </a:ln>
              <a:effectLst/>
            </c:spPr>
            <c:extLst>
              <c:ext xmlns:c16="http://schemas.microsoft.com/office/drawing/2014/chart" uri="{C3380CC4-5D6E-409C-BE32-E72D297353CC}">
                <c16:uniqueId val="{00000001-6E8A-4181-8588-FA9458B19465}"/>
              </c:ext>
            </c:extLst>
          </c:dPt>
          <c:dPt>
            <c:idx val="1"/>
            <c:bubble3D val="0"/>
            <c:spPr>
              <a:solidFill>
                <a:srgbClr val="65A6FB"/>
              </a:solidFill>
              <a:ln w="19050">
                <a:noFill/>
              </a:ln>
              <a:effectLst/>
            </c:spPr>
            <c:extLst>
              <c:ext xmlns:c16="http://schemas.microsoft.com/office/drawing/2014/chart" uri="{C3380CC4-5D6E-409C-BE32-E72D297353CC}">
                <c16:uniqueId val="{00000003-6E8A-4181-8588-FA9458B19465}"/>
              </c:ext>
            </c:extLst>
          </c:dPt>
          <c:dPt>
            <c:idx val="2"/>
            <c:bubble3D val="0"/>
            <c:spPr>
              <a:solidFill>
                <a:srgbClr val="1264F3"/>
              </a:solidFill>
              <a:ln w="19050">
                <a:noFill/>
              </a:ln>
              <a:effectLst/>
            </c:spPr>
            <c:extLst>
              <c:ext xmlns:c16="http://schemas.microsoft.com/office/drawing/2014/chart" uri="{C3380CC4-5D6E-409C-BE32-E72D297353CC}">
                <c16:uniqueId val="{00000005-6E8A-4181-8588-FA9458B19465}"/>
              </c:ext>
            </c:extLst>
          </c:dPt>
          <c:dPt>
            <c:idx val="3"/>
            <c:bubble3D val="0"/>
            <c:spPr>
              <a:solidFill>
                <a:srgbClr val="003CB4"/>
              </a:solidFill>
              <a:ln w="19050">
                <a:noFill/>
              </a:ln>
              <a:effectLst/>
            </c:spPr>
            <c:extLst>
              <c:ext xmlns:c16="http://schemas.microsoft.com/office/drawing/2014/chart" uri="{C3380CC4-5D6E-409C-BE32-E72D297353CC}">
                <c16:uniqueId val="{00000007-6E8A-4181-8588-FA9458B19465}"/>
              </c:ext>
            </c:extLst>
          </c:dPt>
          <c:dPt>
            <c:idx val="4"/>
            <c:bubble3D val="0"/>
            <c:spPr>
              <a:solidFill>
                <a:srgbClr val="68D9B1"/>
              </a:solidFill>
              <a:ln w="19050">
                <a:noFill/>
              </a:ln>
              <a:effectLst/>
            </c:spPr>
            <c:extLst>
              <c:ext xmlns:c16="http://schemas.microsoft.com/office/drawing/2014/chart" uri="{C3380CC4-5D6E-409C-BE32-E72D297353CC}">
                <c16:uniqueId val="{00000009-6E8A-4181-8588-FA9458B19465}"/>
              </c:ext>
            </c:extLst>
          </c:dPt>
          <c:dPt>
            <c:idx val="5"/>
            <c:bubble3D val="0"/>
            <c:spPr>
              <a:solidFill>
                <a:srgbClr val="169C72"/>
              </a:solidFill>
              <a:ln w="19050">
                <a:noFill/>
              </a:ln>
              <a:effectLst/>
            </c:spPr>
            <c:extLst>
              <c:ext xmlns:c16="http://schemas.microsoft.com/office/drawing/2014/chart" uri="{C3380CC4-5D6E-409C-BE32-E72D297353CC}">
                <c16:uniqueId val="{0000000B-6E8A-4181-8588-FA9458B19465}"/>
              </c:ext>
            </c:extLst>
          </c:dPt>
          <c:dPt>
            <c:idx val="6"/>
            <c:bubble3D val="0"/>
            <c:spPr>
              <a:solidFill>
                <a:srgbClr val="055743"/>
              </a:solidFill>
              <a:ln w="19050">
                <a:noFill/>
              </a:ln>
              <a:effectLst/>
            </c:spPr>
            <c:extLst>
              <c:ext xmlns:c16="http://schemas.microsoft.com/office/drawing/2014/chart" uri="{C3380CC4-5D6E-409C-BE32-E72D297353CC}">
                <c16:uniqueId val="{00000000-3490-4CB2-93E5-750A46508CF9}"/>
              </c:ext>
            </c:extLst>
          </c:dPt>
          <c:dPt>
            <c:idx val="7"/>
            <c:bubble3D val="0"/>
            <c:spPr>
              <a:solidFill>
                <a:srgbClr val="D3BEF4"/>
              </a:solidFill>
              <a:ln w="19050">
                <a:noFill/>
              </a:ln>
              <a:effectLst/>
            </c:spPr>
            <c:extLst>
              <c:ext xmlns:c16="http://schemas.microsoft.com/office/drawing/2014/chart" uri="{C3380CC4-5D6E-409C-BE32-E72D297353CC}">
                <c16:uniqueId val="{00000001-3490-4CB2-93E5-750A46508CF9}"/>
              </c:ext>
            </c:extLst>
          </c:dPt>
          <c:dPt>
            <c:idx val="8"/>
            <c:bubble3D val="0"/>
            <c:spPr>
              <a:solidFill>
                <a:srgbClr val="9D70D5"/>
              </a:solidFill>
              <a:ln w="19050">
                <a:noFill/>
              </a:ln>
              <a:effectLst/>
            </c:spPr>
            <c:extLst>
              <c:ext xmlns:c16="http://schemas.microsoft.com/office/drawing/2014/chart" uri="{C3380CC4-5D6E-409C-BE32-E72D297353CC}">
                <c16:uniqueId val="{00000002-3490-4CB2-93E5-750A46508CF9}"/>
              </c:ext>
            </c:extLst>
          </c:dPt>
          <c:dPt>
            <c:idx val="9"/>
            <c:bubble3D val="0"/>
            <c:spPr>
              <a:solidFill>
                <a:srgbClr val="642E9E"/>
              </a:solidFill>
              <a:ln w="19050">
                <a:noFill/>
              </a:ln>
              <a:effectLst/>
            </c:spPr>
            <c:extLst>
              <c:ext xmlns:c16="http://schemas.microsoft.com/office/drawing/2014/chart" uri="{C3380CC4-5D6E-409C-BE32-E72D297353CC}">
                <c16:uniqueId val="{00000003-3490-4CB2-93E5-750A46508CF9}"/>
              </c:ext>
            </c:extLst>
          </c:dPt>
          <c:dPt>
            <c:idx val="10"/>
            <c:bubble3D val="0"/>
            <c:spPr>
              <a:solidFill>
                <a:srgbClr val="82D0F7"/>
              </a:solidFill>
              <a:ln w="19050">
                <a:noFill/>
              </a:ln>
              <a:effectLst/>
            </c:spPr>
            <c:extLst>
              <c:ext xmlns:c16="http://schemas.microsoft.com/office/drawing/2014/chart" uri="{C3380CC4-5D6E-409C-BE32-E72D297353CC}">
                <c16:uniqueId val="{00000004-3490-4CB2-93E5-750A46508CF9}"/>
              </c:ext>
            </c:extLst>
          </c:dPt>
          <c:dPt>
            <c:idx val="11"/>
            <c:bubble3D val="0"/>
            <c:spPr>
              <a:solidFill>
                <a:srgbClr val="1090CB"/>
              </a:solidFill>
              <a:ln w="19050">
                <a:noFill/>
              </a:ln>
              <a:effectLst/>
            </c:spPr>
            <c:extLst>
              <c:ext xmlns:c16="http://schemas.microsoft.com/office/drawing/2014/chart" uri="{C3380CC4-5D6E-409C-BE32-E72D297353CC}">
                <c16:uniqueId val="{00000005-3490-4CB2-93E5-750A46508CF9}"/>
              </c:ext>
            </c:extLst>
          </c:dPt>
          <c:dPt>
            <c:idx val="12"/>
            <c:bubble3D val="0"/>
            <c:spPr>
              <a:solidFill>
                <a:srgbClr val="094D71"/>
              </a:solidFill>
              <a:ln w="19050">
                <a:noFill/>
              </a:ln>
              <a:effectLst/>
            </c:spPr>
            <c:extLst>
              <c:ext xmlns:c16="http://schemas.microsoft.com/office/drawing/2014/chart" uri="{C3380CC4-5D6E-409C-BE32-E72D297353CC}">
                <c16:uniqueId val="{00000006-3490-4CB2-93E5-750A46508CF9}"/>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FFFFFF"/>
                    </a:solidFill>
                    <a:latin typeface="Frutiger for ZKB Light" panose="020B0303030504020204" pitchFamily="34" charset="0"/>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1!$A$2:$A$14</c:f>
              <c:strCache>
                <c:ptCount val="13"/>
                <c:pt idx="0">
                  <c:v>Datenreihe 1</c:v>
                </c:pt>
                <c:pt idx="1">
                  <c:v>Datenreihe 2</c:v>
                </c:pt>
                <c:pt idx="2">
                  <c:v>Datenreihe 3</c:v>
                </c:pt>
                <c:pt idx="3">
                  <c:v>Datenreihe 4</c:v>
                </c:pt>
                <c:pt idx="4">
                  <c:v>Datenreihe 5</c:v>
                </c:pt>
                <c:pt idx="5">
                  <c:v>Datenreihe 6</c:v>
                </c:pt>
                <c:pt idx="6">
                  <c:v>Datenreihe 7</c:v>
                </c:pt>
                <c:pt idx="7">
                  <c:v>Datenreihe 8</c:v>
                </c:pt>
                <c:pt idx="8">
                  <c:v>Datenreihe 9</c:v>
                </c:pt>
                <c:pt idx="9">
                  <c:v>Datenreihe 10</c:v>
                </c:pt>
                <c:pt idx="10">
                  <c:v>Datenreihe 11</c:v>
                </c:pt>
                <c:pt idx="11">
                  <c:v>Datenreihe 12</c:v>
                </c:pt>
                <c:pt idx="12">
                  <c:v>Datenreihe 13</c:v>
                </c:pt>
              </c:strCache>
            </c:strRef>
          </c:cat>
          <c:val>
            <c:numRef>
              <c:f>Tabelle1!$B$2:$B$14</c:f>
              <c:numCache>
                <c:formatCode>General</c:formatCode>
                <c:ptCount val="13"/>
                <c:pt idx="0">
                  <c:v>40</c:v>
                </c:pt>
                <c:pt idx="1">
                  <c:v>12</c:v>
                </c:pt>
                <c:pt idx="2">
                  <c:v>13</c:v>
                </c:pt>
                <c:pt idx="3">
                  <c:v>12</c:v>
                </c:pt>
                <c:pt idx="4">
                  <c:v>10</c:v>
                </c:pt>
                <c:pt idx="5">
                  <c:v>25</c:v>
                </c:pt>
                <c:pt idx="6">
                  <c:v>22</c:v>
                </c:pt>
                <c:pt idx="7">
                  <c:v>10</c:v>
                </c:pt>
                <c:pt idx="8">
                  <c:v>15</c:v>
                </c:pt>
                <c:pt idx="9">
                  <c:v>10</c:v>
                </c:pt>
                <c:pt idx="10">
                  <c:v>25</c:v>
                </c:pt>
                <c:pt idx="11">
                  <c:v>22</c:v>
                </c:pt>
                <c:pt idx="12">
                  <c:v>10</c:v>
                </c:pt>
              </c:numCache>
            </c:numRef>
          </c:val>
          <c:extLst>
            <c:ext xmlns:c16="http://schemas.microsoft.com/office/drawing/2014/chart" uri="{C3380CC4-5D6E-409C-BE32-E72D297353CC}">
              <c16:uniqueId val="{0000000C-6E8A-4181-8588-FA9458B19465}"/>
            </c:ext>
          </c:extLst>
        </c:ser>
        <c:dLbls>
          <c:showLegendKey val="0"/>
          <c:showVal val="0"/>
          <c:showCatName val="0"/>
          <c:showSerName val="0"/>
          <c:showPercent val="0"/>
          <c:showBubbleSize val="0"/>
          <c:showLeaderLines val="1"/>
        </c:dLbls>
        <c:firstSliceAng val="0"/>
        <c:holeSize val="50"/>
      </c:doughnutChart>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b"/>
      <c:layout>
        <c:manualLayout>
          <c:xMode val="edge"/>
          <c:yMode val="edge"/>
          <c:x val="0"/>
          <c:y val="6.7671482230493477E-2"/>
          <c:w val="0.28200733323563876"/>
          <c:h val="0.77838446832434094"/>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003CB4"/>
              </a:solidFill>
              <a:latin typeface="Frutiger for ZKB Light" panose="020B0303030504020204" pitchFamily="34" charset="0"/>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a:extLst>
      <a:ext uri="{91240B29-F687-4F45-9708-019B960494DF}">
        <a14:hiddenLine xmlns:a14="http://schemas.microsoft.com/office/drawing/2010/main">
          <a:noFill/>
        </a14:hiddenLine>
      </a:ext>
    </a:extLst>
  </c:spPr>
  <c:txPr>
    <a:bodyPr/>
    <a:lstStyle/>
    <a:p>
      <a:pPr>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948124426304309E-2"/>
          <c:y val="3.818268441559667E-2"/>
          <c:w val="0.85171820175320323"/>
          <c:h val="0.65105537578107553"/>
        </c:manualLayout>
      </c:layout>
      <c:barChart>
        <c:barDir val="col"/>
        <c:grouping val="percentStacked"/>
        <c:varyColors val="0"/>
        <c:ser>
          <c:idx val="0"/>
          <c:order val="0"/>
          <c:tx>
            <c:strRef>
              <c:f>Tabelle1!$B$1</c:f>
              <c:strCache>
                <c:ptCount val="1"/>
                <c:pt idx="0">
                  <c:v>Datenreihe 1</c:v>
                </c:pt>
              </c:strCache>
            </c:strRef>
          </c:tx>
          <c:spPr>
            <a:solidFill>
              <a:srgbClr val="A0CAFD"/>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B$2:$B$7</c:f>
              <c:numCache>
                <c:formatCode>0</c:formatCode>
                <c:ptCount val="6"/>
                <c:pt idx="0">
                  <c:v>9</c:v>
                </c:pt>
                <c:pt idx="1">
                  <c:v>15</c:v>
                </c:pt>
                <c:pt idx="2">
                  <c:v>13</c:v>
                </c:pt>
                <c:pt idx="3">
                  <c:v>4</c:v>
                </c:pt>
                <c:pt idx="4">
                  <c:v>10</c:v>
                </c:pt>
                <c:pt idx="5">
                  <c:v>11</c:v>
                </c:pt>
              </c:numCache>
            </c:numRef>
          </c:val>
          <c:extLst>
            <c:ext xmlns:c16="http://schemas.microsoft.com/office/drawing/2014/chart" uri="{C3380CC4-5D6E-409C-BE32-E72D297353CC}">
              <c16:uniqueId val="{00000000-2102-467F-B870-5F9E13A086D0}"/>
            </c:ext>
          </c:extLst>
        </c:ser>
        <c:ser>
          <c:idx val="1"/>
          <c:order val="1"/>
          <c:tx>
            <c:strRef>
              <c:f>Tabelle1!$C$1</c:f>
              <c:strCache>
                <c:ptCount val="1"/>
                <c:pt idx="0">
                  <c:v>Datenreihe 2</c:v>
                </c:pt>
              </c:strCache>
            </c:strRef>
          </c:tx>
          <c:spPr>
            <a:solidFill>
              <a:srgbClr val="65A6FB"/>
            </a:solidFill>
            <a:ln>
              <a:noFill/>
            </a:ln>
            <a:effectLst/>
          </c:spPr>
          <c:invertIfNegative val="0"/>
          <c:dPt>
            <c:idx val="1"/>
            <c:invertIfNegative val="0"/>
            <c:bubble3D val="0"/>
            <c:spPr>
              <a:solidFill>
                <a:srgbClr val="65A6FB"/>
              </a:solidFill>
              <a:ln>
                <a:noFill/>
              </a:ln>
              <a:effectLst/>
            </c:spPr>
            <c:extLst>
              <c:ext xmlns:c16="http://schemas.microsoft.com/office/drawing/2014/chart" uri="{C3380CC4-5D6E-409C-BE32-E72D297353CC}">
                <c16:uniqueId val="{00000001-E111-4B15-AB6D-25BC4B029441}"/>
              </c:ext>
            </c:extLst>
          </c:dPt>
          <c:cat>
            <c:numRef>
              <c:f>Tabelle1!$A$2:$A$7</c:f>
              <c:numCache>
                <c:formatCode>General</c:formatCode>
                <c:ptCount val="6"/>
                <c:pt idx="0">
                  <c:v>2014</c:v>
                </c:pt>
                <c:pt idx="1">
                  <c:v>2015</c:v>
                </c:pt>
                <c:pt idx="2">
                  <c:v>2016</c:v>
                </c:pt>
                <c:pt idx="3">
                  <c:v>2017</c:v>
                </c:pt>
                <c:pt idx="4">
                  <c:v>2018</c:v>
                </c:pt>
                <c:pt idx="5">
                  <c:v>2019</c:v>
                </c:pt>
              </c:numCache>
            </c:numRef>
          </c:cat>
          <c:val>
            <c:numRef>
              <c:f>Tabelle1!$C$2:$C$7</c:f>
              <c:numCache>
                <c:formatCode>0</c:formatCode>
                <c:ptCount val="6"/>
                <c:pt idx="0">
                  <c:v>5</c:v>
                </c:pt>
                <c:pt idx="1">
                  <c:v>2</c:v>
                </c:pt>
                <c:pt idx="2">
                  <c:v>7</c:v>
                </c:pt>
                <c:pt idx="3">
                  <c:v>2</c:v>
                </c:pt>
                <c:pt idx="4">
                  <c:v>3</c:v>
                </c:pt>
                <c:pt idx="5">
                  <c:v>0</c:v>
                </c:pt>
              </c:numCache>
            </c:numRef>
          </c:val>
          <c:extLst>
            <c:ext xmlns:c16="http://schemas.microsoft.com/office/drawing/2014/chart" uri="{C3380CC4-5D6E-409C-BE32-E72D297353CC}">
              <c16:uniqueId val="{00000002-9CAF-4F3E-9027-AD0E936D3678}"/>
            </c:ext>
          </c:extLst>
        </c:ser>
        <c:ser>
          <c:idx val="2"/>
          <c:order val="2"/>
          <c:tx>
            <c:strRef>
              <c:f>Tabelle1!$D$1</c:f>
              <c:strCache>
                <c:ptCount val="1"/>
                <c:pt idx="0">
                  <c:v>Datenreihe 3</c:v>
                </c:pt>
              </c:strCache>
            </c:strRef>
          </c:tx>
          <c:spPr>
            <a:solidFill>
              <a:srgbClr val="1264F3"/>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D$2:$D$7</c:f>
              <c:numCache>
                <c:formatCode>0</c:formatCode>
                <c:ptCount val="6"/>
                <c:pt idx="0">
                  <c:v>4</c:v>
                </c:pt>
                <c:pt idx="1">
                  <c:v>2</c:v>
                </c:pt>
                <c:pt idx="2">
                  <c:v>2</c:v>
                </c:pt>
                <c:pt idx="3">
                  <c:v>1</c:v>
                </c:pt>
                <c:pt idx="4">
                  <c:v>6</c:v>
                </c:pt>
                <c:pt idx="5">
                  <c:v>3</c:v>
                </c:pt>
              </c:numCache>
            </c:numRef>
          </c:val>
          <c:extLst>
            <c:ext xmlns:c16="http://schemas.microsoft.com/office/drawing/2014/chart" uri="{C3380CC4-5D6E-409C-BE32-E72D297353CC}">
              <c16:uniqueId val="{00000003-9CAF-4F3E-9027-AD0E936D3678}"/>
            </c:ext>
          </c:extLst>
        </c:ser>
        <c:ser>
          <c:idx val="3"/>
          <c:order val="3"/>
          <c:tx>
            <c:strRef>
              <c:f>Tabelle1!$E$1</c:f>
              <c:strCache>
                <c:ptCount val="1"/>
                <c:pt idx="0">
                  <c:v>Datenreihe 4</c:v>
                </c:pt>
              </c:strCache>
            </c:strRef>
          </c:tx>
          <c:spPr>
            <a:solidFill>
              <a:srgbClr val="003CB4"/>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E$2:$E$7</c:f>
              <c:numCache>
                <c:formatCode>0</c:formatCode>
                <c:ptCount val="6"/>
                <c:pt idx="0">
                  <c:v>9</c:v>
                </c:pt>
                <c:pt idx="1">
                  <c:v>15</c:v>
                </c:pt>
                <c:pt idx="2">
                  <c:v>13</c:v>
                </c:pt>
                <c:pt idx="3">
                  <c:v>4</c:v>
                </c:pt>
                <c:pt idx="4">
                  <c:v>10</c:v>
                </c:pt>
                <c:pt idx="5">
                  <c:v>11</c:v>
                </c:pt>
              </c:numCache>
            </c:numRef>
          </c:val>
          <c:extLst>
            <c:ext xmlns:c16="http://schemas.microsoft.com/office/drawing/2014/chart" uri="{C3380CC4-5D6E-409C-BE32-E72D297353CC}">
              <c16:uniqueId val="{00000004-9CAF-4F3E-9027-AD0E936D3678}"/>
            </c:ext>
          </c:extLst>
        </c:ser>
        <c:ser>
          <c:idx val="4"/>
          <c:order val="4"/>
          <c:tx>
            <c:strRef>
              <c:f>Tabelle1!$F$1</c:f>
              <c:strCache>
                <c:ptCount val="1"/>
                <c:pt idx="0">
                  <c:v>Datenreihe 5</c:v>
                </c:pt>
              </c:strCache>
            </c:strRef>
          </c:tx>
          <c:spPr>
            <a:solidFill>
              <a:srgbClr val="68D9B1"/>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F$2:$F$7</c:f>
              <c:numCache>
                <c:formatCode>0</c:formatCode>
                <c:ptCount val="6"/>
                <c:pt idx="0">
                  <c:v>5</c:v>
                </c:pt>
                <c:pt idx="1">
                  <c:v>2</c:v>
                </c:pt>
                <c:pt idx="2">
                  <c:v>7</c:v>
                </c:pt>
                <c:pt idx="3">
                  <c:v>2</c:v>
                </c:pt>
                <c:pt idx="4">
                  <c:v>3</c:v>
                </c:pt>
                <c:pt idx="5">
                  <c:v>0</c:v>
                </c:pt>
              </c:numCache>
            </c:numRef>
          </c:val>
          <c:extLst>
            <c:ext xmlns:c16="http://schemas.microsoft.com/office/drawing/2014/chart" uri="{C3380CC4-5D6E-409C-BE32-E72D297353CC}">
              <c16:uniqueId val="{00000000-B93D-4BA2-A15D-4F0905875B5E}"/>
            </c:ext>
          </c:extLst>
        </c:ser>
        <c:ser>
          <c:idx val="5"/>
          <c:order val="5"/>
          <c:tx>
            <c:strRef>
              <c:f>Tabelle1!$G$1</c:f>
              <c:strCache>
                <c:ptCount val="1"/>
                <c:pt idx="0">
                  <c:v>Datenreihe 6</c:v>
                </c:pt>
              </c:strCache>
            </c:strRef>
          </c:tx>
          <c:spPr>
            <a:solidFill>
              <a:srgbClr val="169C72"/>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G$2:$G$7</c:f>
              <c:numCache>
                <c:formatCode>0</c:formatCode>
                <c:ptCount val="6"/>
                <c:pt idx="0">
                  <c:v>4</c:v>
                </c:pt>
                <c:pt idx="1">
                  <c:v>2</c:v>
                </c:pt>
                <c:pt idx="2">
                  <c:v>2</c:v>
                </c:pt>
                <c:pt idx="3">
                  <c:v>1</c:v>
                </c:pt>
                <c:pt idx="4">
                  <c:v>6</c:v>
                </c:pt>
                <c:pt idx="5">
                  <c:v>3</c:v>
                </c:pt>
              </c:numCache>
            </c:numRef>
          </c:val>
          <c:extLst>
            <c:ext xmlns:c16="http://schemas.microsoft.com/office/drawing/2014/chart" uri="{C3380CC4-5D6E-409C-BE32-E72D297353CC}">
              <c16:uniqueId val="{00000001-B93D-4BA2-A15D-4F0905875B5E}"/>
            </c:ext>
          </c:extLst>
        </c:ser>
        <c:ser>
          <c:idx val="6"/>
          <c:order val="6"/>
          <c:tx>
            <c:strRef>
              <c:f>Tabelle1!$H$1</c:f>
              <c:strCache>
                <c:ptCount val="1"/>
                <c:pt idx="0">
                  <c:v>Datenreihe 7</c:v>
                </c:pt>
              </c:strCache>
            </c:strRef>
          </c:tx>
          <c:spPr>
            <a:solidFill>
              <a:srgbClr val="055743"/>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H$2:$H$7</c:f>
              <c:numCache>
                <c:formatCode>0</c:formatCode>
                <c:ptCount val="6"/>
                <c:pt idx="0">
                  <c:v>2</c:v>
                </c:pt>
                <c:pt idx="1">
                  <c:v>2</c:v>
                </c:pt>
                <c:pt idx="2">
                  <c:v>1</c:v>
                </c:pt>
                <c:pt idx="3">
                  <c:v>6</c:v>
                </c:pt>
                <c:pt idx="4">
                  <c:v>3</c:v>
                </c:pt>
                <c:pt idx="5">
                  <c:v>6</c:v>
                </c:pt>
              </c:numCache>
            </c:numRef>
          </c:val>
          <c:extLst>
            <c:ext xmlns:c16="http://schemas.microsoft.com/office/drawing/2014/chart" uri="{C3380CC4-5D6E-409C-BE32-E72D297353CC}">
              <c16:uniqueId val="{00000002-B93D-4BA2-A15D-4F0905875B5E}"/>
            </c:ext>
          </c:extLst>
        </c:ser>
        <c:ser>
          <c:idx val="7"/>
          <c:order val="7"/>
          <c:tx>
            <c:strRef>
              <c:f>Tabelle1!$I$1</c:f>
              <c:strCache>
                <c:ptCount val="1"/>
                <c:pt idx="0">
                  <c:v>Datenreihe 8</c:v>
                </c:pt>
              </c:strCache>
            </c:strRef>
          </c:tx>
          <c:spPr>
            <a:solidFill>
              <a:srgbClr val="D3BEF4"/>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I$2:$I$7</c:f>
              <c:numCache>
                <c:formatCode>0</c:formatCode>
                <c:ptCount val="6"/>
                <c:pt idx="0">
                  <c:v>5</c:v>
                </c:pt>
                <c:pt idx="1">
                  <c:v>2</c:v>
                </c:pt>
                <c:pt idx="2">
                  <c:v>7</c:v>
                </c:pt>
                <c:pt idx="3">
                  <c:v>2</c:v>
                </c:pt>
                <c:pt idx="4">
                  <c:v>3</c:v>
                </c:pt>
                <c:pt idx="5">
                  <c:v>0</c:v>
                </c:pt>
              </c:numCache>
            </c:numRef>
          </c:val>
          <c:extLst>
            <c:ext xmlns:c16="http://schemas.microsoft.com/office/drawing/2014/chart" uri="{C3380CC4-5D6E-409C-BE32-E72D297353CC}">
              <c16:uniqueId val="{00000003-B93D-4BA2-A15D-4F0905875B5E}"/>
            </c:ext>
          </c:extLst>
        </c:ser>
        <c:ser>
          <c:idx val="8"/>
          <c:order val="8"/>
          <c:tx>
            <c:strRef>
              <c:f>Tabelle1!$J$1</c:f>
              <c:strCache>
                <c:ptCount val="1"/>
                <c:pt idx="0">
                  <c:v>Datenreihe 9</c:v>
                </c:pt>
              </c:strCache>
            </c:strRef>
          </c:tx>
          <c:spPr>
            <a:solidFill>
              <a:srgbClr val="9D70D5"/>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J$2:$J$7</c:f>
              <c:numCache>
                <c:formatCode>0</c:formatCode>
                <c:ptCount val="6"/>
                <c:pt idx="0">
                  <c:v>4</c:v>
                </c:pt>
                <c:pt idx="1">
                  <c:v>2</c:v>
                </c:pt>
                <c:pt idx="2">
                  <c:v>2</c:v>
                </c:pt>
                <c:pt idx="3">
                  <c:v>1</c:v>
                </c:pt>
                <c:pt idx="4">
                  <c:v>6</c:v>
                </c:pt>
                <c:pt idx="5">
                  <c:v>3</c:v>
                </c:pt>
              </c:numCache>
            </c:numRef>
          </c:val>
          <c:extLst>
            <c:ext xmlns:c16="http://schemas.microsoft.com/office/drawing/2014/chart" uri="{C3380CC4-5D6E-409C-BE32-E72D297353CC}">
              <c16:uniqueId val="{00000004-B93D-4BA2-A15D-4F0905875B5E}"/>
            </c:ext>
          </c:extLst>
        </c:ser>
        <c:ser>
          <c:idx val="9"/>
          <c:order val="9"/>
          <c:tx>
            <c:strRef>
              <c:f>Tabelle1!$K$1</c:f>
              <c:strCache>
                <c:ptCount val="1"/>
                <c:pt idx="0">
                  <c:v>Datenreihe 10</c:v>
                </c:pt>
              </c:strCache>
            </c:strRef>
          </c:tx>
          <c:spPr>
            <a:solidFill>
              <a:srgbClr val="642E9E"/>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K$2:$K$7</c:f>
              <c:numCache>
                <c:formatCode>0</c:formatCode>
                <c:ptCount val="6"/>
                <c:pt idx="0">
                  <c:v>9</c:v>
                </c:pt>
                <c:pt idx="1">
                  <c:v>15</c:v>
                </c:pt>
                <c:pt idx="2">
                  <c:v>13</c:v>
                </c:pt>
                <c:pt idx="3">
                  <c:v>4</c:v>
                </c:pt>
                <c:pt idx="4">
                  <c:v>10</c:v>
                </c:pt>
                <c:pt idx="5">
                  <c:v>11</c:v>
                </c:pt>
              </c:numCache>
            </c:numRef>
          </c:val>
          <c:extLst>
            <c:ext xmlns:c16="http://schemas.microsoft.com/office/drawing/2014/chart" uri="{C3380CC4-5D6E-409C-BE32-E72D297353CC}">
              <c16:uniqueId val="{00000005-B93D-4BA2-A15D-4F0905875B5E}"/>
            </c:ext>
          </c:extLst>
        </c:ser>
        <c:ser>
          <c:idx val="10"/>
          <c:order val="10"/>
          <c:tx>
            <c:strRef>
              <c:f>Tabelle1!$L$1</c:f>
              <c:strCache>
                <c:ptCount val="1"/>
                <c:pt idx="0">
                  <c:v>Datenreihe 11</c:v>
                </c:pt>
              </c:strCache>
            </c:strRef>
          </c:tx>
          <c:spPr>
            <a:solidFill>
              <a:srgbClr val="82D0F7"/>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L$2:$L$7</c:f>
              <c:numCache>
                <c:formatCode>0</c:formatCode>
                <c:ptCount val="6"/>
                <c:pt idx="0">
                  <c:v>9</c:v>
                </c:pt>
                <c:pt idx="1">
                  <c:v>15</c:v>
                </c:pt>
                <c:pt idx="2">
                  <c:v>13</c:v>
                </c:pt>
                <c:pt idx="3">
                  <c:v>4</c:v>
                </c:pt>
                <c:pt idx="4">
                  <c:v>10</c:v>
                </c:pt>
                <c:pt idx="5">
                  <c:v>11</c:v>
                </c:pt>
              </c:numCache>
            </c:numRef>
          </c:val>
          <c:extLst>
            <c:ext xmlns:c16="http://schemas.microsoft.com/office/drawing/2014/chart" uri="{C3380CC4-5D6E-409C-BE32-E72D297353CC}">
              <c16:uniqueId val="{00000006-B93D-4BA2-A15D-4F0905875B5E}"/>
            </c:ext>
          </c:extLst>
        </c:ser>
        <c:ser>
          <c:idx val="11"/>
          <c:order val="11"/>
          <c:tx>
            <c:strRef>
              <c:f>Tabelle1!$M$1</c:f>
              <c:strCache>
                <c:ptCount val="1"/>
                <c:pt idx="0">
                  <c:v>Datenreihe 12</c:v>
                </c:pt>
              </c:strCache>
            </c:strRef>
          </c:tx>
          <c:spPr>
            <a:solidFill>
              <a:srgbClr val="1090CB"/>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M$2:$M$7</c:f>
              <c:numCache>
                <c:formatCode>0</c:formatCode>
                <c:ptCount val="6"/>
                <c:pt idx="0">
                  <c:v>5</c:v>
                </c:pt>
                <c:pt idx="1">
                  <c:v>2</c:v>
                </c:pt>
                <c:pt idx="2">
                  <c:v>7</c:v>
                </c:pt>
                <c:pt idx="3">
                  <c:v>2</c:v>
                </c:pt>
                <c:pt idx="4">
                  <c:v>3</c:v>
                </c:pt>
                <c:pt idx="5">
                  <c:v>0</c:v>
                </c:pt>
              </c:numCache>
            </c:numRef>
          </c:val>
          <c:extLst>
            <c:ext xmlns:c16="http://schemas.microsoft.com/office/drawing/2014/chart" uri="{C3380CC4-5D6E-409C-BE32-E72D297353CC}">
              <c16:uniqueId val="{00000007-B93D-4BA2-A15D-4F0905875B5E}"/>
            </c:ext>
          </c:extLst>
        </c:ser>
        <c:ser>
          <c:idx val="12"/>
          <c:order val="12"/>
          <c:tx>
            <c:strRef>
              <c:f>Tabelle1!$N$1</c:f>
              <c:strCache>
                <c:ptCount val="1"/>
                <c:pt idx="0">
                  <c:v>Datenreihe 13</c:v>
                </c:pt>
              </c:strCache>
            </c:strRef>
          </c:tx>
          <c:spPr>
            <a:solidFill>
              <a:srgbClr val="094D71"/>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N$2:$N$7</c:f>
              <c:numCache>
                <c:formatCode>0</c:formatCode>
                <c:ptCount val="6"/>
                <c:pt idx="0">
                  <c:v>4</c:v>
                </c:pt>
                <c:pt idx="1">
                  <c:v>2</c:v>
                </c:pt>
                <c:pt idx="2">
                  <c:v>2</c:v>
                </c:pt>
                <c:pt idx="3">
                  <c:v>1</c:v>
                </c:pt>
                <c:pt idx="4">
                  <c:v>6</c:v>
                </c:pt>
                <c:pt idx="5">
                  <c:v>3</c:v>
                </c:pt>
              </c:numCache>
            </c:numRef>
          </c:val>
          <c:extLst>
            <c:ext xmlns:c16="http://schemas.microsoft.com/office/drawing/2014/chart" uri="{C3380CC4-5D6E-409C-BE32-E72D297353CC}">
              <c16:uniqueId val="{00000008-B93D-4BA2-A15D-4F0905875B5E}"/>
            </c:ext>
          </c:extLst>
        </c:ser>
        <c:dLbls>
          <c:showLegendKey val="0"/>
          <c:showVal val="0"/>
          <c:showCatName val="0"/>
          <c:showSerName val="0"/>
          <c:showPercent val="0"/>
          <c:showBubbleSize val="0"/>
        </c:dLbls>
        <c:gapWidth val="50"/>
        <c:overlap val="100"/>
        <c:axId val="806757080"/>
        <c:axId val="806758720"/>
      </c:barChart>
      <c:catAx>
        <c:axId val="806757080"/>
        <c:scaling>
          <c:orientation val="minMax"/>
        </c:scaling>
        <c:delete val="0"/>
        <c:axPos val="b"/>
        <c:numFmt formatCode="General" sourceLinked="1"/>
        <c:majorTickMark val="none"/>
        <c:minorTickMark val="none"/>
        <c:tickLblPos val="nextTo"/>
        <c:spPr>
          <a:noFill/>
          <a:ln w="3175" cap="flat" cmpd="sng" algn="ctr">
            <a:solidFill>
              <a:srgbClr val="003CB4"/>
            </a:solidFill>
            <a:prstDash val="solid"/>
            <a:round/>
          </a:ln>
          <a:effectLst/>
        </c:spPr>
        <c:txPr>
          <a:bodyPr rot="-60000000" spcFirstLastPara="1" vertOverflow="ellipsis" vert="horz" wrap="square" anchor="ctr" anchorCtr="1"/>
          <a:lstStyle/>
          <a:p>
            <a:pPr>
              <a:defRPr sz="1100" b="0" i="0" u="none" strike="noStrike" kern="1200" baseline="0">
                <a:solidFill>
                  <a:srgbClr val="003CB4"/>
                </a:solidFill>
                <a:latin typeface="Frutiger for ZKB Light"/>
                <a:ea typeface="Frutiger for ZKB Light"/>
                <a:cs typeface="Frutiger for ZKB Light"/>
              </a:defRPr>
            </a:pPr>
            <a:endParaRPr lang="de-DE"/>
          </a:p>
        </c:txPr>
        <c:crossAx val="806758720"/>
        <c:crosses val="autoZero"/>
        <c:auto val="1"/>
        <c:lblAlgn val="ctr"/>
        <c:lblOffset val="100"/>
        <c:noMultiLvlLbl val="0"/>
      </c:catAx>
      <c:valAx>
        <c:axId val="806758720"/>
        <c:scaling>
          <c:orientation val="minMax"/>
        </c:scaling>
        <c:delete val="0"/>
        <c:axPos val="l"/>
        <c:majorGridlines>
          <c:spPr>
            <a:ln w="3175" cap="flat" cmpd="sng" algn="ctr">
              <a:solidFill>
                <a:srgbClr val="A0CAFD"/>
              </a:solidFill>
              <a:round/>
            </a:ln>
            <a:effectLst/>
          </c:spPr>
        </c:majorGridlines>
        <c:numFmt formatCode="0%" sourceLinked="1"/>
        <c:majorTickMark val="none"/>
        <c:minorTickMark val="none"/>
        <c:tickLblPos val="nextTo"/>
        <c:spPr>
          <a:noFill/>
          <a:ln>
            <a:noFill/>
          </a:ln>
          <a:effectLst/>
          <a:extLst>
            <a:ext uri="{91240B29-F687-4F45-9708-019B960494DF}">
              <a14:hiddenLine xmlns:a14="http://schemas.microsoft.com/office/drawing/2010/main">
                <a:solidFill>
                  <a:srgbClr val="000078"/>
                </a:solidFill>
              </a14:hiddenLine>
            </a:ext>
          </a:extLst>
        </c:spPr>
        <c:txPr>
          <a:bodyPr rot="-60000000" spcFirstLastPara="1" vertOverflow="ellipsis" vert="horz" wrap="square" anchor="ctr" anchorCtr="1"/>
          <a:lstStyle/>
          <a:p>
            <a:pPr>
              <a:defRPr sz="1100" b="0" i="0" u="none" strike="noStrike" kern="1200" baseline="0">
                <a:solidFill>
                  <a:srgbClr val="003CB4"/>
                </a:solidFill>
                <a:latin typeface="Frutiger for ZKB Light"/>
                <a:ea typeface="Frutiger for ZKB Light"/>
                <a:cs typeface="Frutiger for ZKB Light"/>
              </a:defRPr>
            </a:pPr>
            <a:endParaRPr lang="de-DE"/>
          </a:p>
        </c:txPr>
        <c:crossAx val="806757080"/>
        <c:crosses val="autoZero"/>
        <c:crossBetween val="between"/>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b"/>
      <c:layout>
        <c:manualLayout>
          <c:xMode val="edge"/>
          <c:yMode val="edge"/>
          <c:x val="0"/>
          <c:y val="0.78666593429699583"/>
          <c:w val="0.99513521628237112"/>
          <c:h val="0.21333406570300409"/>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003CB4"/>
              </a:solidFill>
              <a:latin typeface="Frutiger for ZKB Light" panose="020B0303030504020204" pitchFamily="34" charset="0"/>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a:extLst>
      <a:ext uri="{91240B29-F687-4F45-9708-019B960494DF}">
        <a14:hiddenLine xmlns:a14="http://schemas.microsoft.com/office/drawing/2010/main">
          <a:noFill/>
        </a14:hiddenLine>
      </a:ext>
    </a:extLst>
  </c:spPr>
  <c:txPr>
    <a:bodyPr/>
    <a:lstStyle/>
    <a:p>
      <a:pPr>
        <a:defRPr sz="1100">
          <a:solidFill>
            <a:schemeClr val="tx1"/>
          </a:solidFill>
        </a:defRPr>
      </a:pPr>
      <a:endParaRPr lang="de-D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948124426304309E-2"/>
          <c:y val="3.818268441559667E-2"/>
          <c:w val="0.90205190857440298"/>
          <c:h val="0.65105537578107553"/>
        </c:manualLayout>
      </c:layout>
      <c:lineChart>
        <c:grouping val="standard"/>
        <c:varyColors val="0"/>
        <c:ser>
          <c:idx val="0"/>
          <c:order val="0"/>
          <c:tx>
            <c:strRef>
              <c:f>Tabelle1!$B$1</c:f>
              <c:strCache>
                <c:ptCount val="1"/>
                <c:pt idx="0">
                  <c:v>Zuordnung 1</c:v>
                </c:pt>
              </c:strCache>
            </c:strRef>
          </c:tx>
          <c:spPr>
            <a:ln w="19050" cap="rnd" cmpd="sng" algn="ctr">
              <a:solidFill>
                <a:srgbClr val="003CB4"/>
              </a:solidFill>
              <a:prstDash val="solid"/>
              <a:round/>
              <a:headEnd type="none" w="med" len="med"/>
              <a:tailEnd type="none" w="med" len="med"/>
            </a:ln>
            <a:effectLst/>
          </c:spPr>
          <c:marker>
            <c:symbol val="none"/>
          </c:marker>
          <c:cat>
            <c:numRef>
              <c:f>Tabelle1!$A$2:$A$7</c:f>
              <c:numCache>
                <c:formatCode>General</c:formatCode>
                <c:ptCount val="6"/>
                <c:pt idx="0">
                  <c:v>2014</c:v>
                </c:pt>
                <c:pt idx="1">
                  <c:v>2015</c:v>
                </c:pt>
                <c:pt idx="2">
                  <c:v>2016</c:v>
                </c:pt>
                <c:pt idx="3">
                  <c:v>2017</c:v>
                </c:pt>
                <c:pt idx="4">
                  <c:v>2018</c:v>
                </c:pt>
                <c:pt idx="5">
                  <c:v>2019</c:v>
                </c:pt>
              </c:numCache>
            </c:numRef>
          </c:cat>
          <c:val>
            <c:numRef>
              <c:f>Tabelle1!$B$2:$B$7</c:f>
              <c:numCache>
                <c:formatCode>General</c:formatCode>
                <c:ptCount val="6"/>
                <c:pt idx="0">
                  <c:v>2</c:v>
                </c:pt>
                <c:pt idx="1">
                  <c:v>3</c:v>
                </c:pt>
                <c:pt idx="2">
                  <c:v>2.5</c:v>
                </c:pt>
                <c:pt idx="3">
                  <c:v>3.5</c:v>
                </c:pt>
                <c:pt idx="4">
                  <c:v>1</c:v>
                </c:pt>
                <c:pt idx="5">
                  <c:v>1.5</c:v>
                </c:pt>
              </c:numCache>
            </c:numRef>
          </c:val>
          <c:smooth val="0"/>
          <c:extLst>
            <c:ext xmlns:c16="http://schemas.microsoft.com/office/drawing/2014/chart" uri="{C3380CC4-5D6E-409C-BE32-E72D297353CC}">
              <c16:uniqueId val="{00000000-2102-467F-B870-5F9E13A086D0}"/>
            </c:ext>
          </c:extLst>
        </c:ser>
        <c:ser>
          <c:idx val="1"/>
          <c:order val="1"/>
          <c:tx>
            <c:strRef>
              <c:f>Tabelle1!$C$1</c:f>
              <c:strCache>
                <c:ptCount val="1"/>
                <c:pt idx="0">
                  <c:v>Zuordnung 2</c:v>
                </c:pt>
              </c:strCache>
            </c:strRef>
          </c:tx>
          <c:spPr>
            <a:ln w="19050" cap="rnd" cmpd="sng" algn="ctr">
              <a:solidFill>
                <a:srgbClr val="3D87F5"/>
              </a:solidFill>
              <a:prstDash val="solid"/>
              <a:round/>
              <a:headEnd type="none" w="med" len="med"/>
              <a:tailEnd type="none" w="med" len="med"/>
            </a:ln>
            <a:effectLst/>
          </c:spPr>
          <c:marker>
            <c:symbol val="none"/>
          </c:marker>
          <c:cat>
            <c:numRef>
              <c:f>Tabelle1!$A$2:$A$7</c:f>
              <c:numCache>
                <c:formatCode>General</c:formatCode>
                <c:ptCount val="6"/>
                <c:pt idx="0">
                  <c:v>2014</c:v>
                </c:pt>
                <c:pt idx="1">
                  <c:v>2015</c:v>
                </c:pt>
                <c:pt idx="2">
                  <c:v>2016</c:v>
                </c:pt>
                <c:pt idx="3">
                  <c:v>2017</c:v>
                </c:pt>
                <c:pt idx="4">
                  <c:v>2018</c:v>
                </c:pt>
                <c:pt idx="5">
                  <c:v>2019</c:v>
                </c:pt>
              </c:numCache>
            </c:numRef>
          </c:cat>
          <c:val>
            <c:numRef>
              <c:f>Tabelle1!$C$2:$C$7</c:f>
              <c:numCache>
                <c:formatCode>General</c:formatCode>
                <c:ptCount val="6"/>
                <c:pt idx="0">
                  <c:v>3</c:v>
                </c:pt>
                <c:pt idx="1">
                  <c:v>3.5</c:v>
                </c:pt>
                <c:pt idx="2">
                  <c:v>3.3</c:v>
                </c:pt>
                <c:pt idx="3">
                  <c:v>2.8</c:v>
                </c:pt>
                <c:pt idx="4">
                  <c:v>4.3</c:v>
                </c:pt>
                <c:pt idx="5">
                  <c:v>4</c:v>
                </c:pt>
              </c:numCache>
            </c:numRef>
          </c:val>
          <c:smooth val="0"/>
          <c:extLst>
            <c:ext xmlns:c16="http://schemas.microsoft.com/office/drawing/2014/chart" uri="{C3380CC4-5D6E-409C-BE32-E72D297353CC}">
              <c16:uniqueId val="{00000001-2102-467F-B870-5F9E13A086D0}"/>
            </c:ext>
          </c:extLst>
        </c:ser>
        <c:ser>
          <c:idx val="2"/>
          <c:order val="2"/>
          <c:tx>
            <c:strRef>
              <c:f>Tabelle1!$D$1</c:f>
              <c:strCache>
                <c:ptCount val="1"/>
                <c:pt idx="0">
                  <c:v>Zuordnung 3</c:v>
                </c:pt>
              </c:strCache>
            </c:strRef>
          </c:tx>
          <c:spPr>
            <a:ln w="19050" cap="rnd" cmpd="sng" algn="ctr">
              <a:solidFill>
                <a:srgbClr val="169C72"/>
              </a:solidFill>
              <a:prstDash val="solid"/>
              <a:round/>
              <a:headEnd type="none" w="med" len="med"/>
              <a:tailEnd type="none" w="med" len="med"/>
            </a:ln>
            <a:effectLst/>
          </c:spPr>
          <c:marker>
            <c:symbol val="none"/>
          </c:marker>
          <c:cat>
            <c:numRef>
              <c:f>Tabelle1!$A$2:$A$7</c:f>
              <c:numCache>
                <c:formatCode>General</c:formatCode>
                <c:ptCount val="6"/>
                <c:pt idx="0">
                  <c:v>2014</c:v>
                </c:pt>
                <c:pt idx="1">
                  <c:v>2015</c:v>
                </c:pt>
                <c:pt idx="2">
                  <c:v>2016</c:v>
                </c:pt>
                <c:pt idx="3">
                  <c:v>2017</c:v>
                </c:pt>
                <c:pt idx="4">
                  <c:v>2018</c:v>
                </c:pt>
                <c:pt idx="5">
                  <c:v>2019</c:v>
                </c:pt>
              </c:numCache>
            </c:numRef>
          </c:cat>
          <c:val>
            <c:numRef>
              <c:f>Tabelle1!$D$2:$D$7</c:f>
              <c:numCache>
                <c:formatCode>General</c:formatCode>
                <c:ptCount val="6"/>
                <c:pt idx="0">
                  <c:v>6</c:v>
                </c:pt>
                <c:pt idx="1">
                  <c:v>5</c:v>
                </c:pt>
                <c:pt idx="2">
                  <c:v>7</c:v>
                </c:pt>
                <c:pt idx="3">
                  <c:v>8</c:v>
                </c:pt>
                <c:pt idx="4">
                  <c:v>10</c:v>
                </c:pt>
                <c:pt idx="5">
                  <c:v>11</c:v>
                </c:pt>
              </c:numCache>
            </c:numRef>
          </c:val>
          <c:smooth val="0"/>
          <c:extLst>
            <c:ext xmlns:c16="http://schemas.microsoft.com/office/drawing/2014/chart" uri="{C3380CC4-5D6E-409C-BE32-E72D297353CC}">
              <c16:uniqueId val="{00000002-2102-467F-B870-5F9E13A086D0}"/>
            </c:ext>
          </c:extLst>
        </c:ser>
        <c:ser>
          <c:idx val="3"/>
          <c:order val="3"/>
          <c:tx>
            <c:strRef>
              <c:f>Tabelle1!$E$1</c:f>
              <c:strCache>
                <c:ptCount val="1"/>
                <c:pt idx="0">
                  <c:v>Zuordnung 4</c:v>
                </c:pt>
              </c:strCache>
            </c:strRef>
          </c:tx>
          <c:spPr>
            <a:ln w="19050" cap="rnd" cmpd="sng" algn="ctr">
              <a:solidFill>
                <a:srgbClr val="68D9B1"/>
              </a:solidFill>
              <a:prstDash val="solid"/>
              <a:round/>
              <a:headEnd type="none" w="med" len="med"/>
              <a:tailEnd type="none" w="med" len="med"/>
            </a:ln>
            <a:effectLst/>
          </c:spPr>
          <c:marker>
            <c:symbol val="none"/>
          </c:marker>
          <c:cat>
            <c:numRef>
              <c:f>Tabelle1!$A$2:$A$7</c:f>
              <c:numCache>
                <c:formatCode>General</c:formatCode>
                <c:ptCount val="6"/>
                <c:pt idx="0">
                  <c:v>2014</c:v>
                </c:pt>
                <c:pt idx="1">
                  <c:v>2015</c:v>
                </c:pt>
                <c:pt idx="2">
                  <c:v>2016</c:v>
                </c:pt>
                <c:pt idx="3">
                  <c:v>2017</c:v>
                </c:pt>
                <c:pt idx="4">
                  <c:v>2018</c:v>
                </c:pt>
                <c:pt idx="5">
                  <c:v>2019</c:v>
                </c:pt>
              </c:numCache>
            </c:numRef>
          </c:cat>
          <c:val>
            <c:numRef>
              <c:f>Tabelle1!$E$2:$E$7</c:f>
              <c:numCache>
                <c:formatCode>General</c:formatCode>
                <c:ptCount val="6"/>
                <c:pt idx="0">
                  <c:v>7</c:v>
                </c:pt>
                <c:pt idx="1">
                  <c:v>7</c:v>
                </c:pt>
                <c:pt idx="2">
                  <c:v>6</c:v>
                </c:pt>
                <c:pt idx="3">
                  <c:v>7</c:v>
                </c:pt>
                <c:pt idx="4">
                  <c:v>6.5</c:v>
                </c:pt>
                <c:pt idx="5">
                  <c:v>7</c:v>
                </c:pt>
              </c:numCache>
            </c:numRef>
          </c:val>
          <c:smooth val="0"/>
          <c:extLst>
            <c:ext xmlns:c16="http://schemas.microsoft.com/office/drawing/2014/chart" uri="{C3380CC4-5D6E-409C-BE32-E72D297353CC}">
              <c16:uniqueId val="{00000003-2102-467F-B870-5F9E13A086D0}"/>
            </c:ext>
          </c:extLst>
        </c:ser>
        <c:ser>
          <c:idx val="4"/>
          <c:order val="4"/>
          <c:tx>
            <c:strRef>
              <c:f>Tabelle1!$F$1</c:f>
              <c:strCache>
                <c:ptCount val="1"/>
                <c:pt idx="0">
                  <c:v>Zuordnung 5</c:v>
                </c:pt>
              </c:strCache>
            </c:strRef>
          </c:tx>
          <c:spPr>
            <a:ln w="19050" cap="rnd" cmpd="sng" algn="ctr">
              <a:solidFill>
                <a:srgbClr val="9D70D5"/>
              </a:solidFill>
              <a:prstDash val="solid"/>
              <a:round/>
              <a:headEnd type="none" w="med" len="med"/>
              <a:tailEnd type="none" w="med" len="med"/>
            </a:ln>
            <a:effectLst/>
          </c:spPr>
          <c:marker>
            <c:symbol val="none"/>
          </c:marker>
          <c:cat>
            <c:numRef>
              <c:f>Tabelle1!$A$2:$A$7</c:f>
              <c:numCache>
                <c:formatCode>General</c:formatCode>
                <c:ptCount val="6"/>
                <c:pt idx="0">
                  <c:v>2014</c:v>
                </c:pt>
                <c:pt idx="1">
                  <c:v>2015</c:v>
                </c:pt>
                <c:pt idx="2">
                  <c:v>2016</c:v>
                </c:pt>
                <c:pt idx="3">
                  <c:v>2017</c:v>
                </c:pt>
                <c:pt idx="4">
                  <c:v>2018</c:v>
                </c:pt>
                <c:pt idx="5">
                  <c:v>2019</c:v>
                </c:pt>
              </c:numCache>
            </c:numRef>
          </c:cat>
          <c:val>
            <c:numRef>
              <c:f>Tabelle1!$F$2:$F$7</c:f>
              <c:numCache>
                <c:formatCode>General</c:formatCode>
                <c:ptCount val="6"/>
                <c:pt idx="0">
                  <c:v>9</c:v>
                </c:pt>
                <c:pt idx="1">
                  <c:v>8</c:v>
                </c:pt>
                <c:pt idx="2">
                  <c:v>9</c:v>
                </c:pt>
                <c:pt idx="3">
                  <c:v>8.5</c:v>
                </c:pt>
                <c:pt idx="4">
                  <c:v>9</c:v>
                </c:pt>
                <c:pt idx="5">
                  <c:v>8.5</c:v>
                </c:pt>
              </c:numCache>
            </c:numRef>
          </c:val>
          <c:smooth val="0"/>
          <c:extLst>
            <c:ext xmlns:c16="http://schemas.microsoft.com/office/drawing/2014/chart" uri="{C3380CC4-5D6E-409C-BE32-E72D297353CC}">
              <c16:uniqueId val="{00000006-2102-467F-B870-5F9E13A086D0}"/>
            </c:ext>
          </c:extLst>
        </c:ser>
        <c:ser>
          <c:idx val="5"/>
          <c:order val="5"/>
          <c:tx>
            <c:strRef>
              <c:f>Tabelle1!$G$1</c:f>
              <c:strCache>
                <c:ptCount val="1"/>
                <c:pt idx="0">
                  <c:v>Zuordnung 6</c:v>
                </c:pt>
              </c:strCache>
            </c:strRef>
          </c:tx>
          <c:spPr>
            <a:ln w="19050" cap="rnd" cmpd="sng" algn="ctr">
              <a:solidFill>
                <a:srgbClr val="D3BEF4"/>
              </a:solidFill>
              <a:prstDash val="solid"/>
              <a:round/>
              <a:headEnd type="none" w="med" len="med"/>
              <a:tailEnd type="none" w="med" len="med"/>
            </a:ln>
            <a:effectLst/>
          </c:spPr>
          <c:marker>
            <c:symbol val="none"/>
          </c:marker>
          <c:cat>
            <c:numRef>
              <c:f>Tabelle1!$A$2:$A$7</c:f>
              <c:numCache>
                <c:formatCode>General</c:formatCode>
                <c:ptCount val="6"/>
                <c:pt idx="0">
                  <c:v>2014</c:v>
                </c:pt>
                <c:pt idx="1">
                  <c:v>2015</c:v>
                </c:pt>
                <c:pt idx="2">
                  <c:v>2016</c:v>
                </c:pt>
                <c:pt idx="3">
                  <c:v>2017</c:v>
                </c:pt>
                <c:pt idx="4">
                  <c:v>2018</c:v>
                </c:pt>
                <c:pt idx="5">
                  <c:v>2019</c:v>
                </c:pt>
              </c:numCache>
            </c:numRef>
          </c:cat>
          <c:val>
            <c:numRef>
              <c:f>Tabelle1!$G$2:$G$7</c:f>
              <c:numCache>
                <c:formatCode>General</c:formatCode>
                <c:ptCount val="6"/>
                <c:pt idx="0">
                  <c:v>11</c:v>
                </c:pt>
                <c:pt idx="1">
                  <c:v>10.5</c:v>
                </c:pt>
                <c:pt idx="2">
                  <c:v>11.5</c:v>
                </c:pt>
                <c:pt idx="3">
                  <c:v>15</c:v>
                </c:pt>
                <c:pt idx="4">
                  <c:v>12</c:v>
                </c:pt>
                <c:pt idx="5">
                  <c:v>13</c:v>
                </c:pt>
              </c:numCache>
            </c:numRef>
          </c:val>
          <c:smooth val="0"/>
          <c:extLst>
            <c:ext xmlns:c16="http://schemas.microsoft.com/office/drawing/2014/chart" uri="{C3380CC4-5D6E-409C-BE32-E72D297353CC}">
              <c16:uniqueId val="{00000007-2102-467F-B870-5F9E13A086D0}"/>
            </c:ext>
          </c:extLst>
        </c:ser>
        <c:dLbls>
          <c:showLegendKey val="0"/>
          <c:showVal val="0"/>
          <c:showCatName val="0"/>
          <c:showSerName val="0"/>
          <c:showPercent val="0"/>
          <c:showBubbleSize val="0"/>
        </c:dLbls>
        <c:smooth val="0"/>
        <c:axId val="806757080"/>
        <c:axId val="806758720"/>
      </c:lineChart>
      <c:catAx>
        <c:axId val="806757080"/>
        <c:scaling>
          <c:orientation val="minMax"/>
        </c:scaling>
        <c:delete val="0"/>
        <c:axPos val="b"/>
        <c:numFmt formatCode="General" sourceLinked="1"/>
        <c:majorTickMark val="none"/>
        <c:minorTickMark val="none"/>
        <c:tickLblPos val="nextTo"/>
        <c:spPr>
          <a:noFill/>
          <a:ln w="3175" cap="flat" cmpd="sng" algn="ctr">
            <a:solidFill>
              <a:srgbClr val="003CB4"/>
            </a:solidFill>
            <a:prstDash val="solid"/>
            <a:round/>
          </a:ln>
          <a:effectLst/>
        </c:spPr>
        <c:txPr>
          <a:bodyPr rot="-60000000" spcFirstLastPara="1" vertOverflow="ellipsis" vert="horz" wrap="square" anchor="ctr" anchorCtr="1"/>
          <a:lstStyle/>
          <a:p>
            <a:pPr>
              <a:defRPr sz="1100" b="0" i="0" u="none" strike="noStrike" kern="1200" baseline="0">
                <a:solidFill>
                  <a:srgbClr val="003CB4"/>
                </a:solidFill>
                <a:latin typeface="Frutiger for ZKB Light"/>
                <a:ea typeface="Frutiger for ZKB Light"/>
                <a:cs typeface="Frutiger for ZKB Light"/>
              </a:defRPr>
            </a:pPr>
            <a:endParaRPr lang="de-DE"/>
          </a:p>
        </c:txPr>
        <c:crossAx val="806758720"/>
        <c:crosses val="autoZero"/>
        <c:auto val="1"/>
        <c:lblAlgn val="ctr"/>
        <c:lblOffset val="100"/>
        <c:noMultiLvlLbl val="0"/>
      </c:catAx>
      <c:valAx>
        <c:axId val="806758720"/>
        <c:scaling>
          <c:orientation val="minMax"/>
        </c:scaling>
        <c:delete val="0"/>
        <c:axPos val="l"/>
        <c:majorGridlines>
          <c:spPr>
            <a:ln w="3175" cap="flat" cmpd="sng" algn="ctr">
              <a:solidFill>
                <a:srgbClr val="A0CAFD"/>
              </a:solidFill>
              <a:round/>
            </a:ln>
            <a:effectLst/>
          </c:spPr>
        </c:majorGridlines>
        <c:numFmt formatCode="General" sourceLinked="1"/>
        <c:majorTickMark val="none"/>
        <c:minorTickMark val="none"/>
        <c:tickLblPos val="nextTo"/>
        <c:spPr>
          <a:noFill/>
          <a:ln>
            <a:noFill/>
          </a:ln>
          <a:effectLst/>
          <a:extLst>
            <a:ext uri="{91240B29-F687-4F45-9708-019B960494DF}">
              <a14:hiddenLine xmlns:a14="http://schemas.microsoft.com/office/drawing/2010/main">
                <a:solidFill>
                  <a:srgbClr val="000078"/>
                </a:solidFill>
              </a14:hiddenLine>
            </a:ext>
          </a:extLst>
        </c:spPr>
        <c:txPr>
          <a:bodyPr rot="-60000000" spcFirstLastPara="1" vertOverflow="ellipsis" vert="horz" wrap="square" anchor="ctr" anchorCtr="1"/>
          <a:lstStyle/>
          <a:p>
            <a:pPr>
              <a:defRPr sz="1100" b="0" i="0" u="none" strike="noStrike" kern="1200" baseline="0">
                <a:solidFill>
                  <a:srgbClr val="003CB4"/>
                </a:solidFill>
                <a:latin typeface="Frutiger for ZKB Light"/>
                <a:ea typeface="Frutiger for ZKB Light"/>
                <a:cs typeface="Frutiger for ZKB Light"/>
              </a:defRPr>
            </a:pPr>
            <a:endParaRPr lang="de-DE"/>
          </a:p>
        </c:txPr>
        <c:crossAx val="806757080"/>
        <c:crosses val="autoZero"/>
        <c:crossBetween val="between"/>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b"/>
      <c:layout>
        <c:manualLayout>
          <c:xMode val="edge"/>
          <c:yMode val="edge"/>
          <c:x val="1.7123232262218978E-2"/>
          <c:y val="0.81191777543209587"/>
          <c:w val="0.98161355490223079"/>
          <c:h val="0.12656366931123364"/>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003CB4"/>
              </a:solidFill>
              <a:latin typeface="Frutiger for ZKB Light" panose="020B0303030504020204" pitchFamily="34" charset="0"/>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a:extLst>
      <a:ext uri="{91240B29-F687-4F45-9708-019B960494DF}">
        <a14:hiddenLine xmlns:a14="http://schemas.microsoft.com/office/drawing/2010/main">
          <a:noFill/>
        </a14:hiddenLine>
      </a:ext>
    </a:extLst>
  </c:spPr>
  <c:txPr>
    <a:bodyPr/>
    <a:lstStyle/>
    <a:p>
      <a:pPr>
        <a:defRPr sz="1100">
          <a:solidFill>
            <a:schemeClr val="tx1"/>
          </a:solidFill>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938066250831837E-2"/>
          <c:y val="3.8490765622194403E-2"/>
          <c:w val="0.67997469545735112"/>
          <c:h val="0.86982786607335316"/>
        </c:manualLayout>
      </c:layout>
      <c:barChart>
        <c:barDir val="col"/>
        <c:grouping val="clustered"/>
        <c:varyColors val="1"/>
        <c:ser>
          <c:idx val="0"/>
          <c:order val="0"/>
          <c:tx>
            <c:strRef>
              <c:f>Sheet1!$A$2</c:f>
              <c:strCache>
                <c:ptCount val="1"/>
                <c:pt idx="0">
                  <c:v>Datenreihe 1</c:v>
                </c:pt>
              </c:strCache>
            </c:strRef>
          </c:tx>
          <c:spPr>
            <a:solidFill>
              <a:srgbClr val="A0CAFD"/>
            </a:solidFill>
            <a:ln w="14564">
              <a:noFill/>
              <a:prstDash val="solid"/>
            </a:ln>
            <a:effectLst/>
          </c:spPr>
          <c:invertIfNegative val="0"/>
          <c:dPt>
            <c:idx val="0"/>
            <c:invertIfNegative val="0"/>
            <c:bubble3D val="0"/>
            <c:extLst>
              <c:ext xmlns:c16="http://schemas.microsoft.com/office/drawing/2014/chart" uri="{C3380CC4-5D6E-409C-BE32-E72D297353CC}">
                <c16:uniqueId val="{00000000-13D3-41B9-89E6-4305F027C1DE}"/>
              </c:ext>
            </c:extLst>
          </c:dPt>
          <c:dPt>
            <c:idx val="1"/>
            <c:invertIfNegative val="0"/>
            <c:bubble3D val="0"/>
            <c:extLst>
              <c:ext xmlns:c16="http://schemas.microsoft.com/office/drawing/2014/chart" uri="{C3380CC4-5D6E-409C-BE32-E72D297353CC}">
                <c16:uniqueId val="{00000001-13D3-41B9-89E6-4305F027C1DE}"/>
              </c:ext>
            </c:extLst>
          </c:dPt>
          <c:dPt>
            <c:idx val="2"/>
            <c:invertIfNegative val="0"/>
            <c:bubble3D val="0"/>
            <c:extLst>
              <c:ext xmlns:c16="http://schemas.microsoft.com/office/drawing/2014/chart" uri="{C3380CC4-5D6E-409C-BE32-E72D297353CC}">
                <c16:uniqueId val="{00000002-13D3-41B9-89E6-4305F027C1DE}"/>
              </c:ext>
            </c:extLst>
          </c:dPt>
          <c:dPt>
            <c:idx val="3"/>
            <c:invertIfNegative val="0"/>
            <c:bubble3D val="0"/>
            <c:extLst>
              <c:ext xmlns:c16="http://schemas.microsoft.com/office/drawing/2014/chart" uri="{C3380CC4-5D6E-409C-BE32-E72D297353CC}">
                <c16:uniqueId val="{00000003-13D3-41B9-89E6-4305F027C1DE}"/>
              </c:ext>
            </c:extLst>
          </c:dPt>
          <c:dPt>
            <c:idx val="4"/>
            <c:invertIfNegative val="0"/>
            <c:bubble3D val="0"/>
            <c:extLst>
              <c:ext xmlns:c16="http://schemas.microsoft.com/office/drawing/2014/chart" uri="{C3380CC4-5D6E-409C-BE32-E72D297353CC}">
                <c16:uniqueId val="{00000004-13D3-41B9-89E6-4305F027C1DE}"/>
              </c:ext>
            </c:extLst>
          </c:dPt>
          <c:cat>
            <c:strRef>
              <c:f>Sheet1!$B$1:$E$1</c:f>
              <c:strCache>
                <c:ptCount val="4"/>
                <c:pt idx="0">
                  <c:v>Kategorie 1</c:v>
                </c:pt>
                <c:pt idx="1">
                  <c:v>Kategorie 2</c:v>
                </c:pt>
                <c:pt idx="2">
                  <c:v>Kategorie 3</c:v>
                </c:pt>
                <c:pt idx="3">
                  <c:v>Kategorie 4</c:v>
                </c:pt>
              </c:strCache>
            </c:strRef>
          </c:cat>
          <c:val>
            <c:numRef>
              <c:f>Sheet1!$B$2:$E$2</c:f>
              <c:numCache>
                <c:formatCode>General</c:formatCode>
                <c:ptCount val="4"/>
                <c:pt idx="0">
                  <c:v>20</c:v>
                </c:pt>
                <c:pt idx="1">
                  <c:v>27</c:v>
                </c:pt>
                <c:pt idx="2">
                  <c:v>90</c:v>
                </c:pt>
                <c:pt idx="3">
                  <c:v>20</c:v>
                </c:pt>
              </c:numCache>
            </c:numRef>
          </c:val>
          <c:extLst>
            <c:ext xmlns:c16="http://schemas.microsoft.com/office/drawing/2014/chart" uri="{C3380CC4-5D6E-409C-BE32-E72D297353CC}">
              <c16:uniqueId val="{00000005-13D3-41B9-89E6-4305F027C1DE}"/>
            </c:ext>
          </c:extLst>
        </c:ser>
        <c:dLbls>
          <c:showLegendKey val="0"/>
          <c:showVal val="0"/>
          <c:showCatName val="0"/>
          <c:showSerName val="0"/>
          <c:showPercent val="0"/>
          <c:showBubbleSize val="0"/>
        </c:dLbls>
        <c:gapWidth val="150"/>
        <c:axId val="121368576"/>
        <c:axId val="121370112"/>
      </c:barChart>
      <c:lineChart>
        <c:grouping val="standard"/>
        <c:varyColors val="1"/>
        <c:ser>
          <c:idx val="1"/>
          <c:order val="1"/>
          <c:tx>
            <c:strRef>
              <c:f>Sheet1!$A$3</c:f>
              <c:strCache>
                <c:ptCount val="1"/>
                <c:pt idx="0">
                  <c:v>Datenreihe 2</c:v>
                </c:pt>
              </c:strCache>
            </c:strRef>
          </c:tx>
          <c:spPr>
            <a:ln w="28575">
              <a:solidFill>
                <a:srgbClr val="003CB4"/>
              </a:solidFill>
            </a:ln>
          </c:spPr>
          <c:marker>
            <c:symbol val="none"/>
          </c:marker>
          <c:dLbls>
            <c:dLbl>
              <c:idx val="1"/>
              <c:layout>
                <c:manualLayout>
                  <c:x val="-3.0489946354414224E-2"/>
                  <c:y val="-5.54712643678161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3D3-41B9-89E6-4305F027C1DE}"/>
                </c:ext>
              </c:extLst>
            </c:dLbl>
            <c:dLbl>
              <c:idx val="2"/>
              <c:tx>
                <c:rich>
                  <a:bodyPr/>
                  <a:lstStyle/>
                  <a:p>
                    <a:pPr>
                      <a:defRPr>
                        <a:solidFill>
                          <a:srgbClr val="003CB4"/>
                        </a:solidFill>
                        <a:latin typeface="Frutiger for ZKB Light" panose="020B0303030504020204" pitchFamily="34" charset="0"/>
                      </a:defRPr>
                    </a:pPr>
                    <a:fld id="{C351DBC9-1761-4328-B16F-675B46FC000F}" type="VALUE">
                      <a:rPr lang="en-US">
                        <a:solidFill>
                          <a:srgbClr val="003CB4"/>
                        </a:solidFill>
                        <a:latin typeface="Frutiger for ZKB Light" panose="020B0303030504020204" pitchFamily="34" charset="0"/>
                      </a:rPr>
                      <a:pPr>
                        <a:defRPr>
                          <a:solidFill>
                            <a:srgbClr val="003CB4"/>
                          </a:solidFill>
                          <a:latin typeface="Frutiger for ZKB Light" panose="020B0303030504020204" pitchFamily="34" charset="0"/>
                        </a:defRPr>
                      </a:pPr>
                      <a:t>[VALUE]</a:t>
                    </a:fld>
                    <a:endParaRPr lang="de-CH"/>
                  </a:p>
                </c:rich>
              </c:tx>
              <c:numFmt formatCode="##,#00" sourceLinked="0"/>
              <c:spPr>
                <a:noFill/>
              </c:spPr>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13D3-41B9-89E6-4305F027C1DE}"/>
                </c:ext>
              </c:extLst>
            </c:dLbl>
            <c:numFmt formatCode="##,#00" sourceLinked="0"/>
            <c:spPr>
              <a:solidFill>
                <a:srgbClr val="FFFFFF"/>
              </a:solidFill>
              <a:ln>
                <a:noFill/>
              </a:ln>
              <a:effectLst/>
            </c:spPr>
            <c:txPr>
              <a:bodyPr wrap="square" lIns="38100" tIns="19050" rIns="38100" bIns="19050" anchor="ctr">
                <a:spAutoFit/>
              </a:bodyPr>
              <a:lstStyle/>
              <a:p>
                <a:pPr>
                  <a:defRPr>
                    <a:solidFill>
                      <a:srgbClr val="003CB4"/>
                    </a:solidFill>
                    <a:latin typeface="Frutiger for ZKB Light" panose="020B0303030504020204" pitchFamily="34" charset="0"/>
                  </a:defRPr>
                </a:pPr>
                <a:endParaRPr lang="de-D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Kategorie 1</c:v>
                </c:pt>
                <c:pt idx="1">
                  <c:v>Kategorie 2</c:v>
                </c:pt>
                <c:pt idx="2">
                  <c:v>Kategorie 3</c:v>
                </c:pt>
                <c:pt idx="3">
                  <c:v>Kategorie 4</c:v>
                </c:pt>
              </c:strCache>
            </c:strRef>
          </c:cat>
          <c:val>
            <c:numRef>
              <c:f>Sheet1!$B$3:$E$3</c:f>
              <c:numCache>
                <c:formatCode>General</c:formatCode>
                <c:ptCount val="4"/>
                <c:pt idx="0">
                  <c:v>30</c:v>
                </c:pt>
                <c:pt idx="1">
                  <c:v>40</c:v>
                </c:pt>
                <c:pt idx="2">
                  <c:v>70</c:v>
                </c:pt>
                <c:pt idx="3">
                  <c:v>75</c:v>
                </c:pt>
              </c:numCache>
            </c:numRef>
          </c:val>
          <c:smooth val="0"/>
          <c:extLst>
            <c:ext xmlns:c16="http://schemas.microsoft.com/office/drawing/2014/chart" uri="{C3380CC4-5D6E-409C-BE32-E72D297353CC}">
              <c16:uniqueId val="{00000008-13D3-41B9-89E6-4305F027C1DE}"/>
            </c:ext>
          </c:extLst>
        </c:ser>
        <c:dLbls>
          <c:showLegendKey val="0"/>
          <c:showVal val="0"/>
          <c:showCatName val="0"/>
          <c:showSerName val="0"/>
          <c:showPercent val="0"/>
          <c:showBubbleSize val="0"/>
        </c:dLbls>
        <c:marker val="1"/>
        <c:smooth val="0"/>
        <c:axId val="121368576"/>
        <c:axId val="121370112"/>
      </c:lineChart>
      <c:catAx>
        <c:axId val="121368576"/>
        <c:scaling>
          <c:orientation val="minMax"/>
        </c:scaling>
        <c:delete val="0"/>
        <c:axPos val="b"/>
        <c:numFmt formatCode="#,##0" sourceLinked="0"/>
        <c:majorTickMark val="none"/>
        <c:minorTickMark val="none"/>
        <c:tickLblPos val="low"/>
        <c:spPr>
          <a:ln w="3175">
            <a:solidFill>
              <a:srgbClr val="003CB4"/>
            </a:solidFill>
          </a:ln>
        </c:spPr>
        <c:txPr>
          <a:bodyPr/>
          <a:lstStyle/>
          <a:p>
            <a:pPr>
              <a:defRPr>
                <a:solidFill>
                  <a:srgbClr val="003CB4"/>
                </a:solidFill>
                <a:latin typeface="Frutiger for ZKB Light"/>
                <a:ea typeface="Frutiger for ZKB Light"/>
                <a:cs typeface="Frutiger for ZKB Light"/>
              </a:defRPr>
            </a:pPr>
            <a:endParaRPr lang="de-DE"/>
          </a:p>
        </c:txPr>
        <c:crossAx val="121370112"/>
        <c:crosses val="autoZero"/>
        <c:auto val="1"/>
        <c:lblAlgn val="ctr"/>
        <c:lblOffset val="100"/>
        <c:noMultiLvlLbl val="1"/>
      </c:catAx>
      <c:valAx>
        <c:axId val="121370112"/>
        <c:scaling>
          <c:orientation val="minMax"/>
          <c:max val="100"/>
          <c:min val="0"/>
        </c:scaling>
        <c:delete val="0"/>
        <c:axPos val="l"/>
        <c:majorGridlines>
          <c:spPr>
            <a:ln w="3175">
              <a:solidFill>
                <a:srgbClr val="A0CAFD"/>
              </a:solidFill>
              <a:prstDash val="solid"/>
            </a:ln>
          </c:spPr>
        </c:majorGridlines>
        <c:numFmt formatCode="#\ ##0" sourceLinked="0"/>
        <c:majorTickMark val="none"/>
        <c:minorTickMark val="none"/>
        <c:tickLblPos val="nextTo"/>
        <c:spPr>
          <a:ln>
            <a:noFill/>
          </a:ln>
        </c:spPr>
        <c:txPr>
          <a:bodyPr/>
          <a:lstStyle/>
          <a:p>
            <a:pPr>
              <a:defRPr>
                <a:solidFill>
                  <a:srgbClr val="003CB4"/>
                </a:solidFill>
                <a:latin typeface="Frutiger for ZKB Light"/>
                <a:ea typeface="Frutiger for ZKB Light"/>
                <a:cs typeface="Frutiger for ZKB Light"/>
              </a:defRPr>
            </a:pPr>
            <a:endParaRPr lang="de-DE"/>
          </a:p>
        </c:txPr>
        <c:crossAx val="121368576"/>
        <c:crosses val="autoZero"/>
        <c:crossBetween val="between"/>
        <c:majorUnit val="20"/>
      </c:valAx>
      <c:spPr>
        <a:noFill/>
        <a:ln w="29128">
          <a:noFill/>
        </a:ln>
      </c:spPr>
    </c:plotArea>
    <c:legend>
      <c:legendPos val="b"/>
      <c:layout>
        <c:manualLayout>
          <c:xMode val="edge"/>
          <c:yMode val="edge"/>
          <c:x val="0.74258859534027422"/>
          <c:y val="0.7646503171077671"/>
          <c:w val="0.20306736003501516"/>
          <c:h val="0.16724006912728093"/>
        </c:manualLayout>
      </c:layout>
      <c:overlay val="0"/>
      <c:txPr>
        <a:bodyPr/>
        <a:lstStyle/>
        <a:p>
          <a:pPr>
            <a:defRPr sz="1200">
              <a:solidFill>
                <a:srgbClr val="003CB4"/>
              </a:solidFill>
              <a:latin typeface="Frutiger for ZKB Light" panose="020B0303030504020204" pitchFamily="34" charset="0"/>
            </a:defRPr>
          </a:pPr>
          <a:endParaRPr lang="de-DE"/>
        </a:p>
      </c:txPr>
    </c:legend>
    <c:plotVisOnly val="1"/>
    <c:dispBlanksAs val="gap"/>
    <c:showDLblsOverMax val="1"/>
  </c:chart>
  <c:spPr>
    <a:noFill/>
    <a:ln>
      <a:noFill/>
    </a:ln>
    <a:effectLst/>
  </c:spPr>
  <c:txPr>
    <a:bodyPr/>
    <a:lstStyle/>
    <a:p>
      <a:pPr>
        <a:lnSpc>
          <a:spcPts val="2200"/>
        </a:lnSpc>
        <a:defRPr sz="1400" b="0" i="0" u="none" strike="noStrike" baseline="0">
          <a:solidFill>
            <a:schemeClr val="tx1"/>
          </a:solidFill>
          <a:latin typeface="+mn-lt"/>
          <a:ea typeface="Frutiger for ZKB Light"/>
          <a:cs typeface="Frutiger for ZKB Light"/>
        </a:defRPr>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31462129207852E-4"/>
          <c:y val="3.7327107279693482E-2"/>
          <c:w val="0.68348464271428444"/>
          <c:h val="0.80683764367816102"/>
        </c:manualLayout>
      </c:layout>
      <c:barChart>
        <c:barDir val="col"/>
        <c:grouping val="stacked"/>
        <c:varyColors val="0"/>
        <c:ser>
          <c:idx val="0"/>
          <c:order val="0"/>
          <c:tx>
            <c:strRef>
              <c:f>Tabelle1!$A$2</c:f>
              <c:strCache>
                <c:ptCount val="1"/>
                <c:pt idx="0">
                  <c:v>Datenreihe 1</c:v>
                </c:pt>
              </c:strCache>
            </c:strRef>
          </c:tx>
          <c:spPr>
            <a:solidFill>
              <a:srgbClr val="A0CAFD"/>
            </a:solidFill>
          </c:spPr>
          <c:invertIfNegative val="0"/>
          <c:dLbls>
            <c:numFmt formatCode="##,#00" sourceLinked="0"/>
            <c:spPr>
              <a:noFill/>
              <a:ln>
                <a:noFill/>
              </a:ln>
              <a:effectLst/>
            </c:spPr>
            <c:txPr>
              <a:bodyPr wrap="square" lIns="38100" tIns="19050" rIns="38100" bIns="19050" anchor="ctr">
                <a:spAutoFit/>
              </a:bodyPr>
              <a:lstStyle/>
              <a:p>
                <a:pPr>
                  <a:defRPr>
                    <a:solidFill>
                      <a:srgbClr val="FFFFFF"/>
                    </a:solidFill>
                    <a:latin typeface="Frutiger for ZKB Light" panose="020B0303030504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B$1:$E$1</c:f>
              <c:strCache>
                <c:ptCount val="4"/>
                <c:pt idx="0">
                  <c:v>Kategorie 1</c:v>
                </c:pt>
                <c:pt idx="1">
                  <c:v>Kategorie 2</c:v>
                </c:pt>
                <c:pt idx="2">
                  <c:v>Kategorie 3</c:v>
                </c:pt>
                <c:pt idx="3">
                  <c:v>Kategorie 4</c:v>
                </c:pt>
              </c:strCache>
            </c:strRef>
          </c:cat>
          <c:val>
            <c:numRef>
              <c:f>Tabelle1!$B$2:$E$2</c:f>
              <c:numCache>
                <c:formatCode>General</c:formatCode>
                <c:ptCount val="4"/>
                <c:pt idx="0">
                  <c:v>20.399999999999999</c:v>
                </c:pt>
                <c:pt idx="1">
                  <c:v>27.4</c:v>
                </c:pt>
                <c:pt idx="2">
                  <c:v>90</c:v>
                </c:pt>
                <c:pt idx="3">
                  <c:v>20.399999999999999</c:v>
                </c:pt>
              </c:numCache>
            </c:numRef>
          </c:val>
          <c:extLst>
            <c:ext xmlns:c16="http://schemas.microsoft.com/office/drawing/2014/chart" uri="{C3380CC4-5D6E-409C-BE32-E72D297353CC}">
              <c16:uniqueId val="{00000000-E396-4CD2-90BB-EDCF72FF8557}"/>
            </c:ext>
          </c:extLst>
        </c:ser>
        <c:ser>
          <c:idx val="1"/>
          <c:order val="1"/>
          <c:tx>
            <c:strRef>
              <c:f>Tabelle1!$A$3</c:f>
              <c:strCache>
                <c:ptCount val="1"/>
                <c:pt idx="0">
                  <c:v>Datenreihe 2</c:v>
                </c:pt>
              </c:strCache>
            </c:strRef>
          </c:tx>
          <c:spPr>
            <a:solidFill>
              <a:srgbClr val="65A6FB"/>
            </a:solidFill>
          </c:spPr>
          <c:invertIfNegative val="0"/>
          <c:dLbls>
            <c:numFmt formatCode="##,#00" sourceLinked="0"/>
            <c:spPr>
              <a:noFill/>
              <a:ln>
                <a:noFill/>
              </a:ln>
              <a:effectLst/>
            </c:spPr>
            <c:txPr>
              <a:bodyPr wrap="square" lIns="38100" tIns="19050" rIns="38100" bIns="19050" anchor="ctr">
                <a:spAutoFit/>
              </a:bodyPr>
              <a:lstStyle/>
              <a:p>
                <a:pPr>
                  <a:defRPr>
                    <a:solidFill>
                      <a:srgbClr val="FFFFFF"/>
                    </a:solidFill>
                    <a:latin typeface="Frutiger for ZKB Light" panose="020B0303030504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B$1:$E$1</c:f>
              <c:strCache>
                <c:ptCount val="4"/>
                <c:pt idx="0">
                  <c:v>Kategorie 1</c:v>
                </c:pt>
                <c:pt idx="1">
                  <c:v>Kategorie 2</c:v>
                </c:pt>
                <c:pt idx="2">
                  <c:v>Kategorie 3</c:v>
                </c:pt>
                <c:pt idx="3">
                  <c:v>Kategorie 4</c:v>
                </c:pt>
              </c:strCache>
            </c:strRef>
          </c:cat>
          <c:val>
            <c:numRef>
              <c:f>Tabelle1!$B$3:$E$3</c:f>
              <c:numCache>
                <c:formatCode>General</c:formatCode>
                <c:ptCount val="4"/>
                <c:pt idx="0">
                  <c:v>30.6</c:v>
                </c:pt>
                <c:pt idx="1">
                  <c:v>38.6</c:v>
                </c:pt>
                <c:pt idx="2">
                  <c:v>34.6</c:v>
                </c:pt>
                <c:pt idx="3">
                  <c:v>31.6</c:v>
                </c:pt>
              </c:numCache>
            </c:numRef>
          </c:val>
          <c:extLst>
            <c:ext xmlns:c16="http://schemas.microsoft.com/office/drawing/2014/chart" uri="{C3380CC4-5D6E-409C-BE32-E72D297353CC}">
              <c16:uniqueId val="{00000001-E396-4CD2-90BB-EDCF72FF8557}"/>
            </c:ext>
          </c:extLst>
        </c:ser>
        <c:ser>
          <c:idx val="2"/>
          <c:order val="2"/>
          <c:tx>
            <c:strRef>
              <c:f>Tabelle1!$A$4</c:f>
              <c:strCache>
                <c:ptCount val="1"/>
                <c:pt idx="0">
                  <c:v>Datenreihe 3</c:v>
                </c:pt>
              </c:strCache>
            </c:strRef>
          </c:tx>
          <c:spPr>
            <a:solidFill>
              <a:srgbClr val="003CB4"/>
            </a:solidFill>
          </c:spPr>
          <c:invertIfNegative val="0"/>
          <c:dLbls>
            <c:numFmt formatCode="##,#00" sourceLinked="0"/>
            <c:spPr>
              <a:noFill/>
              <a:ln>
                <a:noFill/>
              </a:ln>
              <a:effectLst/>
            </c:spPr>
            <c:txPr>
              <a:bodyPr wrap="square" lIns="38100" tIns="19050" rIns="38100" bIns="19050" anchor="ctr">
                <a:spAutoFit/>
              </a:bodyPr>
              <a:lstStyle/>
              <a:p>
                <a:pPr>
                  <a:defRPr>
                    <a:solidFill>
                      <a:srgbClr val="FFFFFF"/>
                    </a:solidFill>
                    <a:latin typeface="Frutiger for ZKB Light" panose="020B0303030504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B$1:$E$1</c:f>
              <c:strCache>
                <c:ptCount val="4"/>
                <c:pt idx="0">
                  <c:v>Kategorie 1</c:v>
                </c:pt>
                <c:pt idx="1">
                  <c:v>Kategorie 2</c:v>
                </c:pt>
                <c:pt idx="2">
                  <c:v>Kategorie 3</c:v>
                </c:pt>
                <c:pt idx="3">
                  <c:v>Kategorie 4</c:v>
                </c:pt>
              </c:strCache>
            </c:strRef>
          </c:cat>
          <c:val>
            <c:numRef>
              <c:f>Tabelle1!$B$4:$E$4</c:f>
              <c:numCache>
                <c:formatCode>General</c:formatCode>
                <c:ptCount val="4"/>
                <c:pt idx="0">
                  <c:v>45.9</c:v>
                </c:pt>
                <c:pt idx="1">
                  <c:v>46.9</c:v>
                </c:pt>
                <c:pt idx="2">
                  <c:v>45</c:v>
                </c:pt>
                <c:pt idx="3">
                  <c:v>43.9</c:v>
                </c:pt>
              </c:numCache>
            </c:numRef>
          </c:val>
          <c:extLst>
            <c:ext xmlns:c16="http://schemas.microsoft.com/office/drawing/2014/chart" uri="{C3380CC4-5D6E-409C-BE32-E72D297353CC}">
              <c16:uniqueId val="{00000002-E396-4CD2-90BB-EDCF72FF8557}"/>
            </c:ext>
          </c:extLst>
        </c:ser>
        <c:dLbls>
          <c:showLegendKey val="0"/>
          <c:showVal val="0"/>
          <c:showCatName val="0"/>
          <c:showSerName val="0"/>
          <c:showPercent val="0"/>
          <c:showBubbleSize val="0"/>
        </c:dLbls>
        <c:gapWidth val="150"/>
        <c:overlap val="100"/>
        <c:axId val="43715584"/>
        <c:axId val="43750144"/>
      </c:barChart>
      <c:catAx>
        <c:axId val="43715584"/>
        <c:scaling>
          <c:orientation val="minMax"/>
        </c:scaling>
        <c:delete val="0"/>
        <c:axPos val="b"/>
        <c:numFmt formatCode="General" sourceLinked="0"/>
        <c:majorTickMark val="none"/>
        <c:minorTickMark val="none"/>
        <c:tickLblPos val="nextTo"/>
        <c:spPr>
          <a:ln w="3175">
            <a:solidFill>
              <a:srgbClr val="A0CAFD"/>
            </a:solidFill>
          </a:ln>
        </c:spPr>
        <c:txPr>
          <a:bodyPr/>
          <a:lstStyle/>
          <a:p>
            <a:pPr>
              <a:defRPr>
                <a:solidFill>
                  <a:srgbClr val="003CB4"/>
                </a:solidFill>
                <a:latin typeface="Frutiger for ZKB Light"/>
                <a:ea typeface="Frutiger for ZKB Light"/>
                <a:cs typeface="Frutiger for ZKB Light"/>
              </a:defRPr>
            </a:pPr>
            <a:endParaRPr lang="de-DE"/>
          </a:p>
        </c:txPr>
        <c:crossAx val="43750144"/>
        <c:crosses val="autoZero"/>
        <c:auto val="1"/>
        <c:lblAlgn val="ctr"/>
        <c:lblOffset val="100"/>
        <c:noMultiLvlLbl val="0"/>
      </c:catAx>
      <c:valAx>
        <c:axId val="43750144"/>
        <c:scaling>
          <c:orientation val="minMax"/>
        </c:scaling>
        <c:delete val="0"/>
        <c:axPos val="l"/>
        <c:majorGridlines>
          <c:spPr>
            <a:ln w="3175">
              <a:solidFill>
                <a:srgbClr val="A0CAFD"/>
              </a:solidFill>
            </a:ln>
          </c:spPr>
        </c:majorGridlines>
        <c:numFmt formatCode="General" sourceLinked="1"/>
        <c:majorTickMark val="none"/>
        <c:minorTickMark val="none"/>
        <c:tickLblPos val="nextTo"/>
        <c:spPr>
          <a:ln>
            <a:noFill/>
          </a:ln>
        </c:spPr>
        <c:txPr>
          <a:bodyPr/>
          <a:lstStyle/>
          <a:p>
            <a:pPr>
              <a:defRPr>
                <a:solidFill>
                  <a:srgbClr val="003CB4"/>
                </a:solidFill>
                <a:latin typeface="Frutiger for ZKB Light"/>
                <a:ea typeface="Frutiger for ZKB Light"/>
                <a:cs typeface="Frutiger for ZKB Light"/>
              </a:defRPr>
            </a:pPr>
            <a:endParaRPr lang="de-DE"/>
          </a:p>
        </c:txPr>
        <c:crossAx val="43715584"/>
        <c:crosses val="autoZero"/>
        <c:crossBetween val="between"/>
        <c:majorUnit val="20"/>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r"/>
      <c:layout>
        <c:manualLayout>
          <c:xMode val="edge"/>
          <c:yMode val="edge"/>
          <c:x val="0.74115147935263881"/>
          <c:y val="0.61330555555555555"/>
          <c:w val="0.18806751823758336"/>
          <c:h val="0.24797246168582379"/>
        </c:manualLayout>
      </c:layout>
      <c:overlay val="0"/>
      <c:txPr>
        <a:bodyPr/>
        <a:lstStyle/>
        <a:p>
          <a:pPr>
            <a:defRPr sz="1200">
              <a:solidFill>
                <a:srgbClr val="003CB4"/>
              </a:solidFill>
              <a:latin typeface="Frutiger for ZKB Light" panose="020B0303030504020204" pitchFamily="34" charset="0"/>
            </a:defRPr>
          </a:pPr>
          <a:endParaRPr lang="de-DE"/>
        </a:p>
      </c:txPr>
    </c:legend>
    <c:plotVisOnly val="1"/>
    <c:dispBlanksAs val="gap"/>
    <c:showDLblsOverMax val="0"/>
  </c:chart>
  <c:spPr>
    <a:noFill/>
    <a:ln w="6350" cap="flat" cmpd="sng" algn="ctr">
      <a:noFill/>
      <a:prstDash val="solid"/>
      <a:miter lim="800000"/>
    </a:ln>
    <a:effectLst/>
    <a:extLst>
      <a:ext uri="{91240B29-F687-4F45-9708-019B960494DF}">
        <a14:hiddenLine xmlns:a14="http://schemas.microsoft.com/office/drawing/2010/main" w="6350" cap="flat" cmpd="sng" algn="ctr">
          <a:noFill/>
          <a:prstDash val="solid"/>
          <a:miter lim="800000"/>
        </a14:hiddenLine>
      </a:ext>
    </a:extLst>
  </c:spPr>
  <c:txPr>
    <a:bodyPr/>
    <a:lstStyle/>
    <a:p>
      <a:pPr>
        <a:lnSpc>
          <a:spcPct val="105000"/>
        </a:lnSpc>
        <a:defRPr sz="14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187771951426001E-2"/>
          <c:y val="3.5108757171310248E-2"/>
          <c:w val="0.88810832501354287"/>
          <c:h val="0.80911509475898491"/>
        </c:manualLayout>
      </c:layout>
      <c:barChart>
        <c:barDir val="col"/>
        <c:grouping val="stacked"/>
        <c:varyColors val="1"/>
        <c:ser>
          <c:idx val="0"/>
          <c:order val="0"/>
          <c:tx>
            <c:strRef>
              <c:f>Sheet1!$A$2</c:f>
              <c:strCache>
                <c:ptCount val="1"/>
              </c:strCache>
            </c:strRef>
          </c:tx>
          <c:spPr>
            <a:solidFill>
              <a:srgbClr val="A0CAFD"/>
            </a:solidFill>
            <a:ln w="14564">
              <a:noFill/>
              <a:prstDash val="solid"/>
            </a:ln>
            <a:effectLst/>
          </c:spPr>
          <c:invertIfNegative val="1"/>
          <c:dPt>
            <c:idx val="0"/>
            <c:invertIfNegative val="1"/>
            <c:bubble3D val="0"/>
            <c:extLst>
              <c:ext xmlns:c16="http://schemas.microsoft.com/office/drawing/2014/chart" uri="{C3380CC4-5D6E-409C-BE32-E72D297353CC}">
                <c16:uniqueId val="{00000000-4D81-4A5C-8528-DD91C5A9698E}"/>
              </c:ext>
            </c:extLst>
          </c:dPt>
          <c:dPt>
            <c:idx val="1"/>
            <c:invertIfNegative val="1"/>
            <c:bubble3D val="0"/>
            <c:spPr>
              <a:noFill/>
              <a:ln w="14564">
                <a:noFill/>
                <a:prstDash val="solid"/>
              </a:ln>
              <a:effectLst/>
            </c:spPr>
            <c:extLst>
              <c:ext xmlns:c16="http://schemas.microsoft.com/office/drawing/2014/chart" uri="{C3380CC4-5D6E-409C-BE32-E72D297353CC}">
                <c16:uniqueId val="{00000002-4D81-4A5C-8528-DD91C5A9698E}"/>
              </c:ext>
            </c:extLst>
          </c:dPt>
          <c:dPt>
            <c:idx val="2"/>
            <c:invertIfNegative val="1"/>
            <c:bubble3D val="0"/>
            <c:spPr>
              <a:noFill/>
              <a:ln w="14564">
                <a:noFill/>
                <a:prstDash val="solid"/>
              </a:ln>
              <a:effectLst/>
            </c:spPr>
            <c:extLst>
              <c:ext xmlns:c16="http://schemas.microsoft.com/office/drawing/2014/chart" uri="{C3380CC4-5D6E-409C-BE32-E72D297353CC}">
                <c16:uniqueId val="{00000004-4D81-4A5C-8528-DD91C5A9698E}"/>
              </c:ext>
            </c:extLst>
          </c:dPt>
          <c:dPt>
            <c:idx val="3"/>
            <c:invertIfNegative val="1"/>
            <c:bubble3D val="0"/>
            <c:spPr>
              <a:noFill/>
              <a:ln w="14564">
                <a:noFill/>
                <a:prstDash val="solid"/>
              </a:ln>
              <a:effectLst/>
            </c:spPr>
            <c:extLst>
              <c:ext xmlns:c16="http://schemas.microsoft.com/office/drawing/2014/chart" uri="{C3380CC4-5D6E-409C-BE32-E72D297353CC}">
                <c16:uniqueId val="{00000006-4D81-4A5C-8528-DD91C5A9698E}"/>
              </c:ext>
            </c:extLst>
          </c:dPt>
          <c:dPt>
            <c:idx val="4"/>
            <c:invertIfNegative val="1"/>
            <c:bubble3D val="0"/>
            <c:spPr>
              <a:noFill/>
              <a:ln w="14564">
                <a:noFill/>
                <a:prstDash val="solid"/>
              </a:ln>
              <a:effectLst/>
            </c:spPr>
            <c:extLst>
              <c:ext xmlns:c16="http://schemas.microsoft.com/office/drawing/2014/chart" uri="{C3380CC4-5D6E-409C-BE32-E72D297353CC}">
                <c16:uniqueId val="{00000008-4D81-4A5C-8528-DD91C5A9698E}"/>
              </c:ext>
            </c:extLst>
          </c:dPt>
          <c:dPt>
            <c:idx val="5"/>
            <c:invertIfNegative val="1"/>
            <c:bubble3D val="0"/>
            <c:spPr>
              <a:noFill/>
              <a:ln w="14564">
                <a:noFill/>
                <a:prstDash val="solid"/>
              </a:ln>
              <a:effectLst/>
            </c:spPr>
            <c:extLst>
              <c:ext xmlns:c16="http://schemas.microsoft.com/office/drawing/2014/chart" uri="{C3380CC4-5D6E-409C-BE32-E72D297353CC}">
                <c16:uniqueId val="{0000000A-4D81-4A5C-8528-DD91C5A9698E}"/>
              </c:ext>
            </c:extLst>
          </c:dPt>
          <c:dPt>
            <c:idx val="6"/>
            <c:invertIfNegative val="1"/>
            <c:bubble3D val="0"/>
            <c:extLst>
              <c:ext xmlns:c16="http://schemas.microsoft.com/office/drawing/2014/chart" uri="{C3380CC4-5D6E-409C-BE32-E72D297353CC}">
                <c16:uniqueId val="{0000000B-4D81-4A5C-8528-DD91C5A9698E}"/>
              </c:ext>
            </c:extLst>
          </c:dPt>
          <c:dLbls>
            <c:dLbl>
              <c:idx val="1"/>
              <c:delete val="1"/>
              <c:extLst>
                <c:ext xmlns:c15="http://schemas.microsoft.com/office/drawing/2012/chart" uri="{CE6537A1-D6FC-4f65-9D91-7224C49458BB}"/>
                <c:ext xmlns:c16="http://schemas.microsoft.com/office/drawing/2014/chart" uri="{C3380CC4-5D6E-409C-BE32-E72D297353CC}">
                  <c16:uniqueId val="{00000002-4D81-4A5C-8528-DD91C5A9698E}"/>
                </c:ext>
              </c:extLst>
            </c:dLbl>
            <c:dLbl>
              <c:idx val="2"/>
              <c:delete val="1"/>
              <c:extLst>
                <c:ext xmlns:c15="http://schemas.microsoft.com/office/drawing/2012/chart" uri="{CE6537A1-D6FC-4f65-9D91-7224C49458BB}"/>
                <c:ext xmlns:c16="http://schemas.microsoft.com/office/drawing/2014/chart" uri="{C3380CC4-5D6E-409C-BE32-E72D297353CC}">
                  <c16:uniqueId val="{00000004-4D81-4A5C-8528-DD91C5A9698E}"/>
                </c:ext>
              </c:extLst>
            </c:dLbl>
            <c:dLbl>
              <c:idx val="3"/>
              <c:delete val="1"/>
              <c:extLst>
                <c:ext xmlns:c15="http://schemas.microsoft.com/office/drawing/2012/chart" uri="{CE6537A1-D6FC-4f65-9D91-7224C49458BB}"/>
                <c:ext xmlns:c16="http://schemas.microsoft.com/office/drawing/2014/chart" uri="{C3380CC4-5D6E-409C-BE32-E72D297353CC}">
                  <c16:uniqueId val="{00000006-4D81-4A5C-8528-DD91C5A9698E}"/>
                </c:ext>
              </c:extLst>
            </c:dLbl>
            <c:dLbl>
              <c:idx val="4"/>
              <c:delete val="1"/>
              <c:extLst>
                <c:ext xmlns:c15="http://schemas.microsoft.com/office/drawing/2012/chart" uri="{CE6537A1-D6FC-4f65-9D91-7224C49458BB}"/>
                <c:ext xmlns:c16="http://schemas.microsoft.com/office/drawing/2014/chart" uri="{C3380CC4-5D6E-409C-BE32-E72D297353CC}">
                  <c16:uniqueId val="{00000008-4D81-4A5C-8528-DD91C5A9698E}"/>
                </c:ext>
              </c:extLst>
            </c:dLbl>
            <c:dLbl>
              <c:idx val="5"/>
              <c:delete val="1"/>
              <c:extLst>
                <c:ext xmlns:c15="http://schemas.microsoft.com/office/drawing/2012/chart" uri="{CE6537A1-D6FC-4f65-9D91-7224C49458BB}"/>
                <c:ext xmlns:c16="http://schemas.microsoft.com/office/drawing/2014/chart" uri="{C3380CC4-5D6E-409C-BE32-E72D297353CC}">
                  <c16:uniqueId val="{0000000A-4D81-4A5C-8528-DD91C5A9698E}"/>
                </c:ext>
              </c:extLst>
            </c:dLbl>
            <c:numFmt formatCode="#,##0" sourceLinked="0"/>
            <c:spPr>
              <a:noFill/>
              <a:ln>
                <a:noFill/>
              </a:ln>
              <a:effectLst/>
            </c:spPr>
            <c:txPr>
              <a:bodyPr wrap="square" lIns="38100" tIns="19050" rIns="38100" bIns="19050" anchor="ctr">
                <a:spAutoFit/>
              </a:bodyPr>
              <a:lstStyle/>
              <a:p>
                <a:pPr>
                  <a:defRPr>
                    <a:solidFill>
                      <a:srgbClr val="003CB4"/>
                    </a:solidFill>
                    <a:latin typeface="Frutiger for ZKB Light" panose="020B0303030504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Kat 1</c:v>
                </c:pt>
                <c:pt idx="1">
                  <c:v>Kat 2</c:v>
                </c:pt>
                <c:pt idx="2">
                  <c:v>Kat 3</c:v>
                </c:pt>
                <c:pt idx="3">
                  <c:v>Kat 4</c:v>
                </c:pt>
                <c:pt idx="4">
                  <c:v>Kat 5</c:v>
                </c:pt>
                <c:pt idx="5">
                  <c:v>Kat 6</c:v>
                </c:pt>
                <c:pt idx="6">
                  <c:v>Total</c:v>
                </c:pt>
              </c:strCache>
            </c:strRef>
          </c:cat>
          <c:val>
            <c:numRef>
              <c:f>Sheet1!$B$2:$H$2</c:f>
              <c:numCache>
                <c:formatCode>General</c:formatCode>
                <c:ptCount val="7"/>
                <c:pt idx="0">
                  <c:v>5</c:v>
                </c:pt>
                <c:pt idx="1">
                  <c:v>5</c:v>
                </c:pt>
                <c:pt idx="2">
                  <c:v>5</c:v>
                </c:pt>
                <c:pt idx="3">
                  <c:v>5</c:v>
                </c:pt>
                <c:pt idx="4">
                  <c:v>5</c:v>
                </c:pt>
                <c:pt idx="5">
                  <c:v>5</c:v>
                </c:pt>
                <c:pt idx="6">
                  <c:v>5</c:v>
                </c:pt>
              </c:numCache>
            </c:numRef>
          </c:val>
          <c:extLst>
            <c:ext xmlns:c14="http://schemas.microsoft.com/office/drawing/2007/8/2/chart" uri="{6F2FDCE9-48DA-4B69-8628-5D25D57E5C99}">
              <c14:invertSolidFillFmt>
                <c14:spPr xmlns:c14="http://schemas.microsoft.com/office/drawing/2007/8/2/chart">
                  <a:solidFill>
                    <a:srgbClr val="FFFFFF"/>
                  </a:solidFill>
                  <a:ln w="14564">
                    <a:noFill/>
                    <a:prstDash val="solid"/>
                  </a:ln>
                  <a:effectLst/>
                </c14:spPr>
              </c14:invertSolidFillFmt>
            </c:ext>
            <c:ext xmlns:c16="http://schemas.microsoft.com/office/drawing/2014/chart" uri="{C3380CC4-5D6E-409C-BE32-E72D297353CC}">
              <c16:uniqueId val="{0000000C-4D81-4A5C-8528-DD91C5A9698E}"/>
            </c:ext>
          </c:extLst>
        </c:ser>
        <c:ser>
          <c:idx val="1"/>
          <c:order val="1"/>
          <c:tx>
            <c:strRef>
              <c:f>Sheet1!$A$3</c:f>
              <c:strCache>
                <c:ptCount val="1"/>
              </c:strCache>
            </c:strRef>
          </c:tx>
          <c:spPr>
            <a:solidFill>
              <a:srgbClr val="65A6FB"/>
            </a:solidFill>
          </c:spPr>
          <c:invertIfNegative val="0"/>
          <c:dPt>
            <c:idx val="1"/>
            <c:invertIfNegative val="0"/>
            <c:bubble3D val="0"/>
            <c:extLst>
              <c:ext xmlns:c16="http://schemas.microsoft.com/office/drawing/2014/chart" uri="{C3380CC4-5D6E-409C-BE32-E72D297353CC}">
                <c16:uniqueId val="{0000000D-4D81-4A5C-8528-DD91C5A9698E}"/>
              </c:ext>
            </c:extLst>
          </c:dPt>
          <c:dPt>
            <c:idx val="2"/>
            <c:invertIfNegative val="0"/>
            <c:bubble3D val="0"/>
            <c:spPr>
              <a:noFill/>
            </c:spPr>
            <c:extLst>
              <c:ext xmlns:c16="http://schemas.microsoft.com/office/drawing/2014/chart" uri="{C3380CC4-5D6E-409C-BE32-E72D297353CC}">
                <c16:uniqueId val="{0000000F-4D81-4A5C-8528-DD91C5A9698E}"/>
              </c:ext>
            </c:extLst>
          </c:dPt>
          <c:dPt>
            <c:idx val="3"/>
            <c:invertIfNegative val="0"/>
            <c:bubble3D val="0"/>
            <c:spPr>
              <a:noFill/>
            </c:spPr>
            <c:extLst>
              <c:ext xmlns:c16="http://schemas.microsoft.com/office/drawing/2014/chart" uri="{C3380CC4-5D6E-409C-BE32-E72D297353CC}">
                <c16:uniqueId val="{00000011-4D81-4A5C-8528-DD91C5A9698E}"/>
              </c:ext>
            </c:extLst>
          </c:dPt>
          <c:dPt>
            <c:idx val="4"/>
            <c:invertIfNegative val="0"/>
            <c:bubble3D val="0"/>
            <c:spPr>
              <a:noFill/>
            </c:spPr>
            <c:extLst>
              <c:ext xmlns:c16="http://schemas.microsoft.com/office/drawing/2014/chart" uri="{C3380CC4-5D6E-409C-BE32-E72D297353CC}">
                <c16:uniqueId val="{00000013-4D81-4A5C-8528-DD91C5A9698E}"/>
              </c:ext>
            </c:extLst>
          </c:dPt>
          <c:dPt>
            <c:idx val="5"/>
            <c:invertIfNegative val="0"/>
            <c:bubble3D val="0"/>
            <c:spPr>
              <a:noFill/>
            </c:spPr>
            <c:extLst>
              <c:ext xmlns:c16="http://schemas.microsoft.com/office/drawing/2014/chart" uri="{C3380CC4-5D6E-409C-BE32-E72D297353CC}">
                <c16:uniqueId val="{00000015-4D81-4A5C-8528-DD91C5A9698E}"/>
              </c:ext>
            </c:extLst>
          </c:dPt>
          <c:dPt>
            <c:idx val="6"/>
            <c:invertIfNegative val="0"/>
            <c:bubble3D val="0"/>
            <c:extLst>
              <c:ext xmlns:c16="http://schemas.microsoft.com/office/drawing/2014/chart" uri="{C3380CC4-5D6E-409C-BE32-E72D297353CC}">
                <c16:uniqueId val="{00000016-4D81-4A5C-8528-DD91C5A9698E}"/>
              </c:ext>
            </c:extLst>
          </c:dPt>
          <c:dLbls>
            <c:dLbl>
              <c:idx val="2"/>
              <c:delete val="1"/>
              <c:extLst>
                <c:ext xmlns:c15="http://schemas.microsoft.com/office/drawing/2012/chart" uri="{CE6537A1-D6FC-4f65-9D91-7224C49458BB}"/>
                <c:ext xmlns:c16="http://schemas.microsoft.com/office/drawing/2014/chart" uri="{C3380CC4-5D6E-409C-BE32-E72D297353CC}">
                  <c16:uniqueId val="{0000000F-4D81-4A5C-8528-DD91C5A9698E}"/>
                </c:ext>
              </c:extLst>
            </c:dLbl>
            <c:dLbl>
              <c:idx val="3"/>
              <c:delete val="1"/>
              <c:extLst>
                <c:ext xmlns:c15="http://schemas.microsoft.com/office/drawing/2012/chart" uri="{CE6537A1-D6FC-4f65-9D91-7224C49458BB}"/>
                <c:ext xmlns:c16="http://schemas.microsoft.com/office/drawing/2014/chart" uri="{C3380CC4-5D6E-409C-BE32-E72D297353CC}">
                  <c16:uniqueId val="{00000011-4D81-4A5C-8528-DD91C5A9698E}"/>
                </c:ext>
              </c:extLst>
            </c:dLbl>
            <c:dLbl>
              <c:idx val="4"/>
              <c:delete val="1"/>
              <c:extLst>
                <c:ext xmlns:c15="http://schemas.microsoft.com/office/drawing/2012/chart" uri="{CE6537A1-D6FC-4f65-9D91-7224C49458BB}"/>
                <c:ext xmlns:c16="http://schemas.microsoft.com/office/drawing/2014/chart" uri="{C3380CC4-5D6E-409C-BE32-E72D297353CC}">
                  <c16:uniqueId val="{00000013-4D81-4A5C-8528-DD91C5A9698E}"/>
                </c:ext>
              </c:extLst>
            </c:dLbl>
            <c:dLbl>
              <c:idx val="5"/>
              <c:delete val="1"/>
              <c:extLst>
                <c:ext xmlns:c15="http://schemas.microsoft.com/office/drawing/2012/chart" uri="{CE6537A1-D6FC-4f65-9D91-7224C49458BB}"/>
                <c:ext xmlns:c16="http://schemas.microsoft.com/office/drawing/2014/chart" uri="{C3380CC4-5D6E-409C-BE32-E72D297353CC}">
                  <c16:uniqueId val="{00000015-4D81-4A5C-8528-DD91C5A9698E}"/>
                </c:ext>
              </c:extLst>
            </c:dLbl>
            <c:numFmt formatCode="#,##0" sourceLinked="0"/>
            <c:spPr>
              <a:noFill/>
              <a:ln>
                <a:noFill/>
              </a:ln>
              <a:effectLst/>
            </c:spPr>
            <c:txPr>
              <a:bodyPr wrap="square" lIns="38100" tIns="19050" rIns="38100" bIns="19050" anchor="ctr">
                <a:spAutoFit/>
              </a:bodyPr>
              <a:lstStyle/>
              <a:p>
                <a:pPr>
                  <a:defRPr>
                    <a:solidFill>
                      <a:srgbClr val="003CB4"/>
                    </a:solidFill>
                    <a:latin typeface="Frutiger for ZKB Light" panose="020B0303030504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Kat 1</c:v>
                </c:pt>
                <c:pt idx="1">
                  <c:v>Kat 2</c:v>
                </c:pt>
                <c:pt idx="2">
                  <c:v>Kat 3</c:v>
                </c:pt>
                <c:pt idx="3">
                  <c:v>Kat 4</c:v>
                </c:pt>
                <c:pt idx="4">
                  <c:v>Kat 5</c:v>
                </c:pt>
                <c:pt idx="5">
                  <c:v>Kat 6</c:v>
                </c:pt>
                <c:pt idx="6">
                  <c:v>Total</c:v>
                </c:pt>
              </c:strCache>
            </c:strRef>
          </c:cat>
          <c:val>
            <c:numRef>
              <c:f>Sheet1!$B$3:$H$3</c:f>
              <c:numCache>
                <c:formatCode>General</c:formatCode>
                <c:ptCount val="7"/>
                <c:pt idx="1">
                  <c:v>4</c:v>
                </c:pt>
                <c:pt idx="2">
                  <c:v>4</c:v>
                </c:pt>
                <c:pt idx="3">
                  <c:v>4</c:v>
                </c:pt>
                <c:pt idx="4">
                  <c:v>4</c:v>
                </c:pt>
                <c:pt idx="5">
                  <c:v>4</c:v>
                </c:pt>
                <c:pt idx="6">
                  <c:v>4</c:v>
                </c:pt>
              </c:numCache>
            </c:numRef>
          </c:val>
          <c:extLst>
            <c:ext xmlns:c16="http://schemas.microsoft.com/office/drawing/2014/chart" uri="{C3380CC4-5D6E-409C-BE32-E72D297353CC}">
              <c16:uniqueId val="{00000017-4D81-4A5C-8528-DD91C5A9698E}"/>
            </c:ext>
          </c:extLst>
        </c:ser>
        <c:ser>
          <c:idx val="2"/>
          <c:order val="2"/>
          <c:tx>
            <c:strRef>
              <c:f>Sheet1!$A$4</c:f>
              <c:strCache>
                <c:ptCount val="1"/>
              </c:strCache>
            </c:strRef>
          </c:tx>
          <c:spPr>
            <a:solidFill>
              <a:srgbClr val="68D9B1"/>
            </a:solidFill>
          </c:spPr>
          <c:invertIfNegative val="0"/>
          <c:dPt>
            <c:idx val="2"/>
            <c:invertIfNegative val="0"/>
            <c:bubble3D val="0"/>
            <c:extLst>
              <c:ext xmlns:c16="http://schemas.microsoft.com/office/drawing/2014/chart" uri="{C3380CC4-5D6E-409C-BE32-E72D297353CC}">
                <c16:uniqueId val="{00000018-4D81-4A5C-8528-DD91C5A9698E}"/>
              </c:ext>
            </c:extLst>
          </c:dPt>
          <c:dPt>
            <c:idx val="3"/>
            <c:invertIfNegative val="0"/>
            <c:bubble3D val="0"/>
            <c:spPr>
              <a:noFill/>
            </c:spPr>
            <c:extLst>
              <c:ext xmlns:c16="http://schemas.microsoft.com/office/drawing/2014/chart" uri="{C3380CC4-5D6E-409C-BE32-E72D297353CC}">
                <c16:uniqueId val="{0000001A-4D81-4A5C-8528-DD91C5A9698E}"/>
              </c:ext>
            </c:extLst>
          </c:dPt>
          <c:dPt>
            <c:idx val="4"/>
            <c:invertIfNegative val="0"/>
            <c:bubble3D val="0"/>
            <c:spPr>
              <a:noFill/>
            </c:spPr>
            <c:extLst>
              <c:ext xmlns:c16="http://schemas.microsoft.com/office/drawing/2014/chart" uri="{C3380CC4-5D6E-409C-BE32-E72D297353CC}">
                <c16:uniqueId val="{0000001C-4D81-4A5C-8528-DD91C5A9698E}"/>
              </c:ext>
            </c:extLst>
          </c:dPt>
          <c:dPt>
            <c:idx val="5"/>
            <c:invertIfNegative val="0"/>
            <c:bubble3D val="0"/>
            <c:spPr>
              <a:noFill/>
            </c:spPr>
            <c:extLst>
              <c:ext xmlns:c16="http://schemas.microsoft.com/office/drawing/2014/chart" uri="{C3380CC4-5D6E-409C-BE32-E72D297353CC}">
                <c16:uniqueId val="{0000001E-4D81-4A5C-8528-DD91C5A9698E}"/>
              </c:ext>
            </c:extLst>
          </c:dPt>
          <c:dPt>
            <c:idx val="6"/>
            <c:invertIfNegative val="0"/>
            <c:bubble3D val="0"/>
            <c:extLst>
              <c:ext xmlns:c16="http://schemas.microsoft.com/office/drawing/2014/chart" uri="{C3380CC4-5D6E-409C-BE32-E72D297353CC}">
                <c16:uniqueId val="{0000001F-4D81-4A5C-8528-DD91C5A9698E}"/>
              </c:ext>
            </c:extLst>
          </c:dPt>
          <c:dLbls>
            <c:dLbl>
              <c:idx val="3"/>
              <c:delete val="1"/>
              <c:extLst>
                <c:ext xmlns:c15="http://schemas.microsoft.com/office/drawing/2012/chart" uri="{CE6537A1-D6FC-4f65-9D91-7224C49458BB}"/>
                <c:ext xmlns:c16="http://schemas.microsoft.com/office/drawing/2014/chart" uri="{C3380CC4-5D6E-409C-BE32-E72D297353CC}">
                  <c16:uniqueId val="{0000001A-4D81-4A5C-8528-DD91C5A9698E}"/>
                </c:ext>
              </c:extLst>
            </c:dLbl>
            <c:dLbl>
              <c:idx val="4"/>
              <c:delete val="1"/>
              <c:extLst>
                <c:ext xmlns:c15="http://schemas.microsoft.com/office/drawing/2012/chart" uri="{CE6537A1-D6FC-4f65-9D91-7224C49458BB}"/>
                <c:ext xmlns:c16="http://schemas.microsoft.com/office/drawing/2014/chart" uri="{C3380CC4-5D6E-409C-BE32-E72D297353CC}">
                  <c16:uniqueId val="{0000001C-4D81-4A5C-8528-DD91C5A9698E}"/>
                </c:ext>
              </c:extLst>
            </c:dLbl>
            <c:dLbl>
              <c:idx val="5"/>
              <c:delete val="1"/>
              <c:extLst>
                <c:ext xmlns:c15="http://schemas.microsoft.com/office/drawing/2012/chart" uri="{CE6537A1-D6FC-4f65-9D91-7224C49458BB}"/>
                <c:ext xmlns:c16="http://schemas.microsoft.com/office/drawing/2014/chart" uri="{C3380CC4-5D6E-409C-BE32-E72D297353CC}">
                  <c16:uniqueId val="{0000001E-4D81-4A5C-8528-DD91C5A9698E}"/>
                </c:ext>
              </c:extLst>
            </c:dLbl>
            <c:numFmt formatCode="#,##0" sourceLinked="0"/>
            <c:spPr>
              <a:noFill/>
              <a:ln>
                <a:noFill/>
              </a:ln>
              <a:effectLst/>
            </c:spPr>
            <c:txPr>
              <a:bodyPr wrap="square" lIns="38100" tIns="19050" rIns="38100" bIns="19050" anchor="ctr">
                <a:spAutoFit/>
              </a:bodyPr>
              <a:lstStyle/>
              <a:p>
                <a:pPr>
                  <a:defRPr>
                    <a:solidFill>
                      <a:srgbClr val="003CB4"/>
                    </a:solidFill>
                    <a:latin typeface="Frutiger for ZKB Light" panose="020B0303030504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Kat 1</c:v>
                </c:pt>
                <c:pt idx="1">
                  <c:v>Kat 2</c:v>
                </c:pt>
                <c:pt idx="2">
                  <c:v>Kat 3</c:v>
                </c:pt>
                <c:pt idx="3">
                  <c:v>Kat 4</c:v>
                </c:pt>
                <c:pt idx="4">
                  <c:v>Kat 5</c:v>
                </c:pt>
                <c:pt idx="5">
                  <c:v>Kat 6</c:v>
                </c:pt>
                <c:pt idx="6">
                  <c:v>Total</c:v>
                </c:pt>
              </c:strCache>
            </c:strRef>
          </c:cat>
          <c:val>
            <c:numRef>
              <c:f>Sheet1!$B$4:$H$4</c:f>
              <c:numCache>
                <c:formatCode>General</c:formatCode>
                <c:ptCount val="7"/>
                <c:pt idx="2">
                  <c:v>3</c:v>
                </c:pt>
                <c:pt idx="3">
                  <c:v>3</c:v>
                </c:pt>
                <c:pt idx="4">
                  <c:v>3</c:v>
                </c:pt>
                <c:pt idx="5">
                  <c:v>3</c:v>
                </c:pt>
                <c:pt idx="6">
                  <c:v>3</c:v>
                </c:pt>
              </c:numCache>
            </c:numRef>
          </c:val>
          <c:extLst>
            <c:ext xmlns:c16="http://schemas.microsoft.com/office/drawing/2014/chart" uri="{C3380CC4-5D6E-409C-BE32-E72D297353CC}">
              <c16:uniqueId val="{00000020-4D81-4A5C-8528-DD91C5A9698E}"/>
            </c:ext>
          </c:extLst>
        </c:ser>
        <c:ser>
          <c:idx val="3"/>
          <c:order val="3"/>
          <c:tx>
            <c:strRef>
              <c:f>Sheet1!$A$5</c:f>
              <c:strCache>
                <c:ptCount val="1"/>
              </c:strCache>
            </c:strRef>
          </c:tx>
          <c:spPr>
            <a:solidFill>
              <a:srgbClr val="169C72"/>
            </a:solidFill>
          </c:spPr>
          <c:invertIfNegative val="0"/>
          <c:dPt>
            <c:idx val="3"/>
            <c:invertIfNegative val="0"/>
            <c:bubble3D val="0"/>
            <c:extLst>
              <c:ext xmlns:c16="http://schemas.microsoft.com/office/drawing/2014/chart" uri="{C3380CC4-5D6E-409C-BE32-E72D297353CC}">
                <c16:uniqueId val="{00000021-4D81-4A5C-8528-DD91C5A9698E}"/>
              </c:ext>
            </c:extLst>
          </c:dPt>
          <c:dPt>
            <c:idx val="4"/>
            <c:invertIfNegative val="0"/>
            <c:bubble3D val="0"/>
            <c:spPr>
              <a:noFill/>
            </c:spPr>
            <c:extLst>
              <c:ext xmlns:c16="http://schemas.microsoft.com/office/drawing/2014/chart" uri="{C3380CC4-5D6E-409C-BE32-E72D297353CC}">
                <c16:uniqueId val="{00000023-4D81-4A5C-8528-DD91C5A9698E}"/>
              </c:ext>
            </c:extLst>
          </c:dPt>
          <c:dPt>
            <c:idx val="5"/>
            <c:invertIfNegative val="0"/>
            <c:bubble3D val="0"/>
            <c:spPr>
              <a:noFill/>
            </c:spPr>
            <c:extLst>
              <c:ext xmlns:c16="http://schemas.microsoft.com/office/drawing/2014/chart" uri="{C3380CC4-5D6E-409C-BE32-E72D297353CC}">
                <c16:uniqueId val="{00000025-4D81-4A5C-8528-DD91C5A9698E}"/>
              </c:ext>
            </c:extLst>
          </c:dPt>
          <c:dPt>
            <c:idx val="6"/>
            <c:invertIfNegative val="0"/>
            <c:bubble3D val="0"/>
            <c:extLst>
              <c:ext xmlns:c16="http://schemas.microsoft.com/office/drawing/2014/chart" uri="{C3380CC4-5D6E-409C-BE32-E72D297353CC}">
                <c16:uniqueId val="{00000026-4D81-4A5C-8528-DD91C5A9698E}"/>
              </c:ext>
            </c:extLst>
          </c:dPt>
          <c:dLbls>
            <c:dLbl>
              <c:idx val="3"/>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4D81-4A5C-8528-DD91C5A9698E}"/>
                </c:ext>
              </c:extLst>
            </c:dLbl>
            <c:dLbl>
              <c:idx val="6"/>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4D81-4A5C-8528-DD91C5A9698E}"/>
                </c:ext>
              </c:extLst>
            </c:dLbl>
            <c:numFmt formatCode="#,##0" sourceLinked="0"/>
            <c:spPr>
              <a:noFill/>
              <a:ln>
                <a:noFill/>
              </a:ln>
              <a:effectLst/>
            </c:spPr>
            <c:txPr>
              <a:bodyPr wrap="square" lIns="38100" tIns="19050" rIns="38100" bIns="19050" anchor="ctr">
                <a:spAutoFit/>
              </a:bodyPr>
              <a:lstStyle/>
              <a:p>
                <a:pPr>
                  <a:defRPr>
                    <a:solidFill>
                      <a:srgbClr val="FFFFFF"/>
                    </a:solidFill>
                  </a:defRPr>
                </a:pPr>
                <a:endParaRPr lang="de-DE"/>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H$1</c:f>
              <c:strCache>
                <c:ptCount val="7"/>
                <c:pt idx="0">
                  <c:v>Kat 1</c:v>
                </c:pt>
                <c:pt idx="1">
                  <c:v>Kat 2</c:v>
                </c:pt>
                <c:pt idx="2">
                  <c:v>Kat 3</c:v>
                </c:pt>
                <c:pt idx="3">
                  <c:v>Kat 4</c:v>
                </c:pt>
                <c:pt idx="4">
                  <c:v>Kat 5</c:v>
                </c:pt>
                <c:pt idx="5">
                  <c:v>Kat 6</c:v>
                </c:pt>
                <c:pt idx="6">
                  <c:v>Total</c:v>
                </c:pt>
              </c:strCache>
            </c:strRef>
          </c:cat>
          <c:val>
            <c:numRef>
              <c:f>Sheet1!$B$5:$H$5</c:f>
              <c:numCache>
                <c:formatCode>General</c:formatCode>
                <c:ptCount val="7"/>
                <c:pt idx="3">
                  <c:v>2</c:v>
                </c:pt>
                <c:pt idx="4">
                  <c:v>2</c:v>
                </c:pt>
                <c:pt idx="5">
                  <c:v>2</c:v>
                </c:pt>
                <c:pt idx="6">
                  <c:v>2</c:v>
                </c:pt>
              </c:numCache>
            </c:numRef>
          </c:val>
          <c:extLst>
            <c:ext xmlns:c16="http://schemas.microsoft.com/office/drawing/2014/chart" uri="{C3380CC4-5D6E-409C-BE32-E72D297353CC}">
              <c16:uniqueId val="{00000027-4D81-4A5C-8528-DD91C5A9698E}"/>
            </c:ext>
          </c:extLst>
        </c:ser>
        <c:ser>
          <c:idx val="4"/>
          <c:order val="4"/>
          <c:tx>
            <c:strRef>
              <c:f>Sheet1!$A$6</c:f>
              <c:strCache>
                <c:ptCount val="1"/>
              </c:strCache>
            </c:strRef>
          </c:tx>
          <c:spPr>
            <a:solidFill>
              <a:srgbClr val="D3BEF4"/>
            </a:solidFill>
          </c:spPr>
          <c:invertIfNegative val="0"/>
          <c:dPt>
            <c:idx val="4"/>
            <c:invertIfNegative val="0"/>
            <c:bubble3D val="0"/>
            <c:extLst>
              <c:ext xmlns:c16="http://schemas.microsoft.com/office/drawing/2014/chart" uri="{C3380CC4-5D6E-409C-BE32-E72D297353CC}">
                <c16:uniqueId val="{00000028-4D81-4A5C-8528-DD91C5A9698E}"/>
              </c:ext>
            </c:extLst>
          </c:dPt>
          <c:dPt>
            <c:idx val="5"/>
            <c:invertIfNegative val="0"/>
            <c:bubble3D val="0"/>
            <c:spPr>
              <a:noFill/>
            </c:spPr>
            <c:extLst>
              <c:ext xmlns:c16="http://schemas.microsoft.com/office/drawing/2014/chart" uri="{C3380CC4-5D6E-409C-BE32-E72D297353CC}">
                <c16:uniqueId val="{0000002A-4D81-4A5C-8528-DD91C5A9698E}"/>
              </c:ext>
            </c:extLst>
          </c:dPt>
          <c:dPt>
            <c:idx val="6"/>
            <c:invertIfNegative val="0"/>
            <c:bubble3D val="0"/>
            <c:extLst>
              <c:ext xmlns:c16="http://schemas.microsoft.com/office/drawing/2014/chart" uri="{C3380CC4-5D6E-409C-BE32-E72D297353CC}">
                <c16:uniqueId val="{0000002B-4D81-4A5C-8528-DD91C5A9698E}"/>
              </c:ext>
            </c:extLst>
          </c:dPt>
          <c:dLbls>
            <c:dLbl>
              <c:idx val="4"/>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4D81-4A5C-8528-DD91C5A9698E}"/>
                </c:ext>
              </c:extLst>
            </c:dLbl>
            <c:dLbl>
              <c:idx val="6"/>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B-4D81-4A5C-8528-DD91C5A9698E}"/>
                </c:ext>
              </c:extLst>
            </c:dLbl>
            <c:numFmt formatCode="#,##0" sourceLinked="0"/>
            <c:spPr>
              <a:noFill/>
              <a:ln>
                <a:noFill/>
              </a:ln>
              <a:effectLst/>
            </c:spPr>
            <c:txPr>
              <a:bodyPr wrap="square" lIns="38100" tIns="19050" rIns="38100" bIns="19050" anchor="ctr">
                <a:spAutoFit/>
              </a:bodyPr>
              <a:lstStyle/>
              <a:p>
                <a:pPr>
                  <a:defRPr>
                    <a:solidFill>
                      <a:srgbClr val="FFFFFF"/>
                    </a:solidFill>
                  </a:defRPr>
                </a:pPr>
                <a:endParaRPr lang="de-DE"/>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H$1</c:f>
              <c:strCache>
                <c:ptCount val="7"/>
                <c:pt idx="0">
                  <c:v>Kat 1</c:v>
                </c:pt>
                <c:pt idx="1">
                  <c:v>Kat 2</c:v>
                </c:pt>
                <c:pt idx="2">
                  <c:v>Kat 3</c:v>
                </c:pt>
                <c:pt idx="3">
                  <c:v>Kat 4</c:v>
                </c:pt>
                <c:pt idx="4">
                  <c:v>Kat 5</c:v>
                </c:pt>
                <c:pt idx="5">
                  <c:v>Kat 6</c:v>
                </c:pt>
                <c:pt idx="6">
                  <c:v>Total</c:v>
                </c:pt>
              </c:strCache>
            </c:strRef>
          </c:cat>
          <c:val>
            <c:numRef>
              <c:f>Sheet1!$B$6:$H$6</c:f>
              <c:numCache>
                <c:formatCode>General</c:formatCode>
                <c:ptCount val="7"/>
                <c:pt idx="4">
                  <c:v>1.5</c:v>
                </c:pt>
                <c:pt idx="5">
                  <c:v>1.5</c:v>
                </c:pt>
                <c:pt idx="6">
                  <c:v>1.5</c:v>
                </c:pt>
              </c:numCache>
            </c:numRef>
          </c:val>
          <c:extLst>
            <c:ext xmlns:c16="http://schemas.microsoft.com/office/drawing/2014/chart" uri="{C3380CC4-5D6E-409C-BE32-E72D297353CC}">
              <c16:uniqueId val="{0000002C-4D81-4A5C-8528-DD91C5A9698E}"/>
            </c:ext>
          </c:extLst>
        </c:ser>
        <c:ser>
          <c:idx val="5"/>
          <c:order val="5"/>
          <c:tx>
            <c:strRef>
              <c:f>Sheet1!$A$7</c:f>
              <c:strCache>
                <c:ptCount val="1"/>
              </c:strCache>
            </c:strRef>
          </c:tx>
          <c:spPr>
            <a:solidFill>
              <a:srgbClr val="9D70D5"/>
            </a:solidFill>
          </c:spPr>
          <c:invertIfNegative val="0"/>
          <c:dPt>
            <c:idx val="5"/>
            <c:invertIfNegative val="0"/>
            <c:bubble3D val="0"/>
            <c:extLst>
              <c:ext xmlns:c16="http://schemas.microsoft.com/office/drawing/2014/chart" uri="{C3380CC4-5D6E-409C-BE32-E72D297353CC}">
                <c16:uniqueId val="{0000002D-4D81-4A5C-8528-DD91C5A9698E}"/>
              </c:ext>
            </c:extLst>
          </c:dPt>
          <c:dPt>
            <c:idx val="6"/>
            <c:invertIfNegative val="0"/>
            <c:bubble3D val="0"/>
            <c:extLst>
              <c:ext xmlns:c16="http://schemas.microsoft.com/office/drawing/2014/chart" uri="{C3380CC4-5D6E-409C-BE32-E72D297353CC}">
                <c16:uniqueId val="{0000002E-4D81-4A5C-8528-DD91C5A9698E}"/>
              </c:ext>
            </c:extLst>
          </c:dPt>
          <c:dLbls>
            <c:numFmt formatCode="#,##0" sourceLinked="0"/>
            <c:spPr>
              <a:noFill/>
              <a:ln>
                <a:noFill/>
              </a:ln>
              <a:effectLst/>
            </c:spPr>
            <c:txPr>
              <a:bodyPr wrap="square" lIns="38100" tIns="19050" rIns="38100" bIns="19050" anchor="ctr">
                <a:spAutoFit/>
              </a:bodyPr>
              <a:lstStyle/>
              <a:p>
                <a:pPr>
                  <a:defRPr>
                    <a:solidFill>
                      <a:srgbClr val="FFFFFF"/>
                    </a:solidFill>
                    <a:latin typeface="Frutiger for ZKB Light" panose="020B0303030504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Kat 1</c:v>
                </c:pt>
                <c:pt idx="1">
                  <c:v>Kat 2</c:v>
                </c:pt>
                <c:pt idx="2">
                  <c:v>Kat 3</c:v>
                </c:pt>
                <c:pt idx="3">
                  <c:v>Kat 4</c:v>
                </c:pt>
                <c:pt idx="4">
                  <c:v>Kat 5</c:v>
                </c:pt>
                <c:pt idx="5">
                  <c:v>Kat 6</c:v>
                </c:pt>
                <c:pt idx="6">
                  <c:v>Total</c:v>
                </c:pt>
              </c:strCache>
            </c:strRef>
          </c:cat>
          <c:val>
            <c:numRef>
              <c:f>Sheet1!$B$7:$H$7</c:f>
              <c:numCache>
                <c:formatCode>General</c:formatCode>
                <c:ptCount val="7"/>
                <c:pt idx="5">
                  <c:v>1.5</c:v>
                </c:pt>
                <c:pt idx="6">
                  <c:v>1.5</c:v>
                </c:pt>
              </c:numCache>
            </c:numRef>
          </c:val>
          <c:extLst>
            <c:ext xmlns:c16="http://schemas.microsoft.com/office/drawing/2014/chart" uri="{C3380CC4-5D6E-409C-BE32-E72D297353CC}">
              <c16:uniqueId val="{0000002F-4D81-4A5C-8528-DD91C5A9698E}"/>
            </c:ext>
          </c:extLst>
        </c:ser>
        <c:dLbls>
          <c:showLegendKey val="0"/>
          <c:showVal val="0"/>
          <c:showCatName val="0"/>
          <c:showSerName val="0"/>
          <c:showPercent val="0"/>
          <c:showBubbleSize val="0"/>
        </c:dLbls>
        <c:gapWidth val="80"/>
        <c:overlap val="100"/>
        <c:axId val="89624576"/>
        <c:axId val="89626112"/>
      </c:barChart>
      <c:catAx>
        <c:axId val="89624576"/>
        <c:scaling>
          <c:orientation val="minMax"/>
        </c:scaling>
        <c:delete val="0"/>
        <c:axPos val="b"/>
        <c:numFmt formatCode="#,##0" sourceLinked="0"/>
        <c:majorTickMark val="none"/>
        <c:minorTickMark val="none"/>
        <c:tickLblPos val="low"/>
        <c:spPr>
          <a:ln w="3175">
            <a:solidFill>
              <a:srgbClr val="003CB4"/>
            </a:solidFill>
          </a:ln>
        </c:spPr>
        <c:txPr>
          <a:bodyPr/>
          <a:lstStyle/>
          <a:p>
            <a:pPr>
              <a:defRPr>
                <a:solidFill>
                  <a:srgbClr val="003CB4"/>
                </a:solidFill>
                <a:latin typeface="Frutiger for ZKB Light"/>
                <a:ea typeface="Frutiger for ZKB Light"/>
                <a:cs typeface="Frutiger for ZKB Light"/>
              </a:defRPr>
            </a:pPr>
            <a:endParaRPr lang="de-DE"/>
          </a:p>
        </c:txPr>
        <c:crossAx val="89626112"/>
        <c:crosses val="autoZero"/>
        <c:auto val="1"/>
        <c:lblAlgn val="ctr"/>
        <c:lblOffset val="100"/>
        <c:noMultiLvlLbl val="1"/>
      </c:catAx>
      <c:valAx>
        <c:axId val="89626112"/>
        <c:scaling>
          <c:orientation val="minMax"/>
          <c:max val="18"/>
          <c:min val="0"/>
        </c:scaling>
        <c:delete val="0"/>
        <c:axPos val="l"/>
        <c:majorGridlines>
          <c:spPr>
            <a:ln w="3175">
              <a:solidFill>
                <a:srgbClr val="A0CAFD"/>
              </a:solidFill>
              <a:prstDash val="solid"/>
            </a:ln>
          </c:spPr>
        </c:majorGridlines>
        <c:numFmt formatCode="#\ ##0" sourceLinked="0"/>
        <c:majorTickMark val="none"/>
        <c:minorTickMark val="none"/>
        <c:tickLblPos val="nextTo"/>
        <c:spPr>
          <a:ln>
            <a:noFill/>
          </a:ln>
        </c:spPr>
        <c:txPr>
          <a:bodyPr/>
          <a:lstStyle/>
          <a:p>
            <a:pPr>
              <a:defRPr>
                <a:solidFill>
                  <a:srgbClr val="003CB4"/>
                </a:solidFill>
                <a:latin typeface="Frutiger for ZKB Light"/>
                <a:ea typeface="Frutiger for ZKB Light"/>
                <a:cs typeface="Frutiger for ZKB Light"/>
              </a:defRPr>
            </a:pPr>
            <a:endParaRPr lang="de-DE"/>
          </a:p>
        </c:txPr>
        <c:crossAx val="89624576"/>
        <c:crosses val="autoZero"/>
        <c:crossBetween val="between"/>
        <c:majorUnit val="2"/>
      </c:valAx>
      <c:spPr>
        <a:noFill/>
        <a:ln w="29128">
          <a:noFill/>
        </a:ln>
      </c:spPr>
    </c:plotArea>
    <c:plotVisOnly val="1"/>
    <c:dispBlanksAs val="gap"/>
    <c:showDLblsOverMax val="1"/>
  </c:chart>
  <c:spPr>
    <a:noFill/>
    <a:ln>
      <a:noFill/>
    </a:ln>
    <a:effectLst/>
  </c:spPr>
  <c:txPr>
    <a:bodyPr/>
    <a:lstStyle/>
    <a:p>
      <a:pPr>
        <a:lnSpc>
          <a:spcPts val="2200"/>
        </a:lnSpc>
        <a:defRPr sz="1400" b="0" i="0" u="none" strike="noStrike" baseline="0">
          <a:solidFill>
            <a:schemeClr val="accent3"/>
          </a:solidFill>
          <a:latin typeface="+mn-lt"/>
          <a:ea typeface="Frutiger for ZKB Light"/>
          <a:cs typeface="Frutiger for ZKB Light"/>
        </a:defRPr>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5.2533045977011493E-2"/>
          <c:w val="0.77442545798984164"/>
          <c:h val="0.83420833333333333"/>
        </c:manualLayout>
      </c:layout>
      <c:barChart>
        <c:barDir val="col"/>
        <c:grouping val="stacked"/>
        <c:varyColors val="0"/>
        <c:ser>
          <c:idx val="0"/>
          <c:order val="0"/>
          <c:tx>
            <c:strRef>
              <c:f>Tabelle1!$A$2</c:f>
              <c:strCache>
                <c:ptCount val="1"/>
                <c:pt idx="0">
                  <c:v>Datenreihe 1</c:v>
                </c:pt>
              </c:strCache>
            </c:strRef>
          </c:tx>
          <c:spPr>
            <a:solidFill>
              <a:srgbClr val="A0CAFD"/>
            </a:solidFill>
          </c:spPr>
          <c:invertIfNegative val="0"/>
          <c:dLbls>
            <c:dLbl>
              <c:idx val="0"/>
              <c:tx>
                <c:rich>
                  <a:bodyPr/>
                  <a:lstStyle/>
                  <a:p>
                    <a:fld id="{2F9BEC20-395C-CC42-B7A3-373ECA2C2C06}" type="VALUE">
                      <a:rPr lang="en-US">
                        <a:solidFill>
                          <a:srgbClr val="003CB4"/>
                        </a:solidFill>
                      </a:rPr>
                      <a:pPr/>
                      <a:t>[VALUE]</a:t>
                    </a:fld>
                    <a:endParaRPr lang="de-CH"/>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D53B-4AC5-B3B9-DDAC5DDA3D5C}"/>
                </c:ext>
              </c:extLst>
            </c:dLbl>
            <c:dLbl>
              <c:idx val="1"/>
              <c:tx>
                <c:rich>
                  <a:bodyPr/>
                  <a:lstStyle/>
                  <a:p>
                    <a:fld id="{FEBAE743-A900-EC48-B83E-BE5B1D18FC76}" type="VALUE">
                      <a:rPr lang="en-US">
                        <a:solidFill>
                          <a:srgbClr val="003CB4"/>
                        </a:solidFill>
                      </a:rPr>
                      <a:pPr/>
                      <a:t>[VALUE]</a:t>
                    </a:fld>
                    <a:endParaRPr lang="de-CH"/>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53B-4AC5-B3B9-DDAC5DDA3D5C}"/>
                </c:ext>
              </c:extLst>
            </c:dLbl>
            <c:dLbl>
              <c:idx val="2"/>
              <c:tx>
                <c:rich>
                  <a:bodyPr/>
                  <a:lstStyle/>
                  <a:p>
                    <a:fld id="{B987A704-200C-8A46-A924-8950C60B2993}" type="VALUE">
                      <a:rPr lang="en-US">
                        <a:solidFill>
                          <a:srgbClr val="003CB4"/>
                        </a:solidFill>
                      </a:rPr>
                      <a:pPr/>
                      <a:t>[VALUE]</a:t>
                    </a:fld>
                    <a:endParaRPr lang="de-CH"/>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D53B-4AC5-B3B9-DDAC5DDA3D5C}"/>
                </c:ext>
              </c:extLst>
            </c:dLbl>
            <c:dLbl>
              <c:idx val="3"/>
              <c:tx>
                <c:rich>
                  <a:bodyPr/>
                  <a:lstStyle/>
                  <a:p>
                    <a:fld id="{C5BF5663-80D7-5541-A264-4904180E4D44}" type="VALUE">
                      <a:rPr lang="en-US">
                        <a:solidFill>
                          <a:srgbClr val="003CB4"/>
                        </a:solidFill>
                      </a:rPr>
                      <a:pPr/>
                      <a:t>[VALUE]</a:t>
                    </a:fld>
                    <a:endParaRPr lang="de-CH"/>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53B-4AC5-B3B9-DDAC5DDA3D5C}"/>
                </c:ext>
              </c:extLst>
            </c:dLbl>
            <c:numFmt formatCode="##,#00" sourceLinked="0"/>
            <c:spPr>
              <a:noFill/>
              <a:ln>
                <a:noFill/>
              </a:ln>
              <a:effectLst/>
            </c:spPr>
            <c:txPr>
              <a:bodyPr wrap="square" lIns="38100" tIns="19050" rIns="38100" bIns="19050" anchor="ctr">
                <a:spAutoFit/>
              </a:bodyPr>
              <a:lstStyle/>
              <a:p>
                <a:pPr>
                  <a:defRPr>
                    <a:solidFill>
                      <a:srgbClr val="FFFFFF"/>
                    </a:solidFill>
                    <a:latin typeface="Frutiger for ZKB Light" panose="020B0303030504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B$1:$E$1</c:f>
              <c:strCache>
                <c:ptCount val="4"/>
                <c:pt idx="0">
                  <c:v>Kategorie 1</c:v>
                </c:pt>
                <c:pt idx="1">
                  <c:v>Kategorie 2</c:v>
                </c:pt>
                <c:pt idx="2">
                  <c:v>Kategorie 3</c:v>
                </c:pt>
                <c:pt idx="3">
                  <c:v>Kategorie 4</c:v>
                </c:pt>
              </c:strCache>
            </c:strRef>
          </c:cat>
          <c:val>
            <c:numRef>
              <c:f>Tabelle1!$B$2:$E$2</c:f>
              <c:numCache>
                <c:formatCode>General</c:formatCode>
                <c:ptCount val="4"/>
                <c:pt idx="0">
                  <c:v>20.399999999999999</c:v>
                </c:pt>
                <c:pt idx="1">
                  <c:v>27.4</c:v>
                </c:pt>
                <c:pt idx="2">
                  <c:v>90</c:v>
                </c:pt>
                <c:pt idx="3">
                  <c:v>20.399999999999999</c:v>
                </c:pt>
              </c:numCache>
            </c:numRef>
          </c:val>
          <c:extLst>
            <c:ext xmlns:c16="http://schemas.microsoft.com/office/drawing/2014/chart" uri="{C3380CC4-5D6E-409C-BE32-E72D297353CC}">
              <c16:uniqueId val="{00000004-D53B-4AC5-B3B9-DDAC5DDA3D5C}"/>
            </c:ext>
          </c:extLst>
        </c:ser>
        <c:ser>
          <c:idx val="1"/>
          <c:order val="1"/>
          <c:tx>
            <c:strRef>
              <c:f>Tabelle1!$A$3</c:f>
              <c:strCache>
                <c:ptCount val="1"/>
                <c:pt idx="0">
                  <c:v>Datenreihe 2</c:v>
                </c:pt>
              </c:strCache>
            </c:strRef>
          </c:tx>
          <c:spPr>
            <a:solidFill>
              <a:srgbClr val="3D87F5"/>
            </a:solidFill>
          </c:spPr>
          <c:invertIfNegative val="0"/>
          <c:dLbls>
            <c:numFmt formatCode="##,#00" sourceLinked="0"/>
            <c:spPr>
              <a:noFill/>
              <a:ln>
                <a:noFill/>
              </a:ln>
              <a:effectLst/>
            </c:spPr>
            <c:txPr>
              <a:bodyPr wrap="square" lIns="38100" tIns="19050" rIns="38100" bIns="19050" anchor="ctr">
                <a:spAutoFit/>
              </a:bodyPr>
              <a:lstStyle/>
              <a:p>
                <a:pPr>
                  <a:defRPr>
                    <a:solidFill>
                      <a:srgbClr val="FFFFFF"/>
                    </a:solidFill>
                    <a:latin typeface="Frutiger for ZKB Light" panose="020B0303030504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B$1:$E$1</c:f>
              <c:strCache>
                <c:ptCount val="4"/>
                <c:pt idx="0">
                  <c:v>Kategorie 1</c:v>
                </c:pt>
                <c:pt idx="1">
                  <c:v>Kategorie 2</c:v>
                </c:pt>
                <c:pt idx="2">
                  <c:v>Kategorie 3</c:v>
                </c:pt>
                <c:pt idx="3">
                  <c:v>Kategorie 4</c:v>
                </c:pt>
              </c:strCache>
            </c:strRef>
          </c:cat>
          <c:val>
            <c:numRef>
              <c:f>Tabelle1!$B$3:$E$3</c:f>
              <c:numCache>
                <c:formatCode>General</c:formatCode>
                <c:ptCount val="4"/>
                <c:pt idx="0">
                  <c:v>30.6</c:v>
                </c:pt>
                <c:pt idx="1">
                  <c:v>38.6</c:v>
                </c:pt>
                <c:pt idx="2">
                  <c:v>34.6</c:v>
                </c:pt>
                <c:pt idx="3">
                  <c:v>31.6</c:v>
                </c:pt>
              </c:numCache>
            </c:numRef>
          </c:val>
          <c:extLst>
            <c:ext xmlns:c16="http://schemas.microsoft.com/office/drawing/2014/chart" uri="{C3380CC4-5D6E-409C-BE32-E72D297353CC}">
              <c16:uniqueId val="{00000005-D53B-4AC5-B3B9-DDAC5DDA3D5C}"/>
            </c:ext>
          </c:extLst>
        </c:ser>
        <c:ser>
          <c:idx val="2"/>
          <c:order val="2"/>
          <c:tx>
            <c:strRef>
              <c:f>Tabelle1!$A$4</c:f>
              <c:strCache>
                <c:ptCount val="1"/>
                <c:pt idx="0">
                  <c:v>Datenreihe 3</c:v>
                </c:pt>
              </c:strCache>
            </c:strRef>
          </c:tx>
          <c:spPr>
            <a:solidFill>
              <a:srgbClr val="003CB4"/>
            </a:solidFill>
          </c:spPr>
          <c:invertIfNegative val="0"/>
          <c:dLbls>
            <c:numFmt formatCode="##,#00" sourceLinked="0"/>
            <c:spPr>
              <a:noFill/>
              <a:ln>
                <a:noFill/>
              </a:ln>
              <a:effectLst/>
            </c:spPr>
            <c:txPr>
              <a:bodyPr wrap="square" lIns="38100" tIns="19050" rIns="38100" bIns="19050" anchor="ctr">
                <a:spAutoFit/>
              </a:bodyPr>
              <a:lstStyle/>
              <a:p>
                <a:pPr>
                  <a:defRPr>
                    <a:solidFill>
                      <a:srgbClr val="FFFFFF"/>
                    </a:solidFill>
                    <a:latin typeface="Frutiger for ZKB Light" panose="020B0303030504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B$1:$E$1</c:f>
              <c:strCache>
                <c:ptCount val="4"/>
                <c:pt idx="0">
                  <c:v>Kategorie 1</c:v>
                </c:pt>
                <c:pt idx="1">
                  <c:v>Kategorie 2</c:v>
                </c:pt>
                <c:pt idx="2">
                  <c:v>Kategorie 3</c:v>
                </c:pt>
                <c:pt idx="3">
                  <c:v>Kategorie 4</c:v>
                </c:pt>
              </c:strCache>
            </c:strRef>
          </c:cat>
          <c:val>
            <c:numRef>
              <c:f>Tabelle1!$B$4:$E$4</c:f>
              <c:numCache>
                <c:formatCode>General</c:formatCode>
                <c:ptCount val="4"/>
                <c:pt idx="0">
                  <c:v>45.9</c:v>
                </c:pt>
                <c:pt idx="1">
                  <c:v>46.9</c:v>
                </c:pt>
                <c:pt idx="2">
                  <c:v>45</c:v>
                </c:pt>
                <c:pt idx="3">
                  <c:v>43.9</c:v>
                </c:pt>
              </c:numCache>
            </c:numRef>
          </c:val>
          <c:extLst>
            <c:ext xmlns:c16="http://schemas.microsoft.com/office/drawing/2014/chart" uri="{C3380CC4-5D6E-409C-BE32-E72D297353CC}">
              <c16:uniqueId val="{00000006-D53B-4AC5-B3B9-DDAC5DDA3D5C}"/>
            </c:ext>
          </c:extLst>
        </c:ser>
        <c:dLbls>
          <c:showLegendKey val="0"/>
          <c:showVal val="0"/>
          <c:showCatName val="0"/>
          <c:showSerName val="0"/>
          <c:showPercent val="0"/>
          <c:showBubbleSize val="0"/>
        </c:dLbls>
        <c:gapWidth val="120"/>
        <c:overlap val="100"/>
        <c:axId val="43715584"/>
        <c:axId val="43750144"/>
      </c:barChart>
      <c:catAx>
        <c:axId val="43715584"/>
        <c:scaling>
          <c:orientation val="minMax"/>
        </c:scaling>
        <c:delete val="0"/>
        <c:axPos val="b"/>
        <c:numFmt formatCode="General" sourceLinked="0"/>
        <c:majorTickMark val="none"/>
        <c:minorTickMark val="none"/>
        <c:tickLblPos val="nextTo"/>
        <c:spPr>
          <a:ln w="3175">
            <a:solidFill>
              <a:srgbClr val="003CB4"/>
            </a:solidFill>
          </a:ln>
        </c:spPr>
        <c:txPr>
          <a:bodyPr/>
          <a:lstStyle/>
          <a:p>
            <a:pPr>
              <a:defRPr>
                <a:solidFill>
                  <a:srgbClr val="003CB4"/>
                </a:solidFill>
                <a:latin typeface="Frutiger for ZKB Light"/>
                <a:ea typeface="Frutiger for ZKB Light"/>
                <a:cs typeface="Frutiger for ZKB Light"/>
              </a:defRPr>
            </a:pPr>
            <a:endParaRPr lang="de-DE"/>
          </a:p>
        </c:txPr>
        <c:crossAx val="43750144"/>
        <c:crosses val="autoZero"/>
        <c:auto val="1"/>
        <c:lblAlgn val="ctr"/>
        <c:lblOffset val="100"/>
        <c:noMultiLvlLbl val="0"/>
      </c:catAx>
      <c:valAx>
        <c:axId val="43750144"/>
        <c:scaling>
          <c:orientation val="minMax"/>
        </c:scaling>
        <c:delete val="1"/>
        <c:axPos val="l"/>
        <c:numFmt formatCode="General" sourceLinked="1"/>
        <c:majorTickMark val="none"/>
        <c:minorTickMark val="none"/>
        <c:tickLblPos val="nextTo"/>
        <c:crossAx val="43715584"/>
        <c:crosses val="autoZero"/>
        <c:crossBetween val="between"/>
        <c:majorUnit val="20"/>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r"/>
      <c:layout>
        <c:manualLayout>
          <c:xMode val="edge"/>
          <c:yMode val="edge"/>
          <c:x val="0.78548158837461746"/>
          <c:y val="0.69845881226053641"/>
          <c:w val="0.19364417752934368"/>
          <c:h val="0.20235462976021654"/>
        </c:manualLayout>
      </c:layout>
      <c:overlay val="0"/>
      <c:txPr>
        <a:bodyPr/>
        <a:lstStyle/>
        <a:p>
          <a:pPr>
            <a:defRPr sz="1200">
              <a:solidFill>
                <a:srgbClr val="003CB4"/>
              </a:solidFill>
              <a:latin typeface="Frutiger for ZKB Light" panose="020B0303030504020204" pitchFamily="34" charset="0"/>
            </a:defRPr>
          </a:pPr>
          <a:endParaRPr lang="de-DE"/>
        </a:p>
      </c:txPr>
    </c:legend>
    <c:plotVisOnly val="1"/>
    <c:dispBlanksAs val="gap"/>
    <c:showDLblsOverMax val="0"/>
  </c:chart>
  <c:spPr>
    <a:noFill/>
    <a:ln w="6350" cap="flat" cmpd="sng" algn="ctr">
      <a:noFill/>
      <a:prstDash val="solid"/>
      <a:miter lim="800000"/>
    </a:ln>
    <a:effectLst/>
    <a:extLst>
      <a:ext uri="{91240B29-F687-4F45-9708-019B960494DF}">
        <a14:hiddenLine xmlns:a14="http://schemas.microsoft.com/office/drawing/2010/main" w="6350" cap="flat" cmpd="sng" algn="ctr">
          <a:noFill/>
          <a:prstDash val="solid"/>
          <a:miter lim="800000"/>
        </a14:hiddenLine>
      </a:ext>
    </a:extLst>
  </c:spPr>
  <c:txPr>
    <a:bodyPr/>
    <a:lstStyle/>
    <a:p>
      <a:pPr>
        <a:lnSpc>
          <a:spcPct val="105000"/>
        </a:lnSpc>
        <a:defRPr sz="14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5.2533045977011493E-2"/>
          <c:w val="0.77442545798984164"/>
          <c:h val="0.83420833333333333"/>
        </c:manualLayout>
      </c:layout>
      <c:barChart>
        <c:barDir val="col"/>
        <c:grouping val="stacked"/>
        <c:varyColors val="0"/>
        <c:ser>
          <c:idx val="0"/>
          <c:order val="0"/>
          <c:tx>
            <c:strRef>
              <c:f>Tabelle1!$A$2</c:f>
              <c:strCache>
                <c:ptCount val="1"/>
                <c:pt idx="0">
                  <c:v>Legende 1</c:v>
                </c:pt>
              </c:strCache>
            </c:strRef>
          </c:tx>
          <c:spPr>
            <a:solidFill>
              <a:srgbClr val="A0CAFD"/>
            </a:solidFill>
          </c:spPr>
          <c:invertIfNegative val="0"/>
          <c:dLbls>
            <c:numFmt formatCode="##,#00" sourceLinked="0"/>
            <c:spPr>
              <a:noFill/>
              <a:ln>
                <a:noFill/>
              </a:ln>
              <a:effectLst/>
            </c:spPr>
            <c:txPr>
              <a:bodyPr wrap="square" lIns="38100" tIns="19050" rIns="38100" bIns="19050" anchor="ctr">
                <a:spAutoFit/>
              </a:bodyPr>
              <a:lstStyle/>
              <a:p>
                <a:pPr>
                  <a:defRPr>
                    <a:solidFill>
                      <a:srgbClr val="003CB4"/>
                    </a:solidFill>
                    <a:latin typeface="Frutiger for ZKB Light" panose="020B0303030504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B$1:$C$1</c:f>
              <c:strCache>
                <c:ptCount val="2"/>
                <c:pt idx="0">
                  <c:v>4Q24</c:v>
                </c:pt>
                <c:pt idx="1">
                  <c:v>1Q25</c:v>
                </c:pt>
              </c:strCache>
            </c:strRef>
          </c:cat>
          <c:val>
            <c:numRef>
              <c:f>Tabelle1!$B$2:$C$2</c:f>
              <c:numCache>
                <c:formatCode>General</c:formatCode>
                <c:ptCount val="2"/>
                <c:pt idx="0">
                  <c:v>80</c:v>
                </c:pt>
                <c:pt idx="1">
                  <c:v>90</c:v>
                </c:pt>
              </c:numCache>
            </c:numRef>
          </c:val>
          <c:extLst>
            <c:ext xmlns:c16="http://schemas.microsoft.com/office/drawing/2014/chart" uri="{C3380CC4-5D6E-409C-BE32-E72D297353CC}">
              <c16:uniqueId val="{00000000-3D94-4154-AC61-21B500D87898}"/>
            </c:ext>
          </c:extLst>
        </c:ser>
        <c:dLbls>
          <c:showLegendKey val="0"/>
          <c:showVal val="0"/>
          <c:showCatName val="0"/>
          <c:showSerName val="0"/>
          <c:showPercent val="0"/>
          <c:showBubbleSize val="0"/>
        </c:dLbls>
        <c:gapWidth val="120"/>
        <c:overlap val="100"/>
        <c:axId val="43715584"/>
        <c:axId val="43750144"/>
      </c:barChart>
      <c:catAx>
        <c:axId val="43715584"/>
        <c:scaling>
          <c:orientation val="minMax"/>
        </c:scaling>
        <c:delete val="0"/>
        <c:axPos val="b"/>
        <c:numFmt formatCode="General" sourceLinked="0"/>
        <c:majorTickMark val="none"/>
        <c:minorTickMark val="none"/>
        <c:tickLblPos val="nextTo"/>
        <c:spPr>
          <a:ln w="3175">
            <a:solidFill>
              <a:srgbClr val="003CB4"/>
            </a:solidFill>
          </a:ln>
        </c:spPr>
        <c:txPr>
          <a:bodyPr/>
          <a:lstStyle/>
          <a:p>
            <a:pPr>
              <a:defRPr>
                <a:solidFill>
                  <a:srgbClr val="003CB4"/>
                </a:solidFill>
                <a:latin typeface="Frutiger for ZKB Light"/>
                <a:ea typeface="Frutiger for ZKB Light"/>
                <a:cs typeface="Frutiger for ZKB Light"/>
              </a:defRPr>
            </a:pPr>
            <a:endParaRPr lang="de-DE"/>
          </a:p>
        </c:txPr>
        <c:crossAx val="43750144"/>
        <c:crosses val="autoZero"/>
        <c:auto val="1"/>
        <c:lblAlgn val="ctr"/>
        <c:lblOffset val="100"/>
        <c:noMultiLvlLbl val="0"/>
      </c:catAx>
      <c:valAx>
        <c:axId val="43750144"/>
        <c:scaling>
          <c:orientation val="minMax"/>
        </c:scaling>
        <c:delete val="1"/>
        <c:axPos val="l"/>
        <c:numFmt formatCode="General" sourceLinked="1"/>
        <c:majorTickMark val="none"/>
        <c:minorTickMark val="none"/>
        <c:tickLblPos val="nextTo"/>
        <c:crossAx val="43715584"/>
        <c:crosses val="autoZero"/>
        <c:crossBetween val="between"/>
        <c:majorUnit val="20"/>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plotVisOnly val="1"/>
    <c:dispBlanksAs val="gap"/>
    <c:showDLblsOverMax val="0"/>
  </c:chart>
  <c:spPr>
    <a:noFill/>
    <a:ln w="6350" cap="flat" cmpd="sng" algn="ctr">
      <a:noFill/>
      <a:prstDash val="solid"/>
      <a:miter lim="800000"/>
    </a:ln>
    <a:effectLst/>
    <a:extLst>
      <a:ext uri="{91240B29-F687-4F45-9708-019B960494DF}">
        <a14:hiddenLine xmlns:a14="http://schemas.microsoft.com/office/drawing/2010/main" w="6350" cap="flat" cmpd="sng" algn="ctr">
          <a:noFill/>
          <a:prstDash val="solid"/>
          <a:miter lim="800000"/>
        </a14:hiddenLine>
      </a:ext>
    </a:extLst>
  </c:spPr>
  <c:txPr>
    <a:bodyPr/>
    <a:lstStyle/>
    <a:p>
      <a:pPr>
        <a:lnSpc>
          <a:spcPct val="105000"/>
        </a:lnSpc>
        <a:defRPr sz="1400"/>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327781630448561E-3"/>
          <c:y val="8.5139918480204038E-2"/>
          <c:w val="0.98040666204346172"/>
          <c:h val="0.7447826039456853"/>
        </c:manualLayout>
      </c:layout>
      <c:barChart>
        <c:barDir val="col"/>
        <c:grouping val="clustered"/>
        <c:varyColors val="0"/>
        <c:ser>
          <c:idx val="0"/>
          <c:order val="0"/>
          <c:tx>
            <c:strRef>
              <c:f>Tabelle1!$B$1</c:f>
              <c:strCache>
                <c:ptCount val="1"/>
                <c:pt idx="0">
                  <c:v>Datenreihe 1</c:v>
                </c:pt>
              </c:strCache>
            </c:strRef>
          </c:tx>
          <c:spPr>
            <a:solidFill>
              <a:srgbClr val="A0CAF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FFFFFF"/>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Kategorie 1</c:v>
                </c:pt>
                <c:pt idx="1">
                  <c:v>Kategorie 2</c:v>
                </c:pt>
                <c:pt idx="2">
                  <c:v>Kategorie 3</c:v>
                </c:pt>
              </c:strCache>
            </c:strRef>
          </c:cat>
          <c:val>
            <c:numRef>
              <c:f>Tabelle1!$B$2:$B$4</c:f>
              <c:numCache>
                <c:formatCode>0.0</c:formatCode>
                <c:ptCount val="3"/>
                <c:pt idx="0">
                  <c:v>4.3</c:v>
                </c:pt>
                <c:pt idx="1">
                  <c:v>2.5</c:v>
                </c:pt>
                <c:pt idx="2">
                  <c:v>3.5</c:v>
                </c:pt>
              </c:numCache>
            </c:numRef>
          </c:val>
          <c:extLst>
            <c:ext xmlns:c16="http://schemas.microsoft.com/office/drawing/2014/chart" uri="{C3380CC4-5D6E-409C-BE32-E72D297353CC}">
              <c16:uniqueId val="{00000000-E5FC-416E-981D-C49C4E6A11AA}"/>
            </c:ext>
          </c:extLst>
        </c:ser>
        <c:ser>
          <c:idx val="1"/>
          <c:order val="1"/>
          <c:tx>
            <c:strRef>
              <c:f>Tabelle1!$C$1</c:f>
              <c:strCache>
                <c:ptCount val="1"/>
                <c:pt idx="0">
                  <c:v>Datenreihe 2</c:v>
                </c:pt>
              </c:strCache>
            </c:strRef>
          </c:tx>
          <c:spPr>
            <a:solidFill>
              <a:srgbClr val="65A6F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FFFFFF"/>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Kategorie 1</c:v>
                </c:pt>
                <c:pt idx="1">
                  <c:v>Kategorie 2</c:v>
                </c:pt>
                <c:pt idx="2">
                  <c:v>Kategorie 3</c:v>
                </c:pt>
              </c:strCache>
            </c:strRef>
          </c:cat>
          <c:val>
            <c:numRef>
              <c:f>Tabelle1!$C$2:$C$4</c:f>
              <c:numCache>
                <c:formatCode>0.0</c:formatCode>
                <c:ptCount val="3"/>
                <c:pt idx="0">
                  <c:v>2.4</c:v>
                </c:pt>
                <c:pt idx="1">
                  <c:v>4.4000000000000004</c:v>
                </c:pt>
                <c:pt idx="2">
                  <c:v>1.8</c:v>
                </c:pt>
              </c:numCache>
            </c:numRef>
          </c:val>
          <c:extLst>
            <c:ext xmlns:c16="http://schemas.microsoft.com/office/drawing/2014/chart" uri="{C3380CC4-5D6E-409C-BE32-E72D297353CC}">
              <c16:uniqueId val="{00000001-E5FC-416E-981D-C49C4E6A11AA}"/>
            </c:ext>
          </c:extLst>
        </c:ser>
        <c:ser>
          <c:idx val="2"/>
          <c:order val="2"/>
          <c:tx>
            <c:strRef>
              <c:f>Tabelle1!$D$1</c:f>
              <c:strCache>
                <c:ptCount val="1"/>
                <c:pt idx="0">
                  <c:v>Datenreihe 3</c:v>
                </c:pt>
              </c:strCache>
            </c:strRef>
          </c:tx>
          <c:spPr>
            <a:solidFill>
              <a:srgbClr val="1264F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FFFFFF"/>
                    </a:solidFill>
                    <a:latin typeface="Frutiger for ZKB Light" panose="020B0303030504020204" pitchFamily="34" charset="0"/>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Kategorie 1</c:v>
                </c:pt>
                <c:pt idx="1">
                  <c:v>Kategorie 2</c:v>
                </c:pt>
                <c:pt idx="2">
                  <c:v>Kategorie 3</c:v>
                </c:pt>
              </c:strCache>
            </c:strRef>
          </c:cat>
          <c:val>
            <c:numRef>
              <c:f>Tabelle1!$D$2:$D$4</c:f>
              <c:numCache>
                <c:formatCode>0.0</c:formatCode>
                <c:ptCount val="3"/>
                <c:pt idx="0">
                  <c:v>2</c:v>
                </c:pt>
                <c:pt idx="1">
                  <c:v>2</c:v>
                </c:pt>
                <c:pt idx="2">
                  <c:v>3</c:v>
                </c:pt>
              </c:numCache>
            </c:numRef>
          </c:val>
          <c:extLst>
            <c:ext xmlns:c16="http://schemas.microsoft.com/office/drawing/2014/chart" uri="{C3380CC4-5D6E-409C-BE32-E72D297353CC}">
              <c16:uniqueId val="{00000002-E5FC-416E-981D-C49C4E6A11AA}"/>
            </c:ext>
          </c:extLst>
        </c:ser>
        <c:ser>
          <c:idx val="3"/>
          <c:order val="3"/>
          <c:tx>
            <c:strRef>
              <c:f>Tabelle1!$E$1</c:f>
              <c:strCache>
                <c:ptCount val="1"/>
                <c:pt idx="0">
                  <c:v>Datenreihe 4</c:v>
                </c:pt>
              </c:strCache>
            </c:strRef>
          </c:tx>
          <c:spPr>
            <a:solidFill>
              <a:srgbClr val="68D9B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FFFFFF"/>
                    </a:solidFill>
                    <a:latin typeface="Frutiger for ZKB Light" panose="020B0303030504020204" pitchFamily="34" charset="0"/>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Kategorie 1</c:v>
                </c:pt>
                <c:pt idx="1">
                  <c:v>Kategorie 2</c:v>
                </c:pt>
                <c:pt idx="2">
                  <c:v>Kategorie 3</c:v>
                </c:pt>
              </c:strCache>
            </c:strRef>
          </c:cat>
          <c:val>
            <c:numRef>
              <c:f>Tabelle1!$E$2:$E$4</c:f>
              <c:numCache>
                <c:formatCode>0.0</c:formatCode>
                <c:ptCount val="3"/>
                <c:pt idx="0">
                  <c:v>3</c:v>
                </c:pt>
                <c:pt idx="1">
                  <c:v>1.6</c:v>
                </c:pt>
                <c:pt idx="2">
                  <c:v>2.8</c:v>
                </c:pt>
              </c:numCache>
            </c:numRef>
          </c:val>
          <c:extLst>
            <c:ext xmlns:c16="http://schemas.microsoft.com/office/drawing/2014/chart" uri="{C3380CC4-5D6E-409C-BE32-E72D297353CC}">
              <c16:uniqueId val="{00000003-E5FC-416E-981D-C49C4E6A11AA}"/>
            </c:ext>
          </c:extLst>
        </c:ser>
        <c:ser>
          <c:idx val="4"/>
          <c:order val="4"/>
          <c:tx>
            <c:strRef>
              <c:f>Tabelle1!$F$1</c:f>
              <c:strCache>
                <c:ptCount val="1"/>
                <c:pt idx="0">
                  <c:v>Datenreihe 5</c:v>
                </c:pt>
              </c:strCache>
            </c:strRef>
          </c:tx>
          <c:spPr>
            <a:solidFill>
              <a:srgbClr val="169C7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FFFFFF"/>
                    </a:solidFill>
                    <a:latin typeface="Frutiger for ZKB Light" panose="020B0303030504020204" pitchFamily="34" charset="0"/>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Kategorie 1</c:v>
                </c:pt>
                <c:pt idx="1">
                  <c:v>Kategorie 2</c:v>
                </c:pt>
                <c:pt idx="2">
                  <c:v>Kategorie 3</c:v>
                </c:pt>
              </c:strCache>
            </c:strRef>
          </c:cat>
          <c:val>
            <c:numRef>
              <c:f>Tabelle1!$F$2:$F$4</c:f>
              <c:numCache>
                <c:formatCode>0.0</c:formatCode>
                <c:ptCount val="3"/>
                <c:pt idx="0">
                  <c:v>5</c:v>
                </c:pt>
                <c:pt idx="1">
                  <c:v>3</c:v>
                </c:pt>
                <c:pt idx="2">
                  <c:v>5.4</c:v>
                </c:pt>
              </c:numCache>
            </c:numRef>
          </c:val>
          <c:extLst>
            <c:ext xmlns:c16="http://schemas.microsoft.com/office/drawing/2014/chart" uri="{C3380CC4-5D6E-409C-BE32-E72D297353CC}">
              <c16:uniqueId val="{00000004-E5FC-416E-981D-C49C4E6A11AA}"/>
            </c:ext>
          </c:extLst>
        </c:ser>
        <c:dLbls>
          <c:dLblPos val="inEnd"/>
          <c:showLegendKey val="0"/>
          <c:showVal val="1"/>
          <c:showCatName val="0"/>
          <c:showSerName val="0"/>
          <c:showPercent val="0"/>
          <c:showBubbleSize val="0"/>
        </c:dLbls>
        <c:gapWidth val="200"/>
        <c:axId val="1049365472"/>
        <c:axId val="1049367184"/>
      </c:barChart>
      <c:catAx>
        <c:axId val="1049365472"/>
        <c:scaling>
          <c:orientation val="minMax"/>
        </c:scaling>
        <c:delete val="0"/>
        <c:axPos val="b"/>
        <c:numFmt formatCode="General" sourceLinked="1"/>
        <c:majorTickMark val="none"/>
        <c:minorTickMark val="none"/>
        <c:tickLblPos val="nextTo"/>
        <c:spPr>
          <a:noFill/>
          <a:ln w="3175" cap="flat" cmpd="sng" algn="ctr">
            <a:solidFill>
              <a:srgbClr val="003CB4"/>
            </a:solidFill>
            <a:round/>
          </a:ln>
          <a:effectLst/>
        </c:spPr>
        <c:txPr>
          <a:bodyPr rot="-60000000" spcFirstLastPara="1" vertOverflow="ellipsis" vert="horz" wrap="square" anchor="ctr" anchorCtr="1"/>
          <a:lstStyle/>
          <a:p>
            <a:pPr>
              <a:defRPr sz="1197" b="0" i="0" u="none" strike="noStrike" kern="1200" baseline="0">
                <a:solidFill>
                  <a:srgbClr val="003CB4"/>
                </a:solidFill>
                <a:latin typeface="Frutiger for ZKB Light"/>
                <a:ea typeface="Frutiger for ZKB Light"/>
                <a:cs typeface="Frutiger for ZKB Light"/>
              </a:defRPr>
            </a:pPr>
            <a:endParaRPr lang="de-DE"/>
          </a:p>
        </c:txPr>
        <c:crossAx val="1049367184"/>
        <c:crosses val="autoZero"/>
        <c:auto val="1"/>
        <c:lblAlgn val="ctr"/>
        <c:lblOffset val="100"/>
        <c:noMultiLvlLbl val="0"/>
      </c:catAx>
      <c:valAx>
        <c:axId val="1049367184"/>
        <c:scaling>
          <c:orientation val="minMax"/>
        </c:scaling>
        <c:delete val="1"/>
        <c:axPos val="l"/>
        <c:majorGridlines>
          <c:spPr>
            <a:ln w="3175" cap="flat" cmpd="sng" algn="ctr">
              <a:solidFill>
                <a:srgbClr val="A0CAFD"/>
              </a:solidFill>
              <a:round/>
            </a:ln>
            <a:effectLst/>
          </c:spPr>
        </c:majorGridlines>
        <c:numFmt formatCode="0.0" sourceLinked="1"/>
        <c:majorTickMark val="none"/>
        <c:minorTickMark val="none"/>
        <c:tickLblPos val="nextTo"/>
        <c:crossAx val="1049365472"/>
        <c:crosses val="autoZero"/>
        <c:crossBetween val="between"/>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b"/>
      <c:layout>
        <c:manualLayout>
          <c:xMode val="edge"/>
          <c:yMode val="edge"/>
          <c:x val="4.0864506991867527E-2"/>
          <c:y val="0.91817405787428785"/>
          <c:w val="0.88888126580258986"/>
          <c:h val="7.8672611811630475E-2"/>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003CB4"/>
              </a:solidFill>
              <a:latin typeface="Frutiger for ZKB Light" panose="020B0303030504020204" pitchFamily="34" charset="0"/>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a:extLst>
      <a:ext uri="{91240B29-F687-4F45-9708-019B960494DF}">
        <a14:hiddenLine xmlns:a14="http://schemas.microsoft.com/office/drawing/2010/main">
          <a:noFill/>
        </a14:hiddenLine>
      </a:ext>
    </a:ex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90066401073371"/>
          <c:y val="3.3733458350769532E-2"/>
          <c:w val="0.83038847590721809"/>
          <c:h val="0.78859601442932392"/>
        </c:manualLayout>
      </c:layout>
      <c:barChart>
        <c:barDir val="bar"/>
        <c:grouping val="clustered"/>
        <c:varyColors val="0"/>
        <c:ser>
          <c:idx val="0"/>
          <c:order val="0"/>
          <c:tx>
            <c:strRef>
              <c:f>Tabelle1!$B$1</c:f>
              <c:strCache>
                <c:ptCount val="1"/>
                <c:pt idx="0">
                  <c:v>Datenreihe 1</c:v>
                </c:pt>
              </c:strCache>
            </c:strRef>
          </c:tx>
          <c:spPr>
            <a:solidFill>
              <a:srgbClr val="A0CAFD"/>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7DB-4E2D-BB07-D43025DB128C}"/>
            </c:ext>
          </c:extLst>
        </c:ser>
        <c:ser>
          <c:idx val="1"/>
          <c:order val="1"/>
          <c:tx>
            <c:strRef>
              <c:f>Tabelle1!$C$1</c:f>
              <c:strCache>
                <c:ptCount val="1"/>
                <c:pt idx="0">
                  <c:v>Datenreihe 2</c:v>
                </c:pt>
              </c:strCache>
            </c:strRef>
          </c:tx>
          <c:spPr>
            <a:solidFill>
              <a:srgbClr val="65A6FB"/>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7DB-4E2D-BB07-D43025DB128C}"/>
            </c:ext>
          </c:extLst>
        </c:ser>
        <c:ser>
          <c:idx val="2"/>
          <c:order val="2"/>
          <c:tx>
            <c:strRef>
              <c:f>Tabelle1!$D$1</c:f>
              <c:strCache>
                <c:ptCount val="1"/>
                <c:pt idx="0">
                  <c:v>Datenreihe 3</c:v>
                </c:pt>
              </c:strCache>
            </c:strRef>
          </c:tx>
          <c:spPr>
            <a:solidFill>
              <a:srgbClr val="003CB4"/>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E7DB-4E2D-BB07-D43025DB128C}"/>
            </c:ext>
          </c:extLst>
        </c:ser>
        <c:dLbls>
          <c:showLegendKey val="0"/>
          <c:showVal val="0"/>
          <c:showCatName val="0"/>
          <c:showSerName val="0"/>
          <c:showPercent val="0"/>
          <c:showBubbleSize val="0"/>
        </c:dLbls>
        <c:gapWidth val="182"/>
        <c:axId val="1331038927"/>
        <c:axId val="1331641119"/>
      </c:barChart>
      <c:catAx>
        <c:axId val="1331038927"/>
        <c:scaling>
          <c:orientation val="minMax"/>
        </c:scaling>
        <c:delete val="0"/>
        <c:axPos val="l"/>
        <c:numFmt formatCode="General" sourceLinked="1"/>
        <c:majorTickMark val="none"/>
        <c:minorTickMark val="none"/>
        <c:tickLblPos val="nextTo"/>
        <c:spPr>
          <a:noFill/>
          <a:ln w="3175" cap="flat" cmpd="sng" algn="ctr">
            <a:solidFill>
              <a:srgbClr val="003CB4"/>
            </a:solidFill>
            <a:prstDash val="solid"/>
            <a:round/>
          </a:ln>
          <a:effectLst/>
        </c:spPr>
        <c:txPr>
          <a:bodyPr rot="-60000000" spcFirstLastPara="1" vertOverflow="ellipsis" vert="horz" wrap="square" anchor="ctr" anchorCtr="1"/>
          <a:lstStyle/>
          <a:p>
            <a:pPr>
              <a:defRPr sz="1197" b="0" i="0" u="none" strike="noStrike" kern="1200" baseline="0">
                <a:solidFill>
                  <a:srgbClr val="003CB4"/>
                </a:solidFill>
                <a:latin typeface="Frutiger for ZKB Light"/>
                <a:ea typeface="Frutiger for ZKB Light"/>
                <a:cs typeface="Frutiger for ZKB Light"/>
              </a:defRPr>
            </a:pPr>
            <a:endParaRPr lang="de-DE"/>
          </a:p>
        </c:txPr>
        <c:crossAx val="1331641119"/>
        <c:crosses val="autoZero"/>
        <c:auto val="1"/>
        <c:lblAlgn val="ctr"/>
        <c:lblOffset val="100"/>
        <c:noMultiLvlLbl val="0"/>
      </c:catAx>
      <c:valAx>
        <c:axId val="1331641119"/>
        <c:scaling>
          <c:orientation val="minMax"/>
        </c:scaling>
        <c:delete val="0"/>
        <c:axPos val="b"/>
        <c:majorGridlines>
          <c:spPr>
            <a:ln w="3175" cap="flat" cmpd="sng" algn="ctr">
              <a:solidFill>
                <a:srgbClr val="A0CAFD"/>
              </a:solidFill>
              <a:round/>
            </a:ln>
            <a:effectLst/>
          </c:spPr>
        </c:majorGridlines>
        <c:numFmt formatCode="General" sourceLinked="1"/>
        <c:majorTickMark val="none"/>
        <c:minorTickMark val="none"/>
        <c:tickLblPos val="nextTo"/>
        <c:spPr>
          <a:noFill/>
          <a:ln>
            <a:noFill/>
          </a:ln>
          <a:effectLst/>
          <a:extLst>
            <a:ext uri="{91240B29-F687-4F45-9708-019B960494DF}">
              <a14:hiddenLine xmlns:a14="http://schemas.microsoft.com/office/drawing/2010/main">
                <a:solidFill>
                  <a:srgbClr val="003CB4"/>
                </a:solidFill>
              </a14:hiddenLine>
            </a:ext>
          </a:extLst>
        </c:spPr>
        <c:txPr>
          <a:bodyPr rot="-60000000" spcFirstLastPara="1" vertOverflow="ellipsis" vert="horz" wrap="square" anchor="ctr" anchorCtr="1"/>
          <a:lstStyle/>
          <a:p>
            <a:pPr>
              <a:defRPr sz="1197" b="0" i="0" u="none" strike="noStrike" kern="1200" baseline="0">
                <a:solidFill>
                  <a:srgbClr val="003CB4"/>
                </a:solidFill>
                <a:latin typeface="Frutiger for ZKB Light"/>
                <a:ea typeface="Frutiger for ZKB Light"/>
                <a:cs typeface="Frutiger for ZKB Light"/>
              </a:defRPr>
            </a:pPr>
            <a:endParaRPr lang="de-DE"/>
          </a:p>
        </c:txPr>
        <c:crossAx val="1331038927"/>
        <c:crosses val="autoZero"/>
        <c:crossBetween val="between"/>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b"/>
      <c:layout>
        <c:manualLayout>
          <c:xMode val="edge"/>
          <c:yMode val="edge"/>
          <c:x val="0.25375715865392551"/>
          <c:y val="0.92042260272103682"/>
          <c:w val="0.5662077957406898"/>
          <c:h val="6.1177329087634312E-2"/>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003CB4"/>
              </a:solidFill>
              <a:latin typeface="Frutiger for ZKB Light" panose="020B0303030504020204" pitchFamily="34" charset="0"/>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a:extLst>
      <a:ext uri="{91240B29-F687-4F45-9708-019B960494DF}">
        <a14:hiddenLine xmlns:a14="http://schemas.microsoft.com/office/drawing/2010/main">
          <a:noFill/>
        </a14:hiddenLine>
      </a:ext>
    </a:extLst>
  </c:spPr>
  <c:txPr>
    <a:bodyPr/>
    <a:lstStyle/>
    <a:p>
      <a:pPr>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56012995282868E-2"/>
          <c:y val="3.9008244231205677E-2"/>
          <c:w val="0.95984398700471718"/>
          <c:h val="0.75247926192072989"/>
        </c:manualLayout>
      </c:layout>
      <c:lineChart>
        <c:grouping val="standard"/>
        <c:varyColors val="0"/>
        <c:ser>
          <c:idx val="0"/>
          <c:order val="0"/>
          <c:tx>
            <c:strRef>
              <c:f>Tabelle1!$B$1</c:f>
              <c:strCache>
                <c:ptCount val="1"/>
                <c:pt idx="0">
                  <c:v>Datenreihe 1</c:v>
                </c:pt>
              </c:strCache>
            </c:strRef>
          </c:tx>
          <c:spPr>
            <a:ln w="19050" cap="rnd" cmpd="sng" algn="ctr">
              <a:solidFill>
                <a:srgbClr val="003CB4"/>
              </a:solidFill>
              <a:prstDash val="solid"/>
              <a:round/>
              <a:headEnd type="none" w="med" len="med"/>
              <a:tailEnd type="none" w="med" len="med"/>
            </a:ln>
            <a:effectLst/>
          </c:spPr>
          <c:marker>
            <c:symbol val="none"/>
          </c:marker>
          <c:cat>
            <c:numRef>
              <c:f>Tabelle1!$A$2:$A$5</c:f>
              <c:numCache>
                <c:formatCode>General</c:formatCode>
                <c:ptCount val="4"/>
                <c:pt idx="0">
                  <c:v>2022</c:v>
                </c:pt>
                <c:pt idx="1">
                  <c:v>2023</c:v>
                </c:pt>
                <c:pt idx="2">
                  <c:v>2024</c:v>
                </c:pt>
                <c:pt idx="3">
                  <c:v>2025</c:v>
                </c:pt>
              </c:numCache>
            </c:numRef>
          </c:cat>
          <c:val>
            <c:numRef>
              <c:f>Tabelle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502F-48F5-93F2-0A4A7E3D9036}"/>
            </c:ext>
          </c:extLst>
        </c:ser>
        <c:ser>
          <c:idx val="1"/>
          <c:order val="1"/>
          <c:tx>
            <c:strRef>
              <c:f>Tabelle1!$C$1</c:f>
              <c:strCache>
                <c:ptCount val="1"/>
                <c:pt idx="0">
                  <c:v>Datenreihe 2</c:v>
                </c:pt>
              </c:strCache>
            </c:strRef>
          </c:tx>
          <c:spPr>
            <a:ln w="19050" cap="rnd" cmpd="sng" algn="ctr">
              <a:solidFill>
                <a:srgbClr val="3D87F5"/>
              </a:solidFill>
              <a:prstDash val="solid"/>
              <a:round/>
              <a:headEnd type="none" w="med" len="med"/>
              <a:tailEnd type="none" w="med" len="med"/>
            </a:ln>
            <a:effectLst/>
          </c:spPr>
          <c:marker>
            <c:symbol val="none"/>
          </c:marker>
          <c:cat>
            <c:numRef>
              <c:f>Tabelle1!$A$2:$A$5</c:f>
              <c:numCache>
                <c:formatCode>General</c:formatCode>
                <c:ptCount val="4"/>
                <c:pt idx="0">
                  <c:v>2022</c:v>
                </c:pt>
                <c:pt idx="1">
                  <c:v>2023</c:v>
                </c:pt>
                <c:pt idx="2">
                  <c:v>2024</c:v>
                </c:pt>
                <c:pt idx="3">
                  <c:v>2025</c:v>
                </c:pt>
              </c:numCache>
            </c:numRef>
          </c:cat>
          <c:val>
            <c:numRef>
              <c:f>Tabelle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502F-48F5-93F2-0A4A7E3D9036}"/>
            </c:ext>
          </c:extLst>
        </c:ser>
        <c:ser>
          <c:idx val="2"/>
          <c:order val="2"/>
          <c:tx>
            <c:strRef>
              <c:f>Tabelle1!$D$1</c:f>
              <c:strCache>
                <c:ptCount val="1"/>
                <c:pt idx="0">
                  <c:v>Datenreihe 3</c:v>
                </c:pt>
              </c:strCache>
            </c:strRef>
          </c:tx>
          <c:spPr>
            <a:ln w="19050" cap="rnd" cmpd="sng" algn="ctr">
              <a:solidFill>
                <a:srgbClr val="169C72"/>
              </a:solidFill>
              <a:prstDash val="solid"/>
              <a:round/>
              <a:headEnd type="none" w="med" len="med"/>
              <a:tailEnd type="none" w="med" len="med"/>
            </a:ln>
            <a:effectLst/>
          </c:spPr>
          <c:marker>
            <c:symbol val="none"/>
          </c:marker>
          <c:cat>
            <c:numRef>
              <c:f>Tabelle1!$A$2:$A$5</c:f>
              <c:numCache>
                <c:formatCode>General</c:formatCode>
                <c:ptCount val="4"/>
                <c:pt idx="0">
                  <c:v>2022</c:v>
                </c:pt>
                <c:pt idx="1">
                  <c:v>2023</c:v>
                </c:pt>
                <c:pt idx="2">
                  <c:v>2024</c:v>
                </c:pt>
                <c:pt idx="3">
                  <c:v>2025</c:v>
                </c:pt>
              </c:numCache>
            </c:numRef>
          </c:cat>
          <c:val>
            <c:numRef>
              <c:f>Tabelle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502F-48F5-93F2-0A4A7E3D9036}"/>
            </c:ext>
          </c:extLst>
        </c:ser>
        <c:ser>
          <c:idx val="3"/>
          <c:order val="3"/>
          <c:tx>
            <c:strRef>
              <c:f>Tabelle1!$E$1</c:f>
              <c:strCache>
                <c:ptCount val="1"/>
                <c:pt idx="0">
                  <c:v>Datenreihe 4</c:v>
                </c:pt>
              </c:strCache>
            </c:strRef>
          </c:tx>
          <c:spPr>
            <a:ln w="19050" cap="rnd" cmpd="sng" algn="ctr">
              <a:solidFill>
                <a:srgbClr val="68D9B1"/>
              </a:solidFill>
              <a:prstDash val="solid"/>
              <a:round/>
              <a:headEnd type="none" w="med" len="med"/>
              <a:tailEnd type="none" w="med" len="med"/>
            </a:ln>
            <a:effectLst/>
          </c:spPr>
          <c:marker>
            <c:symbol val="none"/>
          </c:marker>
          <c:cat>
            <c:numRef>
              <c:f>Tabelle1!$A$2:$A$5</c:f>
              <c:numCache>
                <c:formatCode>General</c:formatCode>
                <c:ptCount val="4"/>
                <c:pt idx="0">
                  <c:v>2022</c:v>
                </c:pt>
                <c:pt idx="1">
                  <c:v>2023</c:v>
                </c:pt>
                <c:pt idx="2">
                  <c:v>2024</c:v>
                </c:pt>
                <c:pt idx="3">
                  <c:v>2025</c:v>
                </c:pt>
              </c:numCache>
            </c:numRef>
          </c:cat>
          <c:val>
            <c:numRef>
              <c:f>Tabelle1!$E$2:$E$5</c:f>
              <c:numCache>
                <c:formatCode>General</c:formatCode>
                <c:ptCount val="4"/>
                <c:pt idx="0">
                  <c:v>2</c:v>
                </c:pt>
                <c:pt idx="1">
                  <c:v>4</c:v>
                </c:pt>
                <c:pt idx="2">
                  <c:v>2</c:v>
                </c:pt>
                <c:pt idx="3">
                  <c:v>5</c:v>
                </c:pt>
              </c:numCache>
            </c:numRef>
          </c:val>
          <c:smooth val="0"/>
          <c:extLst>
            <c:ext xmlns:c16="http://schemas.microsoft.com/office/drawing/2014/chart" uri="{C3380CC4-5D6E-409C-BE32-E72D297353CC}">
              <c16:uniqueId val="{00000003-502F-48F5-93F2-0A4A7E3D9036}"/>
            </c:ext>
          </c:extLst>
        </c:ser>
        <c:ser>
          <c:idx val="4"/>
          <c:order val="4"/>
          <c:tx>
            <c:strRef>
              <c:f>Tabelle1!$F$1</c:f>
              <c:strCache>
                <c:ptCount val="1"/>
                <c:pt idx="0">
                  <c:v>Datenreihe 5</c:v>
                </c:pt>
              </c:strCache>
            </c:strRef>
          </c:tx>
          <c:spPr>
            <a:ln w="19050" cap="rnd" cmpd="sng" algn="ctr">
              <a:solidFill>
                <a:srgbClr val="9D70D5"/>
              </a:solidFill>
              <a:prstDash val="solid"/>
              <a:round/>
              <a:headEnd type="none" w="med" len="med"/>
              <a:tailEnd type="none" w="med" len="med"/>
            </a:ln>
            <a:effectLst/>
          </c:spPr>
          <c:marker>
            <c:symbol val="none"/>
          </c:marker>
          <c:cat>
            <c:numRef>
              <c:f>Tabelle1!$A$2:$A$5</c:f>
              <c:numCache>
                <c:formatCode>General</c:formatCode>
                <c:ptCount val="4"/>
                <c:pt idx="0">
                  <c:v>2022</c:v>
                </c:pt>
                <c:pt idx="1">
                  <c:v>2023</c:v>
                </c:pt>
                <c:pt idx="2">
                  <c:v>2024</c:v>
                </c:pt>
                <c:pt idx="3">
                  <c:v>2025</c:v>
                </c:pt>
              </c:numCache>
            </c:numRef>
          </c:cat>
          <c:val>
            <c:numRef>
              <c:f>Tabelle1!$F$2:$F$5</c:f>
              <c:numCache>
                <c:formatCode>General</c:formatCode>
                <c:ptCount val="4"/>
                <c:pt idx="0">
                  <c:v>1</c:v>
                </c:pt>
                <c:pt idx="1">
                  <c:v>3</c:v>
                </c:pt>
                <c:pt idx="2">
                  <c:v>1</c:v>
                </c:pt>
                <c:pt idx="3">
                  <c:v>4</c:v>
                </c:pt>
              </c:numCache>
            </c:numRef>
          </c:val>
          <c:smooth val="0"/>
          <c:extLst>
            <c:ext xmlns:c16="http://schemas.microsoft.com/office/drawing/2014/chart" uri="{C3380CC4-5D6E-409C-BE32-E72D297353CC}">
              <c16:uniqueId val="{00000004-502F-48F5-93F2-0A4A7E3D9036}"/>
            </c:ext>
          </c:extLst>
        </c:ser>
        <c:ser>
          <c:idx val="5"/>
          <c:order val="5"/>
          <c:tx>
            <c:strRef>
              <c:f>Tabelle1!$G$1</c:f>
              <c:strCache>
                <c:ptCount val="1"/>
                <c:pt idx="0">
                  <c:v>Datenreihe 6</c:v>
                </c:pt>
              </c:strCache>
            </c:strRef>
          </c:tx>
          <c:spPr>
            <a:ln w="19050" cap="rnd" cmpd="sng" algn="ctr">
              <a:solidFill>
                <a:srgbClr val="D3BEF4"/>
              </a:solidFill>
              <a:prstDash val="solid"/>
              <a:round/>
              <a:headEnd type="none" w="med" len="med"/>
              <a:tailEnd type="none" w="med" len="med"/>
            </a:ln>
            <a:effectLst/>
          </c:spPr>
          <c:marker>
            <c:symbol val="none"/>
          </c:marker>
          <c:cat>
            <c:numRef>
              <c:f>Tabelle1!$A$2:$A$5</c:f>
              <c:numCache>
                <c:formatCode>General</c:formatCode>
                <c:ptCount val="4"/>
                <c:pt idx="0">
                  <c:v>2022</c:v>
                </c:pt>
                <c:pt idx="1">
                  <c:v>2023</c:v>
                </c:pt>
                <c:pt idx="2">
                  <c:v>2024</c:v>
                </c:pt>
                <c:pt idx="3">
                  <c:v>2025</c:v>
                </c:pt>
              </c:numCache>
            </c:numRef>
          </c:cat>
          <c:val>
            <c:numRef>
              <c:f>Tabelle1!$G$2:$G$5</c:f>
              <c:numCache>
                <c:formatCode>General</c:formatCode>
                <c:ptCount val="4"/>
                <c:pt idx="0">
                  <c:v>5</c:v>
                </c:pt>
                <c:pt idx="1">
                  <c:v>3.5</c:v>
                </c:pt>
                <c:pt idx="2">
                  <c:v>4</c:v>
                </c:pt>
                <c:pt idx="3">
                  <c:v>2</c:v>
                </c:pt>
              </c:numCache>
            </c:numRef>
          </c:val>
          <c:smooth val="0"/>
          <c:extLst>
            <c:ext xmlns:c16="http://schemas.microsoft.com/office/drawing/2014/chart" uri="{C3380CC4-5D6E-409C-BE32-E72D297353CC}">
              <c16:uniqueId val="{00000005-502F-48F5-93F2-0A4A7E3D9036}"/>
            </c:ext>
          </c:extLst>
        </c:ser>
        <c:dLbls>
          <c:showLegendKey val="0"/>
          <c:showVal val="0"/>
          <c:showCatName val="0"/>
          <c:showSerName val="0"/>
          <c:showPercent val="0"/>
          <c:showBubbleSize val="0"/>
        </c:dLbls>
        <c:smooth val="0"/>
        <c:axId val="385815616"/>
        <c:axId val="385817328"/>
      </c:lineChart>
      <c:catAx>
        <c:axId val="385815616"/>
        <c:scaling>
          <c:orientation val="minMax"/>
        </c:scaling>
        <c:delete val="0"/>
        <c:axPos val="b"/>
        <c:numFmt formatCode="General" sourceLinked="1"/>
        <c:majorTickMark val="none"/>
        <c:minorTickMark val="none"/>
        <c:tickLblPos val="nextTo"/>
        <c:spPr>
          <a:noFill/>
          <a:ln w="3175" cap="flat" cmpd="sng" algn="ctr">
            <a:solidFill>
              <a:srgbClr val="003CB4"/>
            </a:solidFill>
            <a:round/>
          </a:ln>
          <a:effectLst/>
        </c:spPr>
        <c:txPr>
          <a:bodyPr rot="-60000000" spcFirstLastPara="1" vertOverflow="ellipsis" vert="horz" wrap="square" anchor="ctr" anchorCtr="1"/>
          <a:lstStyle/>
          <a:p>
            <a:pPr>
              <a:defRPr sz="1197" b="0" i="0" u="none" strike="noStrike" kern="1200" baseline="0">
                <a:solidFill>
                  <a:srgbClr val="003CB4"/>
                </a:solidFill>
                <a:latin typeface="Frutiger for ZKB Light"/>
                <a:ea typeface="Frutiger for ZKB Light"/>
                <a:cs typeface="Frutiger for ZKB Light"/>
              </a:defRPr>
            </a:pPr>
            <a:endParaRPr lang="de-DE"/>
          </a:p>
        </c:txPr>
        <c:crossAx val="385817328"/>
        <c:crosses val="autoZero"/>
        <c:auto val="1"/>
        <c:lblAlgn val="ctr"/>
        <c:lblOffset val="100"/>
        <c:noMultiLvlLbl val="0"/>
      </c:catAx>
      <c:valAx>
        <c:axId val="385817328"/>
        <c:scaling>
          <c:orientation val="minMax"/>
        </c:scaling>
        <c:delete val="0"/>
        <c:axPos val="l"/>
        <c:majorGridlines>
          <c:spPr>
            <a:ln w="3175" cap="flat" cmpd="sng" algn="ctr">
              <a:solidFill>
                <a:srgbClr val="A0CAFD"/>
              </a:solidFill>
              <a:round/>
            </a:ln>
            <a:effectLst/>
          </c:spPr>
        </c:majorGridlines>
        <c:numFmt formatCode="General" sourceLinked="1"/>
        <c:majorTickMark val="none"/>
        <c:minorTickMark val="none"/>
        <c:tickLblPos val="nextTo"/>
        <c:spPr>
          <a:noFill/>
          <a:ln>
            <a:noFill/>
          </a:ln>
          <a:effectLst/>
          <a:extLst>
            <a:ext uri="{91240B29-F687-4F45-9708-019B960494DF}">
              <a14:hiddenLine xmlns:a14="http://schemas.microsoft.com/office/drawing/2010/main">
                <a:solidFill>
                  <a:srgbClr val="003CB4"/>
                </a:solidFill>
              </a14:hiddenLine>
            </a:ext>
          </a:extLst>
        </c:spPr>
        <c:txPr>
          <a:bodyPr rot="-60000000" spcFirstLastPara="1" vertOverflow="ellipsis" vert="horz" wrap="square" anchor="ctr" anchorCtr="1"/>
          <a:lstStyle/>
          <a:p>
            <a:pPr>
              <a:defRPr sz="1197" b="0" i="0" u="none" strike="noStrike" kern="1200" baseline="0">
                <a:solidFill>
                  <a:srgbClr val="003CB4"/>
                </a:solidFill>
                <a:latin typeface="Frutiger for ZKB Light"/>
                <a:ea typeface="Frutiger for ZKB Light"/>
                <a:cs typeface="Frutiger for ZKB Light"/>
              </a:defRPr>
            </a:pPr>
            <a:endParaRPr lang="de-DE"/>
          </a:p>
        </c:txPr>
        <c:crossAx val="385815616"/>
        <c:crosses val="autoZero"/>
        <c:crossBetween val="between"/>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b"/>
      <c:layout>
        <c:manualLayout>
          <c:xMode val="edge"/>
          <c:yMode val="edge"/>
          <c:x val="4.7902956329813035E-2"/>
          <c:y val="0.88197565746022599"/>
          <c:w val="0.91481808912858043"/>
          <c:h val="0.11802434253977402"/>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003CB4"/>
              </a:solidFill>
              <a:latin typeface="Frutiger for ZKB Light" panose="020B0303030504020204" pitchFamily="34" charset="0"/>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a:extLst>
      <a:ext uri="{91240B29-F687-4F45-9708-019B960494DF}">
        <a14:hiddenLine xmlns:a14="http://schemas.microsoft.com/office/drawing/2010/main">
          <a:noFill/>
        </a14:hiddenLine>
      </a:ext>
    </a:ex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C720F463-2C17-A91B-7B21-F4EBC1F01C87}"/>
              </a:ext>
            </a:extLst>
          </p:cNvPr>
          <p:cNvSpPr>
            <a:spLocks noGrp="1"/>
          </p:cNvSpPr>
          <p:nvPr>
            <p:ph type="hdr" sz="quarter"/>
          </p:nvPr>
        </p:nvSpPr>
        <p:spPr>
          <a:xfrm>
            <a:off x="0" y="0"/>
            <a:ext cx="3957507" cy="496888"/>
          </a:xfrm>
          <a:prstGeom prst="rect">
            <a:avLst/>
          </a:prstGeom>
        </p:spPr>
        <p:txBody>
          <a:bodyPr vert="horz" lIns="91440" tIns="45720" rIns="91440" bIns="45720" rtlCol="0"/>
          <a:lstStyle>
            <a:lvl1pPr algn="l">
              <a:defRPr sz="1200"/>
            </a:lvl1pPr>
          </a:lstStyle>
          <a:p>
            <a:endParaRPr lang="de-CH" sz="1000">
              <a:latin typeface="Frutiger for ZKB Light" panose="020B0303030504020204" pitchFamily="34" charset="0"/>
            </a:endParaRPr>
          </a:p>
        </p:txBody>
      </p:sp>
      <p:sp>
        <p:nvSpPr>
          <p:cNvPr id="3" name="Fußzeilenplatzhalter 2">
            <a:extLst>
              <a:ext uri="{FF2B5EF4-FFF2-40B4-BE49-F238E27FC236}">
                <a16:creationId xmlns:a16="http://schemas.microsoft.com/office/drawing/2014/main" id="{4CE37CE5-3DFC-9A1F-E979-99C7956969A2}"/>
              </a:ext>
            </a:extLst>
          </p:cNvPr>
          <p:cNvSpPr>
            <a:spLocks noGrp="1"/>
          </p:cNvSpPr>
          <p:nvPr>
            <p:ph type="ftr" sz="quarter" idx="2"/>
          </p:nvPr>
        </p:nvSpPr>
        <p:spPr>
          <a:xfrm>
            <a:off x="0" y="9409113"/>
            <a:ext cx="3957507" cy="496887"/>
          </a:xfrm>
          <a:prstGeom prst="rect">
            <a:avLst/>
          </a:prstGeom>
        </p:spPr>
        <p:txBody>
          <a:bodyPr vert="horz" lIns="91440" tIns="45720" rIns="91440" bIns="45720" rtlCol="0" anchor="b"/>
          <a:lstStyle>
            <a:lvl1pPr algn="l">
              <a:defRPr sz="1200"/>
            </a:lvl1pPr>
          </a:lstStyle>
          <a:p>
            <a:endParaRPr lang="de-CH" sz="1000">
              <a:latin typeface="Frutiger for ZKB Light" panose="020B0303030504020204" pitchFamily="34" charset="0"/>
            </a:endParaRPr>
          </a:p>
        </p:txBody>
      </p:sp>
      <p:sp>
        <p:nvSpPr>
          <p:cNvPr id="4" name="Foliennummernplatzhalter 3">
            <a:extLst>
              <a:ext uri="{FF2B5EF4-FFF2-40B4-BE49-F238E27FC236}">
                <a16:creationId xmlns:a16="http://schemas.microsoft.com/office/drawing/2014/main" id="{1BA18CA4-2565-BC43-82A4-087412B707EA}"/>
              </a:ext>
            </a:extLst>
          </p:cNvPr>
          <p:cNvSpPr>
            <a:spLocks noGrp="1"/>
          </p:cNvSpPr>
          <p:nvPr>
            <p:ph type="sldNum" sz="quarter" idx="3"/>
          </p:nvPr>
        </p:nvSpPr>
        <p:spPr>
          <a:xfrm>
            <a:off x="5715180" y="9409113"/>
            <a:ext cx="1079320" cy="496887"/>
          </a:xfrm>
          <a:prstGeom prst="rect">
            <a:avLst/>
          </a:prstGeom>
        </p:spPr>
        <p:txBody>
          <a:bodyPr vert="horz" lIns="91440" tIns="45720" rIns="91440" bIns="45720" rtlCol="0" anchor="b"/>
          <a:lstStyle>
            <a:lvl1pPr algn="r">
              <a:defRPr sz="1200"/>
            </a:lvl1pPr>
          </a:lstStyle>
          <a:p>
            <a:fld id="{009153DF-713F-4B62-B7EE-685B1B23280A}" type="slidenum">
              <a:rPr lang="de-CH" sz="1000" smtClean="0">
                <a:latin typeface="Frutiger for ZKB Light" panose="020B0303030504020204" pitchFamily="34" charset="0"/>
              </a:rPr>
              <a:t>‹#›</a:t>
            </a:fld>
            <a:endParaRPr lang="de-CH" sz="1000">
              <a:latin typeface="Frutiger for ZKB Light" panose="020B0303030504020204" pitchFamily="34" charset="0"/>
            </a:endParaRPr>
          </a:p>
        </p:txBody>
      </p:sp>
    </p:spTree>
    <p:extLst>
      <p:ext uri="{BB962C8B-B14F-4D97-AF65-F5344CB8AC3E}">
        <p14:creationId xmlns:p14="http://schemas.microsoft.com/office/powerpoint/2010/main" val="278658252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F98166EB-7BDD-3ACC-0879-9316AC670ECF}"/>
              </a:ext>
            </a:extLst>
          </p:cNvPr>
          <p:cNvSpPr>
            <a:spLocks noGrp="1"/>
          </p:cNvSpPr>
          <p:nvPr>
            <p:ph type="hdr" sz="quarter"/>
          </p:nvPr>
        </p:nvSpPr>
        <p:spPr>
          <a:xfrm>
            <a:off x="0" y="0"/>
            <a:ext cx="3957507" cy="496888"/>
          </a:xfrm>
          <a:prstGeom prst="rect">
            <a:avLst/>
          </a:prstGeom>
        </p:spPr>
        <p:txBody>
          <a:bodyPr vert="horz" lIns="91440" tIns="45720" rIns="91440" bIns="45720" rtlCol="0"/>
          <a:lstStyle>
            <a:lvl1pPr algn="l">
              <a:defRPr sz="1000">
                <a:latin typeface="Frutiger for ZKB Light" panose="020B0303030504020204" pitchFamily="34" charset="0"/>
              </a:defRPr>
            </a:lvl1pPr>
          </a:lstStyle>
          <a:p>
            <a:endParaRPr lang="de-CH"/>
          </a:p>
        </p:txBody>
      </p:sp>
      <p:sp>
        <p:nvSpPr>
          <p:cNvPr id="3" name="Fußzeilenplatzhalter 2">
            <a:extLst>
              <a:ext uri="{FF2B5EF4-FFF2-40B4-BE49-F238E27FC236}">
                <a16:creationId xmlns:a16="http://schemas.microsoft.com/office/drawing/2014/main" id="{5B090E7C-3E98-BC7B-9E9C-B7B1529B43A2}"/>
              </a:ext>
            </a:extLst>
          </p:cNvPr>
          <p:cNvSpPr>
            <a:spLocks noGrp="1"/>
          </p:cNvSpPr>
          <p:nvPr>
            <p:ph type="ftr" sz="quarter" idx="4"/>
          </p:nvPr>
        </p:nvSpPr>
        <p:spPr>
          <a:xfrm>
            <a:off x="0" y="9409113"/>
            <a:ext cx="3957507" cy="496887"/>
          </a:xfrm>
          <a:prstGeom prst="rect">
            <a:avLst/>
          </a:prstGeom>
        </p:spPr>
        <p:txBody>
          <a:bodyPr vert="horz" lIns="91440" tIns="45720" rIns="91440" bIns="45720" rtlCol="0" anchor="b"/>
          <a:lstStyle>
            <a:lvl1pPr algn="l">
              <a:defRPr sz="1000">
                <a:latin typeface="Frutiger for ZKB Light" panose="020B0303030504020204" pitchFamily="34" charset="0"/>
              </a:defRPr>
            </a:lvl1pPr>
          </a:lstStyle>
          <a:p>
            <a:endParaRPr lang="de-CH"/>
          </a:p>
        </p:txBody>
      </p:sp>
      <p:sp>
        <p:nvSpPr>
          <p:cNvPr id="4" name="Foliennummernplatzhalter 3">
            <a:extLst>
              <a:ext uri="{FF2B5EF4-FFF2-40B4-BE49-F238E27FC236}">
                <a16:creationId xmlns:a16="http://schemas.microsoft.com/office/drawing/2014/main" id="{EDC5AC90-6BDA-6C0D-6F8A-E79578BE5DDE}"/>
              </a:ext>
            </a:extLst>
          </p:cNvPr>
          <p:cNvSpPr>
            <a:spLocks noGrp="1"/>
          </p:cNvSpPr>
          <p:nvPr>
            <p:ph type="sldNum" sz="quarter" idx="5"/>
          </p:nvPr>
        </p:nvSpPr>
        <p:spPr>
          <a:xfrm>
            <a:off x="5715180" y="9409113"/>
            <a:ext cx="1079320" cy="496887"/>
          </a:xfrm>
          <a:prstGeom prst="rect">
            <a:avLst/>
          </a:prstGeom>
        </p:spPr>
        <p:txBody>
          <a:bodyPr vert="horz" lIns="91440" tIns="45720" rIns="91440" bIns="45720" rtlCol="0" anchor="b"/>
          <a:lstStyle>
            <a:lvl1pPr algn="r">
              <a:defRPr sz="1000">
                <a:latin typeface="Frutiger for ZKB Light" panose="020B0303030504020204" pitchFamily="34" charset="0"/>
              </a:defRPr>
            </a:lvl1pPr>
          </a:lstStyle>
          <a:p>
            <a:fld id="{C1B596B8-E816-42E8-9BB4-115E531822D8}" type="slidenum">
              <a:rPr lang="de-CH" smtClean="0"/>
              <a:pPr/>
              <a:t>‹#›</a:t>
            </a:fld>
            <a:endParaRPr lang="de-CH"/>
          </a:p>
        </p:txBody>
      </p:sp>
      <p:sp>
        <p:nvSpPr>
          <p:cNvPr id="5" name="Folienbildplatzhalter 4">
            <a:extLst>
              <a:ext uri="{FF2B5EF4-FFF2-40B4-BE49-F238E27FC236}">
                <a16:creationId xmlns:a16="http://schemas.microsoft.com/office/drawing/2014/main" id="{EE681436-FBAD-D17F-E14D-5E69B05CE48A}"/>
              </a:ext>
            </a:extLst>
          </p:cNvPr>
          <p:cNvSpPr>
            <a:spLocks noGrp="1" noRot="1" noChangeAspect="1"/>
          </p:cNvSpPr>
          <p:nvPr>
            <p:ph type="sldImg" idx="2"/>
          </p:nvPr>
        </p:nvSpPr>
        <p:spPr>
          <a:xfrm>
            <a:off x="539660" y="539660"/>
            <a:ext cx="5715180" cy="3214789"/>
          </a:xfrm>
          <a:prstGeom prst="rect">
            <a:avLst/>
          </a:prstGeom>
          <a:noFill/>
          <a:ln w="12700">
            <a:solidFill>
              <a:prstClr val="black"/>
            </a:solidFill>
          </a:ln>
        </p:spPr>
        <p:txBody>
          <a:bodyPr vert="horz" lIns="91440" tIns="45720" rIns="91440" bIns="45720" rtlCol="0" anchor="ctr"/>
          <a:lstStyle/>
          <a:p>
            <a:endParaRPr lang="de-CH"/>
          </a:p>
        </p:txBody>
      </p:sp>
      <p:sp>
        <p:nvSpPr>
          <p:cNvPr id="6" name="Notizenplatzhalter 5">
            <a:extLst>
              <a:ext uri="{FF2B5EF4-FFF2-40B4-BE49-F238E27FC236}">
                <a16:creationId xmlns:a16="http://schemas.microsoft.com/office/drawing/2014/main" id="{7D97BDE8-D522-8186-6338-6FD044F75F21}"/>
              </a:ext>
            </a:extLst>
          </p:cNvPr>
          <p:cNvSpPr>
            <a:spLocks noGrp="1"/>
          </p:cNvSpPr>
          <p:nvPr>
            <p:ph type="body" sz="quarter" idx="3"/>
          </p:nvPr>
        </p:nvSpPr>
        <p:spPr>
          <a:xfrm>
            <a:off x="539660" y="4114223"/>
            <a:ext cx="5715180" cy="5252117"/>
          </a:xfrm>
          <a:prstGeom prst="rect">
            <a:avLst/>
          </a:prstGeom>
        </p:spPr>
        <p:txBody>
          <a:bodyPr vert="horz" wrap="square" lIns="0" tIns="0" rIns="0" bIns="0" rtlCol="0" anchor="t" anchorCtr="0">
            <a:noAutofit/>
          </a:body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Tree>
    <p:extLst>
      <p:ext uri="{BB962C8B-B14F-4D97-AF65-F5344CB8AC3E}">
        <p14:creationId xmlns:p14="http://schemas.microsoft.com/office/powerpoint/2010/main" val="1745635740"/>
      </p:ext>
    </p:extLst>
  </p:cSld>
  <p:clrMap bg1="lt1" tx1="dk1" bg2="lt2" tx2="dk2" accent1="accent1" accent2="accent2" accent3="accent3" accent4="accent4" accent5="accent5" accent6="accent6" hlink="hlink" folHlink="folHlink"/>
  <p:hf hdr="0" dt="0"/>
  <p:notesStyle>
    <a:lvl1pPr marL="0" indent="0" algn="l" defTabSz="284221" rtl="0" fontAlgn="base">
      <a:lnSpc>
        <a:spcPct val="100000"/>
      </a:lnSpc>
      <a:spcBef>
        <a:spcPts val="0"/>
      </a:spcBef>
      <a:spcAft>
        <a:spcPts val="0"/>
      </a:spcAft>
      <a:buClr>
        <a:srgbClr val="003CB4"/>
      </a:buClr>
      <a:buFontTx/>
      <a:buNone/>
      <a:defRPr sz="1100" b="0" i="0" u="none" kern="1200">
        <a:solidFill>
          <a:srgbClr val="003CB4"/>
        </a:solidFill>
        <a:latin typeface="Frutiger for ZKB Light" panose="020B0303030504020204" pitchFamily="34" charset="0"/>
        <a:ea typeface="+mn-ea"/>
        <a:cs typeface="Arial" panose="020B0604020202020204" pitchFamily="34" charset="0"/>
      </a:defRPr>
    </a:lvl1pPr>
    <a:lvl2pPr marL="179887" indent="-179887" algn="l" defTabSz="179887" rtl="0" fontAlgn="base">
      <a:lnSpc>
        <a:spcPct val="100000"/>
      </a:lnSpc>
      <a:spcBef>
        <a:spcPts val="0"/>
      </a:spcBef>
      <a:spcAft>
        <a:spcPts val="0"/>
      </a:spcAft>
      <a:buClr>
        <a:srgbClr val="003CB4"/>
      </a:buClr>
      <a:buFont typeface="Frutiger for ZKB Light" panose="020B0303030504020204" pitchFamily="34" charset="0"/>
      <a:buChar char="–"/>
      <a:defRPr sz="1100" b="0" i="0" u="none" kern="1200">
        <a:solidFill>
          <a:srgbClr val="003CB4"/>
        </a:solidFill>
        <a:latin typeface="Frutiger for ZKB Light" panose="020B0303030504020204" pitchFamily="34" charset="0"/>
        <a:ea typeface="+mn-ea"/>
        <a:cs typeface="+mn-cs"/>
      </a:defRPr>
    </a:lvl2pPr>
    <a:lvl3pPr marL="359773" indent="-179886" algn="l" defTabSz="179887" rtl="0" fontAlgn="base">
      <a:lnSpc>
        <a:spcPct val="100000"/>
      </a:lnSpc>
      <a:spcBef>
        <a:spcPts val="0"/>
      </a:spcBef>
      <a:spcAft>
        <a:spcPts val="0"/>
      </a:spcAft>
      <a:buClr>
        <a:srgbClr val="003CB4"/>
      </a:buClr>
      <a:buFont typeface="Frutiger for ZKB Light" panose="020B0303030504020204" pitchFamily="34" charset="0"/>
      <a:buChar char="–"/>
      <a:defRPr sz="1100" b="0" i="0" u="none" kern="1200">
        <a:solidFill>
          <a:srgbClr val="003CB4"/>
        </a:solidFill>
        <a:latin typeface="Frutiger for ZKB Light" panose="020B0303030504020204" pitchFamily="34" charset="0"/>
        <a:ea typeface="+mn-ea"/>
        <a:cs typeface="+mn-cs"/>
      </a:defRPr>
    </a:lvl3pPr>
    <a:lvl4pPr marL="539660" indent="-179887" algn="l" defTabSz="179887" rtl="0" fontAlgn="base">
      <a:lnSpc>
        <a:spcPct val="100000"/>
      </a:lnSpc>
      <a:spcBef>
        <a:spcPts val="0"/>
      </a:spcBef>
      <a:spcAft>
        <a:spcPts val="0"/>
      </a:spcAft>
      <a:buClr>
        <a:srgbClr val="003CB4"/>
      </a:buClr>
      <a:buFont typeface="Frutiger for ZKB Light" panose="020B0303030504020204" pitchFamily="34" charset="0"/>
      <a:buChar char="–"/>
      <a:defRPr sz="1100" b="0" i="0" u="none" kern="1200">
        <a:solidFill>
          <a:srgbClr val="003CB4"/>
        </a:solidFill>
        <a:latin typeface="Frutiger for ZKB Light" panose="020B0303030504020204" pitchFamily="34" charset="0"/>
        <a:ea typeface="+mn-ea"/>
        <a:cs typeface="+mn-cs"/>
      </a:defRPr>
    </a:lvl4pPr>
    <a:lvl5pPr marL="719547" indent="-179887" algn="l" defTabSz="179887" rtl="0" fontAlgn="base">
      <a:lnSpc>
        <a:spcPct val="100000"/>
      </a:lnSpc>
      <a:spcBef>
        <a:spcPts val="0"/>
      </a:spcBef>
      <a:spcAft>
        <a:spcPts val="0"/>
      </a:spcAft>
      <a:buClr>
        <a:srgbClr val="003CB4"/>
      </a:buClr>
      <a:buFont typeface="Frutiger for ZKB Light" panose="020B0303030504020204" pitchFamily="34" charset="0"/>
      <a:buChar char="–"/>
      <a:defRPr sz="1100" b="0" i="0" u="none" kern="1200">
        <a:solidFill>
          <a:srgbClr val="003CB4"/>
        </a:solidFill>
        <a:latin typeface="Frutiger for ZKB Light" panose="020B0303030504020204" pitchFamily="34" charset="0"/>
        <a:ea typeface="+mn-ea"/>
        <a:cs typeface="+mn-cs"/>
      </a:defRPr>
    </a:lvl5pPr>
    <a:lvl6pPr marL="6089073" algn="l" defTabSz="2435629" rtl="0" eaLnBrk="1" latinLnBrk="0" hangingPunct="1">
      <a:defRPr sz="3202" kern="1200">
        <a:solidFill>
          <a:schemeClr val="tx1"/>
        </a:solidFill>
        <a:latin typeface="+mn-lt"/>
        <a:ea typeface="+mn-ea"/>
        <a:cs typeface="+mn-cs"/>
      </a:defRPr>
    </a:lvl6pPr>
    <a:lvl7pPr marL="7306889" algn="l" defTabSz="2435629" rtl="0" eaLnBrk="1" latinLnBrk="0" hangingPunct="1">
      <a:defRPr sz="3202" kern="1200">
        <a:solidFill>
          <a:schemeClr val="tx1"/>
        </a:solidFill>
        <a:latin typeface="+mn-lt"/>
        <a:ea typeface="+mn-ea"/>
        <a:cs typeface="+mn-cs"/>
      </a:defRPr>
    </a:lvl7pPr>
    <a:lvl8pPr marL="8524703" algn="l" defTabSz="2435629" rtl="0" eaLnBrk="1" latinLnBrk="0" hangingPunct="1">
      <a:defRPr sz="3202" kern="1200">
        <a:solidFill>
          <a:schemeClr val="tx1"/>
        </a:solidFill>
        <a:latin typeface="+mn-lt"/>
        <a:ea typeface="+mn-ea"/>
        <a:cs typeface="+mn-cs"/>
      </a:defRPr>
    </a:lvl8pPr>
    <a:lvl9pPr marL="9742519" algn="l" defTabSz="2435629" rtl="0" eaLnBrk="1" latinLnBrk="0" hangingPunct="1">
      <a:defRPr sz="3202"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61988896-8E94-A3CF-250F-FE412B19C4DD}"/>
              </a:ext>
            </a:extLst>
          </p:cNvPr>
          <p:cNvSpPr>
            <a:spLocks noGrp="1" noRot="1" noChangeAspect="1" noChangeArrowheads="1" noTextEdit="1"/>
          </p:cNvSpPr>
          <p:nvPr>
            <p:ph type="sldImg"/>
          </p:nvPr>
        </p:nvSpPr>
        <p:spPr bwMode="auto">
          <a:xfrm>
            <a:off x="539750" y="539750"/>
            <a:ext cx="5778500" cy="32512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izenplatzhalter 2">
            <a:extLst>
              <a:ext uri="{FF2B5EF4-FFF2-40B4-BE49-F238E27FC236}">
                <a16:creationId xmlns:a16="http://schemas.microsoft.com/office/drawing/2014/main" id="{F2132F29-B464-7D15-6C61-AE96ED4781AA}"/>
              </a:ext>
            </a:extLst>
          </p:cNvPr>
          <p:cNvSpPr>
            <a:spLocks noGrp="1" noChangeArrowheads="1"/>
          </p:cNvSpPr>
          <p:nvPr>
            <p:ph type="body" idx="1"/>
          </p:nvPr>
        </p:nvSpPr>
        <p:spPr bwMode="auto">
          <a:xfrm>
            <a:off x="539750" y="4114800"/>
            <a:ext cx="5715000" cy="52514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p>
            <a:pPr eaLnBrk="1" hangingPunct="1"/>
            <a:endParaRPr lang="de-DE" altLang="de-DE" dirty="0"/>
          </a:p>
        </p:txBody>
      </p:sp>
      <p:sp>
        <p:nvSpPr>
          <p:cNvPr id="45060" name="Foliennummernplatzhalter 3">
            <a:extLst>
              <a:ext uri="{FF2B5EF4-FFF2-40B4-BE49-F238E27FC236}">
                <a16:creationId xmlns:a16="http://schemas.microsoft.com/office/drawing/2014/main" id="{5ABE846B-5E79-054F-7FE4-5FBD53B9808A}"/>
              </a:ext>
            </a:extLst>
          </p:cNvPr>
          <p:cNvSpPr>
            <a:spLocks noGrp="1" noChangeArrowheads="1"/>
          </p:cNvSpPr>
          <p:nvPr>
            <p:ph type="sldNum" sz="quarter" idx="5"/>
          </p:nvPr>
        </p:nvSpPr>
        <p:spPr bwMode="auto">
          <a:xfrm>
            <a:off x="5715000" y="9409113"/>
            <a:ext cx="10795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fld id="{D8CB8BC1-D1B5-459C-839E-7A48187CA0DB}" type="slidenum">
              <a:rPr lang="de-CH" altLang="de-DE" sz="1000" smtClean="0">
                <a:latin typeface="Frutiger for ZKB Light" panose="020B0303030504020204" pitchFamily="34" charset="0"/>
              </a:rPr>
              <a:pPr/>
              <a:t>24</a:t>
            </a:fld>
            <a:endParaRPr lang="de-CH" altLang="de-DE" sz="1000" dirty="0">
              <a:latin typeface="Frutiger for ZKB Light" panose="020B0303030504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39750" y="539750"/>
            <a:ext cx="5778500" cy="3251200"/>
          </a:xfrm>
        </p:spPr>
      </p:sp>
      <p:sp>
        <p:nvSpPr>
          <p:cNvPr id="3" name="Notizenplatzhalter 2"/>
          <p:cNvSpPr>
            <a:spLocks noGrp="1"/>
          </p:cNvSpPr>
          <p:nvPr>
            <p:ph type="body" idx="1"/>
          </p:nvPr>
        </p:nvSpPr>
        <p:spPr/>
        <p:txBody>
          <a:bodyPr/>
          <a:lstStyle/>
          <a:p>
            <a:r>
              <a:rPr lang="de-CH" dirty="0"/>
              <a:t>Kompakte Charts sind gut für Handouts geeignet …</a:t>
            </a:r>
          </a:p>
        </p:txBody>
      </p:sp>
      <p:sp>
        <p:nvSpPr>
          <p:cNvPr id="4" name="Foliennummernplatzhalter 3"/>
          <p:cNvSpPr>
            <a:spLocks noGrp="1"/>
          </p:cNvSpPr>
          <p:nvPr>
            <p:ph type="sldNum" sz="quarter" idx="10"/>
          </p:nvPr>
        </p:nvSpPr>
        <p:spPr/>
        <p:txBody>
          <a:bodyPr/>
          <a:lstStyle/>
          <a:p>
            <a:fld id="{CCDDB73B-A355-4EA8-8A46-25E64C305D6D}" type="slidenum">
              <a:rPr lang="de-CH" smtClean="0"/>
              <a:pPr/>
              <a:t>66</a:t>
            </a:fld>
            <a:endParaRPr lang="de-CH" dirty="0"/>
          </a:p>
        </p:txBody>
      </p:sp>
    </p:spTree>
    <p:extLst>
      <p:ext uri="{BB962C8B-B14F-4D97-AF65-F5344CB8AC3E}">
        <p14:creationId xmlns:p14="http://schemas.microsoft.com/office/powerpoint/2010/main" val="14371241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Folienbildplatzhalter 1">
            <a:extLst>
              <a:ext uri="{FF2B5EF4-FFF2-40B4-BE49-F238E27FC236}">
                <a16:creationId xmlns:a16="http://schemas.microsoft.com/office/drawing/2014/main" id="{9F439618-B89E-660E-571E-F5BD890E66EE}"/>
              </a:ext>
            </a:extLst>
          </p:cNvPr>
          <p:cNvSpPr>
            <a:spLocks noGrp="1" noRot="1" noChangeAspect="1" noChangeArrowheads="1" noTextEdit="1"/>
          </p:cNvSpPr>
          <p:nvPr>
            <p:ph type="sldImg"/>
          </p:nvPr>
        </p:nvSpPr>
        <p:spPr bwMode="auto">
          <a:xfrm>
            <a:off x="539750" y="539750"/>
            <a:ext cx="5778500" cy="32512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Notizenplatzhalter 2">
            <a:extLst>
              <a:ext uri="{FF2B5EF4-FFF2-40B4-BE49-F238E27FC236}">
                <a16:creationId xmlns:a16="http://schemas.microsoft.com/office/drawing/2014/main" id="{9B582BBB-02EF-BDFD-55D7-4E07320B3A42}"/>
              </a:ext>
            </a:extLst>
          </p:cNvPr>
          <p:cNvSpPr>
            <a:spLocks noGrp="1" noChangeArrowheads="1"/>
          </p:cNvSpPr>
          <p:nvPr>
            <p:ph type="body" idx="1"/>
          </p:nvPr>
        </p:nvSpPr>
        <p:spPr bwMode="auto">
          <a:xfrm>
            <a:off x="539750" y="4114800"/>
            <a:ext cx="5715000" cy="52514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p>
            <a:pPr eaLnBrk="1" hangingPunct="1"/>
            <a:endParaRPr lang="de-DE" altLang="de-DE" dirty="0"/>
          </a:p>
        </p:txBody>
      </p:sp>
      <p:sp>
        <p:nvSpPr>
          <p:cNvPr id="49156" name="Foliennummernplatzhalter 3">
            <a:extLst>
              <a:ext uri="{FF2B5EF4-FFF2-40B4-BE49-F238E27FC236}">
                <a16:creationId xmlns:a16="http://schemas.microsoft.com/office/drawing/2014/main" id="{D506C34D-D5B2-1724-6FC0-AE90CAFE9572}"/>
              </a:ext>
            </a:extLst>
          </p:cNvPr>
          <p:cNvSpPr>
            <a:spLocks noGrp="1" noChangeArrowheads="1"/>
          </p:cNvSpPr>
          <p:nvPr>
            <p:ph type="sldNum" sz="quarter" idx="5"/>
          </p:nvPr>
        </p:nvSpPr>
        <p:spPr bwMode="auto">
          <a:xfrm>
            <a:off x="5715000" y="9409113"/>
            <a:ext cx="10795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fld id="{5A40D5F7-7DE3-4857-9294-237E8F9D900E}" type="slidenum">
              <a:rPr lang="de-CH" altLang="de-DE" sz="1000" smtClean="0">
                <a:latin typeface="Frutiger for ZKB Light" panose="020B0303030504020204" pitchFamily="34" charset="0"/>
              </a:rPr>
              <a:pPr/>
              <a:t>27</a:t>
            </a:fld>
            <a:endParaRPr lang="de-CH" altLang="de-DE" sz="1000" dirty="0">
              <a:latin typeface="Frutiger for ZKB Light" panose="020B0303030504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Folienbildplatzhalter 1">
            <a:extLst>
              <a:ext uri="{FF2B5EF4-FFF2-40B4-BE49-F238E27FC236}">
                <a16:creationId xmlns:a16="http://schemas.microsoft.com/office/drawing/2014/main" id="{3CE31C8B-3915-3D3D-9EFC-7C6E749998E5}"/>
              </a:ext>
            </a:extLst>
          </p:cNvPr>
          <p:cNvSpPr>
            <a:spLocks noGrp="1" noRot="1" noChangeAspect="1" noChangeArrowheads="1" noTextEdit="1"/>
          </p:cNvSpPr>
          <p:nvPr>
            <p:ph type="sldImg"/>
          </p:nvPr>
        </p:nvSpPr>
        <p:spPr bwMode="auto">
          <a:xfrm>
            <a:off x="266700" y="582613"/>
            <a:ext cx="6265863" cy="352425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1" name="Notizenplatzhalter 2">
            <a:extLst>
              <a:ext uri="{FF2B5EF4-FFF2-40B4-BE49-F238E27FC236}">
                <a16:creationId xmlns:a16="http://schemas.microsoft.com/office/drawing/2014/main" id="{89CC3EF3-8E6A-D5C8-8DFD-EEB6003A841E}"/>
              </a:ext>
            </a:extLst>
          </p:cNvPr>
          <p:cNvSpPr>
            <a:spLocks noGrp="1" noChangeArrowheads="1"/>
          </p:cNvSpPr>
          <p:nvPr>
            <p:ph type="body" idx="1"/>
          </p:nvPr>
        </p:nvSpPr>
        <p:spPr bwMode="auto">
          <a:xfrm>
            <a:off x="534988" y="4495800"/>
            <a:ext cx="5724525" cy="48244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p>
            <a:pPr eaLnBrk="1" hangingPunct="1">
              <a:lnSpc>
                <a:spcPts val="1600"/>
              </a:lnSpc>
            </a:pPr>
            <a:endParaRPr lang="de-DE" altLang="de-DE" dirty="0">
              <a:ea typeface="Calibri" panose="020F0502020204030204" pitchFamily="34" charset="0"/>
              <a:cs typeface="Times New Roman" panose="02020603050405020304" pitchFamily="18" charset="0"/>
            </a:endParaRPr>
          </a:p>
        </p:txBody>
      </p:sp>
      <p:sp>
        <p:nvSpPr>
          <p:cNvPr id="73732" name="Fußzeilenplatzhalter 3">
            <a:extLst>
              <a:ext uri="{FF2B5EF4-FFF2-40B4-BE49-F238E27FC236}">
                <a16:creationId xmlns:a16="http://schemas.microsoft.com/office/drawing/2014/main" id="{9641159F-A579-4008-C718-4DC82B7ACB3B}"/>
              </a:ext>
            </a:extLst>
          </p:cNvPr>
          <p:cNvSpPr>
            <a:spLocks noGrp="1" noChangeArrowheads="1"/>
          </p:cNvSpPr>
          <p:nvPr>
            <p:ph type="ftr" sz="quarter" idx="4"/>
          </p:nvPr>
        </p:nvSpPr>
        <p:spPr bwMode="auto">
          <a:xfrm>
            <a:off x="0" y="9409113"/>
            <a:ext cx="3957638"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a:spcBef>
                <a:spcPct val="0"/>
              </a:spcBef>
            </a:pPr>
            <a:endParaRPr lang="de-CH" altLang="de-DE" sz="1000" dirty="0">
              <a:latin typeface="Frutiger for ZKB Light" panose="020B0303030504020204" pitchFamily="34" charset="0"/>
            </a:endParaRPr>
          </a:p>
        </p:txBody>
      </p:sp>
      <p:sp>
        <p:nvSpPr>
          <p:cNvPr id="73733" name="Foliennummernplatzhalter 4">
            <a:extLst>
              <a:ext uri="{FF2B5EF4-FFF2-40B4-BE49-F238E27FC236}">
                <a16:creationId xmlns:a16="http://schemas.microsoft.com/office/drawing/2014/main" id="{DC5178B9-2AA0-D4C0-E96B-57FC9D31AF0B}"/>
              </a:ext>
            </a:extLst>
          </p:cNvPr>
          <p:cNvSpPr>
            <a:spLocks noGrp="1" noChangeArrowheads="1"/>
          </p:cNvSpPr>
          <p:nvPr>
            <p:ph type="sldNum" sz="quarter" idx="5"/>
          </p:nvPr>
        </p:nvSpPr>
        <p:spPr bwMode="auto">
          <a:xfrm>
            <a:off x="5715000" y="9409113"/>
            <a:ext cx="10795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a:spcBef>
                <a:spcPct val="0"/>
              </a:spcBef>
            </a:pPr>
            <a:fld id="{C41659C6-45A1-48E0-8394-C18CF0FA319E}" type="slidenum">
              <a:rPr lang="de-CH" altLang="de-DE" sz="1000" smtClean="0">
                <a:latin typeface="Frutiger for ZKB Light" panose="020B0303030504020204" pitchFamily="34" charset="0"/>
              </a:rPr>
              <a:pPr>
                <a:spcBef>
                  <a:spcPct val="0"/>
                </a:spcBef>
              </a:pPr>
              <a:t>50</a:t>
            </a:fld>
            <a:endParaRPr lang="de-CH" altLang="de-DE" sz="1000" dirty="0">
              <a:latin typeface="Frutiger for ZKB Light" panose="020B0303030504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Folienbildplatzhalter 1">
            <a:extLst>
              <a:ext uri="{FF2B5EF4-FFF2-40B4-BE49-F238E27FC236}">
                <a16:creationId xmlns:a16="http://schemas.microsoft.com/office/drawing/2014/main" id="{BFA1F62E-2CC7-B5F0-FE1B-99EA156B2E4E}"/>
              </a:ext>
            </a:extLst>
          </p:cNvPr>
          <p:cNvSpPr>
            <a:spLocks noGrp="1" noRot="1" noChangeAspect="1" noChangeArrowheads="1" noTextEdit="1"/>
          </p:cNvSpPr>
          <p:nvPr>
            <p:ph type="sldImg"/>
          </p:nvPr>
        </p:nvSpPr>
        <p:spPr bwMode="auto">
          <a:xfrm>
            <a:off x="539750" y="539750"/>
            <a:ext cx="5778500" cy="32512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79" name="Notizenplatzhalter 2">
            <a:extLst>
              <a:ext uri="{FF2B5EF4-FFF2-40B4-BE49-F238E27FC236}">
                <a16:creationId xmlns:a16="http://schemas.microsoft.com/office/drawing/2014/main" id="{E78B6A2F-7C68-AE2F-A8C1-B42453BB3BDF}"/>
              </a:ext>
            </a:extLst>
          </p:cNvPr>
          <p:cNvSpPr>
            <a:spLocks noGrp="1" noChangeArrowheads="1"/>
          </p:cNvSpPr>
          <p:nvPr>
            <p:ph type="body" idx="1"/>
          </p:nvPr>
        </p:nvSpPr>
        <p:spPr bwMode="auto">
          <a:xfrm>
            <a:off x="539750" y="4114800"/>
            <a:ext cx="5715000" cy="52514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p>
            <a:pPr eaLnBrk="1" hangingPunct="1"/>
            <a:endParaRPr lang="de-DE" altLang="de-DE" dirty="0"/>
          </a:p>
        </p:txBody>
      </p:sp>
      <p:sp>
        <p:nvSpPr>
          <p:cNvPr id="75780" name="Foliennummernplatzhalter 3">
            <a:extLst>
              <a:ext uri="{FF2B5EF4-FFF2-40B4-BE49-F238E27FC236}">
                <a16:creationId xmlns:a16="http://schemas.microsoft.com/office/drawing/2014/main" id="{BC4FB363-362E-AC72-A39B-42D3EC12F824}"/>
              </a:ext>
            </a:extLst>
          </p:cNvPr>
          <p:cNvSpPr>
            <a:spLocks noGrp="1" noChangeArrowheads="1"/>
          </p:cNvSpPr>
          <p:nvPr>
            <p:ph type="sldNum" sz="quarter" idx="5"/>
          </p:nvPr>
        </p:nvSpPr>
        <p:spPr bwMode="auto">
          <a:xfrm>
            <a:off x="5715000" y="9409113"/>
            <a:ext cx="10795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fld id="{490EAEA6-C193-477E-A7A8-7000171B46C7}" type="slidenum">
              <a:rPr lang="de-CH" altLang="de-DE" sz="1000" smtClean="0">
                <a:latin typeface="Frutiger for ZKB Light" panose="020B0303030504020204" pitchFamily="34" charset="0"/>
              </a:rPr>
              <a:pPr/>
              <a:t>51</a:t>
            </a:fld>
            <a:endParaRPr lang="de-CH" altLang="de-DE" sz="1000" dirty="0">
              <a:latin typeface="Frutiger for ZKB Light" panose="020B0303030504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Folienbildplatzhalter 1">
            <a:extLst>
              <a:ext uri="{FF2B5EF4-FFF2-40B4-BE49-F238E27FC236}">
                <a16:creationId xmlns:a16="http://schemas.microsoft.com/office/drawing/2014/main" id="{99484CB0-B46A-764D-D92C-1CDB92992D25}"/>
              </a:ext>
            </a:extLst>
          </p:cNvPr>
          <p:cNvSpPr>
            <a:spLocks noGrp="1" noRot="1" noChangeAspect="1" noChangeArrowheads="1" noTextEdit="1"/>
          </p:cNvSpPr>
          <p:nvPr>
            <p:ph type="sldImg"/>
          </p:nvPr>
        </p:nvSpPr>
        <p:spPr bwMode="auto">
          <a:xfrm>
            <a:off x="-1223963" y="685800"/>
            <a:ext cx="9118601" cy="5129213"/>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5" name="Notizenplatzhalter 2">
            <a:extLst>
              <a:ext uri="{FF2B5EF4-FFF2-40B4-BE49-F238E27FC236}">
                <a16:creationId xmlns:a16="http://schemas.microsoft.com/office/drawing/2014/main" id="{DE06D42D-4356-552F-C914-CF9C52519DE4}"/>
              </a:ext>
            </a:extLst>
          </p:cNvPr>
          <p:cNvSpPr>
            <a:spLocks noGrp="1" noChangeArrowheads="1"/>
          </p:cNvSpPr>
          <p:nvPr>
            <p:ph type="body" idx="1"/>
          </p:nvPr>
        </p:nvSpPr>
        <p:spPr bwMode="auto">
          <a:xfrm>
            <a:off x="534988" y="5888038"/>
            <a:ext cx="5724525" cy="343376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p>
            <a:pPr eaLnBrk="1" hangingPunct="1"/>
            <a:endParaRPr lang="de-CH" altLang="de-DE" dirty="0">
              <a:solidFill>
                <a:srgbClr val="000000"/>
              </a:solidFill>
            </a:endParaRPr>
          </a:p>
        </p:txBody>
      </p:sp>
      <p:sp>
        <p:nvSpPr>
          <p:cNvPr id="79876" name="Fußzeilenplatzhalter 3">
            <a:extLst>
              <a:ext uri="{FF2B5EF4-FFF2-40B4-BE49-F238E27FC236}">
                <a16:creationId xmlns:a16="http://schemas.microsoft.com/office/drawing/2014/main" id="{15522170-1CCB-0E57-221E-0EABF5895719}"/>
              </a:ext>
            </a:extLst>
          </p:cNvPr>
          <p:cNvSpPr>
            <a:spLocks noGrp="1" noChangeArrowheads="1"/>
          </p:cNvSpPr>
          <p:nvPr>
            <p:ph type="ftr" sz="quarter" idx="4"/>
          </p:nvPr>
        </p:nvSpPr>
        <p:spPr bwMode="auto">
          <a:xfrm>
            <a:off x="0" y="9409113"/>
            <a:ext cx="3957638"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a:spcBef>
                <a:spcPct val="0"/>
              </a:spcBef>
            </a:pPr>
            <a:endParaRPr lang="de-CH" altLang="de-DE" sz="1000" dirty="0">
              <a:latin typeface="Frutiger for ZKB Light" panose="020B0303030504020204" pitchFamily="34" charset="0"/>
            </a:endParaRPr>
          </a:p>
        </p:txBody>
      </p:sp>
      <p:sp>
        <p:nvSpPr>
          <p:cNvPr id="79877" name="Foliennummernplatzhalter 4">
            <a:extLst>
              <a:ext uri="{FF2B5EF4-FFF2-40B4-BE49-F238E27FC236}">
                <a16:creationId xmlns:a16="http://schemas.microsoft.com/office/drawing/2014/main" id="{EEFC051A-2C27-8F77-F3EC-92563A68CB55}"/>
              </a:ext>
            </a:extLst>
          </p:cNvPr>
          <p:cNvSpPr>
            <a:spLocks noGrp="1" noChangeArrowheads="1"/>
          </p:cNvSpPr>
          <p:nvPr>
            <p:ph type="sldNum" sz="quarter" idx="5"/>
          </p:nvPr>
        </p:nvSpPr>
        <p:spPr bwMode="auto">
          <a:xfrm>
            <a:off x="5715000" y="9409113"/>
            <a:ext cx="10795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a:spcBef>
                <a:spcPct val="0"/>
              </a:spcBef>
            </a:pPr>
            <a:fld id="{E7180B76-2859-4D3C-B7F6-EC206D45FA30}" type="slidenum">
              <a:rPr lang="de-CH" altLang="de-DE" sz="1000" smtClean="0">
                <a:latin typeface="Frutiger for ZKB Light" panose="020B0303030504020204" pitchFamily="34" charset="0"/>
              </a:rPr>
              <a:pPr>
                <a:spcBef>
                  <a:spcPct val="0"/>
                </a:spcBef>
              </a:pPr>
              <a:t>54</a:t>
            </a:fld>
            <a:endParaRPr lang="de-CH" altLang="de-DE" sz="1000" dirty="0">
              <a:latin typeface="Frutiger for ZKB Light" panose="020B0303030504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Folienbildplatzhalter 1">
            <a:extLst>
              <a:ext uri="{FF2B5EF4-FFF2-40B4-BE49-F238E27FC236}">
                <a16:creationId xmlns:a16="http://schemas.microsoft.com/office/drawing/2014/main" id="{DCCB7196-3F26-5DA3-BA01-F2606B00D738}"/>
              </a:ext>
            </a:extLst>
          </p:cNvPr>
          <p:cNvSpPr>
            <a:spLocks noGrp="1" noRot="1" noChangeAspect="1" noChangeArrowheads="1" noTextEdit="1"/>
          </p:cNvSpPr>
          <p:nvPr>
            <p:ph type="sldImg"/>
          </p:nvPr>
        </p:nvSpPr>
        <p:spPr bwMode="auto">
          <a:xfrm>
            <a:off x="-1223963" y="685800"/>
            <a:ext cx="9118601" cy="5129213"/>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3" name="Notizenplatzhalter 2">
            <a:extLst>
              <a:ext uri="{FF2B5EF4-FFF2-40B4-BE49-F238E27FC236}">
                <a16:creationId xmlns:a16="http://schemas.microsoft.com/office/drawing/2014/main" id="{474AA13A-B580-2870-932A-A099DAB0D851}"/>
              </a:ext>
            </a:extLst>
          </p:cNvPr>
          <p:cNvSpPr>
            <a:spLocks noGrp="1" noChangeArrowheads="1"/>
          </p:cNvSpPr>
          <p:nvPr>
            <p:ph type="body" idx="1"/>
          </p:nvPr>
        </p:nvSpPr>
        <p:spPr bwMode="auto">
          <a:xfrm>
            <a:off x="534988" y="5888038"/>
            <a:ext cx="5724525" cy="343376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p>
            <a:pPr eaLnBrk="1" hangingPunct="1"/>
            <a:endParaRPr lang="de-CH" altLang="de-DE" dirty="0">
              <a:solidFill>
                <a:srgbClr val="000000"/>
              </a:solidFill>
            </a:endParaRPr>
          </a:p>
        </p:txBody>
      </p:sp>
      <p:sp>
        <p:nvSpPr>
          <p:cNvPr id="81924" name="Fußzeilenplatzhalter 3">
            <a:extLst>
              <a:ext uri="{FF2B5EF4-FFF2-40B4-BE49-F238E27FC236}">
                <a16:creationId xmlns:a16="http://schemas.microsoft.com/office/drawing/2014/main" id="{6258DDB7-E6A8-47F8-9487-AAE21C544CB4}"/>
              </a:ext>
            </a:extLst>
          </p:cNvPr>
          <p:cNvSpPr>
            <a:spLocks noGrp="1" noChangeArrowheads="1"/>
          </p:cNvSpPr>
          <p:nvPr>
            <p:ph type="ftr" sz="quarter" idx="4"/>
          </p:nvPr>
        </p:nvSpPr>
        <p:spPr bwMode="auto">
          <a:xfrm>
            <a:off x="0" y="9409113"/>
            <a:ext cx="3957638"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a:spcBef>
                <a:spcPct val="0"/>
              </a:spcBef>
            </a:pPr>
            <a:endParaRPr lang="de-CH" altLang="de-DE" sz="1000" dirty="0">
              <a:latin typeface="Frutiger for ZKB Light" panose="020B0303030504020204" pitchFamily="34" charset="0"/>
            </a:endParaRPr>
          </a:p>
        </p:txBody>
      </p:sp>
      <p:sp>
        <p:nvSpPr>
          <p:cNvPr id="81925" name="Foliennummernplatzhalter 4">
            <a:extLst>
              <a:ext uri="{FF2B5EF4-FFF2-40B4-BE49-F238E27FC236}">
                <a16:creationId xmlns:a16="http://schemas.microsoft.com/office/drawing/2014/main" id="{199E4D82-959E-168D-9204-4DFF58777962}"/>
              </a:ext>
            </a:extLst>
          </p:cNvPr>
          <p:cNvSpPr>
            <a:spLocks noGrp="1" noChangeArrowheads="1"/>
          </p:cNvSpPr>
          <p:nvPr>
            <p:ph type="sldNum" sz="quarter" idx="5"/>
          </p:nvPr>
        </p:nvSpPr>
        <p:spPr bwMode="auto">
          <a:xfrm>
            <a:off x="5715000" y="9409113"/>
            <a:ext cx="10795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a:spcBef>
                <a:spcPct val="0"/>
              </a:spcBef>
            </a:pPr>
            <a:fld id="{B59056FA-D511-45F4-8E6B-E2BCFFC87C92}" type="slidenum">
              <a:rPr lang="de-CH" altLang="de-DE" sz="1000" smtClean="0">
                <a:latin typeface="Frutiger for ZKB Light" panose="020B0303030504020204" pitchFamily="34" charset="0"/>
              </a:rPr>
              <a:pPr>
                <a:spcBef>
                  <a:spcPct val="0"/>
                </a:spcBef>
              </a:pPr>
              <a:t>55</a:t>
            </a:fld>
            <a:endParaRPr lang="de-CH" altLang="de-DE" sz="1000" dirty="0">
              <a:latin typeface="Frutiger for ZKB Light" panose="020B0303030504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Folienbildplatzhalter 1">
            <a:extLst>
              <a:ext uri="{FF2B5EF4-FFF2-40B4-BE49-F238E27FC236}">
                <a16:creationId xmlns:a16="http://schemas.microsoft.com/office/drawing/2014/main" id="{137A9E13-DB19-3921-E54C-E3CAEFE6C9D8}"/>
              </a:ext>
            </a:extLst>
          </p:cNvPr>
          <p:cNvSpPr>
            <a:spLocks noGrp="1" noRot="1" noChangeAspect="1" noChangeArrowheads="1" noTextEdit="1"/>
          </p:cNvSpPr>
          <p:nvPr>
            <p:ph type="sldImg"/>
          </p:nvPr>
        </p:nvSpPr>
        <p:spPr bwMode="auto">
          <a:xfrm>
            <a:off x="539750" y="539750"/>
            <a:ext cx="5778500" cy="32512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Notizenplatzhalter 2">
            <a:extLst>
              <a:ext uri="{FF2B5EF4-FFF2-40B4-BE49-F238E27FC236}">
                <a16:creationId xmlns:a16="http://schemas.microsoft.com/office/drawing/2014/main" id="{B74D7173-F561-D5B3-AE4A-1E66EF92505B}"/>
              </a:ext>
            </a:extLst>
          </p:cNvPr>
          <p:cNvSpPr>
            <a:spLocks noGrp="1" noChangeArrowheads="1"/>
          </p:cNvSpPr>
          <p:nvPr>
            <p:ph type="body" idx="1"/>
          </p:nvPr>
        </p:nvSpPr>
        <p:spPr bwMode="auto">
          <a:xfrm>
            <a:off x="539750" y="4114800"/>
            <a:ext cx="5715000" cy="52514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p>
            <a:pPr eaLnBrk="1" hangingPunct="1"/>
            <a:endParaRPr lang="de-DE" altLang="de-DE" dirty="0"/>
          </a:p>
        </p:txBody>
      </p:sp>
      <p:sp>
        <p:nvSpPr>
          <p:cNvPr id="92164" name="Foliennummernplatzhalter 3">
            <a:extLst>
              <a:ext uri="{FF2B5EF4-FFF2-40B4-BE49-F238E27FC236}">
                <a16:creationId xmlns:a16="http://schemas.microsoft.com/office/drawing/2014/main" id="{D8A367DE-8D3A-3962-AC01-985271800571}"/>
              </a:ext>
            </a:extLst>
          </p:cNvPr>
          <p:cNvSpPr>
            <a:spLocks noGrp="1" noChangeArrowheads="1"/>
          </p:cNvSpPr>
          <p:nvPr>
            <p:ph type="sldNum" sz="quarter" idx="5"/>
          </p:nvPr>
        </p:nvSpPr>
        <p:spPr bwMode="auto">
          <a:xfrm>
            <a:off x="5715000" y="9409113"/>
            <a:ext cx="10795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fld id="{2771B947-1B68-494C-BA6A-F9AA94AEF334}" type="slidenum">
              <a:rPr lang="de-CH" altLang="de-DE" sz="1000" smtClean="0">
                <a:latin typeface="Frutiger for ZKB Light" panose="020B0303030504020204" pitchFamily="34" charset="0"/>
              </a:rPr>
              <a:pPr/>
              <a:t>62</a:t>
            </a:fld>
            <a:endParaRPr lang="de-CH" altLang="de-DE" sz="1000" dirty="0">
              <a:latin typeface="Frutiger for ZKB Light" panose="020B030303050402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Folienbildplatzhalter 1">
            <a:extLst>
              <a:ext uri="{FF2B5EF4-FFF2-40B4-BE49-F238E27FC236}">
                <a16:creationId xmlns:a16="http://schemas.microsoft.com/office/drawing/2014/main" id="{7F83578F-8FD0-A591-4390-00BFCE93D6DF}"/>
              </a:ext>
            </a:extLst>
          </p:cNvPr>
          <p:cNvSpPr>
            <a:spLocks noGrp="1" noRot="1" noChangeAspect="1" noChangeArrowheads="1" noTextEdit="1"/>
          </p:cNvSpPr>
          <p:nvPr>
            <p:ph type="sldImg"/>
          </p:nvPr>
        </p:nvSpPr>
        <p:spPr bwMode="auto">
          <a:xfrm>
            <a:off x="539750" y="539750"/>
            <a:ext cx="5778500" cy="32512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1" name="Notizenplatzhalter 2">
            <a:extLst>
              <a:ext uri="{FF2B5EF4-FFF2-40B4-BE49-F238E27FC236}">
                <a16:creationId xmlns:a16="http://schemas.microsoft.com/office/drawing/2014/main" id="{7F435F07-37A5-B048-7189-D26A37B8EC02}"/>
              </a:ext>
            </a:extLst>
          </p:cNvPr>
          <p:cNvSpPr>
            <a:spLocks noGrp="1" noChangeArrowheads="1"/>
          </p:cNvSpPr>
          <p:nvPr>
            <p:ph type="body" idx="1"/>
          </p:nvPr>
        </p:nvSpPr>
        <p:spPr bwMode="auto">
          <a:xfrm>
            <a:off x="539750" y="4114800"/>
            <a:ext cx="5715000" cy="52514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p>
            <a:pPr eaLnBrk="1" hangingPunct="1"/>
            <a:endParaRPr lang="de-DE" altLang="de-DE" dirty="0"/>
          </a:p>
        </p:txBody>
      </p:sp>
      <p:sp>
        <p:nvSpPr>
          <p:cNvPr id="94212" name="Foliennummernplatzhalter 3">
            <a:extLst>
              <a:ext uri="{FF2B5EF4-FFF2-40B4-BE49-F238E27FC236}">
                <a16:creationId xmlns:a16="http://schemas.microsoft.com/office/drawing/2014/main" id="{4E624FE5-3193-6F5C-EADC-779A24C8972D}"/>
              </a:ext>
            </a:extLst>
          </p:cNvPr>
          <p:cNvSpPr>
            <a:spLocks noGrp="1" noChangeArrowheads="1"/>
          </p:cNvSpPr>
          <p:nvPr>
            <p:ph type="sldNum" sz="quarter" idx="5"/>
          </p:nvPr>
        </p:nvSpPr>
        <p:spPr bwMode="auto">
          <a:xfrm>
            <a:off x="5715000" y="9409113"/>
            <a:ext cx="10795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fld id="{975AC1CE-8354-4DAE-A2EC-7E17E9339CD6}" type="slidenum">
              <a:rPr lang="de-CH" altLang="de-DE" sz="1000" smtClean="0">
                <a:latin typeface="Frutiger for ZKB Light" panose="020B0303030504020204" pitchFamily="34" charset="0"/>
              </a:rPr>
              <a:pPr/>
              <a:t>63</a:t>
            </a:fld>
            <a:endParaRPr lang="de-CH" altLang="de-DE" sz="1000" dirty="0">
              <a:latin typeface="Frutiger for ZKB Light" panose="020B030303050402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Folienbildplatzhalter 1">
            <a:extLst>
              <a:ext uri="{FF2B5EF4-FFF2-40B4-BE49-F238E27FC236}">
                <a16:creationId xmlns:a16="http://schemas.microsoft.com/office/drawing/2014/main" id="{B62AEABF-1610-471C-5100-61C0E198DC78}"/>
              </a:ext>
            </a:extLst>
          </p:cNvPr>
          <p:cNvSpPr>
            <a:spLocks noGrp="1" noRot="1" noChangeAspect="1" noChangeArrowheads="1" noTextEdit="1"/>
          </p:cNvSpPr>
          <p:nvPr>
            <p:ph type="sldImg"/>
          </p:nvPr>
        </p:nvSpPr>
        <p:spPr bwMode="auto">
          <a:xfrm>
            <a:off x="539750" y="539750"/>
            <a:ext cx="5778500" cy="32512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3" name="Notizenplatzhalter 2">
            <a:extLst>
              <a:ext uri="{FF2B5EF4-FFF2-40B4-BE49-F238E27FC236}">
                <a16:creationId xmlns:a16="http://schemas.microsoft.com/office/drawing/2014/main" id="{57B06E2B-1F26-5D56-8C68-F76AA97ED0F3}"/>
              </a:ext>
            </a:extLst>
          </p:cNvPr>
          <p:cNvSpPr>
            <a:spLocks noGrp="1" noChangeArrowheads="1"/>
          </p:cNvSpPr>
          <p:nvPr>
            <p:ph type="body" idx="1"/>
          </p:nvPr>
        </p:nvSpPr>
        <p:spPr bwMode="auto">
          <a:xfrm>
            <a:off x="539750" y="4114800"/>
            <a:ext cx="5715000" cy="52514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p>
            <a:pPr eaLnBrk="1" hangingPunct="1"/>
            <a:endParaRPr lang="de-DE" altLang="de-DE" dirty="0"/>
          </a:p>
        </p:txBody>
      </p:sp>
      <p:sp>
        <p:nvSpPr>
          <p:cNvPr id="97284" name="Foliennummernplatzhalter 3">
            <a:extLst>
              <a:ext uri="{FF2B5EF4-FFF2-40B4-BE49-F238E27FC236}">
                <a16:creationId xmlns:a16="http://schemas.microsoft.com/office/drawing/2014/main" id="{D4E2EB78-741C-96F3-5DB5-48FE35FB0EFF}"/>
              </a:ext>
            </a:extLst>
          </p:cNvPr>
          <p:cNvSpPr>
            <a:spLocks noGrp="1" noChangeArrowheads="1"/>
          </p:cNvSpPr>
          <p:nvPr>
            <p:ph type="sldNum" sz="quarter" idx="5"/>
          </p:nvPr>
        </p:nvSpPr>
        <p:spPr bwMode="auto">
          <a:xfrm>
            <a:off x="5715000" y="9409113"/>
            <a:ext cx="10795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fld id="{947C8BBC-9817-40F3-951B-6203D40B8E4C}" type="slidenum">
              <a:rPr lang="de-CH" altLang="de-DE" sz="1000" smtClean="0">
                <a:latin typeface="Frutiger for ZKB Light" panose="020B0303030504020204" pitchFamily="34" charset="0"/>
              </a:rPr>
              <a:pPr/>
              <a:t>65</a:t>
            </a:fld>
            <a:endParaRPr lang="de-CH" altLang="de-DE" sz="1000" dirty="0">
              <a:latin typeface="Frutiger for ZKB Light" panose="020B0303030504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Only" preserve="1">
  <p:cSld name="Titelfolie">
    <p:spTree>
      <p:nvGrpSpPr>
        <p:cNvPr id="1" name=""/>
        <p:cNvGrpSpPr/>
        <p:nvPr/>
      </p:nvGrpSpPr>
      <p:grpSpPr>
        <a:xfrm>
          <a:off x="0" y="0"/>
          <a:ext cx="0" cy="0"/>
          <a:chOff x="0" y="0"/>
          <a:chExt cx="0" cy="0"/>
        </a:xfrm>
      </p:grpSpPr>
      <p:pic>
        <p:nvPicPr>
          <p:cNvPr id="7" name="Hintergrundbild">
            <a:extLst>
              <a:ext uri="{FF2B5EF4-FFF2-40B4-BE49-F238E27FC236}">
                <a16:creationId xmlns:a16="http://schemas.microsoft.com/office/drawing/2014/main" id="{3D1FB8BF-7CDF-39AE-7E27-7E86A69D9163}"/>
              </a:ext>
            </a:extLst>
          </p:cNvPr>
          <p:cNvPicPr>
            <a:picLocks/>
          </p:cNvPicPr>
          <p:nvPr userDrawn="1"/>
        </p:nvPicPr>
        <p:blipFill>
          <a:blip r:embed="rId2">
            <a:extLst>
              <a:ext uri="{28A0092B-C50C-407E-A947-70E740481C1C}">
                <a14:useLocalDpi xmlns:a14="http://schemas.microsoft.com/office/drawing/2010/main" val="0"/>
              </a:ext>
            </a:extLst>
          </a:blip>
          <a:srcRect l="21" r="21"/>
          <a:stretch>
            <a:fillRect/>
          </a:stretch>
        </p:blipFill>
        <p:spPr>
          <a:xfrm>
            <a:off x="0" y="0"/>
            <a:ext cx="12855575" cy="7231063"/>
          </a:xfrm>
          <a:prstGeom prst="rect">
            <a:avLst/>
          </a:prstGeom>
        </p:spPr>
      </p:pic>
      <p:sp>
        <p:nvSpPr>
          <p:cNvPr id="2" name="Titel 1">
            <a:extLst>
              <a:ext uri="{FF2B5EF4-FFF2-40B4-BE49-F238E27FC236}">
                <a16:creationId xmlns:a16="http://schemas.microsoft.com/office/drawing/2014/main" id="{3365766F-6108-765D-42F9-80F55CD31629}"/>
              </a:ext>
            </a:extLst>
          </p:cNvPr>
          <p:cNvSpPr>
            <a:spLocks noGrp="1"/>
          </p:cNvSpPr>
          <p:nvPr>
            <p:ph type="title" hasCustomPrompt="1"/>
          </p:nvPr>
        </p:nvSpPr>
        <p:spPr>
          <a:xfrm>
            <a:off x="305816" y="1885212"/>
            <a:ext cx="9087875" cy="4749009"/>
          </a:xfrm>
          <a:prstGeom prst="rect">
            <a:avLst/>
          </a:prstGeom>
        </p:spPr>
        <p:txBody>
          <a:bodyPr lIns="0" tIns="0" rIns="0" bIns="0" anchor="t"/>
          <a:lstStyle>
            <a:lvl1pPr algn="l">
              <a:lnSpc>
                <a:spcPct val="95000"/>
              </a:lnSpc>
              <a:spcBef>
                <a:spcPts val="0"/>
              </a:spcBef>
              <a:spcAft>
                <a:spcPts val="0"/>
              </a:spcAft>
              <a:defRPr sz="6000" b="1" i="0" u="none">
                <a:solidFill>
                  <a:srgbClr val="FFFFFF"/>
                </a:solidFill>
                <a:latin typeface="Frutiger for ZKB Light" panose="020B0303030504020204" pitchFamily="34" charset="0"/>
              </a:defRPr>
            </a:lvl1pPr>
          </a:lstStyle>
          <a:p>
            <a:r>
              <a:rPr lang="de-CH"/>
              <a:t>Präsentationstitel</a:t>
            </a:r>
            <a:br>
              <a:rPr lang="de-CH"/>
            </a:br>
            <a:r>
              <a:rPr lang="de-CH"/>
              <a:t>(max. dreizeilig)</a:t>
            </a:r>
            <a:endParaRPr lang="de-CH" dirty="0"/>
          </a:p>
        </p:txBody>
      </p:sp>
      <p:sp>
        <p:nvSpPr>
          <p:cNvPr id="5" name="Untertitel 4">
            <a:extLst>
              <a:ext uri="{FF2B5EF4-FFF2-40B4-BE49-F238E27FC236}">
                <a16:creationId xmlns:a16="http://schemas.microsoft.com/office/drawing/2014/main" id="{7B1B45FA-E305-A413-78CB-99F3966EEEBE}"/>
              </a:ext>
            </a:extLst>
          </p:cNvPr>
          <p:cNvSpPr>
            <a:spLocks noGrp="1"/>
          </p:cNvSpPr>
          <p:nvPr>
            <p:ph type="subTitle" idx="10" hasCustomPrompt="1"/>
          </p:nvPr>
        </p:nvSpPr>
        <p:spPr>
          <a:xfrm>
            <a:off x="305816" y="287819"/>
            <a:ext cx="9087875" cy="245365"/>
          </a:xfrm>
          <a:prstGeom prst="rect">
            <a:avLst/>
          </a:prstGeom>
        </p:spPr>
        <p:txBody>
          <a:bodyPr lIns="0" tIns="0" rIns="0" bIns="0" anchor="t"/>
          <a:lstStyle>
            <a:lvl1pPr marL="0" indent="0" algn="l">
              <a:lnSpc>
                <a:spcPct val="100000"/>
              </a:lnSpc>
              <a:spcBef>
                <a:spcPts val="0"/>
              </a:spcBef>
              <a:spcAft>
                <a:spcPts val="0"/>
              </a:spcAft>
              <a:buNone/>
              <a:defRPr sz="1600" b="1" i="0" u="none">
                <a:solidFill>
                  <a:srgbClr val="FFFFFF"/>
                </a:solidFill>
                <a:latin typeface="Frutiger for ZKB Light" panose="020B0303030504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CH"/>
              <a:t>Titel</a:t>
            </a:r>
            <a:endParaRPr lang="de-CH" dirty="0"/>
          </a:p>
        </p:txBody>
      </p:sp>
      <p:sp>
        <p:nvSpPr>
          <p:cNvPr id="6" name="Textplatzhalter 5">
            <a:extLst>
              <a:ext uri="{FF2B5EF4-FFF2-40B4-BE49-F238E27FC236}">
                <a16:creationId xmlns:a16="http://schemas.microsoft.com/office/drawing/2014/main" id="{D9A82973-AB3D-5053-4B99-D1016BB695A9}"/>
              </a:ext>
            </a:extLst>
          </p:cNvPr>
          <p:cNvSpPr>
            <a:spLocks noGrp="1"/>
          </p:cNvSpPr>
          <p:nvPr>
            <p:ph type="body" sz="quarter" idx="11" hasCustomPrompt="1"/>
          </p:nvPr>
        </p:nvSpPr>
        <p:spPr>
          <a:xfrm>
            <a:off x="305816" y="554051"/>
            <a:ext cx="9087875" cy="245365"/>
          </a:xfrm>
          <a:prstGeom prst="rect">
            <a:avLst/>
          </a:prstGeom>
        </p:spPr>
        <p:txBody>
          <a:bodyPr lIns="0" tIns="0" rIns="0" bIns="0" anchor="t"/>
          <a:lstStyle>
            <a:lvl1pPr algn="l">
              <a:lnSpc>
                <a:spcPct val="100000"/>
              </a:lnSpc>
              <a:spcBef>
                <a:spcPts val="0"/>
              </a:spcBef>
              <a:spcAft>
                <a:spcPts val="0"/>
              </a:spcAft>
              <a:defRPr sz="1600" b="0" i="0" u="none">
                <a:solidFill>
                  <a:srgbClr val="FFFFFF"/>
                </a:solidFill>
                <a:latin typeface="Frutiger for ZKB Light" panose="020B0303030504020204" pitchFamily="34" charset="0"/>
              </a:defRPr>
            </a:lvl1pPr>
          </a:lstStyle>
          <a:p>
            <a:pPr lvl="0"/>
            <a:r>
              <a:rPr lang="de-CH"/>
              <a:t>Referenz, Abteilung, Datum</a:t>
            </a:r>
            <a:endParaRPr lang="de-CH" dirty="0"/>
          </a:p>
        </p:txBody>
      </p:sp>
      <p:pic>
        <p:nvPicPr>
          <p:cNvPr id="10" name="ZKB_LOGO">
            <a:extLst>
              <a:ext uri="{FF2B5EF4-FFF2-40B4-BE49-F238E27FC236}">
                <a16:creationId xmlns:a16="http://schemas.microsoft.com/office/drawing/2014/main" id="{5A92113E-222A-880D-9911-9770422C9D5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45829" y="313003"/>
            <a:ext cx="2003938" cy="468104"/>
          </a:xfrm>
          <a:prstGeom prst="rect">
            <a:avLst/>
          </a:prstGeom>
        </p:spPr>
      </p:pic>
      <p:sp>
        <p:nvSpPr>
          <p:cNvPr id="11" name="Hilfetext">
            <a:extLst>
              <a:ext uri="{FF2B5EF4-FFF2-40B4-BE49-F238E27FC236}">
                <a16:creationId xmlns:a16="http://schemas.microsoft.com/office/drawing/2014/main" id="{236C1A26-0EEE-D3C3-BCF4-BBC843AF15E3}"/>
              </a:ext>
            </a:extLst>
          </p:cNvPr>
          <p:cNvSpPr/>
          <p:nvPr userDrawn="1"/>
        </p:nvSpPr>
        <p:spPr>
          <a:xfrm>
            <a:off x="9461500" y="1384300"/>
            <a:ext cx="3225800" cy="1790700"/>
          </a:xfrm>
          <a:prstGeom prst="rect">
            <a:avLst/>
          </a:prstGeom>
        </p:spPr>
        <p:txBody>
          <a:bodyPr vert="horz" wrap="square" lIns="0" tIns="0" rIns="0" bIns="0" rtlCol="0" anchor="t" anchorCtr="0">
            <a:noAutofit/>
          </a:bodyPr>
          <a:lstStyle/>
          <a:p>
            <a:pPr algn="l"/>
            <a:r>
              <a:rPr lang="de-CH" sz="1600" b="1" i="0" u="none" dirty="0">
                <a:solidFill>
                  <a:srgbClr val="FFFFFF"/>
                </a:solidFill>
                <a:latin typeface="Frutiger for ZKB Light" panose="020B0303030504020204" pitchFamily="34" charset="0"/>
              </a:rPr>
              <a:t>Bild Titelfolie ändern</a:t>
            </a:r>
            <a:br>
              <a:rPr lang="de-CH" sz="1600" b="1" i="0" u="none" dirty="0">
                <a:solidFill>
                  <a:srgbClr val="FFFFFF"/>
                </a:solidFill>
                <a:latin typeface="Frutiger for ZKB Light" panose="020B0303030504020204" pitchFamily="34" charset="0"/>
              </a:rPr>
            </a:br>
            <a:r>
              <a:rPr lang="de-CH" sz="1600" b="1" i="0" u="none" dirty="0">
                <a:solidFill>
                  <a:srgbClr val="FFFFFF"/>
                </a:solidFill>
                <a:latin typeface="Frutiger for ZKB Light" panose="020B0303030504020204" pitchFamily="34" charset="0"/>
              </a:rPr>
              <a:t>über die ZKB-Lasche</a:t>
            </a:r>
            <a:br>
              <a:rPr lang="de-CH" sz="1600" b="1" i="0" u="none" dirty="0">
                <a:solidFill>
                  <a:srgbClr val="FFFFFF"/>
                </a:solidFill>
                <a:latin typeface="Frutiger for ZKB Light" panose="020B0303030504020204" pitchFamily="34" charset="0"/>
              </a:rPr>
            </a:br>
            <a:br>
              <a:rPr lang="de-CH" sz="1600" b="1" i="0" u="none" dirty="0">
                <a:solidFill>
                  <a:srgbClr val="FFFFFF"/>
                </a:solidFill>
                <a:latin typeface="Frutiger for ZKB Light" panose="020B0303030504020204" pitchFamily="34" charset="0"/>
              </a:rPr>
            </a:br>
            <a:r>
              <a:rPr lang="de-CH" sz="1600" b="1" i="0" u="none" dirty="0">
                <a:solidFill>
                  <a:srgbClr val="FFFFFF"/>
                </a:solidFill>
                <a:latin typeface="Frutiger for ZKB Light" panose="020B0303030504020204" pitchFamily="34" charset="0"/>
              </a:rPr>
              <a:t>Button: Bild Titelfolie</a:t>
            </a:r>
          </a:p>
        </p:txBody>
      </p:sp>
      <p:grpSp>
        <p:nvGrpSpPr>
          <p:cNvPr id="15" name="StempelA" hidden="1">
            <a:extLst>
              <a:ext uri="{FF2B5EF4-FFF2-40B4-BE49-F238E27FC236}">
                <a16:creationId xmlns:a16="http://schemas.microsoft.com/office/drawing/2014/main" id="{D45DCE91-4B51-CAEF-3B08-E0B079E6E462}"/>
              </a:ext>
            </a:extLst>
          </p:cNvPr>
          <p:cNvGrpSpPr/>
          <p:nvPr userDrawn="1"/>
        </p:nvGrpSpPr>
        <p:grpSpPr>
          <a:xfrm>
            <a:off x="11995120" y="6341833"/>
            <a:ext cx="554639" cy="292388"/>
            <a:chOff x="1270000" y="1270000"/>
            <a:chExt cx="554639" cy="292388"/>
          </a:xfrm>
        </p:grpSpPr>
        <p:sp>
          <p:nvSpPr>
            <p:cNvPr id="12" name="Textfeld 11" hidden="1">
              <a:extLst>
                <a:ext uri="{FF2B5EF4-FFF2-40B4-BE49-F238E27FC236}">
                  <a16:creationId xmlns:a16="http://schemas.microsoft.com/office/drawing/2014/main" id="{61BB873D-AA17-4BEA-EE14-5BAB2D51E1D3}"/>
                </a:ext>
              </a:extLst>
            </p:cNvPr>
            <p:cNvSpPr txBox="1"/>
            <p:nvPr userDrawn="1"/>
          </p:nvSpPr>
          <p:spPr>
            <a:xfrm>
              <a:off x="1270000" y="1270000"/>
              <a:ext cx="55463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285750" algn="l" defTabSz="284221" rtl="0" eaLnBrk="1" fontAlgn="base"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dirty="0" err="1">
                  <a:solidFill>
                    <a:srgbClr val="003CB4"/>
                  </a:solidFill>
                  <a:latin typeface="Frutiger for ZKB Light" panose="020B0303030504020204" pitchFamily="34" charset="0"/>
                </a:rPr>
                <a:t>Draft</a:t>
              </a:r>
              <a:endParaRPr lang="de-CH" sz="1400" b="0" i="0" u="none" dirty="0">
                <a:solidFill>
                  <a:srgbClr val="003CB4"/>
                </a:solidFill>
                <a:latin typeface="Frutiger for ZKB Light" panose="020B0303030504020204" pitchFamily="34" charset="0"/>
              </a:endParaRPr>
            </a:p>
          </p:txBody>
        </p:sp>
        <p:cxnSp>
          <p:nvCxnSpPr>
            <p:cNvPr id="13" name="Gerader Verbinder 12" hidden="1">
              <a:extLst>
                <a:ext uri="{FF2B5EF4-FFF2-40B4-BE49-F238E27FC236}">
                  <a16:creationId xmlns:a16="http://schemas.microsoft.com/office/drawing/2014/main" id="{16BF8AA4-8278-0B95-C0B0-12B392F55CDC}"/>
                </a:ext>
              </a:extLst>
            </p:cNvPr>
            <p:cNvCxnSpPr/>
            <p:nvPr userDrawn="1"/>
          </p:nvCxnSpPr>
          <p:spPr>
            <a:xfrm>
              <a:off x="1270000" y="1270000"/>
              <a:ext cx="55463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Gerader Verbinder 13" hidden="1">
              <a:extLst>
                <a:ext uri="{FF2B5EF4-FFF2-40B4-BE49-F238E27FC236}">
                  <a16:creationId xmlns:a16="http://schemas.microsoft.com/office/drawing/2014/main" id="{844FC251-4BAA-4668-7D9D-87B05430ACE9}"/>
                </a:ext>
              </a:extLst>
            </p:cNvPr>
            <p:cNvCxnSpPr/>
            <p:nvPr userDrawn="1"/>
          </p:nvCxnSpPr>
          <p:spPr>
            <a:xfrm>
              <a:off x="1270000" y="1562388"/>
              <a:ext cx="55463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216726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3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5A8CFB2-B5EE-46FB-F29F-52D54C0A5C60}"/>
              </a:ext>
            </a:extLst>
          </p:cNvPr>
          <p:cNvSpPr>
            <a:spLocks noGrp="1"/>
          </p:cNvSpPr>
          <p:nvPr>
            <p:ph type="title" hasCustomPrompt="1"/>
          </p:nvPr>
        </p:nvSpPr>
        <p:spPr>
          <a:xfrm>
            <a:off x="305816" y="287819"/>
            <a:ext cx="10181590" cy="863456"/>
          </a:xfrm>
          <a:prstGeom prst="rect">
            <a:avLst/>
          </a:prstGeom>
        </p:spPr>
        <p:txBody>
          <a:bodyPr wrap="square" lIns="0" tIns="0" rIns="0" bIns="0" anchor="t" anchorCtr="0">
            <a:noAutofit/>
          </a:bodyPr>
          <a:lstStyle>
            <a:lvl1pPr algn="l">
              <a:lnSpc>
                <a:spcPct val="95000"/>
              </a:lnSpc>
              <a:spcBef>
                <a:spcPts val="0"/>
              </a:spcBef>
              <a:spcAft>
                <a:spcPts val="0"/>
              </a:spcAft>
              <a:defRPr sz="2800" b="1">
                <a:solidFill>
                  <a:srgbClr val="003CB4"/>
                </a:solidFill>
                <a:latin typeface="Frutiger for ZKB Light" panose="020B0303030504020204" pitchFamily="34" charset="0"/>
              </a:defRPr>
            </a:lvl1pPr>
          </a:lstStyle>
          <a:p>
            <a:r>
              <a:rPr lang="de-CH"/>
              <a:t>Titel (max. zweizeilig)</a:t>
            </a:r>
            <a:endParaRPr lang="de-CH" dirty="0"/>
          </a:p>
        </p:txBody>
      </p:sp>
      <p:sp>
        <p:nvSpPr>
          <p:cNvPr id="3" name="Foliennummernplatzhalter 2">
            <a:extLst>
              <a:ext uri="{FF2B5EF4-FFF2-40B4-BE49-F238E27FC236}">
                <a16:creationId xmlns:a16="http://schemas.microsoft.com/office/drawing/2014/main" id="{A93E96D9-BEEC-36B6-56CC-AB44025F7487}"/>
              </a:ext>
            </a:extLst>
          </p:cNvPr>
          <p:cNvSpPr>
            <a:spLocks noGrp="1"/>
          </p:cNvSpPr>
          <p:nvPr>
            <p:ph type="sldNum" sz="quarter" idx="10"/>
          </p:nvPr>
        </p:nvSpPr>
        <p:spPr>
          <a:xfrm>
            <a:off x="305816" y="6799718"/>
            <a:ext cx="305807"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fld id="{DF46F67B-DFC5-4D4D-B823-2A149AD963A3}" type="slidenum">
              <a:rPr lang="de-CH" smtClean="0"/>
              <a:pPr/>
              <a:t>‹#›</a:t>
            </a:fld>
            <a:endParaRPr lang="de-CH" dirty="0"/>
          </a:p>
        </p:txBody>
      </p:sp>
      <p:sp>
        <p:nvSpPr>
          <p:cNvPr id="4" name="Fußzeilenplatzhalter 3">
            <a:extLst>
              <a:ext uri="{FF2B5EF4-FFF2-40B4-BE49-F238E27FC236}">
                <a16:creationId xmlns:a16="http://schemas.microsoft.com/office/drawing/2014/main" id="{438B88FE-CE73-5BCE-71E0-E40DF5A27EA8}"/>
              </a:ext>
            </a:extLst>
          </p:cNvPr>
          <p:cNvSpPr>
            <a:spLocks noGrp="1"/>
          </p:cNvSpPr>
          <p:nvPr>
            <p:ph type="ftr" sz="quarter" idx="11"/>
          </p:nvPr>
        </p:nvSpPr>
        <p:spPr>
          <a:xfrm>
            <a:off x="611623" y="6799718"/>
            <a:ext cx="9875782"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endParaRPr lang="de-CH" dirty="0"/>
          </a:p>
        </p:txBody>
      </p:sp>
      <p:sp>
        <p:nvSpPr>
          <p:cNvPr id="5" name="Inhaltsplatzhalter 4">
            <a:extLst>
              <a:ext uri="{FF2B5EF4-FFF2-40B4-BE49-F238E27FC236}">
                <a16:creationId xmlns:a16="http://schemas.microsoft.com/office/drawing/2014/main" id="{55D755F7-DB73-1EB7-D7CA-3D56CC32CC5D}"/>
              </a:ext>
            </a:extLst>
          </p:cNvPr>
          <p:cNvSpPr>
            <a:spLocks noGrp="1"/>
          </p:cNvSpPr>
          <p:nvPr>
            <p:ph idx="12" hasCustomPrompt="1"/>
          </p:nvPr>
        </p:nvSpPr>
        <p:spPr>
          <a:xfrm>
            <a:off x="305816" y="1885212"/>
            <a:ext cx="3889435" cy="4749009"/>
          </a:xfrm>
          <a:prstGeom prst="rect">
            <a:avLst/>
          </a:prstGeom>
        </p:spPr>
        <p:txBody>
          <a:bodyPr wrap="square" lIns="0" tIns="0" rIns="0" bIns="0" anchor="t" anchorCtr="0">
            <a:noAutofit/>
          </a:bodyPr>
          <a:lstStyle>
            <a:lvl1pPr algn="l" defTabSz="284221">
              <a:lnSpc>
                <a:spcPct val="100000"/>
              </a:lnSpc>
              <a:spcBef>
                <a:spcPts val="0"/>
              </a:spcBef>
              <a:spcAft>
                <a:spcPts val="0"/>
              </a:spcAft>
              <a:defRPr sz="1600" b="0">
                <a:solidFill>
                  <a:srgbClr val="003CB4"/>
                </a:solidFill>
                <a:latin typeface="Frutiger for ZKB Light" panose="020B0303030504020204" pitchFamily="34" charset="0"/>
              </a:defRPr>
            </a:lvl1pPr>
            <a:lvl2pPr algn="l">
              <a:lnSpc>
                <a:spcPct val="100000"/>
              </a:lnSpc>
              <a:spcBef>
                <a:spcPts val="0"/>
              </a:spcBef>
              <a:spcAft>
                <a:spcPts val="0"/>
              </a:spcAft>
              <a:defRPr sz="1600" b="0">
                <a:solidFill>
                  <a:srgbClr val="003CB4"/>
                </a:solidFill>
                <a:latin typeface="Frutiger for ZKB Light" panose="020B0303030504020204" pitchFamily="34" charset="0"/>
              </a:defRPr>
            </a:lvl2pPr>
            <a:lvl3pPr algn="l">
              <a:lnSpc>
                <a:spcPct val="100000"/>
              </a:lnSpc>
              <a:spcBef>
                <a:spcPts val="0"/>
              </a:spcBef>
              <a:spcAft>
                <a:spcPts val="0"/>
              </a:spcAft>
              <a:defRPr sz="1600" b="0">
                <a:solidFill>
                  <a:srgbClr val="003CB4"/>
                </a:solidFill>
                <a:latin typeface="Frutiger for ZKB Light" panose="020B0303030504020204" pitchFamily="34" charset="0"/>
              </a:defRPr>
            </a:lvl3pPr>
            <a:lvl4pPr algn="l">
              <a:lnSpc>
                <a:spcPct val="100000"/>
              </a:lnSpc>
              <a:spcBef>
                <a:spcPts val="0"/>
              </a:spcBef>
              <a:spcAft>
                <a:spcPts val="0"/>
              </a:spcAft>
              <a:defRPr sz="1600" b="0">
                <a:solidFill>
                  <a:srgbClr val="003CB4"/>
                </a:solidFill>
                <a:latin typeface="Frutiger for ZKB Light" panose="020B0303030504020204" pitchFamily="34" charset="0"/>
              </a:defRPr>
            </a:lvl4pPr>
            <a:lvl5pPr algn="l">
              <a:lnSpc>
                <a:spcPct val="100000"/>
              </a:lnSpc>
              <a:spcBef>
                <a:spcPts val="0"/>
              </a:spcBef>
              <a:spcAft>
                <a:spcPts val="0"/>
              </a:spcAft>
              <a:defRPr sz="1600" b="0">
                <a:solidFill>
                  <a:srgbClr val="003CB4"/>
                </a:solidFill>
                <a:latin typeface="Frutiger for ZKB Light" panose="020B0303030504020204" pitchFamily="34" charset="0"/>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6" name="Inhaltsplatzhalter 5">
            <a:extLst>
              <a:ext uri="{FF2B5EF4-FFF2-40B4-BE49-F238E27FC236}">
                <a16:creationId xmlns:a16="http://schemas.microsoft.com/office/drawing/2014/main" id="{4368BE18-832D-6015-9DE3-05F23CA79DB2}"/>
              </a:ext>
            </a:extLst>
          </p:cNvPr>
          <p:cNvSpPr>
            <a:spLocks noGrp="1"/>
          </p:cNvSpPr>
          <p:nvPr>
            <p:ph sz="quarter" idx="13" hasCustomPrompt="1"/>
          </p:nvPr>
        </p:nvSpPr>
        <p:spPr>
          <a:xfrm>
            <a:off x="4483070" y="1885212"/>
            <a:ext cx="3889435" cy="4749009"/>
          </a:xfrm>
          <a:prstGeom prst="rect">
            <a:avLst/>
          </a:prstGeom>
        </p:spPr>
        <p:txBody>
          <a:bodyPr wrap="square" lIns="0" tIns="0" rIns="0" bIns="0" anchor="t" anchorCtr="0">
            <a:noAutofit/>
          </a:bodyPr>
          <a:lstStyle>
            <a:lvl1pPr algn="l" defTabSz="284221">
              <a:lnSpc>
                <a:spcPct val="100000"/>
              </a:lnSpc>
              <a:spcBef>
                <a:spcPts val="0"/>
              </a:spcBef>
              <a:spcAft>
                <a:spcPts val="0"/>
              </a:spcAft>
              <a:defRPr sz="1600" b="0">
                <a:solidFill>
                  <a:srgbClr val="003CB4"/>
                </a:solidFill>
                <a:latin typeface="Frutiger for ZKB Light" panose="020B0303030504020204" pitchFamily="34" charset="0"/>
              </a:defRPr>
            </a:lvl1pPr>
            <a:lvl2pPr algn="l">
              <a:lnSpc>
                <a:spcPct val="100000"/>
              </a:lnSpc>
              <a:spcBef>
                <a:spcPts val="0"/>
              </a:spcBef>
              <a:spcAft>
                <a:spcPts val="0"/>
              </a:spcAft>
              <a:defRPr sz="1600" b="0">
                <a:solidFill>
                  <a:srgbClr val="003CB4"/>
                </a:solidFill>
                <a:latin typeface="Frutiger for ZKB Light" panose="020B0303030504020204" pitchFamily="34" charset="0"/>
              </a:defRPr>
            </a:lvl2pPr>
            <a:lvl3pPr algn="l">
              <a:lnSpc>
                <a:spcPct val="100000"/>
              </a:lnSpc>
              <a:spcBef>
                <a:spcPts val="0"/>
              </a:spcBef>
              <a:spcAft>
                <a:spcPts val="0"/>
              </a:spcAft>
              <a:defRPr sz="1600" b="0">
                <a:solidFill>
                  <a:srgbClr val="003CB4"/>
                </a:solidFill>
                <a:latin typeface="Frutiger for ZKB Light" panose="020B0303030504020204" pitchFamily="34" charset="0"/>
              </a:defRPr>
            </a:lvl3pPr>
            <a:lvl4pPr algn="l">
              <a:lnSpc>
                <a:spcPct val="100000"/>
              </a:lnSpc>
              <a:spcBef>
                <a:spcPts val="0"/>
              </a:spcBef>
              <a:spcAft>
                <a:spcPts val="0"/>
              </a:spcAft>
              <a:defRPr sz="1600" b="0">
                <a:solidFill>
                  <a:srgbClr val="003CB4"/>
                </a:solidFill>
                <a:latin typeface="Frutiger for ZKB Light" panose="020B0303030504020204" pitchFamily="34" charset="0"/>
              </a:defRPr>
            </a:lvl4pPr>
            <a:lvl5pPr algn="l">
              <a:lnSpc>
                <a:spcPct val="100000"/>
              </a:lnSpc>
              <a:spcBef>
                <a:spcPts val="0"/>
              </a:spcBef>
              <a:spcAft>
                <a:spcPts val="0"/>
              </a:spcAft>
              <a:defRPr sz="1600" b="0">
                <a:solidFill>
                  <a:srgbClr val="003CB4"/>
                </a:solidFill>
                <a:latin typeface="Frutiger for ZKB Light" panose="020B0303030504020204" pitchFamily="34" charset="0"/>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7" name="Inhaltsplatzhalter 6">
            <a:extLst>
              <a:ext uri="{FF2B5EF4-FFF2-40B4-BE49-F238E27FC236}">
                <a16:creationId xmlns:a16="http://schemas.microsoft.com/office/drawing/2014/main" id="{2BFEDFE6-16D5-34F6-5802-992B39A2D9A3}"/>
              </a:ext>
            </a:extLst>
          </p:cNvPr>
          <p:cNvSpPr>
            <a:spLocks noGrp="1"/>
          </p:cNvSpPr>
          <p:nvPr>
            <p:ph sz="quarter" idx="14" hasCustomPrompt="1"/>
          </p:nvPr>
        </p:nvSpPr>
        <p:spPr>
          <a:xfrm>
            <a:off x="8660324" y="1885212"/>
            <a:ext cx="3889435" cy="4749009"/>
          </a:xfrm>
          <a:prstGeom prst="rect">
            <a:avLst/>
          </a:prstGeom>
        </p:spPr>
        <p:txBody>
          <a:bodyPr wrap="square" lIns="0" tIns="0" rIns="0" bIns="0" anchor="t" anchorCtr="0">
            <a:noAutofit/>
          </a:bodyPr>
          <a:lstStyle>
            <a:lvl1pPr algn="l" defTabSz="284221">
              <a:lnSpc>
                <a:spcPct val="100000"/>
              </a:lnSpc>
              <a:spcBef>
                <a:spcPts val="0"/>
              </a:spcBef>
              <a:spcAft>
                <a:spcPts val="0"/>
              </a:spcAft>
              <a:defRPr sz="1600" b="0">
                <a:solidFill>
                  <a:srgbClr val="003CB4"/>
                </a:solidFill>
                <a:latin typeface="Frutiger for ZKB Light" panose="020B0303030504020204" pitchFamily="34" charset="0"/>
              </a:defRPr>
            </a:lvl1pPr>
            <a:lvl2pPr algn="l">
              <a:lnSpc>
                <a:spcPct val="100000"/>
              </a:lnSpc>
              <a:spcBef>
                <a:spcPts val="0"/>
              </a:spcBef>
              <a:spcAft>
                <a:spcPts val="0"/>
              </a:spcAft>
              <a:defRPr sz="1600" b="0">
                <a:solidFill>
                  <a:srgbClr val="003CB4"/>
                </a:solidFill>
                <a:latin typeface="Frutiger for ZKB Light" panose="020B0303030504020204" pitchFamily="34" charset="0"/>
              </a:defRPr>
            </a:lvl2pPr>
            <a:lvl3pPr algn="l">
              <a:lnSpc>
                <a:spcPct val="100000"/>
              </a:lnSpc>
              <a:spcBef>
                <a:spcPts val="0"/>
              </a:spcBef>
              <a:spcAft>
                <a:spcPts val="0"/>
              </a:spcAft>
              <a:defRPr sz="1600" b="0">
                <a:solidFill>
                  <a:srgbClr val="003CB4"/>
                </a:solidFill>
                <a:latin typeface="Frutiger for ZKB Light" panose="020B0303030504020204" pitchFamily="34" charset="0"/>
              </a:defRPr>
            </a:lvl3pPr>
            <a:lvl4pPr algn="l">
              <a:lnSpc>
                <a:spcPct val="100000"/>
              </a:lnSpc>
              <a:spcBef>
                <a:spcPts val="0"/>
              </a:spcBef>
              <a:spcAft>
                <a:spcPts val="0"/>
              </a:spcAft>
              <a:defRPr sz="1600" b="0">
                <a:solidFill>
                  <a:srgbClr val="003CB4"/>
                </a:solidFill>
                <a:latin typeface="Frutiger for ZKB Light" panose="020B0303030504020204" pitchFamily="34" charset="0"/>
              </a:defRPr>
            </a:lvl4pPr>
            <a:lvl5pPr algn="l">
              <a:lnSpc>
                <a:spcPct val="100000"/>
              </a:lnSpc>
              <a:spcBef>
                <a:spcPts val="0"/>
              </a:spcBef>
              <a:spcAft>
                <a:spcPts val="0"/>
              </a:spcAft>
              <a:defRPr sz="1600" b="0">
                <a:solidFill>
                  <a:srgbClr val="003CB4"/>
                </a:solidFill>
                <a:latin typeface="Frutiger for ZKB Light" panose="020B0303030504020204" pitchFamily="34" charset="0"/>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Tree>
    <p:extLst>
      <p:ext uri="{BB962C8B-B14F-4D97-AF65-F5344CB8AC3E}">
        <p14:creationId xmlns:p14="http://schemas.microsoft.com/office/powerpoint/2010/main" val="13180092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3 Spalten mit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AA7AF7-4598-1891-F30C-50515DA1FF66}"/>
              </a:ext>
            </a:extLst>
          </p:cNvPr>
          <p:cNvSpPr>
            <a:spLocks noGrp="1"/>
          </p:cNvSpPr>
          <p:nvPr>
            <p:ph type="title" hasCustomPrompt="1"/>
          </p:nvPr>
        </p:nvSpPr>
        <p:spPr>
          <a:xfrm>
            <a:off x="305816" y="287819"/>
            <a:ext cx="10181590" cy="863456"/>
          </a:xfrm>
          <a:prstGeom prst="rect">
            <a:avLst/>
          </a:prstGeom>
        </p:spPr>
        <p:txBody>
          <a:bodyPr wrap="square" lIns="0" tIns="0" rIns="0" bIns="0" anchor="t" anchorCtr="0">
            <a:noAutofit/>
          </a:bodyPr>
          <a:lstStyle>
            <a:lvl1pPr algn="l">
              <a:lnSpc>
                <a:spcPct val="95000"/>
              </a:lnSpc>
              <a:spcBef>
                <a:spcPts val="0"/>
              </a:spcBef>
              <a:spcAft>
                <a:spcPts val="0"/>
              </a:spcAft>
              <a:defRPr sz="2800" b="1">
                <a:solidFill>
                  <a:srgbClr val="003CB4"/>
                </a:solidFill>
                <a:latin typeface="Frutiger for ZKB Light" panose="020B0303030504020204" pitchFamily="34" charset="0"/>
              </a:defRPr>
            </a:lvl1pPr>
          </a:lstStyle>
          <a:p>
            <a:r>
              <a:rPr lang="de-CH"/>
              <a:t>Titel (max. zweizeilig)</a:t>
            </a:r>
            <a:endParaRPr lang="de-CH" dirty="0"/>
          </a:p>
        </p:txBody>
      </p:sp>
      <p:sp>
        <p:nvSpPr>
          <p:cNvPr id="3" name="Foliennummernplatzhalter 2">
            <a:extLst>
              <a:ext uri="{FF2B5EF4-FFF2-40B4-BE49-F238E27FC236}">
                <a16:creationId xmlns:a16="http://schemas.microsoft.com/office/drawing/2014/main" id="{EEB51D4E-4ACC-8EA8-0DAD-F8D4410B299D}"/>
              </a:ext>
            </a:extLst>
          </p:cNvPr>
          <p:cNvSpPr>
            <a:spLocks noGrp="1"/>
          </p:cNvSpPr>
          <p:nvPr>
            <p:ph type="sldNum" sz="quarter" idx="10"/>
          </p:nvPr>
        </p:nvSpPr>
        <p:spPr>
          <a:xfrm>
            <a:off x="305816" y="6799718"/>
            <a:ext cx="305807"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fld id="{DF46F67B-DFC5-4D4D-B823-2A149AD963A3}" type="slidenum">
              <a:rPr lang="de-CH" smtClean="0"/>
              <a:pPr/>
              <a:t>‹#›</a:t>
            </a:fld>
            <a:endParaRPr lang="de-CH" dirty="0"/>
          </a:p>
        </p:txBody>
      </p:sp>
      <p:sp>
        <p:nvSpPr>
          <p:cNvPr id="4" name="Fußzeilenplatzhalter 3">
            <a:extLst>
              <a:ext uri="{FF2B5EF4-FFF2-40B4-BE49-F238E27FC236}">
                <a16:creationId xmlns:a16="http://schemas.microsoft.com/office/drawing/2014/main" id="{65EAF0BC-66E8-AE42-404A-CDFDE5C94E0D}"/>
              </a:ext>
            </a:extLst>
          </p:cNvPr>
          <p:cNvSpPr>
            <a:spLocks noGrp="1"/>
          </p:cNvSpPr>
          <p:nvPr>
            <p:ph type="ftr" sz="quarter" idx="11"/>
          </p:nvPr>
        </p:nvSpPr>
        <p:spPr>
          <a:xfrm>
            <a:off x="611623" y="6799718"/>
            <a:ext cx="9875782"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endParaRPr lang="de-CH" dirty="0"/>
          </a:p>
        </p:txBody>
      </p:sp>
      <p:sp>
        <p:nvSpPr>
          <p:cNvPr id="5" name="Inhaltsplatzhalter 4">
            <a:extLst>
              <a:ext uri="{FF2B5EF4-FFF2-40B4-BE49-F238E27FC236}">
                <a16:creationId xmlns:a16="http://schemas.microsoft.com/office/drawing/2014/main" id="{DDF75110-0622-793D-90E3-B3C68EF577EF}"/>
              </a:ext>
            </a:extLst>
          </p:cNvPr>
          <p:cNvSpPr>
            <a:spLocks noGrp="1"/>
          </p:cNvSpPr>
          <p:nvPr>
            <p:ph idx="12" hasCustomPrompt="1"/>
          </p:nvPr>
        </p:nvSpPr>
        <p:spPr>
          <a:xfrm>
            <a:off x="305816" y="2532804"/>
            <a:ext cx="3889435" cy="4101417"/>
          </a:xfrm>
          <a:prstGeom prst="rect">
            <a:avLst/>
          </a:prstGeom>
        </p:spPr>
        <p:txBody>
          <a:bodyPr wrap="square" lIns="0" tIns="0" rIns="0" bIns="0" anchor="t" anchorCtr="0">
            <a:noAutofit/>
          </a:bodyPr>
          <a:lstStyle>
            <a:lvl1pPr algn="l" defTabSz="284221">
              <a:lnSpc>
                <a:spcPct val="100000"/>
              </a:lnSpc>
              <a:spcBef>
                <a:spcPts val="0"/>
              </a:spcBef>
              <a:spcAft>
                <a:spcPts val="0"/>
              </a:spcAft>
              <a:defRPr sz="1600" b="0">
                <a:solidFill>
                  <a:srgbClr val="003CB4"/>
                </a:solidFill>
                <a:latin typeface="Frutiger for ZKB Light" panose="020B0303030504020204" pitchFamily="34" charset="0"/>
              </a:defRPr>
            </a:lvl1pPr>
            <a:lvl2pPr algn="l">
              <a:lnSpc>
                <a:spcPct val="100000"/>
              </a:lnSpc>
              <a:spcBef>
                <a:spcPts val="0"/>
              </a:spcBef>
              <a:spcAft>
                <a:spcPts val="0"/>
              </a:spcAft>
              <a:defRPr sz="1600" b="0">
                <a:solidFill>
                  <a:srgbClr val="003CB4"/>
                </a:solidFill>
                <a:latin typeface="Frutiger for ZKB Light" panose="020B0303030504020204" pitchFamily="34" charset="0"/>
              </a:defRPr>
            </a:lvl2pPr>
            <a:lvl3pPr algn="l">
              <a:lnSpc>
                <a:spcPct val="100000"/>
              </a:lnSpc>
              <a:spcBef>
                <a:spcPts val="0"/>
              </a:spcBef>
              <a:spcAft>
                <a:spcPts val="0"/>
              </a:spcAft>
              <a:defRPr sz="1600" b="0">
                <a:solidFill>
                  <a:srgbClr val="003CB4"/>
                </a:solidFill>
                <a:latin typeface="Frutiger for ZKB Light" panose="020B0303030504020204" pitchFamily="34" charset="0"/>
              </a:defRPr>
            </a:lvl3pPr>
            <a:lvl4pPr algn="l">
              <a:lnSpc>
                <a:spcPct val="100000"/>
              </a:lnSpc>
              <a:spcBef>
                <a:spcPts val="0"/>
              </a:spcBef>
              <a:spcAft>
                <a:spcPts val="0"/>
              </a:spcAft>
              <a:defRPr sz="1600" b="0">
                <a:solidFill>
                  <a:srgbClr val="003CB4"/>
                </a:solidFill>
                <a:latin typeface="Frutiger for ZKB Light" panose="020B0303030504020204" pitchFamily="34" charset="0"/>
              </a:defRPr>
            </a:lvl4pPr>
            <a:lvl5pPr algn="l">
              <a:lnSpc>
                <a:spcPct val="100000"/>
              </a:lnSpc>
              <a:spcBef>
                <a:spcPts val="0"/>
              </a:spcBef>
              <a:spcAft>
                <a:spcPts val="0"/>
              </a:spcAft>
              <a:defRPr sz="1600" b="0">
                <a:solidFill>
                  <a:srgbClr val="003CB4"/>
                </a:solidFill>
                <a:latin typeface="Frutiger for ZKB Light" panose="020B0303030504020204" pitchFamily="34" charset="0"/>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6" name="Inhaltsplatzhalter 5">
            <a:extLst>
              <a:ext uri="{FF2B5EF4-FFF2-40B4-BE49-F238E27FC236}">
                <a16:creationId xmlns:a16="http://schemas.microsoft.com/office/drawing/2014/main" id="{08D2727A-C462-3E90-3A3A-C90C8A142A66}"/>
              </a:ext>
            </a:extLst>
          </p:cNvPr>
          <p:cNvSpPr>
            <a:spLocks noGrp="1"/>
          </p:cNvSpPr>
          <p:nvPr>
            <p:ph sz="quarter" idx="13" hasCustomPrompt="1"/>
          </p:nvPr>
        </p:nvSpPr>
        <p:spPr>
          <a:xfrm>
            <a:off x="4483070" y="2532804"/>
            <a:ext cx="3889435" cy="4101417"/>
          </a:xfrm>
          <a:prstGeom prst="rect">
            <a:avLst/>
          </a:prstGeom>
        </p:spPr>
        <p:txBody>
          <a:bodyPr wrap="square" lIns="0" tIns="0" rIns="0" bIns="0" anchor="t" anchorCtr="0">
            <a:noAutofit/>
          </a:bodyPr>
          <a:lstStyle>
            <a:lvl1pPr algn="l" defTabSz="284221">
              <a:lnSpc>
                <a:spcPct val="100000"/>
              </a:lnSpc>
              <a:spcBef>
                <a:spcPts val="0"/>
              </a:spcBef>
              <a:spcAft>
                <a:spcPts val="0"/>
              </a:spcAft>
              <a:defRPr sz="1600" b="0">
                <a:solidFill>
                  <a:srgbClr val="003CB4"/>
                </a:solidFill>
                <a:latin typeface="Frutiger for ZKB Light" panose="020B0303030504020204" pitchFamily="34" charset="0"/>
              </a:defRPr>
            </a:lvl1pPr>
            <a:lvl2pPr algn="l">
              <a:lnSpc>
                <a:spcPct val="100000"/>
              </a:lnSpc>
              <a:spcBef>
                <a:spcPts val="0"/>
              </a:spcBef>
              <a:spcAft>
                <a:spcPts val="0"/>
              </a:spcAft>
              <a:defRPr sz="1600" b="0">
                <a:solidFill>
                  <a:srgbClr val="003CB4"/>
                </a:solidFill>
                <a:latin typeface="Frutiger for ZKB Light" panose="020B0303030504020204" pitchFamily="34" charset="0"/>
              </a:defRPr>
            </a:lvl2pPr>
            <a:lvl3pPr algn="l">
              <a:lnSpc>
                <a:spcPct val="100000"/>
              </a:lnSpc>
              <a:spcBef>
                <a:spcPts val="0"/>
              </a:spcBef>
              <a:spcAft>
                <a:spcPts val="0"/>
              </a:spcAft>
              <a:defRPr sz="1600" b="0">
                <a:solidFill>
                  <a:srgbClr val="003CB4"/>
                </a:solidFill>
                <a:latin typeface="Frutiger for ZKB Light" panose="020B0303030504020204" pitchFamily="34" charset="0"/>
              </a:defRPr>
            </a:lvl3pPr>
            <a:lvl4pPr algn="l">
              <a:lnSpc>
                <a:spcPct val="100000"/>
              </a:lnSpc>
              <a:spcBef>
                <a:spcPts val="0"/>
              </a:spcBef>
              <a:spcAft>
                <a:spcPts val="0"/>
              </a:spcAft>
              <a:defRPr sz="1600" b="0">
                <a:solidFill>
                  <a:srgbClr val="003CB4"/>
                </a:solidFill>
                <a:latin typeface="Frutiger for ZKB Light" panose="020B0303030504020204" pitchFamily="34" charset="0"/>
              </a:defRPr>
            </a:lvl4pPr>
            <a:lvl5pPr algn="l">
              <a:lnSpc>
                <a:spcPct val="100000"/>
              </a:lnSpc>
              <a:spcBef>
                <a:spcPts val="0"/>
              </a:spcBef>
              <a:spcAft>
                <a:spcPts val="0"/>
              </a:spcAft>
              <a:defRPr sz="1600" b="0">
                <a:solidFill>
                  <a:srgbClr val="003CB4"/>
                </a:solidFill>
                <a:latin typeface="Frutiger for ZKB Light" panose="020B0303030504020204" pitchFamily="34" charset="0"/>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7" name="Inhaltsplatzhalter 6">
            <a:extLst>
              <a:ext uri="{FF2B5EF4-FFF2-40B4-BE49-F238E27FC236}">
                <a16:creationId xmlns:a16="http://schemas.microsoft.com/office/drawing/2014/main" id="{3953AAF4-E631-C10C-C6CB-AA81B84875B1}"/>
              </a:ext>
            </a:extLst>
          </p:cNvPr>
          <p:cNvSpPr>
            <a:spLocks noGrp="1"/>
          </p:cNvSpPr>
          <p:nvPr>
            <p:ph sz="quarter" idx="14" hasCustomPrompt="1"/>
          </p:nvPr>
        </p:nvSpPr>
        <p:spPr>
          <a:xfrm>
            <a:off x="8660324" y="2532804"/>
            <a:ext cx="3889435" cy="4101417"/>
          </a:xfrm>
          <a:prstGeom prst="rect">
            <a:avLst/>
          </a:prstGeom>
        </p:spPr>
        <p:txBody>
          <a:bodyPr wrap="square" lIns="0" tIns="0" rIns="0" bIns="0" anchor="t" anchorCtr="0">
            <a:noAutofit/>
          </a:bodyPr>
          <a:lstStyle>
            <a:lvl1pPr algn="l" defTabSz="284221">
              <a:lnSpc>
                <a:spcPct val="100000"/>
              </a:lnSpc>
              <a:spcBef>
                <a:spcPts val="0"/>
              </a:spcBef>
              <a:spcAft>
                <a:spcPts val="0"/>
              </a:spcAft>
              <a:defRPr sz="1600" b="0">
                <a:solidFill>
                  <a:srgbClr val="003CB4"/>
                </a:solidFill>
                <a:latin typeface="Frutiger for ZKB Light" panose="020B0303030504020204" pitchFamily="34" charset="0"/>
              </a:defRPr>
            </a:lvl1pPr>
            <a:lvl2pPr algn="l">
              <a:lnSpc>
                <a:spcPct val="100000"/>
              </a:lnSpc>
              <a:spcBef>
                <a:spcPts val="0"/>
              </a:spcBef>
              <a:spcAft>
                <a:spcPts val="0"/>
              </a:spcAft>
              <a:defRPr sz="1600" b="0">
                <a:solidFill>
                  <a:srgbClr val="003CB4"/>
                </a:solidFill>
                <a:latin typeface="Frutiger for ZKB Light" panose="020B0303030504020204" pitchFamily="34" charset="0"/>
              </a:defRPr>
            </a:lvl2pPr>
            <a:lvl3pPr algn="l">
              <a:lnSpc>
                <a:spcPct val="100000"/>
              </a:lnSpc>
              <a:spcBef>
                <a:spcPts val="0"/>
              </a:spcBef>
              <a:spcAft>
                <a:spcPts val="0"/>
              </a:spcAft>
              <a:defRPr sz="1600" b="0">
                <a:solidFill>
                  <a:srgbClr val="003CB4"/>
                </a:solidFill>
                <a:latin typeface="Frutiger for ZKB Light" panose="020B0303030504020204" pitchFamily="34" charset="0"/>
              </a:defRPr>
            </a:lvl3pPr>
            <a:lvl4pPr algn="l">
              <a:lnSpc>
                <a:spcPct val="100000"/>
              </a:lnSpc>
              <a:spcBef>
                <a:spcPts val="0"/>
              </a:spcBef>
              <a:spcAft>
                <a:spcPts val="0"/>
              </a:spcAft>
              <a:defRPr sz="1600" b="0">
                <a:solidFill>
                  <a:srgbClr val="003CB4"/>
                </a:solidFill>
                <a:latin typeface="Frutiger for ZKB Light" panose="020B0303030504020204" pitchFamily="34" charset="0"/>
              </a:defRPr>
            </a:lvl4pPr>
            <a:lvl5pPr algn="l">
              <a:lnSpc>
                <a:spcPct val="100000"/>
              </a:lnSpc>
              <a:spcBef>
                <a:spcPts val="0"/>
              </a:spcBef>
              <a:spcAft>
                <a:spcPts val="0"/>
              </a:spcAft>
              <a:defRPr sz="1600" b="0">
                <a:solidFill>
                  <a:srgbClr val="003CB4"/>
                </a:solidFill>
                <a:latin typeface="Frutiger for ZKB Light" panose="020B0303030504020204" pitchFamily="34" charset="0"/>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8" name="Textplatzhalter 7">
            <a:extLst>
              <a:ext uri="{FF2B5EF4-FFF2-40B4-BE49-F238E27FC236}">
                <a16:creationId xmlns:a16="http://schemas.microsoft.com/office/drawing/2014/main" id="{41056A99-CE15-FE28-FB84-6006DF094E33}"/>
              </a:ext>
            </a:extLst>
          </p:cNvPr>
          <p:cNvSpPr>
            <a:spLocks noGrp="1"/>
          </p:cNvSpPr>
          <p:nvPr>
            <p:ph type="body" sz="quarter" idx="15" hasCustomPrompt="1"/>
          </p:nvPr>
        </p:nvSpPr>
        <p:spPr>
          <a:xfrm>
            <a:off x="305816" y="1885212"/>
            <a:ext cx="3889435" cy="647592"/>
          </a:xfrm>
          <a:prstGeom prst="rect">
            <a:avLst/>
          </a:prstGeom>
        </p:spPr>
        <p:txBody>
          <a:bodyPr lIns="0" tIns="0" rIns="0" bIns="0"/>
          <a:lstStyle>
            <a:lvl1pPr algn="l">
              <a:lnSpc>
                <a:spcPct val="100000"/>
              </a:lnSpc>
              <a:spcBef>
                <a:spcPts val="0"/>
              </a:spcBef>
              <a:spcAft>
                <a:spcPts val="0"/>
              </a:spcAft>
              <a:defRPr sz="2000" b="1" i="0" u="none">
                <a:solidFill>
                  <a:srgbClr val="003CB4"/>
                </a:solidFill>
                <a:latin typeface="Frutiger for ZKB Light" panose="020B0303030504020204" pitchFamily="34" charset="0"/>
              </a:defRPr>
            </a:lvl1pPr>
          </a:lstStyle>
          <a:p>
            <a:pPr lvl="0"/>
            <a:r>
              <a:rPr lang="de-CH"/>
              <a:t>Untertitel</a:t>
            </a:r>
            <a:endParaRPr lang="de-CH" dirty="0"/>
          </a:p>
        </p:txBody>
      </p:sp>
      <p:sp>
        <p:nvSpPr>
          <p:cNvPr id="9" name="Textplatzhalter 8">
            <a:extLst>
              <a:ext uri="{FF2B5EF4-FFF2-40B4-BE49-F238E27FC236}">
                <a16:creationId xmlns:a16="http://schemas.microsoft.com/office/drawing/2014/main" id="{81EFA1BA-2DCE-8E03-96B7-30798A2A8431}"/>
              </a:ext>
            </a:extLst>
          </p:cNvPr>
          <p:cNvSpPr>
            <a:spLocks noGrp="1"/>
          </p:cNvSpPr>
          <p:nvPr>
            <p:ph type="body" sz="quarter" idx="16" hasCustomPrompt="1"/>
          </p:nvPr>
        </p:nvSpPr>
        <p:spPr>
          <a:xfrm>
            <a:off x="4483070" y="1885212"/>
            <a:ext cx="3889435" cy="647592"/>
          </a:xfrm>
          <a:prstGeom prst="rect">
            <a:avLst/>
          </a:prstGeom>
        </p:spPr>
        <p:txBody>
          <a:bodyPr lIns="0" tIns="0" rIns="0" bIns="0"/>
          <a:lstStyle>
            <a:lvl1pPr algn="l">
              <a:lnSpc>
                <a:spcPct val="100000"/>
              </a:lnSpc>
              <a:spcBef>
                <a:spcPts val="0"/>
              </a:spcBef>
              <a:spcAft>
                <a:spcPts val="0"/>
              </a:spcAft>
              <a:defRPr sz="2000" b="1" i="0" u="none">
                <a:solidFill>
                  <a:srgbClr val="003CB4"/>
                </a:solidFill>
                <a:latin typeface="Frutiger for ZKB Light" panose="020B0303030504020204" pitchFamily="34" charset="0"/>
              </a:defRPr>
            </a:lvl1pPr>
          </a:lstStyle>
          <a:p>
            <a:pPr lvl="0"/>
            <a:r>
              <a:rPr lang="de-CH"/>
              <a:t>Untertitel</a:t>
            </a:r>
            <a:endParaRPr lang="de-CH" dirty="0"/>
          </a:p>
        </p:txBody>
      </p:sp>
      <p:sp>
        <p:nvSpPr>
          <p:cNvPr id="10" name="Textplatzhalter 9">
            <a:extLst>
              <a:ext uri="{FF2B5EF4-FFF2-40B4-BE49-F238E27FC236}">
                <a16:creationId xmlns:a16="http://schemas.microsoft.com/office/drawing/2014/main" id="{948404AA-D312-33B4-0519-450B0583B3BA}"/>
              </a:ext>
            </a:extLst>
          </p:cNvPr>
          <p:cNvSpPr>
            <a:spLocks noGrp="1"/>
          </p:cNvSpPr>
          <p:nvPr>
            <p:ph type="body" sz="quarter" idx="17" hasCustomPrompt="1"/>
          </p:nvPr>
        </p:nvSpPr>
        <p:spPr>
          <a:xfrm>
            <a:off x="8660324" y="1885212"/>
            <a:ext cx="3889435" cy="647592"/>
          </a:xfrm>
          <a:prstGeom prst="rect">
            <a:avLst/>
          </a:prstGeom>
        </p:spPr>
        <p:txBody>
          <a:bodyPr lIns="0" tIns="0" rIns="0" bIns="0"/>
          <a:lstStyle>
            <a:lvl1pPr algn="l">
              <a:lnSpc>
                <a:spcPct val="100000"/>
              </a:lnSpc>
              <a:spcBef>
                <a:spcPts val="0"/>
              </a:spcBef>
              <a:spcAft>
                <a:spcPts val="0"/>
              </a:spcAft>
              <a:defRPr sz="2000" b="1" i="0" u="none">
                <a:solidFill>
                  <a:srgbClr val="003CB4"/>
                </a:solidFill>
                <a:latin typeface="Frutiger for ZKB Light" panose="020B0303030504020204" pitchFamily="34" charset="0"/>
              </a:defRPr>
            </a:lvl1pPr>
          </a:lstStyle>
          <a:p>
            <a:pPr lvl="0"/>
            <a:r>
              <a:rPr lang="de-CH"/>
              <a:t>Untertitel</a:t>
            </a:r>
            <a:endParaRPr lang="de-CH" dirty="0"/>
          </a:p>
        </p:txBody>
      </p:sp>
    </p:spTree>
    <p:extLst>
      <p:ext uri="{BB962C8B-B14F-4D97-AF65-F5344CB8AC3E}">
        <p14:creationId xmlns:p14="http://schemas.microsoft.com/office/powerpoint/2010/main" val="42836227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71962FF-393A-F45D-A790-AABE14BB949D}"/>
              </a:ext>
            </a:extLst>
          </p:cNvPr>
          <p:cNvSpPr>
            <a:spLocks noGrp="1"/>
          </p:cNvSpPr>
          <p:nvPr>
            <p:ph type="title" hasCustomPrompt="1"/>
          </p:nvPr>
        </p:nvSpPr>
        <p:spPr>
          <a:xfrm>
            <a:off x="305816" y="287819"/>
            <a:ext cx="10181590" cy="863456"/>
          </a:xfrm>
          <a:prstGeom prst="rect">
            <a:avLst/>
          </a:prstGeom>
        </p:spPr>
        <p:txBody>
          <a:bodyPr wrap="square" lIns="0" tIns="0" rIns="0" bIns="0" anchor="t" anchorCtr="0">
            <a:noAutofit/>
          </a:bodyPr>
          <a:lstStyle>
            <a:lvl1pPr algn="l">
              <a:lnSpc>
                <a:spcPct val="95000"/>
              </a:lnSpc>
              <a:spcBef>
                <a:spcPts val="0"/>
              </a:spcBef>
              <a:spcAft>
                <a:spcPts val="0"/>
              </a:spcAft>
              <a:defRPr sz="2800" b="1">
                <a:solidFill>
                  <a:srgbClr val="003CB4"/>
                </a:solidFill>
                <a:latin typeface="Frutiger for ZKB Light" panose="020B0303030504020204" pitchFamily="34" charset="0"/>
              </a:defRPr>
            </a:lvl1pPr>
          </a:lstStyle>
          <a:p>
            <a:r>
              <a:rPr lang="de-CH"/>
              <a:t>Titel (max. zweizeilig)</a:t>
            </a:r>
            <a:endParaRPr lang="de-CH" dirty="0"/>
          </a:p>
        </p:txBody>
      </p:sp>
      <p:sp>
        <p:nvSpPr>
          <p:cNvPr id="3" name="Foliennummernplatzhalter 2">
            <a:extLst>
              <a:ext uri="{FF2B5EF4-FFF2-40B4-BE49-F238E27FC236}">
                <a16:creationId xmlns:a16="http://schemas.microsoft.com/office/drawing/2014/main" id="{0A0D324E-165A-CFAF-E9B1-8C7EE8D5DB09}"/>
              </a:ext>
            </a:extLst>
          </p:cNvPr>
          <p:cNvSpPr>
            <a:spLocks noGrp="1"/>
          </p:cNvSpPr>
          <p:nvPr>
            <p:ph type="sldNum" sz="quarter" idx="10"/>
          </p:nvPr>
        </p:nvSpPr>
        <p:spPr>
          <a:xfrm>
            <a:off x="305816" y="6799718"/>
            <a:ext cx="305807"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fld id="{DF46F67B-DFC5-4D4D-B823-2A149AD963A3}" type="slidenum">
              <a:rPr lang="de-CH" smtClean="0"/>
              <a:pPr/>
              <a:t>‹#›</a:t>
            </a:fld>
            <a:endParaRPr lang="de-CH" dirty="0"/>
          </a:p>
        </p:txBody>
      </p:sp>
      <p:sp>
        <p:nvSpPr>
          <p:cNvPr id="4" name="Fußzeilenplatzhalter 3">
            <a:extLst>
              <a:ext uri="{FF2B5EF4-FFF2-40B4-BE49-F238E27FC236}">
                <a16:creationId xmlns:a16="http://schemas.microsoft.com/office/drawing/2014/main" id="{1C3EED86-DB41-1EA6-1204-93211A26F334}"/>
              </a:ext>
            </a:extLst>
          </p:cNvPr>
          <p:cNvSpPr>
            <a:spLocks noGrp="1"/>
          </p:cNvSpPr>
          <p:nvPr>
            <p:ph type="ftr" sz="quarter" idx="11"/>
          </p:nvPr>
        </p:nvSpPr>
        <p:spPr>
          <a:xfrm>
            <a:off x="611623" y="6799718"/>
            <a:ext cx="9875782"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endParaRPr lang="de-CH" dirty="0"/>
          </a:p>
        </p:txBody>
      </p:sp>
    </p:spTree>
    <p:extLst>
      <p:ext uri="{BB962C8B-B14F-4D97-AF65-F5344CB8AC3E}">
        <p14:creationId xmlns:p14="http://schemas.microsoft.com/office/powerpoint/2010/main" val="3077059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E930F39C-A819-E4B7-98AF-B897A20CF8A8}"/>
              </a:ext>
            </a:extLst>
          </p:cNvPr>
          <p:cNvSpPr>
            <a:spLocks noGrp="1"/>
          </p:cNvSpPr>
          <p:nvPr>
            <p:ph type="sldNum" sz="quarter" idx="10"/>
          </p:nvPr>
        </p:nvSpPr>
        <p:spPr>
          <a:xfrm>
            <a:off x="305816" y="6799718"/>
            <a:ext cx="305807"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fld id="{DF46F67B-DFC5-4D4D-B823-2A149AD963A3}" type="slidenum">
              <a:rPr lang="de-CH" smtClean="0"/>
              <a:pPr/>
              <a:t>‹#›</a:t>
            </a:fld>
            <a:endParaRPr lang="de-CH" dirty="0"/>
          </a:p>
        </p:txBody>
      </p:sp>
      <p:sp>
        <p:nvSpPr>
          <p:cNvPr id="4" name="Fußzeilenplatzhalter 3">
            <a:extLst>
              <a:ext uri="{FF2B5EF4-FFF2-40B4-BE49-F238E27FC236}">
                <a16:creationId xmlns:a16="http://schemas.microsoft.com/office/drawing/2014/main" id="{8AFE10B5-DA96-42BD-0ED7-9AB1D13DAC1E}"/>
              </a:ext>
            </a:extLst>
          </p:cNvPr>
          <p:cNvSpPr>
            <a:spLocks noGrp="1"/>
          </p:cNvSpPr>
          <p:nvPr>
            <p:ph type="ftr" sz="quarter" idx="11"/>
          </p:nvPr>
        </p:nvSpPr>
        <p:spPr>
          <a:xfrm>
            <a:off x="611623" y="6799718"/>
            <a:ext cx="9875782"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endParaRPr lang="de-CH" dirty="0"/>
          </a:p>
        </p:txBody>
      </p:sp>
    </p:spTree>
    <p:extLst>
      <p:ext uri="{BB962C8B-B14F-4D97-AF65-F5344CB8AC3E}">
        <p14:creationId xmlns:p14="http://schemas.microsoft.com/office/powerpoint/2010/main" val="29821936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Nur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DDD6BEF2-AD0A-42A9-A6E7-5F1449111822}"/>
              </a:ext>
            </a:extLst>
          </p:cNvPr>
          <p:cNvSpPr>
            <a:spLocks noGrp="1"/>
          </p:cNvSpPr>
          <p:nvPr>
            <p:ph type="pic" idx="10" hasCustomPrompt="1"/>
          </p:nvPr>
        </p:nvSpPr>
        <p:spPr>
          <a:xfrm>
            <a:off x="0" y="0"/>
            <a:ext cx="12855575" cy="7231063"/>
          </a:xfrm>
          <a:prstGeom prst="rect">
            <a:avLst/>
          </a:prstGeom>
          <a:solidFill>
            <a:srgbClr val="E8E8E8"/>
          </a:solidFill>
        </p:spPr>
        <p:txBody>
          <a:bodyPr anchor="ctr" anchorCtr="1"/>
          <a:lstStyle/>
          <a:p>
            <a:r>
              <a:rPr lang="de-CH" dirty="0"/>
              <a:t>Bild über die ZKB Lasche einfügen</a:t>
            </a:r>
          </a:p>
        </p:txBody>
      </p:sp>
    </p:spTree>
    <p:extLst>
      <p:ext uri="{BB962C8B-B14F-4D97-AF65-F5344CB8AC3E}">
        <p14:creationId xmlns:p14="http://schemas.microsoft.com/office/powerpoint/2010/main" val="35510742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pic>
        <p:nvPicPr>
          <p:cNvPr id="4" name="ZKB_LOGO_CLAIM">
            <a:extLst>
              <a:ext uri="{FF2B5EF4-FFF2-40B4-BE49-F238E27FC236}">
                <a16:creationId xmlns:a16="http://schemas.microsoft.com/office/drawing/2014/main" id="{54F34AFD-7752-58D7-101E-02AD152CF4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17872" y="2841268"/>
            <a:ext cx="6619830" cy="1548526"/>
          </a:xfrm>
          <a:prstGeom prst="rect">
            <a:avLst/>
          </a:prstGeom>
        </p:spPr>
      </p:pic>
    </p:spTree>
    <p:extLst>
      <p:ext uri="{BB962C8B-B14F-4D97-AF65-F5344CB8AC3E}">
        <p14:creationId xmlns:p14="http://schemas.microsoft.com/office/powerpoint/2010/main" val="3567165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5EBA99F-C5EF-E811-277A-783A2FC506DD}"/>
              </a:ext>
            </a:extLst>
          </p:cNvPr>
          <p:cNvSpPr>
            <a:spLocks noGrp="1"/>
          </p:cNvSpPr>
          <p:nvPr>
            <p:ph type="sldNum" sz="quarter" idx="10"/>
          </p:nvPr>
        </p:nvSpPr>
        <p:spPr>
          <a:xfrm>
            <a:off x="305816" y="6799718"/>
            <a:ext cx="305807"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fld id="{DF46F67B-DFC5-4D4D-B823-2A149AD963A3}" type="slidenum">
              <a:rPr lang="de-CH" smtClean="0"/>
              <a:pPr/>
              <a:t>‹#›</a:t>
            </a:fld>
            <a:endParaRPr lang="de-CH" dirty="0"/>
          </a:p>
        </p:txBody>
      </p:sp>
      <p:sp>
        <p:nvSpPr>
          <p:cNvPr id="4" name="Fußzeilenplatzhalter 3">
            <a:extLst>
              <a:ext uri="{FF2B5EF4-FFF2-40B4-BE49-F238E27FC236}">
                <a16:creationId xmlns:a16="http://schemas.microsoft.com/office/drawing/2014/main" id="{63840831-B78A-79A7-AD41-953D7C50AF8F}"/>
              </a:ext>
            </a:extLst>
          </p:cNvPr>
          <p:cNvSpPr>
            <a:spLocks noGrp="1"/>
          </p:cNvSpPr>
          <p:nvPr>
            <p:ph type="ftr" sz="quarter" idx="11"/>
          </p:nvPr>
        </p:nvSpPr>
        <p:spPr>
          <a:xfrm>
            <a:off x="611623" y="6799718"/>
            <a:ext cx="9875782"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endParaRPr lang="de-CH" dirty="0"/>
          </a:p>
        </p:txBody>
      </p:sp>
      <p:sp>
        <p:nvSpPr>
          <p:cNvPr id="5" name="Textplatzhalter 4">
            <a:extLst>
              <a:ext uri="{FF2B5EF4-FFF2-40B4-BE49-F238E27FC236}">
                <a16:creationId xmlns:a16="http://schemas.microsoft.com/office/drawing/2014/main" id="{BF65CECD-27B9-2A9E-D255-EDF3E3F895F2}"/>
              </a:ext>
            </a:extLst>
          </p:cNvPr>
          <p:cNvSpPr>
            <a:spLocks noGrp="1"/>
          </p:cNvSpPr>
          <p:nvPr>
            <p:ph type="body" idx="12" hasCustomPrompt="1"/>
          </p:nvPr>
        </p:nvSpPr>
        <p:spPr>
          <a:xfrm>
            <a:off x="305816" y="1885212"/>
            <a:ext cx="12243943" cy="4749009"/>
          </a:xfrm>
          <a:prstGeom prst="rect">
            <a:avLst/>
          </a:prstGeom>
        </p:spPr>
        <p:txBody>
          <a:bodyPr wrap="square" lIns="0" tIns="0" rIns="0" bIns="0" anchor="b" anchorCtr="0">
            <a:noAutofit/>
          </a:bodyPr>
          <a:lstStyle>
            <a:lvl1pPr algn="l" defTabSz="284221">
              <a:lnSpc>
                <a:spcPct val="100000"/>
              </a:lnSpc>
              <a:spcBef>
                <a:spcPts val="0"/>
              </a:spcBef>
              <a:spcAft>
                <a:spcPts val="0"/>
              </a:spcAft>
              <a:defRPr sz="1200" b="0">
                <a:solidFill>
                  <a:srgbClr val="003CB4"/>
                </a:solidFill>
                <a:latin typeface="Frutiger for ZKB Light" panose="020B0303030504020204" pitchFamily="34" charset="0"/>
              </a:defRPr>
            </a:lvl1pPr>
            <a:lvl2pPr algn="l">
              <a:lnSpc>
                <a:spcPct val="100000"/>
              </a:lnSpc>
              <a:spcBef>
                <a:spcPts val="0"/>
              </a:spcBef>
              <a:spcAft>
                <a:spcPts val="0"/>
              </a:spcAft>
              <a:defRPr sz="1200" b="0">
                <a:solidFill>
                  <a:srgbClr val="003CB4"/>
                </a:solidFill>
                <a:latin typeface="Frutiger for ZKB Light" panose="020B0303030504020204" pitchFamily="34" charset="0"/>
              </a:defRPr>
            </a:lvl2pPr>
            <a:lvl3pPr algn="l">
              <a:lnSpc>
                <a:spcPct val="100000"/>
              </a:lnSpc>
              <a:spcBef>
                <a:spcPts val="0"/>
              </a:spcBef>
              <a:spcAft>
                <a:spcPts val="0"/>
              </a:spcAft>
              <a:defRPr sz="1200" b="0">
                <a:solidFill>
                  <a:srgbClr val="003CB4"/>
                </a:solidFill>
                <a:latin typeface="Frutiger for ZKB Light" panose="020B0303030504020204" pitchFamily="34" charset="0"/>
              </a:defRPr>
            </a:lvl3pPr>
            <a:lvl4pPr algn="l">
              <a:lnSpc>
                <a:spcPct val="100000"/>
              </a:lnSpc>
              <a:spcBef>
                <a:spcPts val="0"/>
              </a:spcBef>
              <a:spcAft>
                <a:spcPts val="0"/>
              </a:spcAft>
              <a:defRPr sz="1200" b="0">
                <a:solidFill>
                  <a:srgbClr val="003CB4"/>
                </a:solidFill>
                <a:latin typeface="Frutiger for ZKB Light" panose="020B0303030504020204" pitchFamily="34" charset="0"/>
              </a:defRPr>
            </a:lvl4pPr>
            <a:lvl5pPr algn="l">
              <a:lnSpc>
                <a:spcPct val="100000"/>
              </a:lnSpc>
              <a:spcBef>
                <a:spcPts val="0"/>
              </a:spcBef>
              <a:spcAft>
                <a:spcPts val="0"/>
              </a:spcAft>
              <a:defRPr sz="1200" b="0">
                <a:solidFill>
                  <a:srgbClr val="003CB4"/>
                </a:solidFill>
                <a:latin typeface="Frutiger for ZKB Light" panose="020B0303030504020204" pitchFamily="34" charset="0"/>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Tree>
    <p:extLst>
      <p:ext uri="{BB962C8B-B14F-4D97-AF65-F5344CB8AC3E}">
        <p14:creationId xmlns:p14="http://schemas.microsoft.com/office/powerpoint/2010/main" val="1793710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Only" preserve="1">
  <p:cSld name="Titelfolie weiss">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6AB18F4D-1C6C-5444-0B62-F2885768EBCA}"/>
              </a:ext>
            </a:extLst>
          </p:cNvPr>
          <p:cNvSpPr>
            <a:spLocks noGrp="1"/>
          </p:cNvSpPr>
          <p:nvPr>
            <p:ph type="pic" sz="quarter" idx="12" hasCustomPrompt="1"/>
          </p:nvPr>
        </p:nvSpPr>
        <p:spPr>
          <a:xfrm>
            <a:off x="6577521" y="1885212"/>
            <a:ext cx="5972238" cy="4749009"/>
          </a:xfrm>
          <a:prstGeom prst="rect">
            <a:avLst/>
          </a:prstGeom>
        </p:spPr>
        <p:txBody>
          <a:bodyPr wrap="square" lIns="0" tIns="0" rIns="0" bIns="0" anchor="ctr" anchorCtr="1">
            <a:noAutofit/>
          </a:bodyPr>
          <a:lstStyle>
            <a:lvl1pPr algn="l">
              <a:lnSpc>
                <a:spcPct val="100000"/>
              </a:lnSpc>
              <a:spcBef>
                <a:spcPts val="0"/>
              </a:spcBef>
              <a:spcAft>
                <a:spcPts val="0"/>
              </a:spcAft>
              <a:defRPr sz="1600" b="0">
                <a:solidFill>
                  <a:srgbClr val="003CB4"/>
                </a:solidFill>
                <a:latin typeface="Frutiger for ZKB Light" panose="020B0303030504020204" pitchFamily="34" charset="0"/>
              </a:defRPr>
            </a:lvl1pPr>
          </a:lstStyle>
          <a:p>
            <a:r>
              <a:rPr lang="de-CH" dirty="0"/>
              <a:t>Optionaler Platzhalter für Illustration</a:t>
            </a:r>
            <a:br>
              <a:rPr lang="de-CH" dirty="0"/>
            </a:br>
            <a:r>
              <a:rPr lang="de-CH" dirty="0"/>
              <a:t>(kein Foto / kein Piktogramm)</a:t>
            </a:r>
            <a:br>
              <a:rPr lang="de-CH" dirty="0"/>
            </a:br>
            <a:br>
              <a:rPr lang="de-CH" dirty="0"/>
            </a:br>
            <a:br>
              <a:rPr lang="de-CH" dirty="0"/>
            </a:br>
            <a:br>
              <a:rPr lang="de-CH" dirty="0"/>
            </a:br>
            <a:br>
              <a:rPr lang="de-CH" dirty="0"/>
            </a:br>
            <a:br>
              <a:rPr lang="de-CH" dirty="0"/>
            </a:br>
            <a:endParaRPr lang="de-CH" dirty="0"/>
          </a:p>
        </p:txBody>
      </p:sp>
      <p:sp>
        <p:nvSpPr>
          <p:cNvPr id="2" name="Titel 1">
            <a:extLst>
              <a:ext uri="{FF2B5EF4-FFF2-40B4-BE49-F238E27FC236}">
                <a16:creationId xmlns:a16="http://schemas.microsoft.com/office/drawing/2014/main" id="{3FE57A25-C967-8F7B-0890-5AFF18D864E2}"/>
              </a:ext>
            </a:extLst>
          </p:cNvPr>
          <p:cNvSpPr>
            <a:spLocks noGrp="1"/>
          </p:cNvSpPr>
          <p:nvPr>
            <p:ph type="title" hasCustomPrompt="1"/>
          </p:nvPr>
        </p:nvSpPr>
        <p:spPr>
          <a:xfrm>
            <a:off x="305816" y="1885212"/>
            <a:ext cx="9087875" cy="4749009"/>
          </a:xfrm>
          <a:prstGeom prst="rect">
            <a:avLst/>
          </a:prstGeom>
        </p:spPr>
        <p:txBody>
          <a:bodyPr lIns="0" tIns="0" rIns="0" bIns="0" anchor="t"/>
          <a:lstStyle>
            <a:lvl1pPr algn="l">
              <a:lnSpc>
                <a:spcPct val="95000"/>
              </a:lnSpc>
              <a:spcBef>
                <a:spcPts val="0"/>
              </a:spcBef>
              <a:spcAft>
                <a:spcPts val="0"/>
              </a:spcAft>
              <a:defRPr sz="6000" b="1" i="0" u="none">
                <a:solidFill>
                  <a:srgbClr val="003CB4"/>
                </a:solidFill>
                <a:latin typeface="Frutiger for ZKB Light" panose="020B0303030504020204" pitchFamily="34" charset="0"/>
              </a:defRPr>
            </a:lvl1pPr>
          </a:lstStyle>
          <a:p>
            <a:r>
              <a:rPr lang="de-CH"/>
              <a:t>Präsentationstitel</a:t>
            </a:r>
            <a:br>
              <a:rPr lang="de-CH"/>
            </a:br>
            <a:r>
              <a:rPr lang="de-CH"/>
              <a:t>(max. dreizeilig)</a:t>
            </a:r>
            <a:endParaRPr lang="de-CH" dirty="0"/>
          </a:p>
        </p:txBody>
      </p:sp>
      <p:sp>
        <p:nvSpPr>
          <p:cNvPr id="5" name="Untertitel 4">
            <a:extLst>
              <a:ext uri="{FF2B5EF4-FFF2-40B4-BE49-F238E27FC236}">
                <a16:creationId xmlns:a16="http://schemas.microsoft.com/office/drawing/2014/main" id="{31FC49C9-38E8-E19D-1674-77C69587C5B7}"/>
              </a:ext>
            </a:extLst>
          </p:cNvPr>
          <p:cNvSpPr>
            <a:spLocks noGrp="1"/>
          </p:cNvSpPr>
          <p:nvPr>
            <p:ph type="subTitle" idx="10" hasCustomPrompt="1"/>
          </p:nvPr>
        </p:nvSpPr>
        <p:spPr>
          <a:xfrm>
            <a:off x="305816" y="287819"/>
            <a:ext cx="9087875" cy="245365"/>
          </a:xfrm>
          <a:prstGeom prst="rect">
            <a:avLst/>
          </a:prstGeom>
        </p:spPr>
        <p:txBody>
          <a:bodyPr lIns="0" tIns="0" rIns="0" bIns="0" anchor="t"/>
          <a:lstStyle>
            <a:lvl1pPr marL="0" indent="0" algn="l">
              <a:lnSpc>
                <a:spcPct val="100000"/>
              </a:lnSpc>
              <a:spcBef>
                <a:spcPts val="0"/>
              </a:spcBef>
              <a:spcAft>
                <a:spcPts val="0"/>
              </a:spcAft>
              <a:buNone/>
              <a:defRPr sz="1600" b="1" i="0" u="none">
                <a:solidFill>
                  <a:srgbClr val="003CB4"/>
                </a:solidFill>
                <a:latin typeface="Frutiger for ZKB Light" panose="020B0303030504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CH"/>
              <a:t>Titel</a:t>
            </a:r>
            <a:endParaRPr lang="de-CH" dirty="0"/>
          </a:p>
        </p:txBody>
      </p:sp>
      <p:sp>
        <p:nvSpPr>
          <p:cNvPr id="6" name="Textplatzhalter 5">
            <a:extLst>
              <a:ext uri="{FF2B5EF4-FFF2-40B4-BE49-F238E27FC236}">
                <a16:creationId xmlns:a16="http://schemas.microsoft.com/office/drawing/2014/main" id="{653BBF46-C029-3685-6063-728C50122D68}"/>
              </a:ext>
            </a:extLst>
          </p:cNvPr>
          <p:cNvSpPr>
            <a:spLocks noGrp="1"/>
          </p:cNvSpPr>
          <p:nvPr>
            <p:ph type="body" sz="quarter" idx="11" hasCustomPrompt="1"/>
          </p:nvPr>
        </p:nvSpPr>
        <p:spPr>
          <a:xfrm>
            <a:off x="305816" y="554051"/>
            <a:ext cx="9087875" cy="245365"/>
          </a:xfrm>
          <a:prstGeom prst="rect">
            <a:avLst/>
          </a:prstGeom>
        </p:spPr>
        <p:txBody>
          <a:bodyPr lIns="0" tIns="0" rIns="0" bIns="0" anchor="t"/>
          <a:lstStyle>
            <a:lvl1pPr algn="l">
              <a:lnSpc>
                <a:spcPct val="100000"/>
              </a:lnSpc>
              <a:spcBef>
                <a:spcPts val="0"/>
              </a:spcBef>
              <a:spcAft>
                <a:spcPts val="0"/>
              </a:spcAft>
              <a:defRPr sz="1600" b="0" i="0" u="none">
                <a:solidFill>
                  <a:srgbClr val="003CB4"/>
                </a:solidFill>
                <a:latin typeface="Frutiger for ZKB Light" panose="020B0303030504020204" pitchFamily="34" charset="0"/>
              </a:defRPr>
            </a:lvl1pPr>
          </a:lstStyle>
          <a:p>
            <a:pPr lvl="0"/>
            <a:r>
              <a:rPr lang="de-CH"/>
              <a:t>Referenz, Abteilung, Datum</a:t>
            </a:r>
            <a:endParaRPr lang="de-CH" dirty="0"/>
          </a:p>
        </p:txBody>
      </p:sp>
      <p:pic>
        <p:nvPicPr>
          <p:cNvPr id="9" name="ZKB_LOGO">
            <a:extLst>
              <a:ext uri="{FF2B5EF4-FFF2-40B4-BE49-F238E27FC236}">
                <a16:creationId xmlns:a16="http://schemas.microsoft.com/office/drawing/2014/main" id="{E1EB3DEE-1ADE-F977-3B8D-0219E1D5E5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5829" y="313003"/>
            <a:ext cx="2003938" cy="468766"/>
          </a:xfrm>
          <a:prstGeom prst="rect">
            <a:avLst/>
          </a:prstGeom>
        </p:spPr>
      </p:pic>
      <p:grpSp>
        <p:nvGrpSpPr>
          <p:cNvPr id="13" name="StempelA" hidden="1">
            <a:extLst>
              <a:ext uri="{FF2B5EF4-FFF2-40B4-BE49-F238E27FC236}">
                <a16:creationId xmlns:a16="http://schemas.microsoft.com/office/drawing/2014/main" id="{47989CFB-8F57-542C-E53D-BBD8E1037A33}"/>
              </a:ext>
            </a:extLst>
          </p:cNvPr>
          <p:cNvGrpSpPr/>
          <p:nvPr userDrawn="1"/>
        </p:nvGrpSpPr>
        <p:grpSpPr>
          <a:xfrm>
            <a:off x="11995120" y="6341833"/>
            <a:ext cx="554639" cy="292388"/>
            <a:chOff x="1270000" y="1270000"/>
            <a:chExt cx="554639" cy="292388"/>
          </a:xfrm>
        </p:grpSpPr>
        <p:sp>
          <p:nvSpPr>
            <p:cNvPr id="10" name="Textfeld 9" hidden="1">
              <a:extLst>
                <a:ext uri="{FF2B5EF4-FFF2-40B4-BE49-F238E27FC236}">
                  <a16:creationId xmlns:a16="http://schemas.microsoft.com/office/drawing/2014/main" id="{CBAB4AB0-6B08-C1EB-92FF-828A78CE40AC}"/>
                </a:ext>
              </a:extLst>
            </p:cNvPr>
            <p:cNvSpPr txBox="1"/>
            <p:nvPr userDrawn="1"/>
          </p:nvSpPr>
          <p:spPr>
            <a:xfrm>
              <a:off x="1270000" y="1270000"/>
              <a:ext cx="55463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285750" algn="l" defTabSz="284221" rtl="0" eaLnBrk="1" fontAlgn="base"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dirty="0" err="1">
                  <a:solidFill>
                    <a:srgbClr val="003CB4"/>
                  </a:solidFill>
                  <a:latin typeface="Frutiger for ZKB Light" panose="020B0303030504020204" pitchFamily="34" charset="0"/>
                </a:rPr>
                <a:t>Draft</a:t>
              </a:r>
              <a:endParaRPr lang="de-CH" sz="1400" b="0" i="0" u="none" dirty="0">
                <a:solidFill>
                  <a:srgbClr val="003CB4"/>
                </a:solidFill>
                <a:latin typeface="Frutiger for ZKB Light" panose="020B0303030504020204" pitchFamily="34" charset="0"/>
              </a:endParaRPr>
            </a:p>
          </p:txBody>
        </p:sp>
        <p:cxnSp>
          <p:nvCxnSpPr>
            <p:cNvPr id="11" name="Gerader Verbinder 10" hidden="1">
              <a:extLst>
                <a:ext uri="{FF2B5EF4-FFF2-40B4-BE49-F238E27FC236}">
                  <a16:creationId xmlns:a16="http://schemas.microsoft.com/office/drawing/2014/main" id="{4331080B-FDAA-0C3C-7A52-E65FDF686F48}"/>
                </a:ext>
              </a:extLst>
            </p:cNvPr>
            <p:cNvCxnSpPr/>
            <p:nvPr userDrawn="1"/>
          </p:nvCxnSpPr>
          <p:spPr>
            <a:xfrm>
              <a:off x="1270000" y="1270000"/>
              <a:ext cx="55463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Gerader Verbinder 11" hidden="1">
              <a:extLst>
                <a:ext uri="{FF2B5EF4-FFF2-40B4-BE49-F238E27FC236}">
                  <a16:creationId xmlns:a16="http://schemas.microsoft.com/office/drawing/2014/main" id="{9DA73A87-5B65-770F-E3F0-159D53605820}"/>
                </a:ext>
              </a:extLst>
            </p:cNvPr>
            <p:cNvCxnSpPr/>
            <p:nvPr userDrawn="1"/>
          </p:nvCxnSpPr>
          <p:spPr>
            <a:xfrm>
              <a:off x="1270000" y="1562388"/>
              <a:ext cx="55463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320877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Only" preserve="1">
  <p:cSld name="Titelfolie blau">
    <p:bg>
      <p:bgPr>
        <a:solidFill>
          <a:srgbClr val="003CB4"/>
        </a:solidFill>
        <a:effectLst/>
      </p:bgPr>
    </p:bg>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6B0C62D8-2754-36CE-3A44-1EC34AB07B20}"/>
              </a:ext>
            </a:extLst>
          </p:cNvPr>
          <p:cNvSpPr>
            <a:spLocks noGrp="1"/>
          </p:cNvSpPr>
          <p:nvPr>
            <p:ph type="pic" sz="quarter" idx="12" hasCustomPrompt="1"/>
          </p:nvPr>
        </p:nvSpPr>
        <p:spPr>
          <a:xfrm>
            <a:off x="6577521" y="1885212"/>
            <a:ext cx="5972238" cy="4749009"/>
          </a:xfrm>
          <a:prstGeom prst="rect">
            <a:avLst/>
          </a:prstGeom>
        </p:spPr>
        <p:txBody>
          <a:bodyPr wrap="square" lIns="0" tIns="0" rIns="0" bIns="0" anchor="ctr" anchorCtr="1">
            <a:noAutofit/>
          </a:bodyPr>
          <a:lstStyle>
            <a:lvl1pPr algn="l">
              <a:lnSpc>
                <a:spcPct val="100000"/>
              </a:lnSpc>
              <a:spcBef>
                <a:spcPts val="0"/>
              </a:spcBef>
              <a:spcAft>
                <a:spcPts val="0"/>
              </a:spcAft>
              <a:defRPr sz="1600" b="0">
                <a:solidFill>
                  <a:srgbClr val="FFFFFF"/>
                </a:solidFill>
                <a:latin typeface="Frutiger for ZKB Light" panose="020B0303030504020204" pitchFamily="34" charset="0"/>
              </a:defRPr>
            </a:lvl1pPr>
          </a:lstStyle>
          <a:p>
            <a:r>
              <a:rPr lang="de-CH" dirty="0"/>
              <a:t>Optionaler Platzhalter für Illustration</a:t>
            </a:r>
            <a:br>
              <a:rPr lang="de-CH" dirty="0"/>
            </a:br>
            <a:r>
              <a:rPr lang="de-CH" dirty="0"/>
              <a:t>(kein Foto / kein Piktogramm)</a:t>
            </a:r>
            <a:br>
              <a:rPr lang="de-CH" dirty="0"/>
            </a:br>
            <a:br>
              <a:rPr lang="de-CH" dirty="0"/>
            </a:br>
            <a:br>
              <a:rPr lang="de-CH" dirty="0"/>
            </a:br>
            <a:br>
              <a:rPr lang="de-CH" dirty="0"/>
            </a:br>
            <a:br>
              <a:rPr lang="de-CH" dirty="0"/>
            </a:br>
            <a:br>
              <a:rPr lang="de-CH" dirty="0"/>
            </a:br>
            <a:endParaRPr lang="de-CH" dirty="0"/>
          </a:p>
        </p:txBody>
      </p:sp>
      <p:sp>
        <p:nvSpPr>
          <p:cNvPr id="2" name="Titel 1">
            <a:extLst>
              <a:ext uri="{FF2B5EF4-FFF2-40B4-BE49-F238E27FC236}">
                <a16:creationId xmlns:a16="http://schemas.microsoft.com/office/drawing/2014/main" id="{46E6DA27-7F75-0E6D-32E9-9C33C135A8D3}"/>
              </a:ext>
            </a:extLst>
          </p:cNvPr>
          <p:cNvSpPr>
            <a:spLocks noGrp="1"/>
          </p:cNvSpPr>
          <p:nvPr>
            <p:ph type="title" hasCustomPrompt="1"/>
          </p:nvPr>
        </p:nvSpPr>
        <p:spPr>
          <a:xfrm>
            <a:off x="305816" y="1885212"/>
            <a:ext cx="9087875" cy="4749009"/>
          </a:xfrm>
          <a:prstGeom prst="rect">
            <a:avLst/>
          </a:prstGeom>
        </p:spPr>
        <p:txBody>
          <a:bodyPr lIns="0" tIns="0" rIns="0" bIns="0" anchor="t"/>
          <a:lstStyle>
            <a:lvl1pPr algn="l">
              <a:lnSpc>
                <a:spcPct val="95000"/>
              </a:lnSpc>
              <a:spcBef>
                <a:spcPts val="0"/>
              </a:spcBef>
              <a:spcAft>
                <a:spcPts val="0"/>
              </a:spcAft>
              <a:defRPr sz="6000" b="1" i="0" u="none">
                <a:solidFill>
                  <a:srgbClr val="FFFFFF"/>
                </a:solidFill>
                <a:latin typeface="Frutiger for ZKB Light" panose="020B0303030504020204" pitchFamily="34" charset="0"/>
              </a:defRPr>
            </a:lvl1pPr>
          </a:lstStyle>
          <a:p>
            <a:r>
              <a:rPr lang="de-CH"/>
              <a:t>Präsentationstitel</a:t>
            </a:r>
            <a:br>
              <a:rPr lang="de-CH"/>
            </a:br>
            <a:r>
              <a:rPr lang="de-CH"/>
              <a:t>(max. dreizeilig)</a:t>
            </a:r>
            <a:endParaRPr lang="de-CH" dirty="0"/>
          </a:p>
        </p:txBody>
      </p:sp>
      <p:sp>
        <p:nvSpPr>
          <p:cNvPr id="5" name="Untertitel 4">
            <a:extLst>
              <a:ext uri="{FF2B5EF4-FFF2-40B4-BE49-F238E27FC236}">
                <a16:creationId xmlns:a16="http://schemas.microsoft.com/office/drawing/2014/main" id="{4C166FC1-C61C-98E9-74C0-3798D4A0DF9D}"/>
              </a:ext>
            </a:extLst>
          </p:cNvPr>
          <p:cNvSpPr>
            <a:spLocks noGrp="1"/>
          </p:cNvSpPr>
          <p:nvPr>
            <p:ph type="subTitle" idx="10" hasCustomPrompt="1"/>
          </p:nvPr>
        </p:nvSpPr>
        <p:spPr>
          <a:xfrm>
            <a:off x="305816" y="287819"/>
            <a:ext cx="9087875" cy="245365"/>
          </a:xfrm>
          <a:prstGeom prst="rect">
            <a:avLst/>
          </a:prstGeom>
        </p:spPr>
        <p:txBody>
          <a:bodyPr lIns="0" tIns="0" rIns="0" bIns="0" anchor="t"/>
          <a:lstStyle>
            <a:lvl1pPr marL="0" indent="0" algn="l">
              <a:lnSpc>
                <a:spcPct val="100000"/>
              </a:lnSpc>
              <a:spcBef>
                <a:spcPts val="0"/>
              </a:spcBef>
              <a:spcAft>
                <a:spcPts val="0"/>
              </a:spcAft>
              <a:buNone/>
              <a:defRPr sz="1600" b="1" i="0" u="none">
                <a:solidFill>
                  <a:srgbClr val="FFFFFF"/>
                </a:solidFill>
                <a:latin typeface="Frutiger for ZKB Light" panose="020B0303030504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CH"/>
              <a:t>Titel</a:t>
            </a:r>
            <a:endParaRPr lang="de-CH" dirty="0"/>
          </a:p>
        </p:txBody>
      </p:sp>
      <p:sp>
        <p:nvSpPr>
          <p:cNvPr id="6" name="Textplatzhalter 5">
            <a:extLst>
              <a:ext uri="{FF2B5EF4-FFF2-40B4-BE49-F238E27FC236}">
                <a16:creationId xmlns:a16="http://schemas.microsoft.com/office/drawing/2014/main" id="{70D7C4B6-B00C-9701-B21D-9B5B3CFBC621}"/>
              </a:ext>
            </a:extLst>
          </p:cNvPr>
          <p:cNvSpPr>
            <a:spLocks noGrp="1"/>
          </p:cNvSpPr>
          <p:nvPr>
            <p:ph type="body" sz="quarter" idx="11" hasCustomPrompt="1"/>
          </p:nvPr>
        </p:nvSpPr>
        <p:spPr>
          <a:xfrm>
            <a:off x="305816" y="554051"/>
            <a:ext cx="9087875" cy="245365"/>
          </a:xfrm>
          <a:prstGeom prst="rect">
            <a:avLst/>
          </a:prstGeom>
        </p:spPr>
        <p:txBody>
          <a:bodyPr lIns="0" tIns="0" rIns="0" bIns="0" anchor="t"/>
          <a:lstStyle>
            <a:lvl1pPr algn="l">
              <a:lnSpc>
                <a:spcPct val="100000"/>
              </a:lnSpc>
              <a:spcBef>
                <a:spcPts val="0"/>
              </a:spcBef>
              <a:spcAft>
                <a:spcPts val="0"/>
              </a:spcAft>
              <a:defRPr sz="1600" b="0" i="0" u="none">
                <a:solidFill>
                  <a:srgbClr val="FFFFFF"/>
                </a:solidFill>
                <a:latin typeface="Frutiger for ZKB Light" panose="020B0303030504020204" pitchFamily="34" charset="0"/>
              </a:defRPr>
            </a:lvl1pPr>
          </a:lstStyle>
          <a:p>
            <a:pPr lvl="0"/>
            <a:r>
              <a:rPr lang="de-CH"/>
              <a:t>Referenz, Abteilung, Datum</a:t>
            </a:r>
            <a:endParaRPr lang="de-CH" dirty="0"/>
          </a:p>
        </p:txBody>
      </p:sp>
      <p:pic>
        <p:nvPicPr>
          <p:cNvPr id="9" name="ZKB_LOGO">
            <a:extLst>
              <a:ext uri="{FF2B5EF4-FFF2-40B4-BE49-F238E27FC236}">
                <a16:creationId xmlns:a16="http://schemas.microsoft.com/office/drawing/2014/main" id="{4F7BC494-1A51-0A0E-7E73-F13A6A990A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5829" y="313003"/>
            <a:ext cx="2003938" cy="468104"/>
          </a:xfrm>
          <a:prstGeom prst="rect">
            <a:avLst/>
          </a:prstGeom>
        </p:spPr>
      </p:pic>
      <p:grpSp>
        <p:nvGrpSpPr>
          <p:cNvPr id="13" name="StempelA" hidden="1">
            <a:extLst>
              <a:ext uri="{FF2B5EF4-FFF2-40B4-BE49-F238E27FC236}">
                <a16:creationId xmlns:a16="http://schemas.microsoft.com/office/drawing/2014/main" id="{2B86802D-265E-A469-4B29-08405E95749B}"/>
              </a:ext>
            </a:extLst>
          </p:cNvPr>
          <p:cNvGrpSpPr/>
          <p:nvPr userDrawn="1"/>
        </p:nvGrpSpPr>
        <p:grpSpPr>
          <a:xfrm>
            <a:off x="11995120" y="6341833"/>
            <a:ext cx="554639" cy="292388"/>
            <a:chOff x="1270000" y="1270000"/>
            <a:chExt cx="554639" cy="292388"/>
          </a:xfrm>
        </p:grpSpPr>
        <p:sp>
          <p:nvSpPr>
            <p:cNvPr id="10" name="Textfeld 9" hidden="1">
              <a:extLst>
                <a:ext uri="{FF2B5EF4-FFF2-40B4-BE49-F238E27FC236}">
                  <a16:creationId xmlns:a16="http://schemas.microsoft.com/office/drawing/2014/main" id="{01445F96-E2E8-479D-9B04-7C5A3EC5D7AC}"/>
                </a:ext>
              </a:extLst>
            </p:cNvPr>
            <p:cNvSpPr txBox="1"/>
            <p:nvPr userDrawn="1"/>
          </p:nvSpPr>
          <p:spPr>
            <a:xfrm>
              <a:off x="1270000" y="1270000"/>
              <a:ext cx="55463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285750" algn="l" defTabSz="284221" rtl="0" eaLnBrk="1" fontAlgn="base"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dirty="0" err="1">
                  <a:solidFill>
                    <a:srgbClr val="FFFFFF"/>
                  </a:solidFill>
                  <a:latin typeface="Frutiger for ZKB Light" panose="020B0303030504020204" pitchFamily="34" charset="0"/>
                </a:rPr>
                <a:t>Draft</a:t>
              </a:r>
              <a:endParaRPr lang="de-CH" sz="1400" b="0" i="0" u="none" dirty="0">
                <a:solidFill>
                  <a:srgbClr val="FFFFFF"/>
                </a:solidFill>
                <a:latin typeface="Frutiger for ZKB Light" panose="020B0303030504020204" pitchFamily="34" charset="0"/>
              </a:endParaRPr>
            </a:p>
          </p:txBody>
        </p:sp>
        <p:cxnSp>
          <p:nvCxnSpPr>
            <p:cNvPr id="11" name="Gerader Verbinder 10" hidden="1">
              <a:extLst>
                <a:ext uri="{FF2B5EF4-FFF2-40B4-BE49-F238E27FC236}">
                  <a16:creationId xmlns:a16="http://schemas.microsoft.com/office/drawing/2014/main" id="{4E011ECD-B452-095B-B5BF-2C5060620252}"/>
                </a:ext>
              </a:extLst>
            </p:cNvPr>
            <p:cNvCxnSpPr/>
            <p:nvPr userDrawn="1"/>
          </p:nvCxnSpPr>
          <p:spPr>
            <a:xfrm>
              <a:off x="1270000" y="1270000"/>
              <a:ext cx="554639" cy="0"/>
            </a:xfrm>
            <a:prstGeom prst="line">
              <a:avLst/>
            </a:prstGeom>
            <a:ln w="63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Gerader Verbinder 11" hidden="1">
              <a:extLst>
                <a:ext uri="{FF2B5EF4-FFF2-40B4-BE49-F238E27FC236}">
                  <a16:creationId xmlns:a16="http://schemas.microsoft.com/office/drawing/2014/main" id="{73ED4EFE-8DE7-E1C4-9C47-0EA45E86A039}"/>
                </a:ext>
              </a:extLst>
            </p:cNvPr>
            <p:cNvCxnSpPr/>
            <p:nvPr userDrawn="1"/>
          </p:nvCxnSpPr>
          <p:spPr>
            <a:xfrm>
              <a:off x="1270000" y="1562388"/>
              <a:ext cx="554639" cy="0"/>
            </a:xfrm>
            <a:prstGeom prst="line">
              <a:avLst/>
            </a:prstGeom>
            <a:ln w="63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215339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0A4AE7-72D4-F30F-AB0F-4EA3B9EA6E62}"/>
              </a:ext>
            </a:extLst>
          </p:cNvPr>
          <p:cNvSpPr>
            <a:spLocks noGrp="1"/>
          </p:cNvSpPr>
          <p:nvPr>
            <p:ph type="title" hasCustomPrompt="1"/>
          </p:nvPr>
        </p:nvSpPr>
        <p:spPr>
          <a:xfrm>
            <a:off x="305816" y="287819"/>
            <a:ext cx="10181590" cy="863456"/>
          </a:xfrm>
          <a:prstGeom prst="rect">
            <a:avLst/>
          </a:prstGeom>
        </p:spPr>
        <p:txBody>
          <a:bodyPr wrap="square" lIns="0" tIns="0" rIns="0" bIns="0" anchor="t" anchorCtr="0">
            <a:noAutofit/>
          </a:bodyPr>
          <a:lstStyle>
            <a:lvl1pPr algn="l">
              <a:lnSpc>
                <a:spcPct val="95000"/>
              </a:lnSpc>
              <a:spcBef>
                <a:spcPts val="0"/>
              </a:spcBef>
              <a:spcAft>
                <a:spcPts val="0"/>
              </a:spcAft>
              <a:defRPr sz="2800" b="1">
                <a:solidFill>
                  <a:srgbClr val="003CB4"/>
                </a:solidFill>
                <a:latin typeface="Frutiger for ZKB Light" panose="020B0303030504020204" pitchFamily="34" charset="0"/>
              </a:defRPr>
            </a:lvl1pPr>
          </a:lstStyle>
          <a:p>
            <a:r>
              <a:rPr lang="de-CH"/>
              <a:t>Agenda</a:t>
            </a:r>
            <a:endParaRPr lang="de-CH" dirty="0"/>
          </a:p>
        </p:txBody>
      </p:sp>
      <p:sp>
        <p:nvSpPr>
          <p:cNvPr id="3" name="Foliennummernplatzhalter 2">
            <a:extLst>
              <a:ext uri="{FF2B5EF4-FFF2-40B4-BE49-F238E27FC236}">
                <a16:creationId xmlns:a16="http://schemas.microsoft.com/office/drawing/2014/main" id="{3F2EFDAA-C170-A142-FCF2-9C9F638B9732}"/>
              </a:ext>
            </a:extLst>
          </p:cNvPr>
          <p:cNvSpPr>
            <a:spLocks noGrp="1"/>
          </p:cNvSpPr>
          <p:nvPr>
            <p:ph type="sldNum" sz="quarter" idx="10"/>
          </p:nvPr>
        </p:nvSpPr>
        <p:spPr>
          <a:xfrm>
            <a:off x="305816" y="6799718"/>
            <a:ext cx="305807"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fld id="{DF46F67B-DFC5-4D4D-B823-2A149AD963A3}" type="slidenum">
              <a:rPr lang="de-CH" smtClean="0"/>
              <a:pPr/>
              <a:t>‹#›</a:t>
            </a:fld>
            <a:endParaRPr lang="de-CH" dirty="0"/>
          </a:p>
        </p:txBody>
      </p:sp>
      <p:sp>
        <p:nvSpPr>
          <p:cNvPr id="4" name="Fußzeilenplatzhalter 3">
            <a:extLst>
              <a:ext uri="{FF2B5EF4-FFF2-40B4-BE49-F238E27FC236}">
                <a16:creationId xmlns:a16="http://schemas.microsoft.com/office/drawing/2014/main" id="{9DAE186C-2DB2-92A1-3D70-E6BA1B57DF59}"/>
              </a:ext>
            </a:extLst>
          </p:cNvPr>
          <p:cNvSpPr>
            <a:spLocks noGrp="1"/>
          </p:cNvSpPr>
          <p:nvPr>
            <p:ph type="ftr" sz="quarter" idx="11"/>
          </p:nvPr>
        </p:nvSpPr>
        <p:spPr>
          <a:xfrm>
            <a:off x="611623" y="6799718"/>
            <a:ext cx="9875782"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endParaRPr lang="de-CH" dirty="0"/>
          </a:p>
        </p:txBody>
      </p:sp>
      <p:sp>
        <p:nvSpPr>
          <p:cNvPr id="5" name="Textplatzhalter 4">
            <a:extLst>
              <a:ext uri="{FF2B5EF4-FFF2-40B4-BE49-F238E27FC236}">
                <a16:creationId xmlns:a16="http://schemas.microsoft.com/office/drawing/2014/main" id="{D98CF490-3399-447A-4FA8-C3B2DB430BEA}"/>
              </a:ext>
            </a:extLst>
          </p:cNvPr>
          <p:cNvSpPr>
            <a:spLocks noGrp="1"/>
          </p:cNvSpPr>
          <p:nvPr>
            <p:ph type="body" idx="12" hasCustomPrompt="1"/>
          </p:nvPr>
        </p:nvSpPr>
        <p:spPr>
          <a:xfrm>
            <a:off x="305816" y="1885212"/>
            <a:ext cx="10181590" cy="4749009"/>
          </a:xfrm>
          <a:prstGeom prst="rect">
            <a:avLst/>
          </a:prstGeom>
        </p:spPr>
        <p:txBody>
          <a:bodyPr wrap="square" lIns="0" tIns="0" rIns="0" bIns="0" anchor="t" anchorCtr="0">
            <a:noAutofit/>
          </a:bodyPr>
          <a:lstStyle>
            <a:lvl1pPr algn="l" defTabSz="284221">
              <a:lnSpc>
                <a:spcPct val="100000"/>
              </a:lnSpc>
              <a:spcBef>
                <a:spcPts val="0"/>
              </a:spcBef>
              <a:spcAft>
                <a:spcPts val="0"/>
              </a:spcAft>
              <a:defRPr sz="2000" b="0">
                <a:solidFill>
                  <a:srgbClr val="003CB4"/>
                </a:solidFill>
                <a:latin typeface="Frutiger for ZKB Light" panose="020B0303030504020204" pitchFamily="34" charset="0"/>
              </a:defRPr>
            </a:lvl1pPr>
            <a:lvl2pPr algn="l">
              <a:lnSpc>
                <a:spcPct val="100000"/>
              </a:lnSpc>
              <a:spcBef>
                <a:spcPts val="0"/>
              </a:spcBef>
              <a:spcAft>
                <a:spcPts val="0"/>
              </a:spcAft>
              <a:defRPr sz="2000" b="0">
                <a:solidFill>
                  <a:srgbClr val="003CB4"/>
                </a:solidFill>
                <a:latin typeface="Frutiger for ZKB Light" panose="020B0303030504020204" pitchFamily="34" charset="0"/>
              </a:defRPr>
            </a:lvl2pPr>
            <a:lvl3pPr algn="l">
              <a:lnSpc>
                <a:spcPct val="100000"/>
              </a:lnSpc>
              <a:spcBef>
                <a:spcPts val="0"/>
              </a:spcBef>
              <a:spcAft>
                <a:spcPts val="0"/>
              </a:spcAft>
              <a:defRPr sz="2000" b="0">
                <a:solidFill>
                  <a:srgbClr val="003CB4"/>
                </a:solidFill>
                <a:latin typeface="Frutiger for ZKB Light" panose="020B0303030504020204" pitchFamily="34" charset="0"/>
              </a:defRPr>
            </a:lvl3pPr>
            <a:lvl4pPr algn="l">
              <a:lnSpc>
                <a:spcPct val="100000"/>
              </a:lnSpc>
              <a:spcBef>
                <a:spcPts val="0"/>
              </a:spcBef>
              <a:spcAft>
                <a:spcPts val="0"/>
              </a:spcAft>
              <a:defRPr sz="2000" b="0">
                <a:solidFill>
                  <a:srgbClr val="003CB4"/>
                </a:solidFill>
                <a:latin typeface="Frutiger for ZKB Light" panose="020B0303030504020204" pitchFamily="34" charset="0"/>
              </a:defRPr>
            </a:lvl4pPr>
            <a:lvl5pPr algn="l">
              <a:lnSpc>
                <a:spcPct val="100000"/>
              </a:lnSpc>
              <a:spcBef>
                <a:spcPts val="0"/>
              </a:spcBef>
              <a:spcAft>
                <a:spcPts val="0"/>
              </a:spcAft>
              <a:defRPr sz="2000" b="0">
                <a:solidFill>
                  <a:srgbClr val="003CB4"/>
                </a:solidFill>
                <a:latin typeface="Frutiger for ZKB Light" panose="020B0303030504020204" pitchFamily="34" charset="0"/>
              </a:defRPr>
            </a:lvl5pPr>
          </a:lstStyle>
          <a:p>
            <a:pPr lvl="0"/>
            <a:r>
              <a:rPr lang="de-CH" dirty="0" err="1"/>
              <a:t>Agendapunkt</a:t>
            </a:r>
            <a:endParaRPr lang="de-CH" dirty="0"/>
          </a:p>
        </p:txBody>
      </p:sp>
    </p:spTree>
    <p:extLst>
      <p:ext uri="{BB962C8B-B14F-4D97-AF65-F5344CB8AC3E}">
        <p14:creationId xmlns:p14="http://schemas.microsoft.com/office/powerpoint/2010/main" val="3446350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Only" preserve="1">
  <p:cSld name="Kapiteltrenn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6A29E3-B721-FC95-7A07-EAA7823540C3}"/>
              </a:ext>
            </a:extLst>
          </p:cNvPr>
          <p:cNvSpPr>
            <a:spLocks noGrp="1"/>
          </p:cNvSpPr>
          <p:nvPr>
            <p:ph type="title" hasCustomPrompt="1"/>
          </p:nvPr>
        </p:nvSpPr>
        <p:spPr>
          <a:xfrm>
            <a:off x="305816" y="1885212"/>
            <a:ext cx="10181590" cy="4749009"/>
          </a:xfrm>
          <a:prstGeom prst="rect">
            <a:avLst/>
          </a:prstGeom>
        </p:spPr>
        <p:txBody>
          <a:bodyPr/>
          <a:lstStyle>
            <a:lvl1pPr algn="l">
              <a:lnSpc>
                <a:spcPct val="95000"/>
              </a:lnSpc>
              <a:spcBef>
                <a:spcPts val="0"/>
              </a:spcBef>
              <a:spcAft>
                <a:spcPts val="0"/>
              </a:spcAft>
              <a:defRPr sz="4800" b="1" i="0" u="none">
                <a:solidFill>
                  <a:srgbClr val="003CB4"/>
                </a:solidFill>
                <a:latin typeface="Frutiger for ZKB Light" panose="020B0303030504020204" pitchFamily="34" charset="0"/>
              </a:defRPr>
            </a:lvl1pPr>
          </a:lstStyle>
          <a:p>
            <a:r>
              <a:rPr lang="de-CH"/>
              <a:t>Kapiteltrennfolie (max. dreizeilig)</a:t>
            </a:r>
            <a:endParaRPr lang="de-CH" dirty="0"/>
          </a:p>
        </p:txBody>
      </p:sp>
    </p:spTree>
    <p:extLst>
      <p:ext uri="{BB962C8B-B14F-4D97-AF65-F5344CB8AC3E}">
        <p14:creationId xmlns:p14="http://schemas.microsoft.com/office/powerpoint/2010/main" val="39364807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Kapiteltrennfolie blau">
    <p:bg>
      <p:bgPr>
        <a:solidFill>
          <a:srgbClr val="003CB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7ECD89-CCA8-53F1-CF12-910AC7002D83}"/>
              </a:ext>
            </a:extLst>
          </p:cNvPr>
          <p:cNvSpPr>
            <a:spLocks noGrp="1"/>
          </p:cNvSpPr>
          <p:nvPr>
            <p:ph type="title" hasCustomPrompt="1"/>
          </p:nvPr>
        </p:nvSpPr>
        <p:spPr>
          <a:xfrm>
            <a:off x="305816" y="1885212"/>
            <a:ext cx="10181590" cy="4749009"/>
          </a:xfrm>
          <a:prstGeom prst="rect">
            <a:avLst/>
          </a:prstGeom>
        </p:spPr>
        <p:txBody>
          <a:bodyPr/>
          <a:lstStyle>
            <a:lvl1pPr algn="l">
              <a:lnSpc>
                <a:spcPct val="95000"/>
              </a:lnSpc>
              <a:spcBef>
                <a:spcPts val="0"/>
              </a:spcBef>
              <a:spcAft>
                <a:spcPts val="0"/>
              </a:spcAft>
              <a:defRPr sz="4800" b="1" i="0" u="none">
                <a:solidFill>
                  <a:srgbClr val="FFFFFF"/>
                </a:solidFill>
                <a:latin typeface="Frutiger for ZKB Light" panose="020B0303030504020204" pitchFamily="34" charset="0"/>
              </a:defRPr>
            </a:lvl1pPr>
          </a:lstStyle>
          <a:p>
            <a:r>
              <a:rPr lang="de-CH"/>
              <a:t>Kapiteltrennfolie (max. dreizeilig)</a:t>
            </a:r>
            <a:endParaRPr lang="de-CH" dirty="0"/>
          </a:p>
        </p:txBody>
      </p:sp>
    </p:spTree>
    <p:extLst>
      <p:ext uri="{BB962C8B-B14F-4D97-AF65-F5344CB8AC3E}">
        <p14:creationId xmlns:p14="http://schemas.microsoft.com/office/powerpoint/2010/main" val="15788350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18C6BE-1711-7682-BB40-A893DF4588D4}"/>
              </a:ext>
            </a:extLst>
          </p:cNvPr>
          <p:cNvSpPr>
            <a:spLocks noGrp="1"/>
          </p:cNvSpPr>
          <p:nvPr>
            <p:ph type="title" hasCustomPrompt="1"/>
          </p:nvPr>
        </p:nvSpPr>
        <p:spPr>
          <a:xfrm>
            <a:off x="305816" y="287819"/>
            <a:ext cx="10181590" cy="863456"/>
          </a:xfrm>
          <a:prstGeom prst="rect">
            <a:avLst/>
          </a:prstGeom>
        </p:spPr>
        <p:txBody>
          <a:bodyPr wrap="square" lIns="0" tIns="0" rIns="0" bIns="0" anchor="t" anchorCtr="0">
            <a:noAutofit/>
          </a:bodyPr>
          <a:lstStyle>
            <a:lvl1pPr algn="l">
              <a:lnSpc>
                <a:spcPct val="95000"/>
              </a:lnSpc>
              <a:spcBef>
                <a:spcPts val="0"/>
              </a:spcBef>
              <a:spcAft>
                <a:spcPts val="0"/>
              </a:spcAft>
              <a:defRPr sz="2800" b="1">
                <a:solidFill>
                  <a:srgbClr val="003CB4"/>
                </a:solidFill>
                <a:latin typeface="Frutiger for ZKB Light" panose="020B0303030504020204" pitchFamily="34" charset="0"/>
              </a:defRPr>
            </a:lvl1pPr>
          </a:lstStyle>
          <a:p>
            <a:r>
              <a:rPr lang="de-CH"/>
              <a:t>Titel (max. zweizeilig)</a:t>
            </a:r>
            <a:endParaRPr lang="de-CH" dirty="0"/>
          </a:p>
        </p:txBody>
      </p:sp>
      <p:sp>
        <p:nvSpPr>
          <p:cNvPr id="3" name="Foliennummernplatzhalter 2">
            <a:extLst>
              <a:ext uri="{FF2B5EF4-FFF2-40B4-BE49-F238E27FC236}">
                <a16:creationId xmlns:a16="http://schemas.microsoft.com/office/drawing/2014/main" id="{126B67E3-20B5-CE26-92DC-956132316B20}"/>
              </a:ext>
            </a:extLst>
          </p:cNvPr>
          <p:cNvSpPr>
            <a:spLocks noGrp="1"/>
          </p:cNvSpPr>
          <p:nvPr>
            <p:ph type="sldNum" sz="quarter" idx="10"/>
          </p:nvPr>
        </p:nvSpPr>
        <p:spPr>
          <a:xfrm>
            <a:off x="305816" y="6799718"/>
            <a:ext cx="305807"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fld id="{DF46F67B-DFC5-4D4D-B823-2A149AD963A3}" type="slidenum">
              <a:rPr lang="de-CH" smtClean="0"/>
              <a:pPr/>
              <a:t>‹#›</a:t>
            </a:fld>
            <a:endParaRPr lang="de-CH" dirty="0"/>
          </a:p>
        </p:txBody>
      </p:sp>
      <p:sp>
        <p:nvSpPr>
          <p:cNvPr id="4" name="Fußzeilenplatzhalter 3">
            <a:extLst>
              <a:ext uri="{FF2B5EF4-FFF2-40B4-BE49-F238E27FC236}">
                <a16:creationId xmlns:a16="http://schemas.microsoft.com/office/drawing/2014/main" id="{28BB3480-9C5E-7A52-1F6C-74993A1054FD}"/>
              </a:ext>
            </a:extLst>
          </p:cNvPr>
          <p:cNvSpPr>
            <a:spLocks noGrp="1"/>
          </p:cNvSpPr>
          <p:nvPr>
            <p:ph type="ftr" sz="quarter" idx="11"/>
          </p:nvPr>
        </p:nvSpPr>
        <p:spPr>
          <a:xfrm>
            <a:off x="611623" y="6799718"/>
            <a:ext cx="9875782"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endParaRPr lang="de-CH" dirty="0"/>
          </a:p>
        </p:txBody>
      </p:sp>
      <p:sp>
        <p:nvSpPr>
          <p:cNvPr id="5" name="Textplatzhalter 4">
            <a:extLst>
              <a:ext uri="{FF2B5EF4-FFF2-40B4-BE49-F238E27FC236}">
                <a16:creationId xmlns:a16="http://schemas.microsoft.com/office/drawing/2014/main" id="{8D1FB206-7E65-95A5-4FE0-46039EB918FE}"/>
              </a:ext>
            </a:extLst>
          </p:cNvPr>
          <p:cNvSpPr>
            <a:spLocks noGrp="1"/>
          </p:cNvSpPr>
          <p:nvPr>
            <p:ph type="body" idx="12"/>
          </p:nvPr>
        </p:nvSpPr>
        <p:spPr>
          <a:xfrm>
            <a:off x="305816" y="1885212"/>
            <a:ext cx="10181590" cy="4749009"/>
          </a:xfrm>
          <a:prstGeom prst="rect">
            <a:avLst/>
          </a:prstGeom>
        </p:spPr>
        <p:txBody>
          <a:bodyPr wrap="square" lIns="0" tIns="0" rIns="0" bIns="0" anchor="t" anchorCtr="0">
            <a:noAutofit/>
          </a:bodyPr>
          <a:lstStyle>
            <a:lvl1pPr algn="l" defTabSz="284221">
              <a:lnSpc>
                <a:spcPct val="100000"/>
              </a:lnSpc>
              <a:spcBef>
                <a:spcPts val="0"/>
              </a:spcBef>
              <a:spcAft>
                <a:spcPts val="0"/>
              </a:spcAft>
              <a:defRPr sz="1600" b="0">
                <a:solidFill>
                  <a:srgbClr val="003CB4"/>
                </a:solidFill>
                <a:latin typeface="Frutiger for ZKB Light" panose="020B0303030504020204" pitchFamily="34" charset="0"/>
              </a:defRPr>
            </a:lvl1pPr>
            <a:lvl2pPr algn="l">
              <a:lnSpc>
                <a:spcPct val="100000"/>
              </a:lnSpc>
              <a:spcBef>
                <a:spcPts val="0"/>
              </a:spcBef>
              <a:spcAft>
                <a:spcPts val="0"/>
              </a:spcAft>
              <a:defRPr sz="1600" b="0">
                <a:solidFill>
                  <a:srgbClr val="003CB4"/>
                </a:solidFill>
                <a:latin typeface="Frutiger for ZKB Light" panose="020B0303030504020204" pitchFamily="34" charset="0"/>
              </a:defRPr>
            </a:lvl2pPr>
            <a:lvl3pPr algn="l">
              <a:lnSpc>
                <a:spcPct val="100000"/>
              </a:lnSpc>
              <a:spcBef>
                <a:spcPts val="0"/>
              </a:spcBef>
              <a:spcAft>
                <a:spcPts val="0"/>
              </a:spcAft>
              <a:defRPr sz="1600" b="0">
                <a:solidFill>
                  <a:srgbClr val="003CB4"/>
                </a:solidFill>
                <a:latin typeface="Frutiger for ZKB Light" panose="020B0303030504020204" pitchFamily="34" charset="0"/>
              </a:defRPr>
            </a:lvl3pPr>
            <a:lvl4pPr algn="l">
              <a:lnSpc>
                <a:spcPct val="100000"/>
              </a:lnSpc>
              <a:spcBef>
                <a:spcPts val="0"/>
              </a:spcBef>
              <a:spcAft>
                <a:spcPts val="0"/>
              </a:spcAft>
              <a:defRPr sz="1600" b="0">
                <a:solidFill>
                  <a:srgbClr val="003CB4"/>
                </a:solidFill>
                <a:latin typeface="Frutiger for ZKB Light" panose="020B0303030504020204" pitchFamily="34" charset="0"/>
              </a:defRPr>
            </a:lvl4pPr>
            <a:lvl5pPr algn="l">
              <a:lnSpc>
                <a:spcPct val="100000"/>
              </a:lnSpc>
              <a:spcBef>
                <a:spcPts val="0"/>
              </a:spcBef>
              <a:spcAft>
                <a:spcPts val="0"/>
              </a:spcAft>
              <a:defRPr sz="1600" b="0">
                <a:solidFill>
                  <a:srgbClr val="003CB4"/>
                </a:solidFill>
                <a:latin typeface="Frutiger for ZKB Light" panose="020B0303030504020204" pitchFamily="34" charset="0"/>
              </a:defRPr>
            </a:lvl5pPr>
          </a:lstStyle>
          <a:p>
            <a:pPr lvl="0"/>
            <a:r>
              <a:rPr lang="de-DE"/>
              <a:t>Mastertextformat bearbeiten</a:t>
            </a:r>
          </a:p>
        </p:txBody>
      </p:sp>
    </p:spTree>
    <p:extLst>
      <p:ext uri="{BB962C8B-B14F-4D97-AF65-F5344CB8AC3E}">
        <p14:creationId xmlns:p14="http://schemas.microsoft.com/office/powerpoint/2010/main" val="39284524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2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8F4A75C-F916-4BBB-C762-C7B82E3D614D}"/>
              </a:ext>
            </a:extLst>
          </p:cNvPr>
          <p:cNvSpPr>
            <a:spLocks noGrp="1"/>
          </p:cNvSpPr>
          <p:nvPr>
            <p:ph type="title" hasCustomPrompt="1"/>
          </p:nvPr>
        </p:nvSpPr>
        <p:spPr>
          <a:xfrm>
            <a:off x="305816" y="287819"/>
            <a:ext cx="10181590" cy="863456"/>
          </a:xfrm>
          <a:prstGeom prst="rect">
            <a:avLst/>
          </a:prstGeom>
        </p:spPr>
        <p:txBody>
          <a:bodyPr wrap="square" lIns="0" tIns="0" rIns="0" bIns="0" anchor="t" anchorCtr="0">
            <a:noAutofit/>
          </a:bodyPr>
          <a:lstStyle>
            <a:lvl1pPr algn="l">
              <a:lnSpc>
                <a:spcPct val="95000"/>
              </a:lnSpc>
              <a:spcBef>
                <a:spcPts val="0"/>
              </a:spcBef>
              <a:spcAft>
                <a:spcPts val="0"/>
              </a:spcAft>
              <a:defRPr sz="2800" b="1">
                <a:solidFill>
                  <a:srgbClr val="003CB4"/>
                </a:solidFill>
                <a:latin typeface="Frutiger for ZKB Light" panose="020B0303030504020204" pitchFamily="34" charset="0"/>
              </a:defRPr>
            </a:lvl1pPr>
          </a:lstStyle>
          <a:p>
            <a:r>
              <a:rPr lang="de-CH"/>
              <a:t>Titel (max. zweizeilig)</a:t>
            </a:r>
            <a:endParaRPr lang="de-CH" dirty="0"/>
          </a:p>
        </p:txBody>
      </p:sp>
      <p:sp>
        <p:nvSpPr>
          <p:cNvPr id="3" name="Foliennummernplatzhalter 2">
            <a:extLst>
              <a:ext uri="{FF2B5EF4-FFF2-40B4-BE49-F238E27FC236}">
                <a16:creationId xmlns:a16="http://schemas.microsoft.com/office/drawing/2014/main" id="{B35A555B-E14C-1089-F1E0-19263815DFFB}"/>
              </a:ext>
            </a:extLst>
          </p:cNvPr>
          <p:cNvSpPr>
            <a:spLocks noGrp="1"/>
          </p:cNvSpPr>
          <p:nvPr>
            <p:ph type="sldNum" sz="quarter" idx="10"/>
          </p:nvPr>
        </p:nvSpPr>
        <p:spPr>
          <a:xfrm>
            <a:off x="305816" y="6799718"/>
            <a:ext cx="305807"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fld id="{DF46F67B-DFC5-4D4D-B823-2A149AD963A3}" type="slidenum">
              <a:rPr lang="de-CH" smtClean="0"/>
              <a:pPr/>
              <a:t>‹#›</a:t>
            </a:fld>
            <a:endParaRPr lang="de-CH" dirty="0"/>
          </a:p>
        </p:txBody>
      </p:sp>
      <p:sp>
        <p:nvSpPr>
          <p:cNvPr id="4" name="Fußzeilenplatzhalter 3">
            <a:extLst>
              <a:ext uri="{FF2B5EF4-FFF2-40B4-BE49-F238E27FC236}">
                <a16:creationId xmlns:a16="http://schemas.microsoft.com/office/drawing/2014/main" id="{20BAC495-E2B9-11BA-4B37-AE93E7D2C83E}"/>
              </a:ext>
            </a:extLst>
          </p:cNvPr>
          <p:cNvSpPr>
            <a:spLocks noGrp="1"/>
          </p:cNvSpPr>
          <p:nvPr>
            <p:ph type="ftr" sz="quarter" idx="11"/>
          </p:nvPr>
        </p:nvSpPr>
        <p:spPr>
          <a:xfrm>
            <a:off x="611623" y="6799718"/>
            <a:ext cx="9875782"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endParaRPr lang="de-CH" dirty="0"/>
          </a:p>
        </p:txBody>
      </p:sp>
      <p:sp>
        <p:nvSpPr>
          <p:cNvPr id="5" name="Inhaltsplatzhalter 4">
            <a:extLst>
              <a:ext uri="{FF2B5EF4-FFF2-40B4-BE49-F238E27FC236}">
                <a16:creationId xmlns:a16="http://schemas.microsoft.com/office/drawing/2014/main" id="{7BA0856B-745A-C4FD-017F-283D91F7390D}"/>
              </a:ext>
            </a:extLst>
          </p:cNvPr>
          <p:cNvSpPr>
            <a:spLocks noGrp="1"/>
          </p:cNvSpPr>
          <p:nvPr>
            <p:ph idx="12" hasCustomPrompt="1"/>
          </p:nvPr>
        </p:nvSpPr>
        <p:spPr>
          <a:xfrm>
            <a:off x="305816" y="1885212"/>
            <a:ext cx="5978062" cy="4749009"/>
          </a:xfrm>
          <a:prstGeom prst="rect">
            <a:avLst/>
          </a:prstGeom>
        </p:spPr>
        <p:txBody>
          <a:bodyPr wrap="square" lIns="0" tIns="0" rIns="0" bIns="0" anchor="t" anchorCtr="0">
            <a:noAutofit/>
          </a:bodyPr>
          <a:lstStyle>
            <a:lvl1pPr algn="l" defTabSz="284221">
              <a:lnSpc>
                <a:spcPct val="100000"/>
              </a:lnSpc>
              <a:spcBef>
                <a:spcPts val="0"/>
              </a:spcBef>
              <a:spcAft>
                <a:spcPts val="0"/>
              </a:spcAft>
              <a:defRPr sz="1600" b="0">
                <a:solidFill>
                  <a:srgbClr val="003CB4"/>
                </a:solidFill>
                <a:latin typeface="Frutiger for ZKB Light" panose="020B0303030504020204" pitchFamily="34" charset="0"/>
              </a:defRPr>
            </a:lvl1pPr>
            <a:lvl2pPr algn="l">
              <a:lnSpc>
                <a:spcPct val="100000"/>
              </a:lnSpc>
              <a:spcBef>
                <a:spcPts val="0"/>
              </a:spcBef>
              <a:spcAft>
                <a:spcPts val="0"/>
              </a:spcAft>
              <a:defRPr sz="1600" b="0">
                <a:solidFill>
                  <a:srgbClr val="003CB4"/>
                </a:solidFill>
                <a:latin typeface="Frutiger for ZKB Light" panose="020B0303030504020204" pitchFamily="34" charset="0"/>
              </a:defRPr>
            </a:lvl2pPr>
            <a:lvl3pPr algn="l">
              <a:lnSpc>
                <a:spcPct val="100000"/>
              </a:lnSpc>
              <a:spcBef>
                <a:spcPts val="0"/>
              </a:spcBef>
              <a:spcAft>
                <a:spcPts val="0"/>
              </a:spcAft>
              <a:defRPr sz="1600" b="0">
                <a:solidFill>
                  <a:srgbClr val="003CB4"/>
                </a:solidFill>
                <a:latin typeface="Frutiger for ZKB Light" panose="020B0303030504020204" pitchFamily="34" charset="0"/>
              </a:defRPr>
            </a:lvl3pPr>
            <a:lvl4pPr algn="l">
              <a:lnSpc>
                <a:spcPct val="100000"/>
              </a:lnSpc>
              <a:spcBef>
                <a:spcPts val="0"/>
              </a:spcBef>
              <a:spcAft>
                <a:spcPts val="0"/>
              </a:spcAft>
              <a:defRPr sz="1600" b="0">
                <a:solidFill>
                  <a:srgbClr val="003CB4"/>
                </a:solidFill>
                <a:latin typeface="Frutiger for ZKB Light" panose="020B0303030504020204" pitchFamily="34" charset="0"/>
              </a:defRPr>
            </a:lvl4pPr>
            <a:lvl5pPr algn="l">
              <a:lnSpc>
                <a:spcPct val="100000"/>
              </a:lnSpc>
              <a:spcBef>
                <a:spcPts val="0"/>
              </a:spcBef>
              <a:spcAft>
                <a:spcPts val="0"/>
              </a:spcAft>
              <a:defRPr sz="1600" b="0">
                <a:solidFill>
                  <a:srgbClr val="003CB4"/>
                </a:solidFill>
                <a:latin typeface="Frutiger for ZKB Light" panose="020B0303030504020204" pitchFamily="34" charset="0"/>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6" name="Inhaltsplatzhalter 5">
            <a:extLst>
              <a:ext uri="{FF2B5EF4-FFF2-40B4-BE49-F238E27FC236}">
                <a16:creationId xmlns:a16="http://schemas.microsoft.com/office/drawing/2014/main" id="{22814876-CE70-86F0-D8E3-B9AB5CC2106B}"/>
              </a:ext>
            </a:extLst>
          </p:cNvPr>
          <p:cNvSpPr>
            <a:spLocks noGrp="1"/>
          </p:cNvSpPr>
          <p:nvPr>
            <p:ph sz="quarter" idx="13" hasCustomPrompt="1"/>
          </p:nvPr>
        </p:nvSpPr>
        <p:spPr>
          <a:xfrm>
            <a:off x="6571697" y="1885212"/>
            <a:ext cx="5978062" cy="4749009"/>
          </a:xfrm>
          <a:prstGeom prst="rect">
            <a:avLst/>
          </a:prstGeom>
        </p:spPr>
        <p:txBody>
          <a:bodyPr wrap="square" lIns="0" tIns="0" rIns="0" bIns="0" anchor="t" anchorCtr="0">
            <a:noAutofit/>
          </a:bodyPr>
          <a:lstStyle>
            <a:lvl1pPr algn="l" defTabSz="284221">
              <a:lnSpc>
                <a:spcPct val="100000"/>
              </a:lnSpc>
              <a:spcBef>
                <a:spcPts val="0"/>
              </a:spcBef>
              <a:spcAft>
                <a:spcPts val="0"/>
              </a:spcAft>
              <a:defRPr sz="1600" b="0">
                <a:solidFill>
                  <a:srgbClr val="003CB4"/>
                </a:solidFill>
                <a:latin typeface="Frutiger for ZKB Light" panose="020B0303030504020204" pitchFamily="34" charset="0"/>
              </a:defRPr>
            </a:lvl1pPr>
            <a:lvl2pPr algn="l">
              <a:lnSpc>
                <a:spcPct val="100000"/>
              </a:lnSpc>
              <a:spcBef>
                <a:spcPts val="0"/>
              </a:spcBef>
              <a:spcAft>
                <a:spcPts val="0"/>
              </a:spcAft>
              <a:defRPr sz="1600" b="0">
                <a:solidFill>
                  <a:srgbClr val="003CB4"/>
                </a:solidFill>
                <a:latin typeface="Frutiger for ZKB Light" panose="020B0303030504020204" pitchFamily="34" charset="0"/>
              </a:defRPr>
            </a:lvl2pPr>
            <a:lvl3pPr algn="l">
              <a:lnSpc>
                <a:spcPct val="100000"/>
              </a:lnSpc>
              <a:spcBef>
                <a:spcPts val="0"/>
              </a:spcBef>
              <a:spcAft>
                <a:spcPts val="0"/>
              </a:spcAft>
              <a:defRPr sz="1600" b="0">
                <a:solidFill>
                  <a:srgbClr val="003CB4"/>
                </a:solidFill>
                <a:latin typeface="Frutiger for ZKB Light" panose="020B0303030504020204" pitchFamily="34" charset="0"/>
              </a:defRPr>
            </a:lvl3pPr>
            <a:lvl4pPr algn="l">
              <a:lnSpc>
                <a:spcPct val="100000"/>
              </a:lnSpc>
              <a:spcBef>
                <a:spcPts val="0"/>
              </a:spcBef>
              <a:spcAft>
                <a:spcPts val="0"/>
              </a:spcAft>
              <a:defRPr sz="1600" b="0">
                <a:solidFill>
                  <a:srgbClr val="003CB4"/>
                </a:solidFill>
                <a:latin typeface="Frutiger for ZKB Light" panose="020B0303030504020204" pitchFamily="34" charset="0"/>
              </a:defRPr>
            </a:lvl4pPr>
            <a:lvl5pPr algn="l">
              <a:lnSpc>
                <a:spcPct val="100000"/>
              </a:lnSpc>
              <a:spcBef>
                <a:spcPts val="0"/>
              </a:spcBef>
              <a:spcAft>
                <a:spcPts val="0"/>
              </a:spcAft>
              <a:defRPr sz="1600" b="0">
                <a:solidFill>
                  <a:srgbClr val="003CB4"/>
                </a:solidFill>
                <a:latin typeface="Frutiger for ZKB Light" panose="020B0303030504020204" pitchFamily="34" charset="0"/>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Tree>
    <p:extLst>
      <p:ext uri="{BB962C8B-B14F-4D97-AF65-F5344CB8AC3E}">
        <p14:creationId xmlns:p14="http://schemas.microsoft.com/office/powerpoint/2010/main" val="32946045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2 Spalten mit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32250C-4FC6-E157-1E58-C36235997FD9}"/>
              </a:ext>
            </a:extLst>
          </p:cNvPr>
          <p:cNvSpPr>
            <a:spLocks noGrp="1"/>
          </p:cNvSpPr>
          <p:nvPr>
            <p:ph type="title" hasCustomPrompt="1"/>
          </p:nvPr>
        </p:nvSpPr>
        <p:spPr>
          <a:xfrm>
            <a:off x="305816" y="287819"/>
            <a:ext cx="10181590" cy="863456"/>
          </a:xfrm>
          <a:prstGeom prst="rect">
            <a:avLst/>
          </a:prstGeom>
        </p:spPr>
        <p:txBody>
          <a:bodyPr wrap="square" lIns="0" tIns="0" rIns="0" bIns="0" anchor="t" anchorCtr="0">
            <a:noAutofit/>
          </a:bodyPr>
          <a:lstStyle>
            <a:lvl1pPr algn="l">
              <a:lnSpc>
                <a:spcPct val="95000"/>
              </a:lnSpc>
              <a:spcBef>
                <a:spcPts val="0"/>
              </a:spcBef>
              <a:spcAft>
                <a:spcPts val="0"/>
              </a:spcAft>
              <a:defRPr sz="2800" b="1">
                <a:solidFill>
                  <a:srgbClr val="003CB4"/>
                </a:solidFill>
                <a:latin typeface="Frutiger for ZKB Light" panose="020B0303030504020204" pitchFamily="34" charset="0"/>
              </a:defRPr>
            </a:lvl1pPr>
          </a:lstStyle>
          <a:p>
            <a:r>
              <a:rPr lang="de-CH"/>
              <a:t>Titel (max. zweizeilig)</a:t>
            </a:r>
            <a:endParaRPr lang="de-CH" dirty="0"/>
          </a:p>
        </p:txBody>
      </p:sp>
      <p:sp>
        <p:nvSpPr>
          <p:cNvPr id="3" name="Foliennummernplatzhalter 2">
            <a:extLst>
              <a:ext uri="{FF2B5EF4-FFF2-40B4-BE49-F238E27FC236}">
                <a16:creationId xmlns:a16="http://schemas.microsoft.com/office/drawing/2014/main" id="{E8CAAB6A-0383-42BA-C3C6-3ACEB23AA4B2}"/>
              </a:ext>
            </a:extLst>
          </p:cNvPr>
          <p:cNvSpPr>
            <a:spLocks noGrp="1"/>
          </p:cNvSpPr>
          <p:nvPr>
            <p:ph type="sldNum" sz="quarter" idx="10"/>
          </p:nvPr>
        </p:nvSpPr>
        <p:spPr>
          <a:xfrm>
            <a:off x="305816" y="6799718"/>
            <a:ext cx="305807"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fld id="{DF46F67B-DFC5-4D4D-B823-2A149AD963A3}" type="slidenum">
              <a:rPr lang="de-CH" smtClean="0"/>
              <a:pPr/>
              <a:t>‹#›</a:t>
            </a:fld>
            <a:endParaRPr lang="de-CH" dirty="0"/>
          </a:p>
        </p:txBody>
      </p:sp>
      <p:sp>
        <p:nvSpPr>
          <p:cNvPr id="4" name="Fußzeilenplatzhalter 3">
            <a:extLst>
              <a:ext uri="{FF2B5EF4-FFF2-40B4-BE49-F238E27FC236}">
                <a16:creationId xmlns:a16="http://schemas.microsoft.com/office/drawing/2014/main" id="{DDF3EC20-05C3-76EB-FF1E-B5346B867479}"/>
              </a:ext>
            </a:extLst>
          </p:cNvPr>
          <p:cNvSpPr>
            <a:spLocks noGrp="1"/>
          </p:cNvSpPr>
          <p:nvPr>
            <p:ph type="ftr" sz="quarter" idx="11"/>
          </p:nvPr>
        </p:nvSpPr>
        <p:spPr>
          <a:xfrm>
            <a:off x="611623" y="6799718"/>
            <a:ext cx="9875782"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endParaRPr lang="de-CH" dirty="0"/>
          </a:p>
        </p:txBody>
      </p:sp>
      <p:sp>
        <p:nvSpPr>
          <p:cNvPr id="5" name="Inhaltsplatzhalter 4">
            <a:extLst>
              <a:ext uri="{FF2B5EF4-FFF2-40B4-BE49-F238E27FC236}">
                <a16:creationId xmlns:a16="http://schemas.microsoft.com/office/drawing/2014/main" id="{291030FD-48D8-BCF6-7B28-C54E16A06BE7}"/>
              </a:ext>
            </a:extLst>
          </p:cNvPr>
          <p:cNvSpPr>
            <a:spLocks noGrp="1"/>
          </p:cNvSpPr>
          <p:nvPr>
            <p:ph idx="12" hasCustomPrompt="1"/>
          </p:nvPr>
        </p:nvSpPr>
        <p:spPr>
          <a:xfrm>
            <a:off x="305816" y="2532804"/>
            <a:ext cx="5978062" cy="4101417"/>
          </a:xfrm>
          <a:prstGeom prst="rect">
            <a:avLst/>
          </a:prstGeom>
        </p:spPr>
        <p:txBody>
          <a:bodyPr wrap="square" lIns="0" tIns="0" rIns="0" bIns="0" anchor="t" anchorCtr="0">
            <a:noAutofit/>
          </a:bodyPr>
          <a:lstStyle>
            <a:lvl1pPr algn="l" defTabSz="284221">
              <a:lnSpc>
                <a:spcPct val="100000"/>
              </a:lnSpc>
              <a:spcBef>
                <a:spcPts val="0"/>
              </a:spcBef>
              <a:spcAft>
                <a:spcPts val="0"/>
              </a:spcAft>
              <a:defRPr sz="1600" b="0">
                <a:solidFill>
                  <a:srgbClr val="003CB4"/>
                </a:solidFill>
                <a:latin typeface="Frutiger for ZKB Light" panose="020B0303030504020204" pitchFamily="34" charset="0"/>
              </a:defRPr>
            </a:lvl1pPr>
            <a:lvl2pPr algn="l">
              <a:lnSpc>
                <a:spcPct val="100000"/>
              </a:lnSpc>
              <a:spcBef>
                <a:spcPts val="0"/>
              </a:spcBef>
              <a:spcAft>
                <a:spcPts val="0"/>
              </a:spcAft>
              <a:defRPr sz="1600" b="0">
                <a:solidFill>
                  <a:srgbClr val="003CB4"/>
                </a:solidFill>
                <a:latin typeface="Frutiger for ZKB Light" panose="020B0303030504020204" pitchFamily="34" charset="0"/>
              </a:defRPr>
            </a:lvl2pPr>
            <a:lvl3pPr algn="l">
              <a:lnSpc>
                <a:spcPct val="100000"/>
              </a:lnSpc>
              <a:spcBef>
                <a:spcPts val="0"/>
              </a:spcBef>
              <a:spcAft>
                <a:spcPts val="0"/>
              </a:spcAft>
              <a:defRPr sz="1600" b="0">
                <a:solidFill>
                  <a:srgbClr val="003CB4"/>
                </a:solidFill>
                <a:latin typeface="Frutiger for ZKB Light" panose="020B0303030504020204" pitchFamily="34" charset="0"/>
              </a:defRPr>
            </a:lvl3pPr>
            <a:lvl4pPr algn="l">
              <a:lnSpc>
                <a:spcPct val="100000"/>
              </a:lnSpc>
              <a:spcBef>
                <a:spcPts val="0"/>
              </a:spcBef>
              <a:spcAft>
                <a:spcPts val="0"/>
              </a:spcAft>
              <a:defRPr sz="1600" b="0">
                <a:solidFill>
                  <a:srgbClr val="003CB4"/>
                </a:solidFill>
                <a:latin typeface="Frutiger for ZKB Light" panose="020B0303030504020204" pitchFamily="34" charset="0"/>
              </a:defRPr>
            </a:lvl4pPr>
            <a:lvl5pPr algn="l">
              <a:lnSpc>
                <a:spcPct val="100000"/>
              </a:lnSpc>
              <a:spcBef>
                <a:spcPts val="0"/>
              </a:spcBef>
              <a:spcAft>
                <a:spcPts val="0"/>
              </a:spcAft>
              <a:defRPr sz="1600" b="0">
                <a:solidFill>
                  <a:srgbClr val="003CB4"/>
                </a:solidFill>
                <a:latin typeface="Frutiger for ZKB Light" panose="020B0303030504020204" pitchFamily="34" charset="0"/>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6" name="Inhaltsplatzhalter 5">
            <a:extLst>
              <a:ext uri="{FF2B5EF4-FFF2-40B4-BE49-F238E27FC236}">
                <a16:creationId xmlns:a16="http://schemas.microsoft.com/office/drawing/2014/main" id="{7168B6A3-25D0-3CE9-E422-F5B8A2971658}"/>
              </a:ext>
            </a:extLst>
          </p:cNvPr>
          <p:cNvSpPr>
            <a:spLocks noGrp="1"/>
          </p:cNvSpPr>
          <p:nvPr>
            <p:ph sz="quarter" idx="13" hasCustomPrompt="1"/>
          </p:nvPr>
        </p:nvSpPr>
        <p:spPr>
          <a:xfrm>
            <a:off x="6571697" y="2532804"/>
            <a:ext cx="5978062" cy="4101417"/>
          </a:xfrm>
          <a:prstGeom prst="rect">
            <a:avLst/>
          </a:prstGeom>
        </p:spPr>
        <p:txBody>
          <a:bodyPr wrap="square" lIns="0" tIns="0" rIns="0" bIns="0" anchor="t" anchorCtr="0">
            <a:noAutofit/>
          </a:bodyPr>
          <a:lstStyle>
            <a:lvl1pPr algn="l" defTabSz="284221">
              <a:lnSpc>
                <a:spcPct val="100000"/>
              </a:lnSpc>
              <a:spcBef>
                <a:spcPts val="0"/>
              </a:spcBef>
              <a:spcAft>
                <a:spcPts val="0"/>
              </a:spcAft>
              <a:defRPr sz="1600" b="0">
                <a:solidFill>
                  <a:srgbClr val="003CB4"/>
                </a:solidFill>
                <a:latin typeface="Frutiger for ZKB Light" panose="020B0303030504020204" pitchFamily="34" charset="0"/>
              </a:defRPr>
            </a:lvl1pPr>
            <a:lvl2pPr algn="l">
              <a:lnSpc>
                <a:spcPct val="100000"/>
              </a:lnSpc>
              <a:spcBef>
                <a:spcPts val="0"/>
              </a:spcBef>
              <a:spcAft>
                <a:spcPts val="0"/>
              </a:spcAft>
              <a:defRPr sz="1600" b="0">
                <a:solidFill>
                  <a:srgbClr val="003CB4"/>
                </a:solidFill>
                <a:latin typeface="Frutiger for ZKB Light" panose="020B0303030504020204" pitchFamily="34" charset="0"/>
              </a:defRPr>
            </a:lvl2pPr>
            <a:lvl3pPr algn="l">
              <a:lnSpc>
                <a:spcPct val="100000"/>
              </a:lnSpc>
              <a:spcBef>
                <a:spcPts val="0"/>
              </a:spcBef>
              <a:spcAft>
                <a:spcPts val="0"/>
              </a:spcAft>
              <a:defRPr sz="1600" b="0">
                <a:solidFill>
                  <a:srgbClr val="003CB4"/>
                </a:solidFill>
                <a:latin typeface="Frutiger for ZKB Light" panose="020B0303030504020204" pitchFamily="34" charset="0"/>
              </a:defRPr>
            </a:lvl3pPr>
            <a:lvl4pPr algn="l">
              <a:lnSpc>
                <a:spcPct val="100000"/>
              </a:lnSpc>
              <a:spcBef>
                <a:spcPts val="0"/>
              </a:spcBef>
              <a:spcAft>
                <a:spcPts val="0"/>
              </a:spcAft>
              <a:defRPr sz="1600" b="0">
                <a:solidFill>
                  <a:srgbClr val="003CB4"/>
                </a:solidFill>
                <a:latin typeface="Frutiger for ZKB Light" panose="020B0303030504020204" pitchFamily="34" charset="0"/>
              </a:defRPr>
            </a:lvl4pPr>
            <a:lvl5pPr algn="l">
              <a:lnSpc>
                <a:spcPct val="100000"/>
              </a:lnSpc>
              <a:spcBef>
                <a:spcPts val="0"/>
              </a:spcBef>
              <a:spcAft>
                <a:spcPts val="0"/>
              </a:spcAft>
              <a:defRPr sz="1600" b="0">
                <a:solidFill>
                  <a:srgbClr val="003CB4"/>
                </a:solidFill>
                <a:latin typeface="Frutiger for ZKB Light" panose="020B0303030504020204" pitchFamily="34" charset="0"/>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7" name="Textplatzhalter 6">
            <a:extLst>
              <a:ext uri="{FF2B5EF4-FFF2-40B4-BE49-F238E27FC236}">
                <a16:creationId xmlns:a16="http://schemas.microsoft.com/office/drawing/2014/main" id="{736221A3-5F93-2D83-D956-206FC829253D}"/>
              </a:ext>
            </a:extLst>
          </p:cNvPr>
          <p:cNvSpPr>
            <a:spLocks noGrp="1"/>
          </p:cNvSpPr>
          <p:nvPr>
            <p:ph type="body" sz="quarter" idx="14" hasCustomPrompt="1"/>
          </p:nvPr>
        </p:nvSpPr>
        <p:spPr>
          <a:xfrm>
            <a:off x="305816" y="1885212"/>
            <a:ext cx="5978062" cy="647592"/>
          </a:xfrm>
          <a:prstGeom prst="rect">
            <a:avLst/>
          </a:prstGeom>
        </p:spPr>
        <p:txBody>
          <a:bodyPr lIns="0" tIns="0" rIns="0" bIns="0"/>
          <a:lstStyle>
            <a:lvl1pPr algn="l">
              <a:lnSpc>
                <a:spcPct val="100000"/>
              </a:lnSpc>
              <a:spcBef>
                <a:spcPts val="0"/>
              </a:spcBef>
              <a:spcAft>
                <a:spcPts val="0"/>
              </a:spcAft>
              <a:defRPr sz="2000" b="1" i="0" u="none">
                <a:solidFill>
                  <a:srgbClr val="003CB4"/>
                </a:solidFill>
                <a:latin typeface="Frutiger for ZKB Light" panose="020B0303030504020204" pitchFamily="34" charset="0"/>
              </a:defRPr>
            </a:lvl1pPr>
          </a:lstStyle>
          <a:p>
            <a:pPr lvl="0"/>
            <a:r>
              <a:rPr lang="de-CH"/>
              <a:t>Untertitel</a:t>
            </a:r>
            <a:endParaRPr lang="de-CH" dirty="0"/>
          </a:p>
        </p:txBody>
      </p:sp>
      <p:sp>
        <p:nvSpPr>
          <p:cNvPr id="8" name="Textplatzhalter 7">
            <a:extLst>
              <a:ext uri="{FF2B5EF4-FFF2-40B4-BE49-F238E27FC236}">
                <a16:creationId xmlns:a16="http://schemas.microsoft.com/office/drawing/2014/main" id="{6C991335-357B-ACA8-4198-AD27EBDBF055}"/>
              </a:ext>
            </a:extLst>
          </p:cNvPr>
          <p:cNvSpPr>
            <a:spLocks noGrp="1"/>
          </p:cNvSpPr>
          <p:nvPr>
            <p:ph type="body" sz="quarter" idx="15" hasCustomPrompt="1"/>
          </p:nvPr>
        </p:nvSpPr>
        <p:spPr>
          <a:xfrm>
            <a:off x="6571697" y="1885212"/>
            <a:ext cx="5978062" cy="647592"/>
          </a:xfrm>
          <a:prstGeom prst="rect">
            <a:avLst/>
          </a:prstGeom>
        </p:spPr>
        <p:txBody>
          <a:bodyPr lIns="0" tIns="0" rIns="0" bIns="0"/>
          <a:lstStyle>
            <a:lvl1pPr algn="l">
              <a:lnSpc>
                <a:spcPct val="100000"/>
              </a:lnSpc>
              <a:spcBef>
                <a:spcPts val="0"/>
              </a:spcBef>
              <a:spcAft>
                <a:spcPts val="0"/>
              </a:spcAft>
              <a:defRPr sz="2000" b="1" i="0" u="none">
                <a:solidFill>
                  <a:srgbClr val="003CB4"/>
                </a:solidFill>
                <a:latin typeface="Frutiger for ZKB Light" panose="020B0303030504020204" pitchFamily="34" charset="0"/>
              </a:defRPr>
            </a:lvl1pPr>
          </a:lstStyle>
          <a:p>
            <a:pPr lvl="0"/>
            <a:r>
              <a:rPr lang="de-CH"/>
              <a:t>Untertitel</a:t>
            </a:r>
            <a:endParaRPr lang="de-CH" dirty="0"/>
          </a:p>
        </p:txBody>
      </p:sp>
    </p:spTree>
    <p:extLst>
      <p:ext uri="{BB962C8B-B14F-4D97-AF65-F5344CB8AC3E}">
        <p14:creationId xmlns:p14="http://schemas.microsoft.com/office/powerpoint/2010/main" val="12202620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5.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DB6EDB5-D8D6-24D3-CC32-C570F3C69817}"/>
              </a:ext>
            </a:extLst>
          </p:cNvPr>
          <p:cNvGraphicFramePr>
            <a:graphicFrameLocks noChangeAspect="1"/>
          </p:cNvGraphicFramePr>
          <p:nvPr userDrawn="1">
            <p:custDataLst>
              <p:tags r:id="rId18"/>
            </p:custDataLst>
            <p:extLst>
              <p:ext uri="{D42A27DB-BD31-4B8C-83A1-F6EECF244321}">
                <p14:modId xmlns:p14="http://schemas.microsoft.com/office/powerpoint/2010/main" val="945293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9" imgW="272" imgH="272" progId="TCLayout.ActiveDocument.1">
                  <p:embed/>
                </p:oleObj>
              </mc:Choice>
              <mc:Fallback>
                <p:oleObj name="think-cell Folie" r:id="rId19" imgW="272" imgH="272"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DDF99523-94D4-C41A-C338-AD631B94DF5C}"/>
              </a:ext>
            </a:extLst>
          </p:cNvPr>
          <p:cNvSpPr>
            <a:spLocks noGrp="1"/>
          </p:cNvSpPr>
          <p:nvPr>
            <p:ph type="title"/>
          </p:nvPr>
        </p:nvSpPr>
        <p:spPr>
          <a:xfrm>
            <a:off x="305816" y="287819"/>
            <a:ext cx="10181590" cy="863456"/>
          </a:xfrm>
          <a:prstGeom prst="rect">
            <a:avLst/>
          </a:prstGeom>
        </p:spPr>
        <p:txBody>
          <a:bodyPr vert="horz" wrap="square" lIns="0" tIns="0" rIns="0" bIns="0" rtlCol="0" anchor="t" anchorCtr="0">
            <a:noAutofit/>
          </a:bodyPr>
          <a:lstStyle/>
          <a:p>
            <a:r>
              <a:rPr lang="de-CH"/>
              <a:t>Titel</a:t>
            </a:r>
            <a:endParaRPr lang="de-CH" dirty="0"/>
          </a:p>
        </p:txBody>
      </p:sp>
      <p:sp>
        <p:nvSpPr>
          <p:cNvPr id="3" name="Textplatzhalter 2">
            <a:extLst>
              <a:ext uri="{FF2B5EF4-FFF2-40B4-BE49-F238E27FC236}">
                <a16:creationId xmlns:a16="http://schemas.microsoft.com/office/drawing/2014/main" id="{EA65C983-545D-FCDD-8BD3-42D3B6812D34}"/>
              </a:ext>
            </a:extLst>
          </p:cNvPr>
          <p:cNvSpPr>
            <a:spLocks noGrp="1"/>
          </p:cNvSpPr>
          <p:nvPr>
            <p:ph type="body" idx="1"/>
          </p:nvPr>
        </p:nvSpPr>
        <p:spPr>
          <a:xfrm>
            <a:off x="305816" y="1885212"/>
            <a:ext cx="10181590" cy="4749009"/>
          </a:xfrm>
          <a:prstGeom prst="rect">
            <a:avLst/>
          </a:prstGeom>
        </p:spPr>
        <p:txBody>
          <a:bodyPr vert="horz" wrap="square" lIns="0" tIns="0" rIns="0" bIns="0" rtlCol="0" anchor="t" anchorCtr="0">
            <a:noAutofit/>
          </a:body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4" name="Foliennummernplatzhalter 3">
            <a:extLst>
              <a:ext uri="{FF2B5EF4-FFF2-40B4-BE49-F238E27FC236}">
                <a16:creationId xmlns:a16="http://schemas.microsoft.com/office/drawing/2014/main" id="{D7A0C85D-F4E4-ABC2-D7CE-74CA5B99939A}"/>
              </a:ext>
            </a:extLst>
          </p:cNvPr>
          <p:cNvSpPr>
            <a:spLocks noGrp="1"/>
          </p:cNvSpPr>
          <p:nvPr>
            <p:ph type="sldNum" sz="quarter" idx="4"/>
          </p:nvPr>
        </p:nvSpPr>
        <p:spPr>
          <a:xfrm>
            <a:off x="305816" y="6799718"/>
            <a:ext cx="305807" cy="190680"/>
          </a:xfrm>
          <a:prstGeom prst="rect">
            <a:avLst/>
          </a:prstGeom>
        </p:spPr>
        <p:txBody>
          <a:bodyPr vert="horz" wrap="none" lIns="0" tIns="0" rIns="0" bIns="0" rtlCol="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fld id="{6331B633-8CDA-4473-8854-D6145CABD259}" type="slidenum">
              <a:rPr lang="de-CH" smtClean="0"/>
              <a:pPr/>
              <a:t>‹#›</a:t>
            </a:fld>
            <a:endParaRPr lang="de-CH" dirty="0"/>
          </a:p>
        </p:txBody>
      </p:sp>
      <p:sp>
        <p:nvSpPr>
          <p:cNvPr id="5" name="Fußzeilenplatzhalter 4">
            <a:extLst>
              <a:ext uri="{FF2B5EF4-FFF2-40B4-BE49-F238E27FC236}">
                <a16:creationId xmlns:a16="http://schemas.microsoft.com/office/drawing/2014/main" id="{A584E349-5505-AAC9-EA85-E967E1FC08BF}"/>
              </a:ext>
            </a:extLst>
          </p:cNvPr>
          <p:cNvSpPr>
            <a:spLocks noGrp="1"/>
          </p:cNvSpPr>
          <p:nvPr>
            <p:ph type="ftr" sz="quarter" idx="3"/>
          </p:nvPr>
        </p:nvSpPr>
        <p:spPr>
          <a:xfrm>
            <a:off x="611622" y="6799718"/>
            <a:ext cx="9875782" cy="190680"/>
          </a:xfrm>
          <a:prstGeom prst="rect">
            <a:avLst/>
          </a:prstGeom>
        </p:spPr>
        <p:txBody>
          <a:bodyPr vert="horz" wrap="none" lIns="0" tIns="0" rIns="0" bIns="0" rtlCol="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endParaRPr lang="de-CH" dirty="0"/>
          </a:p>
        </p:txBody>
      </p:sp>
      <p:pic>
        <p:nvPicPr>
          <p:cNvPr id="11" name="ZKB_LOGO">
            <a:extLst>
              <a:ext uri="{FF2B5EF4-FFF2-40B4-BE49-F238E27FC236}">
                <a16:creationId xmlns:a16="http://schemas.microsoft.com/office/drawing/2014/main" id="{ADEF1D20-4F7E-F39F-3C64-71F2D9E9753B}"/>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11254584" y="353657"/>
            <a:ext cx="1295184" cy="302972"/>
          </a:xfrm>
          <a:prstGeom prst="rect">
            <a:avLst/>
          </a:prstGeom>
        </p:spPr>
      </p:pic>
      <p:grpSp>
        <p:nvGrpSpPr>
          <p:cNvPr id="15" name="StempelA" hidden="1">
            <a:extLst>
              <a:ext uri="{FF2B5EF4-FFF2-40B4-BE49-F238E27FC236}">
                <a16:creationId xmlns:a16="http://schemas.microsoft.com/office/drawing/2014/main" id="{992BA247-688D-C336-92F9-9E2FD8A76CED}"/>
              </a:ext>
            </a:extLst>
          </p:cNvPr>
          <p:cNvGrpSpPr/>
          <p:nvPr userDrawn="1"/>
        </p:nvGrpSpPr>
        <p:grpSpPr>
          <a:xfrm>
            <a:off x="11995120" y="858887"/>
            <a:ext cx="554639" cy="292388"/>
            <a:chOff x="1270000" y="1270000"/>
            <a:chExt cx="554639" cy="292388"/>
          </a:xfrm>
        </p:grpSpPr>
        <p:sp>
          <p:nvSpPr>
            <p:cNvPr id="12" name="Textfeld 11" hidden="1">
              <a:extLst>
                <a:ext uri="{FF2B5EF4-FFF2-40B4-BE49-F238E27FC236}">
                  <a16:creationId xmlns:a16="http://schemas.microsoft.com/office/drawing/2014/main" id="{E129D4B2-5081-4106-6DC1-9FBB67728425}"/>
                </a:ext>
              </a:extLst>
            </p:cNvPr>
            <p:cNvSpPr txBox="1"/>
            <p:nvPr userDrawn="1"/>
          </p:nvSpPr>
          <p:spPr>
            <a:xfrm>
              <a:off x="1270000" y="1270000"/>
              <a:ext cx="55463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285750" algn="l" defTabSz="284221" rtl="0" eaLnBrk="1" fontAlgn="base"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dirty="0" err="1">
                  <a:solidFill>
                    <a:srgbClr val="003CB4"/>
                  </a:solidFill>
                  <a:latin typeface="Frutiger for ZKB Light" panose="020B0303030504020204" pitchFamily="34" charset="0"/>
                </a:rPr>
                <a:t>Draft</a:t>
              </a:r>
              <a:endParaRPr lang="de-CH" sz="1400" b="0" i="0" u="none" dirty="0">
                <a:solidFill>
                  <a:srgbClr val="003CB4"/>
                </a:solidFill>
                <a:latin typeface="Frutiger for ZKB Light" panose="020B0303030504020204" pitchFamily="34" charset="0"/>
              </a:endParaRPr>
            </a:p>
          </p:txBody>
        </p:sp>
        <p:cxnSp>
          <p:nvCxnSpPr>
            <p:cNvPr id="13" name="Gerader Verbinder 12" hidden="1">
              <a:extLst>
                <a:ext uri="{FF2B5EF4-FFF2-40B4-BE49-F238E27FC236}">
                  <a16:creationId xmlns:a16="http://schemas.microsoft.com/office/drawing/2014/main" id="{AB33BA5E-7AA6-98CB-400F-F566060C541F}"/>
                </a:ext>
              </a:extLst>
            </p:cNvPr>
            <p:cNvCxnSpPr/>
            <p:nvPr userDrawn="1"/>
          </p:nvCxnSpPr>
          <p:spPr>
            <a:xfrm>
              <a:off x="1270000" y="1270000"/>
              <a:ext cx="55463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Gerader Verbinder 13" hidden="1">
              <a:extLst>
                <a:ext uri="{FF2B5EF4-FFF2-40B4-BE49-F238E27FC236}">
                  <a16:creationId xmlns:a16="http://schemas.microsoft.com/office/drawing/2014/main" id="{4A58B5D9-850F-B0ED-052E-5600E197CE88}"/>
                </a:ext>
              </a:extLst>
            </p:cNvPr>
            <p:cNvCxnSpPr/>
            <p:nvPr userDrawn="1"/>
          </p:nvCxnSpPr>
          <p:spPr>
            <a:xfrm>
              <a:off x="1270000" y="1562388"/>
              <a:ext cx="55463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6" name="SWCSticker" hidden="1">
            <a:extLst>
              <a:ext uri="{FF2B5EF4-FFF2-40B4-BE49-F238E27FC236}">
                <a16:creationId xmlns:a16="http://schemas.microsoft.com/office/drawing/2014/main" id="{2C672620-4A76-8731-BBE2-469DDF19005A}"/>
              </a:ext>
            </a:extLst>
          </p:cNvPr>
          <p:cNvGrpSpPr/>
          <p:nvPr userDrawn="1"/>
        </p:nvGrpSpPr>
        <p:grpSpPr>
          <a:xfrm>
            <a:off x="0" y="1259207"/>
            <a:ext cx="1421105" cy="431728"/>
            <a:chOff x="0" y="1259207"/>
            <a:chExt cx="1421105" cy="431728"/>
          </a:xfrm>
        </p:grpSpPr>
        <p:sp>
          <p:nvSpPr>
            <p:cNvPr id="16" name="Rechteck 15" hidden="1">
              <a:extLst>
                <a:ext uri="{FF2B5EF4-FFF2-40B4-BE49-F238E27FC236}">
                  <a16:creationId xmlns:a16="http://schemas.microsoft.com/office/drawing/2014/main" id="{71D5CC40-6A99-2BEB-C9D9-86A676FACFE9}"/>
                </a:ext>
              </a:extLst>
            </p:cNvPr>
            <p:cNvSpPr/>
            <p:nvPr userDrawn="1"/>
          </p:nvSpPr>
          <p:spPr>
            <a:xfrm>
              <a:off x="0" y="1259207"/>
              <a:ext cx="1421105" cy="431728"/>
            </a:xfrm>
            <a:prstGeom prst="rect">
              <a:avLst/>
            </a:prstGeom>
            <a:solidFill>
              <a:srgbClr val="003CB4"/>
            </a:solidFill>
          </p:spPr>
          <p:txBody>
            <a:bodyPr vert="horz" wrap="square" lIns="0" tIns="0" rIns="0" bIns="0" rtlCol="0" anchor="t" anchorCtr="0">
              <a:noAutofit/>
            </a:bodyPr>
            <a:lstStyle/>
            <a:p>
              <a:pPr algn="l"/>
              <a:endParaRPr lang="de-CH" dirty="0"/>
            </a:p>
          </p:txBody>
        </p:sp>
        <p:pic>
          <p:nvPicPr>
            <p:cNvPr id="24" name="Grafik 23" hidden="1">
              <a:extLst>
                <a:ext uri="{FF2B5EF4-FFF2-40B4-BE49-F238E27FC236}">
                  <a16:creationId xmlns:a16="http://schemas.microsoft.com/office/drawing/2014/main" id="{52E9DDC8-6100-3428-E20E-78297747F108}"/>
                </a:ext>
              </a:extLst>
            </p:cNvPr>
            <p:cNvPicPr>
              <a:picLocks noChangeAspect="1"/>
            </p:cNvPicPr>
            <p:nvPr userDrawn="1"/>
          </p:nvPicPr>
          <p:blipFill>
            <a:blip r:embed="rId23">
              <a:extLst>
                <a:ext uri="{96DAC541-7B7A-43D3-8B79-37D633B846F1}">
                  <asvg:svgBlip xmlns:asvg="http://schemas.microsoft.com/office/drawing/2016/SVG/main" r:embed="rId24"/>
                </a:ext>
              </a:extLst>
            </a:blip>
            <a:stretch>
              <a:fillRect/>
            </a:stretch>
          </p:blipFill>
          <p:spPr>
            <a:xfrm>
              <a:off x="305816" y="1371989"/>
              <a:ext cx="1025354" cy="155796"/>
            </a:xfrm>
            <a:prstGeom prst="rect">
              <a:avLst/>
            </a:prstGeom>
          </p:spPr>
        </p:pic>
      </p:grpSp>
      <p:sp>
        <p:nvSpPr>
          <p:cNvPr id="29" name="Endorsement">
            <a:extLst>
              <a:ext uri="{FF2B5EF4-FFF2-40B4-BE49-F238E27FC236}">
                <a16:creationId xmlns:a16="http://schemas.microsoft.com/office/drawing/2014/main" id="{4CC185EA-4073-1A91-AE26-CF73CAE099FD}"/>
              </a:ext>
            </a:extLst>
          </p:cNvPr>
          <p:cNvSpPr txBox="1"/>
          <p:nvPr userDrawn="1"/>
        </p:nvSpPr>
        <p:spPr>
          <a:xfrm>
            <a:off x="9311799" y="6799718"/>
            <a:ext cx="3237960" cy="190680"/>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none" lIns="0" tIns="0" rIns="0" bIns="0" rtlCol="0" anchor="ctr" anchorCtr="0">
            <a:noAutofit/>
          </a:bodyPr>
          <a:lstStyle/>
          <a:p>
            <a:pPr marL="0" indent="-285750" algn="r" defTabSz="284221" rtl="0" eaLnBrk="1" fontAlgn="base" latinLnBrk="0" hangingPunct="1">
              <a:lnSpc>
                <a:spcPct val="100000"/>
              </a:lnSpc>
              <a:spcBef>
                <a:spcPts val="0"/>
              </a:spcBef>
              <a:spcAft>
                <a:spcPts val="0"/>
              </a:spcAft>
              <a:buClr>
                <a:srgbClr val="003CB4"/>
              </a:buClr>
              <a:buFont typeface="Frutiger for ZKB Light" panose="020B0303030504020204" pitchFamily="34" charset="0"/>
              <a:buNone/>
            </a:pPr>
            <a:endParaRPr lang="de-CH" sz="1100" b="0" i="0" u="none" dirty="0">
              <a:solidFill>
                <a:srgbClr val="003CB4"/>
              </a:solidFill>
              <a:latin typeface="Frutiger for ZKB Light" panose="020B0303030504020204" pitchFamily="34" charset="0"/>
            </a:endParaRPr>
          </a:p>
        </p:txBody>
      </p:sp>
    </p:spTree>
    <p:extLst>
      <p:ext uri="{BB962C8B-B14F-4D97-AF65-F5344CB8AC3E}">
        <p14:creationId xmlns:p14="http://schemas.microsoft.com/office/powerpoint/2010/main" val="2441910799"/>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Lst>
  <p:hf hdr="0" dt="0"/>
  <p:txStyles>
    <p:titleStyle>
      <a:lvl1pPr marL="0" indent="0" algn="l" defTabSz="17190" rtl="0" eaLnBrk="1" latinLnBrk="0" hangingPunct="1">
        <a:lnSpc>
          <a:spcPct val="95000"/>
        </a:lnSpc>
        <a:spcBef>
          <a:spcPts val="0"/>
        </a:spcBef>
        <a:spcAft>
          <a:spcPts val="0"/>
        </a:spcAft>
        <a:buNone/>
        <a:defRPr sz="2800" b="1" i="0" u="none" kern="1200">
          <a:solidFill>
            <a:srgbClr val="003CB4"/>
          </a:solidFill>
          <a:latin typeface="Frutiger for ZKB Light" panose="020B0303030504020204" pitchFamily="34" charset="0"/>
          <a:ea typeface="+mj-ea"/>
          <a:cs typeface="+mj-cs"/>
        </a:defRPr>
      </a:lvl1pPr>
    </p:titleStyle>
    <p:body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p:bodyStyle>
    <p:otherStyle>
      <a:defPPr>
        <a:defRPr lang="de-DE"/>
      </a:defPPr>
      <a:lvl1pPr marL="0" algn="l" defTabSz="17190" rtl="0" eaLnBrk="1" latinLnBrk="0" hangingPunct="1">
        <a:defRPr sz="100" kern="1200">
          <a:solidFill>
            <a:schemeClr val="tx1"/>
          </a:solidFill>
          <a:latin typeface="+mn-lt"/>
          <a:ea typeface="+mn-ea"/>
          <a:cs typeface="+mn-cs"/>
        </a:defRPr>
      </a:lvl1pPr>
      <a:lvl2pPr marL="8595" algn="l" defTabSz="17190" rtl="0" eaLnBrk="1" latinLnBrk="0" hangingPunct="1">
        <a:defRPr sz="100" kern="1200">
          <a:solidFill>
            <a:schemeClr val="tx1"/>
          </a:solidFill>
          <a:latin typeface="+mn-lt"/>
          <a:ea typeface="+mn-ea"/>
          <a:cs typeface="+mn-cs"/>
        </a:defRPr>
      </a:lvl2pPr>
      <a:lvl3pPr marL="17190" algn="l" defTabSz="17190" rtl="0" eaLnBrk="1" latinLnBrk="0" hangingPunct="1">
        <a:defRPr sz="100" kern="1200">
          <a:solidFill>
            <a:schemeClr val="tx1"/>
          </a:solidFill>
          <a:latin typeface="+mn-lt"/>
          <a:ea typeface="+mn-ea"/>
          <a:cs typeface="+mn-cs"/>
        </a:defRPr>
      </a:lvl3pPr>
      <a:lvl4pPr marL="25786" algn="l" defTabSz="17190" rtl="0" eaLnBrk="1" latinLnBrk="0" hangingPunct="1">
        <a:defRPr sz="100" kern="1200">
          <a:solidFill>
            <a:schemeClr val="tx1"/>
          </a:solidFill>
          <a:latin typeface="+mn-lt"/>
          <a:ea typeface="+mn-ea"/>
          <a:cs typeface="+mn-cs"/>
        </a:defRPr>
      </a:lvl4pPr>
      <a:lvl5pPr marL="34381" algn="l" defTabSz="17190" rtl="0" eaLnBrk="1" latinLnBrk="0" hangingPunct="1">
        <a:defRPr sz="100" kern="1200">
          <a:solidFill>
            <a:schemeClr val="tx1"/>
          </a:solidFill>
          <a:latin typeface="+mn-lt"/>
          <a:ea typeface="+mn-ea"/>
          <a:cs typeface="+mn-cs"/>
        </a:defRPr>
      </a:lvl5pPr>
      <a:lvl6pPr marL="42976" algn="l" defTabSz="17190" rtl="0" eaLnBrk="1" latinLnBrk="0" hangingPunct="1">
        <a:defRPr sz="100" kern="1200">
          <a:solidFill>
            <a:schemeClr val="tx1"/>
          </a:solidFill>
          <a:latin typeface="+mn-lt"/>
          <a:ea typeface="+mn-ea"/>
          <a:cs typeface="+mn-cs"/>
        </a:defRPr>
      </a:lvl6pPr>
      <a:lvl7pPr marL="51572" algn="l" defTabSz="17190" rtl="0" eaLnBrk="1" latinLnBrk="0" hangingPunct="1">
        <a:defRPr sz="100" kern="1200">
          <a:solidFill>
            <a:schemeClr val="tx1"/>
          </a:solidFill>
          <a:latin typeface="+mn-lt"/>
          <a:ea typeface="+mn-ea"/>
          <a:cs typeface="+mn-cs"/>
        </a:defRPr>
      </a:lvl7pPr>
      <a:lvl8pPr marL="60166" algn="l" defTabSz="17190" rtl="0" eaLnBrk="1" latinLnBrk="0" hangingPunct="1">
        <a:defRPr sz="100" kern="1200">
          <a:solidFill>
            <a:schemeClr val="tx1"/>
          </a:solidFill>
          <a:latin typeface="+mn-lt"/>
          <a:ea typeface="+mn-ea"/>
          <a:cs typeface="+mn-cs"/>
        </a:defRPr>
      </a:lvl8pPr>
      <a:lvl9pPr marL="68762" algn="l" defTabSz="17190" rtl="0" eaLnBrk="1" latinLnBrk="0" hangingPunct="1">
        <a:defRPr sz="1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12" userDrawn="1">
          <p15:clr>
            <a:srgbClr val="F26B43"/>
          </p15:clr>
        </p15:guide>
        <p15:guide id="2" pos="193" userDrawn="1">
          <p15:clr>
            <a:srgbClr val="F26B43"/>
          </p15:clr>
        </p15:guide>
        <p15:guide id="3" pos="7905" userDrawn="1">
          <p15:clr>
            <a:srgbClr val="F26B43"/>
          </p15:clr>
        </p15:guide>
        <p15:guide id="4" orient="horz" pos="4183" userDrawn="1">
          <p15:clr>
            <a:srgbClr val="F26B43"/>
          </p15:clr>
        </p15:guide>
        <p15:guide id="5" pos="4140" userDrawn="1">
          <p15:clr>
            <a:srgbClr val="F26B43"/>
          </p15:clr>
        </p15:guide>
        <p15:guide id="6" pos="395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jpg"/><Relationship Id="rId7" Type="http://schemas.openxmlformats.org/officeDocument/2006/relationships/image" Target="../media/image8.sv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0.xml"/><Relationship Id="rId1" Type="http://schemas.openxmlformats.org/officeDocument/2006/relationships/tags" Target="../tags/tag1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emf"/></Relationships>
</file>

<file path=ppt/slides/_rels/slide100.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slideLayout" Target="../slideLayouts/slideLayout6.xml"/><Relationship Id="rId1" Type="http://schemas.openxmlformats.org/officeDocument/2006/relationships/tags" Target="../tags/tag156.xml"/><Relationship Id="rId5" Type="http://schemas.openxmlformats.org/officeDocument/2006/relationships/image" Target="../media/image10.emf"/><Relationship Id="rId4" Type="http://schemas.openxmlformats.org/officeDocument/2006/relationships/oleObject" Target="../embeddings/oleObject91.bin"/></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5.xml"/><Relationship Id="rId1" Type="http://schemas.openxmlformats.org/officeDocument/2006/relationships/tags" Target="../tags/tag157.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10.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6.xml"/><Relationship Id="rId1" Type="http://schemas.openxmlformats.org/officeDocument/2006/relationships/tags" Target="../tags/tag158.xml"/><Relationship Id="rId6" Type="http://schemas.openxmlformats.org/officeDocument/2006/relationships/image" Target="../media/image85.svg"/><Relationship Id="rId5" Type="http://schemas.openxmlformats.org/officeDocument/2006/relationships/image" Target="../media/image48.png"/><Relationship Id="rId4" Type="http://schemas.openxmlformats.org/officeDocument/2006/relationships/image" Target="../media/image12.emf"/></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16.xml"/><Relationship Id="rId1" Type="http://schemas.openxmlformats.org/officeDocument/2006/relationships/tags" Target="../tags/tag159.xml"/><Relationship Id="rId4" Type="http://schemas.openxmlformats.org/officeDocument/2006/relationships/image" Target="../media/image1.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16.xml"/><Relationship Id="rId1" Type="http://schemas.openxmlformats.org/officeDocument/2006/relationships/tags" Target="../tags/tag160.xml"/><Relationship Id="rId4" Type="http://schemas.openxmlformats.org/officeDocument/2006/relationships/image" Target="../media/image1.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16.xml"/><Relationship Id="rId1" Type="http://schemas.openxmlformats.org/officeDocument/2006/relationships/tags" Target="../tags/tag161.xml"/><Relationship Id="rId4" Type="http://schemas.openxmlformats.org/officeDocument/2006/relationships/image" Target="../media/image1.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16.xml"/><Relationship Id="rId1" Type="http://schemas.openxmlformats.org/officeDocument/2006/relationships/tags" Target="../tags/tag162.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0.xml"/><Relationship Id="rId1" Type="http://schemas.openxmlformats.org/officeDocument/2006/relationships/tags" Target="../tags/tag18.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0.xml"/><Relationship Id="rId1" Type="http://schemas.openxmlformats.org/officeDocument/2006/relationships/tags" Target="../tags/tag1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5.xml"/><Relationship Id="rId1" Type="http://schemas.openxmlformats.org/officeDocument/2006/relationships/tags" Target="../tags/tag20.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6.xml"/><Relationship Id="rId1" Type="http://schemas.openxmlformats.org/officeDocument/2006/relationships/tags" Target="../tags/tag21.xml"/><Relationship Id="rId4" Type="http://schemas.openxmlformats.org/officeDocument/2006/relationships/image" Target="../media/image10.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8.xml"/><Relationship Id="rId1" Type="http://schemas.openxmlformats.org/officeDocument/2006/relationships/tags" Target="../tags/tag22.xml"/><Relationship Id="rId5" Type="http://schemas.openxmlformats.org/officeDocument/2006/relationships/image" Target="../media/image16.jpeg"/><Relationship Id="rId4" Type="http://schemas.openxmlformats.org/officeDocument/2006/relationships/image" Target="../media/image10.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8.xml"/><Relationship Id="rId1" Type="http://schemas.openxmlformats.org/officeDocument/2006/relationships/tags" Target="../tags/tag23.xml"/><Relationship Id="rId5" Type="http://schemas.openxmlformats.org/officeDocument/2006/relationships/image" Target="../media/image17.jpeg"/><Relationship Id="rId4" Type="http://schemas.openxmlformats.org/officeDocument/2006/relationships/image" Target="../media/image10.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20.jpeg"/><Relationship Id="rId2" Type="http://schemas.openxmlformats.org/officeDocument/2006/relationships/slideLayout" Target="../slideLayouts/slideLayout8.xml"/><Relationship Id="rId1" Type="http://schemas.openxmlformats.org/officeDocument/2006/relationships/tags" Target="../tags/tag24.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0.emf"/></Relationships>
</file>

<file path=ppt/slides/_rels/slide18.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oleObject" Target="../embeddings/oleObject18.bin"/><Relationship Id="rId7" Type="http://schemas.openxmlformats.org/officeDocument/2006/relationships/image" Target="../media/image23.jpeg"/><Relationship Id="rId2" Type="http://schemas.openxmlformats.org/officeDocument/2006/relationships/slideLayout" Target="../slideLayouts/slideLayout12.xml"/><Relationship Id="rId1" Type="http://schemas.openxmlformats.org/officeDocument/2006/relationships/tags" Target="../tags/tag25.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10.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9.bin"/><Relationship Id="rId7" Type="http://schemas.openxmlformats.org/officeDocument/2006/relationships/image" Target="../media/image27.jpeg"/><Relationship Id="rId2" Type="http://schemas.openxmlformats.org/officeDocument/2006/relationships/slideLayout" Target="../slideLayouts/slideLayout11.xml"/><Relationship Id="rId1" Type="http://schemas.openxmlformats.org/officeDocument/2006/relationships/tags" Target="../tags/tag26.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10.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0.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0.bin"/><Relationship Id="rId7" Type="http://schemas.openxmlformats.org/officeDocument/2006/relationships/image" Target="../media/image30.jpeg"/><Relationship Id="rId2" Type="http://schemas.openxmlformats.org/officeDocument/2006/relationships/slideLayout" Target="../slideLayouts/slideLayout12.xml"/><Relationship Id="rId1" Type="http://schemas.openxmlformats.org/officeDocument/2006/relationships/tags" Target="../tags/tag27.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7.xml"/><Relationship Id="rId1" Type="http://schemas.openxmlformats.org/officeDocument/2006/relationships/tags" Target="../tags/tag28.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9.xml"/><Relationship Id="rId1" Type="http://schemas.openxmlformats.org/officeDocument/2006/relationships/tags" Target="../tags/tag29.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1.xml"/><Relationship Id="rId1" Type="http://schemas.openxmlformats.org/officeDocument/2006/relationships/tags" Target="../tags/tag30.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3.emf"/><Relationship Id="rId5" Type="http://schemas.openxmlformats.org/officeDocument/2006/relationships/oleObject" Target="../embeddings/oleObject24.bin"/><Relationship Id="rId4" Type="http://schemas.openxmlformats.org/officeDocument/2006/relationships/notesSlide" Target="../notesSlides/notesSlide1.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2.xml"/><Relationship Id="rId1" Type="http://schemas.openxmlformats.org/officeDocument/2006/relationships/tags" Target="../tags/tag33.xml"/><Relationship Id="rId4" Type="http://schemas.openxmlformats.org/officeDocument/2006/relationships/image" Target="../media/image10.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2.xml"/><Relationship Id="rId1" Type="http://schemas.openxmlformats.org/officeDocument/2006/relationships/tags" Target="../tags/tag34.xml"/><Relationship Id="rId4" Type="http://schemas.openxmlformats.org/officeDocument/2006/relationships/image" Target="../media/image10.emf"/></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3.emf"/><Relationship Id="rId5" Type="http://schemas.openxmlformats.org/officeDocument/2006/relationships/oleObject" Target="../embeddings/oleObject26.bin"/><Relationship Id="rId4" Type="http://schemas.openxmlformats.org/officeDocument/2006/relationships/notesSlide" Target="../notesSlides/notesSlide2.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12.xml"/><Relationship Id="rId1" Type="http://schemas.openxmlformats.org/officeDocument/2006/relationships/tags" Target="../tags/tag37.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39.png"/><Relationship Id="rId3" Type="http://schemas.openxmlformats.org/officeDocument/2006/relationships/oleObject" Target="../embeddings/oleObject27.bin"/><Relationship Id="rId7" Type="http://schemas.openxmlformats.org/officeDocument/2006/relationships/image" Target="../media/image33.png"/><Relationship Id="rId12" Type="http://schemas.openxmlformats.org/officeDocument/2006/relationships/image" Target="../media/image38.svg"/><Relationship Id="rId2" Type="http://schemas.openxmlformats.org/officeDocument/2006/relationships/slideLayout" Target="../slideLayouts/slideLayout12.xml"/><Relationship Id="rId16" Type="http://schemas.openxmlformats.org/officeDocument/2006/relationships/image" Target="../media/image42.svg"/><Relationship Id="rId1" Type="http://schemas.openxmlformats.org/officeDocument/2006/relationships/tags" Target="../tags/tag38.xml"/><Relationship Id="rId6" Type="http://schemas.openxmlformats.org/officeDocument/2006/relationships/image" Target="../media/image32.sv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1.png"/><Relationship Id="rId10" Type="http://schemas.openxmlformats.org/officeDocument/2006/relationships/image" Target="../media/image36.svg"/><Relationship Id="rId4" Type="http://schemas.openxmlformats.org/officeDocument/2006/relationships/image" Target="../media/image1.emf"/><Relationship Id="rId9" Type="http://schemas.openxmlformats.org/officeDocument/2006/relationships/image" Target="../media/image35.png"/><Relationship Id="rId14" Type="http://schemas.openxmlformats.org/officeDocument/2006/relationships/image" Target="../media/image40.sv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12.xml"/><Relationship Id="rId1" Type="http://schemas.openxmlformats.org/officeDocument/2006/relationships/tags" Target="../tags/tag39.xm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oleObject" Target="../embeddings/oleObject28.bin"/><Relationship Id="rId7" Type="http://schemas.openxmlformats.org/officeDocument/2006/relationships/image" Target="../media/image45.png"/><Relationship Id="rId2" Type="http://schemas.openxmlformats.org/officeDocument/2006/relationships/slideLayout" Target="../slideLayouts/slideLayout12.xml"/><Relationship Id="rId1" Type="http://schemas.openxmlformats.org/officeDocument/2006/relationships/tags" Target="../tags/tag40.xml"/><Relationship Id="rId6" Type="http://schemas.openxmlformats.org/officeDocument/2006/relationships/image" Target="../media/image44.svg"/><Relationship Id="rId5" Type="http://schemas.openxmlformats.org/officeDocument/2006/relationships/image" Target="../media/image43.png"/><Relationship Id="rId10" Type="http://schemas.openxmlformats.org/officeDocument/2006/relationships/image" Target="../media/image32.svg"/><Relationship Id="rId4" Type="http://schemas.openxmlformats.org/officeDocument/2006/relationships/image" Target="../media/image10.emf"/><Relationship Id="rId9" Type="http://schemas.openxmlformats.org/officeDocument/2006/relationships/image" Target="../media/image31.png"/></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10.xml"/><Relationship Id="rId1" Type="http://schemas.openxmlformats.org/officeDocument/2006/relationships/tags" Target="../tags/tag41.xml"/><Relationship Id="rId4" Type="http://schemas.openxmlformats.org/officeDocument/2006/relationships/image" Target="../media/image10.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12.xml"/><Relationship Id="rId1" Type="http://schemas.openxmlformats.org/officeDocument/2006/relationships/tags" Target="../tags/tag42.xml"/><Relationship Id="rId4" Type="http://schemas.openxmlformats.org/officeDocument/2006/relationships/image" Target="../media/image10.emf"/></Relationships>
</file>

<file path=ppt/slides/_rels/slide34.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45.xml"/><Relationship Id="rId7" Type="http://schemas.openxmlformats.org/officeDocument/2006/relationships/oleObject" Target="../embeddings/oleObject31.bin"/><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slideLayout" Target="../slideLayouts/slideLayout12.xml"/><Relationship Id="rId5" Type="http://schemas.openxmlformats.org/officeDocument/2006/relationships/tags" Target="../tags/tag47.xml"/><Relationship Id="rId4" Type="http://schemas.openxmlformats.org/officeDocument/2006/relationships/tags" Target="../tags/tag46.xml"/></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50.xml"/><Relationship Id="rId7" Type="http://schemas.openxmlformats.org/officeDocument/2006/relationships/slideLayout" Target="../slideLayouts/slideLayout1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13.emf"/></Relationships>
</file>

<file path=ppt/slides/_rels/slide36.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10" Type="http://schemas.openxmlformats.org/officeDocument/2006/relationships/image" Target="../media/image13.emf"/><Relationship Id="rId4" Type="http://schemas.openxmlformats.org/officeDocument/2006/relationships/tags" Target="../tags/tag57.xml"/><Relationship Id="rId9" Type="http://schemas.openxmlformats.org/officeDocument/2006/relationships/oleObject" Target="../embeddings/oleObject33.bin"/></Relationships>
</file>

<file path=ppt/slides/_rels/slide37.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image" Target="../media/image13.emf"/><Relationship Id="rId5" Type="http://schemas.openxmlformats.org/officeDocument/2006/relationships/tags" Target="../tags/tag65.xml"/><Relationship Id="rId10" Type="http://schemas.openxmlformats.org/officeDocument/2006/relationships/oleObject" Target="../embeddings/oleObject29.bin"/><Relationship Id="rId4" Type="http://schemas.openxmlformats.org/officeDocument/2006/relationships/tags" Target="../tags/tag64.xml"/><Relationship Id="rId9"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12.xml"/><Relationship Id="rId1" Type="http://schemas.openxmlformats.org/officeDocument/2006/relationships/tags" Target="../tags/tag69.xml"/><Relationship Id="rId4" Type="http://schemas.openxmlformats.org/officeDocument/2006/relationships/image" Target="../media/image12.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12.xml"/><Relationship Id="rId1" Type="http://schemas.openxmlformats.org/officeDocument/2006/relationships/tags" Target="../tags/tag70.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6.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12.xml"/><Relationship Id="rId1" Type="http://schemas.openxmlformats.org/officeDocument/2006/relationships/tags" Target="../tags/tag71.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12.xml"/><Relationship Id="rId1" Type="http://schemas.openxmlformats.org/officeDocument/2006/relationships/tags" Target="../tags/tag72.xml"/><Relationship Id="rId4" Type="http://schemas.openxmlformats.org/officeDocument/2006/relationships/image" Target="../media/image12.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5.xml"/><Relationship Id="rId1" Type="http://schemas.openxmlformats.org/officeDocument/2006/relationships/tags" Target="../tags/tag73.xml"/><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8.bin"/><Relationship Id="rId7" Type="http://schemas.openxmlformats.org/officeDocument/2006/relationships/image" Target="../media/image49.svg"/><Relationship Id="rId2" Type="http://schemas.openxmlformats.org/officeDocument/2006/relationships/slideLayout" Target="../slideLayouts/slideLayout14.xml"/><Relationship Id="rId1" Type="http://schemas.openxmlformats.org/officeDocument/2006/relationships/tags" Target="../tags/tag74.xml"/><Relationship Id="rId6" Type="http://schemas.openxmlformats.org/officeDocument/2006/relationships/image" Target="../media/image48.png"/><Relationship Id="rId5" Type="http://schemas.openxmlformats.org/officeDocument/2006/relationships/image" Target="../media/image47.jpeg"/><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jpeg"/><Relationship Id="rId1" Type="http://schemas.openxmlformats.org/officeDocument/2006/relationships/slideLayout" Target="../slideLayouts/slideLayout14.xml"/><Relationship Id="rId4" Type="http://schemas.openxmlformats.org/officeDocument/2006/relationships/image" Target="../media/image49.svg"/></Relationships>
</file>

<file path=ppt/slides/_rels/slide45.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slideLayout" Target="../slideLayouts/slideLayout14.xml"/><Relationship Id="rId1" Type="http://schemas.openxmlformats.org/officeDocument/2006/relationships/tags" Target="../tags/tag75.xml"/><Relationship Id="rId5" Type="http://schemas.openxmlformats.org/officeDocument/2006/relationships/image" Target="../media/image10.emf"/><Relationship Id="rId4" Type="http://schemas.openxmlformats.org/officeDocument/2006/relationships/oleObject" Target="../embeddings/oleObject39.bin"/></Relationships>
</file>

<file path=ppt/slides/_rels/slide46.xml.rels><?xml version="1.0" encoding="UTF-8" standalone="yes"?>
<Relationships xmlns="http://schemas.openxmlformats.org/package/2006/relationships"><Relationship Id="rId3" Type="http://schemas.openxmlformats.org/officeDocument/2006/relationships/image" Target="../media/image52.jpeg"/><Relationship Id="rId7" Type="http://schemas.openxmlformats.org/officeDocument/2006/relationships/image" Target="../media/image49.svg"/><Relationship Id="rId2" Type="http://schemas.openxmlformats.org/officeDocument/2006/relationships/slideLayout" Target="../slideLayouts/slideLayout14.xml"/><Relationship Id="rId1" Type="http://schemas.openxmlformats.org/officeDocument/2006/relationships/tags" Target="../tags/tag76.xml"/><Relationship Id="rId6" Type="http://schemas.openxmlformats.org/officeDocument/2006/relationships/image" Target="../media/image48.png"/><Relationship Id="rId5" Type="http://schemas.openxmlformats.org/officeDocument/2006/relationships/image" Target="../media/image10.emf"/><Relationship Id="rId4" Type="http://schemas.openxmlformats.org/officeDocument/2006/relationships/oleObject" Target="../embeddings/oleObject40.bin"/></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1.bin"/><Relationship Id="rId7" Type="http://schemas.openxmlformats.org/officeDocument/2006/relationships/image" Target="../media/image49.svg"/><Relationship Id="rId2" Type="http://schemas.openxmlformats.org/officeDocument/2006/relationships/slideLayout" Target="../slideLayouts/slideLayout14.xml"/><Relationship Id="rId1" Type="http://schemas.openxmlformats.org/officeDocument/2006/relationships/tags" Target="../tags/tag77.xml"/><Relationship Id="rId6" Type="http://schemas.openxmlformats.org/officeDocument/2006/relationships/image" Target="../media/image48.png"/><Relationship Id="rId5" Type="http://schemas.openxmlformats.org/officeDocument/2006/relationships/image" Target="../media/image53.jpeg"/><Relationship Id="rId4" Type="http://schemas.openxmlformats.org/officeDocument/2006/relationships/image" Target="../media/image10.emf"/></Relationships>
</file>

<file path=ppt/slides/_rels/slide48.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slideLayout" Target="../slideLayouts/slideLayout12.xml"/><Relationship Id="rId1" Type="http://schemas.openxmlformats.org/officeDocument/2006/relationships/tags" Target="../tags/tag78.xml"/><Relationship Id="rId5" Type="http://schemas.openxmlformats.org/officeDocument/2006/relationships/image" Target="../media/image10.emf"/><Relationship Id="rId4" Type="http://schemas.openxmlformats.org/officeDocument/2006/relationships/oleObject" Target="../embeddings/oleObject42.bin"/></Relationships>
</file>

<file path=ppt/slides/_rels/slide49.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slideLayout" Target="../slideLayouts/slideLayout8.xml"/><Relationship Id="rId1" Type="http://schemas.openxmlformats.org/officeDocument/2006/relationships/tags" Target="../tags/tag79.xml"/><Relationship Id="rId5" Type="http://schemas.openxmlformats.org/officeDocument/2006/relationships/image" Target="../media/image10.emf"/><Relationship Id="rId4" Type="http://schemas.openxmlformats.org/officeDocument/2006/relationships/oleObject" Target="../embeddings/oleObject43.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2.xml"/><Relationship Id="rId1" Type="http://schemas.openxmlformats.org/officeDocument/2006/relationships/tags" Target="../tags/tag7.xml"/><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55.emf"/><Relationship Id="rId5" Type="http://schemas.openxmlformats.org/officeDocument/2006/relationships/oleObject" Target="../embeddings/oleObject36.bin"/><Relationship Id="rId4" Type="http://schemas.openxmlformats.org/officeDocument/2006/relationships/notesSlide" Target="../notesSlides/notesSlide3.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82.xml"/><Relationship Id="rId6" Type="http://schemas.openxmlformats.org/officeDocument/2006/relationships/image" Target="../media/image56.pn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10.xml"/><Relationship Id="rId1" Type="http://schemas.openxmlformats.org/officeDocument/2006/relationships/tags" Target="../tags/tag83.xml"/><Relationship Id="rId4" Type="http://schemas.openxmlformats.org/officeDocument/2006/relationships/image" Target="../media/image10.emf"/></Relationships>
</file>

<file path=ppt/slides/_rels/slide53.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oleObject" Target="../embeddings/oleObject46.bin"/><Relationship Id="rId7" Type="http://schemas.openxmlformats.org/officeDocument/2006/relationships/image" Target="../media/image59.png"/><Relationship Id="rId2" Type="http://schemas.openxmlformats.org/officeDocument/2006/relationships/slideLayout" Target="../slideLayouts/slideLayout9.xml"/><Relationship Id="rId1" Type="http://schemas.openxmlformats.org/officeDocument/2006/relationships/tags" Target="../tags/tag84.xml"/><Relationship Id="rId6" Type="http://schemas.openxmlformats.org/officeDocument/2006/relationships/image" Target="../media/image58.svg"/><Relationship Id="rId5" Type="http://schemas.openxmlformats.org/officeDocument/2006/relationships/image" Target="../media/image57.png"/><Relationship Id="rId10" Type="http://schemas.openxmlformats.org/officeDocument/2006/relationships/image" Target="../media/image62.svg"/><Relationship Id="rId4" Type="http://schemas.openxmlformats.org/officeDocument/2006/relationships/image" Target="../media/image10.emf"/><Relationship Id="rId9" Type="http://schemas.openxmlformats.org/officeDocument/2006/relationships/image" Target="../media/image61.pn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85.xml"/><Relationship Id="rId6" Type="http://schemas.openxmlformats.org/officeDocument/2006/relationships/image" Target="../media/image63.png"/><Relationship Id="rId5" Type="http://schemas.openxmlformats.org/officeDocument/2006/relationships/image" Target="../media/image1.emf"/><Relationship Id="rId4" Type="http://schemas.openxmlformats.org/officeDocument/2006/relationships/oleObject" Target="../embeddings/oleObject47.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86.x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10.xml"/><Relationship Id="rId1" Type="http://schemas.openxmlformats.org/officeDocument/2006/relationships/tags" Target="../tags/tag87.xml"/><Relationship Id="rId4" Type="http://schemas.openxmlformats.org/officeDocument/2006/relationships/image" Target="../media/image10.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10.xml"/><Relationship Id="rId1" Type="http://schemas.openxmlformats.org/officeDocument/2006/relationships/tags" Target="../tags/tag88.xml"/><Relationship Id="rId4" Type="http://schemas.openxmlformats.org/officeDocument/2006/relationships/image" Target="../media/image1.emf"/></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chart" Target="../charts/chart1.xml"/><Relationship Id="rId5" Type="http://schemas.openxmlformats.org/officeDocument/2006/relationships/image" Target="../media/image13.emf"/><Relationship Id="rId4" Type="http://schemas.openxmlformats.org/officeDocument/2006/relationships/oleObject" Target="../embeddings/oleObject50.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chart" Target="../charts/chart2.xml"/><Relationship Id="rId5" Type="http://schemas.openxmlformats.org/officeDocument/2006/relationships/image" Target="../media/image13.emf"/><Relationship Id="rId4" Type="http://schemas.openxmlformats.org/officeDocument/2006/relationships/oleObject" Target="../embeddings/oleObject51.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8.xml"/><Relationship Id="rId1" Type="http://schemas.openxmlformats.org/officeDocument/2006/relationships/tags" Target="../tags/tag8.xml"/><Relationship Id="rId4" Type="http://schemas.openxmlformats.org/officeDocument/2006/relationships/image" Target="../media/image10.emf"/></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chart" Target="../charts/chart3.xml"/><Relationship Id="rId5" Type="http://schemas.openxmlformats.org/officeDocument/2006/relationships/image" Target="../media/image13.emf"/><Relationship Id="rId4" Type="http://schemas.openxmlformats.org/officeDocument/2006/relationships/oleObject" Target="../embeddings/oleObject52.bin"/></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chart" Target="../charts/chart4.xml"/><Relationship Id="rId5" Type="http://schemas.openxmlformats.org/officeDocument/2006/relationships/image" Target="../media/image13.emf"/><Relationship Id="rId4" Type="http://schemas.openxmlformats.org/officeDocument/2006/relationships/oleObject" Target="../embeddings/oleObject53.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6.xml"/><Relationship Id="rId2" Type="http://schemas.openxmlformats.org/officeDocument/2006/relationships/slideLayout" Target="../slideLayouts/slideLayout10.xml"/><Relationship Id="rId1" Type="http://schemas.openxmlformats.org/officeDocument/2006/relationships/tags" Target="../tags/tag97.xml"/><Relationship Id="rId6" Type="http://schemas.openxmlformats.org/officeDocument/2006/relationships/chart" Target="../charts/chart5.xml"/><Relationship Id="rId5" Type="http://schemas.openxmlformats.org/officeDocument/2006/relationships/image" Target="../media/image1.emf"/><Relationship Id="rId4" Type="http://schemas.openxmlformats.org/officeDocument/2006/relationships/oleObject" Target="../embeddings/oleObject54.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xml"/><Relationship Id="rId1" Type="http://schemas.openxmlformats.org/officeDocument/2006/relationships/tags" Target="../tags/tag98.xml"/><Relationship Id="rId6" Type="http://schemas.openxmlformats.org/officeDocument/2006/relationships/chart" Target="../charts/chart7.xml"/><Relationship Id="rId5" Type="http://schemas.openxmlformats.org/officeDocument/2006/relationships/image" Target="../media/image12.emf"/><Relationship Id="rId4" Type="http://schemas.openxmlformats.org/officeDocument/2006/relationships/oleObject" Target="../embeddings/oleObject55.bin"/></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10.xml"/><Relationship Id="rId1" Type="http://schemas.openxmlformats.org/officeDocument/2006/relationships/tags" Target="../tags/tag99.xml"/><Relationship Id="rId5" Type="http://schemas.openxmlformats.org/officeDocument/2006/relationships/chart" Target="../charts/chart8.xml"/><Relationship Id="rId4" Type="http://schemas.openxmlformats.org/officeDocument/2006/relationships/image" Target="../media/image12.emf"/></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10.xml"/><Relationship Id="rId2" Type="http://schemas.openxmlformats.org/officeDocument/2006/relationships/slideLayout" Target="../slideLayouts/slideLayout9.xml"/><Relationship Id="rId1" Type="http://schemas.openxmlformats.org/officeDocument/2006/relationships/tags" Target="../tags/tag100.xml"/><Relationship Id="rId6" Type="http://schemas.openxmlformats.org/officeDocument/2006/relationships/chart" Target="../charts/chart9.xml"/><Relationship Id="rId5" Type="http://schemas.openxmlformats.org/officeDocument/2006/relationships/image" Target="../media/image10.emf"/><Relationship Id="rId4" Type="http://schemas.openxmlformats.org/officeDocument/2006/relationships/oleObject" Target="../embeddings/oleObject57.bin"/></Relationships>
</file>

<file path=ppt/slides/_rels/slide66.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notesSlide" Target="../notesSlides/notesSlide10.xml"/><Relationship Id="rId7" Type="http://schemas.openxmlformats.org/officeDocument/2006/relationships/chart" Target="../charts/chart12.xml"/><Relationship Id="rId2" Type="http://schemas.openxmlformats.org/officeDocument/2006/relationships/slideLayout" Target="../slideLayouts/slideLayout10.xml"/><Relationship Id="rId1" Type="http://schemas.openxmlformats.org/officeDocument/2006/relationships/tags" Target="../tags/tag101.xml"/><Relationship Id="rId6" Type="http://schemas.openxmlformats.org/officeDocument/2006/relationships/chart" Target="../charts/chart11.xm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8.xml"/><Relationship Id="rId1" Type="http://schemas.openxmlformats.org/officeDocument/2006/relationships/tags" Target="../tags/tag102.xml"/><Relationship Id="rId4" Type="http://schemas.openxmlformats.org/officeDocument/2006/relationships/image" Target="../media/image10.emf"/></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image" Target="../media/image10.emf"/><Relationship Id="rId4" Type="http://schemas.openxmlformats.org/officeDocument/2006/relationships/oleObject" Target="../embeddings/oleObject60.bin"/></Relationships>
</file>

<file path=ppt/slides/_rels/slide69.xml.rels><?xml version="1.0" encoding="UTF-8" standalone="yes"?>
<Relationships xmlns="http://schemas.openxmlformats.org/package/2006/relationships"><Relationship Id="rId8" Type="http://schemas.openxmlformats.org/officeDocument/2006/relationships/image" Target="../media/image67.svg"/><Relationship Id="rId3" Type="http://schemas.openxmlformats.org/officeDocument/2006/relationships/oleObject" Target="../embeddings/oleObject61.bin"/><Relationship Id="rId7" Type="http://schemas.openxmlformats.org/officeDocument/2006/relationships/image" Target="../media/image66.png"/><Relationship Id="rId2" Type="http://schemas.openxmlformats.org/officeDocument/2006/relationships/slideLayout" Target="../slideLayouts/slideLayout8.xml"/><Relationship Id="rId1" Type="http://schemas.openxmlformats.org/officeDocument/2006/relationships/tags" Target="../tags/tag105.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10.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2.xml"/><Relationship Id="rId1" Type="http://schemas.openxmlformats.org/officeDocument/2006/relationships/tags" Target="../tags/tag9.xml"/><Relationship Id="rId4" Type="http://schemas.openxmlformats.org/officeDocument/2006/relationships/image" Target="../media/image12.emf"/></Relationships>
</file>

<file path=ppt/slides/_rels/slide70.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oleObject" Target="../embeddings/oleObject62.bin"/><Relationship Id="rId7" Type="http://schemas.openxmlformats.org/officeDocument/2006/relationships/image" Target="../media/image64.png"/><Relationship Id="rId2" Type="http://schemas.openxmlformats.org/officeDocument/2006/relationships/slideLayout" Target="../slideLayouts/slideLayout9.xml"/><Relationship Id="rId1" Type="http://schemas.openxmlformats.org/officeDocument/2006/relationships/tags" Target="../tags/tag106.xml"/><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10.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9.xml"/><Relationship Id="rId1" Type="http://schemas.openxmlformats.org/officeDocument/2006/relationships/tags" Target="../tags/tag107.xml"/><Relationship Id="rId4" Type="http://schemas.openxmlformats.org/officeDocument/2006/relationships/image" Target="../media/image10.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9.xml"/><Relationship Id="rId1" Type="http://schemas.openxmlformats.org/officeDocument/2006/relationships/tags" Target="../tags/tag108.xml"/><Relationship Id="rId4" Type="http://schemas.openxmlformats.org/officeDocument/2006/relationships/image" Target="../media/image10.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1.xml"/><Relationship Id="rId1" Type="http://schemas.openxmlformats.org/officeDocument/2006/relationships/tags" Target="../tags/tag109.xml"/><Relationship Id="rId4" Type="http://schemas.openxmlformats.org/officeDocument/2006/relationships/image" Target="../media/image10.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12.xml"/><Relationship Id="rId1" Type="http://schemas.openxmlformats.org/officeDocument/2006/relationships/tags" Target="../tags/tag110.xml"/><Relationship Id="rId4" Type="http://schemas.openxmlformats.org/officeDocument/2006/relationships/image" Target="../media/image10.emf"/></Relationships>
</file>

<file path=ppt/slides/_rels/slide75.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13.emf"/><Relationship Id="rId5" Type="http://schemas.openxmlformats.org/officeDocument/2006/relationships/oleObject" Target="../embeddings/oleObject67.bin"/><Relationship Id="rId4"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12.xml"/><Relationship Id="rId1" Type="http://schemas.openxmlformats.org/officeDocument/2006/relationships/tags" Target="../tags/tag114.xml"/><Relationship Id="rId4" Type="http://schemas.openxmlformats.org/officeDocument/2006/relationships/image" Target="../media/image10.emf"/></Relationships>
</file>

<file path=ppt/slides/_rels/slide77.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3.emf"/><Relationship Id="rId5" Type="http://schemas.openxmlformats.org/officeDocument/2006/relationships/oleObject" Target="../embeddings/oleObject69.bin"/><Relationship Id="rId4" Type="http://schemas.openxmlformats.org/officeDocument/2006/relationships/slideLayout" Target="../slideLayouts/slideLayout10.xm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12.xml"/><Relationship Id="rId1" Type="http://schemas.openxmlformats.org/officeDocument/2006/relationships/tags" Target="../tags/tag118.xml"/><Relationship Id="rId4" Type="http://schemas.openxmlformats.org/officeDocument/2006/relationships/image" Target="../media/image10.emf"/></Relationships>
</file>

<file path=ppt/slides/_rels/slide79.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oleObject" Target="../embeddings/oleObject71.bin"/><Relationship Id="rId7" Type="http://schemas.openxmlformats.org/officeDocument/2006/relationships/image" Target="../media/image70.png"/><Relationship Id="rId12" Type="http://schemas.openxmlformats.org/officeDocument/2006/relationships/image" Target="../media/image75.svg"/><Relationship Id="rId2" Type="http://schemas.openxmlformats.org/officeDocument/2006/relationships/slideLayout" Target="../slideLayouts/slideLayout12.xml"/><Relationship Id="rId1" Type="http://schemas.openxmlformats.org/officeDocument/2006/relationships/tags" Target="../tags/tag119.xml"/><Relationship Id="rId6" Type="http://schemas.openxmlformats.org/officeDocument/2006/relationships/image" Target="../media/image69.svg"/><Relationship Id="rId11" Type="http://schemas.openxmlformats.org/officeDocument/2006/relationships/image" Target="../media/image74.png"/><Relationship Id="rId5" Type="http://schemas.openxmlformats.org/officeDocument/2006/relationships/image" Target="../media/image68.png"/><Relationship Id="rId10" Type="http://schemas.openxmlformats.org/officeDocument/2006/relationships/image" Target="../media/image73.svg"/><Relationship Id="rId4" Type="http://schemas.openxmlformats.org/officeDocument/2006/relationships/image" Target="../media/image10.emf"/><Relationship Id="rId9" Type="http://schemas.openxmlformats.org/officeDocument/2006/relationships/image" Target="../media/image72.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3.emf"/><Relationship Id="rId4" Type="http://schemas.openxmlformats.org/officeDocument/2006/relationships/oleObject" Target="../embeddings/oleObject8.bin"/></Relationships>
</file>

<file path=ppt/slides/_rels/slide80.xml.rels><?xml version="1.0" encoding="UTF-8" standalone="yes"?>
<Relationships xmlns="http://schemas.openxmlformats.org/package/2006/relationships"><Relationship Id="rId8" Type="http://schemas.openxmlformats.org/officeDocument/2006/relationships/image" Target="../media/image71.svg"/><Relationship Id="rId13" Type="http://schemas.openxmlformats.org/officeDocument/2006/relationships/image" Target="../media/image78.png"/><Relationship Id="rId3" Type="http://schemas.openxmlformats.org/officeDocument/2006/relationships/oleObject" Target="../embeddings/oleObject72.bin"/><Relationship Id="rId7" Type="http://schemas.openxmlformats.org/officeDocument/2006/relationships/image" Target="../media/image70.png"/><Relationship Id="rId12" Type="http://schemas.openxmlformats.org/officeDocument/2006/relationships/image" Target="../media/image77.svg"/><Relationship Id="rId2" Type="http://schemas.openxmlformats.org/officeDocument/2006/relationships/slideLayout" Target="../slideLayouts/slideLayout7.xml"/><Relationship Id="rId16" Type="http://schemas.openxmlformats.org/officeDocument/2006/relationships/image" Target="../media/image81.svg"/><Relationship Id="rId1" Type="http://schemas.openxmlformats.org/officeDocument/2006/relationships/tags" Target="../tags/tag120.xml"/><Relationship Id="rId6" Type="http://schemas.openxmlformats.org/officeDocument/2006/relationships/image" Target="../media/image69.svg"/><Relationship Id="rId11" Type="http://schemas.openxmlformats.org/officeDocument/2006/relationships/image" Target="../media/image76.png"/><Relationship Id="rId5" Type="http://schemas.openxmlformats.org/officeDocument/2006/relationships/image" Target="../media/image68.png"/><Relationship Id="rId15" Type="http://schemas.openxmlformats.org/officeDocument/2006/relationships/image" Target="../media/image80.png"/><Relationship Id="rId10" Type="http://schemas.openxmlformats.org/officeDocument/2006/relationships/image" Target="../media/image73.svg"/><Relationship Id="rId4" Type="http://schemas.openxmlformats.org/officeDocument/2006/relationships/image" Target="../media/image12.emf"/><Relationship Id="rId9" Type="http://schemas.openxmlformats.org/officeDocument/2006/relationships/image" Target="../media/image72.png"/><Relationship Id="rId14" Type="http://schemas.openxmlformats.org/officeDocument/2006/relationships/image" Target="../media/image79.svg"/></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12.xml"/><Relationship Id="rId1" Type="http://schemas.openxmlformats.org/officeDocument/2006/relationships/tags" Target="../tags/tag121.xml"/><Relationship Id="rId4" Type="http://schemas.openxmlformats.org/officeDocument/2006/relationships/image" Target="../media/image10.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12.xml"/><Relationship Id="rId1" Type="http://schemas.openxmlformats.org/officeDocument/2006/relationships/tags" Target="../tags/tag122.xml"/><Relationship Id="rId4" Type="http://schemas.openxmlformats.org/officeDocument/2006/relationships/image" Target="../media/image10.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12.xml"/><Relationship Id="rId1" Type="http://schemas.openxmlformats.org/officeDocument/2006/relationships/tags" Target="../tags/tag123.xml"/><Relationship Id="rId4" Type="http://schemas.openxmlformats.org/officeDocument/2006/relationships/image" Target="../media/image10.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12.xml"/><Relationship Id="rId1" Type="http://schemas.openxmlformats.org/officeDocument/2006/relationships/tags" Target="../tags/tag124.xml"/><Relationship Id="rId4" Type="http://schemas.openxmlformats.org/officeDocument/2006/relationships/image" Target="../media/image10.emf"/></Relationships>
</file>

<file path=ppt/slides/_rels/slide85.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image" Target="../media/image13.emf"/><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oleObject" Target="../embeddings/oleObject77.bin"/><Relationship Id="rId5" Type="http://schemas.openxmlformats.org/officeDocument/2006/relationships/slideLayout" Target="../slideLayouts/slideLayout12.xml"/><Relationship Id="rId4" Type="http://schemas.openxmlformats.org/officeDocument/2006/relationships/tags" Target="../tags/tag128.xml"/></Relationships>
</file>

<file path=ppt/slides/_rels/slide86.xml.rels><?xml version="1.0" encoding="UTF-8" standalone="yes"?>
<Relationships xmlns="http://schemas.openxmlformats.org/package/2006/relationships"><Relationship Id="rId8" Type="http://schemas.openxmlformats.org/officeDocument/2006/relationships/oleObject" Target="../embeddings/oleObject78.bin"/><Relationship Id="rId3" Type="http://schemas.openxmlformats.org/officeDocument/2006/relationships/tags" Target="../tags/tag131.xml"/><Relationship Id="rId7" Type="http://schemas.openxmlformats.org/officeDocument/2006/relationships/slideLayout" Target="../slideLayouts/slideLayout12.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tags" Target="../tags/tag134.xml"/><Relationship Id="rId5" Type="http://schemas.openxmlformats.org/officeDocument/2006/relationships/tags" Target="../tags/tag133.xml"/><Relationship Id="rId4" Type="http://schemas.openxmlformats.org/officeDocument/2006/relationships/tags" Target="../tags/tag132.xml"/><Relationship Id="rId9" Type="http://schemas.openxmlformats.org/officeDocument/2006/relationships/image" Target="../media/image13.emf"/></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image" Target="../media/image13.emf"/><Relationship Id="rId4" Type="http://schemas.openxmlformats.org/officeDocument/2006/relationships/oleObject" Target="../embeddings/oleObject79.bin"/></Relationships>
</file>

<file path=ppt/slides/_rels/slide88.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13.emf"/><Relationship Id="rId5" Type="http://schemas.openxmlformats.org/officeDocument/2006/relationships/oleObject" Target="../embeddings/oleObject80.bin"/><Relationship Id="rId4" Type="http://schemas.openxmlformats.org/officeDocument/2006/relationships/slideLayout" Target="../slideLayouts/slideLayout12.xm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1.xml"/><Relationship Id="rId1" Type="http://schemas.openxmlformats.org/officeDocument/2006/relationships/tags" Target="../tags/tag140.xml"/><Relationship Id="rId5" Type="http://schemas.openxmlformats.org/officeDocument/2006/relationships/image" Target="../media/image13.emf"/><Relationship Id="rId4" Type="http://schemas.openxmlformats.org/officeDocument/2006/relationships/oleObject" Target="../embeddings/oleObject81.bin"/></Relationships>
</file>

<file path=ppt/slides/_rels/slide9.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4.xml"/><Relationship Id="rId7" Type="http://schemas.openxmlformats.org/officeDocument/2006/relationships/oleObject" Target="../embeddings/oleObject9.bin"/><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Layout" Target="../slideLayouts/slideLayout12.xml"/><Relationship Id="rId5" Type="http://schemas.openxmlformats.org/officeDocument/2006/relationships/tags" Target="../tags/tag16.xml"/><Relationship Id="rId4" Type="http://schemas.openxmlformats.org/officeDocument/2006/relationships/tags" Target="../tags/tag15.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image" Target="../media/image13.emf"/><Relationship Id="rId4" Type="http://schemas.openxmlformats.org/officeDocument/2006/relationships/oleObject" Target="../embeddings/oleObject82.bin"/></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5.xml"/><Relationship Id="rId1" Type="http://schemas.openxmlformats.org/officeDocument/2006/relationships/tags" Target="../tags/tag144.xml"/><Relationship Id="rId5" Type="http://schemas.openxmlformats.org/officeDocument/2006/relationships/image" Target="../media/image13.emf"/><Relationship Id="rId4" Type="http://schemas.openxmlformats.org/officeDocument/2006/relationships/oleObject" Target="../embeddings/oleObject83.bin"/></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image" Target="../media/image13.emf"/><Relationship Id="rId4" Type="http://schemas.openxmlformats.org/officeDocument/2006/relationships/oleObject" Target="../embeddings/oleObject80.bin"/></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49.xml"/><Relationship Id="rId1" Type="http://schemas.openxmlformats.org/officeDocument/2006/relationships/tags" Target="../tags/tag148.xml"/><Relationship Id="rId5" Type="http://schemas.openxmlformats.org/officeDocument/2006/relationships/image" Target="../media/image13.emf"/><Relationship Id="rId4" Type="http://schemas.openxmlformats.org/officeDocument/2006/relationships/oleObject" Target="../embeddings/oleObject84.bin"/></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9.xml"/><Relationship Id="rId1" Type="http://schemas.openxmlformats.org/officeDocument/2006/relationships/tags" Target="../tags/tag150.xml"/><Relationship Id="rId5" Type="http://schemas.openxmlformats.org/officeDocument/2006/relationships/image" Target="../media/image82.png"/><Relationship Id="rId4" Type="http://schemas.openxmlformats.org/officeDocument/2006/relationships/image" Target="../media/image1.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9.xml"/><Relationship Id="rId1" Type="http://schemas.openxmlformats.org/officeDocument/2006/relationships/tags" Target="../tags/tag151.xml"/><Relationship Id="rId4" Type="http://schemas.openxmlformats.org/officeDocument/2006/relationships/image" Target="../media/image1.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12.xml"/><Relationship Id="rId1" Type="http://schemas.openxmlformats.org/officeDocument/2006/relationships/tags" Target="../tags/tag152.xml"/><Relationship Id="rId4" Type="http://schemas.openxmlformats.org/officeDocument/2006/relationships/image" Target="../media/image1.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12.xml"/><Relationship Id="rId1" Type="http://schemas.openxmlformats.org/officeDocument/2006/relationships/tags" Target="../tags/tag153.xml"/><Relationship Id="rId4" Type="http://schemas.openxmlformats.org/officeDocument/2006/relationships/image" Target="../media/image12.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12.xml"/><Relationship Id="rId1" Type="http://schemas.openxmlformats.org/officeDocument/2006/relationships/tags" Target="../tags/tag154.xml"/><Relationship Id="rId5" Type="http://schemas.openxmlformats.org/officeDocument/2006/relationships/image" Target="../media/image83.png"/><Relationship Id="rId4" Type="http://schemas.openxmlformats.org/officeDocument/2006/relationships/image" Target="../media/image1.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6.xml"/><Relationship Id="rId1" Type="http://schemas.openxmlformats.org/officeDocument/2006/relationships/tags" Target="../tags/tag155.xml"/><Relationship Id="rId4"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Hintergrundbild">
            <a:extLst>
              <a:ext uri="{FF2B5EF4-FFF2-40B4-BE49-F238E27FC236}">
                <a16:creationId xmlns:a16="http://schemas.microsoft.com/office/drawing/2014/main" id="{7305FDB7-3001-5328-1AB5-E6BD3065D2DA}"/>
              </a:ext>
            </a:extLst>
          </p:cNvPr>
          <p:cNvPicPr>
            <a:picLocks/>
          </p:cNvPicPr>
          <p:nvPr/>
        </p:nvPicPr>
        <p:blipFill>
          <a:blip r:embed="rId3" cstate="print">
            <a:extLst>
              <a:ext uri="{28A0092B-C50C-407E-A947-70E740481C1C}">
                <a14:useLocalDpi xmlns:a14="http://schemas.microsoft.com/office/drawing/2010/main" val="0"/>
              </a:ext>
            </a:extLst>
          </a:blip>
          <a:srcRect t="7762" b="7785"/>
          <a:stretch>
            <a:fillRect/>
          </a:stretch>
        </p:blipFill>
        <p:spPr>
          <a:xfrm>
            <a:off x="0" y="0"/>
            <a:ext cx="12855575" cy="7231063"/>
          </a:xfrm>
          <a:prstGeom prst="rect">
            <a:avLst/>
          </a:prstGeom>
        </p:spPr>
      </p:pic>
      <p:graphicFrame>
        <p:nvGraphicFramePr>
          <p:cNvPr id="20483" name="think-cell data - do not delete" hidden="1">
            <a:extLst>
              <a:ext uri="{FF2B5EF4-FFF2-40B4-BE49-F238E27FC236}">
                <a16:creationId xmlns:a16="http://schemas.microsoft.com/office/drawing/2014/main" id="{75BE8ADF-BE65-FB69-1A83-0D508E50DEE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20483" name="think-cell data - do not delete" hidden="1">
                        <a:extLst>
                          <a:ext uri="{FF2B5EF4-FFF2-40B4-BE49-F238E27FC236}">
                            <a16:creationId xmlns:a16="http://schemas.microsoft.com/office/drawing/2014/main" id="{75BE8ADF-BE65-FB69-1A83-0D508E50DEE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484" name="Titel 5">
            <a:extLst>
              <a:ext uri="{FF2B5EF4-FFF2-40B4-BE49-F238E27FC236}">
                <a16:creationId xmlns:a16="http://schemas.microsoft.com/office/drawing/2014/main" id="{B445C47A-FCEA-1A4A-ADA0-3F83CC87920A}"/>
              </a:ext>
            </a:extLst>
          </p:cNvPr>
          <p:cNvSpPr>
            <a:spLocks noGrp="1" noChangeArrowheads="1"/>
          </p:cNvSpPr>
          <p:nvPr>
            <p:ph type="title"/>
          </p:nvPr>
        </p:nvSpPr>
        <p:spPr>
          <a:xfrm>
            <a:off x="306388" y="1885950"/>
            <a:ext cx="9086850" cy="4748213"/>
          </a:xfrm>
        </p:spPr>
        <p:txBody>
          <a:bodyPr/>
          <a:lstStyle/>
          <a:p>
            <a:pPr eaLnBrk="1" hangingPunct="1">
              <a:spcBef>
                <a:spcPct val="0"/>
              </a:spcBef>
              <a:spcAft>
                <a:spcPct val="0"/>
              </a:spcAft>
            </a:pPr>
            <a:r>
              <a:rPr lang="de-CH" altLang="de-DE" dirty="0">
                <a:solidFill>
                  <a:schemeClr val="bg1"/>
                </a:solidFill>
              </a:rPr>
              <a:t>Lorem ipsum </a:t>
            </a:r>
            <a:br>
              <a:rPr lang="de-CH" altLang="de-DE" dirty="0">
                <a:solidFill>
                  <a:schemeClr val="bg1"/>
                </a:solidFill>
              </a:rPr>
            </a:br>
            <a:r>
              <a:rPr lang="de-CH" altLang="de-DE" dirty="0">
                <a:solidFill>
                  <a:schemeClr val="bg1"/>
                </a:solidFill>
              </a:rPr>
              <a:t>dolor sit amet, consetetur</a:t>
            </a:r>
            <a:endParaRPr lang="de-CH" altLang="de-DE" dirty="0"/>
          </a:p>
        </p:txBody>
      </p:sp>
      <p:sp>
        <p:nvSpPr>
          <p:cNvPr id="20485" name="Untertitel 6">
            <a:extLst>
              <a:ext uri="{FF2B5EF4-FFF2-40B4-BE49-F238E27FC236}">
                <a16:creationId xmlns:a16="http://schemas.microsoft.com/office/drawing/2014/main" id="{8B1EA7C5-BD68-8318-40FF-81B6165A80AA}"/>
              </a:ext>
            </a:extLst>
          </p:cNvPr>
          <p:cNvSpPr>
            <a:spLocks noGrp="1" noChangeArrowheads="1"/>
          </p:cNvSpPr>
          <p:nvPr>
            <p:ph type="subTitle" idx="10"/>
          </p:nvPr>
        </p:nvSpPr>
        <p:spPr>
          <a:xfrm>
            <a:off x="306388" y="287338"/>
            <a:ext cx="9086850" cy="246062"/>
          </a:xfrm>
        </p:spPr>
        <p:txBody>
          <a:bodyPr/>
          <a:lstStyle/>
          <a:p>
            <a:pPr eaLnBrk="1" hangingPunct="1">
              <a:spcBef>
                <a:spcPct val="0"/>
              </a:spcBef>
              <a:spcAft>
                <a:spcPct val="0"/>
              </a:spcAft>
            </a:pPr>
            <a:r>
              <a:rPr lang="de-CH" altLang="de-DE" dirty="0">
                <a:cs typeface="Aharoni" panose="020F0502020204030204" pitchFamily="2" charset="-79"/>
              </a:rPr>
              <a:t>Titel</a:t>
            </a:r>
          </a:p>
        </p:txBody>
      </p:sp>
      <p:sp>
        <p:nvSpPr>
          <p:cNvPr id="20486" name="Textplatzhalter 7">
            <a:extLst>
              <a:ext uri="{FF2B5EF4-FFF2-40B4-BE49-F238E27FC236}">
                <a16:creationId xmlns:a16="http://schemas.microsoft.com/office/drawing/2014/main" id="{2603409C-202A-1936-173F-2F4CE9E1AE8C}"/>
              </a:ext>
            </a:extLst>
          </p:cNvPr>
          <p:cNvSpPr>
            <a:spLocks noGrp="1" noChangeArrowheads="1"/>
          </p:cNvSpPr>
          <p:nvPr>
            <p:ph type="body" sz="quarter" idx="11"/>
          </p:nvPr>
        </p:nvSpPr>
        <p:spPr>
          <a:xfrm>
            <a:off x="306388" y="554038"/>
            <a:ext cx="9086850" cy="246062"/>
          </a:xfrm>
        </p:spPr>
        <p:txBody>
          <a:bodyPr/>
          <a:lstStyle/>
          <a:p>
            <a:pPr eaLnBrk="1" hangingPunct="1">
              <a:spcBef>
                <a:spcPct val="0"/>
              </a:spcBef>
              <a:spcAft>
                <a:spcPct val="0"/>
              </a:spcAft>
            </a:pPr>
            <a:r>
              <a:rPr lang="de-CH" altLang="de-DE" dirty="0">
                <a:cs typeface="Aharoni" panose="020F0502020204030204" pitchFamily="2" charset="-79"/>
              </a:rPr>
              <a:t>H. Muster, xx. Monat Jahr</a:t>
            </a:r>
          </a:p>
        </p:txBody>
      </p:sp>
      <p:pic>
        <p:nvPicPr>
          <p:cNvPr id="9" name="ZKB_LOGO">
            <a:extLst>
              <a:ext uri="{FF2B5EF4-FFF2-40B4-BE49-F238E27FC236}">
                <a16:creationId xmlns:a16="http://schemas.microsoft.com/office/drawing/2014/main" id="{E27B430C-81FC-3BB4-040E-AF3BC826CDC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545829" y="313003"/>
            <a:ext cx="2003938" cy="468104"/>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698" name="think-cell data - do not delete" hidden="1">
            <a:extLst>
              <a:ext uri="{FF2B5EF4-FFF2-40B4-BE49-F238E27FC236}">
                <a16:creationId xmlns:a16="http://schemas.microsoft.com/office/drawing/2014/main" id="{4304E97C-1DE0-775C-15A0-DA7E3B34FCF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29698" name="think-cell data - do not delete" hidden="1">
                        <a:extLst>
                          <a:ext uri="{FF2B5EF4-FFF2-40B4-BE49-F238E27FC236}">
                            <a16:creationId xmlns:a16="http://schemas.microsoft.com/office/drawing/2014/main" id="{4304E97C-1DE0-775C-15A0-DA7E3B34FCF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9699" name="Titel 1">
            <a:extLst>
              <a:ext uri="{FF2B5EF4-FFF2-40B4-BE49-F238E27FC236}">
                <a16:creationId xmlns:a16="http://schemas.microsoft.com/office/drawing/2014/main" id="{4DFFF8AD-6A5F-7318-5654-74510240D416}"/>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Wir sind für Sie da</a:t>
            </a:r>
          </a:p>
        </p:txBody>
      </p:sp>
      <p:sp>
        <p:nvSpPr>
          <p:cNvPr id="29700" name="Foliennummernplatzhalter 13">
            <a:extLst>
              <a:ext uri="{FF2B5EF4-FFF2-40B4-BE49-F238E27FC236}">
                <a16:creationId xmlns:a16="http://schemas.microsoft.com/office/drawing/2014/main" id="{E021999A-6551-BDEF-5FB3-B42E869F44D4}"/>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10</a:t>
            </a:fld>
            <a:endParaRPr lang="de-CH" altLang="de-DE" sz="1100" dirty="0">
              <a:solidFill>
                <a:srgbClr val="003CB4"/>
              </a:solidFill>
            </a:endParaRPr>
          </a:p>
        </p:txBody>
      </p:sp>
      <p:sp>
        <p:nvSpPr>
          <p:cNvPr id="29701" name="Fußzeilenplatzhalter 12">
            <a:extLst>
              <a:ext uri="{FF2B5EF4-FFF2-40B4-BE49-F238E27FC236}">
                <a16:creationId xmlns:a16="http://schemas.microsoft.com/office/drawing/2014/main" id="{52897CE2-4C1A-6046-0830-766C1E97B091}"/>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29702" name="Inhaltsplatzhalter 9">
            <a:extLst>
              <a:ext uri="{FF2B5EF4-FFF2-40B4-BE49-F238E27FC236}">
                <a16:creationId xmlns:a16="http://schemas.microsoft.com/office/drawing/2014/main" id="{23E079BA-231E-F283-F399-384F72838A5F}"/>
              </a:ext>
            </a:extLst>
          </p:cNvPr>
          <p:cNvSpPr>
            <a:spLocks noGrp="1" noChangeArrowheads="1"/>
          </p:cNvSpPr>
          <p:nvPr>
            <p:ph idx="12"/>
          </p:nvPr>
        </p:nvSpPr>
        <p:spPr>
          <a:xfrm>
            <a:off x="306388" y="1885950"/>
            <a:ext cx="3889375" cy="4748213"/>
          </a:xfrm>
        </p:spPr>
        <p:txBody>
          <a:bodyPr/>
          <a:lstStyle/>
          <a:p>
            <a:pPr defTabSz="284163" eaLnBrk="1" hangingPunct="1">
              <a:spcBef>
                <a:spcPct val="0"/>
              </a:spcBef>
              <a:spcAft>
                <a:spcPct val="0"/>
              </a:spcAft>
              <a:buClr>
                <a:srgbClr val="000000"/>
              </a:buClr>
            </a:pPr>
            <a:r>
              <a:rPr lang="de-CH" altLang="de-DE" b="1" dirty="0">
                <a:cs typeface="Aharoni" panose="020F0502020204030204" pitchFamily="2" charset="-79"/>
              </a:rPr>
              <a:t>Abteilungsbezeichnung</a:t>
            </a:r>
          </a:p>
          <a:p>
            <a:pPr defTabSz="284163" eaLnBrk="1" hangingPunct="1">
              <a:spcBef>
                <a:spcPct val="0"/>
              </a:spcBef>
              <a:spcAft>
                <a:spcPct val="0"/>
              </a:spcAft>
              <a:buClr>
                <a:srgbClr val="000000"/>
              </a:buClr>
            </a:pPr>
            <a:r>
              <a:rPr lang="de-CH" altLang="de-DE" dirty="0">
                <a:cs typeface="Aharoni" panose="020F0502020204030204" pitchFamily="2" charset="-79"/>
              </a:rPr>
              <a:t>Abteilungsbeschreibung</a:t>
            </a:r>
          </a:p>
          <a:p>
            <a:pPr defTabSz="284163" eaLnBrk="1" hangingPunct="1">
              <a:spcBef>
                <a:spcPct val="0"/>
              </a:spcBef>
              <a:spcAft>
                <a:spcPct val="0"/>
              </a:spcAft>
              <a:buClr>
                <a:srgbClr val="000000"/>
              </a:buClr>
            </a:pPr>
            <a:r>
              <a:rPr lang="de-CH" altLang="de-DE" dirty="0">
                <a:cs typeface="Aharoni" panose="020F0502020204030204" pitchFamily="2" charset="-79"/>
              </a:rPr>
              <a:t>Zeile 2</a:t>
            </a:r>
          </a:p>
          <a:p>
            <a:pPr defTabSz="284163" eaLnBrk="1" hangingPunct="1">
              <a:spcBef>
                <a:spcPct val="0"/>
              </a:spcBef>
              <a:spcAft>
                <a:spcPct val="0"/>
              </a:spcAft>
              <a:buClr>
                <a:srgbClr val="000000"/>
              </a:buClr>
            </a:pPr>
            <a:r>
              <a:rPr lang="de-CH" altLang="de-DE" dirty="0">
                <a:cs typeface="Aharoni" panose="020F0502020204030204" pitchFamily="2" charset="-79"/>
              </a:rPr>
              <a:t>Zeile 3</a:t>
            </a:r>
          </a:p>
          <a:p>
            <a:pPr defTabSz="284163" eaLnBrk="1" hangingPunct="1">
              <a:spcBef>
                <a:spcPct val="0"/>
              </a:spcBef>
              <a:spcAft>
                <a:spcPct val="0"/>
              </a:spcAft>
              <a:buClr>
                <a:srgbClr val="000000"/>
              </a:buClr>
            </a:pPr>
            <a:r>
              <a:rPr lang="de-CH" altLang="de-DE" dirty="0">
                <a:cs typeface="Aharoni" panose="020F0502020204030204" pitchFamily="2" charset="-79"/>
              </a:rPr>
              <a:t>Zeile 4</a:t>
            </a:r>
          </a:p>
          <a:p>
            <a:pPr defTabSz="284163" eaLnBrk="1" hangingPunct="1">
              <a:spcBef>
                <a:spcPct val="0"/>
              </a:spcBef>
              <a:spcAft>
                <a:spcPct val="0"/>
              </a:spcAft>
              <a:buClr>
                <a:srgbClr val="000000"/>
              </a:buClr>
            </a:pPr>
            <a:r>
              <a:rPr lang="de-CH" altLang="de-DE" dirty="0">
                <a:cs typeface="Aharoni" panose="020F0502020204030204" pitchFamily="2" charset="-79"/>
              </a:rPr>
              <a:t>Zeile 5</a:t>
            </a:r>
          </a:p>
          <a:p>
            <a:pPr defTabSz="284163" eaLnBrk="1" hangingPunct="1">
              <a:spcBef>
                <a:spcPct val="0"/>
              </a:spcBef>
              <a:spcAft>
                <a:spcPct val="0"/>
              </a:spcAft>
              <a:buClr>
                <a:srgbClr val="000000"/>
              </a:buClr>
            </a:pPr>
            <a:endParaRPr lang="de-CH" altLang="de-DE" b="1" dirty="0">
              <a:cs typeface="Aharoni" panose="020F0502020204030204" pitchFamily="2" charset="-79"/>
            </a:endParaRPr>
          </a:p>
        </p:txBody>
      </p:sp>
      <p:pic>
        <p:nvPicPr>
          <p:cNvPr id="29703" name="Grafik 2">
            <a:extLst>
              <a:ext uri="{FF2B5EF4-FFF2-40B4-BE49-F238E27FC236}">
                <a16:creationId xmlns:a16="http://schemas.microsoft.com/office/drawing/2014/main" id="{EADD82BD-0A00-463B-51E0-169DC67A42BA}"/>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70463" y="1916113"/>
            <a:ext cx="2300287" cy="200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4" name="Grafik 3">
            <a:extLst>
              <a:ext uri="{FF2B5EF4-FFF2-40B4-BE49-F238E27FC236}">
                <a16:creationId xmlns:a16="http://schemas.microsoft.com/office/drawing/2014/main" id="{8EE03814-2285-45E4-0A54-01ABFAE3B2C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50350" y="1916113"/>
            <a:ext cx="2300288" cy="200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5" name="Inhaltsplatzhalter 12">
            <a:extLst>
              <a:ext uri="{FF2B5EF4-FFF2-40B4-BE49-F238E27FC236}">
                <a16:creationId xmlns:a16="http://schemas.microsoft.com/office/drawing/2014/main" id="{3489BC04-FBAD-B8DB-C02F-A30CE03E5183}"/>
              </a:ext>
            </a:extLst>
          </p:cNvPr>
          <p:cNvSpPr txBox="1">
            <a:spLocks noChangeArrowheads="1"/>
          </p:cNvSpPr>
          <p:nvPr/>
        </p:nvSpPr>
        <p:spPr bwMode="auto">
          <a:xfrm>
            <a:off x="4970463" y="4081463"/>
            <a:ext cx="3470275" cy="100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400" b="1" dirty="0"/>
              <a:t>Vorname Name</a:t>
            </a:r>
          </a:p>
          <a:p>
            <a:pPr eaLnBrk="1" hangingPunct="1"/>
            <a:r>
              <a:rPr lang="de-CH" altLang="de-DE" sz="1400" dirty="0"/>
              <a:t>Funktion</a:t>
            </a:r>
          </a:p>
          <a:p>
            <a:pPr eaLnBrk="1" hangingPunct="1">
              <a:lnSpc>
                <a:spcPct val="105000"/>
              </a:lnSpc>
              <a:buClr>
                <a:schemeClr val="bg2"/>
              </a:buClr>
            </a:pPr>
            <a:r>
              <a:rPr lang="de-CH" altLang="de-DE" sz="1400" dirty="0">
                <a:solidFill>
                  <a:schemeClr val="tx1"/>
                </a:solidFill>
              </a:rPr>
              <a:t>Tel. 044 292 11 11</a:t>
            </a:r>
          </a:p>
          <a:p>
            <a:pPr eaLnBrk="1" hangingPunct="1"/>
            <a:endParaRPr lang="de-CH" altLang="de-DE" sz="1400" dirty="0"/>
          </a:p>
        </p:txBody>
      </p:sp>
      <p:sp>
        <p:nvSpPr>
          <p:cNvPr id="29706" name="Inhaltsplatzhalter 13">
            <a:extLst>
              <a:ext uri="{FF2B5EF4-FFF2-40B4-BE49-F238E27FC236}">
                <a16:creationId xmlns:a16="http://schemas.microsoft.com/office/drawing/2014/main" id="{56FECB9F-7CF9-F2F3-651C-3BCBB1ED1585}"/>
              </a:ext>
            </a:extLst>
          </p:cNvPr>
          <p:cNvSpPr txBox="1">
            <a:spLocks noChangeArrowheads="1"/>
          </p:cNvSpPr>
          <p:nvPr/>
        </p:nvSpPr>
        <p:spPr bwMode="auto">
          <a:xfrm>
            <a:off x="9150350" y="4075113"/>
            <a:ext cx="3470275" cy="100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400" b="1" dirty="0"/>
              <a:t>Vorname Name</a:t>
            </a:r>
          </a:p>
          <a:p>
            <a:pPr eaLnBrk="1" hangingPunct="1"/>
            <a:r>
              <a:rPr lang="de-CH" altLang="de-DE" sz="1400" dirty="0"/>
              <a:t>Funktion</a:t>
            </a:r>
          </a:p>
          <a:p>
            <a:pPr eaLnBrk="1" hangingPunct="1">
              <a:lnSpc>
                <a:spcPct val="105000"/>
              </a:lnSpc>
              <a:buClr>
                <a:schemeClr val="bg2"/>
              </a:buClr>
            </a:pPr>
            <a:r>
              <a:rPr lang="de-CH" altLang="de-DE" sz="1400" dirty="0">
                <a:solidFill>
                  <a:schemeClr val="tx1"/>
                </a:solidFill>
              </a:rPr>
              <a:t>Tel. 044 292 11 11</a:t>
            </a:r>
          </a:p>
          <a:p>
            <a:pPr eaLnBrk="1" hangingPunct="1"/>
            <a:endParaRPr lang="de-CH" altLang="de-DE" sz="1400" dirty="0"/>
          </a:p>
        </p:txBody>
      </p:sp>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2098" name="Grafik 7">
            <a:extLst>
              <a:ext uri="{FF2B5EF4-FFF2-40B4-BE49-F238E27FC236}">
                <a16:creationId xmlns:a16="http://schemas.microsoft.com/office/drawing/2014/main" id="{4F0FD3D2-8398-DE7E-126C-BCA8F28C28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855575" cy="723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hteck 8">
            <a:extLst>
              <a:ext uri="{FF2B5EF4-FFF2-40B4-BE49-F238E27FC236}">
                <a16:creationId xmlns:a16="http://schemas.microsoft.com/office/drawing/2014/main" id="{8928A629-D59C-D855-21E7-772A6E30AE4B}"/>
              </a:ext>
            </a:extLst>
          </p:cNvPr>
          <p:cNvSpPr/>
          <p:nvPr/>
        </p:nvSpPr>
        <p:spPr>
          <a:xfrm rot="5400000">
            <a:off x="-801879" y="794926"/>
            <a:ext cx="7244962" cy="5641205"/>
          </a:xfrm>
          <a:prstGeom prst="rect">
            <a:avLst/>
          </a:prstGeom>
          <a:gradFill>
            <a:gsLst>
              <a:gs pos="96000">
                <a:srgbClr val="0A0A0A">
                  <a:alpha val="43000"/>
                </a:srgbClr>
              </a:gs>
              <a:gs pos="0">
                <a:schemeClr val="bg1">
                  <a:alpha val="0"/>
                </a:schemeClr>
              </a:gs>
            </a:gsLst>
            <a:lin ang="5400000" scaled="1"/>
          </a:gradFill>
          <a:ln w="6350" cap="flat" cmpd="sng" algn="ctr">
            <a:noFill/>
            <a:prstDash val="solid"/>
            <a:round/>
            <a:headEnd type="none" w="med" len="med"/>
            <a:tailEnd type="none" w="med" len="med"/>
          </a:ln>
          <a:effectLst/>
        </p:spPr>
        <p:txBody>
          <a:bodyPr lIns="0" tIns="0" rIns="0" bIns="0"/>
          <a:lstStyle/>
          <a:p>
            <a:pPr defTabSz="284221" eaLnBrk="1" hangingPunct="1">
              <a:lnSpc>
                <a:spcPct val="105000"/>
              </a:lnSpc>
              <a:spcBef>
                <a:spcPts val="0"/>
              </a:spcBef>
              <a:spcAft>
                <a:spcPts val="0"/>
              </a:spcAft>
              <a:buFont typeface="Frutiger for ZKB Light" panose="020B0303030504020204" pitchFamily="34" charset="0"/>
              <a:buNone/>
              <a:defRPr/>
            </a:pPr>
            <a:endParaRPr lang="de-CH" sz="1600" b="1" dirty="0">
              <a:solidFill>
                <a:srgbClr val="003CB4"/>
              </a:solidFill>
              <a:latin typeface="Frutiger for ZKB Light" panose="020B0303030504020204" pitchFamily="34" charset="0"/>
            </a:endParaRPr>
          </a:p>
        </p:txBody>
      </p:sp>
      <p:graphicFrame>
        <p:nvGraphicFramePr>
          <p:cNvPr id="132102" name="think-cell data - do not delete" hidden="1">
            <a:extLst>
              <a:ext uri="{FF2B5EF4-FFF2-40B4-BE49-F238E27FC236}">
                <a16:creationId xmlns:a16="http://schemas.microsoft.com/office/drawing/2014/main" id="{56409C8B-5A6C-7C36-353C-8E6F4957BCE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0" imgH="350" progId="TCLayout.ActiveDocument.1">
                  <p:embed/>
                </p:oleObj>
              </mc:Choice>
              <mc:Fallback>
                <p:oleObj name="think-cell Folie" r:id="rId4" imgW="350" imgH="350" progId="TCLayout.ActiveDocument.1">
                  <p:embed/>
                  <p:pic>
                    <p:nvPicPr>
                      <p:cNvPr id="132102" name="think-cell data - do not delete" hidden="1">
                        <a:extLst>
                          <a:ext uri="{FF2B5EF4-FFF2-40B4-BE49-F238E27FC236}">
                            <a16:creationId xmlns:a16="http://schemas.microsoft.com/office/drawing/2014/main" id="{56409C8B-5A6C-7C36-353C-8E6F4957BCE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2103" name="Titel 6">
            <a:extLst>
              <a:ext uri="{FF2B5EF4-FFF2-40B4-BE49-F238E27FC236}">
                <a16:creationId xmlns:a16="http://schemas.microsoft.com/office/drawing/2014/main" id="{6E381A7A-C997-AB69-FEB3-721A9A998B34}"/>
              </a:ext>
            </a:extLst>
          </p:cNvPr>
          <p:cNvSpPr>
            <a:spLocks noGrp="1" noChangeArrowheads="1"/>
          </p:cNvSpPr>
          <p:nvPr>
            <p:ph type="title"/>
          </p:nvPr>
        </p:nvSpPr>
        <p:spPr>
          <a:xfrm>
            <a:off x="306388" y="1885950"/>
            <a:ext cx="10180637" cy="4748213"/>
          </a:xfrm>
        </p:spPr>
        <p:txBody>
          <a:bodyPr/>
          <a:lstStyle/>
          <a:p>
            <a:pPr eaLnBrk="1" hangingPunct="1">
              <a:spcBef>
                <a:spcPct val="0"/>
              </a:spcBef>
              <a:spcAft>
                <a:spcPct val="0"/>
              </a:spcAft>
            </a:pPr>
            <a:r>
              <a:rPr lang="de-CH" altLang="de-DE" dirty="0">
                <a:solidFill>
                  <a:schemeClr val="bg1"/>
                </a:solidFill>
              </a:rPr>
              <a:t>Fragen</a:t>
            </a:r>
          </a:p>
        </p:txBody>
      </p:sp>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22" name="think-cell data - do not delete" hidden="1">
            <a:extLst>
              <a:ext uri="{FF2B5EF4-FFF2-40B4-BE49-F238E27FC236}">
                <a16:creationId xmlns:a16="http://schemas.microsoft.com/office/drawing/2014/main" id="{A7CDE38C-C56F-0087-A3F1-A97BB4EE8CA8}"/>
              </a:ext>
            </a:extLst>
          </p:cNvPr>
          <p:cNvGraphicFramePr>
            <a:graphicFrameLocks noChangeAspect="1"/>
          </p:cNvGraphicFramePr>
          <p:nvPr>
            <p:custDataLst>
              <p:tags r:id="rId1"/>
            </p:custDataLst>
            <p:extLst>
              <p:ext uri="{D42A27DB-BD31-4B8C-83A1-F6EECF244321}">
                <p14:modId xmlns:p14="http://schemas.microsoft.com/office/powerpoint/2010/main" val="5399585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33122" name="think-cell data - do not delete" hidden="1">
                        <a:extLst>
                          <a:ext uri="{FF2B5EF4-FFF2-40B4-BE49-F238E27FC236}">
                            <a16:creationId xmlns:a16="http://schemas.microsoft.com/office/drawing/2014/main" id="{A7CDE38C-C56F-0087-A3F1-A97BB4EE8CA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3123" name="Titel 21">
            <a:extLst>
              <a:ext uri="{FF2B5EF4-FFF2-40B4-BE49-F238E27FC236}">
                <a16:creationId xmlns:a16="http://schemas.microsoft.com/office/drawing/2014/main" id="{93D0397E-1D80-784C-0A1A-7B4932E26652}"/>
              </a:ext>
            </a:extLst>
          </p:cNvPr>
          <p:cNvSpPr>
            <a:spLocks noGrp="1" noChangeArrowheads="1"/>
          </p:cNvSpPr>
          <p:nvPr>
            <p:ph type="title"/>
          </p:nvPr>
        </p:nvSpPr>
        <p:spPr>
          <a:xfrm>
            <a:off x="306388" y="1885950"/>
            <a:ext cx="10180637" cy="4748213"/>
          </a:xfrm>
        </p:spPr>
        <p:txBody>
          <a:bodyPr vert="horz"/>
          <a:lstStyle/>
          <a:p>
            <a:pPr eaLnBrk="1" hangingPunct="1">
              <a:spcBef>
                <a:spcPct val="0"/>
              </a:spcBef>
              <a:spcAft>
                <a:spcPct val="0"/>
              </a:spcAft>
            </a:pPr>
            <a:r>
              <a:rPr lang="de-CH" altLang="de-DE" dirty="0"/>
              <a:t>Platz für eine abschliessende </a:t>
            </a:r>
            <a:br>
              <a:rPr lang="de-CH" altLang="de-DE" dirty="0"/>
            </a:br>
            <a:r>
              <a:rPr lang="de-CH" altLang="de-DE" dirty="0"/>
              <a:t>Botschaft/Danke</a:t>
            </a:r>
          </a:p>
        </p:txBody>
      </p:sp>
      <p:grpSp>
        <p:nvGrpSpPr>
          <p:cNvPr id="10" name="Gruppieren 9">
            <a:extLst>
              <a:ext uri="{FF2B5EF4-FFF2-40B4-BE49-F238E27FC236}">
                <a16:creationId xmlns:a16="http://schemas.microsoft.com/office/drawing/2014/main" id="{5860E463-D25A-625D-D27A-7917A0D0E5E3}"/>
              </a:ext>
            </a:extLst>
          </p:cNvPr>
          <p:cNvGrpSpPr/>
          <p:nvPr/>
        </p:nvGrpSpPr>
        <p:grpSpPr>
          <a:xfrm>
            <a:off x="379115" y="5703763"/>
            <a:ext cx="3351213" cy="738188"/>
            <a:chOff x="379115" y="5703763"/>
            <a:chExt cx="3351213" cy="738188"/>
          </a:xfrm>
        </p:grpSpPr>
        <p:pic>
          <p:nvPicPr>
            <p:cNvPr id="9" name="Grafik 8">
              <a:extLst>
                <a:ext uri="{FF2B5EF4-FFF2-40B4-BE49-F238E27FC236}">
                  <a16:creationId xmlns:a16="http://schemas.microsoft.com/office/drawing/2014/main" id="{6E51B621-CF9F-D1FB-AD76-277AB47BFB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9115" y="5749477"/>
              <a:ext cx="585788" cy="585788"/>
            </a:xfrm>
            <a:prstGeom prst="rect">
              <a:avLst/>
            </a:prstGeom>
          </p:spPr>
        </p:pic>
        <p:sp>
          <p:nvSpPr>
            <p:cNvPr id="6" name="Textfeld 29">
              <a:extLst>
                <a:ext uri="{FF2B5EF4-FFF2-40B4-BE49-F238E27FC236}">
                  <a16:creationId xmlns:a16="http://schemas.microsoft.com/office/drawing/2014/main" id="{FCD9545D-3096-4FE6-0CEC-CF9A24B20547}"/>
                </a:ext>
              </a:extLst>
            </p:cNvPr>
            <p:cNvSpPr txBox="1">
              <a:spLocks noChangeArrowheads="1"/>
            </p:cNvSpPr>
            <p:nvPr/>
          </p:nvSpPr>
          <p:spPr bwMode="auto">
            <a:xfrm>
              <a:off x="1220539" y="5703763"/>
              <a:ext cx="2509789" cy="7381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Tipp: </a:t>
              </a:r>
              <a:r>
                <a:rPr lang="de-CH" altLang="de-DE" dirty="0"/>
                <a:t>Botschaft/Dank kann auch über die Tonspur erfolgen</a:t>
              </a:r>
            </a:p>
          </p:txBody>
        </p:sp>
      </p:grpSp>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4146" name="think-cell data - do not delete" hidden="1">
            <a:extLst>
              <a:ext uri="{FF2B5EF4-FFF2-40B4-BE49-F238E27FC236}">
                <a16:creationId xmlns:a16="http://schemas.microsoft.com/office/drawing/2014/main" id="{91ADA4CA-ECAD-A0A6-EFA9-C0304FA08A32}"/>
              </a:ext>
            </a:extLst>
          </p:cNvPr>
          <p:cNvGraphicFramePr>
            <a:graphicFrameLocks noChangeAspect="1"/>
          </p:cNvGraphicFramePr>
          <p:nvPr>
            <p:custDataLst>
              <p:tags r:id="rId1"/>
            </p:custDataLst>
            <p:extLst>
              <p:ext uri="{D42A27DB-BD31-4B8C-83A1-F6EECF244321}">
                <p14:modId xmlns:p14="http://schemas.microsoft.com/office/powerpoint/2010/main" val="19658610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34146" name="think-cell data - do not delete" hidden="1">
                        <a:extLst>
                          <a:ext uri="{FF2B5EF4-FFF2-40B4-BE49-F238E27FC236}">
                            <a16:creationId xmlns:a16="http://schemas.microsoft.com/office/drawing/2014/main" id="{91ADA4CA-ECAD-A0A6-EFA9-C0304FA08A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4147" name="Rechteck 1">
            <a:extLst>
              <a:ext uri="{FF2B5EF4-FFF2-40B4-BE49-F238E27FC236}">
                <a16:creationId xmlns:a16="http://schemas.microsoft.com/office/drawing/2014/main" id="{2A2CC1B6-2A00-7582-4AD8-22050B16BD00}"/>
              </a:ext>
            </a:extLst>
          </p:cNvPr>
          <p:cNvSpPr>
            <a:spLocks noChangeArrowheads="1"/>
          </p:cNvSpPr>
          <p:nvPr/>
        </p:nvSpPr>
        <p:spPr bwMode="auto">
          <a:xfrm>
            <a:off x="0" y="0"/>
            <a:ext cx="12855575" cy="7231063"/>
          </a:xfrm>
          <a:prstGeom prst="rect">
            <a:avLst/>
          </a:prstGeom>
          <a:solidFill>
            <a:srgbClr val="003CB4"/>
          </a:solidFill>
          <a:ln w="6350" algn="ctr">
            <a:solidFill>
              <a:srgbClr val="000000"/>
            </a:solidFill>
            <a:round/>
            <a:headEnd/>
            <a:tailEnd/>
          </a:ln>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dirty="0"/>
          </a:p>
        </p:txBody>
      </p:sp>
      <p:sp>
        <p:nvSpPr>
          <p:cNvPr id="21" name="Titel 1">
            <a:extLst>
              <a:ext uri="{FF2B5EF4-FFF2-40B4-BE49-F238E27FC236}">
                <a16:creationId xmlns:a16="http://schemas.microsoft.com/office/drawing/2014/main" id="{26584CEC-7E7B-E6A7-5331-6EB056A41CF0}"/>
              </a:ext>
            </a:extLst>
          </p:cNvPr>
          <p:cNvSpPr txBox="1">
            <a:spLocks/>
          </p:cNvSpPr>
          <p:nvPr/>
        </p:nvSpPr>
        <p:spPr>
          <a:xfrm>
            <a:off x="306388" y="287338"/>
            <a:ext cx="10180637" cy="863600"/>
          </a:xfrm>
          <a:prstGeom prst="rect">
            <a:avLst/>
          </a:prstGeom>
          <a:ln>
            <a:solidFill>
              <a:schemeClr val="bg1">
                <a:lumMod val="75000"/>
                <a:alpha val="0"/>
              </a:schemeClr>
            </a:solidFill>
          </a:ln>
        </p:spPr>
        <p:txBody>
          <a:bodyPr/>
          <a:lstStyle>
            <a:lvl1pPr marL="0" indent="0" algn="l" defTabSz="964143" rtl="0" eaLnBrk="1" latinLnBrk="0" hangingPunct="1">
              <a:lnSpc>
                <a:spcPct val="95000"/>
              </a:lnSpc>
              <a:spcBef>
                <a:spcPts val="0"/>
              </a:spcBef>
              <a:spcAft>
                <a:spcPts val="0"/>
              </a:spcAft>
              <a:buNone/>
              <a:defRPr sz="2700" b="1" i="0" u="none" kern="1200">
                <a:solidFill>
                  <a:srgbClr val="003CB4"/>
                </a:solidFill>
                <a:latin typeface="Frutiger for ZKB Light" panose="020B0303030504020204" pitchFamily="34" charset="0"/>
                <a:ea typeface="+mj-ea"/>
                <a:cs typeface="+mj-cs"/>
              </a:defRPr>
            </a:lvl1pPr>
          </a:lstStyle>
          <a:p>
            <a:pPr>
              <a:defRPr/>
            </a:pPr>
            <a:endParaRPr lang="de-CH" dirty="0">
              <a:solidFill>
                <a:srgbClr val="FFFFFF"/>
              </a:solidFill>
            </a:endParaRPr>
          </a:p>
        </p:txBody>
      </p:sp>
      <p:sp>
        <p:nvSpPr>
          <p:cNvPr id="134149" name="Titel 2">
            <a:extLst>
              <a:ext uri="{FF2B5EF4-FFF2-40B4-BE49-F238E27FC236}">
                <a16:creationId xmlns:a16="http://schemas.microsoft.com/office/drawing/2014/main" id="{E5159887-7D86-90AD-5FB5-25EEEA3887CE}"/>
              </a:ext>
            </a:extLst>
          </p:cNvPr>
          <p:cNvSpPr>
            <a:spLocks noGrp="1" noChangeArrowheads="1"/>
          </p:cNvSpPr>
          <p:nvPr>
            <p:ph type="title"/>
          </p:nvPr>
        </p:nvSpPr>
        <p:spPr>
          <a:xfrm>
            <a:off x="306388" y="1885950"/>
            <a:ext cx="10180637" cy="4748213"/>
          </a:xfrm>
        </p:spPr>
        <p:txBody>
          <a:bodyPr vert="horz"/>
          <a:lstStyle/>
          <a:p>
            <a:pPr eaLnBrk="1" hangingPunct="1">
              <a:spcBef>
                <a:spcPct val="0"/>
              </a:spcBef>
              <a:spcAft>
                <a:spcPct val="0"/>
              </a:spcAft>
            </a:pPr>
            <a:r>
              <a:rPr lang="de-CH" altLang="de-DE" dirty="0"/>
              <a:t>Platz für eine abschliessende </a:t>
            </a:r>
            <a:br>
              <a:rPr lang="de-CH" altLang="de-DE" dirty="0"/>
            </a:br>
            <a:r>
              <a:rPr lang="de-CH" altLang="de-DE" dirty="0"/>
              <a:t>Botschaft/Danke </a:t>
            </a:r>
          </a:p>
        </p:txBody>
      </p:sp>
      <p:grpSp>
        <p:nvGrpSpPr>
          <p:cNvPr id="9" name="Gruppieren 8">
            <a:extLst>
              <a:ext uri="{FF2B5EF4-FFF2-40B4-BE49-F238E27FC236}">
                <a16:creationId xmlns:a16="http://schemas.microsoft.com/office/drawing/2014/main" id="{B46BA9A1-C2FF-D97E-179E-40E3211291AA}"/>
              </a:ext>
            </a:extLst>
          </p:cNvPr>
          <p:cNvGrpSpPr/>
          <p:nvPr/>
        </p:nvGrpSpPr>
        <p:grpSpPr>
          <a:xfrm>
            <a:off x="379115" y="5703763"/>
            <a:ext cx="3351213" cy="738188"/>
            <a:chOff x="379115" y="5703763"/>
            <a:chExt cx="3351213" cy="738188"/>
          </a:xfrm>
        </p:grpSpPr>
        <p:pic>
          <p:nvPicPr>
            <p:cNvPr id="10" name="Grafik 9">
              <a:extLst>
                <a:ext uri="{FF2B5EF4-FFF2-40B4-BE49-F238E27FC236}">
                  <a16:creationId xmlns:a16="http://schemas.microsoft.com/office/drawing/2014/main" id="{B7D32D83-722D-7D5E-E1D5-694392CDA8E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9115" y="5749477"/>
              <a:ext cx="585788" cy="585788"/>
            </a:xfrm>
            <a:prstGeom prst="rect">
              <a:avLst/>
            </a:prstGeom>
          </p:spPr>
        </p:pic>
        <p:sp>
          <p:nvSpPr>
            <p:cNvPr id="11" name="Textfeld 29">
              <a:extLst>
                <a:ext uri="{FF2B5EF4-FFF2-40B4-BE49-F238E27FC236}">
                  <a16:creationId xmlns:a16="http://schemas.microsoft.com/office/drawing/2014/main" id="{38965228-D5EC-0AB6-E8C1-A8896950C7E8}"/>
                </a:ext>
              </a:extLst>
            </p:cNvPr>
            <p:cNvSpPr txBox="1">
              <a:spLocks noChangeArrowheads="1"/>
            </p:cNvSpPr>
            <p:nvPr/>
          </p:nvSpPr>
          <p:spPr bwMode="auto">
            <a:xfrm>
              <a:off x="1220539" y="5703763"/>
              <a:ext cx="2509789" cy="7381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solidFill>
                    <a:srgbClr val="FFFFFF"/>
                  </a:solidFill>
                </a:rPr>
                <a:t>Tipp: </a:t>
              </a:r>
              <a:r>
                <a:rPr lang="de-CH" altLang="de-DE" dirty="0">
                  <a:solidFill>
                    <a:srgbClr val="FFFFFF"/>
                  </a:solidFill>
                </a:rPr>
                <a:t>Botschaft/Dank kann auch über die Tonspur erfolgen</a:t>
              </a:r>
            </a:p>
          </p:txBody>
        </p:sp>
      </p:grpSp>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5170" name="think-cell data - do not delete" hidden="1">
            <a:extLst>
              <a:ext uri="{FF2B5EF4-FFF2-40B4-BE49-F238E27FC236}">
                <a16:creationId xmlns:a16="http://schemas.microsoft.com/office/drawing/2014/main" id="{DA067E7E-A35F-A47C-5DA3-DD9A4375222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35170" name="think-cell data - do not delete" hidden="1">
                        <a:extLst>
                          <a:ext uri="{FF2B5EF4-FFF2-40B4-BE49-F238E27FC236}">
                            <a16:creationId xmlns:a16="http://schemas.microsoft.com/office/drawing/2014/main" id="{DA067E7E-A35F-A47C-5DA3-DD9A4375222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5171" name="Foliennummernplatzhalter 9">
            <a:extLst>
              <a:ext uri="{FF2B5EF4-FFF2-40B4-BE49-F238E27FC236}">
                <a16:creationId xmlns:a16="http://schemas.microsoft.com/office/drawing/2014/main" id="{B2FAC6BD-9A44-F6B1-080A-831F9C2360CD}"/>
              </a:ext>
            </a:extLst>
          </p:cNvPr>
          <p:cNvSpPr>
            <a:spLocks noGrp="1" noChangeArrowheads="1"/>
          </p:cNvSpPr>
          <p:nvPr>
            <p:ph type="sldNum" sz="quarter" idx="13"/>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D14B8BA0-0E40-4971-9339-B8C4F039CF03}" type="slidenum">
              <a:rPr lang="de-CH" smtClean="0"/>
              <a:pPr>
                <a:spcBef>
                  <a:spcPct val="0"/>
                </a:spcBef>
                <a:spcAft>
                  <a:spcPct val="0"/>
                </a:spcAft>
                <a:defRPr/>
              </a:pPr>
              <a:t>104</a:t>
            </a:fld>
            <a:endParaRPr lang="de-CH" altLang="de-DE" sz="1100" dirty="0">
              <a:solidFill>
                <a:srgbClr val="003CB4"/>
              </a:solidFill>
            </a:endParaRPr>
          </a:p>
        </p:txBody>
      </p:sp>
      <p:sp>
        <p:nvSpPr>
          <p:cNvPr id="135172" name="Fußzeilenplatzhalter 5">
            <a:extLst>
              <a:ext uri="{FF2B5EF4-FFF2-40B4-BE49-F238E27FC236}">
                <a16:creationId xmlns:a16="http://schemas.microsoft.com/office/drawing/2014/main" id="{5B9D151D-DBC4-79B6-F194-5BFFBA495F6F}"/>
              </a:ext>
            </a:extLst>
          </p:cNvPr>
          <p:cNvSpPr>
            <a:spLocks noGrp="1" noChangeArrowheads="1"/>
          </p:cNvSpPr>
          <p:nvPr>
            <p:ph type="ftr" sz="quarter" idx="14"/>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 name="Textplatzhalter 2">
            <a:extLst>
              <a:ext uri="{FF2B5EF4-FFF2-40B4-BE49-F238E27FC236}">
                <a16:creationId xmlns:a16="http://schemas.microsoft.com/office/drawing/2014/main" id="{0A7CC58A-FE42-0FE7-92AB-992F17884BB1}"/>
              </a:ext>
            </a:extLst>
          </p:cNvPr>
          <p:cNvSpPr>
            <a:spLocks noGrp="1"/>
          </p:cNvSpPr>
          <p:nvPr>
            <p:ph type="body" idx="12"/>
          </p:nvPr>
        </p:nvSpPr>
        <p:spPr>
          <a:xfrm>
            <a:off x="306388" y="1885950"/>
            <a:ext cx="12242800" cy="4748213"/>
          </a:xfrm>
        </p:spPr>
        <p:txBody>
          <a:bodyPr rtlCol="0"/>
          <a:lstStyle/>
          <a:p>
            <a:pPr defTabSz="914400" eaLnBrk="1" fontAlgn="auto" hangingPunct="1">
              <a:buClrTx/>
              <a:buFontTx/>
              <a:buNone/>
              <a:defRPr/>
            </a:pPr>
            <a:r>
              <a:rPr lang="de-CH" b="1" dirty="0">
                <a:cs typeface="+mn-cs"/>
              </a:rPr>
              <a:t>Rechtliche Hinweise</a:t>
            </a:r>
          </a:p>
          <a:p>
            <a:pPr eaLnBrk="1" fontAlgn="auto" hangingPunct="1">
              <a:defRPr/>
            </a:pPr>
            <a:r>
              <a:rPr lang="de-CH" dirty="0">
                <a:ea typeface="Times New Roman" panose="02020603050405020304" pitchFamily="18" charset="0"/>
                <a:cs typeface="Calibri" panose="020F0502020204030204" pitchFamily="34" charset="0"/>
              </a:rPr>
              <a:t>Dieses Dokument dient ausschliesslich Informations- und Werbezwecken. Es stellt weder ein Angebot noch eine Empfehlung zum Erwerb, Halten oder Verkauf von Finanzinstrumenten oder zum Bezug von Produkten oder Dienstleistungen dar, noch bildet es Grundlage für einen Vertrag oder eine Verpflichtung irgendwelcher Art. Aufgrund rechtlicher, regulatorischer oder steuerlicher Bestimmungen kann die Verfügbarkeit von Produkten und Dienstleistungen für bestimmte Personen Einschränkungen unterliegen, die sich namentlich aufgrund des Wohnsitzes bzw. Sitzes, der Nationalität oder der Kundensegmentierung ergeben können. Einschränkungen bestehen insbesondere für U.S.-Personen gemäss den einschlägigen Regulierungen. Es wird empfohlen, die Informationen allenfalls unter Beizug einer Beraterin oder eines Beraters auf ihre Vereinbarkeit mit den persönlichen Verhältnissen sowie auf rechtliche, regulatorische, steuerliche und andere Auswirkungen zu prüfen. Das Dokument wurde von der Zürcher Kantonalbank mit geschäftsüblicher Sorgfalt erstellt und kann Informationen aus sorgfältig ausgewählten Drittquellen enthalten. Die Zürcher Kantonalbank bietet keine Gewähr für die Richtigkeit und Vollständigkeit der darin enthaltenen Informationen und lehnt jede Haftung für Schäden ab, die sich aus der Verwendung des Dokuments oder Informationen daraus ergeben. Die in diesem Dokument enthaltenen Informationen können von der Zürcher Kantonalbank jederzeit ohne vorgängige Ankündigung geändert werden.</a:t>
            </a:r>
          </a:p>
          <a:p>
            <a:pPr eaLnBrk="1" fontAlgn="auto" hangingPunct="1">
              <a:defRPr/>
            </a:pPr>
            <a:r>
              <a:rPr lang="de-CH" dirty="0">
                <a:ea typeface="Times New Roman" panose="02020603050405020304" pitchFamily="18" charset="0"/>
                <a:cs typeface="Calibri" panose="020F0502020204030204" pitchFamily="34" charset="0"/>
              </a:rPr>
              <a:t>© 2025 Zürcher Kantonalbank. Alle Rechte vorbehalten.</a:t>
            </a:r>
            <a:endParaRPr lang="de-CH" dirty="0"/>
          </a:p>
        </p:txBody>
      </p:sp>
      <p:sp>
        <p:nvSpPr>
          <p:cNvPr id="135174" name="Rechteck 3">
            <a:extLst>
              <a:ext uri="{FF2B5EF4-FFF2-40B4-BE49-F238E27FC236}">
                <a16:creationId xmlns:a16="http://schemas.microsoft.com/office/drawing/2014/main" id="{4D43B11C-2841-5490-A84E-530A4975E1F9}"/>
              </a:ext>
            </a:extLst>
          </p:cNvPr>
          <p:cNvSpPr>
            <a:spLocks noChangeArrowheads="1"/>
          </p:cNvSpPr>
          <p:nvPr/>
        </p:nvSpPr>
        <p:spPr bwMode="auto">
          <a:xfrm>
            <a:off x="3170238" y="1743075"/>
            <a:ext cx="6827837" cy="2089150"/>
          </a:xfrm>
          <a:prstGeom prst="rect">
            <a:avLst/>
          </a:prstGeom>
          <a:solidFill>
            <a:srgbClr val="F88381"/>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nchor="ctr"/>
          <a:lstStyle>
            <a:lvl1pPr marL="357188"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dirty="0">
                <a:solidFill>
                  <a:srgbClr val="FFFFFF"/>
                </a:solidFill>
                <a:ea typeface="Calibri" panose="020F0502020204030204" pitchFamily="34" charset="0"/>
                <a:cs typeface="Times New Roman" panose="02020603050405020304" pitchFamily="18" charset="0"/>
              </a:rPr>
              <a:t>Dieser Disclaimer ist nicht für jede Präsentation geeignet.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Die Checkliste Self-Assessment zu Anhang 3 der Weisung Marken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und Marketing, gibt eine Indikation für den Inhalt des Disclaimers.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Bei Unklarheiten oder Fragen setze dich mit deiner Ansprechperson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von Legal &amp; Compliance in Verbindung.</a:t>
            </a:r>
          </a:p>
          <a:p>
            <a:pPr eaLnBrk="1" hangingPunct="1">
              <a:lnSpc>
                <a:spcPct val="105000"/>
              </a:lnSpc>
            </a:pPr>
            <a:endParaRPr lang="de-CH" altLang="de-DE" dirty="0">
              <a:solidFill>
                <a:srgbClr val="FFFFFF"/>
              </a:solidFill>
              <a:ea typeface="Calibri" panose="020F0502020204030204" pitchFamily="34" charset="0"/>
              <a:cs typeface="Times New Roman" panose="02020603050405020304" pitchFamily="18" charset="0"/>
            </a:endParaRPr>
          </a:p>
          <a:p>
            <a:pPr eaLnBrk="1" hangingPunct="1">
              <a:lnSpc>
                <a:spcPct val="105000"/>
              </a:lnSpc>
            </a:pPr>
            <a:r>
              <a:rPr lang="de-CH" altLang="de-DE" dirty="0">
                <a:solidFill>
                  <a:srgbClr val="FFFFFF"/>
                </a:solidFill>
                <a:ea typeface="Calibri" panose="020F0502020204030204" pitchFamily="34" charset="0"/>
                <a:cs typeface="Times New Roman" panose="02020603050405020304" pitchFamily="18" charset="0"/>
              </a:rPr>
              <a:t>Sprache: Deutsch</a:t>
            </a:r>
          </a:p>
        </p:txBody>
      </p:sp>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6194" name="think-cell data - do not delete" hidden="1">
            <a:extLst>
              <a:ext uri="{FF2B5EF4-FFF2-40B4-BE49-F238E27FC236}">
                <a16:creationId xmlns:a16="http://schemas.microsoft.com/office/drawing/2014/main" id="{6B06B47D-A0E0-667A-FC12-BC148572976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36194" name="think-cell data - do not delete" hidden="1">
                        <a:extLst>
                          <a:ext uri="{FF2B5EF4-FFF2-40B4-BE49-F238E27FC236}">
                            <a16:creationId xmlns:a16="http://schemas.microsoft.com/office/drawing/2014/main" id="{6B06B47D-A0E0-667A-FC12-BC148572976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6195" name="Foliennummernplatzhalter 9">
            <a:extLst>
              <a:ext uri="{FF2B5EF4-FFF2-40B4-BE49-F238E27FC236}">
                <a16:creationId xmlns:a16="http://schemas.microsoft.com/office/drawing/2014/main" id="{AABB7F69-7C76-1BF4-8195-D52810C3D753}"/>
              </a:ext>
            </a:extLst>
          </p:cNvPr>
          <p:cNvSpPr>
            <a:spLocks noGrp="1" noChangeArrowheads="1"/>
          </p:cNvSpPr>
          <p:nvPr>
            <p:ph type="sldNum" sz="quarter" idx="13"/>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D14B8BA0-0E40-4971-9339-B8C4F039CF03}" type="slidenum">
              <a:rPr lang="de-CH" smtClean="0"/>
              <a:pPr>
                <a:spcBef>
                  <a:spcPct val="0"/>
                </a:spcBef>
                <a:spcAft>
                  <a:spcPct val="0"/>
                </a:spcAft>
                <a:defRPr/>
              </a:pPr>
              <a:t>105</a:t>
            </a:fld>
            <a:endParaRPr lang="de-CH" altLang="de-DE" sz="1100" dirty="0">
              <a:solidFill>
                <a:srgbClr val="003CB4"/>
              </a:solidFill>
            </a:endParaRPr>
          </a:p>
        </p:txBody>
      </p:sp>
      <p:sp>
        <p:nvSpPr>
          <p:cNvPr id="136196" name="Fußzeilenplatzhalter 5">
            <a:extLst>
              <a:ext uri="{FF2B5EF4-FFF2-40B4-BE49-F238E27FC236}">
                <a16:creationId xmlns:a16="http://schemas.microsoft.com/office/drawing/2014/main" id="{029B978C-9489-19AC-F3FB-1CB7BE1B0054}"/>
              </a:ext>
            </a:extLst>
          </p:cNvPr>
          <p:cNvSpPr>
            <a:spLocks noGrp="1" noChangeArrowheads="1"/>
          </p:cNvSpPr>
          <p:nvPr>
            <p:ph type="ftr" sz="quarter" idx="14"/>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 name="Textplatzhalter 2">
            <a:extLst>
              <a:ext uri="{FF2B5EF4-FFF2-40B4-BE49-F238E27FC236}">
                <a16:creationId xmlns:a16="http://schemas.microsoft.com/office/drawing/2014/main" id="{BBBA7FE4-004A-D29E-355F-9BACA39B442C}"/>
              </a:ext>
            </a:extLst>
          </p:cNvPr>
          <p:cNvSpPr>
            <a:spLocks noGrp="1"/>
          </p:cNvSpPr>
          <p:nvPr>
            <p:ph type="body" idx="12"/>
          </p:nvPr>
        </p:nvSpPr>
        <p:spPr>
          <a:xfrm>
            <a:off x="306388" y="1885950"/>
            <a:ext cx="12242800" cy="4748213"/>
          </a:xfrm>
        </p:spPr>
        <p:txBody>
          <a:bodyPr rtlCol="0"/>
          <a:lstStyle/>
          <a:p>
            <a:pPr defTabSz="914400" eaLnBrk="1" fontAlgn="auto" hangingPunct="1">
              <a:buClrTx/>
              <a:buFontTx/>
              <a:buNone/>
              <a:defRPr/>
            </a:pPr>
            <a:r>
              <a:rPr lang="de-CH" b="1" dirty="0">
                <a:cs typeface="+mn-cs"/>
              </a:rPr>
              <a:t>Legal notices</a:t>
            </a:r>
            <a:br>
              <a:rPr lang="de-CH" b="1" dirty="0">
                <a:cs typeface="+mn-cs"/>
              </a:rPr>
            </a:br>
            <a:r>
              <a:rPr lang="de-CH" dirty="0"/>
              <a:t>This document is for information and advertising purposes only. It does not constitute an </a:t>
            </a:r>
            <a:r>
              <a:rPr lang="de-CH" dirty="0" err="1"/>
              <a:t>offer</a:t>
            </a:r>
            <a:r>
              <a:rPr lang="de-CH" dirty="0"/>
              <a:t> </a:t>
            </a:r>
            <a:r>
              <a:rPr lang="de-CH" dirty="0" err="1"/>
              <a:t>or</a:t>
            </a:r>
            <a:r>
              <a:rPr lang="de-CH" dirty="0"/>
              <a:t> a </a:t>
            </a:r>
            <a:r>
              <a:rPr lang="de-CH" dirty="0" err="1"/>
              <a:t>recommendation</a:t>
            </a:r>
            <a:r>
              <a:rPr lang="de-CH" dirty="0"/>
              <a:t> </a:t>
            </a:r>
            <a:r>
              <a:rPr lang="de-CH" dirty="0" err="1"/>
              <a:t>to</a:t>
            </a:r>
            <a:r>
              <a:rPr lang="de-CH" dirty="0"/>
              <a:t> </a:t>
            </a:r>
            <a:r>
              <a:rPr lang="de-CH" dirty="0" err="1"/>
              <a:t>purchase</a:t>
            </a:r>
            <a:r>
              <a:rPr lang="de-CH" dirty="0"/>
              <a:t>, hold </a:t>
            </a:r>
            <a:r>
              <a:rPr lang="de-CH" dirty="0" err="1"/>
              <a:t>or</a:t>
            </a:r>
            <a:r>
              <a:rPr lang="de-CH" dirty="0"/>
              <a:t> </a:t>
            </a:r>
            <a:r>
              <a:rPr lang="de-CH" dirty="0" err="1"/>
              <a:t>sell</a:t>
            </a:r>
            <a:r>
              <a:rPr lang="de-CH" dirty="0"/>
              <a:t> </a:t>
            </a:r>
            <a:r>
              <a:rPr lang="de-CH" dirty="0" err="1"/>
              <a:t>financial</a:t>
            </a:r>
            <a:r>
              <a:rPr lang="de-CH" dirty="0"/>
              <a:t> </a:t>
            </a:r>
            <a:r>
              <a:rPr lang="de-CH" dirty="0" err="1"/>
              <a:t>instruments</a:t>
            </a:r>
            <a:r>
              <a:rPr lang="de-CH" dirty="0"/>
              <a:t> </a:t>
            </a:r>
            <a:r>
              <a:rPr lang="de-CH" dirty="0" err="1"/>
              <a:t>or</a:t>
            </a:r>
            <a:r>
              <a:rPr lang="de-CH" dirty="0"/>
              <a:t> </a:t>
            </a:r>
            <a:r>
              <a:rPr lang="de-CH" dirty="0" err="1"/>
              <a:t>to</a:t>
            </a:r>
            <a:r>
              <a:rPr lang="de-CH" dirty="0"/>
              <a:t> </a:t>
            </a:r>
            <a:r>
              <a:rPr lang="de-CH" dirty="0" err="1"/>
              <a:t>obtain</a:t>
            </a:r>
            <a:r>
              <a:rPr lang="de-CH" dirty="0"/>
              <a:t> </a:t>
            </a:r>
            <a:r>
              <a:rPr lang="de-CH" dirty="0" err="1"/>
              <a:t>services</a:t>
            </a:r>
            <a:r>
              <a:rPr lang="de-CH" dirty="0"/>
              <a:t>, </a:t>
            </a:r>
            <a:r>
              <a:rPr lang="de-CH" dirty="0" err="1"/>
              <a:t>nor</a:t>
            </a:r>
            <a:r>
              <a:rPr lang="de-CH" dirty="0"/>
              <a:t> does </a:t>
            </a:r>
            <a:r>
              <a:rPr lang="de-CH" dirty="0" err="1"/>
              <a:t>it</a:t>
            </a:r>
            <a:r>
              <a:rPr lang="de-CH" dirty="0"/>
              <a:t> form </a:t>
            </a:r>
            <a:r>
              <a:rPr lang="de-CH" dirty="0" err="1"/>
              <a:t>the</a:t>
            </a:r>
            <a:r>
              <a:rPr lang="de-CH" dirty="0"/>
              <a:t> </a:t>
            </a:r>
            <a:r>
              <a:rPr lang="de-CH" dirty="0" err="1"/>
              <a:t>basis</a:t>
            </a:r>
            <a:r>
              <a:rPr lang="de-CH" dirty="0"/>
              <a:t> for a </a:t>
            </a:r>
            <a:r>
              <a:rPr lang="de-CH" dirty="0" err="1"/>
              <a:t>contract</a:t>
            </a:r>
            <a:r>
              <a:rPr lang="de-CH" dirty="0"/>
              <a:t> </a:t>
            </a:r>
            <a:r>
              <a:rPr lang="de-CH" dirty="0" err="1"/>
              <a:t>or</a:t>
            </a:r>
            <a:r>
              <a:rPr lang="de-CH" dirty="0"/>
              <a:t> an </a:t>
            </a:r>
            <a:r>
              <a:rPr lang="de-CH" dirty="0" err="1"/>
              <a:t>obligation</a:t>
            </a:r>
            <a:r>
              <a:rPr lang="de-CH" dirty="0"/>
              <a:t> </a:t>
            </a:r>
            <a:r>
              <a:rPr lang="de-CH" dirty="0" err="1"/>
              <a:t>of</a:t>
            </a:r>
            <a:r>
              <a:rPr lang="de-CH" dirty="0"/>
              <a:t> </a:t>
            </a:r>
            <a:r>
              <a:rPr lang="de-CH" dirty="0" err="1"/>
              <a:t>any</a:t>
            </a:r>
            <a:r>
              <a:rPr lang="de-CH" dirty="0"/>
              <a:t> </a:t>
            </a:r>
            <a:r>
              <a:rPr lang="de-CH" dirty="0" err="1"/>
              <a:t>kind</a:t>
            </a:r>
            <a:r>
              <a:rPr lang="de-CH" dirty="0"/>
              <a:t>. Due </a:t>
            </a:r>
            <a:r>
              <a:rPr lang="de-CH" dirty="0" err="1"/>
              <a:t>to</a:t>
            </a:r>
            <a:r>
              <a:rPr lang="de-CH" dirty="0"/>
              <a:t> legal, </a:t>
            </a:r>
            <a:r>
              <a:rPr lang="de-CH" dirty="0" err="1"/>
              <a:t>regulatory</a:t>
            </a:r>
            <a:r>
              <a:rPr lang="de-CH" dirty="0"/>
              <a:t> </a:t>
            </a:r>
            <a:r>
              <a:rPr lang="de-CH" dirty="0" err="1"/>
              <a:t>or</a:t>
            </a:r>
            <a:r>
              <a:rPr lang="de-CH" dirty="0"/>
              <a:t> </a:t>
            </a:r>
            <a:r>
              <a:rPr lang="de-CH" dirty="0" err="1"/>
              <a:t>tax</a:t>
            </a:r>
            <a:r>
              <a:rPr lang="de-CH" dirty="0"/>
              <a:t> </a:t>
            </a:r>
            <a:r>
              <a:rPr lang="de-CH" dirty="0" err="1"/>
              <a:t>provisions</a:t>
            </a:r>
            <a:r>
              <a:rPr lang="de-CH" dirty="0"/>
              <a:t>, </a:t>
            </a:r>
            <a:r>
              <a:rPr lang="de-CH" dirty="0" err="1"/>
              <a:t>the</a:t>
            </a:r>
            <a:r>
              <a:rPr lang="de-CH" dirty="0"/>
              <a:t> </a:t>
            </a:r>
            <a:r>
              <a:rPr lang="de-CH" dirty="0" err="1"/>
              <a:t>availability</a:t>
            </a:r>
            <a:r>
              <a:rPr lang="de-CH" dirty="0"/>
              <a:t> </a:t>
            </a:r>
            <a:r>
              <a:rPr lang="de-CH" dirty="0" err="1"/>
              <a:t>of</a:t>
            </a:r>
            <a:r>
              <a:rPr lang="de-CH" dirty="0"/>
              <a:t> </a:t>
            </a:r>
            <a:r>
              <a:rPr lang="de-CH" dirty="0" err="1"/>
              <a:t>products</a:t>
            </a:r>
            <a:r>
              <a:rPr lang="de-CH" dirty="0"/>
              <a:t> and </a:t>
            </a:r>
            <a:r>
              <a:rPr lang="de-CH" dirty="0" err="1"/>
              <a:t>services</a:t>
            </a:r>
            <a:r>
              <a:rPr lang="de-CH" dirty="0"/>
              <a:t> </a:t>
            </a:r>
            <a:r>
              <a:rPr lang="de-CH" dirty="0" err="1"/>
              <a:t>to</a:t>
            </a:r>
            <a:r>
              <a:rPr lang="de-CH" dirty="0"/>
              <a:t> </a:t>
            </a:r>
            <a:r>
              <a:rPr lang="de-CH" dirty="0" err="1"/>
              <a:t>certain</a:t>
            </a:r>
            <a:r>
              <a:rPr lang="de-CH" dirty="0"/>
              <a:t> </a:t>
            </a:r>
            <a:r>
              <a:rPr lang="de-CH" dirty="0" err="1"/>
              <a:t>persons</a:t>
            </a:r>
            <a:r>
              <a:rPr lang="de-CH" dirty="0"/>
              <a:t> </a:t>
            </a:r>
            <a:r>
              <a:rPr lang="de-CH" dirty="0" err="1"/>
              <a:t>may</a:t>
            </a:r>
            <a:r>
              <a:rPr lang="de-CH" dirty="0"/>
              <a:t> </a:t>
            </a:r>
            <a:r>
              <a:rPr lang="de-CH" dirty="0" err="1"/>
              <a:t>be</a:t>
            </a:r>
            <a:r>
              <a:rPr lang="de-CH" dirty="0"/>
              <a:t> </a:t>
            </a:r>
            <a:r>
              <a:rPr lang="de-CH" dirty="0" err="1"/>
              <a:t>subject</a:t>
            </a:r>
            <a:r>
              <a:rPr lang="de-CH" dirty="0"/>
              <a:t> </a:t>
            </a:r>
            <a:r>
              <a:rPr lang="de-CH" dirty="0" err="1"/>
              <a:t>to</a:t>
            </a:r>
            <a:r>
              <a:rPr lang="de-CH" dirty="0"/>
              <a:t> </a:t>
            </a:r>
            <a:r>
              <a:rPr lang="de-CH" dirty="0" err="1"/>
              <a:t>restrictions</a:t>
            </a:r>
            <a:r>
              <a:rPr lang="de-CH" dirty="0"/>
              <a:t>, </a:t>
            </a:r>
            <a:r>
              <a:rPr lang="de-CH" dirty="0" err="1"/>
              <a:t>which</a:t>
            </a:r>
            <a:r>
              <a:rPr lang="de-CH" dirty="0"/>
              <a:t> </a:t>
            </a:r>
            <a:r>
              <a:rPr lang="de-CH" dirty="0" err="1"/>
              <a:t>may</a:t>
            </a:r>
            <a:r>
              <a:rPr lang="de-CH" dirty="0"/>
              <a:t> </a:t>
            </a:r>
            <a:r>
              <a:rPr lang="de-CH" dirty="0" err="1"/>
              <a:t>arise</a:t>
            </a:r>
            <a:r>
              <a:rPr lang="de-CH" dirty="0"/>
              <a:t> in </a:t>
            </a:r>
            <a:r>
              <a:rPr lang="de-CH" dirty="0" err="1"/>
              <a:t>particular</a:t>
            </a:r>
            <a:r>
              <a:rPr lang="de-CH" dirty="0"/>
              <a:t> due </a:t>
            </a:r>
            <a:r>
              <a:rPr lang="de-CH" dirty="0" err="1"/>
              <a:t>to</a:t>
            </a:r>
            <a:r>
              <a:rPr lang="de-CH" dirty="0"/>
              <a:t> </a:t>
            </a:r>
            <a:r>
              <a:rPr lang="de-CH" dirty="0" err="1"/>
              <a:t>their</a:t>
            </a:r>
            <a:r>
              <a:rPr lang="de-CH" dirty="0"/>
              <a:t> </a:t>
            </a:r>
            <a:r>
              <a:rPr lang="de-CH" dirty="0" err="1"/>
              <a:t>place</a:t>
            </a:r>
            <a:r>
              <a:rPr lang="de-CH" dirty="0"/>
              <a:t> </a:t>
            </a:r>
            <a:r>
              <a:rPr lang="de-CH" dirty="0" err="1"/>
              <a:t>of</a:t>
            </a:r>
            <a:r>
              <a:rPr lang="de-CH" dirty="0"/>
              <a:t> </a:t>
            </a:r>
            <a:r>
              <a:rPr lang="de-CH" dirty="0" err="1"/>
              <a:t>residence</a:t>
            </a:r>
            <a:r>
              <a:rPr lang="de-CH" dirty="0"/>
              <a:t> </a:t>
            </a:r>
            <a:r>
              <a:rPr lang="de-CH" dirty="0" err="1"/>
              <a:t>or</a:t>
            </a:r>
            <a:r>
              <a:rPr lang="de-CH" dirty="0"/>
              <a:t> </a:t>
            </a:r>
            <a:r>
              <a:rPr lang="de-CH" dirty="0" err="1"/>
              <a:t>domicile</a:t>
            </a:r>
            <a:r>
              <a:rPr lang="de-CH" dirty="0"/>
              <a:t>, </a:t>
            </a:r>
            <a:r>
              <a:rPr lang="de-CH" dirty="0" err="1"/>
              <a:t>nationality</a:t>
            </a:r>
            <a:r>
              <a:rPr lang="de-CH" dirty="0"/>
              <a:t> </a:t>
            </a:r>
            <a:r>
              <a:rPr lang="de-CH" dirty="0" err="1"/>
              <a:t>or</a:t>
            </a:r>
            <a:r>
              <a:rPr lang="de-CH" dirty="0"/>
              <a:t> </a:t>
            </a:r>
            <a:r>
              <a:rPr lang="de-CH" dirty="0" err="1"/>
              <a:t>customer</a:t>
            </a:r>
            <a:r>
              <a:rPr lang="de-CH" dirty="0"/>
              <a:t> </a:t>
            </a:r>
            <a:r>
              <a:rPr lang="de-CH" dirty="0" err="1"/>
              <a:t>segmentation</a:t>
            </a:r>
            <a:r>
              <a:rPr lang="de-CH" dirty="0"/>
              <a:t>. </a:t>
            </a:r>
            <a:r>
              <a:rPr lang="de-CH" dirty="0" err="1"/>
              <a:t>Restrictions</a:t>
            </a:r>
            <a:r>
              <a:rPr lang="de-CH" dirty="0"/>
              <a:t> </a:t>
            </a:r>
            <a:r>
              <a:rPr lang="de-CH" dirty="0" err="1"/>
              <a:t>apply</a:t>
            </a:r>
            <a:r>
              <a:rPr lang="de-CH" dirty="0"/>
              <a:t> in </a:t>
            </a:r>
            <a:r>
              <a:rPr lang="de-CH" dirty="0" err="1"/>
              <a:t>particular</a:t>
            </a:r>
            <a:r>
              <a:rPr lang="de-CH" dirty="0"/>
              <a:t> </a:t>
            </a:r>
            <a:r>
              <a:rPr lang="de-CH" dirty="0" err="1"/>
              <a:t>to</a:t>
            </a:r>
            <a:r>
              <a:rPr lang="de-CH" dirty="0"/>
              <a:t> U.S. </a:t>
            </a:r>
            <a:r>
              <a:rPr lang="de-CH" dirty="0" err="1"/>
              <a:t>persons</a:t>
            </a:r>
            <a:r>
              <a:rPr lang="de-CH" dirty="0"/>
              <a:t> in </a:t>
            </a:r>
            <a:r>
              <a:rPr lang="de-CH" dirty="0" err="1"/>
              <a:t>accordance</a:t>
            </a:r>
            <a:r>
              <a:rPr lang="de-CH" dirty="0"/>
              <a:t> </a:t>
            </a:r>
            <a:r>
              <a:rPr lang="de-CH" dirty="0" err="1"/>
              <a:t>with</a:t>
            </a:r>
            <a:r>
              <a:rPr lang="de-CH" dirty="0"/>
              <a:t> </a:t>
            </a:r>
            <a:r>
              <a:rPr lang="de-CH" dirty="0" err="1"/>
              <a:t>the</a:t>
            </a:r>
            <a:r>
              <a:rPr lang="de-CH" dirty="0"/>
              <a:t> </a:t>
            </a:r>
            <a:r>
              <a:rPr lang="de-CH" dirty="0" err="1"/>
              <a:t>re</a:t>
            </a:r>
            <a:r>
              <a:rPr lang="de-CH" dirty="0"/>
              <a:t> </a:t>
            </a:r>
            <a:r>
              <a:rPr lang="de-CH" dirty="0" err="1"/>
              <a:t>levant</a:t>
            </a:r>
            <a:r>
              <a:rPr lang="de-CH" dirty="0"/>
              <a:t> </a:t>
            </a:r>
            <a:r>
              <a:rPr lang="de-CH" dirty="0" err="1"/>
              <a:t>regulations</a:t>
            </a:r>
            <a:r>
              <a:rPr lang="de-CH" dirty="0"/>
              <a:t>. It is </a:t>
            </a:r>
            <a:r>
              <a:rPr lang="de-CH" dirty="0" err="1"/>
              <a:t>advised</a:t>
            </a:r>
            <a:r>
              <a:rPr lang="de-CH" dirty="0"/>
              <a:t> </a:t>
            </a:r>
            <a:r>
              <a:rPr lang="de-CH" dirty="0" err="1"/>
              <a:t>to</a:t>
            </a:r>
            <a:r>
              <a:rPr lang="de-CH" dirty="0"/>
              <a:t> check </a:t>
            </a:r>
            <a:r>
              <a:rPr lang="de-CH" dirty="0" err="1"/>
              <a:t>the</a:t>
            </a:r>
            <a:r>
              <a:rPr lang="de-CH" dirty="0"/>
              <a:t> information, </a:t>
            </a:r>
            <a:r>
              <a:rPr lang="de-CH" dirty="0" err="1"/>
              <a:t>if</a:t>
            </a:r>
            <a:r>
              <a:rPr lang="de-CH" dirty="0"/>
              <a:t> </a:t>
            </a:r>
            <a:r>
              <a:rPr lang="de-CH" dirty="0" err="1"/>
              <a:t>necessary</a:t>
            </a:r>
            <a:r>
              <a:rPr lang="de-CH" dirty="0"/>
              <a:t> </a:t>
            </a:r>
            <a:r>
              <a:rPr lang="de-CH" dirty="0" err="1"/>
              <a:t>with</a:t>
            </a:r>
            <a:r>
              <a:rPr lang="de-CH" dirty="0"/>
              <a:t> </a:t>
            </a:r>
            <a:r>
              <a:rPr lang="de-CH" dirty="0" err="1"/>
              <a:t>the</a:t>
            </a:r>
            <a:r>
              <a:rPr lang="de-CH" dirty="0"/>
              <a:t> </a:t>
            </a:r>
            <a:r>
              <a:rPr lang="de-CH" dirty="0" err="1"/>
              <a:t>assistance</a:t>
            </a:r>
            <a:r>
              <a:rPr lang="de-CH" dirty="0"/>
              <a:t> </a:t>
            </a:r>
            <a:r>
              <a:rPr lang="de-CH" dirty="0" err="1"/>
              <a:t>of</a:t>
            </a:r>
            <a:r>
              <a:rPr lang="de-CH" dirty="0"/>
              <a:t> a </a:t>
            </a:r>
            <a:r>
              <a:rPr lang="de-CH" dirty="0" err="1"/>
              <a:t>consultant</a:t>
            </a:r>
            <a:r>
              <a:rPr lang="de-CH" dirty="0"/>
              <a:t>, for </a:t>
            </a:r>
            <a:r>
              <a:rPr lang="de-CH" dirty="0" err="1"/>
              <a:t>compatibility</a:t>
            </a:r>
            <a:r>
              <a:rPr lang="de-CH" dirty="0"/>
              <a:t> </a:t>
            </a:r>
            <a:r>
              <a:rPr lang="de-CH" dirty="0" err="1"/>
              <a:t>with</a:t>
            </a:r>
            <a:r>
              <a:rPr lang="de-CH" dirty="0"/>
              <a:t> </a:t>
            </a:r>
            <a:r>
              <a:rPr lang="de-CH" dirty="0" err="1"/>
              <a:t>the</a:t>
            </a:r>
            <a:r>
              <a:rPr lang="de-CH" dirty="0"/>
              <a:t> personal </a:t>
            </a:r>
            <a:r>
              <a:rPr lang="de-CH" dirty="0" err="1"/>
              <a:t>circumstances</a:t>
            </a:r>
            <a:r>
              <a:rPr lang="de-CH" dirty="0"/>
              <a:t> and for legal, </a:t>
            </a:r>
            <a:r>
              <a:rPr lang="de-CH" dirty="0" err="1"/>
              <a:t>regulatory</a:t>
            </a:r>
            <a:r>
              <a:rPr lang="de-CH" dirty="0"/>
              <a:t>, </a:t>
            </a:r>
            <a:r>
              <a:rPr lang="de-CH" dirty="0" err="1"/>
              <a:t>tax</a:t>
            </a:r>
            <a:r>
              <a:rPr lang="de-CH" dirty="0"/>
              <a:t> and </a:t>
            </a:r>
            <a:r>
              <a:rPr lang="de-CH" dirty="0" err="1"/>
              <a:t>other</a:t>
            </a:r>
            <a:r>
              <a:rPr lang="de-CH" dirty="0"/>
              <a:t> </a:t>
            </a:r>
            <a:r>
              <a:rPr lang="de-CH" dirty="0" err="1"/>
              <a:t>implications.The</a:t>
            </a:r>
            <a:r>
              <a:rPr lang="de-CH" dirty="0"/>
              <a:t> document was </a:t>
            </a:r>
            <a:r>
              <a:rPr lang="de-CH" dirty="0" err="1"/>
              <a:t>prepared</a:t>
            </a:r>
            <a:r>
              <a:rPr lang="de-CH" dirty="0"/>
              <a:t> </a:t>
            </a:r>
            <a:r>
              <a:rPr lang="de-CH" dirty="0" err="1"/>
              <a:t>by</a:t>
            </a:r>
            <a:r>
              <a:rPr lang="de-CH" dirty="0"/>
              <a:t> Zürcher Kantonalbank </a:t>
            </a:r>
            <a:r>
              <a:rPr lang="de-CH" dirty="0" err="1"/>
              <a:t>with</a:t>
            </a:r>
            <a:r>
              <a:rPr lang="de-CH" dirty="0"/>
              <a:t> </a:t>
            </a:r>
            <a:r>
              <a:rPr lang="de-CH" dirty="0" err="1"/>
              <a:t>customary</a:t>
            </a:r>
            <a:r>
              <a:rPr lang="de-CH" dirty="0"/>
              <a:t> due </a:t>
            </a:r>
            <a:r>
              <a:rPr lang="de-CH" dirty="0" err="1"/>
              <a:t>diligence</a:t>
            </a:r>
            <a:r>
              <a:rPr lang="de-CH" dirty="0"/>
              <a:t> and </a:t>
            </a:r>
            <a:r>
              <a:rPr lang="de-CH" dirty="0" err="1"/>
              <a:t>may</a:t>
            </a:r>
            <a:r>
              <a:rPr lang="de-CH" dirty="0"/>
              <a:t> </a:t>
            </a:r>
            <a:r>
              <a:rPr lang="de-CH" dirty="0" err="1"/>
              <a:t>contain</a:t>
            </a:r>
            <a:r>
              <a:rPr lang="de-CH" dirty="0"/>
              <a:t> information </a:t>
            </a:r>
            <a:r>
              <a:rPr lang="de-CH" dirty="0" err="1"/>
              <a:t>from</a:t>
            </a:r>
            <a:r>
              <a:rPr lang="de-CH" dirty="0"/>
              <a:t> </a:t>
            </a:r>
            <a:r>
              <a:rPr lang="de-CH" dirty="0" err="1"/>
              <a:t>carefully</a:t>
            </a:r>
            <a:r>
              <a:rPr lang="de-CH" dirty="0"/>
              <a:t> </a:t>
            </a:r>
            <a:r>
              <a:rPr lang="de-CH" dirty="0" err="1"/>
              <a:t>selected</a:t>
            </a:r>
            <a:r>
              <a:rPr lang="de-CH" dirty="0"/>
              <a:t> </a:t>
            </a:r>
            <a:r>
              <a:rPr lang="de-CH" dirty="0" err="1"/>
              <a:t>third</a:t>
            </a:r>
            <a:r>
              <a:rPr lang="de-CH" dirty="0"/>
              <a:t>-party </a:t>
            </a:r>
            <a:r>
              <a:rPr lang="de-CH" dirty="0" err="1"/>
              <a:t>sources</a:t>
            </a:r>
            <a:r>
              <a:rPr lang="de-CH" dirty="0"/>
              <a:t>. </a:t>
            </a:r>
            <a:r>
              <a:rPr lang="de-CH" dirty="0" err="1"/>
              <a:t>However</a:t>
            </a:r>
            <a:r>
              <a:rPr lang="de-CH" dirty="0"/>
              <a:t>, Zürcher Kantonalbank </a:t>
            </a:r>
            <a:r>
              <a:rPr lang="de-CH" dirty="0" err="1"/>
              <a:t>provides</a:t>
            </a:r>
            <a:r>
              <a:rPr lang="de-CH" dirty="0"/>
              <a:t> no </a:t>
            </a:r>
            <a:r>
              <a:rPr lang="de-CH" dirty="0" err="1"/>
              <a:t>warranty</a:t>
            </a:r>
            <a:r>
              <a:rPr lang="de-CH" dirty="0"/>
              <a:t> </a:t>
            </a:r>
            <a:r>
              <a:rPr lang="de-CH" dirty="0" err="1"/>
              <a:t>as</a:t>
            </a:r>
            <a:r>
              <a:rPr lang="de-CH" dirty="0"/>
              <a:t> </a:t>
            </a:r>
            <a:r>
              <a:rPr lang="de-CH" dirty="0" err="1"/>
              <a:t>to</a:t>
            </a:r>
            <a:r>
              <a:rPr lang="de-CH" dirty="0"/>
              <a:t> </a:t>
            </a:r>
            <a:r>
              <a:rPr lang="de-CH" dirty="0" err="1"/>
              <a:t>the</a:t>
            </a:r>
            <a:r>
              <a:rPr lang="de-CH" dirty="0"/>
              <a:t> </a:t>
            </a:r>
            <a:r>
              <a:rPr lang="de-CH" dirty="0" err="1"/>
              <a:t>correctness</a:t>
            </a:r>
            <a:r>
              <a:rPr lang="de-CH" dirty="0"/>
              <a:t> and </a:t>
            </a:r>
            <a:r>
              <a:rPr lang="de-CH" dirty="0" err="1"/>
              <a:t>completeness</a:t>
            </a:r>
            <a:r>
              <a:rPr lang="de-CH" dirty="0"/>
              <a:t> </a:t>
            </a:r>
            <a:r>
              <a:rPr lang="de-CH" dirty="0" err="1"/>
              <a:t>of</a:t>
            </a:r>
            <a:r>
              <a:rPr lang="de-CH" dirty="0"/>
              <a:t> </a:t>
            </a:r>
            <a:r>
              <a:rPr lang="de-CH" dirty="0" err="1"/>
              <a:t>the</a:t>
            </a:r>
            <a:r>
              <a:rPr lang="de-CH" dirty="0"/>
              <a:t> information </a:t>
            </a:r>
            <a:r>
              <a:rPr lang="de-CH" dirty="0" err="1"/>
              <a:t>contained</a:t>
            </a:r>
            <a:r>
              <a:rPr lang="de-CH" dirty="0"/>
              <a:t> </a:t>
            </a:r>
            <a:r>
              <a:rPr lang="de-CH" dirty="0" err="1"/>
              <a:t>therein</a:t>
            </a:r>
            <a:r>
              <a:rPr lang="de-CH" dirty="0"/>
              <a:t> and </a:t>
            </a:r>
            <a:r>
              <a:rPr lang="de-CH" dirty="0" err="1"/>
              <a:t>accepts</a:t>
            </a:r>
            <a:r>
              <a:rPr lang="de-CH" dirty="0"/>
              <a:t> no </a:t>
            </a:r>
            <a:r>
              <a:rPr lang="de-CH" dirty="0" err="1"/>
              <a:t>liability</a:t>
            </a:r>
            <a:r>
              <a:rPr lang="de-CH" dirty="0"/>
              <a:t> for </a:t>
            </a:r>
            <a:r>
              <a:rPr lang="de-CH" dirty="0" err="1"/>
              <a:t>damages</a:t>
            </a:r>
            <a:r>
              <a:rPr lang="de-CH" dirty="0"/>
              <a:t> </a:t>
            </a:r>
            <a:r>
              <a:rPr lang="de-CH" dirty="0" err="1"/>
              <a:t>resulting</a:t>
            </a:r>
            <a:r>
              <a:rPr lang="de-CH" dirty="0"/>
              <a:t> </a:t>
            </a:r>
            <a:r>
              <a:rPr lang="de-CH" dirty="0" err="1"/>
              <a:t>from</a:t>
            </a:r>
            <a:r>
              <a:rPr lang="de-CH" dirty="0"/>
              <a:t> </a:t>
            </a:r>
            <a:r>
              <a:rPr lang="de-CH" dirty="0" err="1"/>
              <a:t>the</a:t>
            </a:r>
            <a:r>
              <a:rPr lang="de-CH" dirty="0"/>
              <a:t> </a:t>
            </a:r>
            <a:r>
              <a:rPr lang="de-CH" dirty="0" err="1"/>
              <a:t>use</a:t>
            </a:r>
            <a:r>
              <a:rPr lang="de-CH" dirty="0"/>
              <a:t> </a:t>
            </a:r>
            <a:r>
              <a:rPr lang="de-CH" dirty="0" err="1"/>
              <a:t>of</a:t>
            </a:r>
            <a:r>
              <a:rPr lang="de-CH" dirty="0"/>
              <a:t> </a:t>
            </a:r>
            <a:r>
              <a:rPr lang="de-CH" dirty="0" err="1"/>
              <a:t>the</a:t>
            </a:r>
            <a:r>
              <a:rPr lang="de-CH" dirty="0"/>
              <a:t> document </a:t>
            </a:r>
            <a:r>
              <a:rPr lang="de-CH" dirty="0" err="1"/>
              <a:t>or</a:t>
            </a:r>
            <a:r>
              <a:rPr lang="de-CH" dirty="0"/>
              <a:t> information </a:t>
            </a:r>
            <a:r>
              <a:rPr lang="de-CH" dirty="0" err="1"/>
              <a:t>contained</a:t>
            </a:r>
            <a:r>
              <a:rPr lang="de-CH" dirty="0"/>
              <a:t> </a:t>
            </a:r>
            <a:r>
              <a:rPr lang="de-CH" dirty="0" err="1"/>
              <a:t>therein</a:t>
            </a:r>
            <a:r>
              <a:rPr lang="de-CH" dirty="0"/>
              <a:t>. The information </a:t>
            </a:r>
            <a:r>
              <a:rPr lang="de-CH" dirty="0" err="1"/>
              <a:t>contained</a:t>
            </a:r>
            <a:r>
              <a:rPr lang="de-CH" dirty="0"/>
              <a:t> in </a:t>
            </a:r>
            <a:r>
              <a:rPr lang="de-CH" dirty="0" err="1"/>
              <a:t>this</a:t>
            </a:r>
            <a:r>
              <a:rPr lang="de-CH" dirty="0"/>
              <a:t> document </a:t>
            </a:r>
            <a:r>
              <a:rPr lang="de-CH" dirty="0" err="1"/>
              <a:t>may</a:t>
            </a:r>
            <a:r>
              <a:rPr lang="de-CH" dirty="0"/>
              <a:t> </a:t>
            </a:r>
            <a:r>
              <a:rPr lang="de-CH" dirty="0" err="1"/>
              <a:t>be</a:t>
            </a:r>
            <a:r>
              <a:rPr lang="de-CH" dirty="0"/>
              <a:t> </a:t>
            </a:r>
            <a:r>
              <a:rPr lang="de-CH" dirty="0" err="1"/>
              <a:t>modified</a:t>
            </a:r>
            <a:r>
              <a:rPr lang="de-CH" dirty="0"/>
              <a:t> </a:t>
            </a:r>
            <a:r>
              <a:rPr lang="de-CH" dirty="0" err="1"/>
              <a:t>by</a:t>
            </a:r>
            <a:r>
              <a:rPr lang="de-CH" dirty="0"/>
              <a:t> Zürcher Kantonalbank at </a:t>
            </a:r>
            <a:r>
              <a:rPr lang="de-CH" dirty="0" err="1"/>
              <a:t>any</a:t>
            </a:r>
            <a:r>
              <a:rPr lang="de-CH" dirty="0"/>
              <a:t> time </a:t>
            </a:r>
            <a:r>
              <a:rPr lang="de-CH" dirty="0" err="1"/>
              <a:t>without</a:t>
            </a:r>
            <a:r>
              <a:rPr lang="de-CH" dirty="0"/>
              <a:t> </a:t>
            </a:r>
            <a:r>
              <a:rPr lang="de-CH" dirty="0" err="1"/>
              <a:t>prior</a:t>
            </a:r>
            <a:r>
              <a:rPr lang="de-CH" dirty="0"/>
              <a:t> </a:t>
            </a:r>
            <a:r>
              <a:rPr lang="de-CH" dirty="0" err="1"/>
              <a:t>notice</a:t>
            </a:r>
            <a:r>
              <a:rPr lang="de-CH" dirty="0"/>
              <a:t>.</a:t>
            </a:r>
          </a:p>
          <a:p>
            <a:pPr eaLnBrk="1" fontAlgn="auto" hangingPunct="1">
              <a:defRPr/>
            </a:pPr>
            <a:r>
              <a:rPr lang="de-CH" dirty="0"/>
              <a:t>© 2025 Zürcher Kantonalbank. All </a:t>
            </a:r>
            <a:r>
              <a:rPr lang="de-CH" dirty="0" err="1"/>
              <a:t>rights</a:t>
            </a:r>
            <a:r>
              <a:rPr lang="de-CH" dirty="0"/>
              <a:t> </a:t>
            </a:r>
            <a:r>
              <a:rPr lang="de-CH" dirty="0" err="1"/>
              <a:t>reserved</a:t>
            </a:r>
            <a:endParaRPr lang="de-CH" dirty="0"/>
          </a:p>
        </p:txBody>
      </p:sp>
      <p:sp>
        <p:nvSpPr>
          <p:cNvPr id="2" name="Rechteck 3">
            <a:extLst>
              <a:ext uri="{FF2B5EF4-FFF2-40B4-BE49-F238E27FC236}">
                <a16:creationId xmlns:a16="http://schemas.microsoft.com/office/drawing/2014/main" id="{3FA690CF-3578-B010-FB75-FDF8A08D159D}"/>
              </a:ext>
            </a:extLst>
          </p:cNvPr>
          <p:cNvSpPr>
            <a:spLocks noChangeArrowheads="1"/>
          </p:cNvSpPr>
          <p:nvPr/>
        </p:nvSpPr>
        <p:spPr bwMode="auto">
          <a:xfrm>
            <a:off x="3170238" y="1743075"/>
            <a:ext cx="6827837" cy="2089150"/>
          </a:xfrm>
          <a:prstGeom prst="rect">
            <a:avLst/>
          </a:prstGeom>
          <a:solidFill>
            <a:srgbClr val="F88381"/>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nchor="ctr"/>
          <a:lstStyle>
            <a:lvl1pPr marL="357188"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dirty="0">
                <a:solidFill>
                  <a:srgbClr val="FFFFFF"/>
                </a:solidFill>
                <a:ea typeface="Calibri" panose="020F0502020204030204" pitchFamily="34" charset="0"/>
                <a:cs typeface="Times New Roman" panose="02020603050405020304" pitchFamily="18" charset="0"/>
              </a:rPr>
              <a:t>Dieser Disclaimer ist nicht für jede Präsentation geeignet.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Die Checkliste Self-Assessment zu Anhang 3 der Weisung Marken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und Marketing, gibt eine Indikation für den Inhalt des Disclaimers.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Bei Unklarheiten oder Fragen setze dich mit deiner Ansprechperson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von Legal &amp; Compliance in Verbindung.</a:t>
            </a:r>
          </a:p>
          <a:p>
            <a:pPr eaLnBrk="1" hangingPunct="1">
              <a:lnSpc>
                <a:spcPct val="105000"/>
              </a:lnSpc>
            </a:pPr>
            <a:endParaRPr lang="de-CH" altLang="de-DE" dirty="0">
              <a:solidFill>
                <a:srgbClr val="FFFFFF"/>
              </a:solidFill>
              <a:ea typeface="Calibri" panose="020F0502020204030204" pitchFamily="34" charset="0"/>
              <a:cs typeface="Times New Roman" panose="02020603050405020304" pitchFamily="18" charset="0"/>
            </a:endParaRPr>
          </a:p>
          <a:p>
            <a:pPr eaLnBrk="1" hangingPunct="1">
              <a:lnSpc>
                <a:spcPct val="105000"/>
              </a:lnSpc>
            </a:pPr>
            <a:r>
              <a:rPr lang="de-CH" altLang="de-DE" dirty="0">
                <a:solidFill>
                  <a:srgbClr val="FFFFFF"/>
                </a:solidFill>
                <a:ea typeface="Calibri" panose="020F0502020204030204" pitchFamily="34" charset="0"/>
                <a:cs typeface="Times New Roman" panose="02020603050405020304" pitchFamily="18" charset="0"/>
              </a:rPr>
              <a:t>Sprache: Englisch</a:t>
            </a:r>
          </a:p>
        </p:txBody>
      </p:sp>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7218" name="think-cell data - do not delete" hidden="1">
            <a:extLst>
              <a:ext uri="{FF2B5EF4-FFF2-40B4-BE49-F238E27FC236}">
                <a16:creationId xmlns:a16="http://schemas.microsoft.com/office/drawing/2014/main" id="{C0B98615-A215-466D-0025-24AD44BF89F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37218" name="think-cell data - do not delete" hidden="1">
                        <a:extLst>
                          <a:ext uri="{FF2B5EF4-FFF2-40B4-BE49-F238E27FC236}">
                            <a16:creationId xmlns:a16="http://schemas.microsoft.com/office/drawing/2014/main" id="{C0B98615-A215-466D-0025-24AD44BF89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7219" name="Foliennummernplatzhalter 9">
            <a:extLst>
              <a:ext uri="{FF2B5EF4-FFF2-40B4-BE49-F238E27FC236}">
                <a16:creationId xmlns:a16="http://schemas.microsoft.com/office/drawing/2014/main" id="{587BC8E5-8001-31EB-D660-98821A730882}"/>
              </a:ext>
            </a:extLst>
          </p:cNvPr>
          <p:cNvSpPr>
            <a:spLocks noGrp="1" noChangeArrowheads="1"/>
          </p:cNvSpPr>
          <p:nvPr>
            <p:ph type="sldNum" sz="quarter" idx="13"/>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D14B8BA0-0E40-4971-9339-B8C4F039CF03}" type="slidenum">
              <a:rPr lang="de-CH" smtClean="0"/>
              <a:pPr>
                <a:spcBef>
                  <a:spcPct val="0"/>
                </a:spcBef>
                <a:spcAft>
                  <a:spcPct val="0"/>
                </a:spcAft>
                <a:defRPr/>
              </a:pPr>
              <a:t>106</a:t>
            </a:fld>
            <a:endParaRPr lang="de-CH" altLang="de-DE" sz="1100" dirty="0">
              <a:solidFill>
                <a:srgbClr val="003CB4"/>
              </a:solidFill>
            </a:endParaRPr>
          </a:p>
        </p:txBody>
      </p:sp>
      <p:sp>
        <p:nvSpPr>
          <p:cNvPr id="137220" name="Fußzeilenplatzhalter 5">
            <a:extLst>
              <a:ext uri="{FF2B5EF4-FFF2-40B4-BE49-F238E27FC236}">
                <a16:creationId xmlns:a16="http://schemas.microsoft.com/office/drawing/2014/main" id="{E94744C0-BB64-1845-1E33-3AC50D3502A2}"/>
              </a:ext>
            </a:extLst>
          </p:cNvPr>
          <p:cNvSpPr>
            <a:spLocks noGrp="1" noChangeArrowheads="1"/>
          </p:cNvSpPr>
          <p:nvPr>
            <p:ph type="ftr" sz="quarter" idx="14"/>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 name="Textplatzhalter 2">
            <a:extLst>
              <a:ext uri="{FF2B5EF4-FFF2-40B4-BE49-F238E27FC236}">
                <a16:creationId xmlns:a16="http://schemas.microsoft.com/office/drawing/2014/main" id="{012ACB0E-6D32-06DA-7880-65BE38617029}"/>
              </a:ext>
            </a:extLst>
          </p:cNvPr>
          <p:cNvSpPr>
            <a:spLocks noGrp="1"/>
          </p:cNvSpPr>
          <p:nvPr>
            <p:ph type="body" idx="12"/>
          </p:nvPr>
        </p:nvSpPr>
        <p:spPr>
          <a:xfrm>
            <a:off x="306388" y="1885950"/>
            <a:ext cx="12242800" cy="4748213"/>
          </a:xfrm>
        </p:spPr>
        <p:txBody>
          <a:bodyPr rtlCol="0"/>
          <a:lstStyle/>
          <a:p>
            <a:pPr defTabSz="914400" eaLnBrk="1" fontAlgn="auto" hangingPunct="1">
              <a:buClrTx/>
              <a:buFontTx/>
              <a:buNone/>
              <a:defRPr/>
            </a:pPr>
            <a:r>
              <a:rPr lang="de-CH" b="1" dirty="0" err="1">
                <a:cs typeface="+mn-cs"/>
              </a:rPr>
              <a:t>Mentions</a:t>
            </a:r>
            <a:r>
              <a:rPr lang="de-CH" b="1" dirty="0">
                <a:cs typeface="+mn-cs"/>
              </a:rPr>
              <a:t> </a:t>
            </a:r>
            <a:r>
              <a:rPr lang="de-CH" b="1" dirty="0" err="1">
                <a:cs typeface="+mn-cs"/>
              </a:rPr>
              <a:t>légales</a:t>
            </a:r>
            <a:br>
              <a:rPr lang="de-CH" b="1" dirty="0">
                <a:cs typeface="+mn-cs"/>
              </a:rPr>
            </a:br>
            <a:r>
              <a:rPr lang="de-CH" dirty="0"/>
              <a:t>Le </a:t>
            </a:r>
            <a:r>
              <a:rPr lang="de-CH" dirty="0" err="1"/>
              <a:t>présent</a:t>
            </a:r>
            <a:r>
              <a:rPr lang="de-CH" dirty="0"/>
              <a:t> document est </a:t>
            </a:r>
            <a:r>
              <a:rPr lang="de-CH" dirty="0" err="1"/>
              <a:t>destiné</a:t>
            </a:r>
            <a:r>
              <a:rPr lang="de-CH" dirty="0"/>
              <a:t> </a:t>
            </a:r>
            <a:r>
              <a:rPr lang="de-CH" dirty="0" err="1"/>
              <a:t>exclusivement</a:t>
            </a:r>
            <a:r>
              <a:rPr lang="de-CH" dirty="0"/>
              <a:t> à des </a:t>
            </a:r>
            <a:r>
              <a:rPr lang="de-CH" dirty="0" err="1"/>
              <a:t>fins</a:t>
            </a:r>
            <a:r>
              <a:rPr lang="de-CH" dirty="0"/>
              <a:t> informatives et </a:t>
            </a:r>
            <a:r>
              <a:rPr lang="de-CH" dirty="0" err="1"/>
              <a:t>publicitaires</a:t>
            </a:r>
            <a:r>
              <a:rPr lang="de-CH" dirty="0"/>
              <a:t>. Il ne </a:t>
            </a:r>
            <a:r>
              <a:rPr lang="de-CH" dirty="0" err="1"/>
              <a:t>constitue</a:t>
            </a:r>
            <a:r>
              <a:rPr lang="de-CH" dirty="0"/>
              <a:t> </a:t>
            </a:r>
            <a:r>
              <a:rPr lang="de-CH" dirty="0" err="1"/>
              <a:t>pas</a:t>
            </a:r>
            <a:r>
              <a:rPr lang="de-CH" dirty="0"/>
              <a:t> </a:t>
            </a:r>
            <a:r>
              <a:rPr lang="de-CH" dirty="0" err="1"/>
              <a:t>une</a:t>
            </a:r>
            <a:r>
              <a:rPr lang="de-CH" dirty="0"/>
              <a:t> </a:t>
            </a:r>
            <a:r>
              <a:rPr lang="de-CH" dirty="0" err="1"/>
              <a:t>offre</a:t>
            </a:r>
            <a:r>
              <a:rPr lang="de-CH" dirty="0"/>
              <a:t> </a:t>
            </a:r>
            <a:r>
              <a:rPr lang="de-CH" dirty="0" err="1"/>
              <a:t>ou</a:t>
            </a:r>
            <a:r>
              <a:rPr lang="de-CH" dirty="0"/>
              <a:t> </a:t>
            </a:r>
            <a:r>
              <a:rPr lang="de-CH" dirty="0" err="1"/>
              <a:t>une</a:t>
            </a:r>
            <a:r>
              <a:rPr lang="de-CH" dirty="0"/>
              <a:t> </a:t>
            </a:r>
            <a:r>
              <a:rPr lang="de-CH" dirty="0" err="1"/>
              <a:t>recommandation</a:t>
            </a:r>
            <a:r>
              <a:rPr lang="de-CH" dirty="0"/>
              <a:t> </a:t>
            </a:r>
            <a:r>
              <a:rPr lang="de-CH" dirty="0" err="1"/>
              <a:t>d’achat</a:t>
            </a:r>
            <a:r>
              <a:rPr lang="de-CH" dirty="0"/>
              <a:t>, de </a:t>
            </a:r>
            <a:r>
              <a:rPr lang="de-CH" dirty="0" err="1"/>
              <a:t>détention</a:t>
            </a:r>
            <a:r>
              <a:rPr lang="de-CH" dirty="0"/>
              <a:t> </a:t>
            </a:r>
            <a:r>
              <a:rPr lang="de-CH" dirty="0" err="1"/>
              <a:t>ou</a:t>
            </a:r>
            <a:r>
              <a:rPr lang="de-CH" dirty="0"/>
              <a:t> de </a:t>
            </a:r>
            <a:r>
              <a:rPr lang="de-CH" dirty="0" err="1"/>
              <a:t>vente</a:t>
            </a:r>
            <a:r>
              <a:rPr lang="de-CH" dirty="0"/>
              <a:t> </a:t>
            </a:r>
            <a:r>
              <a:rPr lang="de-CH" dirty="0" err="1"/>
              <a:t>d’instruments</a:t>
            </a:r>
            <a:r>
              <a:rPr lang="de-CH" dirty="0"/>
              <a:t> </a:t>
            </a:r>
            <a:r>
              <a:rPr lang="de-CH" dirty="0" err="1"/>
              <a:t>financiers</a:t>
            </a:r>
            <a:r>
              <a:rPr lang="de-CH" dirty="0"/>
              <a:t> </a:t>
            </a:r>
            <a:r>
              <a:rPr lang="de-CH" dirty="0" err="1"/>
              <a:t>ou</a:t>
            </a:r>
            <a:r>
              <a:rPr lang="de-CH" dirty="0"/>
              <a:t> de </a:t>
            </a:r>
            <a:r>
              <a:rPr lang="de-CH" dirty="0" err="1"/>
              <a:t>fourniture</a:t>
            </a:r>
            <a:r>
              <a:rPr lang="de-CH" dirty="0"/>
              <a:t> de </a:t>
            </a:r>
            <a:r>
              <a:rPr lang="de-CH" dirty="0" err="1"/>
              <a:t>prestations</a:t>
            </a:r>
            <a:r>
              <a:rPr lang="de-CH" dirty="0"/>
              <a:t>, et ne </a:t>
            </a:r>
            <a:r>
              <a:rPr lang="de-CH" dirty="0" err="1"/>
              <a:t>constitue</a:t>
            </a:r>
            <a:r>
              <a:rPr lang="de-CH" dirty="0"/>
              <a:t> </a:t>
            </a:r>
            <a:r>
              <a:rPr lang="de-CH" dirty="0" err="1"/>
              <a:t>pas</a:t>
            </a:r>
            <a:r>
              <a:rPr lang="de-CH" dirty="0"/>
              <a:t> non plus la </a:t>
            </a:r>
            <a:r>
              <a:rPr lang="de-CH" dirty="0" err="1"/>
              <a:t>base</a:t>
            </a:r>
            <a:r>
              <a:rPr lang="de-CH" dirty="0"/>
              <a:t> </a:t>
            </a:r>
            <a:r>
              <a:rPr lang="de-CH" dirty="0" err="1"/>
              <a:t>d’un</a:t>
            </a:r>
            <a:r>
              <a:rPr lang="de-CH" dirty="0"/>
              <a:t> </a:t>
            </a:r>
            <a:r>
              <a:rPr lang="de-CH" dirty="0" err="1"/>
              <a:t>contrat</a:t>
            </a:r>
            <a:r>
              <a:rPr lang="de-CH" dirty="0"/>
              <a:t> </a:t>
            </a:r>
            <a:r>
              <a:rPr lang="de-CH" dirty="0" err="1"/>
              <a:t>ou</a:t>
            </a:r>
            <a:r>
              <a:rPr lang="de-CH" dirty="0"/>
              <a:t> </a:t>
            </a:r>
            <a:r>
              <a:rPr lang="de-CH" dirty="0" err="1"/>
              <a:t>d’engagements</a:t>
            </a:r>
            <a:r>
              <a:rPr lang="de-CH" dirty="0"/>
              <a:t> de </a:t>
            </a:r>
            <a:r>
              <a:rPr lang="de-CH" dirty="0" err="1"/>
              <a:t>quelque</a:t>
            </a:r>
            <a:r>
              <a:rPr lang="de-CH" dirty="0"/>
              <a:t> </a:t>
            </a:r>
            <a:r>
              <a:rPr lang="de-CH" dirty="0" err="1"/>
              <a:t>nature</a:t>
            </a:r>
            <a:r>
              <a:rPr lang="de-CH" dirty="0"/>
              <a:t> </a:t>
            </a:r>
            <a:r>
              <a:rPr lang="de-CH" dirty="0" err="1"/>
              <a:t>que</a:t>
            </a:r>
            <a:r>
              <a:rPr lang="de-CH" dirty="0"/>
              <a:t> </a:t>
            </a:r>
            <a:r>
              <a:rPr lang="de-CH" dirty="0" err="1"/>
              <a:t>ce</a:t>
            </a:r>
            <a:r>
              <a:rPr lang="de-CH" dirty="0"/>
              <a:t> </a:t>
            </a:r>
            <a:r>
              <a:rPr lang="de-CH" dirty="0" err="1"/>
              <a:t>soit</a:t>
            </a:r>
            <a:r>
              <a:rPr lang="de-CH" dirty="0"/>
              <a:t>. En </a:t>
            </a:r>
            <a:r>
              <a:rPr lang="de-CH" dirty="0" err="1"/>
              <a:t>raison</a:t>
            </a:r>
            <a:r>
              <a:rPr lang="de-CH" dirty="0"/>
              <a:t> de </a:t>
            </a:r>
            <a:r>
              <a:rPr lang="de-CH" dirty="0" err="1"/>
              <a:t>dispositions</a:t>
            </a:r>
            <a:r>
              <a:rPr lang="de-CH" dirty="0"/>
              <a:t> </a:t>
            </a:r>
            <a:r>
              <a:rPr lang="de-CH" dirty="0" err="1"/>
              <a:t>légales</a:t>
            </a:r>
            <a:r>
              <a:rPr lang="de-CH" dirty="0"/>
              <a:t>, </a:t>
            </a:r>
            <a:r>
              <a:rPr lang="de-CH" dirty="0" err="1"/>
              <a:t>réglementaires</a:t>
            </a:r>
            <a:r>
              <a:rPr lang="de-CH" dirty="0"/>
              <a:t> </a:t>
            </a:r>
            <a:r>
              <a:rPr lang="de-CH" dirty="0" err="1"/>
              <a:t>ou</a:t>
            </a:r>
            <a:r>
              <a:rPr lang="de-CH" dirty="0"/>
              <a:t> </a:t>
            </a:r>
            <a:r>
              <a:rPr lang="de-CH" dirty="0" err="1"/>
              <a:t>fiscales</a:t>
            </a:r>
            <a:r>
              <a:rPr lang="de-CH" dirty="0"/>
              <a:t>, la </a:t>
            </a:r>
            <a:r>
              <a:rPr lang="de-CH" dirty="0" err="1"/>
              <a:t>disponibilité</a:t>
            </a:r>
            <a:r>
              <a:rPr lang="de-CH" dirty="0"/>
              <a:t> des </a:t>
            </a:r>
            <a:r>
              <a:rPr lang="de-CH" dirty="0" err="1"/>
              <a:t>produits</a:t>
            </a:r>
            <a:r>
              <a:rPr lang="de-CH" dirty="0"/>
              <a:t> et </a:t>
            </a:r>
            <a:r>
              <a:rPr lang="de-CH" dirty="0" err="1"/>
              <a:t>services</a:t>
            </a:r>
            <a:r>
              <a:rPr lang="de-CH" dirty="0"/>
              <a:t> </a:t>
            </a:r>
            <a:r>
              <a:rPr lang="de-CH" dirty="0" err="1"/>
              <a:t>peut</a:t>
            </a:r>
            <a:r>
              <a:rPr lang="de-CH" dirty="0"/>
              <a:t> </a:t>
            </a:r>
            <a:r>
              <a:rPr lang="de-CH" dirty="0" err="1"/>
              <a:t>être</a:t>
            </a:r>
            <a:r>
              <a:rPr lang="de-CH" dirty="0"/>
              <a:t> </a:t>
            </a:r>
            <a:r>
              <a:rPr lang="de-CH" dirty="0" err="1"/>
              <a:t>soumise</a:t>
            </a:r>
            <a:r>
              <a:rPr lang="de-CH" dirty="0"/>
              <a:t> à des </a:t>
            </a:r>
            <a:r>
              <a:rPr lang="de-CH" dirty="0" err="1"/>
              <a:t>restrictions</a:t>
            </a:r>
            <a:r>
              <a:rPr lang="de-CH" dirty="0"/>
              <a:t> </a:t>
            </a:r>
            <a:r>
              <a:rPr lang="de-CH" dirty="0" err="1"/>
              <a:t>pour</a:t>
            </a:r>
            <a:r>
              <a:rPr lang="de-CH" dirty="0"/>
              <a:t> </a:t>
            </a:r>
            <a:r>
              <a:rPr lang="de-CH" dirty="0" err="1"/>
              <a:t>certaines</a:t>
            </a:r>
            <a:r>
              <a:rPr lang="de-CH" dirty="0"/>
              <a:t> </a:t>
            </a:r>
            <a:r>
              <a:rPr lang="de-CH" dirty="0" err="1"/>
              <a:t>personnes</a:t>
            </a:r>
            <a:r>
              <a:rPr lang="de-CH" dirty="0"/>
              <a:t>, </a:t>
            </a:r>
            <a:r>
              <a:rPr lang="de-CH" dirty="0" err="1"/>
              <a:t>notamment</a:t>
            </a:r>
            <a:r>
              <a:rPr lang="de-CH" dirty="0"/>
              <a:t> du fait de </a:t>
            </a:r>
            <a:r>
              <a:rPr lang="de-CH" dirty="0" err="1"/>
              <a:t>leur</a:t>
            </a:r>
            <a:r>
              <a:rPr lang="de-CH" dirty="0"/>
              <a:t> </a:t>
            </a:r>
            <a:r>
              <a:rPr lang="de-CH" dirty="0" err="1"/>
              <a:t>lieu</a:t>
            </a:r>
            <a:r>
              <a:rPr lang="de-CH" dirty="0"/>
              <a:t> de </a:t>
            </a:r>
            <a:r>
              <a:rPr lang="de-CH" dirty="0" err="1"/>
              <a:t>domicile</a:t>
            </a:r>
            <a:r>
              <a:rPr lang="de-CH" dirty="0"/>
              <a:t> </a:t>
            </a:r>
            <a:r>
              <a:rPr lang="de-CH" dirty="0" err="1"/>
              <a:t>ou</a:t>
            </a:r>
            <a:r>
              <a:rPr lang="de-CH" dirty="0"/>
              <a:t> de </a:t>
            </a:r>
            <a:r>
              <a:rPr lang="de-CH" dirty="0" err="1"/>
              <a:t>leur</a:t>
            </a:r>
            <a:r>
              <a:rPr lang="de-CH" dirty="0"/>
              <a:t> </a:t>
            </a:r>
            <a:r>
              <a:rPr lang="de-CH" dirty="0" err="1"/>
              <a:t>siège</a:t>
            </a:r>
            <a:r>
              <a:rPr lang="de-CH" dirty="0"/>
              <a:t>, de </a:t>
            </a:r>
            <a:r>
              <a:rPr lang="de-CH" dirty="0" err="1"/>
              <a:t>leur</a:t>
            </a:r>
            <a:r>
              <a:rPr lang="de-CH" dirty="0"/>
              <a:t> </a:t>
            </a:r>
            <a:r>
              <a:rPr lang="de-CH" dirty="0" err="1"/>
              <a:t>nationalité</a:t>
            </a:r>
            <a:r>
              <a:rPr lang="de-CH" dirty="0"/>
              <a:t> </a:t>
            </a:r>
            <a:r>
              <a:rPr lang="de-CH" dirty="0" err="1"/>
              <a:t>ou</a:t>
            </a:r>
            <a:r>
              <a:rPr lang="de-CH" dirty="0"/>
              <a:t> de la </a:t>
            </a:r>
            <a:r>
              <a:rPr lang="de-CH" dirty="0" err="1"/>
              <a:t>classification</a:t>
            </a:r>
            <a:r>
              <a:rPr lang="de-CH" dirty="0"/>
              <a:t> des </a:t>
            </a:r>
            <a:r>
              <a:rPr lang="de-CH" dirty="0" err="1"/>
              <a:t>clients</a:t>
            </a:r>
            <a:r>
              <a:rPr lang="de-CH" dirty="0"/>
              <a:t>. Des </a:t>
            </a:r>
            <a:r>
              <a:rPr lang="de-CH" dirty="0" err="1"/>
              <a:t>restrictions</a:t>
            </a:r>
            <a:r>
              <a:rPr lang="de-CH" dirty="0"/>
              <a:t> </a:t>
            </a:r>
            <a:r>
              <a:rPr lang="de-CH" dirty="0" err="1"/>
              <a:t>s’appliquent</a:t>
            </a:r>
            <a:r>
              <a:rPr lang="de-CH" dirty="0"/>
              <a:t>, en </a:t>
            </a:r>
            <a:r>
              <a:rPr lang="de-CH" dirty="0" err="1"/>
              <a:t>particulier</a:t>
            </a:r>
            <a:r>
              <a:rPr lang="de-CH" dirty="0"/>
              <a:t> </a:t>
            </a:r>
            <a:r>
              <a:rPr lang="de-CH" dirty="0" err="1"/>
              <a:t>aux</a:t>
            </a:r>
            <a:r>
              <a:rPr lang="de-CH" dirty="0"/>
              <a:t> U.S. </a:t>
            </a:r>
            <a:r>
              <a:rPr lang="de-CH" dirty="0" err="1"/>
              <a:t>Persons</a:t>
            </a:r>
            <a:r>
              <a:rPr lang="de-CH" dirty="0"/>
              <a:t>, </a:t>
            </a:r>
            <a:r>
              <a:rPr lang="de-CH" dirty="0" err="1"/>
              <a:t>conformément</a:t>
            </a:r>
            <a:r>
              <a:rPr lang="de-CH" dirty="0"/>
              <a:t> </a:t>
            </a:r>
            <a:r>
              <a:rPr lang="de-CH" dirty="0" err="1"/>
              <a:t>aux</a:t>
            </a:r>
            <a:r>
              <a:rPr lang="de-CH" dirty="0"/>
              <a:t> </a:t>
            </a:r>
            <a:r>
              <a:rPr lang="de-CH" dirty="0" err="1"/>
              <a:t>réglementations</a:t>
            </a:r>
            <a:r>
              <a:rPr lang="de-CH" dirty="0"/>
              <a:t> </a:t>
            </a:r>
            <a:r>
              <a:rPr lang="de-CH" dirty="0" err="1"/>
              <a:t>applicables</a:t>
            </a:r>
            <a:r>
              <a:rPr lang="de-CH" dirty="0"/>
              <a:t>. Il est </a:t>
            </a:r>
            <a:r>
              <a:rPr lang="de-CH" dirty="0" err="1"/>
              <a:t>recommandé</a:t>
            </a:r>
            <a:r>
              <a:rPr lang="de-CH" dirty="0"/>
              <a:t> de </a:t>
            </a:r>
            <a:r>
              <a:rPr lang="de-CH" dirty="0" err="1"/>
              <a:t>vérifier</a:t>
            </a:r>
            <a:r>
              <a:rPr lang="de-CH" dirty="0"/>
              <a:t>, le </a:t>
            </a:r>
            <a:r>
              <a:rPr lang="de-CH" dirty="0" err="1"/>
              <a:t>cas</a:t>
            </a:r>
            <a:r>
              <a:rPr lang="de-CH" dirty="0"/>
              <a:t> </a:t>
            </a:r>
            <a:r>
              <a:rPr lang="de-CH" dirty="0" err="1"/>
              <a:t>échéant</a:t>
            </a:r>
            <a:r>
              <a:rPr lang="de-CH" dirty="0"/>
              <a:t> </a:t>
            </a:r>
            <a:r>
              <a:rPr lang="de-CH" dirty="0" err="1"/>
              <a:t>avec</a:t>
            </a:r>
            <a:r>
              <a:rPr lang="de-CH" dirty="0"/>
              <a:t> </a:t>
            </a:r>
            <a:r>
              <a:rPr lang="de-CH" dirty="0" err="1"/>
              <a:t>l'aide</a:t>
            </a:r>
            <a:r>
              <a:rPr lang="de-CH" dirty="0"/>
              <a:t> des </a:t>
            </a:r>
            <a:r>
              <a:rPr lang="de-CH" dirty="0" err="1"/>
              <a:t>spécialistes</a:t>
            </a:r>
            <a:r>
              <a:rPr lang="de-CH" dirty="0"/>
              <a:t>, la </a:t>
            </a:r>
            <a:r>
              <a:rPr lang="de-CH" dirty="0" err="1"/>
              <a:t>compatibilité</a:t>
            </a:r>
            <a:r>
              <a:rPr lang="de-CH" dirty="0"/>
              <a:t> des </a:t>
            </a:r>
            <a:r>
              <a:rPr lang="de-CH" dirty="0" err="1"/>
              <a:t>informations</a:t>
            </a:r>
            <a:r>
              <a:rPr lang="de-CH" dirty="0"/>
              <a:t> </a:t>
            </a:r>
            <a:r>
              <a:rPr lang="de-CH" dirty="0" err="1"/>
              <a:t>avec</a:t>
            </a:r>
            <a:r>
              <a:rPr lang="de-CH" dirty="0"/>
              <a:t> la </a:t>
            </a:r>
            <a:r>
              <a:rPr lang="de-CH" dirty="0" err="1"/>
              <a:t>situation</a:t>
            </a:r>
            <a:r>
              <a:rPr lang="de-CH" dirty="0"/>
              <a:t> </a:t>
            </a:r>
            <a:r>
              <a:rPr lang="de-CH" dirty="0" err="1"/>
              <a:t>personnelle</a:t>
            </a:r>
            <a:r>
              <a:rPr lang="de-CH" dirty="0"/>
              <a:t> </a:t>
            </a:r>
            <a:r>
              <a:rPr lang="de-CH" dirty="0" err="1"/>
              <a:t>ainsi</a:t>
            </a:r>
            <a:r>
              <a:rPr lang="de-CH" dirty="0"/>
              <a:t> </a:t>
            </a:r>
            <a:r>
              <a:rPr lang="de-CH" dirty="0" err="1"/>
              <a:t>que</a:t>
            </a:r>
            <a:r>
              <a:rPr lang="de-CH" dirty="0"/>
              <a:t> </a:t>
            </a:r>
            <a:r>
              <a:rPr lang="de-CH" dirty="0" err="1"/>
              <a:t>les</a:t>
            </a:r>
            <a:r>
              <a:rPr lang="de-CH" dirty="0"/>
              <a:t> </a:t>
            </a:r>
            <a:r>
              <a:rPr lang="de-CH" dirty="0" err="1"/>
              <a:t>conséquences</a:t>
            </a:r>
            <a:r>
              <a:rPr lang="de-CH" dirty="0"/>
              <a:t> </a:t>
            </a:r>
            <a:r>
              <a:rPr lang="de-CH" dirty="0" err="1"/>
              <a:t>juridiques</a:t>
            </a:r>
            <a:r>
              <a:rPr lang="de-CH" dirty="0"/>
              <a:t>, </a:t>
            </a:r>
            <a:r>
              <a:rPr lang="de-CH" dirty="0" err="1"/>
              <a:t>réglementaires</a:t>
            </a:r>
            <a:r>
              <a:rPr lang="de-CH" dirty="0"/>
              <a:t>, </a:t>
            </a:r>
            <a:r>
              <a:rPr lang="de-CH" dirty="0" err="1"/>
              <a:t>fiscales</a:t>
            </a:r>
            <a:r>
              <a:rPr lang="de-CH" dirty="0"/>
              <a:t> et </a:t>
            </a:r>
            <a:r>
              <a:rPr lang="de-CH" dirty="0" err="1"/>
              <a:t>autres</a:t>
            </a:r>
            <a:r>
              <a:rPr lang="de-CH" dirty="0"/>
              <a:t>. </a:t>
            </a:r>
            <a:br>
              <a:rPr lang="de-CH" dirty="0"/>
            </a:br>
            <a:r>
              <a:rPr lang="de-CH" dirty="0"/>
              <a:t>Le document a </a:t>
            </a:r>
            <a:r>
              <a:rPr lang="de-CH" dirty="0" err="1"/>
              <a:t>été</a:t>
            </a:r>
            <a:r>
              <a:rPr lang="de-CH" dirty="0"/>
              <a:t> </a:t>
            </a:r>
            <a:r>
              <a:rPr lang="de-CH" dirty="0" err="1"/>
              <a:t>établi</a:t>
            </a:r>
            <a:r>
              <a:rPr lang="de-CH" dirty="0"/>
              <a:t> par la Zürcher Kantonalbank </a:t>
            </a:r>
            <a:r>
              <a:rPr lang="de-CH" dirty="0" err="1"/>
              <a:t>avec</a:t>
            </a:r>
            <a:r>
              <a:rPr lang="de-CH" dirty="0"/>
              <a:t> la </a:t>
            </a:r>
            <a:r>
              <a:rPr lang="de-CH" dirty="0" err="1"/>
              <a:t>diligence</a:t>
            </a:r>
            <a:r>
              <a:rPr lang="de-CH" dirty="0"/>
              <a:t> </a:t>
            </a:r>
            <a:r>
              <a:rPr lang="de-CH" dirty="0" err="1"/>
              <a:t>d'usage</a:t>
            </a:r>
            <a:r>
              <a:rPr lang="de-CH" dirty="0"/>
              <a:t> en </a:t>
            </a:r>
            <a:r>
              <a:rPr lang="de-CH" dirty="0" err="1"/>
              <a:t>affaires</a:t>
            </a:r>
            <a:r>
              <a:rPr lang="de-CH" dirty="0"/>
              <a:t> et </a:t>
            </a:r>
            <a:r>
              <a:rPr lang="de-CH" dirty="0" err="1"/>
              <a:t>peut</a:t>
            </a:r>
            <a:r>
              <a:rPr lang="de-CH" dirty="0"/>
              <a:t> </a:t>
            </a:r>
            <a:r>
              <a:rPr lang="de-CH" dirty="0" err="1"/>
              <a:t>contenir</a:t>
            </a:r>
            <a:r>
              <a:rPr lang="de-CH" dirty="0"/>
              <a:t> des </a:t>
            </a:r>
            <a:r>
              <a:rPr lang="de-CH" dirty="0" err="1"/>
              <a:t>informations</a:t>
            </a:r>
            <a:r>
              <a:rPr lang="de-CH" dirty="0"/>
              <a:t> </a:t>
            </a:r>
            <a:r>
              <a:rPr lang="de-CH" dirty="0" err="1"/>
              <a:t>provenant</a:t>
            </a:r>
            <a:r>
              <a:rPr lang="de-CH" dirty="0"/>
              <a:t> de </a:t>
            </a:r>
            <a:r>
              <a:rPr lang="de-CH" dirty="0" err="1"/>
              <a:t>sources</a:t>
            </a:r>
            <a:r>
              <a:rPr lang="de-CH" dirty="0"/>
              <a:t> </a:t>
            </a:r>
            <a:r>
              <a:rPr lang="de-CH" dirty="0" err="1"/>
              <a:t>tierces</a:t>
            </a:r>
            <a:r>
              <a:rPr lang="de-CH" dirty="0"/>
              <a:t> </a:t>
            </a:r>
            <a:r>
              <a:rPr lang="de-CH" dirty="0" err="1"/>
              <a:t>soigneusement</a:t>
            </a:r>
            <a:r>
              <a:rPr lang="de-CH" dirty="0"/>
              <a:t> </a:t>
            </a:r>
            <a:r>
              <a:rPr lang="de-CH" dirty="0" err="1"/>
              <a:t>sélectionnées</a:t>
            </a:r>
            <a:r>
              <a:rPr lang="de-CH" dirty="0"/>
              <a:t>. </a:t>
            </a:r>
            <a:br>
              <a:rPr lang="de-CH" dirty="0"/>
            </a:br>
            <a:r>
              <a:rPr lang="de-CH" dirty="0"/>
              <a:t>La Zürcher Kantonalbank ne </a:t>
            </a:r>
            <a:r>
              <a:rPr lang="de-CH" dirty="0" err="1"/>
              <a:t>garantit</a:t>
            </a:r>
            <a:r>
              <a:rPr lang="de-CH" dirty="0"/>
              <a:t> </a:t>
            </a:r>
            <a:r>
              <a:rPr lang="de-CH" dirty="0" err="1"/>
              <a:t>ni</a:t>
            </a:r>
            <a:r>
              <a:rPr lang="de-CH" dirty="0"/>
              <a:t> </a:t>
            </a:r>
            <a:r>
              <a:rPr lang="de-CH" dirty="0" err="1"/>
              <a:t>l’exactitude</a:t>
            </a:r>
            <a:r>
              <a:rPr lang="de-CH" dirty="0"/>
              <a:t> </a:t>
            </a:r>
            <a:r>
              <a:rPr lang="de-CH" dirty="0" err="1"/>
              <a:t>ni</a:t>
            </a:r>
            <a:r>
              <a:rPr lang="de-CH" dirty="0"/>
              <a:t> </a:t>
            </a:r>
            <a:r>
              <a:rPr lang="de-CH" dirty="0" err="1"/>
              <a:t>l’exhaustivité</a:t>
            </a:r>
            <a:r>
              <a:rPr lang="de-CH" dirty="0"/>
              <a:t> des </a:t>
            </a:r>
            <a:r>
              <a:rPr lang="de-CH" dirty="0" err="1"/>
              <a:t>informations</a:t>
            </a:r>
            <a:r>
              <a:rPr lang="de-CH" dirty="0"/>
              <a:t> </a:t>
            </a:r>
            <a:r>
              <a:rPr lang="de-CH" dirty="0" err="1"/>
              <a:t>contenues</a:t>
            </a:r>
            <a:r>
              <a:rPr lang="de-CH" dirty="0"/>
              <a:t> </a:t>
            </a:r>
            <a:r>
              <a:rPr lang="de-CH" dirty="0" err="1"/>
              <a:t>dans</a:t>
            </a:r>
            <a:r>
              <a:rPr lang="de-CH" dirty="0"/>
              <a:t> </a:t>
            </a:r>
            <a:r>
              <a:rPr lang="de-CH" dirty="0" err="1"/>
              <a:t>ce</a:t>
            </a:r>
            <a:r>
              <a:rPr lang="de-CH" dirty="0"/>
              <a:t> document et </a:t>
            </a:r>
            <a:r>
              <a:rPr lang="de-CH" dirty="0" err="1"/>
              <a:t>décline</a:t>
            </a:r>
            <a:r>
              <a:rPr lang="de-CH" dirty="0"/>
              <a:t> </a:t>
            </a:r>
            <a:r>
              <a:rPr lang="de-CH" dirty="0" err="1"/>
              <a:t>toute</a:t>
            </a:r>
            <a:r>
              <a:rPr lang="de-CH" dirty="0"/>
              <a:t> </a:t>
            </a:r>
            <a:r>
              <a:rPr lang="de-CH" dirty="0" err="1"/>
              <a:t>responsabilité</a:t>
            </a:r>
            <a:r>
              <a:rPr lang="de-CH" dirty="0"/>
              <a:t> </a:t>
            </a:r>
            <a:r>
              <a:rPr lang="de-CH" dirty="0" err="1"/>
              <a:t>pour</a:t>
            </a:r>
            <a:r>
              <a:rPr lang="de-CH" dirty="0"/>
              <a:t> </a:t>
            </a:r>
            <a:r>
              <a:rPr lang="de-CH" dirty="0" err="1"/>
              <a:t>les</a:t>
            </a:r>
            <a:r>
              <a:rPr lang="de-CH" dirty="0"/>
              <a:t> </a:t>
            </a:r>
            <a:r>
              <a:rPr lang="de-CH" dirty="0" err="1"/>
              <a:t>dommages</a:t>
            </a:r>
            <a:r>
              <a:rPr lang="de-CH" dirty="0"/>
              <a:t> </a:t>
            </a:r>
            <a:r>
              <a:rPr lang="de-CH" dirty="0" err="1"/>
              <a:t>résultant</a:t>
            </a:r>
            <a:r>
              <a:rPr lang="de-CH" dirty="0"/>
              <a:t> de </a:t>
            </a:r>
            <a:r>
              <a:rPr lang="de-CH" dirty="0" err="1"/>
              <a:t>l’utilisation</a:t>
            </a:r>
            <a:r>
              <a:rPr lang="de-CH" dirty="0"/>
              <a:t> du document </a:t>
            </a:r>
            <a:r>
              <a:rPr lang="de-CH" dirty="0" err="1"/>
              <a:t>ou</a:t>
            </a:r>
            <a:r>
              <a:rPr lang="de-CH" dirty="0"/>
              <a:t> des </a:t>
            </a:r>
            <a:r>
              <a:rPr lang="de-CH" dirty="0" err="1"/>
              <a:t>informations</a:t>
            </a:r>
            <a:r>
              <a:rPr lang="de-CH" dirty="0"/>
              <a:t> </a:t>
            </a:r>
            <a:r>
              <a:rPr lang="de-CH" dirty="0" err="1"/>
              <a:t>qu'il</a:t>
            </a:r>
            <a:r>
              <a:rPr lang="de-CH" dirty="0"/>
              <a:t> </a:t>
            </a:r>
            <a:r>
              <a:rPr lang="de-CH" dirty="0" err="1"/>
              <a:t>contient</a:t>
            </a:r>
            <a:r>
              <a:rPr lang="de-CH" dirty="0"/>
              <a:t>. </a:t>
            </a:r>
            <a:r>
              <a:rPr lang="de-CH" dirty="0" err="1"/>
              <a:t>Les</a:t>
            </a:r>
            <a:r>
              <a:rPr lang="de-CH" dirty="0"/>
              <a:t> </a:t>
            </a:r>
            <a:r>
              <a:rPr lang="de-CH" dirty="0" err="1"/>
              <a:t>informations</a:t>
            </a:r>
            <a:r>
              <a:rPr lang="de-CH" dirty="0"/>
              <a:t> </a:t>
            </a:r>
            <a:r>
              <a:rPr lang="de-CH" dirty="0" err="1"/>
              <a:t>contenues</a:t>
            </a:r>
            <a:r>
              <a:rPr lang="de-CH" dirty="0"/>
              <a:t> </a:t>
            </a:r>
            <a:r>
              <a:rPr lang="de-CH" dirty="0" err="1"/>
              <a:t>dans</a:t>
            </a:r>
            <a:r>
              <a:rPr lang="de-CH" dirty="0"/>
              <a:t> le </a:t>
            </a:r>
            <a:r>
              <a:rPr lang="de-CH" dirty="0" err="1"/>
              <a:t>présent</a:t>
            </a:r>
            <a:r>
              <a:rPr lang="de-CH" dirty="0"/>
              <a:t> document </a:t>
            </a:r>
            <a:r>
              <a:rPr lang="de-CH" dirty="0" err="1"/>
              <a:t>peuvent</a:t>
            </a:r>
            <a:r>
              <a:rPr lang="de-CH" dirty="0"/>
              <a:t> </a:t>
            </a:r>
            <a:r>
              <a:rPr lang="de-CH" dirty="0" err="1"/>
              <a:t>être</a:t>
            </a:r>
            <a:r>
              <a:rPr lang="de-CH" dirty="0"/>
              <a:t> </a:t>
            </a:r>
            <a:r>
              <a:rPr lang="de-CH" dirty="0" err="1"/>
              <a:t>modifiées</a:t>
            </a:r>
            <a:r>
              <a:rPr lang="de-CH" dirty="0"/>
              <a:t> à </a:t>
            </a:r>
            <a:r>
              <a:rPr lang="de-CH" dirty="0" err="1"/>
              <a:t>tout</a:t>
            </a:r>
            <a:r>
              <a:rPr lang="de-CH" dirty="0"/>
              <a:t> </a:t>
            </a:r>
            <a:r>
              <a:rPr lang="de-CH" dirty="0" err="1"/>
              <a:t>moment</a:t>
            </a:r>
            <a:r>
              <a:rPr lang="de-CH" dirty="0"/>
              <a:t> </a:t>
            </a:r>
            <a:r>
              <a:rPr lang="de-CH" dirty="0" err="1"/>
              <a:t>sans</a:t>
            </a:r>
            <a:r>
              <a:rPr lang="de-CH" dirty="0"/>
              <a:t> </a:t>
            </a:r>
            <a:r>
              <a:rPr lang="de-CH" dirty="0" err="1"/>
              <a:t>préavis</a:t>
            </a:r>
            <a:r>
              <a:rPr lang="de-CH" dirty="0"/>
              <a:t> par la Zürcher Kantonalbank.</a:t>
            </a:r>
          </a:p>
          <a:p>
            <a:pPr defTabSz="914400" eaLnBrk="1" fontAlgn="auto" hangingPunct="1">
              <a:buClrTx/>
              <a:buFontTx/>
              <a:buNone/>
              <a:defRPr/>
            </a:pPr>
            <a:r>
              <a:rPr lang="de-CH" dirty="0"/>
              <a:t>© 2025 Zürcher Kantonalbank. </a:t>
            </a:r>
            <a:r>
              <a:rPr lang="de-CH" dirty="0" err="1"/>
              <a:t>Tous</a:t>
            </a:r>
            <a:r>
              <a:rPr lang="de-CH" dirty="0"/>
              <a:t> </a:t>
            </a:r>
            <a:r>
              <a:rPr lang="de-CH" dirty="0" err="1"/>
              <a:t>droits</a:t>
            </a:r>
            <a:r>
              <a:rPr lang="de-CH" dirty="0"/>
              <a:t> </a:t>
            </a:r>
            <a:r>
              <a:rPr lang="de-CH" dirty="0" err="1"/>
              <a:t>réservés</a:t>
            </a:r>
            <a:r>
              <a:rPr lang="de-CH" dirty="0"/>
              <a:t>.</a:t>
            </a:r>
          </a:p>
        </p:txBody>
      </p:sp>
      <p:sp>
        <p:nvSpPr>
          <p:cNvPr id="2" name="Rechteck 3">
            <a:extLst>
              <a:ext uri="{FF2B5EF4-FFF2-40B4-BE49-F238E27FC236}">
                <a16:creationId xmlns:a16="http://schemas.microsoft.com/office/drawing/2014/main" id="{A22E252B-B6AE-6930-2AB4-32AB4BDD9167}"/>
              </a:ext>
            </a:extLst>
          </p:cNvPr>
          <p:cNvSpPr>
            <a:spLocks noChangeArrowheads="1"/>
          </p:cNvSpPr>
          <p:nvPr/>
        </p:nvSpPr>
        <p:spPr bwMode="auto">
          <a:xfrm>
            <a:off x="3170238" y="1743075"/>
            <a:ext cx="6827837" cy="2089150"/>
          </a:xfrm>
          <a:prstGeom prst="rect">
            <a:avLst/>
          </a:prstGeom>
          <a:solidFill>
            <a:srgbClr val="F88381"/>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nchor="ctr"/>
          <a:lstStyle>
            <a:lvl1pPr marL="357188"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dirty="0">
                <a:solidFill>
                  <a:srgbClr val="FFFFFF"/>
                </a:solidFill>
                <a:ea typeface="Calibri" panose="020F0502020204030204" pitchFamily="34" charset="0"/>
                <a:cs typeface="Times New Roman" panose="02020603050405020304" pitchFamily="18" charset="0"/>
              </a:rPr>
              <a:t>Dieser Disclaimer ist nicht für jede Präsentation geeignet.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Die Checkliste Self-Assessment zu Anhang 3 der Weisung Marken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und Marketing, gibt eine Indikation für den Inhalt des Disclaimers.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Bei Unklarheiten oder Fragen setze dich mit deiner Ansprechperson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von Legal &amp; Compliance in Verbindung.</a:t>
            </a:r>
          </a:p>
          <a:p>
            <a:pPr eaLnBrk="1" hangingPunct="1">
              <a:lnSpc>
                <a:spcPct val="105000"/>
              </a:lnSpc>
            </a:pPr>
            <a:endParaRPr lang="de-CH" altLang="de-DE" dirty="0">
              <a:solidFill>
                <a:srgbClr val="FFFFFF"/>
              </a:solidFill>
              <a:ea typeface="Calibri" panose="020F0502020204030204" pitchFamily="34" charset="0"/>
              <a:cs typeface="Times New Roman" panose="02020603050405020304" pitchFamily="18" charset="0"/>
            </a:endParaRPr>
          </a:p>
          <a:p>
            <a:pPr eaLnBrk="1" hangingPunct="1">
              <a:lnSpc>
                <a:spcPct val="105000"/>
              </a:lnSpc>
            </a:pPr>
            <a:r>
              <a:rPr lang="de-CH" altLang="de-DE" dirty="0">
                <a:solidFill>
                  <a:srgbClr val="FFFFFF"/>
                </a:solidFill>
                <a:ea typeface="Calibri" panose="020F0502020204030204" pitchFamily="34" charset="0"/>
                <a:cs typeface="Times New Roman" panose="02020603050405020304" pitchFamily="18" charset="0"/>
              </a:rPr>
              <a:t>Sprache: Französisch</a:t>
            </a:r>
          </a:p>
        </p:txBody>
      </p:sp>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8242" name="think-cell data - do not delete" hidden="1">
            <a:extLst>
              <a:ext uri="{FF2B5EF4-FFF2-40B4-BE49-F238E27FC236}">
                <a16:creationId xmlns:a16="http://schemas.microsoft.com/office/drawing/2014/main" id="{5B3B8EA8-5965-8976-1972-23014780B0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38242" name="think-cell data - do not delete" hidden="1">
                        <a:extLst>
                          <a:ext uri="{FF2B5EF4-FFF2-40B4-BE49-F238E27FC236}">
                            <a16:creationId xmlns:a16="http://schemas.microsoft.com/office/drawing/2014/main" id="{5B3B8EA8-5965-8976-1972-23014780B0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8243" name="Foliennummernplatzhalter 9">
            <a:extLst>
              <a:ext uri="{FF2B5EF4-FFF2-40B4-BE49-F238E27FC236}">
                <a16:creationId xmlns:a16="http://schemas.microsoft.com/office/drawing/2014/main" id="{950E0382-CBC2-8AA7-335A-5F4FFCFFE01F}"/>
              </a:ext>
            </a:extLst>
          </p:cNvPr>
          <p:cNvSpPr>
            <a:spLocks noGrp="1" noChangeArrowheads="1"/>
          </p:cNvSpPr>
          <p:nvPr>
            <p:ph type="sldNum" sz="quarter" idx="13"/>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D14B8BA0-0E40-4971-9339-B8C4F039CF03}" type="slidenum">
              <a:rPr lang="de-CH" smtClean="0"/>
              <a:pPr>
                <a:spcBef>
                  <a:spcPct val="0"/>
                </a:spcBef>
                <a:spcAft>
                  <a:spcPct val="0"/>
                </a:spcAft>
                <a:defRPr/>
              </a:pPr>
              <a:t>107</a:t>
            </a:fld>
            <a:endParaRPr lang="de-CH" altLang="de-DE" sz="1100" dirty="0">
              <a:solidFill>
                <a:srgbClr val="003CB4"/>
              </a:solidFill>
            </a:endParaRPr>
          </a:p>
        </p:txBody>
      </p:sp>
      <p:sp>
        <p:nvSpPr>
          <p:cNvPr id="138244" name="Fußzeilenplatzhalter 5">
            <a:extLst>
              <a:ext uri="{FF2B5EF4-FFF2-40B4-BE49-F238E27FC236}">
                <a16:creationId xmlns:a16="http://schemas.microsoft.com/office/drawing/2014/main" id="{B09211BD-003E-9A5A-AF4B-AB00F23534C7}"/>
              </a:ext>
            </a:extLst>
          </p:cNvPr>
          <p:cNvSpPr>
            <a:spLocks noGrp="1" noChangeArrowheads="1"/>
          </p:cNvSpPr>
          <p:nvPr>
            <p:ph type="ftr" sz="quarter" idx="14"/>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 name="Textplatzhalter 2">
            <a:extLst>
              <a:ext uri="{FF2B5EF4-FFF2-40B4-BE49-F238E27FC236}">
                <a16:creationId xmlns:a16="http://schemas.microsoft.com/office/drawing/2014/main" id="{5CC4983F-BBDF-D40B-ABEB-238BB6117B29}"/>
              </a:ext>
            </a:extLst>
          </p:cNvPr>
          <p:cNvSpPr>
            <a:spLocks noGrp="1"/>
          </p:cNvSpPr>
          <p:nvPr>
            <p:ph type="body" idx="12"/>
          </p:nvPr>
        </p:nvSpPr>
        <p:spPr>
          <a:xfrm>
            <a:off x="306388" y="1885950"/>
            <a:ext cx="12242800" cy="4748213"/>
          </a:xfrm>
        </p:spPr>
        <p:txBody>
          <a:bodyPr rtlCol="0"/>
          <a:lstStyle/>
          <a:p>
            <a:pPr eaLnBrk="1" fontAlgn="auto" hangingPunct="1">
              <a:defRPr/>
            </a:pPr>
            <a:r>
              <a:rPr lang="de-CH" b="1" dirty="0">
                <a:cs typeface="+mn-cs"/>
              </a:rPr>
              <a:t>Avvertenze legali</a:t>
            </a:r>
            <a:br>
              <a:rPr lang="de-CH" b="1" dirty="0">
                <a:cs typeface="+mn-cs"/>
              </a:rPr>
            </a:br>
            <a:r>
              <a:rPr lang="de-CH" dirty="0">
                <a:ea typeface="Calibri" panose="020F0502020204030204" pitchFamily="34" charset="0"/>
              </a:rPr>
              <a:t>La </a:t>
            </a:r>
            <a:r>
              <a:rPr lang="de-CH" dirty="0" err="1">
                <a:ea typeface="Calibri" panose="020F0502020204030204" pitchFamily="34" charset="0"/>
              </a:rPr>
              <a:t>presente</a:t>
            </a:r>
            <a:r>
              <a:rPr lang="de-CH" dirty="0">
                <a:ea typeface="Calibri" panose="020F0502020204030204" pitchFamily="34" charset="0"/>
              </a:rPr>
              <a:t> </a:t>
            </a:r>
            <a:r>
              <a:rPr lang="de-CH" dirty="0" err="1">
                <a:ea typeface="Calibri" panose="020F0502020204030204" pitchFamily="34" charset="0"/>
              </a:rPr>
              <a:t>pubblicazione</a:t>
            </a:r>
            <a:r>
              <a:rPr lang="de-CH" dirty="0">
                <a:ea typeface="Calibri" panose="020F0502020204030204" pitchFamily="34" charset="0"/>
              </a:rPr>
              <a:t> ha uno </a:t>
            </a:r>
            <a:r>
              <a:rPr lang="de-CH" dirty="0" err="1">
                <a:ea typeface="Calibri" panose="020F0502020204030204" pitchFamily="34" charset="0"/>
              </a:rPr>
              <a:t>scopo</a:t>
            </a:r>
            <a:r>
              <a:rPr lang="de-CH" dirty="0">
                <a:ea typeface="Calibri" panose="020F0502020204030204" pitchFamily="34" charset="0"/>
              </a:rPr>
              <a:t> </a:t>
            </a:r>
            <a:r>
              <a:rPr lang="de-CH" dirty="0" err="1">
                <a:ea typeface="Calibri" panose="020F0502020204030204" pitchFamily="34" charset="0"/>
              </a:rPr>
              <a:t>esclusivamente</a:t>
            </a:r>
            <a:r>
              <a:rPr lang="de-CH" dirty="0">
                <a:ea typeface="Calibri" panose="020F0502020204030204" pitchFamily="34" charset="0"/>
              </a:rPr>
              <a:t> </a:t>
            </a:r>
            <a:r>
              <a:rPr lang="de-CH" dirty="0" err="1">
                <a:ea typeface="Calibri" panose="020F0502020204030204" pitchFamily="34" charset="0"/>
              </a:rPr>
              <a:t>informativo</a:t>
            </a:r>
            <a:r>
              <a:rPr lang="de-CH" dirty="0">
                <a:ea typeface="Calibri" panose="020F0502020204030204" pitchFamily="34" charset="0"/>
              </a:rPr>
              <a:t> e </a:t>
            </a:r>
            <a:r>
              <a:rPr lang="de-CH" dirty="0" err="1">
                <a:ea typeface="Calibri" panose="020F0502020204030204" pitchFamily="34" charset="0"/>
              </a:rPr>
              <a:t>promozionale</a:t>
            </a:r>
            <a:r>
              <a:rPr lang="de-CH" dirty="0">
                <a:ea typeface="Calibri" panose="020F0502020204030204" pitchFamily="34" charset="0"/>
              </a:rPr>
              <a:t>. Non </a:t>
            </a:r>
            <a:r>
              <a:rPr lang="de-CH" dirty="0" err="1">
                <a:ea typeface="Calibri" panose="020F0502020204030204" pitchFamily="34" charset="0"/>
              </a:rPr>
              <a:t>costituisce</a:t>
            </a:r>
            <a:r>
              <a:rPr lang="de-CH" dirty="0">
                <a:ea typeface="Calibri" panose="020F0502020204030204" pitchFamily="34" charset="0"/>
              </a:rPr>
              <a:t> </a:t>
            </a:r>
            <a:r>
              <a:rPr lang="de-CH" dirty="0" err="1">
                <a:ea typeface="Calibri" panose="020F0502020204030204" pitchFamily="34" charset="0"/>
              </a:rPr>
              <a:t>né</a:t>
            </a:r>
            <a:r>
              <a:rPr lang="de-CH" dirty="0">
                <a:ea typeface="Calibri" panose="020F0502020204030204" pitchFamily="34" charset="0"/>
              </a:rPr>
              <a:t> </a:t>
            </a:r>
            <a:r>
              <a:rPr lang="de-CH" dirty="0" err="1">
                <a:ea typeface="Calibri" panose="020F0502020204030204" pitchFamily="34" charset="0"/>
              </a:rPr>
              <a:t>un'offerta</a:t>
            </a:r>
            <a:r>
              <a:rPr lang="de-CH" dirty="0">
                <a:ea typeface="Calibri" panose="020F0502020204030204" pitchFamily="34" charset="0"/>
              </a:rPr>
              <a:t> </a:t>
            </a:r>
            <a:r>
              <a:rPr lang="de-CH" dirty="0" err="1">
                <a:ea typeface="Calibri" panose="020F0502020204030204" pitchFamily="34" charset="0"/>
              </a:rPr>
              <a:t>né</a:t>
            </a:r>
            <a:r>
              <a:rPr lang="de-CH" dirty="0">
                <a:ea typeface="Calibri" panose="020F0502020204030204" pitchFamily="34" charset="0"/>
              </a:rPr>
              <a:t> </a:t>
            </a:r>
            <a:r>
              <a:rPr lang="de-CH" dirty="0" err="1">
                <a:ea typeface="Calibri" panose="020F0502020204030204" pitchFamily="34" charset="0"/>
              </a:rPr>
              <a:t>una</a:t>
            </a:r>
            <a:r>
              <a:rPr lang="de-CH" dirty="0">
                <a:ea typeface="Calibri" panose="020F0502020204030204" pitchFamily="34" charset="0"/>
              </a:rPr>
              <a:t> </a:t>
            </a:r>
            <a:r>
              <a:rPr lang="de-CH" dirty="0" err="1">
                <a:ea typeface="Calibri" panose="020F0502020204030204" pitchFamily="34" charset="0"/>
              </a:rPr>
              <a:t>raccomandazione</a:t>
            </a:r>
            <a:r>
              <a:rPr lang="de-CH" dirty="0">
                <a:ea typeface="Calibri" panose="020F0502020204030204" pitchFamily="34" charset="0"/>
              </a:rPr>
              <a:t> </a:t>
            </a:r>
            <a:r>
              <a:rPr lang="de-CH" dirty="0" err="1">
                <a:ea typeface="Calibri" panose="020F0502020204030204" pitchFamily="34" charset="0"/>
              </a:rPr>
              <a:t>all'acquisto</a:t>
            </a:r>
            <a:r>
              <a:rPr lang="de-CH" dirty="0">
                <a:ea typeface="Calibri" panose="020F0502020204030204" pitchFamily="34" charset="0"/>
              </a:rPr>
              <a:t>, alla </a:t>
            </a:r>
            <a:r>
              <a:rPr lang="de-CH" dirty="0" err="1">
                <a:ea typeface="Calibri" panose="020F0502020204030204" pitchFamily="34" charset="0"/>
              </a:rPr>
              <a:t>detenzione</a:t>
            </a:r>
            <a:r>
              <a:rPr lang="de-CH" dirty="0">
                <a:ea typeface="Calibri" panose="020F0502020204030204" pitchFamily="34" charset="0"/>
              </a:rPr>
              <a:t> o alla </a:t>
            </a:r>
            <a:r>
              <a:rPr lang="de-CH" dirty="0" err="1">
                <a:ea typeface="Calibri" panose="020F0502020204030204" pitchFamily="34" charset="0"/>
              </a:rPr>
              <a:t>vendita</a:t>
            </a:r>
            <a:r>
              <a:rPr lang="de-CH" dirty="0">
                <a:ea typeface="Calibri" panose="020F0502020204030204" pitchFamily="34" charset="0"/>
              </a:rPr>
              <a:t> di </a:t>
            </a:r>
            <a:r>
              <a:rPr lang="de-CH" dirty="0" err="1">
                <a:ea typeface="Calibri" panose="020F0502020204030204" pitchFamily="34" charset="0"/>
              </a:rPr>
              <a:t>strumenti</a:t>
            </a:r>
            <a:r>
              <a:rPr lang="de-CH" dirty="0">
                <a:ea typeface="Calibri" panose="020F0502020204030204" pitchFamily="34" charset="0"/>
              </a:rPr>
              <a:t> </a:t>
            </a:r>
            <a:r>
              <a:rPr lang="de-CH" dirty="0" err="1">
                <a:ea typeface="Calibri" panose="020F0502020204030204" pitchFamily="34" charset="0"/>
              </a:rPr>
              <a:t>finanziari</a:t>
            </a:r>
            <a:r>
              <a:rPr lang="de-CH" dirty="0">
                <a:ea typeface="Calibri" panose="020F0502020204030204" pitchFamily="34" charset="0"/>
              </a:rPr>
              <a:t>, </a:t>
            </a:r>
            <a:r>
              <a:rPr lang="de-CH" dirty="0" err="1">
                <a:ea typeface="Calibri" panose="020F0502020204030204" pitchFamily="34" charset="0"/>
              </a:rPr>
              <a:t>né</a:t>
            </a:r>
            <a:r>
              <a:rPr lang="de-CH" dirty="0">
                <a:ea typeface="Calibri" panose="020F0502020204030204" pitchFamily="34" charset="0"/>
              </a:rPr>
              <a:t> di </a:t>
            </a:r>
            <a:r>
              <a:rPr lang="de-CH" dirty="0" err="1">
                <a:ea typeface="Calibri" panose="020F0502020204030204" pitchFamily="34" charset="0"/>
              </a:rPr>
              <a:t>prodotti</a:t>
            </a:r>
            <a:r>
              <a:rPr lang="de-CH" dirty="0">
                <a:ea typeface="Calibri" panose="020F0502020204030204" pitchFamily="34" charset="0"/>
              </a:rPr>
              <a:t> o </a:t>
            </a:r>
            <a:r>
              <a:rPr lang="de-CH" dirty="0" err="1">
                <a:ea typeface="Calibri" panose="020F0502020204030204" pitchFamily="34" charset="0"/>
              </a:rPr>
              <a:t>servizi</a:t>
            </a:r>
            <a:r>
              <a:rPr lang="de-CH" dirty="0">
                <a:ea typeface="Calibri" panose="020F0502020204030204" pitchFamily="34" charset="0"/>
              </a:rPr>
              <a:t>, </a:t>
            </a:r>
            <a:r>
              <a:rPr lang="de-CH" dirty="0" err="1">
                <a:ea typeface="Calibri" panose="020F0502020204030204" pitchFamily="34" charset="0"/>
              </a:rPr>
              <a:t>né</a:t>
            </a:r>
            <a:r>
              <a:rPr lang="de-CH" dirty="0">
                <a:ea typeface="Calibri" panose="020F0502020204030204" pitchFamily="34" charset="0"/>
              </a:rPr>
              <a:t> </a:t>
            </a:r>
            <a:r>
              <a:rPr lang="de-CH" dirty="0" err="1">
                <a:ea typeface="Calibri" panose="020F0502020204030204" pitchFamily="34" charset="0"/>
              </a:rPr>
              <a:t>fornisce</a:t>
            </a:r>
            <a:r>
              <a:rPr lang="de-CH" dirty="0">
                <a:ea typeface="Calibri" panose="020F0502020204030204" pitchFamily="34" charset="0"/>
              </a:rPr>
              <a:t> </a:t>
            </a:r>
            <a:r>
              <a:rPr lang="de-CH" dirty="0" err="1">
                <a:ea typeface="Calibri" panose="020F0502020204030204" pitchFamily="34" charset="0"/>
              </a:rPr>
              <a:t>una</a:t>
            </a:r>
            <a:r>
              <a:rPr lang="de-CH" dirty="0">
                <a:ea typeface="Calibri" panose="020F0502020204030204" pitchFamily="34" charset="0"/>
              </a:rPr>
              <a:t> </a:t>
            </a:r>
            <a:r>
              <a:rPr lang="de-CH" dirty="0" err="1">
                <a:ea typeface="Calibri" panose="020F0502020204030204" pitchFamily="34" charset="0"/>
              </a:rPr>
              <a:t>base</a:t>
            </a:r>
            <a:r>
              <a:rPr lang="de-CH" dirty="0">
                <a:ea typeface="Calibri" panose="020F0502020204030204" pitchFamily="34" charset="0"/>
              </a:rPr>
              <a:t> per </a:t>
            </a:r>
            <a:r>
              <a:rPr lang="de-CH" dirty="0" err="1">
                <a:ea typeface="Calibri" panose="020F0502020204030204" pitchFamily="34" charset="0"/>
              </a:rPr>
              <a:t>alcun</a:t>
            </a:r>
            <a:r>
              <a:rPr lang="de-CH" dirty="0">
                <a:ea typeface="Calibri" panose="020F0502020204030204" pitchFamily="34" charset="0"/>
              </a:rPr>
              <a:t> </a:t>
            </a:r>
            <a:r>
              <a:rPr lang="de-CH" dirty="0" err="1">
                <a:ea typeface="Calibri" panose="020F0502020204030204" pitchFamily="34" charset="0"/>
              </a:rPr>
              <a:t>contratto</a:t>
            </a:r>
            <a:r>
              <a:rPr lang="de-CH" dirty="0">
                <a:ea typeface="Calibri" panose="020F0502020204030204" pitchFamily="34" charset="0"/>
              </a:rPr>
              <a:t> </a:t>
            </a:r>
            <a:r>
              <a:rPr lang="de-CH" dirty="0" err="1">
                <a:ea typeface="Calibri" panose="020F0502020204030204" pitchFamily="34" charset="0"/>
              </a:rPr>
              <a:t>ovvero</a:t>
            </a:r>
            <a:r>
              <a:rPr lang="de-CH" dirty="0">
                <a:ea typeface="Calibri" panose="020F0502020204030204" pitchFamily="34" charset="0"/>
              </a:rPr>
              <a:t> </a:t>
            </a:r>
            <a:r>
              <a:rPr lang="de-CH" dirty="0" err="1">
                <a:ea typeface="Calibri" panose="020F0502020204030204" pitchFamily="34" charset="0"/>
              </a:rPr>
              <a:t>obbligo</a:t>
            </a:r>
            <a:r>
              <a:rPr lang="de-CH" dirty="0">
                <a:ea typeface="Calibri" panose="020F0502020204030204" pitchFamily="34" charset="0"/>
              </a:rPr>
              <a:t> di </a:t>
            </a:r>
            <a:r>
              <a:rPr lang="de-CH" dirty="0" err="1">
                <a:ea typeface="Calibri" panose="020F0502020204030204" pitchFamily="34" charset="0"/>
              </a:rPr>
              <a:t>qualsiasi</a:t>
            </a:r>
            <a:r>
              <a:rPr lang="de-CH" dirty="0">
                <a:ea typeface="Calibri" panose="020F0502020204030204" pitchFamily="34" charset="0"/>
              </a:rPr>
              <a:t> </a:t>
            </a:r>
            <a:r>
              <a:rPr lang="de-CH" dirty="0" err="1">
                <a:ea typeface="Calibri" panose="020F0502020204030204" pitchFamily="34" charset="0"/>
              </a:rPr>
              <a:t>tipo</a:t>
            </a:r>
            <a:r>
              <a:rPr lang="de-CH" dirty="0">
                <a:ea typeface="Calibri" panose="020F0502020204030204" pitchFamily="34" charset="0"/>
              </a:rPr>
              <a:t>. In </a:t>
            </a:r>
            <a:r>
              <a:rPr lang="de-CH" dirty="0" err="1">
                <a:ea typeface="Calibri" panose="020F0502020204030204" pitchFamily="34" charset="0"/>
              </a:rPr>
              <a:t>base</a:t>
            </a:r>
            <a:r>
              <a:rPr lang="de-CH" dirty="0">
                <a:ea typeface="Calibri" panose="020F0502020204030204" pitchFamily="34" charset="0"/>
              </a:rPr>
              <a:t> alle </a:t>
            </a:r>
            <a:r>
              <a:rPr lang="de-CH" dirty="0" err="1">
                <a:ea typeface="Calibri" panose="020F0502020204030204" pitchFamily="34" charset="0"/>
              </a:rPr>
              <a:t>disposizioni</a:t>
            </a:r>
            <a:r>
              <a:rPr lang="de-CH" dirty="0">
                <a:ea typeface="Calibri" panose="020F0502020204030204" pitchFamily="34" charset="0"/>
              </a:rPr>
              <a:t> legali, </a:t>
            </a:r>
            <a:r>
              <a:rPr lang="de-CH" dirty="0" err="1">
                <a:ea typeface="Calibri" panose="020F0502020204030204" pitchFamily="34" charset="0"/>
              </a:rPr>
              <a:t>regolamentari</a:t>
            </a:r>
            <a:r>
              <a:rPr lang="de-CH" dirty="0">
                <a:ea typeface="Calibri" panose="020F0502020204030204" pitchFamily="34" charset="0"/>
              </a:rPr>
              <a:t> o </a:t>
            </a:r>
            <a:r>
              <a:rPr lang="de-CH" dirty="0" err="1">
                <a:ea typeface="Calibri" panose="020F0502020204030204" pitchFamily="34" charset="0"/>
              </a:rPr>
              <a:t>fiscali</a:t>
            </a:r>
            <a:r>
              <a:rPr lang="de-CH" dirty="0">
                <a:ea typeface="Calibri" panose="020F0502020204030204" pitchFamily="34" charset="0"/>
              </a:rPr>
              <a:t>, la </a:t>
            </a:r>
            <a:r>
              <a:rPr lang="de-CH" dirty="0" err="1">
                <a:ea typeface="Calibri" panose="020F0502020204030204" pitchFamily="34" charset="0"/>
              </a:rPr>
              <a:t>disponibilità</a:t>
            </a:r>
            <a:r>
              <a:rPr lang="de-CH" dirty="0">
                <a:ea typeface="Calibri" panose="020F0502020204030204" pitchFamily="34" charset="0"/>
              </a:rPr>
              <a:t> di </a:t>
            </a:r>
            <a:r>
              <a:rPr lang="de-CH" dirty="0" err="1">
                <a:ea typeface="Calibri" panose="020F0502020204030204" pitchFamily="34" charset="0"/>
              </a:rPr>
              <a:t>prodotti</a:t>
            </a:r>
            <a:r>
              <a:rPr lang="de-CH" dirty="0">
                <a:ea typeface="Calibri" panose="020F0502020204030204" pitchFamily="34" charset="0"/>
              </a:rPr>
              <a:t> e </a:t>
            </a:r>
            <a:r>
              <a:rPr lang="de-CH" dirty="0" err="1">
                <a:ea typeface="Calibri" panose="020F0502020204030204" pitchFamily="34" charset="0"/>
              </a:rPr>
              <a:t>servizi</a:t>
            </a:r>
            <a:r>
              <a:rPr lang="de-CH" dirty="0">
                <a:ea typeface="Calibri" panose="020F0502020204030204" pitchFamily="34" charset="0"/>
              </a:rPr>
              <a:t> per </a:t>
            </a:r>
            <a:r>
              <a:rPr lang="de-CH" dirty="0" err="1">
                <a:ea typeface="Calibri" panose="020F0502020204030204" pitchFamily="34" charset="0"/>
              </a:rPr>
              <a:t>alcune</a:t>
            </a:r>
            <a:r>
              <a:rPr lang="de-CH" dirty="0">
                <a:ea typeface="Calibri" panose="020F0502020204030204" pitchFamily="34" charset="0"/>
              </a:rPr>
              <a:t> </a:t>
            </a:r>
            <a:r>
              <a:rPr lang="de-CH" dirty="0" err="1">
                <a:ea typeface="Calibri" panose="020F0502020204030204" pitchFamily="34" charset="0"/>
              </a:rPr>
              <a:t>persone</a:t>
            </a:r>
            <a:r>
              <a:rPr lang="de-CH" dirty="0">
                <a:ea typeface="Calibri" panose="020F0502020204030204" pitchFamily="34" charset="0"/>
              </a:rPr>
              <a:t> </a:t>
            </a:r>
            <a:r>
              <a:rPr lang="de-CH" dirty="0" err="1">
                <a:ea typeface="Calibri" panose="020F0502020204030204" pitchFamily="34" charset="0"/>
              </a:rPr>
              <a:t>può</a:t>
            </a:r>
            <a:r>
              <a:rPr lang="de-CH" dirty="0">
                <a:ea typeface="Calibri" panose="020F0502020204030204" pitchFamily="34" charset="0"/>
              </a:rPr>
              <a:t> </a:t>
            </a:r>
            <a:r>
              <a:rPr lang="de-CH" dirty="0" err="1">
                <a:ea typeface="Calibri" panose="020F0502020204030204" pitchFamily="34" charset="0"/>
              </a:rPr>
              <a:t>essere</a:t>
            </a:r>
            <a:r>
              <a:rPr lang="de-CH" dirty="0">
                <a:ea typeface="Calibri" panose="020F0502020204030204" pitchFamily="34" charset="0"/>
              </a:rPr>
              <a:t> </a:t>
            </a:r>
            <a:r>
              <a:rPr lang="de-CH" dirty="0" err="1">
                <a:ea typeface="Calibri" panose="020F0502020204030204" pitchFamily="34" charset="0"/>
              </a:rPr>
              <a:t>soggetta</a:t>
            </a:r>
            <a:r>
              <a:rPr lang="de-CH" dirty="0">
                <a:ea typeface="Calibri" panose="020F0502020204030204" pitchFamily="34" charset="0"/>
              </a:rPr>
              <a:t> a </a:t>
            </a:r>
            <a:r>
              <a:rPr lang="de-CH" dirty="0" err="1">
                <a:ea typeface="Calibri" panose="020F0502020204030204" pitchFamily="34" charset="0"/>
              </a:rPr>
              <a:t>restrizioni</a:t>
            </a:r>
            <a:r>
              <a:rPr lang="de-CH" dirty="0">
                <a:ea typeface="Calibri" panose="020F0502020204030204" pitchFamily="34" charset="0"/>
              </a:rPr>
              <a:t>, </a:t>
            </a:r>
            <a:r>
              <a:rPr lang="de-CH" dirty="0" err="1">
                <a:ea typeface="Calibri" panose="020F0502020204030204" pitchFamily="34" charset="0"/>
              </a:rPr>
              <a:t>che</a:t>
            </a:r>
            <a:r>
              <a:rPr lang="de-CH" dirty="0">
                <a:ea typeface="Calibri" panose="020F0502020204030204" pitchFamily="34" charset="0"/>
              </a:rPr>
              <a:t> </a:t>
            </a:r>
            <a:r>
              <a:rPr lang="de-CH" dirty="0" err="1">
                <a:ea typeface="Calibri" panose="020F0502020204030204" pitchFamily="34" charset="0"/>
              </a:rPr>
              <a:t>possono</a:t>
            </a:r>
            <a:r>
              <a:rPr lang="de-CH" dirty="0">
                <a:ea typeface="Calibri" panose="020F0502020204030204" pitchFamily="34" charset="0"/>
              </a:rPr>
              <a:t> </a:t>
            </a:r>
            <a:r>
              <a:rPr lang="de-CH" dirty="0" err="1">
                <a:ea typeface="Calibri" panose="020F0502020204030204" pitchFamily="34" charset="0"/>
              </a:rPr>
              <a:t>sorgere</a:t>
            </a:r>
            <a:r>
              <a:rPr lang="de-CH" dirty="0">
                <a:ea typeface="Calibri" panose="020F0502020204030204" pitchFamily="34" charset="0"/>
              </a:rPr>
              <a:t> </a:t>
            </a:r>
            <a:r>
              <a:rPr lang="de-CH" dirty="0" err="1">
                <a:ea typeface="Calibri" panose="020F0502020204030204" pitchFamily="34" charset="0"/>
              </a:rPr>
              <a:t>soprattutto</a:t>
            </a:r>
            <a:r>
              <a:rPr lang="de-CH" dirty="0">
                <a:ea typeface="Calibri" panose="020F0502020204030204" pitchFamily="34" charset="0"/>
              </a:rPr>
              <a:t> a causa del </a:t>
            </a:r>
            <a:r>
              <a:rPr lang="de-CH" dirty="0" err="1">
                <a:ea typeface="Calibri" panose="020F0502020204030204" pitchFamily="34" charset="0"/>
              </a:rPr>
              <a:t>domicilio</a:t>
            </a:r>
            <a:r>
              <a:rPr lang="de-CH" dirty="0">
                <a:ea typeface="Calibri" panose="020F0502020204030204" pitchFamily="34" charset="0"/>
              </a:rPr>
              <a:t> o della </a:t>
            </a:r>
            <a:r>
              <a:rPr lang="de-CH" dirty="0" err="1">
                <a:ea typeface="Calibri" panose="020F0502020204030204" pitchFamily="34" charset="0"/>
              </a:rPr>
              <a:t>sede</a:t>
            </a:r>
            <a:r>
              <a:rPr lang="de-CH" dirty="0">
                <a:ea typeface="Calibri" panose="020F0502020204030204" pitchFamily="34" charset="0"/>
              </a:rPr>
              <a:t> legale, della </a:t>
            </a:r>
            <a:r>
              <a:rPr lang="de-CH" dirty="0" err="1">
                <a:ea typeface="Calibri" panose="020F0502020204030204" pitchFamily="34" charset="0"/>
              </a:rPr>
              <a:t>nazionalità</a:t>
            </a:r>
            <a:r>
              <a:rPr lang="de-CH" dirty="0">
                <a:ea typeface="Calibri" panose="020F0502020204030204" pitchFamily="34" charset="0"/>
              </a:rPr>
              <a:t> o della </a:t>
            </a:r>
            <a:r>
              <a:rPr lang="de-CH" dirty="0" err="1">
                <a:ea typeface="Calibri" panose="020F0502020204030204" pitchFamily="34" charset="0"/>
              </a:rPr>
              <a:t>segmentazione</a:t>
            </a:r>
            <a:r>
              <a:rPr lang="de-CH" dirty="0">
                <a:ea typeface="Calibri" panose="020F0502020204030204" pitchFamily="34" charset="0"/>
              </a:rPr>
              <a:t> della </a:t>
            </a:r>
            <a:r>
              <a:rPr lang="de-CH" dirty="0" err="1">
                <a:ea typeface="Calibri" panose="020F0502020204030204" pitchFamily="34" charset="0"/>
              </a:rPr>
              <a:t>clientela</a:t>
            </a:r>
            <a:r>
              <a:rPr lang="de-CH" dirty="0">
                <a:ea typeface="Calibri" panose="020F0502020204030204" pitchFamily="34" charset="0"/>
              </a:rPr>
              <a:t>. </a:t>
            </a:r>
            <a:r>
              <a:rPr lang="de-CH" dirty="0" err="1">
                <a:ea typeface="Calibri" panose="020F0502020204030204" pitchFamily="34" charset="0"/>
              </a:rPr>
              <a:t>Perlopiù</a:t>
            </a:r>
            <a:r>
              <a:rPr lang="de-CH" dirty="0">
                <a:ea typeface="Calibri" panose="020F0502020204030204" pitchFamily="34" charset="0"/>
              </a:rPr>
              <a:t> </a:t>
            </a:r>
            <a:r>
              <a:rPr lang="de-CH" dirty="0" err="1">
                <a:ea typeface="Calibri" panose="020F0502020204030204" pitchFamily="34" charset="0"/>
              </a:rPr>
              <a:t>esistono</a:t>
            </a:r>
            <a:r>
              <a:rPr lang="de-CH" dirty="0">
                <a:ea typeface="Calibri" panose="020F0502020204030204" pitchFamily="34" charset="0"/>
              </a:rPr>
              <a:t> </a:t>
            </a:r>
            <a:r>
              <a:rPr lang="de-CH" dirty="0" err="1">
                <a:ea typeface="Calibri" panose="020F0502020204030204" pitchFamily="34" charset="0"/>
              </a:rPr>
              <a:t>restrizioni</a:t>
            </a:r>
            <a:r>
              <a:rPr lang="de-CH" dirty="0">
                <a:ea typeface="Calibri" panose="020F0502020204030204" pitchFamily="34" charset="0"/>
              </a:rPr>
              <a:t> per </a:t>
            </a:r>
            <a:r>
              <a:rPr lang="de-CH" dirty="0" err="1">
                <a:ea typeface="Calibri" panose="020F0502020204030204" pitchFamily="34" charset="0"/>
              </a:rPr>
              <a:t>cosiddette</a:t>
            </a:r>
            <a:r>
              <a:rPr lang="de-CH" dirty="0">
                <a:ea typeface="Calibri" panose="020F0502020204030204" pitchFamily="34" charset="0"/>
              </a:rPr>
              <a:t> "U.S.-Person", in </a:t>
            </a:r>
            <a:r>
              <a:rPr lang="de-CH" dirty="0" err="1">
                <a:ea typeface="Calibri" panose="020F0502020204030204" pitchFamily="34" charset="0"/>
              </a:rPr>
              <a:t>conformità</a:t>
            </a:r>
            <a:r>
              <a:rPr lang="de-CH" dirty="0">
                <a:ea typeface="Calibri" panose="020F0502020204030204" pitchFamily="34" charset="0"/>
              </a:rPr>
              <a:t> con le normative </a:t>
            </a:r>
            <a:r>
              <a:rPr lang="de-CH" dirty="0" err="1">
                <a:ea typeface="Calibri" panose="020F0502020204030204" pitchFamily="34" charset="0"/>
              </a:rPr>
              <a:t>vigenti</a:t>
            </a:r>
            <a:r>
              <a:rPr lang="de-CH" dirty="0">
                <a:ea typeface="Calibri" panose="020F0502020204030204" pitchFamily="34" charset="0"/>
              </a:rPr>
              <a:t> in materia. Si </a:t>
            </a:r>
            <a:r>
              <a:rPr lang="de-CH" dirty="0" err="1">
                <a:ea typeface="Calibri" panose="020F0502020204030204" pitchFamily="34" charset="0"/>
              </a:rPr>
              <a:t>raccomanda</a:t>
            </a:r>
            <a:r>
              <a:rPr lang="de-CH" dirty="0">
                <a:ea typeface="Calibri" panose="020F0502020204030204" pitchFamily="34" charset="0"/>
              </a:rPr>
              <a:t> in </a:t>
            </a:r>
            <a:r>
              <a:rPr lang="de-CH" dirty="0" err="1">
                <a:ea typeface="Calibri" panose="020F0502020204030204" pitchFamily="34" charset="0"/>
              </a:rPr>
              <a:t>particolare</a:t>
            </a:r>
            <a:r>
              <a:rPr lang="de-CH" dirty="0">
                <a:ea typeface="Calibri" panose="020F0502020204030204" pitchFamily="34" charset="0"/>
              </a:rPr>
              <a:t> al </a:t>
            </a:r>
            <a:r>
              <a:rPr lang="de-CH" dirty="0" err="1">
                <a:ea typeface="Calibri" panose="020F0502020204030204" pitchFamily="34" charset="0"/>
              </a:rPr>
              <a:t>destinatario</a:t>
            </a:r>
            <a:r>
              <a:rPr lang="de-CH" dirty="0">
                <a:ea typeface="Calibri" panose="020F0502020204030204" pitchFamily="34" charset="0"/>
              </a:rPr>
              <a:t> di </a:t>
            </a:r>
            <a:r>
              <a:rPr lang="de-CH" dirty="0" err="1">
                <a:ea typeface="Calibri" panose="020F0502020204030204" pitchFamily="34" charset="0"/>
              </a:rPr>
              <a:t>verificare</a:t>
            </a:r>
            <a:r>
              <a:rPr lang="de-CH" dirty="0">
                <a:ea typeface="Calibri" panose="020F0502020204030204" pitchFamily="34" charset="0"/>
              </a:rPr>
              <a:t> le </a:t>
            </a:r>
            <a:r>
              <a:rPr lang="de-CH" dirty="0" err="1">
                <a:ea typeface="Calibri" panose="020F0502020204030204" pitchFamily="34" charset="0"/>
              </a:rPr>
              <a:t>informazioni</a:t>
            </a:r>
            <a:r>
              <a:rPr lang="de-CH" dirty="0">
                <a:ea typeface="Calibri" panose="020F0502020204030204" pitchFamily="34" charset="0"/>
              </a:rPr>
              <a:t>, </a:t>
            </a:r>
            <a:r>
              <a:rPr lang="de-CH" dirty="0" err="1">
                <a:ea typeface="Calibri" panose="020F0502020204030204" pitchFamily="34" charset="0"/>
              </a:rPr>
              <a:t>ricorrendo</a:t>
            </a:r>
            <a:r>
              <a:rPr lang="de-CH" dirty="0">
                <a:ea typeface="Calibri" panose="020F0502020204030204" pitchFamily="34" charset="0"/>
              </a:rPr>
              <a:t> </a:t>
            </a:r>
            <a:r>
              <a:rPr lang="de-CH" dirty="0" err="1">
                <a:ea typeface="Calibri" panose="020F0502020204030204" pitchFamily="34" charset="0"/>
              </a:rPr>
              <a:t>eventualmente</a:t>
            </a:r>
            <a:r>
              <a:rPr lang="de-CH" dirty="0">
                <a:ea typeface="Calibri" panose="020F0502020204030204" pitchFamily="34" charset="0"/>
              </a:rPr>
              <a:t> a </a:t>
            </a:r>
            <a:r>
              <a:rPr lang="de-CH" dirty="0" err="1">
                <a:ea typeface="Calibri" panose="020F0502020204030204" pitchFamily="34" charset="0"/>
              </a:rPr>
              <a:t>un</a:t>
            </a:r>
            <a:r>
              <a:rPr lang="de-CH" dirty="0">
                <a:ea typeface="Calibri" panose="020F0502020204030204" pitchFamily="34" charset="0"/>
              </a:rPr>
              <a:t> </a:t>
            </a:r>
            <a:r>
              <a:rPr lang="de-CH" dirty="0" err="1">
                <a:ea typeface="Calibri" panose="020F0502020204030204" pitchFamily="34" charset="0"/>
              </a:rPr>
              <a:t>consulente</a:t>
            </a:r>
            <a:r>
              <a:rPr lang="de-CH" dirty="0">
                <a:ea typeface="Calibri" panose="020F0502020204030204" pitchFamily="34" charset="0"/>
              </a:rPr>
              <a:t>, per quanto </a:t>
            </a:r>
            <a:r>
              <a:rPr lang="de-CH" dirty="0" err="1">
                <a:ea typeface="Calibri" panose="020F0502020204030204" pitchFamily="34" charset="0"/>
              </a:rPr>
              <a:t>riguarda</a:t>
            </a:r>
            <a:r>
              <a:rPr lang="de-CH" dirty="0">
                <a:ea typeface="Calibri" panose="020F0502020204030204" pitchFamily="34" charset="0"/>
              </a:rPr>
              <a:t> la </a:t>
            </a:r>
            <a:r>
              <a:rPr lang="de-CH" dirty="0" err="1">
                <a:ea typeface="Calibri" panose="020F0502020204030204" pitchFamily="34" charset="0"/>
              </a:rPr>
              <a:t>loro</a:t>
            </a:r>
            <a:r>
              <a:rPr lang="de-CH" dirty="0">
                <a:ea typeface="Calibri" panose="020F0502020204030204" pitchFamily="34" charset="0"/>
              </a:rPr>
              <a:t> </a:t>
            </a:r>
            <a:r>
              <a:rPr lang="de-CH" dirty="0" err="1">
                <a:ea typeface="Calibri" panose="020F0502020204030204" pitchFamily="34" charset="0"/>
              </a:rPr>
              <a:t>compatibilità</a:t>
            </a:r>
            <a:r>
              <a:rPr lang="de-CH" dirty="0">
                <a:ea typeface="Calibri" panose="020F0502020204030204" pitchFamily="34" charset="0"/>
              </a:rPr>
              <a:t> con la propria </a:t>
            </a:r>
            <a:r>
              <a:rPr lang="de-CH" dirty="0" err="1">
                <a:ea typeface="Calibri" panose="020F0502020204030204" pitchFamily="34" charset="0"/>
              </a:rPr>
              <a:t>situazione</a:t>
            </a:r>
            <a:r>
              <a:rPr lang="de-CH" dirty="0">
                <a:ea typeface="Calibri" panose="020F0502020204030204" pitchFamily="34" charset="0"/>
              </a:rPr>
              <a:t> personale </a:t>
            </a:r>
            <a:r>
              <a:rPr lang="de-CH" dirty="0" err="1">
                <a:ea typeface="Calibri" panose="020F0502020204030204" pitchFamily="34" charset="0"/>
              </a:rPr>
              <a:t>nonché</a:t>
            </a:r>
            <a:r>
              <a:rPr lang="de-CH" dirty="0">
                <a:ea typeface="Calibri" panose="020F0502020204030204" pitchFamily="34" charset="0"/>
              </a:rPr>
              <a:t> </a:t>
            </a:r>
            <a:r>
              <a:rPr lang="de-CH" dirty="0" err="1">
                <a:ea typeface="Calibri" panose="020F0502020204030204" pitchFamily="34" charset="0"/>
              </a:rPr>
              <a:t>gli</a:t>
            </a:r>
            <a:r>
              <a:rPr lang="de-CH" dirty="0">
                <a:ea typeface="Calibri" panose="020F0502020204030204" pitchFamily="34" charset="0"/>
              </a:rPr>
              <a:t> </a:t>
            </a:r>
            <a:r>
              <a:rPr lang="de-CH" dirty="0" err="1">
                <a:ea typeface="Calibri" panose="020F0502020204030204" pitchFamily="34" charset="0"/>
              </a:rPr>
              <a:t>effetti</a:t>
            </a:r>
            <a:r>
              <a:rPr lang="de-CH" dirty="0">
                <a:ea typeface="Calibri" panose="020F0502020204030204" pitchFamily="34" charset="0"/>
              </a:rPr>
              <a:t> </a:t>
            </a:r>
            <a:r>
              <a:rPr lang="de-CH" dirty="0" err="1">
                <a:ea typeface="Calibri" panose="020F0502020204030204" pitchFamily="34" charset="0"/>
              </a:rPr>
              <a:t>giuridici</a:t>
            </a:r>
            <a:r>
              <a:rPr lang="de-CH" dirty="0">
                <a:ea typeface="Calibri" panose="020F0502020204030204" pitchFamily="34" charset="0"/>
              </a:rPr>
              <a:t>, </a:t>
            </a:r>
            <a:r>
              <a:rPr lang="de-CH" dirty="0" err="1">
                <a:ea typeface="Calibri" panose="020F0502020204030204" pitchFamily="34" charset="0"/>
              </a:rPr>
              <a:t>normativi</a:t>
            </a:r>
            <a:r>
              <a:rPr lang="de-CH" dirty="0">
                <a:ea typeface="Calibri" panose="020F0502020204030204" pitchFamily="34" charset="0"/>
              </a:rPr>
              <a:t>, </a:t>
            </a:r>
            <a:r>
              <a:rPr lang="de-CH" dirty="0" err="1">
                <a:ea typeface="Calibri" panose="020F0502020204030204" pitchFamily="34" charset="0"/>
              </a:rPr>
              <a:t>fiscali</a:t>
            </a:r>
            <a:r>
              <a:rPr lang="de-CH" dirty="0">
                <a:ea typeface="Calibri" panose="020F0502020204030204" pitchFamily="34" charset="0"/>
              </a:rPr>
              <a:t> e </a:t>
            </a:r>
            <a:r>
              <a:rPr lang="de-CH" dirty="0" err="1">
                <a:ea typeface="Calibri" panose="020F0502020204030204" pitchFamily="34" charset="0"/>
              </a:rPr>
              <a:t>d'altro</a:t>
            </a:r>
            <a:r>
              <a:rPr lang="de-CH" dirty="0">
                <a:ea typeface="Calibri" panose="020F0502020204030204" pitchFamily="34" charset="0"/>
              </a:rPr>
              <a:t> </a:t>
            </a:r>
            <a:r>
              <a:rPr lang="de-CH" dirty="0" err="1">
                <a:ea typeface="Calibri" panose="020F0502020204030204" pitchFamily="34" charset="0"/>
              </a:rPr>
              <a:t>tipo</a:t>
            </a:r>
            <a:r>
              <a:rPr lang="de-CH" dirty="0">
                <a:ea typeface="Calibri" panose="020F0502020204030204" pitchFamily="34" charset="0"/>
              </a:rPr>
              <a:t>. È </a:t>
            </a:r>
            <a:r>
              <a:rPr lang="de-CH" dirty="0" err="1">
                <a:ea typeface="Calibri" panose="020F0502020204030204" pitchFamily="34" charset="0"/>
              </a:rPr>
              <a:t>stata</a:t>
            </a:r>
            <a:r>
              <a:rPr lang="de-CH" dirty="0">
                <a:ea typeface="Calibri" panose="020F0502020204030204" pitchFamily="34" charset="0"/>
              </a:rPr>
              <a:t> </a:t>
            </a:r>
            <a:r>
              <a:rPr lang="de-CH" dirty="0" err="1">
                <a:ea typeface="Calibri" panose="020F0502020204030204" pitchFamily="34" charset="0"/>
              </a:rPr>
              <a:t>redatta</a:t>
            </a:r>
            <a:r>
              <a:rPr lang="de-CH" dirty="0">
                <a:ea typeface="Calibri" panose="020F0502020204030204" pitchFamily="34" charset="0"/>
              </a:rPr>
              <a:t> da Zürcher Kantonalbank con la </a:t>
            </a:r>
            <a:r>
              <a:rPr lang="de-CH" dirty="0" err="1">
                <a:ea typeface="Calibri" panose="020F0502020204030204" pitchFamily="34" charset="0"/>
              </a:rPr>
              <a:t>dovuta</a:t>
            </a:r>
            <a:r>
              <a:rPr lang="de-CH" dirty="0">
                <a:ea typeface="Calibri" panose="020F0502020204030204" pitchFamily="34" charset="0"/>
              </a:rPr>
              <a:t> </a:t>
            </a:r>
            <a:r>
              <a:rPr lang="de-CH" dirty="0" err="1">
                <a:ea typeface="Calibri" panose="020F0502020204030204" pitchFamily="34" charset="0"/>
              </a:rPr>
              <a:t>diligenza</a:t>
            </a:r>
            <a:r>
              <a:rPr lang="de-CH" dirty="0">
                <a:ea typeface="Calibri" panose="020F0502020204030204" pitchFamily="34" charset="0"/>
              </a:rPr>
              <a:t> e </a:t>
            </a:r>
            <a:r>
              <a:rPr lang="de-CH" dirty="0" err="1">
                <a:ea typeface="Calibri" panose="020F0502020204030204" pitchFamily="34" charset="0"/>
              </a:rPr>
              <a:t>può</a:t>
            </a:r>
            <a:r>
              <a:rPr lang="de-CH" dirty="0">
                <a:ea typeface="Calibri" panose="020F0502020204030204" pitchFamily="34" charset="0"/>
              </a:rPr>
              <a:t> </a:t>
            </a:r>
            <a:r>
              <a:rPr lang="de-CH" dirty="0" err="1">
                <a:ea typeface="Calibri" panose="020F0502020204030204" pitchFamily="34" charset="0"/>
              </a:rPr>
              <a:t>contenere</a:t>
            </a:r>
            <a:r>
              <a:rPr lang="de-CH" dirty="0">
                <a:ea typeface="Calibri" panose="020F0502020204030204" pitchFamily="34" charset="0"/>
              </a:rPr>
              <a:t> </a:t>
            </a:r>
            <a:r>
              <a:rPr lang="de-CH" dirty="0" err="1">
                <a:ea typeface="Calibri" panose="020F0502020204030204" pitchFamily="34" charset="0"/>
              </a:rPr>
              <a:t>informazioni</a:t>
            </a:r>
            <a:r>
              <a:rPr lang="de-CH" dirty="0">
                <a:ea typeface="Calibri" panose="020F0502020204030204" pitchFamily="34" charset="0"/>
              </a:rPr>
              <a:t> </a:t>
            </a:r>
            <a:r>
              <a:rPr lang="de-CH" dirty="0" err="1">
                <a:ea typeface="Calibri" panose="020F0502020204030204" pitchFamily="34" charset="0"/>
              </a:rPr>
              <a:t>provenienti</a:t>
            </a:r>
            <a:r>
              <a:rPr lang="de-CH" dirty="0">
                <a:ea typeface="Calibri" panose="020F0502020204030204" pitchFamily="34" charset="0"/>
              </a:rPr>
              <a:t> da </a:t>
            </a:r>
            <a:r>
              <a:rPr lang="de-CH" dirty="0" err="1">
                <a:ea typeface="Calibri" panose="020F0502020204030204" pitchFamily="34" charset="0"/>
              </a:rPr>
              <a:t>fonti</a:t>
            </a:r>
            <a:r>
              <a:rPr lang="de-CH" dirty="0">
                <a:ea typeface="Calibri" panose="020F0502020204030204" pitchFamily="34" charset="0"/>
              </a:rPr>
              <a:t> </a:t>
            </a:r>
            <a:r>
              <a:rPr lang="de-CH" dirty="0" err="1">
                <a:ea typeface="Calibri" panose="020F0502020204030204" pitchFamily="34" charset="0"/>
              </a:rPr>
              <a:t>terze</a:t>
            </a:r>
            <a:r>
              <a:rPr lang="de-CH" dirty="0">
                <a:ea typeface="Calibri" panose="020F0502020204030204" pitchFamily="34" charset="0"/>
              </a:rPr>
              <a:t> </a:t>
            </a:r>
            <a:r>
              <a:rPr lang="de-CH" dirty="0" err="1">
                <a:ea typeface="Calibri" panose="020F0502020204030204" pitchFamily="34" charset="0"/>
              </a:rPr>
              <a:t>accuratamente</a:t>
            </a:r>
            <a:r>
              <a:rPr lang="de-CH" dirty="0">
                <a:ea typeface="Calibri" panose="020F0502020204030204" pitchFamily="34" charset="0"/>
              </a:rPr>
              <a:t> </a:t>
            </a:r>
            <a:r>
              <a:rPr lang="de-CH" dirty="0" err="1">
                <a:ea typeface="Calibri" panose="020F0502020204030204" pitchFamily="34" charset="0"/>
              </a:rPr>
              <a:t>selezionate</a:t>
            </a:r>
            <a:r>
              <a:rPr lang="de-CH" dirty="0">
                <a:ea typeface="Calibri" panose="020F0502020204030204" pitchFamily="34" charset="0"/>
              </a:rPr>
              <a:t>. Zürcher Kantonalbank non </a:t>
            </a:r>
            <a:r>
              <a:rPr lang="de-CH" dirty="0" err="1">
                <a:ea typeface="Calibri" panose="020F0502020204030204" pitchFamily="34" charset="0"/>
              </a:rPr>
              <a:t>garantisce</a:t>
            </a:r>
            <a:r>
              <a:rPr lang="de-CH" dirty="0">
                <a:ea typeface="Calibri" panose="020F0502020204030204" pitchFamily="34" charset="0"/>
              </a:rPr>
              <a:t> </a:t>
            </a:r>
            <a:r>
              <a:rPr lang="de-CH" dirty="0" err="1">
                <a:ea typeface="Calibri" panose="020F0502020204030204" pitchFamily="34" charset="0"/>
              </a:rPr>
              <a:t>tuttavia</a:t>
            </a:r>
            <a:r>
              <a:rPr lang="de-CH" dirty="0">
                <a:ea typeface="Calibri" panose="020F0502020204030204" pitchFamily="34" charset="0"/>
              </a:rPr>
              <a:t> </a:t>
            </a:r>
            <a:r>
              <a:rPr lang="de-CH" dirty="0" err="1">
                <a:ea typeface="Calibri" panose="020F0502020204030204" pitchFamily="34" charset="0"/>
              </a:rPr>
              <a:t>né</a:t>
            </a:r>
            <a:r>
              <a:rPr lang="de-CH" dirty="0">
                <a:ea typeface="Calibri" panose="020F0502020204030204" pitchFamily="34" charset="0"/>
              </a:rPr>
              <a:t> la </a:t>
            </a:r>
            <a:r>
              <a:rPr lang="de-CH" dirty="0" err="1">
                <a:ea typeface="Calibri" panose="020F0502020204030204" pitchFamily="34" charset="0"/>
              </a:rPr>
              <a:t>correttezza</a:t>
            </a:r>
            <a:r>
              <a:rPr lang="de-CH" dirty="0">
                <a:ea typeface="Calibri" panose="020F0502020204030204" pitchFamily="34" charset="0"/>
              </a:rPr>
              <a:t> </a:t>
            </a:r>
            <a:r>
              <a:rPr lang="de-CH" dirty="0" err="1">
                <a:ea typeface="Calibri" panose="020F0502020204030204" pitchFamily="34" charset="0"/>
              </a:rPr>
              <a:t>né</a:t>
            </a:r>
            <a:r>
              <a:rPr lang="de-CH" dirty="0">
                <a:ea typeface="Calibri" panose="020F0502020204030204" pitchFamily="34" charset="0"/>
              </a:rPr>
              <a:t> la </a:t>
            </a:r>
            <a:r>
              <a:rPr lang="de-CH" dirty="0" err="1">
                <a:ea typeface="Calibri" panose="020F0502020204030204" pitchFamily="34" charset="0"/>
              </a:rPr>
              <a:t>completezza</a:t>
            </a:r>
            <a:r>
              <a:rPr lang="de-CH" dirty="0">
                <a:ea typeface="Calibri" panose="020F0502020204030204" pitchFamily="34" charset="0"/>
              </a:rPr>
              <a:t> delle </a:t>
            </a:r>
            <a:r>
              <a:rPr lang="de-CH" dirty="0" err="1">
                <a:ea typeface="Calibri" panose="020F0502020204030204" pitchFamily="34" charset="0"/>
              </a:rPr>
              <a:t>informazioni</a:t>
            </a:r>
            <a:r>
              <a:rPr lang="de-CH" dirty="0">
                <a:ea typeface="Calibri" panose="020F0502020204030204" pitchFamily="34" charset="0"/>
              </a:rPr>
              <a:t> in </a:t>
            </a:r>
            <a:r>
              <a:rPr lang="de-CH" dirty="0" err="1">
                <a:ea typeface="Calibri" panose="020F0502020204030204" pitchFamily="34" charset="0"/>
              </a:rPr>
              <a:t>essa</a:t>
            </a:r>
            <a:r>
              <a:rPr lang="de-CH" dirty="0">
                <a:ea typeface="Calibri" panose="020F0502020204030204" pitchFamily="34" charset="0"/>
              </a:rPr>
              <a:t> </a:t>
            </a:r>
            <a:r>
              <a:rPr lang="de-CH" dirty="0" err="1">
                <a:ea typeface="Calibri" panose="020F0502020204030204" pitchFamily="34" charset="0"/>
              </a:rPr>
              <a:t>contenute</a:t>
            </a:r>
            <a:r>
              <a:rPr lang="de-CH" dirty="0">
                <a:ea typeface="Calibri" panose="020F0502020204030204" pitchFamily="34" charset="0"/>
              </a:rPr>
              <a:t> e </a:t>
            </a:r>
            <a:r>
              <a:rPr lang="de-CH" dirty="0" err="1">
                <a:ea typeface="Calibri" panose="020F0502020204030204" pitchFamily="34" charset="0"/>
              </a:rPr>
              <a:t>declina</a:t>
            </a:r>
            <a:r>
              <a:rPr lang="de-CH" dirty="0">
                <a:ea typeface="Calibri" panose="020F0502020204030204" pitchFamily="34" charset="0"/>
              </a:rPr>
              <a:t> </a:t>
            </a:r>
            <a:r>
              <a:rPr lang="de-CH" dirty="0" err="1">
                <a:ea typeface="Calibri" panose="020F0502020204030204" pitchFamily="34" charset="0"/>
              </a:rPr>
              <a:t>qualsivoglia</a:t>
            </a:r>
            <a:r>
              <a:rPr lang="de-CH" dirty="0">
                <a:ea typeface="Calibri" panose="020F0502020204030204" pitchFamily="34" charset="0"/>
              </a:rPr>
              <a:t> </a:t>
            </a:r>
            <a:r>
              <a:rPr lang="de-CH" dirty="0" err="1">
                <a:ea typeface="Calibri" panose="020F0502020204030204" pitchFamily="34" charset="0"/>
              </a:rPr>
              <a:t>responsabilità</a:t>
            </a:r>
            <a:r>
              <a:rPr lang="de-CH" dirty="0">
                <a:ea typeface="Calibri" panose="020F0502020204030204" pitchFamily="34" charset="0"/>
              </a:rPr>
              <a:t> per </a:t>
            </a:r>
            <a:r>
              <a:rPr lang="de-CH" dirty="0" err="1">
                <a:ea typeface="Calibri" panose="020F0502020204030204" pitchFamily="34" charset="0"/>
              </a:rPr>
              <a:t>danni</a:t>
            </a:r>
            <a:r>
              <a:rPr lang="de-CH" dirty="0">
                <a:ea typeface="Calibri" panose="020F0502020204030204" pitchFamily="34" charset="0"/>
              </a:rPr>
              <a:t> </a:t>
            </a:r>
            <a:r>
              <a:rPr lang="de-CH" dirty="0" err="1">
                <a:ea typeface="Calibri" panose="020F0502020204030204" pitchFamily="34" charset="0"/>
              </a:rPr>
              <a:t>derivanti</a:t>
            </a:r>
            <a:r>
              <a:rPr lang="de-CH" dirty="0">
                <a:ea typeface="Calibri" panose="020F0502020204030204" pitchFamily="34" charset="0"/>
              </a:rPr>
              <a:t> </a:t>
            </a:r>
            <a:r>
              <a:rPr lang="de-CH" dirty="0" err="1">
                <a:ea typeface="Calibri" panose="020F0502020204030204" pitchFamily="34" charset="0"/>
              </a:rPr>
              <a:t>dall'utilizzo</a:t>
            </a:r>
            <a:r>
              <a:rPr lang="de-CH" dirty="0">
                <a:ea typeface="Calibri" panose="020F0502020204030204" pitchFamily="34" charset="0"/>
              </a:rPr>
              <a:t> della </a:t>
            </a:r>
            <a:r>
              <a:rPr lang="de-CH" dirty="0" err="1">
                <a:ea typeface="Calibri" panose="020F0502020204030204" pitchFamily="34" charset="0"/>
              </a:rPr>
              <a:t>pubblicazione</a:t>
            </a:r>
            <a:r>
              <a:rPr lang="de-CH" dirty="0">
                <a:ea typeface="Calibri" panose="020F0502020204030204" pitchFamily="34" charset="0"/>
              </a:rPr>
              <a:t>. Zürcher Kantonalbank si </a:t>
            </a:r>
            <a:r>
              <a:rPr lang="de-CH" dirty="0" err="1">
                <a:ea typeface="Calibri" panose="020F0502020204030204" pitchFamily="34" charset="0"/>
              </a:rPr>
              <a:t>riserva</a:t>
            </a:r>
            <a:r>
              <a:rPr lang="de-CH" dirty="0">
                <a:ea typeface="Calibri" panose="020F0502020204030204" pitchFamily="34" charset="0"/>
              </a:rPr>
              <a:t> il </a:t>
            </a:r>
            <a:r>
              <a:rPr lang="de-CH" dirty="0" err="1">
                <a:ea typeface="Calibri" panose="020F0502020204030204" pitchFamily="34" charset="0"/>
              </a:rPr>
              <a:t>diritto</a:t>
            </a:r>
            <a:r>
              <a:rPr lang="de-CH" dirty="0">
                <a:ea typeface="Calibri" panose="020F0502020204030204" pitchFamily="34" charset="0"/>
              </a:rPr>
              <a:t> di </a:t>
            </a:r>
            <a:r>
              <a:rPr lang="de-CH" dirty="0" err="1">
                <a:ea typeface="Calibri" panose="020F0502020204030204" pitchFamily="34" charset="0"/>
              </a:rPr>
              <a:t>modificare</a:t>
            </a:r>
            <a:r>
              <a:rPr lang="de-CH" dirty="0">
                <a:ea typeface="Calibri" panose="020F0502020204030204" pitchFamily="34" charset="0"/>
              </a:rPr>
              <a:t> le </a:t>
            </a:r>
            <a:r>
              <a:rPr lang="de-CH" dirty="0" err="1">
                <a:ea typeface="Calibri" panose="020F0502020204030204" pitchFamily="34" charset="0"/>
              </a:rPr>
              <a:t>informazioni</a:t>
            </a:r>
            <a:r>
              <a:rPr lang="de-CH" dirty="0">
                <a:ea typeface="Calibri" panose="020F0502020204030204" pitchFamily="34" charset="0"/>
              </a:rPr>
              <a:t> </a:t>
            </a:r>
            <a:r>
              <a:rPr lang="de-CH" dirty="0" err="1">
                <a:ea typeface="Calibri" panose="020F0502020204030204" pitchFamily="34" charset="0"/>
              </a:rPr>
              <a:t>contenute</a:t>
            </a:r>
            <a:r>
              <a:rPr lang="de-CH" dirty="0">
                <a:ea typeface="Calibri" panose="020F0502020204030204" pitchFamily="34" charset="0"/>
              </a:rPr>
              <a:t> </a:t>
            </a:r>
            <a:r>
              <a:rPr lang="de-CH" dirty="0" err="1">
                <a:ea typeface="Calibri" panose="020F0502020204030204" pitchFamily="34" charset="0"/>
              </a:rPr>
              <a:t>nel</a:t>
            </a:r>
            <a:r>
              <a:rPr lang="de-CH" dirty="0">
                <a:ea typeface="Calibri" panose="020F0502020204030204" pitchFamily="34" charset="0"/>
              </a:rPr>
              <a:t> </a:t>
            </a:r>
            <a:r>
              <a:rPr lang="de-CH" dirty="0" err="1">
                <a:ea typeface="Calibri" panose="020F0502020204030204" pitchFamily="34" charset="0"/>
              </a:rPr>
              <a:t>presente</a:t>
            </a:r>
            <a:r>
              <a:rPr lang="de-CH" dirty="0">
                <a:ea typeface="Calibri" panose="020F0502020204030204" pitchFamily="34" charset="0"/>
              </a:rPr>
              <a:t> </a:t>
            </a:r>
            <a:r>
              <a:rPr lang="de-CH" dirty="0" err="1">
                <a:ea typeface="Calibri" panose="020F0502020204030204" pitchFamily="34" charset="0"/>
              </a:rPr>
              <a:t>documento</a:t>
            </a:r>
            <a:r>
              <a:rPr lang="de-CH" dirty="0">
                <a:ea typeface="Calibri" panose="020F0502020204030204" pitchFamily="34" charset="0"/>
              </a:rPr>
              <a:t> senza </a:t>
            </a:r>
            <a:r>
              <a:rPr lang="de-CH" dirty="0" err="1">
                <a:ea typeface="Calibri" panose="020F0502020204030204" pitchFamily="34" charset="0"/>
              </a:rPr>
              <a:t>preavviso</a:t>
            </a:r>
            <a:r>
              <a:rPr lang="de-CH" dirty="0">
                <a:ea typeface="Calibri" panose="020F0502020204030204" pitchFamily="34" charset="0"/>
              </a:rPr>
              <a:t>. </a:t>
            </a:r>
          </a:p>
          <a:p>
            <a:pPr eaLnBrk="1" fontAlgn="auto" hangingPunct="1">
              <a:defRPr/>
            </a:pPr>
            <a:r>
              <a:rPr lang="de-CH" dirty="0">
                <a:ea typeface="Calibri" panose="020F0502020204030204" pitchFamily="34" charset="0"/>
              </a:rPr>
              <a:t>© 2025 Zürcher Kantonalbank. Tutti i </a:t>
            </a:r>
            <a:r>
              <a:rPr lang="de-CH" dirty="0" err="1">
                <a:ea typeface="Calibri" panose="020F0502020204030204" pitchFamily="34" charset="0"/>
              </a:rPr>
              <a:t>diritti</a:t>
            </a:r>
            <a:r>
              <a:rPr lang="de-CH" dirty="0">
                <a:ea typeface="Calibri" panose="020F0502020204030204" pitchFamily="34" charset="0"/>
              </a:rPr>
              <a:t> </a:t>
            </a:r>
            <a:r>
              <a:rPr lang="de-CH" dirty="0" err="1">
                <a:ea typeface="Calibri" panose="020F0502020204030204" pitchFamily="34" charset="0"/>
              </a:rPr>
              <a:t>riservati</a:t>
            </a:r>
            <a:r>
              <a:rPr lang="de-CH" dirty="0">
                <a:ea typeface="Calibri" panose="020F0502020204030204" pitchFamily="34" charset="0"/>
              </a:rPr>
              <a:t>.</a:t>
            </a:r>
          </a:p>
        </p:txBody>
      </p:sp>
      <p:sp>
        <p:nvSpPr>
          <p:cNvPr id="2" name="Rechteck 3">
            <a:extLst>
              <a:ext uri="{FF2B5EF4-FFF2-40B4-BE49-F238E27FC236}">
                <a16:creationId xmlns:a16="http://schemas.microsoft.com/office/drawing/2014/main" id="{9FD61178-F2F4-83A4-CEB2-347970F7A030}"/>
              </a:ext>
            </a:extLst>
          </p:cNvPr>
          <p:cNvSpPr>
            <a:spLocks noChangeArrowheads="1"/>
          </p:cNvSpPr>
          <p:nvPr/>
        </p:nvSpPr>
        <p:spPr bwMode="auto">
          <a:xfrm>
            <a:off x="3170238" y="1743075"/>
            <a:ext cx="6827837" cy="2089150"/>
          </a:xfrm>
          <a:prstGeom prst="rect">
            <a:avLst/>
          </a:prstGeom>
          <a:solidFill>
            <a:srgbClr val="F88381"/>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nchor="ctr"/>
          <a:lstStyle>
            <a:lvl1pPr marL="357188"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dirty="0">
                <a:solidFill>
                  <a:srgbClr val="FFFFFF"/>
                </a:solidFill>
                <a:ea typeface="Calibri" panose="020F0502020204030204" pitchFamily="34" charset="0"/>
                <a:cs typeface="Times New Roman" panose="02020603050405020304" pitchFamily="18" charset="0"/>
              </a:rPr>
              <a:t>Dieser Disclaimer ist nicht für jede Präsentation geeignet.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Die Checkliste Self-Assessment zu Anhang 3 der Weisung Marken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und Marketing, gibt eine Indikation für den Inhalt des Disclaimers.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Bei Unklarheiten oder Fragen setze dich mit deiner Ansprechperson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von Legal &amp; Compliance in Verbindung.</a:t>
            </a:r>
          </a:p>
          <a:p>
            <a:pPr eaLnBrk="1" hangingPunct="1">
              <a:lnSpc>
                <a:spcPct val="105000"/>
              </a:lnSpc>
            </a:pPr>
            <a:endParaRPr lang="de-CH" altLang="de-DE" dirty="0">
              <a:solidFill>
                <a:srgbClr val="FFFFFF"/>
              </a:solidFill>
              <a:ea typeface="Calibri" panose="020F0502020204030204" pitchFamily="34" charset="0"/>
              <a:cs typeface="Times New Roman" panose="02020603050405020304" pitchFamily="18" charset="0"/>
            </a:endParaRPr>
          </a:p>
          <a:p>
            <a:pPr eaLnBrk="1" hangingPunct="1">
              <a:lnSpc>
                <a:spcPct val="105000"/>
              </a:lnSpc>
            </a:pPr>
            <a:r>
              <a:rPr lang="de-CH" altLang="de-DE" dirty="0">
                <a:solidFill>
                  <a:srgbClr val="FFFFFF"/>
                </a:solidFill>
                <a:ea typeface="Calibri" panose="020F0502020204030204" pitchFamily="34" charset="0"/>
                <a:cs typeface="Times New Roman" panose="02020603050405020304" pitchFamily="18" charset="0"/>
              </a:rPr>
              <a:t>Sprache: Italienisch</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think-cell data - do not delete" hidden="1">
            <a:extLst>
              <a:ext uri="{FF2B5EF4-FFF2-40B4-BE49-F238E27FC236}">
                <a16:creationId xmlns:a16="http://schemas.microsoft.com/office/drawing/2014/main" id="{4CE8DEC4-F6AD-49C0-F7FB-04808A8FEE3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0722" name="think-cell data - do not delete" hidden="1">
                        <a:extLst>
                          <a:ext uri="{FF2B5EF4-FFF2-40B4-BE49-F238E27FC236}">
                            <a16:creationId xmlns:a16="http://schemas.microsoft.com/office/drawing/2014/main" id="{4CE8DEC4-F6AD-49C0-F7FB-04808A8FEE3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23" name="Titel 1">
            <a:extLst>
              <a:ext uri="{FF2B5EF4-FFF2-40B4-BE49-F238E27FC236}">
                <a16:creationId xmlns:a16="http://schemas.microsoft.com/office/drawing/2014/main" id="{A12770D9-4ABA-94C1-18BC-08DD99481715}"/>
              </a:ext>
            </a:extLst>
          </p:cNvPr>
          <p:cNvSpPr>
            <a:spLocks noGrp="1"/>
          </p:cNvSpPr>
          <p:nvPr>
            <p:ph type="title"/>
          </p:nvPr>
        </p:nvSpPr>
        <p:spPr>
          <a:xfrm>
            <a:off x="306388" y="287338"/>
            <a:ext cx="10180637" cy="863600"/>
          </a:xfrm>
          <a:extLst>
            <a:ext uri="{91240B29-F687-4F45-9708-019B960494DF}">
              <a14:hiddenLine xmlns:a14="http://schemas.microsoft.com/office/drawing/2010/main" w="19050">
                <a:solidFill>
                  <a:srgbClr val="008000"/>
                </a:solidFill>
                <a:prstDash val="solid"/>
                <a:miter lim="800000"/>
                <a:headEnd/>
                <a:tailEnd/>
              </a14:hiddenLine>
            </a:ext>
          </a:extLst>
        </p:spPr>
        <p:txBody>
          <a:bodyPr/>
          <a:lstStyle/>
          <a:p>
            <a:pPr eaLnBrk="1" hangingPunct="1">
              <a:spcBef>
                <a:spcPct val="0"/>
              </a:spcBef>
              <a:spcAft>
                <a:spcPct val="0"/>
              </a:spcAft>
            </a:pPr>
            <a:r>
              <a:rPr lang="de-CH" altLang="de-DE" dirty="0"/>
              <a:t>Wir sind für Sie da</a:t>
            </a:r>
          </a:p>
        </p:txBody>
      </p:sp>
      <p:sp>
        <p:nvSpPr>
          <p:cNvPr id="30724" name="Foliennummernplatzhalter 23">
            <a:extLst>
              <a:ext uri="{FF2B5EF4-FFF2-40B4-BE49-F238E27FC236}">
                <a16:creationId xmlns:a16="http://schemas.microsoft.com/office/drawing/2014/main" id="{16000192-0C6C-8393-4CEE-3EBE5E3F2F7F}"/>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11</a:t>
            </a:fld>
            <a:endParaRPr lang="de-CH" altLang="de-DE" sz="1100" dirty="0">
              <a:solidFill>
                <a:srgbClr val="003CB4"/>
              </a:solidFill>
            </a:endParaRPr>
          </a:p>
        </p:txBody>
      </p:sp>
      <p:sp>
        <p:nvSpPr>
          <p:cNvPr id="30725" name="Fußzeilenplatzhalter 22">
            <a:extLst>
              <a:ext uri="{FF2B5EF4-FFF2-40B4-BE49-F238E27FC236}">
                <a16:creationId xmlns:a16="http://schemas.microsoft.com/office/drawing/2014/main" id="{AF2CEC5C-A918-5090-1217-BF408BE54E14}"/>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0726" name="Inhaltsplatzhalter 26">
            <a:extLst>
              <a:ext uri="{FF2B5EF4-FFF2-40B4-BE49-F238E27FC236}">
                <a16:creationId xmlns:a16="http://schemas.microsoft.com/office/drawing/2014/main" id="{858EF49E-03F5-27DD-0D2C-1588FE27A70B}"/>
              </a:ext>
            </a:extLst>
          </p:cNvPr>
          <p:cNvSpPr>
            <a:spLocks noGrp="1" noChangeArrowheads="1"/>
          </p:cNvSpPr>
          <p:nvPr>
            <p:ph idx="12"/>
          </p:nvPr>
        </p:nvSpPr>
        <p:spPr>
          <a:xfrm>
            <a:off x="306388" y="1885950"/>
            <a:ext cx="3889375" cy="4748213"/>
          </a:xfrm>
        </p:spPr>
        <p:txBody>
          <a:bodyPr/>
          <a:lstStyle/>
          <a:p>
            <a:pPr defTabSz="284163" eaLnBrk="1" hangingPunct="1">
              <a:spcBef>
                <a:spcPct val="0"/>
              </a:spcBef>
              <a:spcAft>
                <a:spcPct val="0"/>
              </a:spcAft>
              <a:buClr>
                <a:srgbClr val="000000"/>
              </a:buClr>
            </a:pPr>
            <a:r>
              <a:rPr lang="de-CH" altLang="de-DE" b="1" dirty="0">
                <a:cs typeface="Aharoni" panose="020F0502020204030204" pitchFamily="2" charset="-79"/>
              </a:rPr>
              <a:t>Abteilungsbezeichnung</a:t>
            </a:r>
          </a:p>
          <a:p>
            <a:pPr defTabSz="284163" eaLnBrk="1" hangingPunct="1">
              <a:spcBef>
                <a:spcPct val="0"/>
              </a:spcBef>
              <a:spcAft>
                <a:spcPct val="0"/>
              </a:spcAft>
              <a:buClr>
                <a:srgbClr val="000000"/>
              </a:buClr>
            </a:pPr>
            <a:r>
              <a:rPr lang="de-CH" altLang="de-DE" dirty="0">
                <a:cs typeface="Aharoni" panose="020F0502020204030204" pitchFamily="2" charset="-79"/>
              </a:rPr>
              <a:t>Abteilungsbeschreibung</a:t>
            </a:r>
          </a:p>
          <a:p>
            <a:pPr defTabSz="284163" eaLnBrk="1" hangingPunct="1">
              <a:spcBef>
                <a:spcPct val="0"/>
              </a:spcBef>
              <a:spcAft>
                <a:spcPct val="0"/>
              </a:spcAft>
              <a:buClr>
                <a:srgbClr val="000000"/>
              </a:buClr>
            </a:pPr>
            <a:r>
              <a:rPr lang="de-CH" altLang="de-DE" dirty="0">
                <a:cs typeface="Aharoni" panose="020F0502020204030204" pitchFamily="2" charset="-79"/>
              </a:rPr>
              <a:t>Zeile 2</a:t>
            </a:r>
          </a:p>
          <a:p>
            <a:pPr defTabSz="284163" eaLnBrk="1" hangingPunct="1">
              <a:spcBef>
                <a:spcPct val="0"/>
              </a:spcBef>
              <a:spcAft>
                <a:spcPct val="0"/>
              </a:spcAft>
              <a:buClr>
                <a:srgbClr val="000000"/>
              </a:buClr>
            </a:pPr>
            <a:r>
              <a:rPr lang="de-CH" altLang="de-DE" dirty="0">
                <a:cs typeface="Aharoni" panose="020F0502020204030204" pitchFamily="2" charset="-79"/>
              </a:rPr>
              <a:t>Zeile 3</a:t>
            </a:r>
          </a:p>
          <a:p>
            <a:pPr defTabSz="284163" eaLnBrk="1" hangingPunct="1">
              <a:spcBef>
                <a:spcPct val="0"/>
              </a:spcBef>
              <a:spcAft>
                <a:spcPct val="0"/>
              </a:spcAft>
              <a:buClr>
                <a:srgbClr val="000000"/>
              </a:buClr>
            </a:pPr>
            <a:r>
              <a:rPr lang="de-CH" altLang="de-DE" dirty="0">
                <a:cs typeface="Aharoni" panose="020F0502020204030204" pitchFamily="2" charset="-79"/>
              </a:rPr>
              <a:t>Zeile 4</a:t>
            </a:r>
          </a:p>
          <a:p>
            <a:pPr defTabSz="284163" eaLnBrk="1" hangingPunct="1">
              <a:spcBef>
                <a:spcPct val="0"/>
              </a:spcBef>
              <a:spcAft>
                <a:spcPct val="0"/>
              </a:spcAft>
              <a:buClr>
                <a:srgbClr val="000000"/>
              </a:buClr>
            </a:pPr>
            <a:r>
              <a:rPr lang="de-CH" altLang="de-DE" dirty="0">
                <a:cs typeface="Aharoni" panose="020F0502020204030204" pitchFamily="2" charset="-79"/>
              </a:rPr>
              <a:t>Zeile 5</a:t>
            </a:r>
          </a:p>
          <a:p>
            <a:pPr defTabSz="284163" eaLnBrk="1" hangingPunct="1">
              <a:spcBef>
                <a:spcPct val="0"/>
              </a:spcBef>
              <a:spcAft>
                <a:spcPct val="0"/>
              </a:spcAft>
            </a:pPr>
            <a:endParaRPr lang="de-CH" altLang="de-DE" dirty="0">
              <a:cs typeface="Aharoni" panose="020F0502020204030204" pitchFamily="2" charset="-79"/>
            </a:endParaRPr>
          </a:p>
        </p:txBody>
      </p:sp>
      <p:pic>
        <p:nvPicPr>
          <p:cNvPr id="30727" name="Grafik 2">
            <a:extLst>
              <a:ext uri="{FF2B5EF4-FFF2-40B4-BE49-F238E27FC236}">
                <a16:creationId xmlns:a16="http://schemas.microsoft.com/office/drawing/2014/main" id="{261C3BD6-7621-04EE-E2C1-7B903664041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70463" y="1916113"/>
            <a:ext cx="1828800" cy="158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8" name="Grafik 3">
            <a:extLst>
              <a:ext uri="{FF2B5EF4-FFF2-40B4-BE49-F238E27FC236}">
                <a16:creationId xmlns:a16="http://schemas.microsoft.com/office/drawing/2014/main" id="{E5345D91-A443-73FF-3366-66275F48C37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37475" y="1916113"/>
            <a:ext cx="1824038" cy="158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9" name="Grafik 4">
            <a:extLst>
              <a:ext uri="{FF2B5EF4-FFF2-40B4-BE49-F238E27FC236}">
                <a16:creationId xmlns:a16="http://schemas.microsoft.com/office/drawing/2014/main" id="{EA27890E-B1A1-C304-C992-79F37E1F1A7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12425" y="1922463"/>
            <a:ext cx="1824038" cy="158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0" name="Grafik 5">
            <a:extLst>
              <a:ext uri="{FF2B5EF4-FFF2-40B4-BE49-F238E27FC236}">
                <a16:creationId xmlns:a16="http://schemas.microsoft.com/office/drawing/2014/main" id="{914BB21D-7352-A31E-EADD-BB6C1B4B1F4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70463" y="4332288"/>
            <a:ext cx="1824037" cy="158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1" name="Grafik 6">
            <a:extLst>
              <a:ext uri="{FF2B5EF4-FFF2-40B4-BE49-F238E27FC236}">
                <a16:creationId xmlns:a16="http://schemas.microsoft.com/office/drawing/2014/main" id="{AD443FC4-CD1F-0562-062E-49A6A833197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37475" y="4332288"/>
            <a:ext cx="1828800" cy="158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2" name="Grafik 7">
            <a:extLst>
              <a:ext uri="{FF2B5EF4-FFF2-40B4-BE49-F238E27FC236}">
                <a16:creationId xmlns:a16="http://schemas.microsoft.com/office/drawing/2014/main" id="{EB9C7E82-50B3-0D5F-03EB-6BFE387BF7B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507663" y="4332288"/>
            <a:ext cx="1828800" cy="158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hteck 9">
            <a:extLst>
              <a:ext uri="{FF2B5EF4-FFF2-40B4-BE49-F238E27FC236}">
                <a16:creationId xmlns:a16="http://schemas.microsoft.com/office/drawing/2014/main" id="{32E0D60B-D285-6BF8-DD30-F3066364091E}"/>
              </a:ext>
            </a:extLst>
          </p:cNvPr>
          <p:cNvSpPr/>
          <p:nvPr/>
        </p:nvSpPr>
        <p:spPr bwMode="gray">
          <a:xfrm>
            <a:off x="4970463" y="3579813"/>
            <a:ext cx="1800225" cy="4603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Funktion</a:t>
            </a:r>
          </a:p>
          <a:p>
            <a:pPr eaLnBrk="1" hangingPunct="1">
              <a:spcBef>
                <a:spcPts val="0"/>
              </a:spcBef>
              <a:buClr>
                <a:schemeClr val="bg2"/>
              </a:buClr>
              <a:defRPr/>
            </a:pPr>
            <a:r>
              <a:rPr lang="de-CH" sz="1000" dirty="0">
                <a:solidFill>
                  <a:schemeClr val="tx1"/>
                </a:solidFill>
              </a:rPr>
              <a:t>Tel. 044 292 11 11</a:t>
            </a:r>
          </a:p>
        </p:txBody>
      </p:sp>
      <p:sp>
        <p:nvSpPr>
          <p:cNvPr id="11" name="Rechteck 10">
            <a:extLst>
              <a:ext uri="{FF2B5EF4-FFF2-40B4-BE49-F238E27FC236}">
                <a16:creationId xmlns:a16="http://schemas.microsoft.com/office/drawing/2014/main" id="{B88F129F-F637-0CA0-4897-ACA10A1E599A}"/>
              </a:ext>
            </a:extLst>
          </p:cNvPr>
          <p:cNvSpPr/>
          <p:nvPr/>
        </p:nvSpPr>
        <p:spPr bwMode="gray">
          <a:xfrm>
            <a:off x="7737475" y="3579813"/>
            <a:ext cx="1800225" cy="4603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Funktion</a:t>
            </a:r>
          </a:p>
          <a:p>
            <a:pPr eaLnBrk="1" hangingPunct="1">
              <a:spcBef>
                <a:spcPts val="0"/>
              </a:spcBef>
              <a:buClr>
                <a:schemeClr val="bg2"/>
              </a:buClr>
              <a:defRPr/>
            </a:pPr>
            <a:r>
              <a:rPr lang="de-CH" sz="1000" dirty="0">
                <a:solidFill>
                  <a:schemeClr val="tx1"/>
                </a:solidFill>
              </a:rPr>
              <a:t>Tel. 044 292 11 11</a:t>
            </a:r>
          </a:p>
        </p:txBody>
      </p:sp>
      <p:sp>
        <p:nvSpPr>
          <p:cNvPr id="12" name="Rechteck 11">
            <a:extLst>
              <a:ext uri="{FF2B5EF4-FFF2-40B4-BE49-F238E27FC236}">
                <a16:creationId xmlns:a16="http://schemas.microsoft.com/office/drawing/2014/main" id="{0260CE98-D115-553C-AE5D-E7308CF9CDB4}"/>
              </a:ext>
            </a:extLst>
          </p:cNvPr>
          <p:cNvSpPr/>
          <p:nvPr/>
        </p:nvSpPr>
        <p:spPr bwMode="gray">
          <a:xfrm>
            <a:off x="10507663" y="3579813"/>
            <a:ext cx="1800225" cy="4603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Funktion</a:t>
            </a:r>
          </a:p>
          <a:p>
            <a:pPr eaLnBrk="1" hangingPunct="1">
              <a:spcBef>
                <a:spcPts val="0"/>
              </a:spcBef>
              <a:buClr>
                <a:schemeClr val="bg2"/>
              </a:buClr>
              <a:defRPr/>
            </a:pPr>
            <a:r>
              <a:rPr lang="de-CH" sz="1000" dirty="0">
                <a:solidFill>
                  <a:schemeClr val="tx1"/>
                </a:solidFill>
              </a:rPr>
              <a:t>Tel. 044 292 11 11</a:t>
            </a:r>
          </a:p>
        </p:txBody>
      </p:sp>
      <p:sp>
        <p:nvSpPr>
          <p:cNvPr id="13" name="Rechteck 12">
            <a:extLst>
              <a:ext uri="{FF2B5EF4-FFF2-40B4-BE49-F238E27FC236}">
                <a16:creationId xmlns:a16="http://schemas.microsoft.com/office/drawing/2014/main" id="{3673756E-2CFA-14AB-8A88-8231E7D5F818}"/>
              </a:ext>
            </a:extLst>
          </p:cNvPr>
          <p:cNvSpPr/>
          <p:nvPr/>
        </p:nvSpPr>
        <p:spPr bwMode="gray">
          <a:xfrm>
            <a:off x="4970463" y="5981700"/>
            <a:ext cx="1800225" cy="4619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Funktion</a:t>
            </a:r>
          </a:p>
          <a:p>
            <a:pPr eaLnBrk="1" hangingPunct="1">
              <a:spcBef>
                <a:spcPts val="0"/>
              </a:spcBef>
              <a:buClr>
                <a:schemeClr val="bg2"/>
              </a:buClr>
              <a:defRPr/>
            </a:pPr>
            <a:r>
              <a:rPr lang="de-CH" sz="1000" dirty="0">
                <a:solidFill>
                  <a:schemeClr val="tx1"/>
                </a:solidFill>
              </a:rPr>
              <a:t>Tel. 044 292 11 11</a:t>
            </a:r>
          </a:p>
        </p:txBody>
      </p:sp>
      <p:sp>
        <p:nvSpPr>
          <p:cNvPr id="14" name="Rechteck 13">
            <a:extLst>
              <a:ext uri="{FF2B5EF4-FFF2-40B4-BE49-F238E27FC236}">
                <a16:creationId xmlns:a16="http://schemas.microsoft.com/office/drawing/2014/main" id="{654E0668-57E6-4544-D640-00C913CF8AFC}"/>
              </a:ext>
            </a:extLst>
          </p:cNvPr>
          <p:cNvSpPr/>
          <p:nvPr/>
        </p:nvSpPr>
        <p:spPr bwMode="gray">
          <a:xfrm>
            <a:off x="7737475" y="5981700"/>
            <a:ext cx="1800225" cy="4619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Funktion</a:t>
            </a:r>
          </a:p>
          <a:p>
            <a:pPr eaLnBrk="1" hangingPunct="1">
              <a:spcBef>
                <a:spcPts val="0"/>
              </a:spcBef>
              <a:buClr>
                <a:schemeClr val="bg2"/>
              </a:buClr>
              <a:defRPr/>
            </a:pPr>
            <a:r>
              <a:rPr lang="de-CH" sz="1000" dirty="0">
                <a:solidFill>
                  <a:schemeClr val="tx1"/>
                </a:solidFill>
              </a:rPr>
              <a:t>Tel. 044 292 11 11</a:t>
            </a:r>
          </a:p>
        </p:txBody>
      </p:sp>
      <p:sp>
        <p:nvSpPr>
          <p:cNvPr id="15" name="Rechteck 14">
            <a:extLst>
              <a:ext uri="{FF2B5EF4-FFF2-40B4-BE49-F238E27FC236}">
                <a16:creationId xmlns:a16="http://schemas.microsoft.com/office/drawing/2014/main" id="{0EB4C148-91AA-1D49-CEAB-280C79AC64AA}"/>
              </a:ext>
            </a:extLst>
          </p:cNvPr>
          <p:cNvSpPr/>
          <p:nvPr/>
        </p:nvSpPr>
        <p:spPr bwMode="gray">
          <a:xfrm>
            <a:off x="10548938" y="5981700"/>
            <a:ext cx="1800225" cy="4619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Funktion</a:t>
            </a:r>
          </a:p>
          <a:p>
            <a:pPr eaLnBrk="1" hangingPunct="1">
              <a:spcBef>
                <a:spcPts val="0"/>
              </a:spcBef>
              <a:buClr>
                <a:schemeClr val="bg2"/>
              </a:buClr>
              <a:defRPr/>
            </a:pPr>
            <a:r>
              <a:rPr lang="de-CH" sz="1000" dirty="0">
                <a:solidFill>
                  <a:schemeClr val="tx1"/>
                </a:solidFill>
              </a:rPr>
              <a:t>Tel. 044 292 11 11</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746" name="think-cell data - do not delete" hidden="1">
            <a:extLst>
              <a:ext uri="{FF2B5EF4-FFF2-40B4-BE49-F238E27FC236}">
                <a16:creationId xmlns:a16="http://schemas.microsoft.com/office/drawing/2014/main" id="{00DF2F3C-8D62-D55E-53A6-F02A492B96C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1746" name="think-cell data - do not delete" hidden="1">
                        <a:extLst>
                          <a:ext uri="{FF2B5EF4-FFF2-40B4-BE49-F238E27FC236}">
                            <a16:creationId xmlns:a16="http://schemas.microsoft.com/office/drawing/2014/main" id="{00DF2F3C-8D62-D55E-53A6-F02A492B96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1747" name="Titel 1">
            <a:extLst>
              <a:ext uri="{FF2B5EF4-FFF2-40B4-BE49-F238E27FC236}">
                <a16:creationId xmlns:a16="http://schemas.microsoft.com/office/drawing/2014/main" id="{E5662B90-CE95-6C7A-4145-D1909C515140}"/>
              </a:ext>
            </a:extLst>
          </p:cNvPr>
          <p:cNvSpPr>
            <a:spLocks noGrp="1"/>
          </p:cNvSpPr>
          <p:nvPr>
            <p:ph type="title"/>
          </p:nvPr>
        </p:nvSpPr>
        <p:spPr>
          <a:xfrm>
            <a:off x="306388" y="287338"/>
            <a:ext cx="10180637" cy="863600"/>
          </a:xfrm>
          <a:extLst>
            <a:ext uri="{91240B29-F687-4F45-9708-019B960494DF}">
              <a14:hiddenLine xmlns:a14="http://schemas.microsoft.com/office/drawing/2010/main" w="19050">
                <a:solidFill>
                  <a:srgbClr val="008000"/>
                </a:solidFill>
                <a:prstDash val="solid"/>
                <a:miter lim="800000"/>
                <a:headEnd/>
                <a:tailEnd/>
              </a14:hiddenLine>
            </a:ext>
          </a:extLst>
        </p:spPr>
        <p:txBody>
          <a:bodyPr/>
          <a:lstStyle/>
          <a:p>
            <a:pPr eaLnBrk="1" hangingPunct="1">
              <a:spcBef>
                <a:spcPct val="0"/>
              </a:spcBef>
              <a:spcAft>
                <a:spcPct val="0"/>
              </a:spcAft>
            </a:pPr>
            <a:r>
              <a:rPr lang="de-CH" altLang="de-DE" dirty="0"/>
              <a:t>Wir sind für Sie da</a:t>
            </a:r>
          </a:p>
        </p:txBody>
      </p:sp>
      <p:sp>
        <p:nvSpPr>
          <p:cNvPr id="31748" name="Foliennummernplatzhalter 37">
            <a:extLst>
              <a:ext uri="{FF2B5EF4-FFF2-40B4-BE49-F238E27FC236}">
                <a16:creationId xmlns:a16="http://schemas.microsoft.com/office/drawing/2014/main" id="{5B3533FE-C428-B111-3211-2A11A0A24E5A}"/>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12</a:t>
            </a:fld>
            <a:endParaRPr lang="de-CH" altLang="de-DE" sz="1100" dirty="0">
              <a:solidFill>
                <a:srgbClr val="003CB4"/>
              </a:solidFill>
            </a:endParaRPr>
          </a:p>
        </p:txBody>
      </p:sp>
      <p:sp>
        <p:nvSpPr>
          <p:cNvPr id="31749" name="Fußzeilenplatzhalter 36">
            <a:extLst>
              <a:ext uri="{FF2B5EF4-FFF2-40B4-BE49-F238E27FC236}">
                <a16:creationId xmlns:a16="http://schemas.microsoft.com/office/drawing/2014/main" id="{E964AA9D-F300-C048-839F-2D7DAE559829}"/>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1750" name="Inhaltsplatzhalter 3">
            <a:extLst>
              <a:ext uri="{FF2B5EF4-FFF2-40B4-BE49-F238E27FC236}">
                <a16:creationId xmlns:a16="http://schemas.microsoft.com/office/drawing/2014/main" id="{0D2BD7E2-37B5-CFE0-60B5-4E7F923BB475}"/>
              </a:ext>
            </a:extLst>
          </p:cNvPr>
          <p:cNvSpPr>
            <a:spLocks noGrp="1"/>
          </p:cNvSpPr>
          <p:nvPr>
            <p:ph idx="12"/>
          </p:nvPr>
        </p:nvSpPr>
        <p:spPr>
          <a:xfrm>
            <a:off x="306388" y="1885950"/>
            <a:ext cx="3889375" cy="4748213"/>
          </a:xfrm>
          <a:extLst>
            <a:ext uri="{91240B29-F687-4F45-9708-019B960494DF}">
              <a14:hiddenLine xmlns:a14="http://schemas.microsoft.com/office/drawing/2010/main" w="19050">
                <a:solidFill>
                  <a:srgbClr val="008000"/>
                </a:solidFill>
                <a:prstDash val="solid"/>
                <a:miter lim="800000"/>
                <a:headEnd/>
                <a:tailEnd/>
              </a14:hiddenLine>
            </a:ext>
          </a:extLst>
        </p:spPr>
        <p:txBody>
          <a:bodyPr/>
          <a:lstStyle/>
          <a:p>
            <a:pPr defTabSz="284163" eaLnBrk="1" hangingPunct="1">
              <a:spcBef>
                <a:spcPct val="0"/>
              </a:spcBef>
              <a:spcAft>
                <a:spcPct val="0"/>
              </a:spcAft>
              <a:buClr>
                <a:srgbClr val="000000"/>
              </a:buClr>
            </a:pPr>
            <a:r>
              <a:rPr lang="de-CH" altLang="de-DE" b="1" dirty="0">
                <a:cs typeface="Aharoni" panose="020F0502020204030204" pitchFamily="2" charset="-79"/>
              </a:rPr>
              <a:t>Abteilungsbezeichnung</a:t>
            </a:r>
          </a:p>
          <a:p>
            <a:pPr defTabSz="284163" eaLnBrk="1" hangingPunct="1">
              <a:spcBef>
                <a:spcPct val="0"/>
              </a:spcBef>
              <a:spcAft>
                <a:spcPct val="0"/>
              </a:spcAft>
              <a:buClr>
                <a:srgbClr val="000000"/>
              </a:buClr>
            </a:pPr>
            <a:r>
              <a:rPr lang="de-CH" altLang="de-DE" dirty="0">
                <a:cs typeface="Aharoni" panose="020F0502020204030204" pitchFamily="2" charset="-79"/>
              </a:rPr>
              <a:t>Abteilungsbeschreibung</a:t>
            </a:r>
          </a:p>
          <a:p>
            <a:pPr defTabSz="284163" eaLnBrk="1" hangingPunct="1">
              <a:spcBef>
                <a:spcPct val="0"/>
              </a:spcBef>
              <a:spcAft>
                <a:spcPct val="0"/>
              </a:spcAft>
              <a:buClr>
                <a:srgbClr val="000000"/>
              </a:buClr>
            </a:pPr>
            <a:r>
              <a:rPr lang="de-CH" altLang="de-DE" dirty="0">
                <a:cs typeface="Aharoni" panose="020F0502020204030204" pitchFamily="2" charset="-79"/>
              </a:rPr>
              <a:t>Zeile 2</a:t>
            </a:r>
          </a:p>
          <a:p>
            <a:pPr defTabSz="284163" eaLnBrk="1" hangingPunct="1">
              <a:spcBef>
                <a:spcPct val="0"/>
              </a:spcBef>
              <a:spcAft>
                <a:spcPct val="0"/>
              </a:spcAft>
              <a:buClr>
                <a:srgbClr val="000000"/>
              </a:buClr>
            </a:pPr>
            <a:r>
              <a:rPr lang="de-CH" altLang="de-DE" dirty="0">
                <a:cs typeface="Aharoni" panose="020F0502020204030204" pitchFamily="2" charset="-79"/>
              </a:rPr>
              <a:t>Zeile 3</a:t>
            </a:r>
          </a:p>
          <a:p>
            <a:pPr defTabSz="284163" eaLnBrk="1" hangingPunct="1">
              <a:spcBef>
                <a:spcPct val="0"/>
              </a:spcBef>
              <a:spcAft>
                <a:spcPct val="0"/>
              </a:spcAft>
              <a:buClr>
                <a:srgbClr val="000000"/>
              </a:buClr>
            </a:pPr>
            <a:r>
              <a:rPr lang="de-CH" altLang="de-DE" dirty="0">
                <a:cs typeface="Aharoni" panose="020F0502020204030204" pitchFamily="2" charset="-79"/>
              </a:rPr>
              <a:t>Zeile 4</a:t>
            </a:r>
          </a:p>
          <a:p>
            <a:pPr defTabSz="284163" eaLnBrk="1" hangingPunct="1">
              <a:spcBef>
                <a:spcPct val="0"/>
              </a:spcBef>
              <a:spcAft>
                <a:spcPct val="0"/>
              </a:spcAft>
              <a:buClr>
                <a:srgbClr val="000000"/>
              </a:buClr>
            </a:pPr>
            <a:r>
              <a:rPr lang="de-CH" altLang="de-DE" dirty="0">
                <a:cs typeface="Aharoni" panose="020F0502020204030204" pitchFamily="2" charset="-79"/>
              </a:rPr>
              <a:t>Zeile 5</a:t>
            </a:r>
          </a:p>
        </p:txBody>
      </p:sp>
      <p:grpSp>
        <p:nvGrpSpPr>
          <p:cNvPr id="31751" name="Gruppieren 5">
            <a:extLst>
              <a:ext uri="{FF2B5EF4-FFF2-40B4-BE49-F238E27FC236}">
                <a16:creationId xmlns:a16="http://schemas.microsoft.com/office/drawing/2014/main" id="{54CF4F76-8663-5794-F7A3-34204CDDAFC6}"/>
              </a:ext>
            </a:extLst>
          </p:cNvPr>
          <p:cNvGrpSpPr>
            <a:grpSpLocks/>
          </p:cNvGrpSpPr>
          <p:nvPr/>
        </p:nvGrpSpPr>
        <p:grpSpPr bwMode="auto">
          <a:xfrm>
            <a:off x="4970463" y="1916113"/>
            <a:ext cx="7554912" cy="4719637"/>
            <a:chOff x="4970102" y="1924050"/>
            <a:chExt cx="7555528" cy="4719303"/>
          </a:xfrm>
        </p:grpSpPr>
        <p:pic>
          <p:nvPicPr>
            <p:cNvPr id="31752" name="Grafik 6">
              <a:extLst>
                <a:ext uri="{FF2B5EF4-FFF2-40B4-BE49-F238E27FC236}">
                  <a16:creationId xmlns:a16="http://schemas.microsoft.com/office/drawing/2014/main" id="{314CC75C-CA83-EAB5-4147-E33FBD72464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70102" y="1924050"/>
              <a:ext cx="1290077"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hteck 9">
              <a:extLst>
                <a:ext uri="{FF2B5EF4-FFF2-40B4-BE49-F238E27FC236}">
                  <a16:creationId xmlns:a16="http://schemas.microsoft.com/office/drawing/2014/main" id="{9341DA80-38CC-D8F6-DE01-B0466B31BC6D}"/>
                </a:ext>
              </a:extLst>
            </p:cNvPr>
            <p:cNvSpPr/>
            <p:nvPr/>
          </p:nvSpPr>
          <p:spPr bwMode="gray">
            <a:xfrm>
              <a:off x="4970102" y="3101892"/>
              <a:ext cx="1800372"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pic>
          <p:nvPicPr>
            <p:cNvPr id="31754" name="Grafik 24">
              <a:extLst>
                <a:ext uri="{FF2B5EF4-FFF2-40B4-BE49-F238E27FC236}">
                  <a16:creationId xmlns:a16="http://schemas.microsoft.com/office/drawing/2014/main" id="{BADBD555-9FB7-69E5-CDD4-BFF1EAEE886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70102" y="5145854"/>
              <a:ext cx="1287132"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hteck 12">
              <a:extLst>
                <a:ext uri="{FF2B5EF4-FFF2-40B4-BE49-F238E27FC236}">
                  <a16:creationId xmlns:a16="http://schemas.microsoft.com/office/drawing/2014/main" id="{3DD143EC-D105-FD22-32D0-FA8F6A602FEC}"/>
                </a:ext>
              </a:extLst>
            </p:cNvPr>
            <p:cNvSpPr/>
            <p:nvPr/>
          </p:nvSpPr>
          <p:spPr bwMode="gray">
            <a:xfrm>
              <a:off x="4970102" y="6322701"/>
              <a:ext cx="1800372"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pic>
          <p:nvPicPr>
            <p:cNvPr id="31756" name="Grafik 22">
              <a:extLst>
                <a:ext uri="{FF2B5EF4-FFF2-40B4-BE49-F238E27FC236}">
                  <a16:creationId xmlns:a16="http://schemas.microsoft.com/office/drawing/2014/main" id="{300FF6FF-3BA4-93D4-D872-49799D9FDA6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70102" y="3534952"/>
              <a:ext cx="1287132"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hteck 17">
              <a:extLst>
                <a:ext uri="{FF2B5EF4-FFF2-40B4-BE49-F238E27FC236}">
                  <a16:creationId xmlns:a16="http://schemas.microsoft.com/office/drawing/2014/main" id="{4361BBFD-28A5-FD39-5666-EA922E2FF013}"/>
                </a:ext>
              </a:extLst>
            </p:cNvPr>
            <p:cNvSpPr/>
            <p:nvPr/>
          </p:nvSpPr>
          <p:spPr bwMode="gray">
            <a:xfrm>
              <a:off x="4970102" y="4711503"/>
              <a:ext cx="1800372"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pic>
          <p:nvPicPr>
            <p:cNvPr id="31758" name="Grafik 3">
              <a:extLst>
                <a:ext uri="{FF2B5EF4-FFF2-40B4-BE49-F238E27FC236}">
                  <a16:creationId xmlns:a16="http://schemas.microsoft.com/office/drawing/2014/main" id="{6892803C-4365-8A5F-EBE6-C16C32C8011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12775" y="1924050"/>
              <a:ext cx="1287132"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hteck 10">
              <a:extLst>
                <a:ext uri="{FF2B5EF4-FFF2-40B4-BE49-F238E27FC236}">
                  <a16:creationId xmlns:a16="http://schemas.microsoft.com/office/drawing/2014/main" id="{C1A17174-6B51-A8CC-4184-A0F4D0BFE8AB}"/>
                </a:ext>
              </a:extLst>
            </p:cNvPr>
            <p:cNvSpPr/>
            <p:nvPr/>
          </p:nvSpPr>
          <p:spPr bwMode="gray">
            <a:xfrm>
              <a:off x="7010205" y="3101892"/>
              <a:ext cx="1801960"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pic>
          <p:nvPicPr>
            <p:cNvPr id="31760" name="Grafik 4">
              <a:extLst>
                <a:ext uri="{FF2B5EF4-FFF2-40B4-BE49-F238E27FC236}">
                  <a16:creationId xmlns:a16="http://schemas.microsoft.com/office/drawing/2014/main" id="{327CC2A6-23D6-BBBF-FE99-43C504A64A8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17008" y="5127702"/>
              <a:ext cx="1287132"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hteck 13">
              <a:extLst>
                <a:ext uri="{FF2B5EF4-FFF2-40B4-BE49-F238E27FC236}">
                  <a16:creationId xmlns:a16="http://schemas.microsoft.com/office/drawing/2014/main" id="{2811EF66-A401-26C2-1EDD-43AA99A94E43}"/>
                </a:ext>
              </a:extLst>
            </p:cNvPr>
            <p:cNvSpPr/>
            <p:nvPr/>
          </p:nvSpPr>
          <p:spPr bwMode="gray">
            <a:xfrm>
              <a:off x="7011793" y="6335400"/>
              <a:ext cx="1800372"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pic>
          <p:nvPicPr>
            <p:cNvPr id="31762" name="Grafik 2">
              <a:extLst>
                <a:ext uri="{FF2B5EF4-FFF2-40B4-BE49-F238E27FC236}">
                  <a16:creationId xmlns:a16="http://schemas.microsoft.com/office/drawing/2014/main" id="{ADAF13DE-9E48-98D0-6D35-5CFA53305BD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10812" y="3515247"/>
              <a:ext cx="1290077"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hteck 18">
              <a:extLst>
                <a:ext uri="{FF2B5EF4-FFF2-40B4-BE49-F238E27FC236}">
                  <a16:creationId xmlns:a16="http://schemas.microsoft.com/office/drawing/2014/main" id="{704FB3A0-D681-61B2-2853-B2E485B0AC9F}"/>
                </a:ext>
              </a:extLst>
            </p:cNvPr>
            <p:cNvSpPr/>
            <p:nvPr/>
          </p:nvSpPr>
          <p:spPr bwMode="gray">
            <a:xfrm>
              <a:off x="7010205" y="4711503"/>
              <a:ext cx="1801960"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pic>
          <p:nvPicPr>
            <p:cNvPr id="31764" name="Grafik 20">
              <a:extLst>
                <a:ext uri="{FF2B5EF4-FFF2-40B4-BE49-F238E27FC236}">
                  <a16:creationId xmlns:a16="http://schemas.microsoft.com/office/drawing/2014/main" id="{C2A0D7A6-F508-2745-4392-3A7ABEDEC7E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054463" y="1924050"/>
              <a:ext cx="1287132"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hteck 11">
              <a:extLst>
                <a:ext uri="{FF2B5EF4-FFF2-40B4-BE49-F238E27FC236}">
                  <a16:creationId xmlns:a16="http://schemas.microsoft.com/office/drawing/2014/main" id="{C8F8AD63-DBA0-38B3-6BC2-14B0EC34C070}"/>
                </a:ext>
              </a:extLst>
            </p:cNvPr>
            <p:cNvSpPr/>
            <p:nvPr/>
          </p:nvSpPr>
          <p:spPr bwMode="gray">
            <a:xfrm>
              <a:off x="9053485" y="3101892"/>
              <a:ext cx="1800372"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pic>
          <p:nvPicPr>
            <p:cNvPr id="31766" name="Grafik 26">
              <a:extLst>
                <a:ext uri="{FF2B5EF4-FFF2-40B4-BE49-F238E27FC236}">
                  <a16:creationId xmlns:a16="http://schemas.microsoft.com/office/drawing/2014/main" id="{129C0BF5-5C75-5107-3989-87A52D990BF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053482" y="5145282"/>
              <a:ext cx="1290077"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hteck 14">
              <a:extLst>
                <a:ext uri="{FF2B5EF4-FFF2-40B4-BE49-F238E27FC236}">
                  <a16:creationId xmlns:a16="http://schemas.microsoft.com/office/drawing/2014/main" id="{3250EA30-4AF0-44CC-8FB1-28088604FAE8}"/>
                </a:ext>
              </a:extLst>
            </p:cNvPr>
            <p:cNvSpPr/>
            <p:nvPr/>
          </p:nvSpPr>
          <p:spPr bwMode="gray">
            <a:xfrm>
              <a:off x="9053485" y="6335400"/>
              <a:ext cx="1800372"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pic>
          <p:nvPicPr>
            <p:cNvPr id="31768" name="Grafik 21">
              <a:extLst>
                <a:ext uri="{FF2B5EF4-FFF2-40B4-BE49-F238E27FC236}">
                  <a16:creationId xmlns:a16="http://schemas.microsoft.com/office/drawing/2014/main" id="{C53C1487-5501-C8CF-2D38-52CF2FDD444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053482" y="3515247"/>
              <a:ext cx="1287132"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hteck 19">
              <a:extLst>
                <a:ext uri="{FF2B5EF4-FFF2-40B4-BE49-F238E27FC236}">
                  <a16:creationId xmlns:a16="http://schemas.microsoft.com/office/drawing/2014/main" id="{840D096E-BF31-07A4-9607-FDF6B5509148}"/>
                </a:ext>
              </a:extLst>
            </p:cNvPr>
            <p:cNvSpPr/>
            <p:nvPr/>
          </p:nvSpPr>
          <p:spPr bwMode="gray">
            <a:xfrm>
              <a:off x="9053485" y="4711503"/>
              <a:ext cx="1800372"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pic>
          <p:nvPicPr>
            <p:cNvPr id="31770" name="Grafik 8">
              <a:extLst>
                <a:ext uri="{FF2B5EF4-FFF2-40B4-BE49-F238E27FC236}">
                  <a16:creationId xmlns:a16="http://schemas.microsoft.com/office/drawing/2014/main" id="{6B3A6F32-DC05-D662-644A-475E5C5510B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095173" y="1924050"/>
              <a:ext cx="1290077"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Rechteck 32">
              <a:extLst>
                <a:ext uri="{FF2B5EF4-FFF2-40B4-BE49-F238E27FC236}">
                  <a16:creationId xmlns:a16="http://schemas.microsoft.com/office/drawing/2014/main" id="{0EE1004D-4F25-09F1-0806-F57FEC381D5A}"/>
                </a:ext>
              </a:extLst>
            </p:cNvPr>
            <p:cNvSpPr/>
            <p:nvPr/>
          </p:nvSpPr>
          <p:spPr bwMode="gray">
            <a:xfrm>
              <a:off x="11095176" y="3101892"/>
              <a:ext cx="1430454"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pic>
          <p:nvPicPr>
            <p:cNvPr id="31772" name="Grafik 25">
              <a:extLst>
                <a:ext uri="{FF2B5EF4-FFF2-40B4-BE49-F238E27FC236}">
                  <a16:creationId xmlns:a16="http://schemas.microsoft.com/office/drawing/2014/main" id="{976D9FE7-6AE1-7093-C305-CDB764E013E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095173" y="5145282"/>
              <a:ext cx="1290077"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Rechteck 33">
              <a:extLst>
                <a:ext uri="{FF2B5EF4-FFF2-40B4-BE49-F238E27FC236}">
                  <a16:creationId xmlns:a16="http://schemas.microsoft.com/office/drawing/2014/main" id="{0D630557-5C5A-5DAB-CE48-A1C9C1F28C4F}"/>
                </a:ext>
              </a:extLst>
            </p:cNvPr>
            <p:cNvSpPr/>
            <p:nvPr/>
          </p:nvSpPr>
          <p:spPr bwMode="gray">
            <a:xfrm>
              <a:off x="11095176" y="6335400"/>
              <a:ext cx="1430454"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pic>
          <p:nvPicPr>
            <p:cNvPr id="31774" name="Grafik 23">
              <a:extLst>
                <a:ext uri="{FF2B5EF4-FFF2-40B4-BE49-F238E27FC236}">
                  <a16:creationId xmlns:a16="http://schemas.microsoft.com/office/drawing/2014/main" id="{B09544C0-9916-B78D-925A-906634756CE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095173" y="3515247"/>
              <a:ext cx="1290077"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Rechteck 34">
              <a:extLst>
                <a:ext uri="{FF2B5EF4-FFF2-40B4-BE49-F238E27FC236}">
                  <a16:creationId xmlns:a16="http://schemas.microsoft.com/office/drawing/2014/main" id="{30BE4236-368C-69CD-EE4E-9CAB4C953909}"/>
                </a:ext>
              </a:extLst>
            </p:cNvPr>
            <p:cNvSpPr/>
            <p:nvPr/>
          </p:nvSpPr>
          <p:spPr bwMode="gray">
            <a:xfrm>
              <a:off x="11095176" y="4711503"/>
              <a:ext cx="1430454"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think-cell data - do not delete" hidden="1">
            <a:extLst>
              <a:ext uri="{FF2B5EF4-FFF2-40B4-BE49-F238E27FC236}">
                <a16:creationId xmlns:a16="http://schemas.microsoft.com/office/drawing/2014/main" id="{30084FF3-6597-2379-3CBF-CBA494A78DA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2770" name="think-cell data - do not delete" hidden="1">
                        <a:extLst>
                          <a:ext uri="{FF2B5EF4-FFF2-40B4-BE49-F238E27FC236}">
                            <a16:creationId xmlns:a16="http://schemas.microsoft.com/office/drawing/2014/main" id="{30084FF3-6597-2379-3CBF-CBA494A78DA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771" name="Titel 1">
            <a:extLst>
              <a:ext uri="{FF2B5EF4-FFF2-40B4-BE49-F238E27FC236}">
                <a16:creationId xmlns:a16="http://schemas.microsoft.com/office/drawing/2014/main" id="{CC911424-9E76-140E-11C3-C17285F3C9EE}"/>
              </a:ext>
            </a:extLst>
          </p:cNvPr>
          <p:cNvSpPr>
            <a:spLocks noGrp="1" noChangeArrowheads="1"/>
          </p:cNvSpPr>
          <p:nvPr>
            <p:ph type="title"/>
          </p:nvPr>
        </p:nvSpPr>
        <p:spPr>
          <a:xfrm>
            <a:off x="306388" y="1885950"/>
            <a:ext cx="10182225" cy="4748213"/>
          </a:xfrm>
        </p:spPr>
        <p:txBody>
          <a:bodyPr/>
          <a:lstStyle/>
          <a:p>
            <a:pPr eaLnBrk="1" hangingPunct="1">
              <a:spcBef>
                <a:spcPct val="0"/>
              </a:spcBef>
              <a:spcAft>
                <a:spcPct val="0"/>
              </a:spcAft>
            </a:pPr>
            <a:r>
              <a:rPr lang="de-CH" altLang="de-DE" dirty="0"/>
              <a:t>Kapiteltrennfolie</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794" name="think-cell data - do not delete" hidden="1">
            <a:extLst>
              <a:ext uri="{FF2B5EF4-FFF2-40B4-BE49-F238E27FC236}">
                <a16:creationId xmlns:a16="http://schemas.microsoft.com/office/drawing/2014/main" id="{E5230D03-7654-F2E0-7020-68B6F64E5E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33794" name="think-cell data - do not delete" hidden="1">
                        <a:extLst>
                          <a:ext uri="{FF2B5EF4-FFF2-40B4-BE49-F238E27FC236}">
                            <a16:creationId xmlns:a16="http://schemas.microsoft.com/office/drawing/2014/main" id="{E5230D03-7654-F2E0-7020-68B6F64E5E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3795" name="Titel 6">
            <a:extLst>
              <a:ext uri="{FF2B5EF4-FFF2-40B4-BE49-F238E27FC236}">
                <a16:creationId xmlns:a16="http://schemas.microsoft.com/office/drawing/2014/main" id="{CF6EB82B-C71C-8677-5FC6-8F71902ADF97}"/>
              </a:ext>
            </a:extLst>
          </p:cNvPr>
          <p:cNvSpPr>
            <a:spLocks noGrp="1" noChangeArrowheads="1"/>
          </p:cNvSpPr>
          <p:nvPr>
            <p:ph type="title"/>
          </p:nvPr>
        </p:nvSpPr>
        <p:spPr>
          <a:xfrm>
            <a:off x="279400" y="1885950"/>
            <a:ext cx="10180638" cy="4748213"/>
          </a:xfrm>
        </p:spPr>
        <p:txBody>
          <a:bodyPr/>
          <a:lstStyle/>
          <a:p>
            <a:pPr eaLnBrk="1" hangingPunct="1">
              <a:spcBef>
                <a:spcPct val="0"/>
              </a:spcBef>
              <a:spcAft>
                <a:spcPct val="0"/>
              </a:spcAft>
            </a:pPr>
            <a:r>
              <a:rPr lang="de-CH" altLang="de-DE" dirty="0"/>
              <a:t>		Kapiteltrennfolie</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818" name="think-cell data - do not delete" hidden="1">
            <a:extLst>
              <a:ext uri="{FF2B5EF4-FFF2-40B4-BE49-F238E27FC236}">
                <a16:creationId xmlns:a16="http://schemas.microsoft.com/office/drawing/2014/main" id="{BDB3CADD-5114-8BC4-542A-1C49F54D8DE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34818" name="think-cell data - do not delete" hidden="1">
                        <a:extLst>
                          <a:ext uri="{FF2B5EF4-FFF2-40B4-BE49-F238E27FC236}">
                            <a16:creationId xmlns:a16="http://schemas.microsoft.com/office/drawing/2014/main" id="{BDB3CADD-5114-8BC4-542A-1C49F54D8D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C2E1D5B5-6350-564F-3256-30EE7525F1D0}"/>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Text mit Bild links – 2 Spalten</a:t>
            </a:r>
          </a:p>
        </p:txBody>
      </p:sp>
      <p:sp>
        <p:nvSpPr>
          <p:cNvPr id="34820" name="Foliennummernplatzhalter 17">
            <a:extLst>
              <a:ext uri="{FF2B5EF4-FFF2-40B4-BE49-F238E27FC236}">
                <a16:creationId xmlns:a16="http://schemas.microsoft.com/office/drawing/2014/main" id="{374C8115-5A13-2DC9-BE21-E2C9D1763621}"/>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15</a:t>
            </a:fld>
            <a:endParaRPr lang="de-CH" altLang="de-DE" sz="1100" dirty="0">
              <a:solidFill>
                <a:srgbClr val="003CB4"/>
              </a:solidFill>
            </a:endParaRPr>
          </a:p>
        </p:txBody>
      </p:sp>
      <p:sp>
        <p:nvSpPr>
          <p:cNvPr id="34821" name="Fußzeilenplatzhalter 16">
            <a:extLst>
              <a:ext uri="{FF2B5EF4-FFF2-40B4-BE49-F238E27FC236}">
                <a16:creationId xmlns:a16="http://schemas.microsoft.com/office/drawing/2014/main" id="{7B415FAF-F210-0367-38B8-378FC523AE8B}"/>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4823" name="Inhaltsplatzhalter 21">
            <a:extLst>
              <a:ext uri="{FF2B5EF4-FFF2-40B4-BE49-F238E27FC236}">
                <a16:creationId xmlns:a16="http://schemas.microsoft.com/office/drawing/2014/main" id="{5C1EA259-1329-0588-D634-A37914FBD685}"/>
              </a:ext>
            </a:extLst>
          </p:cNvPr>
          <p:cNvSpPr>
            <a:spLocks noGrp="1" noChangeArrowheads="1"/>
          </p:cNvSpPr>
          <p:nvPr>
            <p:ph sz="quarter" idx="13"/>
          </p:nvPr>
        </p:nvSpPr>
        <p:spPr>
          <a:xfrm>
            <a:off x="6572250" y="1885950"/>
            <a:ext cx="5976938" cy="4748213"/>
          </a:xfrm>
        </p:spPr>
        <p:txBody>
          <a:bodyPr/>
          <a:lstStyle/>
          <a:p>
            <a:pPr defTabSz="284163" eaLnBrk="1" hangingPunct="1">
              <a:spcBef>
                <a:spcPct val="0"/>
              </a:spcBef>
              <a:spcAft>
                <a:spcPct val="0"/>
              </a:spcAft>
            </a:pPr>
            <a:r>
              <a:rPr lang="de-CH" altLang="de-DE" sz="2000" b="1" dirty="0">
                <a:cs typeface="Aharoni" panose="020F0502020204030204" pitchFamily="2" charset="-79"/>
              </a:rPr>
              <a:t>Text durch Lorem ipsum</a:t>
            </a:r>
          </a:p>
          <a:p>
            <a:pPr defTabSz="284163" eaLnBrk="1" hangingPunct="1">
              <a:spcBef>
                <a:spcPct val="0"/>
              </a:spcBef>
              <a:spcAft>
                <a:spcPct val="0"/>
              </a:spcAft>
            </a:pPr>
            <a:endParaRPr lang="de-CH" altLang="de-DE" b="1" dirty="0">
              <a:cs typeface="Aharoni" panose="020F0502020204030204" pitchFamily="2" charset="-79"/>
            </a:endParaRPr>
          </a:p>
          <a:p>
            <a:pPr defTabSz="284163" eaLnBrk="1" hangingPunct="1">
              <a:spcBef>
                <a:spcPct val="0"/>
              </a:spcBef>
              <a:spcAft>
                <a:spcPct val="0"/>
              </a:spcAft>
            </a:pPr>
            <a:r>
              <a:rPr lang="de-CH" altLang="de-DE" dirty="0">
                <a:cs typeface="Aharoni" panose="020F0502020204030204" pitchFamily="2" charset="-79"/>
              </a:rPr>
              <a:t>Dolor sit amet, consetetur sadipscing elitr, sed diam nonumy eirmod tempor invidunt ut labore et dolore magna aliquyam erat, sed diam voluptua. At vero eos et accusam et justo duo dolores et ea rebum. Stet clita kasd gubergren, no sea takimata sanctus est Lorem ipsum dolor sit amet. Lorem ipsum dolor sit amet, consetetur sadipscing elitr, sed diam nonumy eirmod tempor invidunt ut labore et dolore magna aliquyam erat.</a:t>
            </a:r>
          </a:p>
          <a:p>
            <a:pPr defTabSz="284163" eaLnBrk="1" hangingPunct="1">
              <a:spcBef>
                <a:spcPct val="0"/>
              </a:spcBef>
              <a:spcAft>
                <a:spcPct val="0"/>
              </a:spcAft>
            </a:pPr>
            <a:endParaRPr lang="de-CH" altLang="de-DE" dirty="0">
              <a:cs typeface="Aharoni" panose="020F0502020204030204" pitchFamily="2" charset="-79"/>
            </a:endParaRPr>
          </a:p>
        </p:txBody>
      </p:sp>
      <p:pic>
        <p:nvPicPr>
          <p:cNvPr id="34824" name="Inhaltsplatzhalter 4">
            <a:extLst>
              <a:ext uri="{FF2B5EF4-FFF2-40B4-BE49-F238E27FC236}">
                <a16:creationId xmlns:a16="http://schemas.microsoft.com/office/drawing/2014/main" id="{753D5C6E-AF1E-2BE3-C05C-659DE103024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6388" y="1885950"/>
            <a:ext cx="5976937" cy="4748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842" name="think-cell data - do not delete" hidden="1">
            <a:extLst>
              <a:ext uri="{FF2B5EF4-FFF2-40B4-BE49-F238E27FC236}">
                <a16:creationId xmlns:a16="http://schemas.microsoft.com/office/drawing/2014/main" id="{6B01AD2A-183B-02F7-C839-4CA11E825A7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35842" name="think-cell data - do not delete" hidden="1">
                        <a:extLst>
                          <a:ext uri="{FF2B5EF4-FFF2-40B4-BE49-F238E27FC236}">
                            <a16:creationId xmlns:a16="http://schemas.microsoft.com/office/drawing/2014/main" id="{6B01AD2A-183B-02F7-C839-4CA11E825A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D00C8E28-CA25-4B3E-F9DA-696D3CF46C96}"/>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Text mit Bild rechts – 2 Spalten</a:t>
            </a:r>
          </a:p>
        </p:txBody>
      </p:sp>
      <p:sp>
        <p:nvSpPr>
          <p:cNvPr id="35844" name="Foliennummernplatzhalter 26">
            <a:extLst>
              <a:ext uri="{FF2B5EF4-FFF2-40B4-BE49-F238E27FC236}">
                <a16:creationId xmlns:a16="http://schemas.microsoft.com/office/drawing/2014/main" id="{0784ED3D-BE02-EED6-9B94-E9D53C479ADD}"/>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16</a:t>
            </a:fld>
            <a:endParaRPr lang="de-CH" altLang="de-DE" sz="1100" dirty="0">
              <a:solidFill>
                <a:srgbClr val="003CB4"/>
              </a:solidFill>
            </a:endParaRPr>
          </a:p>
        </p:txBody>
      </p:sp>
      <p:sp>
        <p:nvSpPr>
          <p:cNvPr id="35845" name="Fußzeilenplatzhalter 25">
            <a:extLst>
              <a:ext uri="{FF2B5EF4-FFF2-40B4-BE49-F238E27FC236}">
                <a16:creationId xmlns:a16="http://schemas.microsoft.com/office/drawing/2014/main" id="{5C6BA51F-2E38-C2CB-E48C-BA197B4DFC06}"/>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 name="Inhaltsplatzhalter 2">
            <a:extLst>
              <a:ext uri="{FF2B5EF4-FFF2-40B4-BE49-F238E27FC236}">
                <a16:creationId xmlns:a16="http://schemas.microsoft.com/office/drawing/2014/main" id="{9D46ECA1-31D2-09BE-A652-C6761A82392A}"/>
              </a:ext>
            </a:extLst>
          </p:cNvPr>
          <p:cNvSpPr>
            <a:spLocks noGrp="1"/>
          </p:cNvSpPr>
          <p:nvPr>
            <p:ph idx="12"/>
          </p:nvPr>
        </p:nvSpPr>
        <p:spPr>
          <a:xfrm>
            <a:off x="306388" y="1885950"/>
            <a:ext cx="5976937" cy="4748213"/>
          </a:xfrm>
          <a:ln>
            <a:solidFill>
              <a:schemeClr val="bg1">
                <a:lumMod val="75000"/>
                <a:alpha val="0"/>
              </a:schemeClr>
            </a:solidFill>
          </a:ln>
        </p:spPr>
        <p:txBody>
          <a:bodyPr rtlCol="0"/>
          <a:lstStyle/>
          <a:p>
            <a:pPr eaLnBrk="1" fontAlgn="auto" hangingPunct="1">
              <a:defRPr/>
            </a:pPr>
            <a:r>
              <a:rPr lang="de-CH" sz="2000" b="1" dirty="0"/>
              <a:t>Text durch Lorem ipsum</a:t>
            </a:r>
          </a:p>
          <a:p>
            <a:pPr eaLnBrk="1" fontAlgn="auto" hangingPunct="1">
              <a:defRPr/>
            </a:pPr>
            <a:endParaRPr lang="de-CH" sz="2000" b="1" dirty="0"/>
          </a:p>
          <a:p>
            <a:pPr eaLnBrk="1" fontAlgn="auto" hangingPunct="1">
              <a:defRPr/>
            </a:pPr>
            <a:r>
              <a:rPr lang="de-CH" dirty="0"/>
              <a:t>Text durch Lorem ipsum dolor sit amet, consetetur sadipscing elitr, sed diam nonumy eirmod tempor invidunt ut labore et dolore magna aliquyam erat, sed diam voluptua. At vero eos et accusam et justo duo dolores et ea rebum. Stet clita kasd gubergren, no sea takimata sanctus est Lorem ipsum dolor sit amet. Lorem ipsum dolor sit amet, consetetur sadipscing elitr, sed diam nonumy eirmod tempor invidunt ut labore et dolore magna aliquyam erat.</a:t>
            </a:r>
          </a:p>
        </p:txBody>
      </p:sp>
      <p:pic>
        <p:nvPicPr>
          <p:cNvPr id="35848" name="Inhaltsplatzhalter 9">
            <a:extLst>
              <a:ext uri="{FF2B5EF4-FFF2-40B4-BE49-F238E27FC236}">
                <a16:creationId xmlns:a16="http://schemas.microsoft.com/office/drawing/2014/main" id="{25AE9CE2-72C2-9DBA-027E-0E42A3D28F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72250" y="1885950"/>
            <a:ext cx="6283325" cy="474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866" name="think-cell data - do not delete" hidden="1">
            <a:extLst>
              <a:ext uri="{FF2B5EF4-FFF2-40B4-BE49-F238E27FC236}">
                <a16:creationId xmlns:a16="http://schemas.microsoft.com/office/drawing/2014/main" id="{3A95FFE3-8F4D-0BB1-C162-632BBF3ED86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36866" name="think-cell data - do not delete" hidden="1">
                        <a:extLst>
                          <a:ext uri="{FF2B5EF4-FFF2-40B4-BE49-F238E27FC236}">
                            <a16:creationId xmlns:a16="http://schemas.microsoft.com/office/drawing/2014/main" id="{3A95FFE3-8F4D-0BB1-C162-632BBF3ED8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C5B90727-AC5B-E0BF-C1EE-1BEE2A9CBE30}"/>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Text mit mehreren Bildern – 2 Spalten</a:t>
            </a:r>
          </a:p>
        </p:txBody>
      </p:sp>
      <p:sp>
        <p:nvSpPr>
          <p:cNvPr id="36868" name="Foliennummernplatzhalter 31">
            <a:extLst>
              <a:ext uri="{FF2B5EF4-FFF2-40B4-BE49-F238E27FC236}">
                <a16:creationId xmlns:a16="http://schemas.microsoft.com/office/drawing/2014/main" id="{C3E8CE68-D155-0EEE-663F-9F4C2D3513CE}"/>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17</a:t>
            </a:fld>
            <a:endParaRPr lang="de-CH" altLang="de-DE" sz="1100" dirty="0">
              <a:solidFill>
                <a:srgbClr val="003CB4"/>
              </a:solidFill>
            </a:endParaRPr>
          </a:p>
        </p:txBody>
      </p:sp>
      <p:sp>
        <p:nvSpPr>
          <p:cNvPr id="36869" name="Fußzeilenplatzhalter 30">
            <a:extLst>
              <a:ext uri="{FF2B5EF4-FFF2-40B4-BE49-F238E27FC236}">
                <a16:creationId xmlns:a16="http://schemas.microsoft.com/office/drawing/2014/main" id="{1D0638FC-7033-01BF-1835-36470CA1A39A}"/>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6871" name="Inhaltsplatzhalter 7">
            <a:extLst>
              <a:ext uri="{FF2B5EF4-FFF2-40B4-BE49-F238E27FC236}">
                <a16:creationId xmlns:a16="http://schemas.microsoft.com/office/drawing/2014/main" id="{667C1551-6032-2518-1035-7BFD06EFCD31}"/>
              </a:ext>
            </a:extLst>
          </p:cNvPr>
          <p:cNvSpPr>
            <a:spLocks noGrp="1" noChangeArrowheads="1"/>
          </p:cNvSpPr>
          <p:nvPr>
            <p:ph sz="quarter" idx="13"/>
          </p:nvPr>
        </p:nvSpPr>
        <p:spPr>
          <a:xfrm>
            <a:off x="6572250" y="1885950"/>
            <a:ext cx="5976938" cy="4748213"/>
          </a:xfrm>
        </p:spPr>
        <p:txBody>
          <a:bodyPr/>
          <a:lstStyle/>
          <a:p>
            <a:pPr defTabSz="284163" eaLnBrk="1" hangingPunct="1">
              <a:spcBef>
                <a:spcPct val="0"/>
              </a:spcBef>
              <a:spcAft>
                <a:spcPct val="0"/>
              </a:spcAft>
            </a:pPr>
            <a:r>
              <a:rPr lang="de-CH" altLang="de-DE" sz="2000" b="1" dirty="0">
                <a:cs typeface="Aharoni" panose="020F0502020204030204" pitchFamily="2" charset="-79"/>
              </a:rPr>
              <a:t>Text durch Lorem ipsum</a:t>
            </a: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r>
              <a:rPr lang="de-CH" altLang="de-DE" dirty="0">
                <a:cs typeface="Aharoni" panose="020F0502020204030204" pitchFamily="2" charset="-79"/>
              </a:rPr>
              <a:t>Text durch Lorem ipsum dolor sit amet, consetetur sadipscing elitr, sed diam nonumy eirmod tempor invidunt ut labore et dolore magna aliquyam erat, sed diam voluptua. At vero eos et accusam et justo duo dolores et ea rebum. Stet clita kasd gubergren, no sea takimata sanctus est Lorem ipsum dolor sit amet. Lorem ipsum dolor sit amet, consetetur sadipscing elitr, sed diam nonumy eirmod tempor invidunt ut labore et dolore magna aliquyam erat.</a:t>
            </a:r>
          </a:p>
          <a:p>
            <a:pPr defTabSz="284163" eaLnBrk="1" hangingPunct="1">
              <a:spcBef>
                <a:spcPct val="0"/>
              </a:spcBef>
              <a:spcAft>
                <a:spcPct val="0"/>
              </a:spcAft>
            </a:pPr>
            <a:endParaRPr lang="de-CH" altLang="de-DE" dirty="0">
              <a:cs typeface="Aharoni" panose="020F0502020204030204" pitchFamily="2" charset="-79"/>
            </a:endParaRPr>
          </a:p>
        </p:txBody>
      </p:sp>
      <p:pic>
        <p:nvPicPr>
          <p:cNvPr id="36872" name="Grafik 3">
            <a:extLst>
              <a:ext uri="{FF2B5EF4-FFF2-40B4-BE49-F238E27FC236}">
                <a16:creationId xmlns:a16="http://schemas.microsoft.com/office/drawing/2014/main" id="{843891B4-2F53-7E72-ED7A-7713532D10B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60750" y="4238625"/>
            <a:ext cx="2824163" cy="201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3" name="Grafik 6" descr="Ein Bild, das Gebäude, draußen, Fenster, Gewerbegebäude enthält.&#10;&#10;Automatisch generierte Beschreibung">
            <a:extLst>
              <a:ext uri="{FF2B5EF4-FFF2-40B4-BE49-F238E27FC236}">
                <a16:creationId xmlns:a16="http://schemas.microsoft.com/office/drawing/2014/main" id="{B0DF14EC-DF3A-4E82-6EED-83735378A8F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6388" y="1885950"/>
            <a:ext cx="2843212" cy="436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4" name="Grafik 2" descr="Ein Bild, das draußen, Wolke, Himmel, Palast enthält.&#10;&#10;Automatisch generierte Beschreibung">
            <a:extLst>
              <a:ext uri="{FF2B5EF4-FFF2-40B4-BE49-F238E27FC236}">
                <a16:creationId xmlns:a16="http://schemas.microsoft.com/office/drawing/2014/main" id="{FF062D95-EB6C-BBD6-E4B5-FD1AE097D2D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60750" y="1885950"/>
            <a:ext cx="2824163"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890" name="think-cell data - do not delete" hidden="1">
            <a:extLst>
              <a:ext uri="{FF2B5EF4-FFF2-40B4-BE49-F238E27FC236}">
                <a16:creationId xmlns:a16="http://schemas.microsoft.com/office/drawing/2014/main" id="{E8F4DB75-253C-2775-A802-5781922C3E8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37890" name="think-cell data - do not delete" hidden="1">
                        <a:extLst>
                          <a:ext uri="{FF2B5EF4-FFF2-40B4-BE49-F238E27FC236}">
                            <a16:creationId xmlns:a16="http://schemas.microsoft.com/office/drawing/2014/main" id="{E8F4DB75-253C-2775-A802-5781922C3E8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7891" name="Grafik 7" descr="Ein Bild, das draußen, Wolke, Himmel, Palast enthält.&#10;&#10;Automatisch generierte Beschreibung">
            <a:extLst>
              <a:ext uri="{FF2B5EF4-FFF2-40B4-BE49-F238E27FC236}">
                <a16:creationId xmlns:a16="http://schemas.microsoft.com/office/drawing/2014/main" id="{39A6E499-1E48-6D65-765D-F2CC731ECBA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60750" y="1885950"/>
            <a:ext cx="2824163" cy="201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a:extLst>
              <a:ext uri="{FF2B5EF4-FFF2-40B4-BE49-F238E27FC236}">
                <a16:creationId xmlns:a16="http://schemas.microsoft.com/office/drawing/2014/main" id="{001F75E4-4AE9-4F27-120A-56D12C23B0EA}"/>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Bilder mit Text – 4 Spalten</a:t>
            </a:r>
          </a:p>
        </p:txBody>
      </p:sp>
      <p:sp>
        <p:nvSpPr>
          <p:cNvPr id="37893" name="Foliennummernplatzhalter 25">
            <a:extLst>
              <a:ext uri="{FF2B5EF4-FFF2-40B4-BE49-F238E27FC236}">
                <a16:creationId xmlns:a16="http://schemas.microsoft.com/office/drawing/2014/main" id="{86B47076-16DE-2223-D13D-1E2EBAE7FF31}"/>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F46E94DB-FCC3-44DD-B625-AD775E9D1102}" type="slidenum">
              <a:rPr lang="de-CH" altLang="de-DE" sz="1100" smtClean="0">
                <a:solidFill>
                  <a:srgbClr val="003CB4"/>
                </a:solidFill>
                <a:latin typeface="Frutiger for ZKB Light" panose="020B0303030504020204" pitchFamily="34" charset="0"/>
              </a:rPr>
              <a:pPr>
                <a:spcBef>
                  <a:spcPct val="0"/>
                </a:spcBef>
                <a:spcAft>
                  <a:spcPct val="0"/>
                </a:spcAft>
              </a:pPr>
              <a:t>18</a:t>
            </a:fld>
            <a:endParaRPr lang="de-CH" altLang="de-DE" sz="1100" dirty="0">
              <a:solidFill>
                <a:srgbClr val="003CB4"/>
              </a:solidFill>
              <a:latin typeface="Frutiger for ZKB Light" panose="020B0303030504020204" pitchFamily="34" charset="0"/>
            </a:endParaRPr>
          </a:p>
        </p:txBody>
      </p:sp>
      <p:sp>
        <p:nvSpPr>
          <p:cNvPr id="37894" name="Fußzeilenplatzhalter 24">
            <a:extLst>
              <a:ext uri="{FF2B5EF4-FFF2-40B4-BE49-F238E27FC236}">
                <a16:creationId xmlns:a16="http://schemas.microsoft.com/office/drawing/2014/main" id="{4B6D1CFB-EFE1-91AB-8220-86A86ED8B9D0}"/>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pic>
        <p:nvPicPr>
          <p:cNvPr id="37895" name="Grafik 3">
            <a:extLst>
              <a:ext uri="{FF2B5EF4-FFF2-40B4-BE49-F238E27FC236}">
                <a16:creationId xmlns:a16="http://schemas.microsoft.com/office/drawing/2014/main" id="{65C4BAFC-9324-6366-6884-58F75B64066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b="-2"/>
          <a:stretch>
            <a:fillRect/>
          </a:stretch>
        </p:blipFill>
        <p:spPr bwMode="auto">
          <a:xfrm>
            <a:off x="306388" y="1885950"/>
            <a:ext cx="2843212" cy="201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6" name="Grafik 12">
            <a:extLst>
              <a:ext uri="{FF2B5EF4-FFF2-40B4-BE49-F238E27FC236}">
                <a16:creationId xmlns:a16="http://schemas.microsoft.com/office/drawing/2014/main" id="{7B8ECD41-FB7B-338C-E52D-D51189854DC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712325" y="1885950"/>
            <a:ext cx="2843213" cy="201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7" name="Grafik 18">
            <a:extLst>
              <a:ext uri="{FF2B5EF4-FFF2-40B4-BE49-F238E27FC236}">
                <a16:creationId xmlns:a16="http://schemas.microsoft.com/office/drawing/2014/main" id="{2389D2E0-052D-FE62-E883-71644DCAA29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77013" y="1885950"/>
            <a:ext cx="2843212" cy="201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Inhaltsplatzhalter 2">
            <a:extLst>
              <a:ext uri="{FF2B5EF4-FFF2-40B4-BE49-F238E27FC236}">
                <a16:creationId xmlns:a16="http://schemas.microsoft.com/office/drawing/2014/main" id="{79F0279F-5D28-41E9-310C-B7B51F55D252}"/>
              </a:ext>
            </a:extLst>
          </p:cNvPr>
          <p:cNvSpPr txBox="1">
            <a:spLocks/>
          </p:cNvSpPr>
          <p:nvPr/>
        </p:nvSpPr>
        <p:spPr>
          <a:xfrm>
            <a:off x="3441700" y="4191000"/>
            <a:ext cx="2879725" cy="2068513"/>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b="1" dirty="0"/>
              <a:t>Text durch Lorem </a:t>
            </a:r>
          </a:p>
          <a:p>
            <a:pPr fontAlgn="auto">
              <a:defRPr/>
            </a:pPr>
            <a:endParaRPr lang="de-CH" dirty="0"/>
          </a:p>
          <a:p>
            <a:pPr fontAlgn="auto">
              <a:defRPr/>
            </a:pPr>
            <a:r>
              <a:rPr lang="de-CH" dirty="0"/>
              <a:t>At vero eos et accusam et justo duo dolores et ea rebum. Stet clita kasd gubergren, no sea takimata sanctus est Lorem ipsum dolor sit amet. </a:t>
            </a:r>
          </a:p>
        </p:txBody>
      </p:sp>
      <p:sp>
        <p:nvSpPr>
          <p:cNvPr id="22" name="Inhaltsplatzhalter 2">
            <a:extLst>
              <a:ext uri="{FF2B5EF4-FFF2-40B4-BE49-F238E27FC236}">
                <a16:creationId xmlns:a16="http://schemas.microsoft.com/office/drawing/2014/main" id="{9B356546-94E9-9696-6B9F-66BB91E583CB}"/>
              </a:ext>
            </a:extLst>
          </p:cNvPr>
          <p:cNvSpPr txBox="1">
            <a:spLocks/>
          </p:cNvSpPr>
          <p:nvPr/>
        </p:nvSpPr>
        <p:spPr>
          <a:xfrm>
            <a:off x="309563" y="4191000"/>
            <a:ext cx="2881312" cy="2068513"/>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Text durch Lorem </a:t>
            </a:r>
          </a:p>
          <a:p>
            <a:pPr>
              <a:lnSpc>
                <a:spcPct val="100000"/>
              </a:lnSpc>
              <a:defRPr/>
            </a:pPr>
            <a:endParaRPr lang="de-CH" dirty="0"/>
          </a:p>
          <a:p>
            <a:pPr>
              <a:lnSpc>
                <a:spcPct val="100000"/>
              </a:lnSpc>
              <a:defRPr/>
            </a:pPr>
            <a:r>
              <a:rPr lang="de-CH" dirty="0"/>
              <a:t>At vero eos et accusam et justo duo dolores et ea rebum. Stet clita kasd gubergren, no sea takimata sanctus est Lorem ipsum dolor sit amet. </a:t>
            </a:r>
          </a:p>
        </p:txBody>
      </p:sp>
      <p:sp>
        <p:nvSpPr>
          <p:cNvPr id="23" name="Inhaltsplatzhalter 2">
            <a:extLst>
              <a:ext uri="{FF2B5EF4-FFF2-40B4-BE49-F238E27FC236}">
                <a16:creationId xmlns:a16="http://schemas.microsoft.com/office/drawing/2014/main" id="{D2021C7C-5E71-5B50-8C37-347FD17DC2C6}"/>
              </a:ext>
            </a:extLst>
          </p:cNvPr>
          <p:cNvSpPr txBox="1">
            <a:spLocks/>
          </p:cNvSpPr>
          <p:nvPr/>
        </p:nvSpPr>
        <p:spPr>
          <a:xfrm>
            <a:off x="6577013" y="4191000"/>
            <a:ext cx="2879725" cy="2068513"/>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Text durch Lorem </a:t>
            </a:r>
          </a:p>
          <a:p>
            <a:pPr>
              <a:lnSpc>
                <a:spcPct val="100000"/>
              </a:lnSpc>
              <a:defRPr/>
            </a:pPr>
            <a:endParaRPr lang="de-CH" dirty="0"/>
          </a:p>
          <a:p>
            <a:pPr>
              <a:lnSpc>
                <a:spcPct val="100000"/>
              </a:lnSpc>
              <a:defRPr/>
            </a:pPr>
            <a:r>
              <a:rPr lang="de-CH" dirty="0"/>
              <a:t>At vero eos et accusam et justo duo dolores et ea rebum. Stet clita kasd gubergren, no sea takimata sanctus est Lorem ipsum dolor sit amet. </a:t>
            </a:r>
          </a:p>
        </p:txBody>
      </p:sp>
      <p:sp>
        <p:nvSpPr>
          <p:cNvPr id="24" name="Inhaltsplatzhalter 2">
            <a:extLst>
              <a:ext uri="{FF2B5EF4-FFF2-40B4-BE49-F238E27FC236}">
                <a16:creationId xmlns:a16="http://schemas.microsoft.com/office/drawing/2014/main" id="{05E3A838-8749-871B-F6F6-B6DDE96D001B}"/>
              </a:ext>
            </a:extLst>
          </p:cNvPr>
          <p:cNvSpPr txBox="1">
            <a:spLocks/>
          </p:cNvSpPr>
          <p:nvPr/>
        </p:nvSpPr>
        <p:spPr>
          <a:xfrm>
            <a:off x="9712325" y="4191000"/>
            <a:ext cx="2879725" cy="2068513"/>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Text durch Lorem </a:t>
            </a:r>
          </a:p>
          <a:p>
            <a:pPr>
              <a:lnSpc>
                <a:spcPct val="100000"/>
              </a:lnSpc>
              <a:defRPr/>
            </a:pPr>
            <a:endParaRPr lang="de-CH" dirty="0"/>
          </a:p>
          <a:p>
            <a:pPr>
              <a:lnSpc>
                <a:spcPct val="100000"/>
              </a:lnSpc>
              <a:defRPr/>
            </a:pPr>
            <a:r>
              <a:rPr lang="de-CH" dirty="0"/>
              <a:t>At vero eos et accusam et justo duo dolores et ea rebum. Stet clita kasd gubergren, no sea takimata sanctus est Lorem ipsum dolor sit amet. </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914" name="think-cell data - do not delete" hidden="1">
            <a:extLst>
              <a:ext uri="{FF2B5EF4-FFF2-40B4-BE49-F238E27FC236}">
                <a16:creationId xmlns:a16="http://schemas.microsoft.com/office/drawing/2014/main" id="{FDFE9E57-69CC-8EB8-D099-3384DA8760F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38914" name="think-cell data - do not delete" hidden="1">
                        <a:extLst>
                          <a:ext uri="{FF2B5EF4-FFF2-40B4-BE49-F238E27FC236}">
                            <a16:creationId xmlns:a16="http://schemas.microsoft.com/office/drawing/2014/main" id="{FDFE9E57-69CC-8EB8-D099-3384DA8760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8915" name="Inhaltsplatzhalter 11" descr="Ein Bild, das draußen, Wasser, See, Baum enthält.&#10;&#10;Automatisch generierte Beschreibung">
            <a:extLst>
              <a:ext uri="{FF2B5EF4-FFF2-40B4-BE49-F238E27FC236}">
                <a16:creationId xmlns:a16="http://schemas.microsoft.com/office/drawing/2014/main" id="{17ADDC98-8FB8-8403-D1B5-F6D4D837D56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6388" y="2509838"/>
            <a:ext cx="3908425" cy="412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6" name="Inhaltsplatzhalter 11">
            <a:extLst>
              <a:ext uri="{FF2B5EF4-FFF2-40B4-BE49-F238E27FC236}">
                <a16:creationId xmlns:a16="http://schemas.microsoft.com/office/drawing/2014/main" id="{99703F5B-CAF5-1057-AC97-39A5C76AE7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t="-2" b="-179"/>
          <a:stretch>
            <a:fillRect/>
          </a:stretch>
        </p:blipFill>
        <p:spPr bwMode="auto">
          <a:xfrm>
            <a:off x="4479925" y="2509838"/>
            <a:ext cx="3908425" cy="413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7" name="Inhaltsplatzhalter 11">
            <a:extLst>
              <a:ext uri="{FF2B5EF4-FFF2-40B4-BE49-F238E27FC236}">
                <a16:creationId xmlns:a16="http://schemas.microsoft.com/office/drawing/2014/main" id="{96742839-1071-9781-E113-B551293C4E0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51875" y="2509838"/>
            <a:ext cx="3908425" cy="412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8" name="Titel 1">
            <a:extLst>
              <a:ext uri="{FF2B5EF4-FFF2-40B4-BE49-F238E27FC236}">
                <a16:creationId xmlns:a16="http://schemas.microsoft.com/office/drawing/2014/main" id="{64E2793C-E438-3226-BCFC-48FFD7C390B4}"/>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Bilder mit Überschrift – 3 Spalten</a:t>
            </a:r>
          </a:p>
        </p:txBody>
      </p:sp>
      <p:sp>
        <p:nvSpPr>
          <p:cNvPr id="38919" name="Foliennummernplatzhalter 17">
            <a:extLst>
              <a:ext uri="{FF2B5EF4-FFF2-40B4-BE49-F238E27FC236}">
                <a16:creationId xmlns:a16="http://schemas.microsoft.com/office/drawing/2014/main" id="{A4D71D7E-AC0C-FFDA-D1BF-D04230787317}"/>
              </a:ext>
            </a:extLst>
          </p:cNvPr>
          <p:cNvSpPr>
            <a:spLocks noGrp="1" noChangeArrowheads="1"/>
          </p:cNvSpPr>
          <p:nvPr>
            <p:ph type="sldNum" sz="quarter" idx="18"/>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7B0CBD8B-4CC1-4D60-B277-93F47DDD902C}" type="slidenum">
              <a:rPr lang="de-CH" smtClean="0"/>
              <a:pPr>
                <a:spcBef>
                  <a:spcPct val="0"/>
                </a:spcBef>
                <a:spcAft>
                  <a:spcPct val="0"/>
                </a:spcAft>
                <a:defRPr/>
              </a:pPr>
              <a:t>19</a:t>
            </a:fld>
            <a:endParaRPr lang="de-CH" altLang="de-DE" sz="1100" dirty="0">
              <a:solidFill>
                <a:srgbClr val="003CB4"/>
              </a:solidFill>
            </a:endParaRPr>
          </a:p>
        </p:txBody>
      </p:sp>
      <p:sp>
        <p:nvSpPr>
          <p:cNvPr id="38920" name="Fußzeilenplatzhalter 16">
            <a:extLst>
              <a:ext uri="{FF2B5EF4-FFF2-40B4-BE49-F238E27FC236}">
                <a16:creationId xmlns:a16="http://schemas.microsoft.com/office/drawing/2014/main" id="{32BC27F9-F56E-9068-B15C-3B54CB693920}"/>
              </a:ext>
            </a:extLst>
          </p:cNvPr>
          <p:cNvSpPr>
            <a:spLocks noGrp="1" noChangeArrowheads="1"/>
          </p:cNvSpPr>
          <p:nvPr>
            <p:ph type="ftr" sz="quarter" idx="19"/>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8921" name="Textplatzhalter 5">
            <a:extLst>
              <a:ext uri="{FF2B5EF4-FFF2-40B4-BE49-F238E27FC236}">
                <a16:creationId xmlns:a16="http://schemas.microsoft.com/office/drawing/2014/main" id="{5E35AD3E-9ECB-7901-417F-3D6E6C16A5C4}"/>
              </a:ext>
            </a:extLst>
          </p:cNvPr>
          <p:cNvSpPr>
            <a:spLocks noGrp="1" noChangeArrowheads="1"/>
          </p:cNvSpPr>
          <p:nvPr>
            <p:ph type="body" sz="quarter" idx="15"/>
          </p:nvPr>
        </p:nvSpPr>
        <p:spPr>
          <a:xfrm>
            <a:off x="306388" y="1885950"/>
            <a:ext cx="3889375" cy="646113"/>
          </a:xfrm>
        </p:spPr>
        <p:txBody>
          <a:bodyPr/>
          <a:lstStyle/>
          <a:p>
            <a:pPr eaLnBrk="1" hangingPunct="1">
              <a:spcBef>
                <a:spcPct val="0"/>
              </a:spcBef>
              <a:spcAft>
                <a:spcPct val="0"/>
              </a:spcAft>
            </a:pPr>
            <a:r>
              <a:rPr lang="de-CH" altLang="de-DE" dirty="0">
                <a:cs typeface="Aharoni" panose="020F0502020204030204" pitchFamily="2" charset="-79"/>
              </a:rPr>
              <a:t>Titel durch Lorem </a:t>
            </a:r>
          </a:p>
          <a:p>
            <a:pPr eaLnBrk="1" hangingPunct="1">
              <a:spcBef>
                <a:spcPct val="0"/>
              </a:spcBef>
              <a:spcAft>
                <a:spcPct val="0"/>
              </a:spcAft>
            </a:pPr>
            <a:endParaRPr lang="de-CH" altLang="de-DE" dirty="0">
              <a:cs typeface="Aharoni" panose="020F0502020204030204" pitchFamily="2" charset="-79"/>
            </a:endParaRPr>
          </a:p>
        </p:txBody>
      </p:sp>
      <p:sp>
        <p:nvSpPr>
          <p:cNvPr id="38922" name="Textplatzhalter 6">
            <a:extLst>
              <a:ext uri="{FF2B5EF4-FFF2-40B4-BE49-F238E27FC236}">
                <a16:creationId xmlns:a16="http://schemas.microsoft.com/office/drawing/2014/main" id="{5AD0C415-A8D9-0D43-393C-62301719E3C3}"/>
              </a:ext>
            </a:extLst>
          </p:cNvPr>
          <p:cNvSpPr>
            <a:spLocks noGrp="1" noChangeArrowheads="1"/>
          </p:cNvSpPr>
          <p:nvPr>
            <p:ph type="body" sz="quarter" idx="16"/>
          </p:nvPr>
        </p:nvSpPr>
        <p:spPr>
          <a:xfrm>
            <a:off x="4483100" y="1885950"/>
            <a:ext cx="3889375" cy="646113"/>
          </a:xfrm>
        </p:spPr>
        <p:txBody>
          <a:bodyPr/>
          <a:lstStyle/>
          <a:p>
            <a:pPr eaLnBrk="1" hangingPunct="1">
              <a:spcBef>
                <a:spcPct val="0"/>
              </a:spcBef>
              <a:spcAft>
                <a:spcPct val="0"/>
              </a:spcAft>
            </a:pPr>
            <a:r>
              <a:rPr lang="de-CH" altLang="de-DE" dirty="0">
                <a:cs typeface="Aharoni" panose="020F0502020204030204" pitchFamily="2" charset="-79"/>
              </a:rPr>
              <a:t>Titel durch Lorem </a:t>
            </a:r>
          </a:p>
          <a:p>
            <a:pPr eaLnBrk="1" hangingPunct="1">
              <a:spcBef>
                <a:spcPct val="0"/>
              </a:spcBef>
              <a:spcAft>
                <a:spcPct val="0"/>
              </a:spcAft>
            </a:pPr>
            <a:endParaRPr lang="de-CH" altLang="de-DE" dirty="0">
              <a:cs typeface="Aharoni" panose="020F0502020204030204" pitchFamily="2" charset="-79"/>
            </a:endParaRPr>
          </a:p>
        </p:txBody>
      </p:sp>
      <p:sp>
        <p:nvSpPr>
          <p:cNvPr id="38923" name="Textplatzhalter 7">
            <a:extLst>
              <a:ext uri="{FF2B5EF4-FFF2-40B4-BE49-F238E27FC236}">
                <a16:creationId xmlns:a16="http://schemas.microsoft.com/office/drawing/2014/main" id="{9B2E1201-B33F-9CB8-4625-D776043D8256}"/>
              </a:ext>
            </a:extLst>
          </p:cNvPr>
          <p:cNvSpPr>
            <a:spLocks noGrp="1" noChangeArrowheads="1"/>
          </p:cNvSpPr>
          <p:nvPr>
            <p:ph type="body" sz="quarter" idx="17"/>
          </p:nvPr>
        </p:nvSpPr>
        <p:spPr>
          <a:xfrm>
            <a:off x="8659813" y="1885950"/>
            <a:ext cx="3889375" cy="646113"/>
          </a:xfrm>
        </p:spPr>
        <p:txBody>
          <a:bodyPr/>
          <a:lstStyle/>
          <a:p>
            <a:pPr eaLnBrk="1" hangingPunct="1">
              <a:spcBef>
                <a:spcPct val="0"/>
              </a:spcBef>
              <a:spcAft>
                <a:spcPct val="0"/>
              </a:spcAft>
            </a:pPr>
            <a:r>
              <a:rPr lang="de-CH" altLang="de-DE" dirty="0">
                <a:cs typeface="Aharoni" panose="020F0502020204030204" pitchFamily="2" charset="-79"/>
              </a:rPr>
              <a:t>Titel durch Lorem </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think-cell data - do not delete" hidden="1">
            <a:extLst>
              <a:ext uri="{FF2B5EF4-FFF2-40B4-BE49-F238E27FC236}">
                <a16:creationId xmlns:a16="http://schemas.microsoft.com/office/drawing/2014/main" id="{B697E361-9C79-3D93-0CB0-9A65AE42ECF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21506" name="think-cell data - do not delete" hidden="1">
                        <a:extLst>
                          <a:ext uri="{FF2B5EF4-FFF2-40B4-BE49-F238E27FC236}">
                            <a16:creationId xmlns:a16="http://schemas.microsoft.com/office/drawing/2014/main" id="{B697E361-9C79-3D93-0CB0-9A65AE42EC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07" name="Bildplatzhalter 1">
            <a:extLst>
              <a:ext uri="{FF2B5EF4-FFF2-40B4-BE49-F238E27FC236}">
                <a16:creationId xmlns:a16="http://schemas.microsoft.com/office/drawing/2014/main" id="{704CCCB6-86B6-BAA6-80E0-0091BF324AD6}"/>
              </a:ext>
            </a:extLst>
          </p:cNvPr>
          <p:cNvSpPr>
            <a:spLocks noGrp="1" noChangeArrowheads="1" noTextEdit="1"/>
          </p:cNvSpPr>
          <p:nvPr>
            <p:ph type="pic" sz="quarter" idx="12"/>
          </p:nvPr>
        </p:nvSpPr>
        <p:spPr>
          <a:xfrm>
            <a:off x="6577013" y="1885950"/>
            <a:ext cx="5972175" cy="4748213"/>
          </a:xfrm>
        </p:spPr>
        <p:txBody>
          <a:bodyPr vert="horz" wrap="square" lIns="0" tIns="0" rIns="0" bIns="0" numCol="1" anchor="ctr" anchorCtr="1" compatLnSpc="1">
            <a:prstTxWarp prst="textNoShape">
              <a:avLst/>
            </a:prstTxWarp>
          </a:bodyPr>
          <a:lstStyle/>
          <a:p>
            <a:endParaRPr lang="de-CH" dirty="0"/>
          </a:p>
        </p:txBody>
      </p:sp>
      <p:sp>
        <p:nvSpPr>
          <p:cNvPr id="21508" name="Titel 9">
            <a:extLst>
              <a:ext uri="{FF2B5EF4-FFF2-40B4-BE49-F238E27FC236}">
                <a16:creationId xmlns:a16="http://schemas.microsoft.com/office/drawing/2014/main" id="{98B193F4-433D-9DF8-153F-DC24180B1CA7}"/>
              </a:ext>
            </a:extLst>
          </p:cNvPr>
          <p:cNvSpPr>
            <a:spLocks noGrp="1" noChangeArrowheads="1"/>
          </p:cNvSpPr>
          <p:nvPr>
            <p:ph type="title"/>
          </p:nvPr>
        </p:nvSpPr>
        <p:spPr>
          <a:xfrm>
            <a:off x="306388" y="1885950"/>
            <a:ext cx="9086850" cy="4748213"/>
          </a:xfrm>
        </p:spPr>
        <p:txBody>
          <a:bodyPr/>
          <a:lstStyle/>
          <a:p>
            <a:pPr eaLnBrk="1" hangingPunct="1">
              <a:spcBef>
                <a:spcPct val="0"/>
              </a:spcBef>
              <a:spcAft>
                <a:spcPct val="0"/>
              </a:spcAft>
            </a:pPr>
            <a:r>
              <a:rPr lang="de-CH" altLang="de-DE" dirty="0"/>
              <a:t>Lorem ipsum </a:t>
            </a:r>
            <a:br>
              <a:rPr lang="de-CH" altLang="de-DE" dirty="0"/>
            </a:br>
            <a:r>
              <a:rPr lang="de-CH" altLang="de-DE" dirty="0"/>
              <a:t>dolor sit amet, consetetur</a:t>
            </a:r>
          </a:p>
        </p:txBody>
      </p:sp>
      <p:sp>
        <p:nvSpPr>
          <p:cNvPr id="21509" name="Untertitel 10">
            <a:extLst>
              <a:ext uri="{FF2B5EF4-FFF2-40B4-BE49-F238E27FC236}">
                <a16:creationId xmlns:a16="http://schemas.microsoft.com/office/drawing/2014/main" id="{F5E7E1A1-6963-1271-2E86-7D1CD0115D2F}"/>
              </a:ext>
            </a:extLst>
          </p:cNvPr>
          <p:cNvSpPr>
            <a:spLocks noGrp="1" noChangeArrowheads="1"/>
          </p:cNvSpPr>
          <p:nvPr>
            <p:ph type="subTitle" idx="10"/>
          </p:nvPr>
        </p:nvSpPr>
        <p:spPr>
          <a:xfrm>
            <a:off x="306388" y="287338"/>
            <a:ext cx="9086850" cy="246062"/>
          </a:xfrm>
        </p:spPr>
        <p:txBody>
          <a:bodyPr/>
          <a:lstStyle/>
          <a:p>
            <a:pPr eaLnBrk="1" hangingPunct="1">
              <a:spcBef>
                <a:spcPct val="0"/>
              </a:spcBef>
              <a:spcAft>
                <a:spcPct val="0"/>
              </a:spcAft>
            </a:pPr>
            <a:r>
              <a:rPr lang="de-CH" altLang="de-DE" dirty="0">
                <a:cs typeface="Aharoni" panose="020F0502020204030204" pitchFamily="2" charset="-79"/>
              </a:rPr>
              <a:t>Titel</a:t>
            </a:r>
          </a:p>
        </p:txBody>
      </p:sp>
      <p:sp>
        <p:nvSpPr>
          <p:cNvPr id="21510" name="Textplatzhalter 11">
            <a:extLst>
              <a:ext uri="{FF2B5EF4-FFF2-40B4-BE49-F238E27FC236}">
                <a16:creationId xmlns:a16="http://schemas.microsoft.com/office/drawing/2014/main" id="{FFDE16C2-8BA6-7E23-5BC4-D2BA341C8D7D}"/>
              </a:ext>
            </a:extLst>
          </p:cNvPr>
          <p:cNvSpPr>
            <a:spLocks noGrp="1" noChangeArrowheads="1"/>
          </p:cNvSpPr>
          <p:nvPr>
            <p:ph type="body" sz="quarter" idx="11"/>
          </p:nvPr>
        </p:nvSpPr>
        <p:spPr>
          <a:xfrm>
            <a:off x="306388" y="554038"/>
            <a:ext cx="9086850" cy="246062"/>
          </a:xfrm>
        </p:spPr>
        <p:txBody>
          <a:bodyPr/>
          <a:lstStyle/>
          <a:p>
            <a:pPr eaLnBrk="1" hangingPunct="1">
              <a:spcBef>
                <a:spcPct val="0"/>
              </a:spcBef>
              <a:spcAft>
                <a:spcPct val="0"/>
              </a:spcAft>
            </a:pPr>
            <a:r>
              <a:rPr lang="de-CH" altLang="de-DE" dirty="0">
                <a:cs typeface="Aharoni" panose="020F0502020204030204" pitchFamily="2" charset="-79"/>
              </a:rPr>
              <a:t>Vorname Name, Abteilung, 00. Monat Jahr</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938" name="think-cell data - do not delete" hidden="1">
            <a:extLst>
              <a:ext uri="{FF2B5EF4-FFF2-40B4-BE49-F238E27FC236}">
                <a16:creationId xmlns:a16="http://schemas.microsoft.com/office/drawing/2014/main" id="{E13FA765-114C-BDD1-1604-FC916E3EEFD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9938" name="think-cell data - do not delete" hidden="1">
                        <a:extLst>
                          <a:ext uri="{FF2B5EF4-FFF2-40B4-BE49-F238E27FC236}">
                            <a16:creationId xmlns:a16="http://schemas.microsoft.com/office/drawing/2014/main" id="{E13FA765-114C-BDD1-1604-FC916E3EEF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9939" name="Titel 1">
            <a:extLst>
              <a:ext uri="{FF2B5EF4-FFF2-40B4-BE49-F238E27FC236}">
                <a16:creationId xmlns:a16="http://schemas.microsoft.com/office/drawing/2014/main" id="{C907CD94-9E20-C10E-DA02-B698103C0660}"/>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Bilder und Text – 3 Spalten</a:t>
            </a:r>
          </a:p>
        </p:txBody>
      </p:sp>
      <p:sp>
        <p:nvSpPr>
          <p:cNvPr id="39940" name="Foliennummernplatzhalter 24">
            <a:extLst>
              <a:ext uri="{FF2B5EF4-FFF2-40B4-BE49-F238E27FC236}">
                <a16:creationId xmlns:a16="http://schemas.microsoft.com/office/drawing/2014/main" id="{2EF7C6FA-0269-8AF9-132F-B9F8DC468F5A}"/>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601F0A54-E120-44EF-ABD3-53FE0D0E19E6}" type="slidenum">
              <a:rPr lang="de-CH" altLang="de-DE" sz="1100" smtClean="0">
                <a:solidFill>
                  <a:srgbClr val="003CB4"/>
                </a:solidFill>
                <a:latin typeface="Frutiger for ZKB Light" panose="020B0303030504020204" pitchFamily="34" charset="0"/>
              </a:rPr>
              <a:pPr>
                <a:spcBef>
                  <a:spcPct val="0"/>
                </a:spcBef>
                <a:spcAft>
                  <a:spcPct val="0"/>
                </a:spcAft>
              </a:pPr>
              <a:t>20</a:t>
            </a:fld>
            <a:endParaRPr lang="de-CH" altLang="de-DE" sz="1100" dirty="0">
              <a:solidFill>
                <a:srgbClr val="003CB4"/>
              </a:solidFill>
              <a:latin typeface="Frutiger for ZKB Light" panose="020B0303030504020204" pitchFamily="34" charset="0"/>
            </a:endParaRPr>
          </a:p>
        </p:txBody>
      </p:sp>
      <p:sp>
        <p:nvSpPr>
          <p:cNvPr id="39941" name="Fußzeilenplatzhalter 23">
            <a:extLst>
              <a:ext uri="{FF2B5EF4-FFF2-40B4-BE49-F238E27FC236}">
                <a16:creationId xmlns:a16="http://schemas.microsoft.com/office/drawing/2014/main" id="{98BC97D5-0F92-7896-BFB9-F4ACA0BA38F4}"/>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8" name="Inhaltsplatzhalter 2">
            <a:extLst>
              <a:ext uri="{FF2B5EF4-FFF2-40B4-BE49-F238E27FC236}">
                <a16:creationId xmlns:a16="http://schemas.microsoft.com/office/drawing/2014/main" id="{C2D388FF-BB6B-A896-ACE5-4D2A13A8442E}"/>
              </a:ext>
            </a:extLst>
          </p:cNvPr>
          <p:cNvSpPr txBox="1">
            <a:spLocks/>
          </p:cNvSpPr>
          <p:nvPr/>
        </p:nvSpPr>
        <p:spPr>
          <a:xfrm>
            <a:off x="4479925" y="4667250"/>
            <a:ext cx="3886200" cy="1692275"/>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Text durch Lorem</a:t>
            </a:r>
            <a:endParaRPr lang="de-CH" dirty="0"/>
          </a:p>
          <a:p>
            <a:pPr>
              <a:lnSpc>
                <a:spcPct val="100000"/>
              </a:lnSpc>
              <a:defRPr/>
            </a:pPr>
            <a:r>
              <a:rPr lang="de-CH" dirty="0"/>
              <a:t>At vero eos et accusam et justo duo dolores et ea rebum. Stet clita kasd gubergren, no sea takimata sanctus est Lorem ipsum dolor sit amet. </a:t>
            </a:r>
          </a:p>
        </p:txBody>
      </p:sp>
      <p:pic>
        <p:nvPicPr>
          <p:cNvPr id="39943" name="Grafik 8" descr="Ein Bild, das draußen, Wolke, Himmel, Palast enthält.&#10;&#10;Automatisch generierte Beschreibung">
            <a:extLst>
              <a:ext uri="{FF2B5EF4-FFF2-40B4-BE49-F238E27FC236}">
                <a16:creationId xmlns:a16="http://schemas.microsoft.com/office/drawing/2014/main" id="{E98B0E1A-A16F-91E1-7651-30DF21026FC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83100" y="1885950"/>
            <a:ext cx="3889375" cy="259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4" name="Grafik 9">
            <a:extLst>
              <a:ext uri="{FF2B5EF4-FFF2-40B4-BE49-F238E27FC236}">
                <a16:creationId xmlns:a16="http://schemas.microsoft.com/office/drawing/2014/main" id="{340F250A-6304-C93A-3AE8-B45EA2330BB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2"/>
          <a:stretch>
            <a:fillRect/>
          </a:stretch>
        </p:blipFill>
        <p:spPr bwMode="auto">
          <a:xfrm>
            <a:off x="303213" y="1885950"/>
            <a:ext cx="3889375" cy="259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Inhaltsplatzhalter 2">
            <a:extLst>
              <a:ext uri="{FF2B5EF4-FFF2-40B4-BE49-F238E27FC236}">
                <a16:creationId xmlns:a16="http://schemas.microsoft.com/office/drawing/2014/main" id="{14030C48-48B0-C771-57C5-58D17E1BCF50}"/>
              </a:ext>
            </a:extLst>
          </p:cNvPr>
          <p:cNvSpPr txBox="1">
            <a:spLocks/>
          </p:cNvSpPr>
          <p:nvPr/>
        </p:nvSpPr>
        <p:spPr>
          <a:xfrm>
            <a:off x="309563" y="4630738"/>
            <a:ext cx="3886200" cy="1793875"/>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Text durch Lorem </a:t>
            </a:r>
            <a:endParaRPr lang="de-CH" dirty="0"/>
          </a:p>
          <a:p>
            <a:pPr>
              <a:lnSpc>
                <a:spcPct val="100000"/>
              </a:lnSpc>
              <a:defRPr/>
            </a:pPr>
            <a:r>
              <a:rPr lang="de-CH" dirty="0"/>
              <a:t>At vero eos et accusam et justo duo dolores et ea rebum. Stet clita kasd gubergren, no sea takimata sanctus est Lorem ipsum dolor sit amet. </a:t>
            </a:r>
          </a:p>
        </p:txBody>
      </p:sp>
      <p:sp>
        <p:nvSpPr>
          <p:cNvPr id="12" name="Inhaltsplatzhalter 2">
            <a:extLst>
              <a:ext uri="{FF2B5EF4-FFF2-40B4-BE49-F238E27FC236}">
                <a16:creationId xmlns:a16="http://schemas.microsoft.com/office/drawing/2014/main" id="{ECCFC23B-F75C-9EA3-8094-47FCDA62E8B7}"/>
              </a:ext>
            </a:extLst>
          </p:cNvPr>
          <p:cNvSpPr txBox="1">
            <a:spLocks/>
          </p:cNvSpPr>
          <p:nvPr/>
        </p:nvSpPr>
        <p:spPr>
          <a:xfrm>
            <a:off x="8659813" y="4667250"/>
            <a:ext cx="3886200" cy="1692275"/>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Text durch Lorem</a:t>
            </a:r>
          </a:p>
          <a:p>
            <a:pPr>
              <a:lnSpc>
                <a:spcPct val="100000"/>
              </a:lnSpc>
              <a:defRPr/>
            </a:pPr>
            <a:r>
              <a:rPr lang="de-CH" dirty="0"/>
              <a:t>At vero eos et accusam et justo duo dolores et ea rebum. Stet clita kasd gubergren, no sea takimata sanctus est Lorem ipsum dolor sit amet. </a:t>
            </a:r>
          </a:p>
        </p:txBody>
      </p:sp>
      <p:pic>
        <p:nvPicPr>
          <p:cNvPr id="39947" name="Grafik 12">
            <a:extLst>
              <a:ext uri="{FF2B5EF4-FFF2-40B4-BE49-F238E27FC236}">
                <a16:creationId xmlns:a16="http://schemas.microsoft.com/office/drawing/2014/main" id="{A02F5C33-EE82-E5A8-DD81-14B27994652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r="-2"/>
          <a:stretch>
            <a:fillRect/>
          </a:stretch>
        </p:blipFill>
        <p:spPr bwMode="auto">
          <a:xfrm>
            <a:off x="8662988" y="1885950"/>
            <a:ext cx="3886200" cy="259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62" name="think-cell data - do not delete" hidden="1">
            <a:extLst>
              <a:ext uri="{FF2B5EF4-FFF2-40B4-BE49-F238E27FC236}">
                <a16:creationId xmlns:a16="http://schemas.microsoft.com/office/drawing/2014/main" id="{C9A18B97-2BF6-BEA1-9F50-F682156B9DA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40962" name="think-cell data - do not delete" hidden="1">
                        <a:extLst>
                          <a:ext uri="{FF2B5EF4-FFF2-40B4-BE49-F238E27FC236}">
                            <a16:creationId xmlns:a16="http://schemas.microsoft.com/office/drawing/2014/main" id="{C9A18B97-2BF6-BEA1-9F50-F682156B9D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963" name="Titel 7">
            <a:extLst>
              <a:ext uri="{FF2B5EF4-FFF2-40B4-BE49-F238E27FC236}">
                <a16:creationId xmlns:a16="http://schemas.microsoft.com/office/drawing/2014/main" id="{97027316-139D-D677-0781-9A46B2F3EF04}"/>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Textboxen – 1 Spalte</a:t>
            </a:r>
          </a:p>
        </p:txBody>
      </p:sp>
      <p:sp>
        <p:nvSpPr>
          <p:cNvPr id="40964" name="Foliennummernplatzhalter 6">
            <a:extLst>
              <a:ext uri="{FF2B5EF4-FFF2-40B4-BE49-F238E27FC236}">
                <a16:creationId xmlns:a16="http://schemas.microsoft.com/office/drawing/2014/main" id="{B283EB45-443E-CB71-F126-B9F4A5977EE6}"/>
              </a:ext>
            </a:extLst>
          </p:cNvPr>
          <p:cNvSpPr>
            <a:spLocks noGrp="1" noChangeArrowheads="1"/>
          </p:cNvSpPr>
          <p:nvPr>
            <p:ph type="sldNum" sz="quarter" idx="13"/>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7D1EFE5-7B74-4DC9-B3A0-DB9AD5FE6CA2}" type="slidenum">
              <a:rPr lang="de-CH" smtClean="0"/>
              <a:pPr>
                <a:spcBef>
                  <a:spcPct val="0"/>
                </a:spcBef>
                <a:spcAft>
                  <a:spcPct val="0"/>
                </a:spcAft>
                <a:defRPr/>
              </a:pPr>
              <a:t>21</a:t>
            </a:fld>
            <a:endParaRPr lang="de-CH" altLang="de-DE" sz="1100" dirty="0">
              <a:solidFill>
                <a:srgbClr val="003CB4"/>
              </a:solidFill>
            </a:endParaRPr>
          </a:p>
        </p:txBody>
      </p:sp>
      <p:sp>
        <p:nvSpPr>
          <p:cNvPr id="40965" name="Fußzeilenplatzhalter 5">
            <a:extLst>
              <a:ext uri="{FF2B5EF4-FFF2-40B4-BE49-F238E27FC236}">
                <a16:creationId xmlns:a16="http://schemas.microsoft.com/office/drawing/2014/main" id="{91924739-97DE-F464-3994-F94419ECCCEF}"/>
              </a:ext>
            </a:extLst>
          </p:cNvPr>
          <p:cNvSpPr>
            <a:spLocks noGrp="1" noChangeArrowheads="1"/>
          </p:cNvSpPr>
          <p:nvPr>
            <p:ph type="ftr" sz="quarter" idx="14"/>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40966" name="Textplatzhalter 8">
            <a:extLst>
              <a:ext uri="{FF2B5EF4-FFF2-40B4-BE49-F238E27FC236}">
                <a16:creationId xmlns:a16="http://schemas.microsoft.com/office/drawing/2014/main" id="{B39ACFCE-7967-A6DC-3DFF-B06F55A03121}"/>
              </a:ext>
            </a:extLst>
          </p:cNvPr>
          <p:cNvSpPr>
            <a:spLocks noGrp="1" noChangeArrowheads="1"/>
          </p:cNvSpPr>
          <p:nvPr>
            <p:ph type="body" idx="12"/>
          </p:nvPr>
        </p:nvSpPr>
        <p:spPr>
          <a:xfrm>
            <a:off x="306388" y="1885950"/>
            <a:ext cx="10180637" cy="4748213"/>
          </a:xfrm>
        </p:spPr>
        <p:txBody>
          <a:bodyPr/>
          <a:lstStyle/>
          <a:p>
            <a:pPr defTabSz="284163" eaLnBrk="1" hangingPunct="1">
              <a:spcBef>
                <a:spcPct val="0"/>
              </a:spcBef>
              <a:spcAft>
                <a:spcPct val="0"/>
              </a:spcAft>
            </a:pPr>
            <a:r>
              <a:rPr lang="de-CH" altLang="de-DE" dirty="0">
                <a:cs typeface="Aharoni" panose="020F0502020204030204" pitchFamily="2" charset="-79"/>
              </a:rPr>
              <a:t>At vero eos et accusam et justo duo dolores et ea rebum. Stet clita kasd gubergren, no sea takimata sanctus est Lorem ipsum dolor sit amet. At vero eos et accusam et justo duo dolores et ea rebum. Stet clita kasd gubergren, </a:t>
            </a:r>
            <a:br>
              <a:rPr lang="de-CH" altLang="de-DE" dirty="0">
                <a:cs typeface="Aharoni" panose="020F0502020204030204" pitchFamily="2" charset="-79"/>
              </a:rPr>
            </a:br>
            <a:r>
              <a:rPr lang="de-CH" altLang="de-DE" dirty="0">
                <a:cs typeface="Aharoni" panose="020F0502020204030204" pitchFamily="2" charset="-79"/>
              </a:rPr>
              <a:t>no sea takimata sanctus est Lorem ipsum dolor sit amet. At vero eos et accusam et justo duo dolores et ea rebum. Stet clita kasd gubergren, no sea takimata sanctus est Lorem ipsum dolor sit amet. </a:t>
            </a:r>
          </a:p>
          <a:p>
            <a:pPr defTabSz="284163" eaLnBrk="1" hangingPunct="1">
              <a:spcBef>
                <a:spcPct val="0"/>
              </a:spcBef>
              <a:spcAft>
                <a:spcPct val="0"/>
              </a:spcAft>
            </a:pPr>
            <a:r>
              <a:rPr lang="de-CH" altLang="de-DE" dirty="0">
                <a:cs typeface="Aharoni" panose="020F0502020204030204" pitchFamily="2" charset="-79"/>
              </a:rPr>
              <a:t>At vero eos et accusam et justo duo dolores et ea rebum. Stet clita kasd gubergren, no sea takimata sanctus est Lorem ipsum dolor sit amet. At vero eos et accusam et justo duo dolores et ea rebum. Stet clita kasd gubergren, </a:t>
            </a:r>
            <a:br>
              <a:rPr lang="de-CH" altLang="de-DE" dirty="0">
                <a:cs typeface="Aharoni" panose="020F0502020204030204" pitchFamily="2" charset="-79"/>
              </a:rPr>
            </a:br>
            <a:r>
              <a:rPr lang="de-CH" altLang="de-DE" dirty="0">
                <a:cs typeface="Aharoni" panose="020F0502020204030204" pitchFamily="2" charset="-79"/>
              </a:rPr>
              <a:t>no sea takimata sanctus est Lorem ipsum dolor sit amet. </a:t>
            </a: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r>
              <a:rPr lang="de-CH" altLang="de-DE" dirty="0">
                <a:cs typeface="Aharoni" panose="020F0502020204030204" pitchFamily="2" charset="-79"/>
              </a:rPr>
              <a:t>At vero eos et accusam et justo duo dolores et ea rebum. Stet clita kasd gubergren, no sea takimata sanctus est Lorem ipsum dolor sit amet. At vero eos et accusam et justo duo dolores et ea rebum. Stet clita kasd gubergren, </a:t>
            </a:r>
          </a:p>
          <a:p>
            <a:pPr defTabSz="284163" eaLnBrk="1" hangingPunct="1">
              <a:spcBef>
                <a:spcPct val="0"/>
              </a:spcBef>
              <a:spcAft>
                <a:spcPct val="0"/>
              </a:spcAft>
            </a:pPr>
            <a:r>
              <a:rPr lang="de-CH" altLang="de-DE" dirty="0">
                <a:cs typeface="Aharoni" panose="020F0502020204030204" pitchFamily="2" charset="-79"/>
              </a:rPr>
              <a:t>no sea takimata sanctus est Lorem ipsum dolor sit amet. </a:t>
            </a:r>
          </a:p>
          <a:p>
            <a:pPr defTabSz="284163" eaLnBrk="1" hangingPunct="1">
              <a:spcBef>
                <a:spcPct val="0"/>
              </a:spcBef>
              <a:spcAft>
                <a:spcPct val="0"/>
              </a:spcAft>
            </a:pPr>
            <a:r>
              <a:rPr lang="de-CH" altLang="de-DE" dirty="0">
                <a:cs typeface="Aharoni" panose="020F0502020204030204" pitchFamily="2" charset="-79"/>
              </a:rPr>
              <a:t>At vero eos et accusam et justo duo dolores et ea rebum. Stet clita kasd gubergren, no sea takimata sanctus est Lorem ipsum dolor sit amet. </a:t>
            </a: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986" name="think-cell data - do not delete" hidden="1">
            <a:extLst>
              <a:ext uri="{FF2B5EF4-FFF2-40B4-BE49-F238E27FC236}">
                <a16:creationId xmlns:a16="http://schemas.microsoft.com/office/drawing/2014/main" id="{B5178BFA-F49E-2612-E32F-2BE4453F05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41986" name="think-cell data - do not delete" hidden="1">
                        <a:extLst>
                          <a:ext uri="{FF2B5EF4-FFF2-40B4-BE49-F238E27FC236}">
                            <a16:creationId xmlns:a16="http://schemas.microsoft.com/office/drawing/2014/main" id="{B5178BFA-F49E-2612-E32F-2BE4453F051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1987" name="Titel 7">
            <a:extLst>
              <a:ext uri="{FF2B5EF4-FFF2-40B4-BE49-F238E27FC236}">
                <a16:creationId xmlns:a16="http://schemas.microsoft.com/office/drawing/2014/main" id="{29269193-3513-015A-8AC9-9099197A229B}"/>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Textboxen – 2 Spalten</a:t>
            </a:r>
          </a:p>
        </p:txBody>
      </p:sp>
      <p:sp>
        <p:nvSpPr>
          <p:cNvPr id="41988" name="Foliennummernplatzhalter 11">
            <a:extLst>
              <a:ext uri="{FF2B5EF4-FFF2-40B4-BE49-F238E27FC236}">
                <a16:creationId xmlns:a16="http://schemas.microsoft.com/office/drawing/2014/main" id="{36BE2B69-B893-1A22-3B3E-4E90D715CCA7}"/>
              </a:ext>
            </a:extLst>
          </p:cNvPr>
          <p:cNvSpPr>
            <a:spLocks noGrp="1" noChangeArrowheads="1"/>
          </p:cNvSpPr>
          <p:nvPr>
            <p:ph type="sldNum" sz="quarter" idx="16"/>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1B41B96-C24D-47CE-B205-C22431F12D8E}" type="slidenum">
              <a:rPr lang="de-CH" smtClean="0"/>
              <a:pPr>
                <a:spcBef>
                  <a:spcPct val="0"/>
                </a:spcBef>
                <a:spcAft>
                  <a:spcPct val="0"/>
                </a:spcAft>
                <a:defRPr/>
              </a:pPr>
              <a:t>22</a:t>
            </a:fld>
            <a:endParaRPr lang="de-CH" altLang="de-DE" sz="1100" dirty="0">
              <a:solidFill>
                <a:srgbClr val="003CB4"/>
              </a:solidFill>
            </a:endParaRPr>
          </a:p>
        </p:txBody>
      </p:sp>
      <p:sp>
        <p:nvSpPr>
          <p:cNvPr id="41989" name="Fußzeilenplatzhalter 10">
            <a:extLst>
              <a:ext uri="{FF2B5EF4-FFF2-40B4-BE49-F238E27FC236}">
                <a16:creationId xmlns:a16="http://schemas.microsoft.com/office/drawing/2014/main" id="{10CD018A-599C-16F0-3693-AE07ED75385C}"/>
              </a:ext>
            </a:extLst>
          </p:cNvPr>
          <p:cNvSpPr>
            <a:spLocks noGrp="1" noChangeArrowheads="1"/>
          </p:cNvSpPr>
          <p:nvPr>
            <p:ph type="ftr" sz="quarter" idx="17"/>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41990" name="Textplatzhalter 8">
            <a:extLst>
              <a:ext uri="{FF2B5EF4-FFF2-40B4-BE49-F238E27FC236}">
                <a16:creationId xmlns:a16="http://schemas.microsoft.com/office/drawing/2014/main" id="{11E79A32-EC8E-DFA3-716A-A7377644120F}"/>
              </a:ext>
            </a:extLst>
          </p:cNvPr>
          <p:cNvSpPr>
            <a:spLocks noGrp="1" noChangeArrowheads="1"/>
          </p:cNvSpPr>
          <p:nvPr>
            <p:ph idx="12"/>
          </p:nvPr>
        </p:nvSpPr>
        <p:spPr>
          <a:xfrm>
            <a:off x="306388" y="2532063"/>
            <a:ext cx="5976937" cy="4102100"/>
          </a:xfrm>
        </p:spPr>
        <p:txBody>
          <a:bodyPr/>
          <a:lstStyle/>
          <a:p>
            <a:pPr defTabSz="284163" eaLnBrk="1" hangingPunct="1">
              <a:spcBef>
                <a:spcPct val="0"/>
              </a:spcBef>
              <a:spcAft>
                <a:spcPct val="0"/>
              </a:spcAft>
            </a:pPr>
            <a:r>
              <a:rPr lang="de-CH" altLang="de-DE" dirty="0">
                <a:cs typeface="Aharoni" panose="020F0502020204030204" pitchFamily="2" charset="-79"/>
              </a:rPr>
              <a:t>At vero eos et accusam et justo duo dolores et ea rebum. Stet clita kasd gubergren, no sea takimata sanctus est Lorem ipsum dolor sit amet. At vero eos et accusam et justo duo dolores et ea rebum. Stet clita kasd gubergren, no sea takimata sanctus est Lorem ipsum dolor sit amet. At vero eos et accusam et justo duo dolores et ea rebum. Stet clita kasd gubergren, no sea takimata sanctus est Lorem ipsum dolor sit amet. </a:t>
            </a:r>
          </a:p>
          <a:p>
            <a:pPr defTabSz="284163" eaLnBrk="1" hangingPunct="1">
              <a:spcBef>
                <a:spcPct val="0"/>
              </a:spcBef>
              <a:spcAft>
                <a:spcPct val="0"/>
              </a:spcAft>
            </a:pPr>
            <a:r>
              <a:rPr lang="de-CH" altLang="de-DE" dirty="0">
                <a:cs typeface="Aharoni" panose="020F0502020204030204" pitchFamily="2" charset="-79"/>
              </a:rPr>
              <a:t>At vero eos et accusam et justo duo dolores et ea rebum. Stet clita kasd gubergren, no sea takimata sanctus est Lorem ipsum dolor sit amet. At vero eos et accusam et justo duo dolores et ea rebum. Stet clita kasd gubergren, no sea takimata sanctus est Lorem ipsum dolor sit amet. </a:t>
            </a:r>
          </a:p>
          <a:p>
            <a:pPr defTabSz="284163" eaLnBrk="1" hangingPunct="1">
              <a:spcBef>
                <a:spcPct val="0"/>
              </a:spcBef>
              <a:spcAft>
                <a:spcPct val="0"/>
              </a:spcAft>
            </a:pPr>
            <a:endParaRPr lang="de-CH" altLang="de-DE" dirty="0">
              <a:cs typeface="Aharoni" panose="020F0502020204030204" pitchFamily="2" charset="-79"/>
            </a:endParaRPr>
          </a:p>
        </p:txBody>
      </p:sp>
      <p:sp>
        <p:nvSpPr>
          <p:cNvPr id="41991" name="Inhaltsplatzhalter 1">
            <a:extLst>
              <a:ext uri="{FF2B5EF4-FFF2-40B4-BE49-F238E27FC236}">
                <a16:creationId xmlns:a16="http://schemas.microsoft.com/office/drawing/2014/main" id="{B04E6AF7-326F-7CDC-B791-40F2CDAB834B}"/>
              </a:ext>
            </a:extLst>
          </p:cNvPr>
          <p:cNvSpPr>
            <a:spLocks noGrp="1" noChangeArrowheads="1"/>
          </p:cNvSpPr>
          <p:nvPr>
            <p:ph sz="quarter" idx="13"/>
          </p:nvPr>
        </p:nvSpPr>
        <p:spPr>
          <a:xfrm>
            <a:off x="6572250" y="2532063"/>
            <a:ext cx="5976938" cy="4102100"/>
          </a:xfrm>
        </p:spPr>
        <p:txBody>
          <a:bodyPr/>
          <a:lstStyle/>
          <a:p>
            <a:pPr defTabSz="284163" eaLnBrk="1" hangingPunct="1">
              <a:spcBef>
                <a:spcPct val="0"/>
              </a:spcBef>
              <a:spcAft>
                <a:spcPct val="0"/>
              </a:spcAft>
            </a:pPr>
            <a:r>
              <a:rPr lang="de-CH" altLang="de-DE" dirty="0">
                <a:cs typeface="Aharoni" panose="020F0502020204030204" pitchFamily="2" charset="-79"/>
              </a:rPr>
              <a:t>At vero eos et accusam et justo duo dolores et ea rebum. Stet clita kasd gubergren, no sea takimata sanctus est Lorem ipsum dolor sit amet. At vero eos et accusam et justo duo dolores et ea rebum. Stet clita kasd gubergren, no sea takimata sanctus est Lorem ipsum dolor sit amet. </a:t>
            </a:r>
          </a:p>
          <a:p>
            <a:pPr defTabSz="284163" eaLnBrk="1" hangingPunct="1">
              <a:spcBef>
                <a:spcPct val="0"/>
              </a:spcBef>
              <a:spcAft>
                <a:spcPct val="0"/>
              </a:spcAft>
            </a:pPr>
            <a:r>
              <a:rPr lang="de-CH" altLang="de-DE" dirty="0">
                <a:cs typeface="Aharoni" panose="020F0502020204030204" pitchFamily="2" charset="-79"/>
              </a:rPr>
              <a:t>At vero eos et accusam et justo duo dolores et ea rebum. Stet clita kasd gubergren, no sea takimata sanctus est Lorem ipsum dolor sit amet. . At vero eos et accusam et justo duo dolores et ea rebum. Stet clita kasd gubergren, no sea takimata sanctus est Lorem ipsum dolor sit amet. </a:t>
            </a: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p:txBody>
      </p:sp>
      <p:sp>
        <p:nvSpPr>
          <p:cNvPr id="41992" name="Textplatzhalter 2">
            <a:extLst>
              <a:ext uri="{FF2B5EF4-FFF2-40B4-BE49-F238E27FC236}">
                <a16:creationId xmlns:a16="http://schemas.microsoft.com/office/drawing/2014/main" id="{2F352871-3DC1-B07C-D5C9-B01D5F0EC230}"/>
              </a:ext>
            </a:extLst>
          </p:cNvPr>
          <p:cNvSpPr>
            <a:spLocks noGrp="1" noChangeArrowheads="1"/>
          </p:cNvSpPr>
          <p:nvPr>
            <p:ph type="body" sz="quarter" idx="14"/>
          </p:nvPr>
        </p:nvSpPr>
        <p:spPr>
          <a:xfrm>
            <a:off x="306388" y="1885950"/>
            <a:ext cx="5976937" cy="646113"/>
          </a:xfrm>
        </p:spPr>
        <p:txBody>
          <a:bodyPr/>
          <a:lstStyle/>
          <a:p>
            <a:pPr eaLnBrk="1" hangingPunct="1">
              <a:spcBef>
                <a:spcPct val="0"/>
              </a:spcBef>
              <a:spcAft>
                <a:spcPct val="0"/>
              </a:spcAft>
            </a:pPr>
            <a:r>
              <a:rPr lang="de-CH" altLang="de-DE" dirty="0">
                <a:cs typeface="Aharoni" panose="020F0502020204030204" pitchFamily="2" charset="-79"/>
              </a:rPr>
              <a:t>Überschrift</a:t>
            </a:r>
          </a:p>
        </p:txBody>
      </p:sp>
      <p:sp>
        <p:nvSpPr>
          <p:cNvPr id="41993" name="Textplatzhalter 3">
            <a:extLst>
              <a:ext uri="{FF2B5EF4-FFF2-40B4-BE49-F238E27FC236}">
                <a16:creationId xmlns:a16="http://schemas.microsoft.com/office/drawing/2014/main" id="{E981EB7B-9D94-9951-9B7D-2CDC13F35610}"/>
              </a:ext>
            </a:extLst>
          </p:cNvPr>
          <p:cNvSpPr>
            <a:spLocks noGrp="1" noChangeArrowheads="1"/>
          </p:cNvSpPr>
          <p:nvPr>
            <p:ph type="body" sz="quarter" idx="15"/>
          </p:nvPr>
        </p:nvSpPr>
        <p:spPr>
          <a:xfrm>
            <a:off x="6572250" y="1885950"/>
            <a:ext cx="5976938" cy="646113"/>
          </a:xfrm>
        </p:spPr>
        <p:txBody>
          <a:bodyPr/>
          <a:lstStyle/>
          <a:p>
            <a:pPr eaLnBrk="1" hangingPunct="1">
              <a:spcBef>
                <a:spcPct val="0"/>
              </a:spcBef>
              <a:spcAft>
                <a:spcPct val="0"/>
              </a:spcAft>
            </a:pPr>
            <a:r>
              <a:rPr lang="de-CH" altLang="de-DE" dirty="0">
                <a:cs typeface="Aharoni" panose="020F0502020204030204" pitchFamily="2" charset="-79"/>
              </a:rPr>
              <a:t>Überschrift</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010" name="think-cell data - do not delete" hidden="1">
            <a:extLst>
              <a:ext uri="{FF2B5EF4-FFF2-40B4-BE49-F238E27FC236}">
                <a16:creationId xmlns:a16="http://schemas.microsoft.com/office/drawing/2014/main" id="{0351159B-4288-F9E1-FB2B-A9680140698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43010" name="think-cell data - do not delete" hidden="1">
                        <a:extLst>
                          <a:ext uri="{FF2B5EF4-FFF2-40B4-BE49-F238E27FC236}">
                            <a16:creationId xmlns:a16="http://schemas.microsoft.com/office/drawing/2014/main" id="{0351159B-4288-F9E1-FB2B-A968014069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3011" name="Titel 7">
            <a:extLst>
              <a:ext uri="{FF2B5EF4-FFF2-40B4-BE49-F238E27FC236}">
                <a16:creationId xmlns:a16="http://schemas.microsoft.com/office/drawing/2014/main" id="{532CC6C1-EFB7-00C8-078F-18149B74DB19}"/>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Textboxen – 3 Spalten</a:t>
            </a:r>
          </a:p>
        </p:txBody>
      </p:sp>
      <p:sp>
        <p:nvSpPr>
          <p:cNvPr id="43012" name="Foliennummernplatzhalter 13">
            <a:extLst>
              <a:ext uri="{FF2B5EF4-FFF2-40B4-BE49-F238E27FC236}">
                <a16:creationId xmlns:a16="http://schemas.microsoft.com/office/drawing/2014/main" id="{5CB0E8B4-602B-09CC-BBB0-D56EAB881E28}"/>
              </a:ext>
            </a:extLst>
          </p:cNvPr>
          <p:cNvSpPr>
            <a:spLocks noGrp="1" noChangeArrowheads="1"/>
          </p:cNvSpPr>
          <p:nvPr>
            <p:ph type="sldNum" sz="quarter" idx="18"/>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7B0CBD8B-4CC1-4D60-B277-93F47DDD902C}" type="slidenum">
              <a:rPr lang="de-CH" smtClean="0"/>
              <a:pPr>
                <a:spcBef>
                  <a:spcPct val="0"/>
                </a:spcBef>
                <a:spcAft>
                  <a:spcPct val="0"/>
                </a:spcAft>
                <a:defRPr/>
              </a:pPr>
              <a:t>23</a:t>
            </a:fld>
            <a:endParaRPr lang="de-CH" altLang="de-DE" sz="1100" dirty="0">
              <a:solidFill>
                <a:srgbClr val="003CB4"/>
              </a:solidFill>
            </a:endParaRPr>
          </a:p>
        </p:txBody>
      </p:sp>
      <p:sp>
        <p:nvSpPr>
          <p:cNvPr id="43013" name="Fußzeilenplatzhalter 6">
            <a:extLst>
              <a:ext uri="{FF2B5EF4-FFF2-40B4-BE49-F238E27FC236}">
                <a16:creationId xmlns:a16="http://schemas.microsoft.com/office/drawing/2014/main" id="{D0324284-42EA-D865-2B04-AD8C388B5D85}"/>
              </a:ext>
            </a:extLst>
          </p:cNvPr>
          <p:cNvSpPr>
            <a:spLocks noGrp="1" noChangeArrowheads="1"/>
          </p:cNvSpPr>
          <p:nvPr>
            <p:ph type="ftr" sz="quarter" idx="19"/>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43014" name="Textplatzhalter 8">
            <a:extLst>
              <a:ext uri="{FF2B5EF4-FFF2-40B4-BE49-F238E27FC236}">
                <a16:creationId xmlns:a16="http://schemas.microsoft.com/office/drawing/2014/main" id="{88DA2277-87C5-675C-C3D1-373793E49EB6}"/>
              </a:ext>
            </a:extLst>
          </p:cNvPr>
          <p:cNvSpPr>
            <a:spLocks noGrp="1" noChangeArrowheads="1"/>
          </p:cNvSpPr>
          <p:nvPr>
            <p:ph idx="12"/>
          </p:nvPr>
        </p:nvSpPr>
        <p:spPr>
          <a:xfrm>
            <a:off x="306388" y="2532063"/>
            <a:ext cx="3889375" cy="4102100"/>
          </a:xfrm>
        </p:spPr>
        <p:txBody>
          <a:bodyPr/>
          <a:lstStyle/>
          <a:p>
            <a:pPr defTabSz="284163" eaLnBrk="1" hangingPunct="1">
              <a:spcBef>
                <a:spcPct val="0"/>
              </a:spcBef>
              <a:spcAft>
                <a:spcPct val="0"/>
              </a:spcAft>
            </a:pPr>
            <a:r>
              <a:rPr lang="de-CH" altLang="de-DE" dirty="0">
                <a:cs typeface="Aharoni" panose="020F0502020204030204" pitchFamily="2" charset="-79"/>
              </a:rPr>
              <a:t>At vero eos et accusam et justo duo dolores et ea rebum. Stet clita kasd gubergren, no sea takimata sanctus est Lorem ipsum dolor sit amet. At vero eos et accusam et justo duo dolores et ea rebum. Stet clita kasd gubergren, no sea takimata sanctus est Lorem ipsum dolor sit amet. At vero eos et accusam et justo duo dolores et ea rebum. Stet clita kasd gubergren, no sea takimata sanctus est Lorem ipsum dolor sit amet. </a:t>
            </a:r>
          </a:p>
          <a:p>
            <a:pPr defTabSz="284163" eaLnBrk="1" hangingPunct="1">
              <a:spcBef>
                <a:spcPct val="0"/>
              </a:spcBef>
              <a:spcAft>
                <a:spcPct val="0"/>
              </a:spcAft>
            </a:pPr>
            <a:r>
              <a:rPr lang="de-CH" altLang="de-DE" dirty="0">
                <a:cs typeface="Aharoni" panose="020F0502020204030204" pitchFamily="2" charset="-79"/>
              </a:rPr>
              <a:t>At vero eos et</a:t>
            </a:r>
          </a:p>
        </p:txBody>
      </p:sp>
      <p:sp>
        <p:nvSpPr>
          <p:cNvPr id="43015" name="Inhaltsplatzhalter 1">
            <a:extLst>
              <a:ext uri="{FF2B5EF4-FFF2-40B4-BE49-F238E27FC236}">
                <a16:creationId xmlns:a16="http://schemas.microsoft.com/office/drawing/2014/main" id="{F1E45D57-4469-6A66-5175-9814E9BFF2C6}"/>
              </a:ext>
            </a:extLst>
          </p:cNvPr>
          <p:cNvSpPr>
            <a:spLocks noGrp="1" noChangeArrowheads="1"/>
          </p:cNvSpPr>
          <p:nvPr>
            <p:ph sz="quarter" idx="13"/>
          </p:nvPr>
        </p:nvSpPr>
        <p:spPr>
          <a:xfrm>
            <a:off x="4483100" y="2532063"/>
            <a:ext cx="3889375" cy="4102100"/>
          </a:xfrm>
        </p:spPr>
        <p:txBody>
          <a:bodyPr/>
          <a:lstStyle/>
          <a:p>
            <a:pPr defTabSz="284163" eaLnBrk="1" hangingPunct="1">
              <a:spcBef>
                <a:spcPct val="0"/>
              </a:spcBef>
              <a:spcAft>
                <a:spcPct val="0"/>
              </a:spcAft>
            </a:pPr>
            <a:r>
              <a:rPr lang="de-CH" altLang="de-DE" dirty="0">
                <a:cs typeface="Aharoni" panose="020F0502020204030204" pitchFamily="2" charset="-79"/>
              </a:rPr>
              <a:t>At vero eos et accusam et justo duo dolores et ea rebum. Stet clita kasd gubergren, no sea takimata sanctus est Lorem ipsum dolor sit amet. At vero eos et accusam et justo duo dolores et ea rebum. Stet clita kasd gubergren, no sea takimata sanctus est Lorem ipsum dolor sit amet. </a:t>
            </a:r>
          </a:p>
          <a:p>
            <a:pPr defTabSz="284163" eaLnBrk="1" hangingPunct="1">
              <a:spcBef>
                <a:spcPct val="0"/>
              </a:spcBef>
              <a:spcAft>
                <a:spcPct val="0"/>
              </a:spcAft>
            </a:pPr>
            <a:r>
              <a:rPr lang="de-CH" altLang="de-DE" dirty="0">
                <a:cs typeface="Aharoni" panose="020F0502020204030204" pitchFamily="2" charset="-79"/>
              </a:rPr>
              <a:t>At vero eos et accusam et justo duo dolores et ea rebum. Stet clita kasd gubergren, no sea takimata sanctus est Lorem ipsum dolor sit amet. . At vero eos et accusam et justo duo dolores et ea rebum. Stet clita kasd gubergren, no sea takimata sanctus est Lorem ipsum dolor sit amet. </a:t>
            </a: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p:txBody>
      </p:sp>
      <p:sp>
        <p:nvSpPr>
          <p:cNvPr id="43016" name="Inhaltsplatzhalter 9">
            <a:extLst>
              <a:ext uri="{FF2B5EF4-FFF2-40B4-BE49-F238E27FC236}">
                <a16:creationId xmlns:a16="http://schemas.microsoft.com/office/drawing/2014/main" id="{4D623948-E50E-82CF-5173-49B7C684BA3E}"/>
              </a:ext>
            </a:extLst>
          </p:cNvPr>
          <p:cNvSpPr>
            <a:spLocks noGrp="1" noChangeArrowheads="1"/>
          </p:cNvSpPr>
          <p:nvPr>
            <p:ph sz="quarter" idx="14"/>
          </p:nvPr>
        </p:nvSpPr>
        <p:spPr>
          <a:xfrm>
            <a:off x="8659813" y="2532063"/>
            <a:ext cx="3889375" cy="4102100"/>
          </a:xfrm>
        </p:spPr>
        <p:txBody>
          <a:bodyPr/>
          <a:lstStyle/>
          <a:p>
            <a:pPr defTabSz="284163" eaLnBrk="1" hangingPunct="1">
              <a:spcBef>
                <a:spcPct val="0"/>
              </a:spcBef>
              <a:spcAft>
                <a:spcPct val="0"/>
              </a:spcAft>
            </a:pPr>
            <a:r>
              <a:rPr lang="de-CH" altLang="de-DE" dirty="0">
                <a:cs typeface="Aharoni" panose="020F0502020204030204" pitchFamily="2" charset="-79"/>
              </a:rPr>
              <a:t>accusam et justo duo dolores et ea rebum. Stet clita kasd gubergren, no sea takimata sanctus est Lorem ipsum dolor sit amet. At vero eos et accusam et justo duo dolores et ea rebum. Stet clita kasd gubergren, no sea takimata sanctus est Lorem ipsum dolor sit amet. </a:t>
            </a:r>
          </a:p>
          <a:p>
            <a:pPr defTabSz="284163" eaLnBrk="1" hangingPunct="1">
              <a:spcBef>
                <a:spcPct val="0"/>
              </a:spcBef>
              <a:spcAft>
                <a:spcPct val="0"/>
              </a:spcAft>
            </a:pPr>
            <a:endParaRPr lang="de-CH" altLang="de-DE" dirty="0">
              <a:cs typeface="Aharoni" panose="020F0502020204030204" pitchFamily="2" charset="-79"/>
            </a:endParaRPr>
          </a:p>
        </p:txBody>
      </p:sp>
      <p:sp>
        <p:nvSpPr>
          <p:cNvPr id="43017" name="Textplatzhalter 2">
            <a:extLst>
              <a:ext uri="{FF2B5EF4-FFF2-40B4-BE49-F238E27FC236}">
                <a16:creationId xmlns:a16="http://schemas.microsoft.com/office/drawing/2014/main" id="{8FBB8E4A-7A1F-7649-58C8-DAB1E5ADAF94}"/>
              </a:ext>
            </a:extLst>
          </p:cNvPr>
          <p:cNvSpPr>
            <a:spLocks noGrp="1" noChangeArrowheads="1"/>
          </p:cNvSpPr>
          <p:nvPr>
            <p:ph type="body" sz="quarter" idx="15"/>
          </p:nvPr>
        </p:nvSpPr>
        <p:spPr>
          <a:xfrm>
            <a:off x="306388" y="1885950"/>
            <a:ext cx="3889375" cy="646113"/>
          </a:xfrm>
        </p:spPr>
        <p:txBody>
          <a:bodyPr/>
          <a:lstStyle/>
          <a:p>
            <a:pPr eaLnBrk="1" hangingPunct="1">
              <a:spcBef>
                <a:spcPct val="0"/>
              </a:spcBef>
              <a:spcAft>
                <a:spcPct val="0"/>
              </a:spcAft>
            </a:pPr>
            <a:r>
              <a:rPr lang="de-CH" altLang="de-DE" dirty="0">
                <a:cs typeface="Aharoni" panose="020F0502020204030204" pitchFamily="2" charset="-79"/>
              </a:rPr>
              <a:t>Überschrift</a:t>
            </a:r>
          </a:p>
        </p:txBody>
      </p:sp>
      <p:sp>
        <p:nvSpPr>
          <p:cNvPr id="43018" name="Textplatzhalter 3">
            <a:extLst>
              <a:ext uri="{FF2B5EF4-FFF2-40B4-BE49-F238E27FC236}">
                <a16:creationId xmlns:a16="http://schemas.microsoft.com/office/drawing/2014/main" id="{2CFA9621-A44C-1B04-A9F6-572846AFC4D3}"/>
              </a:ext>
            </a:extLst>
          </p:cNvPr>
          <p:cNvSpPr>
            <a:spLocks noGrp="1" noChangeArrowheads="1"/>
          </p:cNvSpPr>
          <p:nvPr>
            <p:ph type="body" sz="quarter" idx="16"/>
          </p:nvPr>
        </p:nvSpPr>
        <p:spPr>
          <a:xfrm>
            <a:off x="4483100" y="1885950"/>
            <a:ext cx="3889375" cy="646113"/>
          </a:xfrm>
        </p:spPr>
        <p:txBody>
          <a:bodyPr/>
          <a:lstStyle/>
          <a:p>
            <a:pPr eaLnBrk="1" hangingPunct="1">
              <a:spcBef>
                <a:spcPct val="0"/>
              </a:spcBef>
              <a:spcAft>
                <a:spcPct val="0"/>
              </a:spcAft>
            </a:pPr>
            <a:r>
              <a:rPr lang="de-CH" altLang="de-DE" dirty="0">
                <a:cs typeface="Aharoni" panose="020F0502020204030204" pitchFamily="2" charset="-79"/>
              </a:rPr>
              <a:t>Überschrift</a:t>
            </a:r>
          </a:p>
        </p:txBody>
      </p:sp>
      <p:sp>
        <p:nvSpPr>
          <p:cNvPr id="43019" name="Textplatzhalter 4">
            <a:extLst>
              <a:ext uri="{FF2B5EF4-FFF2-40B4-BE49-F238E27FC236}">
                <a16:creationId xmlns:a16="http://schemas.microsoft.com/office/drawing/2014/main" id="{C793B087-DFB7-2BCB-EC49-0E78D1CF9FD0}"/>
              </a:ext>
            </a:extLst>
          </p:cNvPr>
          <p:cNvSpPr>
            <a:spLocks noGrp="1" noChangeArrowheads="1"/>
          </p:cNvSpPr>
          <p:nvPr>
            <p:ph type="body" sz="quarter" idx="17"/>
          </p:nvPr>
        </p:nvSpPr>
        <p:spPr>
          <a:xfrm>
            <a:off x="8659813" y="1885950"/>
            <a:ext cx="3889375" cy="646113"/>
          </a:xfrm>
        </p:spPr>
        <p:txBody>
          <a:bodyPr/>
          <a:lstStyle/>
          <a:p>
            <a:pPr eaLnBrk="1" hangingPunct="1">
              <a:spcBef>
                <a:spcPct val="0"/>
              </a:spcBef>
              <a:spcAft>
                <a:spcPct val="0"/>
              </a:spcAft>
            </a:pPr>
            <a:r>
              <a:rPr lang="de-CH" altLang="de-DE" dirty="0">
                <a:cs typeface="Aharoni" panose="020F0502020204030204" pitchFamily="2" charset="-79"/>
              </a:rPr>
              <a:t>Überschrift</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034" name="Objekt 4" hidden="1">
            <a:extLst>
              <a:ext uri="{FF2B5EF4-FFF2-40B4-BE49-F238E27FC236}">
                <a16:creationId xmlns:a16="http://schemas.microsoft.com/office/drawing/2014/main" id="{8649B3DD-15BD-1866-BB35-BBF7AA10DE9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44034" name="Objekt 4" hidden="1">
                        <a:extLst>
                          <a:ext uri="{FF2B5EF4-FFF2-40B4-BE49-F238E27FC236}">
                            <a16:creationId xmlns:a16="http://schemas.microsoft.com/office/drawing/2014/main" id="{8649B3DD-15BD-1866-BB35-BBF7AA10DE9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5D50AAF3-3B1D-2BC7-D18D-A31CAAB41A6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44036" name="Titel 14">
            <a:extLst>
              <a:ext uri="{FF2B5EF4-FFF2-40B4-BE49-F238E27FC236}">
                <a16:creationId xmlns:a16="http://schemas.microsoft.com/office/drawing/2014/main" id="{7EB8E316-ACBD-5924-3380-F74F374C2DD3}"/>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Textboxen – 4 Spalten</a:t>
            </a:r>
          </a:p>
        </p:txBody>
      </p:sp>
      <p:sp>
        <p:nvSpPr>
          <p:cNvPr id="44037" name="Foliennummernplatzhalter 8">
            <a:extLst>
              <a:ext uri="{FF2B5EF4-FFF2-40B4-BE49-F238E27FC236}">
                <a16:creationId xmlns:a16="http://schemas.microsoft.com/office/drawing/2014/main" id="{0B522FFE-F552-F654-D9CB-84902DE3F10D}"/>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D461BC05-9966-48AE-8F3C-39C477F704EB}" type="slidenum">
              <a:rPr lang="de-CH" altLang="de-DE" sz="1100" smtClean="0">
                <a:solidFill>
                  <a:srgbClr val="003CB4"/>
                </a:solidFill>
                <a:latin typeface="Frutiger for ZKB Light" panose="020B0303030504020204" pitchFamily="34" charset="0"/>
              </a:rPr>
              <a:pPr>
                <a:spcBef>
                  <a:spcPct val="0"/>
                </a:spcBef>
                <a:spcAft>
                  <a:spcPct val="0"/>
                </a:spcAft>
              </a:pPr>
              <a:t>24</a:t>
            </a:fld>
            <a:endParaRPr lang="de-CH" altLang="de-DE" sz="1100" dirty="0">
              <a:solidFill>
                <a:srgbClr val="003CB4"/>
              </a:solidFill>
              <a:latin typeface="Frutiger for ZKB Light" panose="020B0303030504020204" pitchFamily="34" charset="0"/>
            </a:endParaRPr>
          </a:p>
        </p:txBody>
      </p:sp>
      <p:sp>
        <p:nvSpPr>
          <p:cNvPr id="44038" name="Fußzeilenplatzhalter 7">
            <a:extLst>
              <a:ext uri="{FF2B5EF4-FFF2-40B4-BE49-F238E27FC236}">
                <a16:creationId xmlns:a16="http://schemas.microsoft.com/office/drawing/2014/main" id="{A752EDD3-F02E-E5AE-7EE7-D9C76C98D9F9}"/>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44039" name="Inhaltsplatzhalter 12">
            <a:extLst>
              <a:ext uri="{FF2B5EF4-FFF2-40B4-BE49-F238E27FC236}">
                <a16:creationId xmlns:a16="http://schemas.microsoft.com/office/drawing/2014/main" id="{7612E334-A68E-7C96-7986-C9F2610AD6A2}"/>
              </a:ext>
            </a:extLst>
          </p:cNvPr>
          <p:cNvSpPr txBox="1">
            <a:spLocks noChangeArrowheads="1"/>
          </p:cNvSpPr>
          <p:nvPr/>
        </p:nvSpPr>
        <p:spPr bwMode="auto">
          <a:xfrm>
            <a:off x="306388" y="1885950"/>
            <a:ext cx="2890837" cy="475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Überschrift</a:t>
            </a:r>
          </a:p>
          <a:p>
            <a:pPr lvl="1" eaLnBrk="1" hangingPunct="1">
              <a:lnSpc>
                <a:spcPct val="105000"/>
              </a:lnSpc>
            </a:pPr>
            <a:r>
              <a:rPr lang="de-CH" altLang="de-DE" sz="1400" dirty="0"/>
              <a:t>Lorem ipsum dolor sit amet, consetetur sadipscing elitr</a:t>
            </a:r>
          </a:p>
          <a:p>
            <a:pPr lvl="1" eaLnBrk="1" hangingPunct="1">
              <a:lnSpc>
                <a:spcPct val="105000"/>
              </a:lnSpc>
            </a:pPr>
            <a:r>
              <a:rPr lang="de-CH" altLang="de-DE" sz="1400" dirty="0"/>
              <a:t>Sed diam nonumy eirmod tempor invidunt ut labore et dolore magna aliquyam erat</a:t>
            </a:r>
          </a:p>
          <a:p>
            <a:pPr lvl="1" eaLnBrk="1" hangingPunct="1">
              <a:lnSpc>
                <a:spcPct val="105000"/>
              </a:lnSpc>
            </a:pPr>
            <a:r>
              <a:rPr lang="de-CH" altLang="de-DE" sz="1400" dirty="0"/>
              <a:t>Sed diam Lorem ipsum dolor sit amet, consetetur sadipscing elitr, sed diam nonumy eirmod tempor invidunt ut labore et dolore magna aliquyam erat, sed diam voluptua.</a:t>
            </a:r>
          </a:p>
          <a:p>
            <a:pPr lvl="1" eaLnBrk="1" hangingPunct="1">
              <a:lnSpc>
                <a:spcPct val="105000"/>
              </a:lnSpc>
            </a:pPr>
            <a:r>
              <a:rPr lang="de-CH" altLang="de-DE" sz="1400" dirty="0"/>
              <a:t>At vero eos et accusam et justo duo dolores et ea rebum. Stet clita kasd gubergren, no sea takimata sanctus est Lorem ipsum dolor sit amet. Lorem ipsum dolor sit amet</a:t>
            </a:r>
          </a:p>
        </p:txBody>
      </p:sp>
      <p:sp>
        <p:nvSpPr>
          <p:cNvPr id="44040" name="Inhaltsplatzhalter 11">
            <a:extLst>
              <a:ext uri="{FF2B5EF4-FFF2-40B4-BE49-F238E27FC236}">
                <a16:creationId xmlns:a16="http://schemas.microsoft.com/office/drawing/2014/main" id="{A6795481-3530-EC4C-F49F-1F4DEAC9D34B}"/>
              </a:ext>
            </a:extLst>
          </p:cNvPr>
          <p:cNvSpPr txBox="1">
            <a:spLocks noChangeArrowheads="1"/>
          </p:cNvSpPr>
          <p:nvPr/>
        </p:nvSpPr>
        <p:spPr bwMode="auto">
          <a:xfrm>
            <a:off x="3435350" y="1885950"/>
            <a:ext cx="2890838" cy="475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Überschrift</a:t>
            </a:r>
          </a:p>
          <a:p>
            <a:pPr lvl="1" eaLnBrk="1" hangingPunct="1">
              <a:lnSpc>
                <a:spcPct val="105000"/>
              </a:lnSpc>
            </a:pPr>
            <a:r>
              <a:rPr lang="de-CH" altLang="de-DE" sz="1400" dirty="0"/>
              <a:t>Lorem ipsum dolor sit amet, consetetur sadipscing elitr</a:t>
            </a:r>
          </a:p>
          <a:p>
            <a:pPr lvl="1" eaLnBrk="1" hangingPunct="1">
              <a:lnSpc>
                <a:spcPct val="105000"/>
              </a:lnSpc>
            </a:pPr>
            <a:r>
              <a:rPr lang="de-CH" altLang="de-DE" sz="1400" dirty="0"/>
              <a:t>Sed diam nonumy eirmod tempor invidunt ut labore et dolore magna aliquyam erat</a:t>
            </a:r>
          </a:p>
          <a:p>
            <a:pPr lvl="1" eaLnBrk="1" hangingPunct="1">
              <a:lnSpc>
                <a:spcPct val="105000"/>
              </a:lnSpc>
            </a:pPr>
            <a:r>
              <a:rPr lang="de-CH" altLang="de-DE" sz="1400" dirty="0"/>
              <a:t>Sed diam Lorem ipsum dolor sit amet, consetetur sadipscing elitr, sed diam nonumy eirmod tempor invidunt ut labore et dolore magna aliquyam erat, sed diam voluptua.</a:t>
            </a:r>
          </a:p>
          <a:p>
            <a:pPr lvl="1" eaLnBrk="1" hangingPunct="1">
              <a:lnSpc>
                <a:spcPct val="105000"/>
              </a:lnSpc>
            </a:pPr>
            <a:r>
              <a:rPr lang="de-CH" altLang="de-DE" sz="1400" dirty="0"/>
              <a:t>At vero eos et accusam et justo duo dolores et ea rebum. Stet clita kasd gubergren, no sea takimata sanctus est Lorem ipsum dolor sit amet. Lorem ipsum dolor sit amet</a:t>
            </a:r>
          </a:p>
        </p:txBody>
      </p:sp>
      <p:sp>
        <p:nvSpPr>
          <p:cNvPr id="44041" name="Inhaltsplatzhalter 5">
            <a:extLst>
              <a:ext uri="{FF2B5EF4-FFF2-40B4-BE49-F238E27FC236}">
                <a16:creationId xmlns:a16="http://schemas.microsoft.com/office/drawing/2014/main" id="{2EC28641-D33F-29BB-182B-9209EAA862AE}"/>
              </a:ext>
            </a:extLst>
          </p:cNvPr>
          <p:cNvSpPr txBox="1">
            <a:spLocks noChangeArrowheads="1"/>
          </p:cNvSpPr>
          <p:nvPr/>
        </p:nvSpPr>
        <p:spPr bwMode="auto">
          <a:xfrm>
            <a:off x="9694863" y="1885950"/>
            <a:ext cx="2889250" cy="475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Überschrift</a:t>
            </a:r>
          </a:p>
          <a:p>
            <a:pPr lvl="1" eaLnBrk="1" hangingPunct="1">
              <a:lnSpc>
                <a:spcPct val="105000"/>
              </a:lnSpc>
            </a:pPr>
            <a:r>
              <a:rPr lang="de-CH" altLang="de-DE" sz="1400" dirty="0"/>
              <a:t>Lorem ipsum dolor sit amet, consetetur sadipscing elitr</a:t>
            </a:r>
          </a:p>
          <a:p>
            <a:pPr lvl="1" eaLnBrk="1" hangingPunct="1">
              <a:lnSpc>
                <a:spcPct val="105000"/>
              </a:lnSpc>
            </a:pPr>
            <a:r>
              <a:rPr lang="de-CH" altLang="de-DE" sz="1400" dirty="0"/>
              <a:t>Sed diam nonumy eirmod tempor invidunt ut labore et dolore magna aliquyam erat</a:t>
            </a:r>
          </a:p>
          <a:p>
            <a:pPr lvl="1" eaLnBrk="1" hangingPunct="1">
              <a:lnSpc>
                <a:spcPct val="105000"/>
              </a:lnSpc>
            </a:pPr>
            <a:r>
              <a:rPr lang="de-CH" altLang="de-DE" sz="1400" dirty="0"/>
              <a:t>Sed diam Lorem ipsum dolor sit amet, consetetur sadipscing elitr, sed diam nonumy eirmod tempor invidunt ut labore et dolore magna aliquyam erat, sed diam voluptua.</a:t>
            </a:r>
          </a:p>
          <a:p>
            <a:pPr lvl="1" eaLnBrk="1" hangingPunct="1">
              <a:lnSpc>
                <a:spcPct val="105000"/>
              </a:lnSpc>
            </a:pPr>
            <a:r>
              <a:rPr lang="de-CH" altLang="de-DE" sz="1400" dirty="0"/>
              <a:t>At vero eos et accusam et justo duo dolores et ea rebum. Stet clita kasd gubergren, no sea takimata sanctus est Lorem ipsum dolor sit amet. Lorem ipsum dolor sit amet</a:t>
            </a:r>
          </a:p>
        </p:txBody>
      </p:sp>
      <p:sp>
        <p:nvSpPr>
          <p:cNvPr id="18" name="Inhaltsplatzhalter 5">
            <a:extLst>
              <a:ext uri="{FF2B5EF4-FFF2-40B4-BE49-F238E27FC236}">
                <a16:creationId xmlns:a16="http://schemas.microsoft.com/office/drawing/2014/main" id="{60A4EC65-3165-0DDC-93BC-671DE8EA18A4}"/>
              </a:ext>
            </a:extLst>
          </p:cNvPr>
          <p:cNvSpPr txBox="1">
            <a:spLocks/>
          </p:cNvSpPr>
          <p:nvPr/>
        </p:nvSpPr>
        <p:spPr>
          <a:xfrm>
            <a:off x="6564313" y="1885950"/>
            <a:ext cx="2890837" cy="4752975"/>
          </a:xfrm>
          <a:prstGeom prst="rect">
            <a:avLst/>
          </a:prstGeom>
        </p:spPr>
        <p:txBody>
          <a:bodyPr lIns="0" tIns="0" rIns="0" bIns="0"/>
          <a:lstStyle>
            <a:lvl1pPr marL="0" indent="0" algn="l" defTabSz="964143" rtl="0" eaLnBrk="1" latinLnBrk="0" hangingPunct="1">
              <a:lnSpc>
                <a:spcPct val="105000"/>
              </a:lnSpc>
              <a:spcBef>
                <a:spcPts val="0"/>
              </a:spcBef>
              <a:buFont typeface="Frutiger for ZKB Light" panose="020B0303030504020204" pitchFamily="34" charset="0"/>
              <a:buNone/>
              <a:defRPr sz="1600" kern="1200">
                <a:solidFill>
                  <a:schemeClr val="tx1"/>
                </a:solidFill>
                <a:latin typeface="+mn-lt"/>
                <a:ea typeface="+mn-ea"/>
                <a:cs typeface="+mn-cs"/>
              </a:defRPr>
            </a:lvl1pPr>
            <a:lvl2pPr marL="18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Frutiger for ZKB Light" panose="020B0303030504020204" pitchFamily="34" charset="0"/>
                <a:ea typeface="+mn-ea"/>
                <a:cs typeface="+mn-cs"/>
              </a:defRPr>
            </a:lvl2pPr>
            <a:lvl3pPr marL="36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3pPr>
            <a:lvl4pPr marL="54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4pPr>
            <a:lvl5pPr marL="72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marL="284221" indent="-284221">
              <a:defRPr/>
            </a:pPr>
            <a:r>
              <a:rPr lang="de-CH" sz="1400" b="1" dirty="0"/>
              <a:t>Überschrift</a:t>
            </a:r>
          </a:p>
          <a:p>
            <a:pPr marL="285750" indent="-285750">
              <a:buFont typeface="Frutiger for ZKB Light" panose="020B0303030504020204" pitchFamily="34" charset="0"/>
              <a:buChar char="–"/>
              <a:defRPr/>
            </a:pPr>
            <a:r>
              <a:rPr lang="de-CH" sz="1400" dirty="0"/>
              <a:t>Lorem ipsum dolor sit amet, consetetur sadipscing elitr</a:t>
            </a:r>
          </a:p>
          <a:p>
            <a:pPr marL="285750" indent="-285750">
              <a:buFont typeface="Frutiger for ZKB Light" panose="020B0303030504020204" pitchFamily="34" charset="0"/>
              <a:buChar char="–"/>
              <a:defRPr/>
            </a:pPr>
            <a:r>
              <a:rPr lang="de-CH" sz="1400" dirty="0"/>
              <a:t>Sed diam nonumy eirmod tempor invidunt ut labore et dolore magna aliquyam erat</a:t>
            </a:r>
          </a:p>
          <a:p>
            <a:pPr marL="285750" indent="-285750">
              <a:buFont typeface="Frutiger for ZKB Light" panose="020B0303030504020204" pitchFamily="34" charset="0"/>
              <a:buChar char="–"/>
              <a:defRPr/>
            </a:pPr>
            <a:r>
              <a:rPr lang="de-CH" sz="1400" dirty="0"/>
              <a:t>Sed diam Lorem ipsum dolor sit amet, consetetur sadipscing elitr, sed diam nonumy eirmod tempor invidunt ut labore et dolore magna aliquyam erat, sed diam voluptua.</a:t>
            </a:r>
          </a:p>
          <a:p>
            <a:pPr marL="285750" indent="-285750">
              <a:buFont typeface="Frutiger for ZKB Light" panose="020B0303030504020204" pitchFamily="34" charset="0"/>
              <a:buChar char="–"/>
              <a:defRPr/>
            </a:pPr>
            <a:r>
              <a:rPr lang="de-CH" sz="1400" dirty="0"/>
              <a:t>At vero eos et accusam et justo duo dolores et ea rebum. Stet clita kasd gubergren, no sea takimata sanctus est Lorem ipsum dolor sit amet. Lorem ipsum dolor sit amet</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082" name="think-cell data - do not delete" hidden="1">
            <a:extLst>
              <a:ext uri="{FF2B5EF4-FFF2-40B4-BE49-F238E27FC236}">
                <a16:creationId xmlns:a16="http://schemas.microsoft.com/office/drawing/2014/main" id="{491CE2B4-0A21-4A38-8AA1-9423EB5CFC2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46082" name="think-cell data - do not delete" hidden="1">
                        <a:extLst>
                          <a:ext uri="{FF2B5EF4-FFF2-40B4-BE49-F238E27FC236}">
                            <a16:creationId xmlns:a16="http://schemas.microsoft.com/office/drawing/2014/main" id="{491CE2B4-0A21-4A38-8AA1-9423EB5CFC2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140ABE1C-D1B7-7535-3923-5B0C395DFD5D}"/>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Text – Themen und Details</a:t>
            </a:r>
          </a:p>
        </p:txBody>
      </p:sp>
      <p:sp>
        <p:nvSpPr>
          <p:cNvPr id="46084" name="Foliennummernplatzhalter 7">
            <a:extLst>
              <a:ext uri="{FF2B5EF4-FFF2-40B4-BE49-F238E27FC236}">
                <a16:creationId xmlns:a16="http://schemas.microsoft.com/office/drawing/2014/main" id="{3623D478-CAFA-BCC1-676A-4B275005FC2C}"/>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3C20912C-379B-4FC4-A339-2028DA4AEAB0}" type="slidenum">
              <a:rPr lang="de-CH" altLang="de-DE" sz="1100" smtClean="0">
                <a:solidFill>
                  <a:srgbClr val="003CB4"/>
                </a:solidFill>
                <a:latin typeface="Frutiger for ZKB Light" panose="020B0303030504020204" pitchFamily="34" charset="0"/>
              </a:rPr>
              <a:pPr>
                <a:spcBef>
                  <a:spcPct val="0"/>
                </a:spcBef>
                <a:spcAft>
                  <a:spcPct val="0"/>
                </a:spcAft>
              </a:pPr>
              <a:t>25</a:t>
            </a:fld>
            <a:endParaRPr lang="de-CH" altLang="de-DE" sz="1100" dirty="0">
              <a:solidFill>
                <a:srgbClr val="003CB4"/>
              </a:solidFill>
              <a:latin typeface="Frutiger for ZKB Light" panose="020B0303030504020204" pitchFamily="34" charset="0"/>
            </a:endParaRPr>
          </a:p>
        </p:txBody>
      </p:sp>
      <p:sp>
        <p:nvSpPr>
          <p:cNvPr id="46085" name="Fußzeilenplatzhalter 6">
            <a:extLst>
              <a:ext uri="{FF2B5EF4-FFF2-40B4-BE49-F238E27FC236}">
                <a16:creationId xmlns:a16="http://schemas.microsoft.com/office/drawing/2014/main" id="{48771B69-9C24-58DA-E8F6-2A7EE78AA732}"/>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46086" name="Textfeld 11">
            <a:extLst>
              <a:ext uri="{FF2B5EF4-FFF2-40B4-BE49-F238E27FC236}">
                <a16:creationId xmlns:a16="http://schemas.microsoft.com/office/drawing/2014/main" id="{F7BD4ABE-664C-B237-15E7-10F7DAB2FA94}"/>
              </a:ext>
            </a:extLst>
          </p:cNvPr>
          <p:cNvSpPr txBox="1">
            <a:spLocks noChangeArrowheads="1"/>
          </p:cNvSpPr>
          <p:nvPr/>
        </p:nvSpPr>
        <p:spPr bwMode="auto">
          <a:xfrm>
            <a:off x="317500" y="1885950"/>
            <a:ext cx="2951163"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Lorem ipsum dolor </a:t>
            </a:r>
            <a:br>
              <a:rPr lang="de-CH" altLang="de-DE" b="1" dirty="0"/>
            </a:br>
            <a:r>
              <a:rPr lang="de-CH" altLang="de-DE" b="1" dirty="0"/>
              <a:t>sit amet con sadipscing </a:t>
            </a:r>
          </a:p>
          <a:p>
            <a:pPr eaLnBrk="1" hangingPunct="1"/>
            <a:r>
              <a:rPr lang="de-CH" altLang="de-DE" b="1" dirty="0"/>
              <a:t>lorem ipsum </a:t>
            </a:r>
          </a:p>
        </p:txBody>
      </p:sp>
      <p:sp>
        <p:nvSpPr>
          <p:cNvPr id="46087" name="Textfeld 12">
            <a:extLst>
              <a:ext uri="{FF2B5EF4-FFF2-40B4-BE49-F238E27FC236}">
                <a16:creationId xmlns:a16="http://schemas.microsoft.com/office/drawing/2014/main" id="{AF779501-F566-6E9E-9213-D7D14535DA38}"/>
              </a:ext>
            </a:extLst>
          </p:cNvPr>
          <p:cNvSpPr txBox="1">
            <a:spLocks noChangeArrowheads="1"/>
          </p:cNvSpPr>
          <p:nvPr/>
        </p:nvSpPr>
        <p:spPr bwMode="auto">
          <a:xfrm>
            <a:off x="317500" y="3403600"/>
            <a:ext cx="2951163" cy="1004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Lorem ipsum dolor </a:t>
            </a:r>
            <a:br>
              <a:rPr lang="de-CH" altLang="de-DE" b="1" dirty="0"/>
            </a:br>
            <a:r>
              <a:rPr lang="de-CH" altLang="de-DE" b="1" dirty="0"/>
              <a:t>sadipscing</a:t>
            </a:r>
            <a:r>
              <a:rPr lang="de-CH" altLang="de-DE" dirty="0"/>
              <a:t> </a:t>
            </a:r>
            <a:r>
              <a:rPr lang="de-CH" altLang="de-DE" b="1" dirty="0"/>
              <a:t>sit amet </a:t>
            </a:r>
          </a:p>
        </p:txBody>
      </p:sp>
      <p:sp>
        <p:nvSpPr>
          <p:cNvPr id="46088" name="Textfeld 16">
            <a:extLst>
              <a:ext uri="{FF2B5EF4-FFF2-40B4-BE49-F238E27FC236}">
                <a16:creationId xmlns:a16="http://schemas.microsoft.com/office/drawing/2014/main" id="{07C411DA-E9BF-AA12-3320-DC361EA0ED78}"/>
              </a:ext>
            </a:extLst>
          </p:cNvPr>
          <p:cNvSpPr txBox="1">
            <a:spLocks noChangeArrowheads="1"/>
          </p:cNvSpPr>
          <p:nvPr/>
        </p:nvSpPr>
        <p:spPr bwMode="auto">
          <a:xfrm>
            <a:off x="317500" y="4772025"/>
            <a:ext cx="2951163"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Lorem ipsum dolor </a:t>
            </a:r>
            <a:br>
              <a:rPr lang="de-CH" altLang="de-DE" b="1" dirty="0"/>
            </a:br>
            <a:r>
              <a:rPr lang="de-CH" altLang="de-DE" b="1" dirty="0"/>
              <a:t>sit amet con </a:t>
            </a:r>
            <a:br>
              <a:rPr lang="de-CH" altLang="de-DE" b="1" dirty="0"/>
            </a:br>
            <a:r>
              <a:rPr lang="de-CH" altLang="de-DE" b="1" dirty="0"/>
              <a:t>sadipscing lorem ipsum </a:t>
            </a:r>
          </a:p>
        </p:txBody>
      </p:sp>
      <p:sp>
        <p:nvSpPr>
          <p:cNvPr id="46089" name="Textfeld 3">
            <a:extLst>
              <a:ext uri="{FF2B5EF4-FFF2-40B4-BE49-F238E27FC236}">
                <a16:creationId xmlns:a16="http://schemas.microsoft.com/office/drawing/2014/main" id="{BEA595E3-BC78-61A3-DADC-9E60ADDF2BB3}"/>
              </a:ext>
            </a:extLst>
          </p:cNvPr>
          <p:cNvSpPr txBox="1">
            <a:spLocks noChangeArrowheads="1"/>
          </p:cNvSpPr>
          <p:nvPr/>
        </p:nvSpPr>
        <p:spPr bwMode="auto">
          <a:xfrm>
            <a:off x="3906838" y="1885950"/>
            <a:ext cx="6472237"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sit amet, con setetur sit amet Setetur sit </a:t>
            </a:r>
          </a:p>
          <a:p>
            <a:pPr eaLnBrk="1" hangingPunct="1">
              <a:buFont typeface="Frutiger for ZKB Light" panose="020B0303030504020204" pitchFamily="34" charset="0"/>
              <a:buChar char="–"/>
            </a:pPr>
            <a:r>
              <a:rPr lang="de-CH" altLang="de-DE" dirty="0"/>
              <a:t>Setetur sit amet con sadipscing con setetur sadipscing sit </a:t>
            </a:r>
          </a:p>
          <a:p>
            <a:pPr eaLnBrk="1" hangingPunct="1">
              <a:buFont typeface="Frutiger for ZKB Light" panose="020B0303030504020204" pitchFamily="34" charset="0"/>
              <a:buChar char="–"/>
            </a:pPr>
            <a:r>
              <a:rPr lang="de-CH" altLang="de-DE" dirty="0"/>
              <a:t>Lorem ipsum dolor sit amet, con setetur sadipscing sit amet, </a:t>
            </a:r>
            <a:br>
              <a:rPr lang="de-CH" altLang="de-DE" dirty="0"/>
            </a:br>
            <a:r>
              <a:rPr lang="de-CH" altLang="de-DE" dirty="0"/>
              <a:t>con setetur</a:t>
            </a:r>
          </a:p>
          <a:p>
            <a:pPr eaLnBrk="1" hangingPunct="1">
              <a:buFont typeface="Frutiger for ZKB Light" panose="020B0303030504020204" pitchFamily="34" charset="0"/>
              <a:buChar char="–"/>
            </a:pPr>
            <a:endParaRPr lang="de-CH" altLang="de-DE" sz="1800" dirty="0"/>
          </a:p>
        </p:txBody>
      </p:sp>
      <p:sp>
        <p:nvSpPr>
          <p:cNvPr id="46090" name="Textfeld 4">
            <a:extLst>
              <a:ext uri="{FF2B5EF4-FFF2-40B4-BE49-F238E27FC236}">
                <a16:creationId xmlns:a16="http://schemas.microsoft.com/office/drawing/2014/main" id="{2FEE00D2-DD12-D130-1C0C-346C8493A6E6}"/>
              </a:ext>
            </a:extLst>
          </p:cNvPr>
          <p:cNvSpPr txBox="1">
            <a:spLocks noChangeArrowheads="1"/>
          </p:cNvSpPr>
          <p:nvPr/>
        </p:nvSpPr>
        <p:spPr bwMode="auto">
          <a:xfrm>
            <a:off x="3906838" y="3403600"/>
            <a:ext cx="6472237" cy="1004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sit amet, con setetur sit amet Setetur sit amet</a:t>
            </a:r>
          </a:p>
          <a:p>
            <a:pPr eaLnBrk="1" hangingPunct="1">
              <a:buFont typeface="Frutiger for ZKB Light" panose="020B0303030504020204" pitchFamily="34" charset="0"/>
              <a:buChar char="–"/>
            </a:pPr>
            <a:r>
              <a:rPr lang="de-CH" altLang="de-DE" dirty="0"/>
              <a:t>Setetur sit amet con sadipscing con setetur sadipscing sit </a:t>
            </a:r>
          </a:p>
          <a:p>
            <a:pPr eaLnBrk="1" hangingPunct="1">
              <a:buFont typeface="Frutiger for ZKB Light" panose="020B0303030504020204" pitchFamily="34" charset="0"/>
              <a:buChar char="–"/>
            </a:pPr>
            <a:r>
              <a:rPr lang="de-CH" altLang="de-DE" dirty="0"/>
              <a:t>Lorem ipsum dolor sit amet, con setetur sadipscing sit amet, </a:t>
            </a:r>
            <a:br>
              <a:rPr lang="de-CH" altLang="de-DE" dirty="0"/>
            </a:br>
            <a:r>
              <a:rPr lang="de-CH" altLang="de-DE" dirty="0"/>
              <a:t>con setetur</a:t>
            </a:r>
          </a:p>
          <a:p>
            <a:pPr eaLnBrk="1" hangingPunct="1">
              <a:buFont typeface="Frutiger for ZKB Light" panose="020B0303030504020204" pitchFamily="34" charset="0"/>
              <a:buChar char="–"/>
            </a:pPr>
            <a:endParaRPr lang="de-CH" altLang="de-DE" sz="1800" dirty="0"/>
          </a:p>
        </p:txBody>
      </p:sp>
      <p:sp>
        <p:nvSpPr>
          <p:cNvPr id="46091" name="Textfeld 5">
            <a:extLst>
              <a:ext uri="{FF2B5EF4-FFF2-40B4-BE49-F238E27FC236}">
                <a16:creationId xmlns:a16="http://schemas.microsoft.com/office/drawing/2014/main" id="{17DC6209-8711-DF93-5B92-8FA5FCAB9125}"/>
              </a:ext>
            </a:extLst>
          </p:cNvPr>
          <p:cNvSpPr txBox="1">
            <a:spLocks noChangeArrowheads="1"/>
          </p:cNvSpPr>
          <p:nvPr/>
        </p:nvSpPr>
        <p:spPr bwMode="auto">
          <a:xfrm>
            <a:off x="3906838" y="4772025"/>
            <a:ext cx="6472237"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sit amet, con setetur sit amet Setetur</a:t>
            </a:r>
          </a:p>
          <a:p>
            <a:pPr eaLnBrk="1" hangingPunct="1">
              <a:buFont typeface="Frutiger for ZKB Light" panose="020B0303030504020204" pitchFamily="34" charset="0"/>
              <a:buChar char="–"/>
            </a:pPr>
            <a:r>
              <a:rPr lang="de-CH" altLang="de-DE" dirty="0"/>
              <a:t>Setetur sit amet con sadipscing con</a:t>
            </a:r>
          </a:p>
          <a:p>
            <a:pPr eaLnBrk="1" hangingPunct="1">
              <a:buFont typeface="Frutiger for ZKB Light" panose="020B0303030504020204" pitchFamily="34" charset="0"/>
              <a:buChar char="–"/>
            </a:pPr>
            <a:r>
              <a:rPr lang="de-CH" altLang="de-DE" dirty="0"/>
              <a:t>Lorem ipsum dolor sit amet, con setetur sadipscing sit amet, </a:t>
            </a:r>
            <a:br>
              <a:rPr lang="de-CH" altLang="de-DE" dirty="0"/>
            </a:br>
            <a:r>
              <a:rPr lang="de-CH" altLang="de-DE" dirty="0"/>
              <a:t>con setetur</a:t>
            </a:r>
          </a:p>
          <a:p>
            <a:pPr eaLnBrk="1" hangingPunct="1">
              <a:buFont typeface="Frutiger for ZKB Light" panose="020B0303030504020204" pitchFamily="34" charset="0"/>
              <a:buChar char="–"/>
            </a:pPr>
            <a:endParaRPr lang="de-CH" altLang="de-DE" sz="1800"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106" name="think-cell data - do not delete" hidden="1">
            <a:extLst>
              <a:ext uri="{FF2B5EF4-FFF2-40B4-BE49-F238E27FC236}">
                <a16:creationId xmlns:a16="http://schemas.microsoft.com/office/drawing/2014/main" id="{FAF14899-EE1B-F155-4701-941CCA9D9EC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47106" name="think-cell data - do not delete" hidden="1">
                        <a:extLst>
                          <a:ext uri="{FF2B5EF4-FFF2-40B4-BE49-F238E27FC236}">
                            <a16:creationId xmlns:a16="http://schemas.microsoft.com/office/drawing/2014/main" id="{FAF14899-EE1B-F155-4701-941CCA9D9E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E8047781-6A41-6DC3-CBA1-197F5E7C2BCD}"/>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Text – Themen und Details</a:t>
            </a:r>
          </a:p>
        </p:txBody>
      </p:sp>
      <p:sp>
        <p:nvSpPr>
          <p:cNvPr id="47108" name="Foliennummernplatzhalter 7">
            <a:extLst>
              <a:ext uri="{FF2B5EF4-FFF2-40B4-BE49-F238E27FC236}">
                <a16:creationId xmlns:a16="http://schemas.microsoft.com/office/drawing/2014/main" id="{E1622D24-C495-23FE-FF5B-862229C38E12}"/>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A12E253F-C020-4798-9790-BADD7FFBEF78}" type="slidenum">
              <a:rPr lang="de-CH" altLang="de-DE" sz="1100" smtClean="0">
                <a:solidFill>
                  <a:srgbClr val="003CB4"/>
                </a:solidFill>
                <a:latin typeface="Frutiger for ZKB Light" panose="020B0303030504020204" pitchFamily="34" charset="0"/>
              </a:rPr>
              <a:pPr>
                <a:spcBef>
                  <a:spcPct val="0"/>
                </a:spcBef>
                <a:spcAft>
                  <a:spcPct val="0"/>
                </a:spcAft>
              </a:pPr>
              <a:t>26</a:t>
            </a:fld>
            <a:endParaRPr lang="de-CH" altLang="de-DE" sz="1100" dirty="0">
              <a:solidFill>
                <a:srgbClr val="003CB4"/>
              </a:solidFill>
              <a:latin typeface="Frutiger for ZKB Light" panose="020B0303030504020204" pitchFamily="34" charset="0"/>
            </a:endParaRPr>
          </a:p>
        </p:txBody>
      </p:sp>
      <p:sp>
        <p:nvSpPr>
          <p:cNvPr id="47109" name="Fußzeilenplatzhalter 6">
            <a:extLst>
              <a:ext uri="{FF2B5EF4-FFF2-40B4-BE49-F238E27FC236}">
                <a16:creationId xmlns:a16="http://schemas.microsoft.com/office/drawing/2014/main" id="{2555473B-CF93-80AB-6D96-FCB69833A128}"/>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47110" name="Textfeld 11">
            <a:extLst>
              <a:ext uri="{FF2B5EF4-FFF2-40B4-BE49-F238E27FC236}">
                <a16:creationId xmlns:a16="http://schemas.microsoft.com/office/drawing/2014/main" id="{00254E6D-63D0-4FD8-FEC7-B17903A8ED7B}"/>
              </a:ext>
            </a:extLst>
          </p:cNvPr>
          <p:cNvSpPr txBox="1">
            <a:spLocks noChangeArrowheads="1"/>
          </p:cNvSpPr>
          <p:nvPr/>
        </p:nvSpPr>
        <p:spPr bwMode="auto">
          <a:xfrm>
            <a:off x="317500" y="1868488"/>
            <a:ext cx="2797175" cy="100330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Lorem ipsum dolor </a:t>
            </a:r>
            <a:br>
              <a:rPr lang="de-CH" altLang="de-DE" b="1" dirty="0"/>
            </a:br>
            <a:r>
              <a:rPr lang="de-CH" altLang="de-DE" b="1" dirty="0"/>
              <a:t>sit amet con sadipscing </a:t>
            </a:r>
          </a:p>
          <a:p>
            <a:pPr eaLnBrk="1" hangingPunct="1"/>
            <a:r>
              <a:rPr lang="de-CH" altLang="de-DE" b="1" dirty="0"/>
              <a:t>lorem ipsum </a:t>
            </a:r>
          </a:p>
        </p:txBody>
      </p:sp>
      <p:sp>
        <p:nvSpPr>
          <p:cNvPr id="47111" name="Textfeld 18">
            <a:extLst>
              <a:ext uri="{FF2B5EF4-FFF2-40B4-BE49-F238E27FC236}">
                <a16:creationId xmlns:a16="http://schemas.microsoft.com/office/drawing/2014/main" id="{C1CB968C-2373-09A6-6789-90B25017C758}"/>
              </a:ext>
            </a:extLst>
          </p:cNvPr>
          <p:cNvSpPr txBox="1">
            <a:spLocks noChangeArrowheads="1"/>
          </p:cNvSpPr>
          <p:nvPr/>
        </p:nvSpPr>
        <p:spPr bwMode="auto">
          <a:xfrm>
            <a:off x="3906838" y="1885950"/>
            <a:ext cx="6472237"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sit amet, con setetur sit amet Setetur sit </a:t>
            </a:r>
          </a:p>
          <a:p>
            <a:pPr eaLnBrk="1" hangingPunct="1">
              <a:buFont typeface="Frutiger for ZKB Light" panose="020B0303030504020204" pitchFamily="34" charset="0"/>
              <a:buChar char="–"/>
            </a:pPr>
            <a:r>
              <a:rPr lang="de-CH" altLang="de-DE" dirty="0"/>
              <a:t>Setetur sit amet con sadipscing con setetur sadipscing sit </a:t>
            </a:r>
          </a:p>
          <a:p>
            <a:pPr eaLnBrk="1" hangingPunct="1">
              <a:buFont typeface="Frutiger for ZKB Light" panose="020B0303030504020204" pitchFamily="34" charset="0"/>
              <a:buChar char="–"/>
            </a:pPr>
            <a:r>
              <a:rPr lang="de-CH" altLang="de-DE" dirty="0"/>
              <a:t>Lorem ipsum dolor sit amet, con setetur sadipscing sit amet, </a:t>
            </a:r>
            <a:br>
              <a:rPr lang="de-CH" altLang="de-DE" dirty="0"/>
            </a:br>
            <a:r>
              <a:rPr lang="de-CH" altLang="de-DE" dirty="0"/>
              <a:t>con setetur</a:t>
            </a:r>
          </a:p>
          <a:p>
            <a:pPr eaLnBrk="1" hangingPunct="1">
              <a:buFont typeface="Frutiger for ZKB Light" panose="020B0303030504020204" pitchFamily="34" charset="0"/>
              <a:buChar char="–"/>
            </a:pPr>
            <a:endParaRPr lang="de-CH" altLang="de-DE" sz="1800" dirty="0"/>
          </a:p>
        </p:txBody>
      </p:sp>
      <p:sp>
        <p:nvSpPr>
          <p:cNvPr id="47112" name="Textfeld 12">
            <a:extLst>
              <a:ext uri="{FF2B5EF4-FFF2-40B4-BE49-F238E27FC236}">
                <a16:creationId xmlns:a16="http://schemas.microsoft.com/office/drawing/2014/main" id="{B713E2CB-B8AC-5C21-1EA0-5DB8EFD593DB}"/>
              </a:ext>
            </a:extLst>
          </p:cNvPr>
          <p:cNvSpPr txBox="1">
            <a:spLocks noChangeArrowheads="1"/>
          </p:cNvSpPr>
          <p:nvPr/>
        </p:nvSpPr>
        <p:spPr bwMode="auto">
          <a:xfrm>
            <a:off x="317500" y="3357563"/>
            <a:ext cx="2797175" cy="1004887"/>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Lorem ipsum dolor </a:t>
            </a:r>
            <a:br>
              <a:rPr lang="de-CH" altLang="de-DE" b="1" dirty="0"/>
            </a:br>
            <a:r>
              <a:rPr lang="de-CH" altLang="de-DE" b="1" dirty="0"/>
              <a:t>sadipscing</a:t>
            </a:r>
            <a:r>
              <a:rPr lang="de-CH" altLang="de-DE" dirty="0"/>
              <a:t> </a:t>
            </a:r>
            <a:r>
              <a:rPr lang="de-CH" altLang="de-DE" b="1" dirty="0"/>
              <a:t>sit amet </a:t>
            </a:r>
          </a:p>
        </p:txBody>
      </p:sp>
      <p:sp>
        <p:nvSpPr>
          <p:cNvPr id="47113" name="Textfeld 13">
            <a:extLst>
              <a:ext uri="{FF2B5EF4-FFF2-40B4-BE49-F238E27FC236}">
                <a16:creationId xmlns:a16="http://schemas.microsoft.com/office/drawing/2014/main" id="{DBD090DF-E7A8-0281-46E2-22568C2831FD}"/>
              </a:ext>
            </a:extLst>
          </p:cNvPr>
          <p:cNvSpPr txBox="1">
            <a:spLocks noChangeArrowheads="1"/>
          </p:cNvSpPr>
          <p:nvPr/>
        </p:nvSpPr>
        <p:spPr bwMode="auto">
          <a:xfrm>
            <a:off x="3906838" y="3403600"/>
            <a:ext cx="6472237" cy="1004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sit amet, con setetur sit amet Setetur sit amet</a:t>
            </a:r>
          </a:p>
          <a:p>
            <a:pPr eaLnBrk="1" hangingPunct="1">
              <a:buFont typeface="Frutiger for ZKB Light" panose="020B0303030504020204" pitchFamily="34" charset="0"/>
              <a:buChar char="–"/>
            </a:pPr>
            <a:r>
              <a:rPr lang="de-CH" altLang="de-DE" dirty="0"/>
              <a:t>Setetur sit amet con sadipscing con setetur sadipscing sit </a:t>
            </a:r>
          </a:p>
          <a:p>
            <a:pPr eaLnBrk="1" hangingPunct="1">
              <a:buFont typeface="Frutiger for ZKB Light" panose="020B0303030504020204" pitchFamily="34" charset="0"/>
              <a:buChar char="–"/>
            </a:pPr>
            <a:r>
              <a:rPr lang="de-CH" altLang="de-DE" dirty="0"/>
              <a:t>Lorem ipsum dolor sit amet, con setetur sadipscing sit amet, </a:t>
            </a:r>
            <a:br>
              <a:rPr lang="de-CH" altLang="de-DE" dirty="0"/>
            </a:br>
            <a:r>
              <a:rPr lang="de-CH" altLang="de-DE" dirty="0"/>
              <a:t>con setetur</a:t>
            </a:r>
          </a:p>
          <a:p>
            <a:pPr eaLnBrk="1" hangingPunct="1">
              <a:buFont typeface="Frutiger for ZKB Light" panose="020B0303030504020204" pitchFamily="34" charset="0"/>
              <a:buChar char="–"/>
            </a:pPr>
            <a:endParaRPr lang="de-CH" altLang="de-DE" sz="1800" dirty="0"/>
          </a:p>
        </p:txBody>
      </p:sp>
      <p:sp>
        <p:nvSpPr>
          <p:cNvPr id="47114" name="Textfeld 16">
            <a:extLst>
              <a:ext uri="{FF2B5EF4-FFF2-40B4-BE49-F238E27FC236}">
                <a16:creationId xmlns:a16="http://schemas.microsoft.com/office/drawing/2014/main" id="{81FBFF98-B3FC-6F8D-26C4-DBE0ED1DD5B5}"/>
              </a:ext>
            </a:extLst>
          </p:cNvPr>
          <p:cNvSpPr txBox="1">
            <a:spLocks noChangeArrowheads="1"/>
          </p:cNvSpPr>
          <p:nvPr/>
        </p:nvSpPr>
        <p:spPr bwMode="auto">
          <a:xfrm>
            <a:off x="317500" y="4737100"/>
            <a:ext cx="2797175" cy="100330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Lorem ipsum dolor </a:t>
            </a:r>
            <a:br>
              <a:rPr lang="de-CH" altLang="de-DE" b="1" dirty="0"/>
            </a:br>
            <a:r>
              <a:rPr lang="de-CH" altLang="de-DE" b="1" dirty="0"/>
              <a:t>sit amet con </a:t>
            </a:r>
            <a:br>
              <a:rPr lang="de-CH" altLang="de-DE" b="1" dirty="0"/>
            </a:br>
            <a:r>
              <a:rPr lang="de-CH" altLang="de-DE" b="1" dirty="0"/>
              <a:t>sadipscing lorem ipsum </a:t>
            </a:r>
          </a:p>
        </p:txBody>
      </p:sp>
      <p:sp>
        <p:nvSpPr>
          <p:cNvPr id="47115" name="Textfeld 17">
            <a:extLst>
              <a:ext uri="{FF2B5EF4-FFF2-40B4-BE49-F238E27FC236}">
                <a16:creationId xmlns:a16="http://schemas.microsoft.com/office/drawing/2014/main" id="{B9FCD59B-203A-3A3D-C5D8-9165F5334D0A}"/>
              </a:ext>
            </a:extLst>
          </p:cNvPr>
          <p:cNvSpPr txBox="1">
            <a:spLocks noChangeArrowheads="1"/>
          </p:cNvSpPr>
          <p:nvPr/>
        </p:nvSpPr>
        <p:spPr bwMode="auto">
          <a:xfrm>
            <a:off x="3906838" y="4772025"/>
            <a:ext cx="6472237"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sit amet, con setetur sit amet Setetur</a:t>
            </a:r>
          </a:p>
          <a:p>
            <a:pPr eaLnBrk="1" hangingPunct="1">
              <a:buFont typeface="Frutiger for ZKB Light" panose="020B0303030504020204" pitchFamily="34" charset="0"/>
              <a:buChar char="–"/>
            </a:pPr>
            <a:r>
              <a:rPr lang="de-CH" altLang="de-DE" dirty="0"/>
              <a:t>Setetur sit amet con sadipscing con</a:t>
            </a:r>
          </a:p>
          <a:p>
            <a:pPr eaLnBrk="1" hangingPunct="1">
              <a:buFont typeface="Frutiger for ZKB Light" panose="020B0303030504020204" pitchFamily="34" charset="0"/>
              <a:buChar char="–"/>
            </a:pPr>
            <a:r>
              <a:rPr lang="de-CH" altLang="de-DE" dirty="0"/>
              <a:t>Lorem ipsum dolor sit amet, con setetur sadipscing sit amet, </a:t>
            </a:r>
            <a:br>
              <a:rPr lang="de-CH" altLang="de-DE" dirty="0"/>
            </a:br>
            <a:r>
              <a:rPr lang="de-CH" altLang="de-DE" dirty="0"/>
              <a:t>con setetur</a:t>
            </a:r>
          </a:p>
          <a:p>
            <a:pPr eaLnBrk="1" hangingPunct="1">
              <a:buFont typeface="Frutiger for ZKB Light" panose="020B0303030504020204" pitchFamily="34" charset="0"/>
              <a:buChar char="–"/>
            </a:pPr>
            <a:endParaRPr lang="de-CH" altLang="de-DE" sz="1800"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130" name="Objekt 4" hidden="1">
            <a:extLst>
              <a:ext uri="{FF2B5EF4-FFF2-40B4-BE49-F238E27FC236}">
                <a16:creationId xmlns:a16="http://schemas.microsoft.com/office/drawing/2014/main" id="{9C492F00-6E7A-87F0-A093-16F53F66169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48130" name="Objekt 4" hidden="1">
                        <a:extLst>
                          <a:ext uri="{FF2B5EF4-FFF2-40B4-BE49-F238E27FC236}">
                            <a16:creationId xmlns:a16="http://schemas.microsoft.com/office/drawing/2014/main" id="{9C492F00-6E7A-87F0-A093-16F53F66169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8A58F986-229C-1711-04DC-5A96F70D90FC}"/>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48132" name="Titel 14">
            <a:extLst>
              <a:ext uri="{FF2B5EF4-FFF2-40B4-BE49-F238E27FC236}">
                <a16:creationId xmlns:a16="http://schemas.microsoft.com/office/drawing/2014/main" id="{350BD0F4-15F5-EF0D-F6E6-7EC5F1A4372B}"/>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Textboxen – 4er Matrix</a:t>
            </a:r>
          </a:p>
        </p:txBody>
      </p:sp>
      <p:sp>
        <p:nvSpPr>
          <p:cNvPr id="48133" name="Foliennummernplatzhalter 10">
            <a:extLst>
              <a:ext uri="{FF2B5EF4-FFF2-40B4-BE49-F238E27FC236}">
                <a16:creationId xmlns:a16="http://schemas.microsoft.com/office/drawing/2014/main" id="{1062B364-47D2-B04F-B97B-EECD406ABEB4}"/>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27</a:t>
            </a:fld>
            <a:endParaRPr lang="de-CH" altLang="de-DE" sz="1100" dirty="0">
              <a:solidFill>
                <a:srgbClr val="003CB4"/>
              </a:solidFill>
            </a:endParaRPr>
          </a:p>
        </p:txBody>
      </p:sp>
      <p:sp>
        <p:nvSpPr>
          <p:cNvPr id="48134" name="Fußzeilenplatzhalter 9">
            <a:extLst>
              <a:ext uri="{FF2B5EF4-FFF2-40B4-BE49-F238E27FC236}">
                <a16:creationId xmlns:a16="http://schemas.microsoft.com/office/drawing/2014/main" id="{7DF9FED6-266E-B626-1213-B21DFD1D1CA6}"/>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48135" name="Inhaltsplatzhalter 5">
            <a:extLst>
              <a:ext uri="{FF2B5EF4-FFF2-40B4-BE49-F238E27FC236}">
                <a16:creationId xmlns:a16="http://schemas.microsoft.com/office/drawing/2014/main" id="{4DF23161-C106-C441-B324-E8EF4E38150A}"/>
              </a:ext>
            </a:extLst>
          </p:cNvPr>
          <p:cNvSpPr>
            <a:spLocks noGrp="1" noChangeArrowheads="1"/>
          </p:cNvSpPr>
          <p:nvPr>
            <p:ph idx="12"/>
          </p:nvPr>
        </p:nvSpPr>
        <p:spPr>
          <a:xfrm>
            <a:off x="306388" y="1885950"/>
            <a:ext cx="5976937" cy="1476375"/>
          </a:xfrm>
        </p:spPr>
        <p:txBody>
          <a:bodyPr>
            <a:spAutoFit/>
          </a:bodyPr>
          <a:lstStyle/>
          <a:p>
            <a:pPr defTabSz="284163" eaLnBrk="1" hangingPunct="1">
              <a:spcBef>
                <a:spcPct val="0"/>
              </a:spcBef>
              <a:spcAft>
                <a:spcPct val="0"/>
              </a:spcAft>
            </a:pPr>
            <a:r>
              <a:rPr lang="de-CH" altLang="de-DE" b="1" dirty="0">
                <a:cs typeface="Aharoni" panose="020F0502020204030204" pitchFamily="2" charset="-79"/>
              </a:rPr>
              <a:t>Überschrift</a:t>
            </a:r>
          </a:p>
          <a:p>
            <a:pPr lvl="1" eaLnBrk="1" hangingPunct="1">
              <a:spcBef>
                <a:spcPct val="0"/>
              </a:spcBef>
              <a:spcAft>
                <a:spcPct val="0"/>
              </a:spcAft>
            </a:pPr>
            <a:r>
              <a:rPr lang="de-CH" altLang="de-DE" dirty="0">
                <a:cs typeface="Aharoni" panose="020F0502020204030204" pitchFamily="2" charset="-79"/>
              </a:rPr>
              <a:t>Lorem ipsum dolor sit amet, consetetur sadipscing elitr</a:t>
            </a:r>
          </a:p>
          <a:p>
            <a:pPr lvl="1" eaLnBrk="1" hangingPunct="1">
              <a:spcBef>
                <a:spcPct val="0"/>
              </a:spcBef>
              <a:spcAft>
                <a:spcPct val="0"/>
              </a:spcAft>
            </a:pPr>
            <a:r>
              <a:rPr lang="de-CH" altLang="de-DE" dirty="0">
                <a:cs typeface="Aharoni" panose="020F0502020204030204" pitchFamily="2" charset="-79"/>
              </a:rPr>
              <a:t>Sed diam nonumy eirmod tempor invidunt ut labore et dolore magna aliquyam erat</a:t>
            </a:r>
          </a:p>
          <a:p>
            <a:pPr lvl="1" eaLnBrk="1" hangingPunct="1">
              <a:spcBef>
                <a:spcPct val="0"/>
              </a:spcBef>
              <a:spcAft>
                <a:spcPct val="0"/>
              </a:spcAft>
            </a:pPr>
            <a:r>
              <a:rPr lang="de-CH" altLang="de-DE" dirty="0">
                <a:cs typeface="Aharoni" panose="020F0502020204030204" pitchFamily="2" charset="-79"/>
              </a:rPr>
              <a:t>Sed diam Lorem ipsum dolor sit amet, consetetur sadipscing elitr, sed diam</a:t>
            </a:r>
          </a:p>
        </p:txBody>
      </p:sp>
      <p:sp>
        <p:nvSpPr>
          <p:cNvPr id="48136" name="Inhaltsplatzhalter 6">
            <a:extLst>
              <a:ext uri="{FF2B5EF4-FFF2-40B4-BE49-F238E27FC236}">
                <a16:creationId xmlns:a16="http://schemas.microsoft.com/office/drawing/2014/main" id="{959D264E-14AD-96EE-2C04-8CF62A9E2D46}"/>
              </a:ext>
            </a:extLst>
          </p:cNvPr>
          <p:cNvSpPr>
            <a:spLocks noGrp="1" noChangeArrowheads="1"/>
          </p:cNvSpPr>
          <p:nvPr>
            <p:ph sz="quarter" idx="13"/>
          </p:nvPr>
        </p:nvSpPr>
        <p:spPr>
          <a:xfrm>
            <a:off x="6572250" y="1885950"/>
            <a:ext cx="5976938" cy="1476375"/>
          </a:xfrm>
        </p:spPr>
        <p:txBody>
          <a:bodyPr>
            <a:spAutoFit/>
          </a:bodyPr>
          <a:lstStyle/>
          <a:p>
            <a:pPr marL="284163" indent="-284163" defTabSz="284163" eaLnBrk="1" hangingPunct="1">
              <a:spcBef>
                <a:spcPct val="0"/>
              </a:spcBef>
              <a:spcAft>
                <a:spcPct val="0"/>
              </a:spcAft>
            </a:pPr>
            <a:r>
              <a:rPr lang="de-CH" altLang="de-DE" b="1" dirty="0">
                <a:cs typeface="Aharoni" panose="020F0502020204030204" pitchFamily="2" charset="-79"/>
              </a:rPr>
              <a:t>Überschrift</a:t>
            </a:r>
          </a:p>
          <a:p>
            <a:pPr marL="284163" indent="-284163" defTabSz="284163" eaLnBrk="1" hangingPunct="1">
              <a:spcBef>
                <a:spcPct val="0"/>
              </a:spcBef>
              <a:spcAft>
                <a:spcPct val="0"/>
              </a:spcAft>
              <a:buFont typeface="Frutiger for ZKB Light" panose="020B0303030504020204" pitchFamily="34" charset="0"/>
              <a:buChar char="–"/>
            </a:pPr>
            <a:r>
              <a:rPr lang="de-CH" altLang="de-DE" dirty="0">
                <a:cs typeface="Aharoni" panose="020F0502020204030204" pitchFamily="2" charset="-79"/>
              </a:rPr>
              <a:t>Lorem ipsum dolor sit amet, consetetur sadipscing elitr</a:t>
            </a:r>
          </a:p>
          <a:p>
            <a:pPr marL="284163" indent="-284163" defTabSz="284163" eaLnBrk="1" hangingPunct="1">
              <a:spcBef>
                <a:spcPct val="0"/>
              </a:spcBef>
              <a:spcAft>
                <a:spcPct val="0"/>
              </a:spcAft>
              <a:buFont typeface="Frutiger for ZKB Light" panose="020B0303030504020204" pitchFamily="34" charset="0"/>
              <a:buChar char="–"/>
            </a:pPr>
            <a:r>
              <a:rPr lang="de-CH" altLang="de-DE" dirty="0">
                <a:cs typeface="Aharoni" panose="020F0502020204030204" pitchFamily="2" charset="-79"/>
              </a:rPr>
              <a:t>Sed diam nonumy eirmod tempor invidunt ut labore et dolore magna aliquyam erat</a:t>
            </a:r>
          </a:p>
          <a:p>
            <a:pPr marL="284163" indent="-284163" defTabSz="284163" eaLnBrk="1" hangingPunct="1">
              <a:spcBef>
                <a:spcPct val="0"/>
              </a:spcBef>
              <a:spcAft>
                <a:spcPct val="0"/>
              </a:spcAft>
              <a:buFont typeface="Frutiger for ZKB Light" panose="020B0303030504020204" pitchFamily="34" charset="0"/>
              <a:buChar char="–"/>
            </a:pPr>
            <a:r>
              <a:rPr lang="de-CH" altLang="de-DE" dirty="0">
                <a:cs typeface="Aharoni" panose="020F0502020204030204" pitchFamily="2" charset="-79"/>
              </a:rPr>
              <a:t>Sed diam Lorem ipsum dolor sit amet, consetetur sadipscing elitr, sed diam</a:t>
            </a:r>
          </a:p>
        </p:txBody>
      </p:sp>
      <p:sp>
        <p:nvSpPr>
          <p:cNvPr id="48137" name="Inhaltsplatzhalter 5">
            <a:extLst>
              <a:ext uri="{FF2B5EF4-FFF2-40B4-BE49-F238E27FC236}">
                <a16:creationId xmlns:a16="http://schemas.microsoft.com/office/drawing/2014/main" id="{0220BBF4-4B22-55D8-C922-DAA701EFC691}"/>
              </a:ext>
            </a:extLst>
          </p:cNvPr>
          <p:cNvSpPr txBox="1">
            <a:spLocks noChangeArrowheads="1"/>
          </p:cNvSpPr>
          <p:nvPr/>
        </p:nvSpPr>
        <p:spPr bwMode="auto">
          <a:xfrm>
            <a:off x="306388" y="4083050"/>
            <a:ext cx="5976937" cy="1625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solidFill>
                  <a:schemeClr val="tx1"/>
                </a:solidFill>
              </a:rPr>
              <a:t>Überschrift</a:t>
            </a:r>
          </a:p>
          <a:p>
            <a:pPr lvl="1" eaLnBrk="1" hangingPunct="1"/>
            <a:r>
              <a:rPr lang="de-CH" altLang="de-DE" dirty="0"/>
              <a:t>Lorem ipsum dolor sit amet, consetetur sadipscing elitr</a:t>
            </a:r>
          </a:p>
          <a:p>
            <a:pPr lvl="1" eaLnBrk="1" hangingPunct="1"/>
            <a:r>
              <a:rPr lang="de-CH" altLang="de-DE" dirty="0"/>
              <a:t>Sed diam nonumy eirmod tempor invidunt ut labore et dolore magna aliquyam erat</a:t>
            </a:r>
          </a:p>
          <a:p>
            <a:pPr lvl="1" eaLnBrk="1" hangingPunct="1"/>
            <a:r>
              <a:rPr lang="de-CH" altLang="de-DE" dirty="0"/>
              <a:t>Sed diam Lorem ipsum dolor sit amet, consetetur sadipscing elitr, sed diam</a:t>
            </a:r>
          </a:p>
        </p:txBody>
      </p:sp>
      <p:sp>
        <p:nvSpPr>
          <p:cNvPr id="48138" name="Inhaltsplatzhalter 6">
            <a:extLst>
              <a:ext uri="{FF2B5EF4-FFF2-40B4-BE49-F238E27FC236}">
                <a16:creationId xmlns:a16="http://schemas.microsoft.com/office/drawing/2014/main" id="{4CB45F70-5671-D1FC-F4C2-4C5F52C8C6C6}"/>
              </a:ext>
            </a:extLst>
          </p:cNvPr>
          <p:cNvSpPr txBox="1">
            <a:spLocks noChangeArrowheads="1"/>
          </p:cNvSpPr>
          <p:nvPr/>
        </p:nvSpPr>
        <p:spPr bwMode="auto">
          <a:xfrm>
            <a:off x="6572250" y="4083050"/>
            <a:ext cx="5967413" cy="1625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84163" indent="-284163"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solidFill>
                  <a:schemeClr val="tx1"/>
                </a:solidFill>
              </a:rPr>
              <a:t>Überschrift</a:t>
            </a:r>
          </a:p>
          <a:p>
            <a:pPr eaLnBrk="1" hangingPunct="1">
              <a:buFont typeface="Frutiger for ZKB Light" panose="020B0303030504020204" pitchFamily="34" charset="0"/>
              <a:buChar char="–"/>
            </a:pPr>
            <a:r>
              <a:rPr lang="de-CH" altLang="de-DE" dirty="0"/>
              <a:t>Lorem ipsum dolor sit amet, consetetur sadipscing elitr</a:t>
            </a:r>
          </a:p>
          <a:p>
            <a:pPr eaLnBrk="1" hangingPunct="1">
              <a:buFont typeface="Frutiger for ZKB Light" panose="020B0303030504020204" pitchFamily="34" charset="0"/>
              <a:buChar char="–"/>
            </a:pPr>
            <a:r>
              <a:rPr lang="de-CH" altLang="de-DE" dirty="0"/>
              <a:t>Sed diam nonumy eirmod tempor invidunt ut labore et dolore magna aliquyam erat</a:t>
            </a:r>
          </a:p>
          <a:p>
            <a:pPr eaLnBrk="1" hangingPunct="1">
              <a:buFont typeface="Frutiger for ZKB Light" panose="020B0303030504020204" pitchFamily="34" charset="0"/>
              <a:buChar char="–"/>
            </a:pPr>
            <a:r>
              <a:rPr lang="de-CH" altLang="de-DE" dirty="0"/>
              <a:t>Sed diam Lorem ipsum dolor sit amet, consetetur sadipscing elitr, sed diam</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178" name="think-cell data - do not delete" hidden="1">
            <a:extLst>
              <a:ext uri="{FF2B5EF4-FFF2-40B4-BE49-F238E27FC236}">
                <a16:creationId xmlns:a16="http://schemas.microsoft.com/office/drawing/2014/main" id="{4A2B5F6D-D64B-02A8-55BC-B78677E4530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0178" name="think-cell data - do not delete" hidden="1">
                        <a:extLst>
                          <a:ext uri="{FF2B5EF4-FFF2-40B4-BE49-F238E27FC236}">
                            <a16:creationId xmlns:a16="http://schemas.microsoft.com/office/drawing/2014/main" id="{4A2B5F6D-D64B-02A8-55BC-B78677E4530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0179" name="Titel 1">
            <a:extLst>
              <a:ext uri="{FF2B5EF4-FFF2-40B4-BE49-F238E27FC236}">
                <a16:creationId xmlns:a16="http://schemas.microsoft.com/office/drawing/2014/main" id="{2867EF47-A2AB-5877-F743-58C918D47039}"/>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Liste nummeriert</a:t>
            </a:r>
          </a:p>
        </p:txBody>
      </p:sp>
      <p:sp>
        <p:nvSpPr>
          <p:cNvPr id="50180" name="Foliennummernplatzhalter 11">
            <a:extLst>
              <a:ext uri="{FF2B5EF4-FFF2-40B4-BE49-F238E27FC236}">
                <a16:creationId xmlns:a16="http://schemas.microsoft.com/office/drawing/2014/main" id="{287A67BB-4B4B-FA43-BCCC-7EF74A572ABD}"/>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D30ED05C-719D-4467-A722-4D156376AB9A}" type="slidenum">
              <a:rPr lang="de-CH" altLang="de-DE" sz="1100" smtClean="0">
                <a:solidFill>
                  <a:srgbClr val="003CB4"/>
                </a:solidFill>
                <a:latin typeface="Frutiger for ZKB Light" panose="020B0303030504020204" pitchFamily="34" charset="0"/>
              </a:rPr>
              <a:pPr>
                <a:spcBef>
                  <a:spcPct val="0"/>
                </a:spcBef>
                <a:spcAft>
                  <a:spcPct val="0"/>
                </a:spcAft>
              </a:pPr>
              <a:t>28</a:t>
            </a:fld>
            <a:endParaRPr lang="de-CH" altLang="de-DE" sz="1100" dirty="0">
              <a:solidFill>
                <a:srgbClr val="003CB4"/>
              </a:solidFill>
              <a:latin typeface="Frutiger for ZKB Light" panose="020B0303030504020204" pitchFamily="34" charset="0"/>
            </a:endParaRPr>
          </a:p>
        </p:txBody>
      </p:sp>
      <p:sp>
        <p:nvSpPr>
          <p:cNvPr id="50181" name="Fußzeilenplatzhalter 8">
            <a:extLst>
              <a:ext uri="{FF2B5EF4-FFF2-40B4-BE49-F238E27FC236}">
                <a16:creationId xmlns:a16="http://schemas.microsoft.com/office/drawing/2014/main" id="{CABDB2F7-3F99-73CE-67AB-D71FB4E149D2}"/>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8" name="Inhaltsplatzhalter 2">
            <a:extLst>
              <a:ext uri="{FF2B5EF4-FFF2-40B4-BE49-F238E27FC236}">
                <a16:creationId xmlns:a16="http://schemas.microsoft.com/office/drawing/2014/main" id="{6304F9EE-D2B6-4672-F8C4-0909C7112B20}"/>
              </a:ext>
            </a:extLst>
          </p:cNvPr>
          <p:cNvSpPr txBox="1">
            <a:spLocks/>
          </p:cNvSpPr>
          <p:nvPr/>
        </p:nvSpPr>
        <p:spPr>
          <a:xfrm>
            <a:off x="306388" y="1851025"/>
            <a:ext cx="536575" cy="493713"/>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95000"/>
              </a:lnSpc>
              <a:defRPr/>
            </a:pPr>
            <a:r>
              <a:rPr lang="de-CH" sz="4400" b="1" dirty="0"/>
              <a:t>1</a:t>
            </a:r>
            <a:endParaRPr lang="de-CH" sz="4400" dirty="0"/>
          </a:p>
        </p:txBody>
      </p:sp>
      <p:sp>
        <p:nvSpPr>
          <p:cNvPr id="10" name="Inhaltsplatzhalter 2">
            <a:extLst>
              <a:ext uri="{FF2B5EF4-FFF2-40B4-BE49-F238E27FC236}">
                <a16:creationId xmlns:a16="http://schemas.microsoft.com/office/drawing/2014/main" id="{04D9F64F-A489-D8FC-88F3-F1B470CA9457}"/>
              </a:ext>
            </a:extLst>
          </p:cNvPr>
          <p:cNvSpPr txBox="1">
            <a:spLocks/>
          </p:cNvSpPr>
          <p:nvPr/>
        </p:nvSpPr>
        <p:spPr>
          <a:xfrm>
            <a:off x="4483100" y="1851025"/>
            <a:ext cx="536575" cy="493713"/>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95000"/>
              </a:lnSpc>
              <a:defRPr/>
            </a:pPr>
            <a:r>
              <a:rPr lang="de-CH" sz="4400" b="1" dirty="0"/>
              <a:t>2</a:t>
            </a:r>
            <a:endParaRPr lang="de-CH" sz="4400" dirty="0"/>
          </a:p>
        </p:txBody>
      </p:sp>
      <p:sp>
        <p:nvSpPr>
          <p:cNvPr id="13" name="Inhaltsplatzhalter 2">
            <a:extLst>
              <a:ext uri="{FF2B5EF4-FFF2-40B4-BE49-F238E27FC236}">
                <a16:creationId xmlns:a16="http://schemas.microsoft.com/office/drawing/2014/main" id="{4AA5BA34-7359-E04D-A830-86494A440C75}"/>
              </a:ext>
            </a:extLst>
          </p:cNvPr>
          <p:cNvSpPr txBox="1">
            <a:spLocks/>
          </p:cNvSpPr>
          <p:nvPr/>
        </p:nvSpPr>
        <p:spPr>
          <a:xfrm>
            <a:off x="8659813" y="1851025"/>
            <a:ext cx="536575" cy="493713"/>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95000"/>
              </a:lnSpc>
              <a:defRPr/>
            </a:pPr>
            <a:r>
              <a:rPr lang="de-CH" sz="4400" b="1" dirty="0"/>
              <a:t>3</a:t>
            </a:r>
            <a:endParaRPr lang="de-CH" sz="4400" dirty="0"/>
          </a:p>
        </p:txBody>
      </p:sp>
      <p:sp>
        <p:nvSpPr>
          <p:cNvPr id="18" name="Inhaltsplatzhalter 2">
            <a:extLst>
              <a:ext uri="{FF2B5EF4-FFF2-40B4-BE49-F238E27FC236}">
                <a16:creationId xmlns:a16="http://schemas.microsoft.com/office/drawing/2014/main" id="{697E0A85-A97C-B6CA-DA2F-F42876E5CEF5}"/>
              </a:ext>
            </a:extLst>
          </p:cNvPr>
          <p:cNvSpPr txBox="1">
            <a:spLocks/>
          </p:cNvSpPr>
          <p:nvPr/>
        </p:nvSpPr>
        <p:spPr>
          <a:xfrm>
            <a:off x="8659813" y="4356100"/>
            <a:ext cx="536575" cy="536575"/>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95000"/>
              </a:lnSpc>
              <a:defRPr/>
            </a:pPr>
            <a:r>
              <a:rPr lang="de-CH" sz="4400" b="1" dirty="0"/>
              <a:t>6</a:t>
            </a:r>
            <a:endParaRPr lang="de-CH" sz="4400" dirty="0"/>
          </a:p>
        </p:txBody>
      </p:sp>
      <p:sp>
        <p:nvSpPr>
          <p:cNvPr id="28" name="Inhaltsplatzhalter 2">
            <a:extLst>
              <a:ext uri="{FF2B5EF4-FFF2-40B4-BE49-F238E27FC236}">
                <a16:creationId xmlns:a16="http://schemas.microsoft.com/office/drawing/2014/main" id="{DBA185B1-97E6-7A0C-A43D-2173E411F48C}"/>
              </a:ext>
            </a:extLst>
          </p:cNvPr>
          <p:cNvSpPr txBox="1">
            <a:spLocks/>
          </p:cNvSpPr>
          <p:nvPr/>
        </p:nvSpPr>
        <p:spPr>
          <a:xfrm>
            <a:off x="4483100" y="4356100"/>
            <a:ext cx="536575" cy="536575"/>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95000"/>
              </a:lnSpc>
              <a:defRPr/>
            </a:pPr>
            <a:r>
              <a:rPr lang="de-CH" sz="4400" b="1" dirty="0"/>
              <a:t>5</a:t>
            </a:r>
            <a:endParaRPr lang="de-CH" sz="4400" dirty="0"/>
          </a:p>
        </p:txBody>
      </p:sp>
      <p:sp>
        <p:nvSpPr>
          <p:cNvPr id="30" name="Inhaltsplatzhalter 2">
            <a:extLst>
              <a:ext uri="{FF2B5EF4-FFF2-40B4-BE49-F238E27FC236}">
                <a16:creationId xmlns:a16="http://schemas.microsoft.com/office/drawing/2014/main" id="{25D526B2-5D0A-DB06-5B68-D817E8055874}"/>
              </a:ext>
            </a:extLst>
          </p:cNvPr>
          <p:cNvSpPr txBox="1">
            <a:spLocks/>
          </p:cNvSpPr>
          <p:nvPr/>
        </p:nvSpPr>
        <p:spPr>
          <a:xfrm>
            <a:off x="306388" y="4356100"/>
            <a:ext cx="536575" cy="536575"/>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95000"/>
              </a:lnSpc>
              <a:defRPr/>
            </a:pPr>
            <a:r>
              <a:rPr lang="de-CH" sz="4400" b="1" dirty="0"/>
              <a:t>4</a:t>
            </a:r>
            <a:endParaRPr lang="de-CH" sz="4400" dirty="0"/>
          </a:p>
        </p:txBody>
      </p:sp>
      <p:sp>
        <p:nvSpPr>
          <p:cNvPr id="3" name="Inhaltsplatzhalter 2">
            <a:extLst>
              <a:ext uri="{FF2B5EF4-FFF2-40B4-BE49-F238E27FC236}">
                <a16:creationId xmlns:a16="http://schemas.microsoft.com/office/drawing/2014/main" id="{7F0E1C5C-7C84-CBF6-05C1-24183C8D4090}"/>
              </a:ext>
            </a:extLst>
          </p:cNvPr>
          <p:cNvSpPr txBox="1">
            <a:spLocks/>
          </p:cNvSpPr>
          <p:nvPr/>
        </p:nvSpPr>
        <p:spPr>
          <a:xfrm>
            <a:off x="306388" y="4956175"/>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4" name="Inhaltsplatzhalter 2">
            <a:extLst>
              <a:ext uri="{FF2B5EF4-FFF2-40B4-BE49-F238E27FC236}">
                <a16:creationId xmlns:a16="http://schemas.microsoft.com/office/drawing/2014/main" id="{997A0728-93C5-F27F-6C56-D0D74B8ACAA8}"/>
              </a:ext>
            </a:extLst>
          </p:cNvPr>
          <p:cNvSpPr txBox="1">
            <a:spLocks/>
          </p:cNvSpPr>
          <p:nvPr/>
        </p:nvSpPr>
        <p:spPr>
          <a:xfrm>
            <a:off x="306388" y="2463800"/>
            <a:ext cx="3744912"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5" name="Inhaltsplatzhalter 2">
            <a:extLst>
              <a:ext uri="{FF2B5EF4-FFF2-40B4-BE49-F238E27FC236}">
                <a16:creationId xmlns:a16="http://schemas.microsoft.com/office/drawing/2014/main" id="{3A6CFE64-6043-9EB5-E7FE-FCB365F8132A}"/>
              </a:ext>
            </a:extLst>
          </p:cNvPr>
          <p:cNvSpPr txBox="1">
            <a:spLocks/>
          </p:cNvSpPr>
          <p:nvPr/>
        </p:nvSpPr>
        <p:spPr>
          <a:xfrm>
            <a:off x="4483100" y="4956175"/>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6" name="Inhaltsplatzhalter 2">
            <a:extLst>
              <a:ext uri="{FF2B5EF4-FFF2-40B4-BE49-F238E27FC236}">
                <a16:creationId xmlns:a16="http://schemas.microsoft.com/office/drawing/2014/main" id="{6E3A13DF-0295-6897-2455-C5C48ED895C3}"/>
              </a:ext>
            </a:extLst>
          </p:cNvPr>
          <p:cNvSpPr txBox="1">
            <a:spLocks/>
          </p:cNvSpPr>
          <p:nvPr/>
        </p:nvSpPr>
        <p:spPr>
          <a:xfrm>
            <a:off x="4483100" y="2463800"/>
            <a:ext cx="3744913"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15" name="Inhaltsplatzhalter 2">
            <a:extLst>
              <a:ext uri="{FF2B5EF4-FFF2-40B4-BE49-F238E27FC236}">
                <a16:creationId xmlns:a16="http://schemas.microsoft.com/office/drawing/2014/main" id="{DCBDC0C5-45EA-3B54-7D52-E2A53789FA06}"/>
              </a:ext>
            </a:extLst>
          </p:cNvPr>
          <p:cNvSpPr txBox="1">
            <a:spLocks/>
          </p:cNvSpPr>
          <p:nvPr/>
        </p:nvSpPr>
        <p:spPr>
          <a:xfrm>
            <a:off x="8659813" y="4956175"/>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16" name="Inhaltsplatzhalter 2">
            <a:extLst>
              <a:ext uri="{FF2B5EF4-FFF2-40B4-BE49-F238E27FC236}">
                <a16:creationId xmlns:a16="http://schemas.microsoft.com/office/drawing/2014/main" id="{1253FAAF-E585-F1C9-4D34-17B2AC024559}"/>
              </a:ext>
            </a:extLst>
          </p:cNvPr>
          <p:cNvSpPr txBox="1">
            <a:spLocks/>
          </p:cNvSpPr>
          <p:nvPr/>
        </p:nvSpPr>
        <p:spPr>
          <a:xfrm>
            <a:off x="8659813" y="2463800"/>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02" name="think-cell data - do not delete" hidden="1">
            <a:extLst>
              <a:ext uri="{FF2B5EF4-FFF2-40B4-BE49-F238E27FC236}">
                <a16:creationId xmlns:a16="http://schemas.microsoft.com/office/drawing/2014/main" id="{19C53A33-23FA-B813-D026-725015C1051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1202" name="think-cell data - do not delete" hidden="1">
                        <a:extLst>
                          <a:ext uri="{FF2B5EF4-FFF2-40B4-BE49-F238E27FC236}">
                            <a16:creationId xmlns:a16="http://schemas.microsoft.com/office/drawing/2014/main" id="{19C53A33-23FA-B813-D026-725015C1051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3" name="Titel 1">
            <a:extLst>
              <a:ext uri="{FF2B5EF4-FFF2-40B4-BE49-F238E27FC236}">
                <a16:creationId xmlns:a16="http://schemas.microsoft.com/office/drawing/2014/main" id="{AFBF5395-6A55-2D47-F205-D6FB3BC8A05F}"/>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Liste mit Piktogrammen</a:t>
            </a:r>
          </a:p>
        </p:txBody>
      </p:sp>
      <p:sp>
        <p:nvSpPr>
          <p:cNvPr id="51204" name="Foliennummernplatzhalter 19">
            <a:extLst>
              <a:ext uri="{FF2B5EF4-FFF2-40B4-BE49-F238E27FC236}">
                <a16:creationId xmlns:a16="http://schemas.microsoft.com/office/drawing/2014/main" id="{D7E1FEEE-470E-D4B8-64D5-6768F2D56887}"/>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52E9F2D8-A216-48B9-8232-CEE58055CCBB}" type="slidenum">
              <a:rPr lang="de-CH" altLang="de-DE" sz="1100" smtClean="0">
                <a:solidFill>
                  <a:srgbClr val="003CB4"/>
                </a:solidFill>
                <a:latin typeface="Frutiger for ZKB Light" panose="020B0303030504020204" pitchFamily="34" charset="0"/>
              </a:rPr>
              <a:pPr>
                <a:spcBef>
                  <a:spcPct val="0"/>
                </a:spcBef>
                <a:spcAft>
                  <a:spcPct val="0"/>
                </a:spcAft>
              </a:pPr>
              <a:t>29</a:t>
            </a:fld>
            <a:endParaRPr lang="de-CH" altLang="de-DE" sz="1100" dirty="0">
              <a:solidFill>
                <a:srgbClr val="003CB4"/>
              </a:solidFill>
              <a:latin typeface="Frutiger for ZKB Light" panose="020B0303030504020204" pitchFamily="34" charset="0"/>
            </a:endParaRPr>
          </a:p>
        </p:txBody>
      </p:sp>
      <p:sp>
        <p:nvSpPr>
          <p:cNvPr id="51205" name="Fußzeilenplatzhalter 10">
            <a:extLst>
              <a:ext uri="{FF2B5EF4-FFF2-40B4-BE49-F238E27FC236}">
                <a16:creationId xmlns:a16="http://schemas.microsoft.com/office/drawing/2014/main" id="{E038454D-5F1B-A2BD-C3F5-EBD2A7723648}"/>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9" name="Inhaltsplatzhalter 2">
            <a:extLst>
              <a:ext uri="{FF2B5EF4-FFF2-40B4-BE49-F238E27FC236}">
                <a16:creationId xmlns:a16="http://schemas.microsoft.com/office/drawing/2014/main" id="{763981E3-9DC7-B01A-CD23-4E0DB95A3989}"/>
              </a:ext>
            </a:extLst>
          </p:cNvPr>
          <p:cNvSpPr txBox="1">
            <a:spLocks/>
          </p:cNvSpPr>
          <p:nvPr/>
        </p:nvSpPr>
        <p:spPr>
          <a:xfrm>
            <a:off x="306388" y="4956175"/>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12" name="Inhaltsplatzhalter 2">
            <a:extLst>
              <a:ext uri="{FF2B5EF4-FFF2-40B4-BE49-F238E27FC236}">
                <a16:creationId xmlns:a16="http://schemas.microsoft.com/office/drawing/2014/main" id="{0E6DB44C-BB05-11C2-427B-D6282B5B13ED}"/>
              </a:ext>
            </a:extLst>
          </p:cNvPr>
          <p:cNvSpPr txBox="1">
            <a:spLocks/>
          </p:cNvSpPr>
          <p:nvPr/>
        </p:nvSpPr>
        <p:spPr>
          <a:xfrm>
            <a:off x="306388" y="2463800"/>
            <a:ext cx="3744912"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15" name="Inhaltsplatzhalter 2">
            <a:extLst>
              <a:ext uri="{FF2B5EF4-FFF2-40B4-BE49-F238E27FC236}">
                <a16:creationId xmlns:a16="http://schemas.microsoft.com/office/drawing/2014/main" id="{F4DEF538-51B8-9A5D-B496-C0129DCA8B76}"/>
              </a:ext>
            </a:extLst>
          </p:cNvPr>
          <p:cNvSpPr txBox="1">
            <a:spLocks/>
          </p:cNvSpPr>
          <p:nvPr/>
        </p:nvSpPr>
        <p:spPr>
          <a:xfrm>
            <a:off x="4483100" y="4956175"/>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16" name="Inhaltsplatzhalter 2">
            <a:extLst>
              <a:ext uri="{FF2B5EF4-FFF2-40B4-BE49-F238E27FC236}">
                <a16:creationId xmlns:a16="http://schemas.microsoft.com/office/drawing/2014/main" id="{33CC1FD8-0BC9-6831-9BA1-4FD709ACF68D}"/>
              </a:ext>
            </a:extLst>
          </p:cNvPr>
          <p:cNvSpPr txBox="1">
            <a:spLocks/>
          </p:cNvSpPr>
          <p:nvPr/>
        </p:nvSpPr>
        <p:spPr>
          <a:xfrm>
            <a:off x="4483100" y="2463800"/>
            <a:ext cx="3744913"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18" name="Inhaltsplatzhalter 2">
            <a:extLst>
              <a:ext uri="{FF2B5EF4-FFF2-40B4-BE49-F238E27FC236}">
                <a16:creationId xmlns:a16="http://schemas.microsoft.com/office/drawing/2014/main" id="{5FC9DA67-E794-C363-39F8-B8D8321DACC8}"/>
              </a:ext>
            </a:extLst>
          </p:cNvPr>
          <p:cNvSpPr txBox="1">
            <a:spLocks/>
          </p:cNvSpPr>
          <p:nvPr/>
        </p:nvSpPr>
        <p:spPr>
          <a:xfrm>
            <a:off x="8659813" y="4956175"/>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19" name="Inhaltsplatzhalter 2">
            <a:extLst>
              <a:ext uri="{FF2B5EF4-FFF2-40B4-BE49-F238E27FC236}">
                <a16:creationId xmlns:a16="http://schemas.microsoft.com/office/drawing/2014/main" id="{E3120DDF-15F4-2034-CFAA-E650E5222FB6}"/>
              </a:ext>
            </a:extLst>
          </p:cNvPr>
          <p:cNvSpPr txBox="1">
            <a:spLocks/>
          </p:cNvSpPr>
          <p:nvPr/>
        </p:nvSpPr>
        <p:spPr>
          <a:xfrm>
            <a:off x="8659813" y="2463800"/>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pic>
        <p:nvPicPr>
          <p:cNvPr id="2" name="Inhaltsplatzhalter 7">
            <a:extLst>
              <a:ext uri="{FF2B5EF4-FFF2-40B4-BE49-F238E27FC236}">
                <a16:creationId xmlns:a16="http://schemas.microsoft.com/office/drawing/2014/main" id="{4BA3E39C-F296-21EC-327B-FA0E4D8C8BC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8660328" y="4301793"/>
            <a:ext cx="520711" cy="520711"/>
          </a:xfrm>
          <a:prstGeom prst="rect">
            <a:avLst/>
          </a:prstGeom>
        </p:spPr>
      </p:pic>
      <p:pic>
        <p:nvPicPr>
          <p:cNvPr id="3" name="Grafik 2">
            <a:extLst>
              <a:ext uri="{FF2B5EF4-FFF2-40B4-BE49-F238E27FC236}">
                <a16:creationId xmlns:a16="http://schemas.microsoft.com/office/drawing/2014/main" id="{BB45DE0B-B0B7-AFA0-A354-DB17282745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7107" y="1809414"/>
            <a:ext cx="520711" cy="520711"/>
          </a:xfrm>
          <a:prstGeom prst="rect">
            <a:avLst/>
          </a:prstGeom>
        </p:spPr>
      </p:pic>
      <p:pic>
        <p:nvPicPr>
          <p:cNvPr id="4" name="Grafik 3">
            <a:extLst>
              <a:ext uri="{FF2B5EF4-FFF2-40B4-BE49-F238E27FC236}">
                <a16:creationId xmlns:a16="http://schemas.microsoft.com/office/drawing/2014/main" id="{AE7C9302-5ABB-CBB1-AA9A-8CFAFB084F0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660328" y="1809414"/>
            <a:ext cx="520711" cy="520711"/>
          </a:xfrm>
          <a:prstGeom prst="rect">
            <a:avLst/>
          </a:prstGeom>
        </p:spPr>
      </p:pic>
      <p:pic>
        <p:nvPicPr>
          <p:cNvPr id="5" name="Grafik 4">
            <a:extLst>
              <a:ext uri="{FF2B5EF4-FFF2-40B4-BE49-F238E27FC236}">
                <a16:creationId xmlns:a16="http://schemas.microsoft.com/office/drawing/2014/main" id="{0740E4C5-CB6F-E502-0002-88B8861ED2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483717" y="1809414"/>
            <a:ext cx="520711" cy="520711"/>
          </a:xfrm>
          <a:prstGeom prst="rect">
            <a:avLst/>
          </a:prstGeom>
        </p:spPr>
      </p:pic>
      <p:pic>
        <p:nvPicPr>
          <p:cNvPr id="6" name="Grafik 5">
            <a:extLst>
              <a:ext uri="{FF2B5EF4-FFF2-40B4-BE49-F238E27FC236}">
                <a16:creationId xmlns:a16="http://schemas.microsoft.com/office/drawing/2014/main" id="{594DCBEC-4273-2506-A091-D244E17B60F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483717" y="4301793"/>
            <a:ext cx="520711" cy="520711"/>
          </a:xfrm>
          <a:prstGeom prst="rect">
            <a:avLst/>
          </a:prstGeom>
        </p:spPr>
      </p:pic>
      <p:pic>
        <p:nvPicPr>
          <p:cNvPr id="7" name="Grafik 6">
            <a:extLst>
              <a:ext uri="{FF2B5EF4-FFF2-40B4-BE49-F238E27FC236}">
                <a16:creationId xmlns:a16="http://schemas.microsoft.com/office/drawing/2014/main" id="{E4B5F2B2-7C15-9126-465E-6134499F259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07107" y="4301793"/>
            <a:ext cx="520711" cy="520711"/>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Bildplatzhalter 19">
            <a:extLst>
              <a:ext uri="{FF2B5EF4-FFF2-40B4-BE49-F238E27FC236}">
                <a16:creationId xmlns:a16="http://schemas.microsoft.com/office/drawing/2014/main" id="{4D1446C9-6661-4253-8E82-0BFFADC96A0E}"/>
              </a:ext>
            </a:extLst>
          </p:cNvPr>
          <p:cNvPicPr>
            <a:picLocks noGrp="1" noChangeAspect="1" noChangeArrowheads="1"/>
          </p:cNvPicPr>
          <p:nvPr>
            <p:ph type="pic" sz="quarter" idx="12"/>
          </p:nvPr>
        </p:nvPicPr>
        <p:blipFill>
          <a:blip r:embed="rId3">
            <a:extLst>
              <a:ext uri="{28A0092B-C50C-407E-A947-70E740481C1C}">
                <a14:useLocalDpi xmlns:a14="http://schemas.microsoft.com/office/drawing/2010/main" val="0"/>
              </a:ext>
            </a:extLst>
          </a:blip>
          <a:srcRect b="-5951"/>
          <a:stretch>
            <a:fillRect/>
          </a:stretch>
        </p:blipFill>
        <p:spPr>
          <a:xfrm>
            <a:off x="6577013" y="1885950"/>
            <a:ext cx="5972175" cy="4748213"/>
          </a:xfrm>
        </p:spPr>
      </p:pic>
      <p:graphicFrame>
        <p:nvGraphicFramePr>
          <p:cNvPr id="22531" name="think-cell data - do not delete" hidden="1">
            <a:extLst>
              <a:ext uri="{FF2B5EF4-FFF2-40B4-BE49-F238E27FC236}">
                <a16:creationId xmlns:a16="http://schemas.microsoft.com/office/drawing/2014/main" id="{879C5A6A-26FF-3825-968C-B1B829370C5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22531" name="think-cell data - do not delete" hidden="1">
                        <a:extLst>
                          <a:ext uri="{FF2B5EF4-FFF2-40B4-BE49-F238E27FC236}">
                            <a16:creationId xmlns:a16="http://schemas.microsoft.com/office/drawing/2014/main" id="{879C5A6A-26FF-3825-968C-B1B829370C5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2" name="Titel 2">
            <a:extLst>
              <a:ext uri="{FF2B5EF4-FFF2-40B4-BE49-F238E27FC236}">
                <a16:creationId xmlns:a16="http://schemas.microsoft.com/office/drawing/2014/main" id="{7859D306-01BF-9831-61DB-A5615AAF3C8C}"/>
              </a:ext>
            </a:extLst>
          </p:cNvPr>
          <p:cNvSpPr>
            <a:spLocks noGrp="1" noChangeArrowheads="1"/>
          </p:cNvSpPr>
          <p:nvPr>
            <p:ph type="title"/>
          </p:nvPr>
        </p:nvSpPr>
        <p:spPr>
          <a:xfrm>
            <a:off x="306388" y="1885950"/>
            <a:ext cx="9086850" cy="4748213"/>
          </a:xfrm>
        </p:spPr>
        <p:txBody>
          <a:bodyPr/>
          <a:lstStyle/>
          <a:p>
            <a:pPr eaLnBrk="1" hangingPunct="1">
              <a:spcBef>
                <a:spcPct val="0"/>
              </a:spcBef>
              <a:spcAft>
                <a:spcPct val="0"/>
              </a:spcAft>
            </a:pPr>
            <a:r>
              <a:rPr lang="de-CH" altLang="de-DE" dirty="0">
                <a:solidFill>
                  <a:schemeClr val="bg1"/>
                </a:solidFill>
              </a:rPr>
              <a:t>Lorem ipsum </a:t>
            </a:r>
            <a:br>
              <a:rPr lang="de-CH" altLang="de-DE" dirty="0">
                <a:solidFill>
                  <a:schemeClr val="bg1"/>
                </a:solidFill>
              </a:rPr>
            </a:br>
            <a:r>
              <a:rPr lang="de-CH" altLang="de-DE" dirty="0">
                <a:solidFill>
                  <a:schemeClr val="bg1"/>
                </a:solidFill>
              </a:rPr>
              <a:t>dolor sit amet, consetetur</a:t>
            </a:r>
            <a:endParaRPr lang="de-CH" altLang="de-DE" dirty="0"/>
          </a:p>
        </p:txBody>
      </p:sp>
      <p:sp>
        <p:nvSpPr>
          <p:cNvPr id="22533" name="Untertitel 9">
            <a:extLst>
              <a:ext uri="{FF2B5EF4-FFF2-40B4-BE49-F238E27FC236}">
                <a16:creationId xmlns:a16="http://schemas.microsoft.com/office/drawing/2014/main" id="{A0609086-E240-212C-5AEB-F04AFC0C691D}"/>
              </a:ext>
            </a:extLst>
          </p:cNvPr>
          <p:cNvSpPr>
            <a:spLocks noGrp="1" noChangeArrowheads="1"/>
          </p:cNvSpPr>
          <p:nvPr>
            <p:ph type="subTitle" idx="10"/>
          </p:nvPr>
        </p:nvSpPr>
        <p:spPr>
          <a:xfrm>
            <a:off x="306388" y="287338"/>
            <a:ext cx="9086850" cy="246062"/>
          </a:xfrm>
        </p:spPr>
        <p:txBody>
          <a:bodyPr/>
          <a:lstStyle/>
          <a:p>
            <a:pPr eaLnBrk="1" hangingPunct="1">
              <a:spcBef>
                <a:spcPct val="0"/>
              </a:spcBef>
              <a:spcAft>
                <a:spcPct val="0"/>
              </a:spcAft>
            </a:pPr>
            <a:r>
              <a:rPr lang="de-CH" altLang="de-DE" dirty="0">
                <a:cs typeface="Aharoni" panose="020F0502020204030204" pitchFamily="2" charset="-79"/>
              </a:rPr>
              <a:t>Titel</a:t>
            </a:r>
          </a:p>
        </p:txBody>
      </p:sp>
      <p:sp>
        <p:nvSpPr>
          <p:cNvPr id="22534" name="Textplatzhalter 13">
            <a:extLst>
              <a:ext uri="{FF2B5EF4-FFF2-40B4-BE49-F238E27FC236}">
                <a16:creationId xmlns:a16="http://schemas.microsoft.com/office/drawing/2014/main" id="{BE50C000-0943-4F96-6BF1-9C6CF85AB588}"/>
              </a:ext>
            </a:extLst>
          </p:cNvPr>
          <p:cNvSpPr>
            <a:spLocks noGrp="1" noChangeArrowheads="1"/>
          </p:cNvSpPr>
          <p:nvPr>
            <p:ph type="body" sz="quarter" idx="11"/>
          </p:nvPr>
        </p:nvSpPr>
        <p:spPr>
          <a:xfrm>
            <a:off x="306388" y="554038"/>
            <a:ext cx="9086850" cy="246062"/>
          </a:xfrm>
        </p:spPr>
        <p:txBody>
          <a:bodyPr/>
          <a:lstStyle/>
          <a:p>
            <a:pPr eaLnBrk="1" hangingPunct="1">
              <a:spcBef>
                <a:spcPct val="0"/>
              </a:spcBef>
              <a:spcAft>
                <a:spcPct val="0"/>
              </a:spcAft>
            </a:pPr>
            <a:r>
              <a:rPr lang="de-CH" altLang="de-DE" dirty="0">
                <a:cs typeface="Aharoni" panose="020F0502020204030204" pitchFamily="2" charset="-79"/>
              </a:rPr>
              <a:t>Vorname Name, Abteilung, 00. Monat Jahr</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226" name="think-cell data - do not delete" hidden="1">
            <a:extLst>
              <a:ext uri="{FF2B5EF4-FFF2-40B4-BE49-F238E27FC236}">
                <a16:creationId xmlns:a16="http://schemas.microsoft.com/office/drawing/2014/main" id="{0659B889-0017-A771-D6C1-21B5B993BEA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2226" name="think-cell data - do not delete" hidden="1">
                        <a:extLst>
                          <a:ext uri="{FF2B5EF4-FFF2-40B4-BE49-F238E27FC236}">
                            <a16:creationId xmlns:a16="http://schemas.microsoft.com/office/drawing/2014/main" id="{0659B889-0017-A771-D6C1-21B5B993BE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2227" name="Titel 1">
            <a:extLst>
              <a:ext uri="{FF2B5EF4-FFF2-40B4-BE49-F238E27FC236}">
                <a16:creationId xmlns:a16="http://schemas.microsoft.com/office/drawing/2014/main" id="{62FAC2C0-F581-FF80-68BE-2CD05089C731}"/>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Liste mit wichtigen Zahlen und Hervorhebung</a:t>
            </a:r>
          </a:p>
        </p:txBody>
      </p:sp>
      <p:sp>
        <p:nvSpPr>
          <p:cNvPr id="52228" name="Foliennummernplatzhalter 14">
            <a:extLst>
              <a:ext uri="{FF2B5EF4-FFF2-40B4-BE49-F238E27FC236}">
                <a16:creationId xmlns:a16="http://schemas.microsoft.com/office/drawing/2014/main" id="{C80655F5-1F42-16BB-41D6-43D945026C65}"/>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6C2BE8C4-CCF6-49EE-9BC3-854595926920}" type="slidenum">
              <a:rPr lang="de-CH" altLang="de-DE" sz="1100" smtClean="0">
                <a:solidFill>
                  <a:srgbClr val="003CB4"/>
                </a:solidFill>
                <a:latin typeface="Frutiger for ZKB Light" panose="020B0303030504020204" pitchFamily="34" charset="0"/>
              </a:rPr>
              <a:pPr>
                <a:spcBef>
                  <a:spcPct val="0"/>
                </a:spcBef>
                <a:spcAft>
                  <a:spcPct val="0"/>
                </a:spcAft>
              </a:pPr>
              <a:t>30</a:t>
            </a:fld>
            <a:endParaRPr lang="de-CH" altLang="de-DE" sz="1100" dirty="0">
              <a:solidFill>
                <a:srgbClr val="003CB4"/>
              </a:solidFill>
              <a:latin typeface="Frutiger for ZKB Light" panose="020B0303030504020204" pitchFamily="34" charset="0"/>
            </a:endParaRPr>
          </a:p>
        </p:txBody>
      </p:sp>
      <p:sp>
        <p:nvSpPr>
          <p:cNvPr id="52229" name="Fußzeilenplatzhalter 11">
            <a:extLst>
              <a:ext uri="{FF2B5EF4-FFF2-40B4-BE49-F238E27FC236}">
                <a16:creationId xmlns:a16="http://schemas.microsoft.com/office/drawing/2014/main" id="{81D736D1-2C47-BCDC-9DA4-81B5FD12DDFA}"/>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8" name="Inhaltsplatzhalter 2">
            <a:extLst>
              <a:ext uri="{FF2B5EF4-FFF2-40B4-BE49-F238E27FC236}">
                <a16:creationId xmlns:a16="http://schemas.microsoft.com/office/drawing/2014/main" id="{477555A3-41F2-F342-5A31-7E03959B576A}"/>
              </a:ext>
            </a:extLst>
          </p:cNvPr>
          <p:cNvSpPr txBox="1">
            <a:spLocks/>
          </p:cNvSpPr>
          <p:nvPr/>
        </p:nvSpPr>
        <p:spPr>
          <a:xfrm>
            <a:off x="312738" y="1782763"/>
            <a:ext cx="2212975" cy="536575"/>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95000"/>
              </a:lnSpc>
              <a:defRPr/>
            </a:pPr>
            <a:r>
              <a:rPr lang="de-CH" sz="4000" b="1" dirty="0">
                <a:solidFill>
                  <a:schemeClr val="accent6"/>
                </a:solidFill>
              </a:rPr>
              <a:t>12,4% </a:t>
            </a:r>
            <a:endParaRPr lang="de-CH" sz="4000" dirty="0">
              <a:solidFill>
                <a:schemeClr val="accent6"/>
              </a:solidFill>
            </a:endParaRPr>
          </a:p>
        </p:txBody>
      </p:sp>
      <p:sp>
        <p:nvSpPr>
          <p:cNvPr id="10" name="Inhaltsplatzhalter 2">
            <a:extLst>
              <a:ext uri="{FF2B5EF4-FFF2-40B4-BE49-F238E27FC236}">
                <a16:creationId xmlns:a16="http://schemas.microsoft.com/office/drawing/2014/main" id="{1AB569FF-6B98-7675-7068-D9FF6040DC57}"/>
              </a:ext>
            </a:extLst>
          </p:cNvPr>
          <p:cNvSpPr txBox="1">
            <a:spLocks/>
          </p:cNvSpPr>
          <p:nvPr/>
        </p:nvSpPr>
        <p:spPr>
          <a:xfrm>
            <a:off x="4489450" y="1782763"/>
            <a:ext cx="3078163" cy="536575"/>
          </a:xfrm>
          <a:prstGeom prst="rect">
            <a:avLst/>
          </a:prstGeom>
          <a:ln>
            <a:solidFill>
              <a:schemeClr val="bg1">
                <a:lumMod val="75000"/>
                <a:alpha val="0"/>
              </a:schemeClr>
            </a:solidFill>
          </a:ln>
        </p:spPr>
        <p:txBody>
          <a:bodyPr lIns="0" tIns="0" rIns="0" bIns="0"/>
          <a:lstStyle>
            <a:defPPr>
              <a:defRPr lang="de-CH"/>
            </a:defPPr>
            <a:lvl1pPr marL="0" indent="0" defTabSz="284221" eaLnBrk="1" latinLnBrk="0" hangingPunct="1">
              <a:lnSpc>
                <a:spcPct val="95000"/>
              </a:lnSpc>
              <a:spcBef>
                <a:spcPts val="0"/>
              </a:spcBef>
              <a:spcAft>
                <a:spcPts val="0"/>
              </a:spcAft>
              <a:buClr>
                <a:srgbClr val="003CB4"/>
              </a:buClr>
              <a:buFont typeface="Frutiger for ZKB Light" panose="020B0303030504020204" pitchFamily="34" charset="0"/>
              <a:buNone/>
              <a:defRPr sz="4000" b="1" i="0" u="none">
                <a:solidFill>
                  <a:srgbClr val="003CB4"/>
                </a:solidFill>
                <a:latin typeface="Frutiger for ZKB Light" panose="020B0303030504020204" pitchFamily="34" charset="0"/>
              </a:defRPr>
            </a:lvl1pPr>
            <a:lvl2pPr marL="284221" indent="-284221" defTabSz="284221"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a:solidFill>
                  <a:srgbClr val="003CB4"/>
                </a:solidFill>
                <a:latin typeface="Frutiger for ZKB Light" panose="020B0303030504020204" pitchFamily="34" charset="0"/>
              </a:defRPr>
            </a:lvl2pPr>
            <a:lvl3pPr marL="568442" indent="-284221" defTabSz="284221"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a:solidFill>
                  <a:srgbClr val="003CB4"/>
                </a:solidFill>
                <a:latin typeface="Frutiger for ZKB Light" panose="020B0303030504020204" pitchFamily="34" charset="0"/>
              </a:defRPr>
            </a:lvl3pPr>
            <a:lvl4pPr marL="852663" indent="-284221" defTabSz="284221"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a:solidFill>
                  <a:srgbClr val="003CB4"/>
                </a:solidFill>
                <a:latin typeface="Frutiger for ZKB Light" panose="020B0303030504020204" pitchFamily="34" charset="0"/>
              </a:defRPr>
            </a:lvl4pPr>
            <a:lvl5pPr marL="1136884" indent="-284221" defTabSz="284221"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a:solidFill>
                  <a:srgbClr val="003CB4"/>
                </a:solidFill>
                <a:latin typeface="Frutiger for ZKB Light" panose="020B0303030504020204" pitchFamily="34" charset="0"/>
              </a:defRPr>
            </a:lvl5pPr>
            <a:lvl6pPr marL="2651394" indent="-241036" defTabSz="964143">
              <a:lnSpc>
                <a:spcPct val="90000"/>
              </a:lnSpc>
              <a:spcBef>
                <a:spcPts val="527"/>
              </a:spcBef>
              <a:buFont typeface="Arial" panose="020B0604020202020204" pitchFamily="34" charset="0"/>
              <a:buChar char="•"/>
              <a:defRPr sz="1898">
                <a:latin typeface="+mn-lt"/>
              </a:defRPr>
            </a:lvl6pPr>
            <a:lvl7pPr marL="3133466" indent="-241036" defTabSz="964143">
              <a:lnSpc>
                <a:spcPct val="90000"/>
              </a:lnSpc>
              <a:spcBef>
                <a:spcPts val="527"/>
              </a:spcBef>
              <a:buFont typeface="Arial" panose="020B0604020202020204" pitchFamily="34" charset="0"/>
              <a:buChar char="•"/>
              <a:defRPr sz="1898">
                <a:latin typeface="+mn-lt"/>
              </a:defRPr>
            </a:lvl7pPr>
            <a:lvl8pPr marL="3615538" indent="-241036" defTabSz="964143">
              <a:lnSpc>
                <a:spcPct val="90000"/>
              </a:lnSpc>
              <a:spcBef>
                <a:spcPts val="527"/>
              </a:spcBef>
              <a:buFont typeface="Arial" panose="020B0604020202020204" pitchFamily="34" charset="0"/>
              <a:buChar char="•"/>
              <a:defRPr sz="1898">
                <a:latin typeface="+mn-lt"/>
              </a:defRPr>
            </a:lvl8pPr>
            <a:lvl9pPr marL="4097609" indent="-241036" defTabSz="964143">
              <a:lnSpc>
                <a:spcPct val="90000"/>
              </a:lnSpc>
              <a:spcBef>
                <a:spcPts val="527"/>
              </a:spcBef>
              <a:buFont typeface="Arial" panose="020B0604020202020204" pitchFamily="34" charset="0"/>
              <a:buChar char="•"/>
              <a:defRPr sz="1898">
                <a:latin typeface="+mn-lt"/>
              </a:defRPr>
            </a:lvl9pPr>
          </a:lstStyle>
          <a:p>
            <a:pPr>
              <a:defRPr/>
            </a:pPr>
            <a:r>
              <a:rPr lang="de-CH" dirty="0"/>
              <a:t>+5,2% </a:t>
            </a:r>
          </a:p>
        </p:txBody>
      </p:sp>
      <p:sp>
        <p:nvSpPr>
          <p:cNvPr id="18" name="Inhaltsplatzhalter 2">
            <a:extLst>
              <a:ext uri="{FF2B5EF4-FFF2-40B4-BE49-F238E27FC236}">
                <a16:creationId xmlns:a16="http://schemas.microsoft.com/office/drawing/2014/main" id="{93E66443-9C7E-6038-6EB5-3AC9DA0D3DED}"/>
              </a:ext>
            </a:extLst>
          </p:cNvPr>
          <p:cNvSpPr txBox="1">
            <a:spLocks/>
          </p:cNvSpPr>
          <p:nvPr/>
        </p:nvSpPr>
        <p:spPr>
          <a:xfrm>
            <a:off x="8651875" y="4333875"/>
            <a:ext cx="3884613" cy="534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95000"/>
              </a:lnSpc>
              <a:defRPr/>
            </a:pPr>
            <a:r>
              <a:rPr lang="de-CH" sz="4000" b="1" dirty="0"/>
              <a:t>5–7 XY</a:t>
            </a:r>
            <a:endParaRPr lang="de-CH" sz="4000" dirty="0"/>
          </a:p>
        </p:txBody>
      </p:sp>
      <p:sp>
        <p:nvSpPr>
          <p:cNvPr id="28" name="Inhaltsplatzhalter 2">
            <a:extLst>
              <a:ext uri="{FF2B5EF4-FFF2-40B4-BE49-F238E27FC236}">
                <a16:creationId xmlns:a16="http://schemas.microsoft.com/office/drawing/2014/main" id="{801A9052-962C-FE69-7E66-1DA0517DED34}"/>
              </a:ext>
            </a:extLst>
          </p:cNvPr>
          <p:cNvSpPr txBox="1">
            <a:spLocks/>
          </p:cNvSpPr>
          <p:nvPr/>
        </p:nvSpPr>
        <p:spPr>
          <a:xfrm>
            <a:off x="4489450" y="4333875"/>
            <a:ext cx="2357438" cy="534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95000"/>
              </a:lnSpc>
              <a:defRPr/>
            </a:pPr>
            <a:r>
              <a:rPr lang="de-CH" sz="4000" b="1" dirty="0"/>
              <a:t>112 XY</a:t>
            </a:r>
            <a:endParaRPr lang="de-CH" sz="4000" dirty="0"/>
          </a:p>
        </p:txBody>
      </p:sp>
      <p:sp>
        <p:nvSpPr>
          <p:cNvPr id="30" name="Inhaltsplatzhalter 2">
            <a:extLst>
              <a:ext uri="{FF2B5EF4-FFF2-40B4-BE49-F238E27FC236}">
                <a16:creationId xmlns:a16="http://schemas.microsoft.com/office/drawing/2014/main" id="{07CBB0F0-BB8D-4AF6-DA68-E4B2808F3944}"/>
              </a:ext>
            </a:extLst>
          </p:cNvPr>
          <p:cNvSpPr txBox="1">
            <a:spLocks/>
          </p:cNvSpPr>
          <p:nvPr/>
        </p:nvSpPr>
        <p:spPr>
          <a:xfrm>
            <a:off x="312738" y="4333875"/>
            <a:ext cx="2730500" cy="534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95000"/>
              </a:lnSpc>
              <a:defRPr/>
            </a:pPr>
            <a:r>
              <a:rPr lang="de-CH" sz="4000" b="1" dirty="0"/>
              <a:t>2‘140 XY</a:t>
            </a:r>
            <a:endParaRPr lang="de-CH" sz="4000" dirty="0"/>
          </a:p>
        </p:txBody>
      </p:sp>
      <p:sp>
        <p:nvSpPr>
          <p:cNvPr id="4" name="Inhaltsplatzhalter 2">
            <a:extLst>
              <a:ext uri="{FF2B5EF4-FFF2-40B4-BE49-F238E27FC236}">
                <a16:creationId xmlns:a16="http://schemas.microsoft.com/office/drawing/2014/main" id="{F51EFE25-C095-AA57-59BD-F6CC9F3B27C4}"/>
              </a:ext>
            </a:extLst>
          </p:cNvPr>
          <p:cNvSpPr txBox="1">
            <a:spLocks/>
          </p:cNvSpPr>
          <p:nvPr/>
        </p:nvSpPr>
        <p:spPr>
          <a:xfrm>
            <a:off x="8651875" y="1782763"/>
            <a:ext cx="3076575" cy="536575"/>
          </a:xfrm>
          <a:prstGeom prst="rect">
            <a:avLst/>
          </a:prstGeom>
          <a:ln>
            <a:solidFill>
              <a:schemeClr val="bg1">
                <a:lumMod val="75000"/>
                <a:alpha val="0"/>
              </a:schemeClr>
            </a:solidFill>
          </a:ln>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284163" fontAlgn="base">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284163" fontAlgn="base">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284163" fontAlgn="base">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284163" fontAlgn="base">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defRPr/>
            </a:pPr>
            <a:r>
              <a:rPr lang="de-CH" altLang="de-DE" sz="4000" b="1" dirty="0"/>
              <a:t>−3,6% </a:t>
            </a:r>
            <a:endParaRPr lang="de-CH" altLang="de-DE" sz="4000" dirty="0"/>
          </a:p>
        </p:txBody>
      </p:sp>
      <p:sp>
        <p:nvSpPr>
          <p:cNvPr id="3" name="Inhaltsplatzhalter 2">
            <a:extLst>
              <a:ext uri="{FF2B5EF4-FFF2-40B4-BE49-F238E27FC236}">
                <a16:creationId xmlns:a16="http://schemas.microsoft.com/office/drawing/2014/main" id="{B01210A5-32ED-1936-F7A0-65D5F35198BE}"/>
              </a:ext>
            </a:extLst>
          </p:cNvPr>
          <p:cNvSpPr txBox="1">
            <a:spLocks/>
          </p:cNvSpPr>
          <p:nvPr/>
        </p:nvSpPr>
        <p:spPr>
          <a:xfrm>
            <a:off x="306388" y="4956175"/>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5" name="Inhaltsplatzhalter 2">
            <a:extLst>
              <a:ext uri="{FF2B5EF4-FFF2-40B4-BE49-F238E27FC236}">
                <a16:creationId xmlns:a16="http://schemas.microsoft.com/office/drawing/2014/main" id="{C4D118A7-D203-F767-B53E-4EBA5C5208A3}"/>
              </a:ext>
            </a:extLst>
          </p:cNvPr>
          <p:cNvSpPr txBox="1">
            <a:spLocks/>
          </p:cNvSpPr>
          <p:nvPr/>
        </p:nvSpPr>
        <p:spPr>
          <a:xfrm>
            <a:off x="306388" y="2463800"/>
            <a:ext cx="3744912"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6" name="Inhaltsplatzhalter 2">
            <a:extLst>
              <a:ext uri="{FF2B5EF4-FFF2-40B4-BE49-F238E27FC236}">
                <a16:creationId xmlns:a16="http://schemas.microsoft.com/office/drawing/2014/main" id="{D462A235-FDD6-B06E-A636-F9C2B91C83BA}"/>
              </a:ext>
            </a:extLst>
          </p:cNvPr>
          <p:cNvSpPr txBox="1">
            <a:spLocks/>
          </p:cNvSpPr>
          <p:nvPr/>
        </p:nvSpPr>
        <p:spPr>
          <a:xfrm>
            <a:off x="4483100" y="4956175"/>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9" name="Inhaltsplatzhalter 2">
            <a:extLst>
              <a:ext uri="{FF2B5EF4-FFF2-40B4-BE49-F238E27FC236}">
                <a16:creationId xmlns:a16="http://schemas.microsoft.com/office/drawing/2014/main" id="{B6C5F805-20D4-6793-6625-0D84CFA8DC56}"/>
              </a:ext>
            </a:extLst>
          </p:cNvPr>
          <p:cNvSpPr txBox="1">
            <a:spLocks/>
          </p:cNvSpPr>
          <p:nvPr/>
        </p:nvSpPr>
        <p:spPr>
          <a:xfrm>
            <a:off x="4483100" y="2463800"/>
            <a:ext cx="3744913"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13" name="Inhaltsplatzhalter 2">
            <a:extLst>
              <a:ext uri="{FF2B5EF4-FFF2-40B4-BE49-F238E27FC236}">
                <a16:creationId xmlns:a16="http://schemas.microsoft.com/office/drawing/2014/main" id="{0192B3EF-778D-1437-10F0-C598D54324B2}"/>
              </a:ext>
            </a:extLst>
          </p:cNvPr>
          <p:cNvSpPr txBox="1">
            <a:spLocks/>
          </p:cNvSpPr>
          <p:nvPr/>
        </p:nvSpPr>
        <p:spPr>
          <a:xfrm>
            <a:off x="8659813" y="4956175"/>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14" name="Inhaltsplatzhalter 2">
            <a:extLst>
              <a:ext uri="{FF2B5EF4-FFF2-40B4-BE49-F238E27FC236}">
                <a16:creationId xmlns:a16="http://schemas.microsoft.com/office/drawing/2014/main" id="{71A3D457-8A5D-AAA4-7E4C-4DD9914BB459}"/>
              </a:ext>
            </a:extLst>
          </p:cNvPr>
          <p:cNvSpPr txBox="1">
            <a:spLocks/>
          </p:cNvSpPr>
          <p:nvPr/>
        </p:nvSpPr>
        <p:spPr>
          <a:xfrm>
            <a:off x="8659813" y="2463800"/>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250" name="think-cell data - do not delete" hidden="1">
            <a:extLst>
              <a:ext uri="{FF2B5EF4-FFF2-40B4-BE49-F238E27FC236}">
                <a16:creationId xmlns:a16="http://schemas.microsoft.com/office/drawing/2014/main" id="{8D75E534-284E-C4A6-A396-124D8A3B3CF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53250" name="think-cell data - do not delete" hidden="1">
                        <a:extLst>
                          <a:ext uri="{FF2B5EF4-FFF2-40B4-BE49-F238E27FC236}">
                            <a16:creationId xmlns:a16="http://schemas.microsoft.com/office/drawing/2014/main" id="{8D75E534-284E-C4A6-A396-124D8A3B3C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C03895E7-41BA-19ED-4901-A2BF07AB06AF}"/>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Text mit Piktogrammen – 3 Spalten</a:t>
            </a:r>
          </a:p>
        </p:txBody>
      </p:sp>
      <p:sp>
        <p:nvSpPr>
          <p:cNvPr id="53252" name="Foliennummernplatzhalter 14">
            <a:extLst>
              <a:ext uri="{FF2B5EF4-FFF2-40B4-BE49-F238E27FC236}">
                <a16:creationId xmlns:a16="http://schemas.microsoft.com/office/drawing/2014/main" id="{79ECED12-6419-B49C-7582-0CA1F7B4DB5F}"/>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650C7CE2-F144-449C-883D-E51F51F4DD90}" type="slidenum">
              <a:rPr lang="de-CH" altLang="de-DE" sz="1100" smtClean="0">
                <a:solidFill>
                  <a:srgbClr val="003CB4"/>
                </a:solidFill>
                <a:latin typeface="Frutiger for ZKB Light" panose="020B0303030504020204" pitchFamily="34" charset="0"/>
              </a:rPr>
              <a:pPr>
                <a:spcBef>
                  <a:spcPct val="0"/>
                </a:spcBef>
                <a:spcAft>
                  <a:spcPct val="0"/>
                </a:spcAft>
              </a:pPr>
              <a:t>31</a:t>
            </a:fld>
            <a:endParaRPr lang="de-CH" altLang="de-DE" sz="1100" dirty="0">
              <a:solidFill>
                <a:srgbClr val="003CB4"/>
              </a:solidFill>
              <a:latin typeface="Frutiger for ZKB Light" panose="020B0303030504020204" pitchFamily="34" charset="0"/>
            </a:endParaRPr>
          </a:p>
        </p:txBody>
      </p:sp>
      <p:sp>
        <p:nvSpPr>
          <p:cNvPr id="53253" name="Fußzeilenplatzhalter 10">
            <a:extLst>
              <a:ext uri="{FF2B5EF4-FFF2-40B4-BE49-F238E27FC236}">
                <a16:creationId xmlns:a16="http://schemas.microsoft.com/office/drawing/2014/main" id="{10E751B7-4251-BB82-CF50-322B24005B5D}"/>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53254" name="Textfeld 11">
            <a:extLst>
              <a:ext uri="{FF2B5EF4-FFF2-40B4-BE49-F238E27FC236}">
                <a16:creationId xmlns:a16="http://schemas.microsoft.com/office/drawing/2014/main" id="{EB017B03-DC02-8F10-E363-5A81CA605E65}"/>
              </a:ext>
            </a:extLst>
          </p:cNvPr>
          <p:cNvSpPr txBox="1">
            <a:spLocks noChangeArrowheads="1"/>
          </p:cNvSpPr>
          <p:nvPr/>
        </p:nvSpPr>
        <p:spPr bwMode="auto">
          <a:xfrm>
            <a:off x="306388" y="3784600"/>
            <a:ext cx="3632200"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solidFill>
                  <a:schemeClr val="tx1"/>
                </a:solidFill>
              </a:rPr>
              <a:t>Überschrift</a:t>
            </a:r>
            <a:endParaRPr lang="de-CH" altLang="de-DE" b="1" dirty="0"/>
          </a:p>
          <a:p>
            <a:pPr eaLnBrk="1" hangingPunct="1"/>
            <a:r>
              <a:rPr lang="de-CH" altLang="de-DE" dirty="0"/>
              <a:t>Lorem ipsum dolor sit amet, con </a:t>
            </a:r>
            <a:br>
              <a:rPr lang="de-CH" altLang="de-DE" dirty="0"/>
            </a:br>
            <a:r>
              <a:rPr lang="de-CH" altLang="de-DE" dirty="0"/>
              <a:t>setetur sadipscing dolor sit amet, </a:t>
            </a:r>
            <a:br>
              <a:rPr lang="de-CH" altLang="de-DE" dirty="0"/>
            </a:br>
            <a:r>
              <a:rPr lang="de-CH" altLang="de-DE" dirty="0"/>
              <a:t>con setetur sadipscing</a:t>
            </a:r>
          </a:p>
        </p:txBody>
      </p:sp>
      <p:sp>
        <p:nvSpPr>
          <p:cNvPr id="53255" name="Textfeld 18">
            <a:extLst>
              <a:ext uri="{FF2B5EF4-FFF2-40B4-BE49-F238E27FC236}">
                <a16:creationId xmlns:a16="http://schemas.microsoft.com/office/drawing/2014/main" id="{742538E9-4062-DB6A-3F4C-8D132AD446B7}"/>
              </a:ext>
            </a:extLst>
          </p:cNvPr>
          <p:cNvSpPr txBox="1">
            <a:spLocks noChangeArrowheads="1"/>
          </p:cNvSpPr>
          <p:nvPr/>
        </p:nvSpPr>
        <p:spPr bwMode="auto">
          <a:xfrm>
            <a:off x="4483100" y="3784600"/>
            <a:ext cx="3633788"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solidFill>
                  <a:schemeClr val="tx1"/>
                </a:solidFill>
              </a:rPr>
              <a:t>Überschrift</a:t>
            </a:r>
            <a:endParaRPr lang="de-CH" altLang="de-DE" b="1" dirty="0"/>
          </a:p>
          <a:p>
            <a:pPr eaLnBrk="1" hangingPunct="1"/>
            <a:r>
              <a:rPr lang="de-CH" altLang="de-DE" dirty="0"/>
              <a:t>Lorem ipsum dolor sit amet, con </a:t>
            </a:r>
            <a:br>
              <a:rPr lang="de-CH" altLang="de-DE" dirty="0"/>
            </a:br>
            <a:r>
              <a:rPr lang="de-CH" altLang="de-DE" dirty="0"/>
              <a:t>setetur sadipscing dolor sit amet, </a:t>
            </a:r>
            <a:br>
              <a:rPr lang="de-CH" altLang="de-DE" dirty="0"/>
            </a:br>
            <a:r>
              <a:rPr lang="de-CH" altLang="de-DE" dirty="0"/>
              <a:t>con setetur sadipscing</a:t>
            </a:r>
          </a:p>
        </p:txBody>
      </p:sp>
      <p:sp>
        <p:nvSpPr>
          <p:cNvPr id="53256" name="Textfeld 28">
            <a:extLst>
              <a:ext uri="{FF2B5EF4-FFF2-40B4-BE49-F238E27FC236}">
                <a16:creationId xmlns:a16="http://schemas.microsoft.com/office/drawing/2014/main" id="{F8984A55-4F85-3E78-6FA4-144ABB4F5799}"/>
              </a:ext>
            </a:extLst>
          </p:cNvPr>
          <p:cNvSpPr txBox="1">
            <a:spLocks noChangeArrowheads="1"/>
          </p:cNvSpPr>
          <p:nvPr/>
        </p:nvSpPr>
        <p:spPr bwMode="auto">
          <a:xfrm>
            <a:off x="8659813" y="3784600"/>
            <a:ext cx="3633787"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solidFill>
                  <a:schemeClr val="tx1"/>
                </a:solidFill>
              </a:rPr>
              <a:t>Überschrift</a:t>
            </a:r>
            <a:endParaRPr lang="de-CH" altLang="de-DE" b="1" dirty="0"/>
          </a:p>
          <a:p>
            <a:pPr eaLnBrk="1" hangingPunct="1"/>
            <a:r>
              <a:rPr lang="de-CH" altLang="de-DE" dirty="0"/>
              <a:t>Lorem ipsum dolor sit amet, con </a:t>
            </a:r>
            <a:br>
              <a:rPr lang="de-CH" altLang="de-DE" dirty="0"/>
            </a:br>
            <a:r>
              <a:rPr lang="de-CH" altLang="de-DE" dirty="0"/>
              <a:t>setetur sadipscing dolor sit amet, </a:t>
            </a:r>
            <a:br>
              <a:rPr lang="de-CH" altLang="de-DE" dirty="0"/>
            </a:br>
            <a:r>
              <a:rPr lang="de-CH" altLang="de-DE" dirty="0"/>
              <a:t>con setetur sadipscing</a:t>
            </a:r>
          </a:p>
        </p:txBody>
      </p:sp>
      <p:pic>
        <p:nvPicPr>
          <p:cNvPr id="3" name="Inhaltsplatzhalter 7">
            <a:extLst>
              <a:ext uri="{FF2B5EF4-FFF2-40B4-BE49-F238E27FC236}">
                <a16:creationId xmlns:a16="http://schemas.microsoft.com/office/drawing/2014/main" id="{6D1BFE80-CDC9-74F1-FDFC-9F72D97BB85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4483071" y="2535411"/>
            <a:ext cx="936000" cy="949582"/>
          </a:xfrm>
          <a:prstGeom prst="rect">
            <a:avLst/>
          </a:prstGeom>
        </p:spPr>
      </p:pic>
      <p:pic>
        <p:nvPicPr>
          <p:cNvPr id="4" name="Inhaltsplatzhalter 7">
            <a:extLst>
              <a:ext uri="{FF2B5EF4-FFF2-40B4-BE49-F238E27FC236}">
                <a16:creationId xmlns:a16="http://schemas.microsoft.com/office/drawing/2014/main" id="{82FDE814-A780-23A2-AC51-ED58D04859D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660326" y="2548993"/>
            <a:ext cx="936000" cy="936000"/>
          </a:xfrm>
          <a:prstGeom prst="rect">
            <a:avLst/>
          </a:prstGeom>
        </p:spPr>
      </p:pic>
      <p:pic>
        <p:nvPicPr>
          <p:cNvPr id="5" name="Inhaltsplatzhalter 7">
            <a:extLst>
              <a:ext uri="{FF2B5EF4-FFF2-40B4-BE49-F238E27FC236}">
                <a16:creationId xmlns:a16="http://schemas.microsoft.com/office/drawing/2014/main" id="{56515695-39B5-5510-479F-61A363F4033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p:blipFill>
        <p:spPr>
          <a:xfrm>
            <a:off x="305814" y="2535411"/>
            <a:ext cx="949582" cy="949582"/>
          </a:xfrm>
          <a:prstGeom prst="rect">
            <a:avLst/>
          </a:prstGeom>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274" name="think-cell data - do not delete" hidden="1">
            <a:extLst>
              <a:ext uri="{FF2B5EF4-FFF2-40B4-BE49-F238E27FC236}">
                <a16:creationId xmlns:a16="http://schemas.microsoft.com/office/drawing/2014/main" id="{D0F8E707-77E7-4732-2067-C4CE1837FE0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54274" name="think-cell data - do not delete" hidden="1">
                        <a:extLst>
                          <a:ext uri="{FF2B5EF4-FFF2-40B4-BE49-F238E27FC236}">
                            <a16:creationId xmlns:a16="http://schemas.microsoft.com/office/drawing/2014/main" id="{D0F8E707-77E7-4732-2067-C4CE1837FE0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0DC53480-D677-85D8-02D6-A3535756741E}"/>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Phasen – nur Text, 3 Spalten</a:t>
            </a:r>
          </a:p>
        </p:txBody>
      </p:sp>
      <p:sp>
        <p:nvSpPr>
          <p:cNvPr id="54276" name="Foliennummernplatzhalter 12">
            <a:extLst>
              <a:ext uri="{FF2B5EF4-FFF2-40B4-BE49-F238E27FC236}">
                <a16:creationId xmlns:a16="http://schemas.microsoft.com/office/drawing/2014/main" id="{85A824AF-60BF-0B6D-C58A-246905BE4B01}"/>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32</a:t>
            </a:fld>
            <a:endParaRPr lang="de-CH" altLang="de-DE" sz="1100" dirty="0">
              <a:solidFill>
                <a:srgbClr val="003CB4"/>
              </a:solidFill>
            </a:endParaRPr>
          </a:p>
        </p:txBody>
      </p:sp>
      <p:sp>
        <p:nvSpPr>
          <p:cNvPr id="54277" name="Fußzeilenplatzhalter 10">
            <a:extLst>
              <a:ext uri="{FF2B5EF4-FFF2-40B4-BE49-F238E27FC236}">
                <a16:creationId xmlns:a16="http://schemas.microsoft.com/office/drawing/2014/main" id="{0FA2E2E9-A5BE-477D-6E31-615BB706A986}"/>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54278" name="Textfeld 11">
            <a:extLst>
              <a:ext uri="{FF2B5EF4-FFF2-40B4-BE49-F238E27FC236}">
                <a16:creationId xmlns:a16="http://schemas.microsoft.com/office/drawing/2014/main" id="{CEEF56E2-9C94-5A06-C600-4C393AE6AF2A}"/>
              </a:ext>
            </a:extLst>
          </p:cNvPr>
          <p:cNvSpPr txBox="1">
            <a:spLocks noChangeArrowheads="1"/>
          </p:cNvSpPr>
          <p:nvPr/>
        </p:nvSpPr>
        <p:spPr bwMode="auto">
          <a:xfrm>
            <a:off x="306388" y="3387725"/>
            <a:ext cx="3632200"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dirty="0"/>
              <a:t>Lorem ipsum dolor sit amet, con setetur sadipscing dolor sit amet, </a:t>
            </a:r>
            <a:br>
              <a:rPr lang="de-CH" altLang="de-DE" dirty="0"/>
            </a:br>
            <a:r>
              <a:rPr lang="de-CH" altLang="de-DE" dirty="0"/>
              <a:t>con setetur sadipscing. </a:t>
            </a:r>
          </a:p>
        </p:txBody>
      </p:sp>
      <p:sp>
        <p:nvSpPr>
          <p:cNvPr id="54279" name="Rechteck 24">
            <a:extLst>
              <a:ext uri="{FF2B5EF4-FFF2-40B4-BE49-F238E27FC236}">
                <a16:creationId xmlns:a16="http://schemas.microsoft.com/office/drawing/2014/main" id="{139DF1D0-6980-3DE4-7F2A-B50A48D51C3B}"/>
              </a:ext>
            </a:extLst>
          </p:cNvPr>
          <p:cNvSpPr>
            <a:spLocks noChangeArrowheads="1"/>
          </p:cNvSpPr>
          <p:nvPr/>
        </p:nvSpPr>
        <p:spPr bwMode="auto">
          <a:xfrm>
            <a:off x="10440988" y="1709738"/>
            <a:ext cx="1049337" cy="355600"/>
          </a:xfrm>
          <a:prstGeom prst="rect">
            <a:avLst/>
          </a:prstGeom>
          <a:solidFill>
            <a:schemeClr val="bg1"/>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dirty="0"/>
          </a:p>
        </p:txBody>
      </p:sp>
      <p:sp>
        <p:nvSpPr>
          <p:cNvPr id="54280" name="Titel 4">
            <a:extLst>
              <a:ext uri="{FF2B5EF4-FFF2-40B4-BE49-F238E27FC236}">
                <a16:creationId xmlns:a16="http://schemas.microsoft.com/office/drawing/2014/main" id="{466A0F03-D8EF-F9BD-B7A3-587C790D2E89}"/>
              </a:ext>
            </a:extLst>
          </p:cNvPr>
          <p:cNvSpPr txBox="1">
            <a:spLocks noChangeArrowheads="1"/>
          </p:cNvSpPr>
          <p:nvPr/>
        </p:nvSpPr>
        <p:spPr bwMode="auto">
          <a:xfrm>
            <a:off x="306388" y="2667000"/>
            <a:ext cx="36322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lnSpc>
                <a:spcPct val="95000"/>
              </a:lnSpc>
            </a:pPr>
            <a:r>
              <a:rPr lang="de-CH" altLang="de-DE" sz="2800" b="1" dirty="0">
                <a:solidFill>
                  <a:srgbClr val="003CB4"/>
                </a:solidFill>
                <a:latin typeface="Frutiger for ZKB Light" panose="020B0303030504020204" pitchFamily="34" charset="0"/>
              </a:rPr>
              <a:t>Lorem ipsum</a:t>
            </a:r>
          </a:p>
        </p:txBody>
      </p:sp>
      <p:sp>
        <p:nvSpPr>
          <p:cNvPr id="54281" name="Textfeld 18">
            <a:extLst>
              <a:ext uri="{FF2B5EF4-FFF2-40B4-BE49-F238E27FC236}">
                <a16:creationId xmlns:a16="http://schemas.microsoft.com/office/drawing/2014/main" id="{FEC0CA50-083D-8BEF-B0E2-5DF91A3466BC}"/>
              </a:ext>
            </a:extLst>
          </p:cNvPr>
          <p:cNvSpPr txBox="1">
            <a:spLocks noChangeArrowheads="1"/>
          </p:cNvSpPr>
          <p:nvPr/>
        </p:nvSpPr>
        <p:spPr bwMode="auto">
          <a:xfrm>
            <a:off x="4476750" y="3387725"/>
            <a:ext cx="3632200"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dirty="0"/>
              <a:t>Lorem ipsum dolor sit amet, con setetur sadipscing dolor sit amet, </a:t>
            </a:r>
            <a:br>
              <a:rPr lang="de-CH" altLang="de-DE" dirty="0"/>
            </a:br>
            <a:r>
              <a:rPr lang="de-CH" altLang="de-DE" dirty="0"/>
              <a:t>con setetur sadipscing.</a:t>
            </a:r>
          </a:p>
        </p:txBody>
      </p:sp>
      <p:sp>
        <p:nvSpPr>
          <p:cNvPr id="54282" name="Titel 4">
            <a:extLst>
              <a:ext uri="{FF2B5EF4-FFF2-40B4-BE49-F238E27FC236}">
                <a16:creationId xmlns:a16="http://schemas.microsoft.com/office/drawing/2014/main" id="{0CB42FE2-C75B-E133-FD03-E4D77721A80E}"/>
              </a:ext>
            </a:extLst>
          </p:cNvPr>
          <p:cNvSpPr txBox="1">
            <a:spLocks noChangeArrowheads="1"/>
          </p:cNvSpPr>
          <p:nvPr/>
        </p:nvSpPr>
        <p:spPr bwMode="auto">
          <a:xfrm>
            <a:off x="4476750" y="2667000"/>
            <a:ext cx="36322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lnSpc>
                <a:spcPct val="95000"/>
              </a:lnSpc>
            </a:pPr>
            <a:r>
              <a:rPr lang="de-CH" altLang="de-DE" sz="2800" b="1" dirty="0">
                <a:solidFill>
                  <a:srgbClr val="003CB4"/>
                </a:solidFill>
                <a:latin typeface="Frutiger for ZKB Light" panose="020B0303030504020204" pitchFamily="34" charset="0"/>
              </a:rPr>
              <a:t>Lorem ipsum</a:t>
            </a:r>
          </a:p>
        </p:txBody>
      </p:sp>
      <p:sp>
        <p:nvSpPr>
          <p:cNvPr id="54283" name="Textfeld 28">
            <a:extLst>
              <a:ext uri="{FF2B5EF4-FFF2-40B4-BE49-F238E27FC236}">
                <a16:creationId xmlns:a16="http://schemas.microsoft.com/office/drawing/2014/main" id="{E89AA486-2ED9-2601-79FC-C985CF4B5E81}"/>
              </a:ext>
            </a:extLst>
          </p:cNvPr>
          <p:cNvSpPr txBox="1">
            <a:spLocks noChangeArrowheads="1"/>
          </p:cNvSpPr>
          <p:nvPr/>
        </p:nvSpPr>
        <p:spPr bwMode="auto">
          <a:xfrm>
            <a:off x="8628063" y="3387725"/>
            <a:ext cx="3633787"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dirty="0"/>
              <a:t>Lorem ipsum dolor sit amet, con setetur sadipscing dolor sit amet, </a:t>
            </a:r>
            <a:br>
              <a:rPr lang="de-CH" altLang="de-DE" dirty="0"/>
            </a:br>
            <a:r>
              <a:rPr lang="de-CH" altLang="de-DE" dirty="0"/>
              <a:t>con setetur sadipscing.</a:t>
            </a:r>
          </a:p>
        </p:txBody>
      </p:sp>
      <p:sp>
        <p:nvSpPr>
          <p:cNvPr id="54284" name="Titel 4">
            <a:extLst>
              <a:ext uri="{FF2B5EF4-FFF2-40B4-BE49-F238E27FC236}">
                <a16:creationId xmlns:a16="http://schemas.microsoft.com/office/drawing/2014/main" id="{7091294A-F968-3DA1-44E8-B8DD4BBB8C93}"/>
              </a:ext>
            </a:extLst>
          </p:cNvPr>
          <p:cNvSpPr txBox="1">
            <a:spLocks noChangeArrowheads="1"/>
          </p:cNvSpPr>
          <p:nvPr/>
        </p:nvSpPr>
        <p:spPr bwMode="auto">
          <a:xfrm>
            <a:off x="8628063" y="2667000"/>
            <a:ext cx="3633787"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lnSpc>
                <a:spcPct val="95000"/>
              </a:lnSpc>
            </a:pPr>
            <a:r>
              <a:rPr lang="de-CH" altLang="de-DE" sz="2800" b="1" dirty="0">
                <a:solidFill>
                  <a:srgbClr val="003CB4"/>
                </a:solidFill>
                <a:latin typeface="Frutiger for ZKB Light" panose="020B0303030504020204" pitchFamily="34" charset="0"/>
              </a:rPr>
              <a:t>Lorem ipsum</a:t>
            </a:r>
          </a:p>
        </p:txBody>
      </p:sp>
      <p:sp>
        <p:nvSpPr>
          <p:cNvPr id="54285" name="Titel 4">
            <a:extLst>
              <a:ext uri="{FF2B5EF4-FFF2-40B4-BE49-F238E27FC236}">
                <a16:creationId xmlns:a16="http://schemas.microsoft.com/office/drawing/2014/main" id="{4639B603-6550-96CB-CFCE-895AE0F9A61A}"/>
              </a:ext>
            </a:extLst>
          </p:cNvPr>
          <p:cNvSpPr txBox="1">
            <a:spLocks noChangeArrowheads="1"/>
          </p:cNvSpPr>
          <p:nvPr/>
        </p:nvSpPr>
        <p:spPr bwMode="auto">
          <a:xfrm>
            <a:off x="306388" y="2317750"/>
            <a:ext cx="36322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solidFill>
                  <a:srgbClr val="003CB4"/>
                </a:solidFill>
                <a:latin typeface="Frutiger for ZKB Light" panose="020B0303030504020204" pitchFamily="34" charset="0"/>
              </a:rPr>
              <a:t>Phase 1</a:t>
            </a:r>
          </a:p>
        </p:txBody>
      </p:sp>
      <p:sp>
        <p:nvSpPr>
          <p:cNvPr id="54286" name="Titel 4">
            <a:extLst>
              <a:ext uri="{FF2B5EF4-FFF2-40B4-BE49-F238E27FC236}">
                <a16:creationId xmlns:a16="http://schemas.microsoft.com/office/drawing/2014/main" id="{DF64D2FC-983A-8EBC-3A84-A9DE3E4AFA8D}"/>
              </a:ext>
            </a:extLst>
          </p:cNvPr>
          <p:cNvSpPr txBox="1">
            <a:spLocks noChangeArrowheads="1"/>
          </p:cNvSpPr>
          <p:nvPr/>
        </p:nvSpPr>
        <p:spPr bwMode="auto">
          <a:xfrm>
            <a:off x="4476750" y="2317750"/>
            <a:ext cx="36322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r>
              <a:rPr lang="de-CH" altLang="de-DE" sz="1800" dirty="0">
                <a:solidFill>
                  <a:srgbClr val="003CB4"/>
                </a:solidFill>
                <a:latin typeface="Frutiger for ZKB Light" panose="020B0303030504020204" pitchFamily="34" charset="0"/>
              </a:rPr>
              <a:t>Phase 2</a:t>
            </a:r>
          </a:p>
        </p:txBody>
      </p:sp>
      <p:sp>
        <p:nvSpPr>
          <p:cNvPr id="54287" name="Titel 4">
            <a:extLst>
              <a:ext uri="{FF2B5EF4-FFF2-40B4-BE49-F238E27FC236}">
                <a16:creationId xmlns:a16="http://schemas.microsoft.com/office/drawing/2014/main" id="{E45FDFA1-38D0-24A8-EC92-77544C83A45B}"/>
              </a:ext>
            </a:extLst>
          </p:cNvPr>
          <p:cNvSpPr txBox="1">
            <a:spLocks noChangeArrowheads="1"/>
          </p:cNvSpPr>
          <p:nvPr/>
        </p:nvSpPr>
        <p:spPr bwMode="auto">
          <a:xfrm>
            <a:off x="8628063" y="2317750"/>
            <a:ext cx="3633787"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solidFill>
                  <a:srgbClr val="003CB4"/>
                </a:solidFill>
                <a:latin typeface="Frutiger for ZKB Light" panose="020B0303030504020204" pitchFamily="34" charset="0"/>
              </a:rPr>
              <a:t>Phase 3</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298" name="think-cell data - do not delete" hidden="1">
            <a:extLst>
              <a:ext uri="{FF2B5EF4-FFF2-40B4-BE49-F238E27FC236}">
                <a16:creationId xmlns:a16="http://schemas.microsoft.com/office/drawing/2014/main" id="{A1727A8F-8141-D761-E7FD-717E7DE07B4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55298" name="think-cell data - do not delete" hidden="1">
                        <a:extLst>
                          <a:ext uri="{FF2B5EF4-FFF2-40B4-BE49-F238E27FC236}">
                            <a16:creationId xmlns:a16="http://schemas.microsoft.com/office/drawing/2014/main" id="{A1727A8F-8141-D761-E7FD-717E7DE07B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58CDB662-079C-94D8-6424-3048C041AF21}"/>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Phasen mit Linien-Pfeilen – 5 Spalten</a:t>
            </a:r>
          </a:p>
        </p:txBody>
      </p:sp>
      <p:sp>
        <p:nvSpPr>
          <p:cNvPr id="55300" name="Foliennummernplatzhalter 7">
            <a:extLst>
              <a:ext uri="{FF2B5EF4-FFF2-40B4-BE49-F238E27FC236}">
                <a16:creationId xmlns:a16="http://schemas.microsoft.com/office/drawing/2014/main" id="{5A1E6554-2192-9284-FBC0-813129908625}"/>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0287C27F-5CA7-4D4F-BD0B-E83A9C87F320}" type="slidenum">
              <a:rPr lang="de-CH" altLang="de-DE" sz="1100" smtClean="0">
                <a:solidFill>
                  <a:srgbClr val="003CB4"/>
                </a:solidFill>
                <a:latin typeface="Frutiger for ZKB Light" panose="020B0303030504020204" pitchFamily="34" charset="0"/>
              </a:rPr>
              <a:pPr>
                <a:spcBef>
                  <a:spcPct val="0"/>
                </a:spcBef>
                <a:spcAft>
                  <a:spcPct val="0"/>
                </a:spcAft>
              </a:pPr>
              <a:t>33</a:t>
            </a:fld>
            <a:endParaRPr lang="de-CH" altLang="de-DE" sz="1100" dirty="0">
              <a:solidFill>
                <a:srgbClr val="003CB4"/>
              </a:solidFill>
              <a:latin typeface="Frutiger for ZKB Light" panose="020B0303030504020204" pitchFamily="34" charset="0"/>
            </a:endParaRPr>
          </a:p>
        </p:txBody>
      </p:sp>
      <p:sp>
        <p:nvSpPr>
          <p:cNvPr id="55301" name="Fußzeilenplatzhalter 6">
            <a:extLst>
              <a:ext uri="{FF2B5EF4-FFF2-40B4-BE49-F238E27FC236}">
                <a16:creationId xmlns:a16="http://schemas.microsoft.com/office/drawing/2014/main" id="{18D5EB48-A3B9-1549-E382-45B3268CE226}"/>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55302" name="Textfeld 11">
            <a:extLst>
              <a:ext uri="{FF2B5EF4-FFF2-40B4-BE49-F238E27FC236}">
                <a16:creationId xmlns:a16="http://schemas.microsoft.com/office/drawing/2014/main" id="{1A925A22-4563-1C47-8E6F-019812FAB941}"/>
              </a:ext>
            </a:extLst>
          </p:cNvPr>
          <p:cNvSpPr txBox="1">
            <a:spLocks noChangeArrowheads="1"/>
          </p:cNvSpPr>
          <p:nvPr/>
        </p:nvSpPr>
        <p:spPr bwMode="auto">
          <a:xfrm>
            <a:off x="306388" y="3775075"/>
            <a:ext cx="2232025"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Lorem Ipsum</a:t>
            </a:r>
          </a:p>
          <a:p>
            <a:pPr eaLnBrk="1" hangingPunct="1"/>
            <a:endParaRPr lang="de-CH" altLang="de-DE" dirty="0"/>
          </a:p>
          <a:p>
            <a:pPr eaLnBrk="1" hangingPunct="1"/>
            <a:r>
              <a:rPr lang="de-CH" altLang="de-DE" dirty="0"/>
              <a:t>Lorem ipsum dolor</a:t>
            </a:r>
          </a:p>
          <a:p>
            <a:pPr eaLnBrk="1" hangingPunct="1"/>
            <a:r>
              <a:rPr lang="de-CH" altLang="de-DE" dirty="0"/>
              <a:t>sit amet, con setetur sadipscing</a:t>
            </a:r>
          </a:p>
        </p:txBody>
      </p:sp>
      <p:sp>
        <p:nvSpPr>
          <p:cNvPr id="55303" name="Rechteck 24">
            <a:extLst>
              <a:ext uri="{FF2B5EF4-FFF2-40B4-BE49-F238E27FC236}">
                <a16:creationId xmlns:a16="http://schemas.microsoft.com/office/drawing/2014/main" id="{9AFBDC6B-A187-6A03-F124-6362AD4B6B54}"/>
              </a:ext>
            </a:extLst>
          </p:cNvPr>
          <p:cNvSpPr>
            <a:spLocks noChangeArrowheads="1"/>
          </p:cNvSpPr>
          <p:nvPr/>
        </p:nvSpPr>
        <p:spPr bwMode="auto">
          <a:xfrm>
            <a:off x="10964863" y="1709738"/>
            <a:ext cx="1049337" cy="355600"/>
          </a:xfrm>
          <a:prstGeom prst="rect">
            <a:avLst/>
          </a:prstGeom>
          <a:solidFill>
            <a:schemeClr val="bg1"/>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dirty="0"/>
          </a:p>
        </p:txBody>
      </p:sp>
      <p:sp>
        <p:nvSpPr>
          <p:cNvPr id="55304" name="Textfeld 38">
            <a:extLst>
              <a:ext uri="{FF2B5EF4-FFF2-40B4-BE49-F238E27FC236}">
                <a16:creationId xmlns:a16="http://schemas.microsoft.com/office/drawing/2014/main" id="{D86592DE-525D-E632-15E3-F35EC845F7F0}"/>
              </a:ext>
            </a:extLst>
          </p:cNvPr>
          <p:cNvSpPr txBox="1">
            <a:spLocks noChangeArrowheads="1"/>
          </p:cNvSpPr>
          <p:nvPr/>
        </p:nvSpPr>
        <p:spPr bwMode="auto">
          <a:xfrm>
            <a:off x="5238750" y="3775075"/>
            <a:ext cx="2232025"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Lorem Ipsum</a:t>
            </a:r>
          </a:p>
          <a:p>
            <a:pPr eaLnBrk="1" hangingPunct="1"/>
            <a:endParaRPr lang="de-CH" altLang="de-DE" dirty="0"/>
          </a:p>
          <a:p>
            <a:pPr eaLnBrk="1" hangingPunct="1"/>
            <a:r>
              <a:rPr lang="de-CH" altLang="de-DE" dirty="0"/>
              <a:t>Lorem ipsum dolor</a:t>
            </a:r>
          </a:p>
          <a:p>
            <a:pPr eaLnBrk="1" hangingPunct="1"/>
            <a:r>
              <a:rPr lang="de-CH" altLang="de-DE" dirty="0"/>
              <a:t>sit amet, con setetur sadipscing</a:t>
            </a:r>
          </a:p>
        </p:txBody>
      </p:sp>
      <p:sp>
        <p:nvSpPr>
          <p:cNvPr id="55305" name="Textfeld 41">
            <a:extLst>
              <a:ext uri="{FF2B5EF4-FFF2-40B4-BE49-F238E27FC236}">
                <a16:creationId xmlns:a16="http://schemas.microsoft.com/office/drawing/2014/main" id="{41F391C6-C233-D9CD-B4E0-BCAD22FCC248}"/>
              </a:ext>
            </a:extLst>
          </p:cNvPr>
          <p:cNvSpPr txBox="1">
            <a:spLocks noChangeArrowheads="1"/>
          </p:cNvSpPr>
          <p:nvPr/>
        </p:nvSpPr>
        <p:spPr bwMode="auto">
          <a:xfrm>
            <a:off x="10172700" y="3775075"/>
            <a:ext cx="2232025"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Lorem Ipsum</a:t>
            </a:r>
          </a:p>
          <a:p>
            <a:pPr eaLnBrk="1" hangingPunct="1"/>
            <a:endParaRPr lang="de-CH" altLang="de-DE" dirty="0"/>
          </a:p>
          <a:p>
            <a:pPr eaLnBrk="1" hangingPunct="1"/>
            <a:r>
              <a:rPr lang="de-CH" altLang="de-DE" dirty="0"/>
              <a:t>Lorem ipsum dolor</a:t>
            </a:r>
          </a:p>
          <a:p>
            <a:pPr eaLnBrk="1" hangingPunct="1"/>
            <a:r>
              <a:rPr lang="de-CH" altLang="de-DE" dirty="0"/>
              <a:t>sit amet, con setetur sadipscing</a:t>
            </a:r>
          </a:p>
        </p:txBody>
      </p:sp>
      <p:sp>
        <p:nvSpPr>
          <p:cNvPr id="55306" name="Textfeld 46">
            <a:extLst>
              <a:ext uri="{FF2B5EF4-FFF2-40B4-BE49-F238E27FC236}">
                <a16:creationId xmlns:a16="http://schemas.microsoft.com/office/drawing/2014/main" id="{E600D107-69AB-834C-3F4B-A430C1E9B723}"/>
              </a:ext>
            </a:extLst>
          </p:cNvPr>
          <p:cNvSpPr txBox="1">
            <a:spLocks noChangeArrowheads="1"/>
          </p:cNvSpPr>
          <p:nvPr/>
        </p:nvSpPr>
        <p:spPr bwMode="auto">
          <a:xfrm>
            <a:off x="2771775" y="3775075"/>
            <a:ext cx="2233613"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Lorem Ipsum</a:t>
            </a:r>
          </a:p>
          <a:p>
            <a:pPr eaLnBrk="1" hangingPunct="1"/>
            <a:endParaRPr lang="de-CH" altLang="de-DE" dirty="0"/>
          </a:p>
          <a:p>
            <a:pPr eaLnBrk="1" hangingPunct="1"/>
            <a:r>
              <a:rPr lang="de-CH" altLang="de-DE" dirty="0"/>
              <a:t>Lorem ipsum dolor</a:t>
            </a:r>
          </a:p>
          <a:p>
            <a:pPr eaLnBrk="1" hangingPunct="1"/>
            <a:r>
              <a:rPr lang="de-CH" altLang="de-DE" dirty="0"/>
              <a:t>sit amet, con setetur sadipscing</a:t>
            </a:r>
          </a:p>
        </p:txBody>
      </p:sp>
      <p:sp>
        <p:nvSpPr>
          <p:cNvPr id="55307" name="Textfeld 49">
            <a:extLst>
              <a:ext uri="{FF2B5EF4-FFF2-40B4-BE49-F238E27FC236}">
                <a16:creationId xmlns:a16="http://schemas.microsoft.com/office/drawing/2014/main" id="{3A8CF6AC-DF0B-6D69-37B0-AD18C9DA34F4}"/>
              </a:ext>
            </a:extLst>
          </p:cNvPr>
          <p:cNvSpPr txBox="1">
            <a:spLocks noChangeArrowheads="1"/>
          </p:cNvSpPr>
          <p:nvPr/>
        </p:nvSpPr>
        <p:spPr bwMode="auto">
          <a:xfrm>
            <a:off x="7705725" y="3775075"/>
            <a:ext cx="2232025"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Lorem Ipsum</a:t>
            </a:r>
          </a:p>
          <a:p>
            <a:pPr eaLnBrk="1" hangingPunct="1"/>
            <a:endParaRPr lang="de-CH" altLang="de-DE" dirty="0"/>
          </a:p>
          <a:p>
            <a:pPr eaLnBrk="1" hangingPunct="1"/>
            <a:r>
              <a:rPr lang="de-CH" altLang="de-DE" dirty="0"/>
              <a:t>Lorem ipsum dolor</a:t>
            </a:r>
          </a:p>
          <a:p>
            <a:pPr eaLnBrk="1" hangingPunct="1"/>
            <a:r>
              <a:rPr lang="de-CH" altLang="de-DE" dirty="0"/>
              <a:t>sit amet, con setetur sadipscing</a:t>
            </a:r>
          </a:p>
        </p:txBody>
      </p:sp>
      <p:sp>
        <p:nvSpPr>
          <p:cNvPr id="55308" name="Titel 4">
            <a:extLst>
              <a:ext uri="{FF2B5EF4-FFF2-40B4-BE49-F238E27FC236}">
                <a16:creationId xmlns:a16="http://schemas.microsoft.com/office/drawing/2014/main" id="{0ABDFB21-8EB4-7562-E05F-2F767C7AD78F}"/>
              </a:ext>
            </a:extLst>
          </p:cNvPr>
          <p:cNvSpPr txBox="1">
            <a:spLocks/>
          </p:cNvSpPr>
          <p:nvPr/>
        </p:nvSpPr>
        <p:spPr bwMode="auto">
          <a:xfrm>
            <a:off x="306388" y="2925763"/>
            <a:ext cx="1833562" cy="401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95000"/>
              </a:lnSpc>
            </a:pPr>
            <a:r>
              <a:rPr lang="de-CH" altLang="de-DE" sz="3600" b="1" dirty="0"/>
              <a:t>1</a:t>
            </a:r>
          </a:p>
        </p:txBody>
      </p:sp>
      <p:sp>
        <p:nvSpPr>
          <p:cNvPr id="55309" name="Titel 4">
            <a:extLst>
              <a:ext uri="{FF2B5EF4-FFF2-40B4-BE49-F238E27FC236}">
                <a16:creationId xmlns:a16="http://schemas.microsoft.com/office/drawing/2014/main" id="{EBCCD6D1-681C-42F9-42BA-E2A285A2250D}"/>
              </a:ext>
            </a:extLst>
          </p:cNvPr>
          <p:cNvSpPr txBox="1">
            <a:spLocks/>
          </p:cNvSpPr>
          <p:nvPr/>
        </p:nvSpPr>
        <p:spPr bwMode="auto">
          <a:xfrm>
            <a:off x="2771775" y="2925763"/>
            <a:ext cx="1835150" cy="401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95000"/>
              </a:lnSpc>
            </a:pPr>
            <a:r>
              <a:rPr lang="de-CH" altLang="de-DE" sz="3600" b="1" dirty="0">
                <a:solidFill>
                  <a:srgbClr val="2BB3EE"/>
                </a:solidFill>
              </a:rPr>
              <a:t>2</a:t>
            </a:r>
          </a:p>
        </p:txBody>
      </p:sp>
      <p:sp>
        <p:nvSpPr>
          <p:cNvPr id="55310" name="Titel 4">
            <a:extLst>
              <a:ext uri="{FF2B5EF4-FFF2-40B4-BE49-F238E27FC236}">
                <a16:creationId xmlns:a16="http://schemas.microsoft.com/office/drawing/2014/main" id="{C25E701F-5C7E-B49D-2223-552B2EA2D39B}"/>
              </a:ext>
            </a:extLst>
          </p:cNvPr>
          <p:cNvSpPr txBox="1">
            <a:spLocks/>
          </p:cNvSpPr>
          <p:nvPr/>
        </p:nvSpPr>
        <p:spPr bwMode="auto">
          <a:xfrm>
            <a:off x="5238750" y="2925763"/>
            <a:ext cx="1835150" cy="401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95000"/>
              </a:lnSpc>
            </a:pPr>
            <a:r>
              <a:rPr lang="de-CH" altLang="de-DE" sz="3600" b="1" dirty="0"/>
              <a:t>3</a:t>
            </a:r>
          </a:p>
        </p:txBody>
      </p:sp>
      <p:sp>
        <p:nvSpPr>
          <p:cNvPr id="55311" name="Titel 4">
            <a:extLst>
              <a:ext uri="{FF2B5EF4-FFF2-40B4-BE49-F238E27FC236}">
                <a16:creationId xmlns:a16="http://schemas.microsoft.com/office/drawing/2014/main" id="{AD6B0590-0DC4-1D6F-67FA-35730132630E}"/>
              </a:ext>
            </a:extLst>
          </p:cNvPr>
          <p:cNvSpPr txBox="1">
            <a:spLocks/>
          </p:cNvSpPr>
          <p:nvPr/>
        </p:nvSpPr>
        <p:spPr bwMode="auto">
          <a:xfrm>
            <a:off x="7705725" y="2925763"/>
            <a:ext cx="1835150" cy="401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95000"/>
              </a:lnSpc>
            </a:pPr>
            <a:r>
              <a:rPr lang="de-CH" altLang="de-DE" sz="3600" b="1" dirty="0"/>
              <a:t>4</a:t>
            </a:r>
          </a:p>
        </p:txBody>
      </p:sp>
      <p:sp>
        <p:nvSpPr>
          <p:cNvPr id="55312" name="Titel 4">
            <a:extLst>
              <a:ext uri="{FF2B5EF4-FFF2-40B4-BE49-F238E27FC236}">
                <a16:creationId xmlns:a16="http://schemas.microsoft.com/office/drawing/2014/main" id="{8180646D-2078-819C-53B1-E5F5CA777D0D}"/>
              </a:ext>
            </a:extLst>
          </p:cNvPr>
          <p:cNvSpPr txBox="1">
            <a:spLocks/>
          </p:cNvSpPr>
          <p:nvPr/>
        </p:nvSpPr>
        <p:spPr bwMode="auto">
          <a:xfrm>
            <a:off x="10172700" y="2925763"/>
            <a:ext cx="1835150" cy="401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95000"/>
              </a:lnSpc>
            </a:pPr>
            <a:r>
              <a:rPr lang="de-CH" altLang="de-DE" sz="3600" b="1" dirty="0"/>
              <a:t>5</a:t>
            </a:r>
          </a:p>
        </p:txBody>
      </p:sp>
      <p:cxnSp>
        <p:nvCxnSpPr>
          <p:cNvPr id="10" name="Gerade Verbindung 9">
            <a:extLst>
              <a:ext uri="{FF2B5EF4-FFF2-40B4-BE49-F238E27FC236}">
                <a16:creationId xmlns:a16="http://schemas.microsoft.com/office/drawing/2014/main" id="{6D459E04-4067-BF26-183A-7F4CDCBEC607}"/>
              </a:ext>
            </a:extLst>
          </p:cNvPr>
          <p:cNvCxnSpPr>
            <a:cxnSpLocks/>
          </p:cNvCxnSpPr>
          <p:nvPr/>
        </p:nvCxnSpPr>
        <p:spPr>
          <a:xfrm>
            <a:off x="2771775" y="3590925"/>
            <a:ext cx="1835150" cy="0"/>
          </a:xfrm>
          <a:prstGeom prst="line">
            <a:avLst/>
          </a:prstGeom>
          <a:ln w="28575">
            <a:solidFill>
              <a:srgbClr val="2BB3EE"/>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6" name="Gerade Verbindung 9">
            <a:extLst>
              <a:ext uri="{FF2B5EF4-FFF2-40B4-BE49-F238E27FC236}">
                <a16:creationId xmlns:a16="http://schemas.microsoft.com/office/drawing/2014/main" id="{CF5C88A4-98B6-4B78-5826-1EC4884B9022}"/>
              </a:ext>
            </a:extLst>
          </p:cNvPr>
          <p:cNvCxnSpPr>
            <a:cxnSpLocks/>
          </p:cNvCxnSpPr>
          <p:nvPr/>
        </p:nvCxnSpPr>
        <p:spPr>
          <a:xfrm>
            <a:off x="306388" y="3590925"/>
            <a:ext cx="1833562" cy="0"/>
          </a:xfrm>
          <a:prstGeom prst="line">
            <a:avLst/>
          </a:prstGeom>
          <a:ln w="28575">
            <a:solidFill>
              <a:schemeClr val="dk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7" name="Gerade Verbindung 9">
            <a:extLst>
              <a:ext uri="{FF2B5EF4-FFF2-40B4-BE49-F238E27FC236}">
                <a16:creationId xmlns:a16="http://schemas.microsoft.com/office/drawing/2014/main" id="{B52B67E3-DDCB-D47F-68DE-DB59B8DA11E7}"/>
              </a:ext>
            </a:extLst>
          </p:cNvPr>
          <p:cNvCxnSpPr>
            <a:cxnSpLocks/>
          </p:cNvCxnSpPr>
          <p:nvPr/>
        </p:nvCxnSpPr>
        <p:spPr>
          <a:xfrm>
            <a:off x="5238750" y="3590925"/>
            <a:ext cx="1835150" cy="0"/>
          </a:xfrm>
          <a:prstGeom prst="line">
            <a:avLst/>
          </a:prstGeom>
          <a:ln w="28575">
            <a:solidFill>
              <a:schemeClr val="dk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8" name="Gerade Verbindung 9">
            <a:extLst>
              <a:ext uri="{FF2B5EF4-FFF2-40B4-BE49-F238E27FC236}">
                <a16:creationId xmlns:a16="http://schemas.microsoft.com/office/drawing/2014/main" id="{43684700-48D3-B541-C3B7-222016875797}"/>
              </a:ext>
            </a:extLst>
          </p:cNvPr>
          <p:cNvCxnSpPr>
            <a:cxnSpLocks/>
          </p:cNvCxnSpPr>
          <p:nvPr/>
        </p:nvCxnSpPr>
        <p:spPr>
          <a:xfrm>
            <a:off x="7705725" y="3590925"/>
            <a:ext cx="1835150" cy="0"/>
          </a:xfrm>
          <a:prstGeom prst="line">
            <a:avLst/>
          </a:prstGeom>
          <a:ln w="28575">
            <a:solidFill>
              <a:schemeClr val="dk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9" name="Gerade Verbindung 9">
            <a:extLst>
              <a:ext uri="{FF2B5EF4-FFF2-40B4-BE49-F238E27FC236}">
                <a16:creationId xmlns:a16="http://schemas.microsoft.com/office/drawing/2014/main" id="{2984D51D-69BF-841D-B9A6-FE2C1166A66C}"/>
              </a:ext>
            </a:extLst>
          </p:cNvPr>
          <p:cNvCxnSpPr>
            <a:cxnSpLocks/>
          </p:cNvCxnSpPr>
          <p:nvPr/>
        </p:nvCxnSpPr>
        <p:spPr>
          <a:xfrm>
            <a:off x="10172700" y="3590925"/>
            <a:ext cx="1835150" cy="0"/>
          </a:xfrm>
          <a:prstGeom prst="line">
            <a:avLst/>
          </a:prstGeom>
          <a:ln w="28575">
            <a:solidFill>
              <a:schemeClr val="dk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322" name="Objekt 4" hidden="1">
            <a:extLst>
              <a:ext uri="{FF2B5EF4-FFF2-40B4-BE49-F238E27FC236}">
                <a16:creationId xmlns:a16="http://schemas.microsoft.com/office/drawing/2014/main" id="{B8D07A45-913C-A61C-7B15-C54F0714BFD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360" imgH="360" progId="TCLayout.ActiveDocument.1">
                  <p:embed/>
                </p:oleObj>
              </mc:Choice>
              <mc:Fallback>
                <p:oleObj name="think-cell Folie" r:id="rId7" imgW="360" imgH="360" progId="TCLayout.ActiveDocument.1">
                  <p:embed/>
                  <p:pic>
                    <p:nvPicPr>
                      <p:cNvPr id="56322" name="Objekt 4" hidden="1">
                        <a:extLst>
                          <a:ext uri="{FF2B5EF4-FFF2-40B4-BE49-F238E27FC236}">
                            <a16:creationId xmlns:a16="http://schemas.microsoft.com/office/drawing/2014/main" id="{B8D07A45-913C-A61C-7B15-C54F0714BFD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A1BAF499-6B88-F52D-0FF3-DE9DB3F737DC}"/>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56324" name="Titel 14">
            <a:extLst>
              <a:ext uri="{FF2B5EF4-FFF2-40B4-BE49-F238E27FC236}">
                <a16:creationId xmlns:a16="http://schemas.microsoft.com/office/drawing/2014/main" id="{BE6AB547-5B03-CAC5-D582-2316B978E9A1}"/>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3 Phasen mit Ergebnis</a:t>
            </a:r>
          </a:p>
        </p:txBody>
      </p:sp>
      <p:sp>
        <p:nvSpPr>
          <p:cNvPr id="56325" name="Foliennummernplatzhalter 9">
            <a:extLst>
              <a:ext uri="{FF2B5EF4-FFF2-40B4-BE49-F238E27FC236}">
                <a16:creationId xmlns:a16="http://schemas.microsoft.com/office/drawing/2014/main" id="{C66D1438-569A-DBD2-8426-4EA64CE5A537}"/>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16076344-F2CC-435D-B501-2ACC0BE4CB88}" type="slidenum">
              <a:rPr lang="de-CH" altLang="de-DE" sz="1100" smtClean="0">
                <a:solidFill>
                  <a:srgbClr val="003CB4"/>
                </a:solidFill>
                <a:latin typeface="Frutiger for ZKB Light" panose="020B0303030504020204" pitchFamily="34" charset="0"/>
              </a:rPr>
              <a:pPr>
                <a:spcBef>
                  <a:spcPct val="0"/>
                </a:spcBef>
                <a:spcAft>
                  <a:spcPct val="0"/>
                </a:spcAft>
              </a:pPr>
              <a:t>34</a:t>
            </a:fld>
            <a:endParaRPr lang="de-CH" altLang="de-DE" sz="1100" dirty="0">
              <a:solidFill>
                <a:srgbClr val="003CB4"/>
              </a:solidFill>
              <a:latin typeface="Frutiger for ZKB Light" panose="020B0303030504020204" pitchFamily="34" charset="0"/>
            </a:endParaRPr>
          </a:p>
        </p:txBody>
      </p:sp>
      <p:sp>
        <p:nvSpPr>
          <p:cNvPr id="56326" name="Fußzeilenplatzhalter 8">
            <a:extLst>
              <a:ext uri="{FF2B5EF4-FFF2-40B4-BE49-F238E27FC236}">
                <a16:creationId xmlns:a16="http://schemas.microsoft.com/office/drawing/2014/main" id="{63C825B2-14FB-56F5-ADEB-09A6FB9C1124}"/>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56327" name="Textfeld 126">
            <a:extLst>
              <a:ext uri="{FF2B5EF4-FFF2-40B4-BE49-F238E27FC236}">
                <a16:creationId xmlns:a16="http://schemas.microsoft.com/office/drawing/2014/main" id="{511AA2D1-FBDD-3E7B-4DBA-A375DAB474BB}"/>
              </a:ext>
            </a:extLst>
          </p:cNvPr>
          <p:cNvSpPr>
            <a:spLocks noChangeArrowheads="1"/>
          </p:cNvSpPr>
          <p:nvPr>
            <p:custDataLst>
              <p:tags r:id="rId3"/>
            </p:custDataLst>
          </p:nvPr>
        </p:nvSpPr>
        <p:spPr bwMode="gray">
          <a:xfrm>
            <a:off x="306388" y="1885950"/>
            <a:ext cx="3952875" cy="647700"/>
          </a:xfrm>
          <a:prstGeom prst="homePlate">
            <a:avLst>
              <a:gd name="adj" fmla="val 23338"/>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1</a:t>
            </a:r>
          </a:p>
        </p:txBody>
      </p:sp>
      <p:sp>
        <p:nvSpPr>
          <p:cNvPr id="56328" name="Textfeld 127">
            <a:extLst>
              <a:ext uri="{FF2B5EF4-FFF2-40B4-BE49-F238E27FC236}">
                <a16:creationId xmlns:a16="http://schemas.microsoft.com/office/drawing/2014/main" id="{22C36D32-9839-37CD-8636-D6371F921CF6}"/>
              </a:ext>
            </a:extLst>
          </p:cNvPr>
          <p:cNvSpPr>
            <a:spLocks noChangeArrowheads="1"/>
          </p:cNvSpPr>
          <p:nvPr>
            <p:custDataLst>
              <p:tags r:id="rId4"/>
            </p:custDataLst>
          </p:nvPr>
        </p:nvSpPr>
        <p:spPr bwMode="gray">
          <a:xfrm>
            <a:off x="4446588" y="1885950"/>
            <a:ext cx="3952875" cy="647700"/>
          </a:xfrm>
          <a:prstGeom prst="chevron">
            <a:avLst>
              <a:gd name="adj" fmla="val 23338"/>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2</a:t>
            </a:r>
          </a:p>
        </p:txBody>
      </p:sp>
      <p:sp>
        <p:nvSpPr>
          <p:cNvPr id="56329" name="Textfeld 128">
            <a:extLst>
              <a:ext uri="{FF2B5EF4-FFF2-40B4-BE49-F238E27FC236}">
                <a16:creationId xmlns:a16="http://schemas.microsoft.com/office/drawing/2014/main" id="{74D22D5D-909E-DF8D-F254-4CF53AF59C87}"/>
              </a:ext>
            </a:extLst>
          </p:cNvPr>
          <p:cNvSpPr>
            <a:spLocks noChangeArrowheads="1"/>
          </p:cNvSpPr>
          <p:nvPr>
            <p:custDataLst>
              <p:tags r:id="rId5"/>
            </p:custDataLst>
          </p:nvPr>
        </p:nvSpPr>
        <p:spPr bwMode="gray">
          <a:xfrm>
            <a:off x="8586788" y="1885950"/>
            <a:ext cx="3952875" cy="647700"/>
          </a:xfrm>
          <a:prstGeom prst="chevron">
            <a:avLst>
              <a:gd name="adj" fmla="val 23338"/>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3</a:t>
            </a:r>
          </a:p>
        </p:txBody>
      </p:sp>
      <p:sp>
        <p:nvSpPr>
          <p:cNvPr id="56330" name="Inhaltsplatzhalter 6">
            <a:extLst>
              <a:ext uri="{FF2B5EF4-FFF2-40B4-BE49-F238E27FC236}">
                <a16:creationId xmlns:a16="http://schemas.microsoft.com/office/drawing/2014/main" id="{085DF803-58F5-8B34-E751-E305ABF07194}"/>
              </a:ext>
            </a:extLst>
          </p:cNvPr>
          <p:cNvSpPr txBox="1">
            <a:spLocks noChangeArrowheads="1"/>
          </p:cNvSpPr>
          <p:nvPr/>
        </p:nvSpPr>
        <p:spPr bwMode="auto">
          <a:xfrm>
            <a:off x="306388" y="2740025"/>
            <a:ext cx="3889375" cy="2117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p:txBody>
      </p:sp>
      <p:sp>
        <p:nvSpPr>
          <p:cNvPr id="56331" name="Inhaltsplatzhalter 7">
            <a:extLst>
              <a:ext uri="{FF2B5EF4-FFF2-40B4-BE49-F238E27FC236}">
                <a16:creationId xmlns:a16="http://schemas.microsoft.com/office/drawing/2014/main" id="{AF2E8C3C-8AEC-1634-B310-6C1471794509}"/>
              </a:ext>
            </a:extLst>
          </p:cNvPr>
          <p:cNvSpPr txBox="1">
            <a:spLocks noChangeArrowheads="1"/>
          </p:cNvSpPr>
          <p:nvPr/>
        </p:nvSpPr>
        <p:spPr bwMode="auto">
          <a:xfrm>
            <a:off x="4483100" y="2740025"/>
            <a:ext cx="3889375" cy="2117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p:txBody>
      </p:sp>
      <p:sp>
        <p:nvSpPr>
          <p:cNvPr id="56332" name="Inhaltsplatzhalter 9">
            <a:extLst>
              <a:ext uri="{FF2B5EF4-FFF2-40B4-BE49-F238E27FC236}">
                <a16:creationId xmlns:a16="http://schemas.microsoft.com/office/drawing/2014/main" id="{CE1641E7-E790-B258-1E66-627FD7C41725}"/>
              </a:ext>
            </a:extLst>
          </p:cNvPr>
          <p:cNvSpPr txBox="1">
            <a:spLocks noChangeArrowheads="1"/>
          </p:cNvSpPr>
          <p:nvPr/>
        </p:nvSpPr>
        <p:spPr bwMode="auto">
          <a:xfrm>
            <a:off x="8659813" y="2740025"/>
            <a:ext cx="3889375" cy="2117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84163" indent="-284163"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 typeface="Frutiger for ZKB Light" panose="020B0303030504020204" pitchFamily="34" charset="0"/>
              <a:buChar char="–"/>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eaLnBrk="1" hangingPunct="1">
              <a:buClrTx/>
              <a:buFont typeface="Frutiger for ZKB Light" panose="020B0303030504020204" pitchFamily="34" charset="0"/>
              <a:buChar char="–"/>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eaLnBrk="1" hangingPunct="1">
              <a:buClrTx/>
              <a:buFont typeface="Frutiger for ZKB Light" panose="020B0303030504020204" pitchFamily="34" charset="0"/>
              <a:buChar char="–"/>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eaLnBrk="1" hangingPunct="1">
              <a:buClrTx/>
              <a:buFont typeface="Frutiger for ZKB Light" panose="020B0303030504020204" pitchFamily="34" charset="0"/>
              <a:buChar char="–"/>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p:txBody>
      </p:sp>
      <p:sp>
        <p:nvSpPr>
          <p:cNvPr id="56333" name="Inhaltsplatzhalter 6">
            <a:extLst>
              <a:ext uri="{FF2B5EF4-FFF2-40B4-BE49-F238E27FC236}">
                <a16:creationId xmlns:a16="http://schemas.microsoft.com/office/drawing/2014/main" id="{5666311F-346D-1042-C965-57095FBA744A}"/>
              </a:ext>
            </a:extLst>
          </p:cNvPr>
          <p:cNvSpPr txBox="1">
            <a:spLocks noChangeArrowheads="1"/>
          </p:cNvSpPr>
          <p:nvPr/>
        </p:nvSpPr>
        <p:spPr bwMode="auto">
          <a:xfrm>
            <a:off x="306388" y="5573713"/>
            <a:ext cx="38893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spcAft>
                <a:spcPts val="600"/>
              </a:spcAft>
              <a:buClrTx/>
            </a:pPr>
            <a:r>
              <a:rPr lang="de-CH" altLang="de-DE" b="1" dirty="0">
                <a:solidFill>
                  <a:schemeClr val="tx1"/>
                </a:solidFill>
              </a:rPr>
              <a:t>Lorem ip do sit amet</a:t>
            </a:r>
          </a:p>
        </p:txBody>
      </p:sp>
      <p:sp>
        <p:nvSpPr>
          <p:cNvPr id="56334" name="Inhaltsplatzhalter 7">
            <a:extLst>
              <a:ext uri="{FF2B5EF4-FFF2-40B4-BE49-F238E27FC236}">
                <a16:creationId xmlns:a16="http://schemas.microsoft.com/office/drawing/2014/main" id="{0E6F74ED-9E52-AFD4-EE77-581404B7F9C6}"/>
              </a:ext>
            </a:extLst>
          </p:cNvPr>
          <p:cNvSpPr txBox="1">
            <a:spLocks noChangeArrowheads="1"/>
          </p:cNvSpPr>
          <p:nvPr/>
        </p:nvSpPr>
        <p:spPr bwMode="auto">
          <a:xfrm>
            <a:off x="4483100" y="5573713"/>
            <a:ext cx="38893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spcAft>
                <a:spcPts val="600"/>
              </a:spcAft>
              <a:buClrTx/>
            </a:pPr>
            <a:r>
              <a:rPr lang="de-CH" altLang="de-DE" b="1" dirty="0">
                <a:solidFill>
                  <a:schemeClr val="tx1"/>
                </a:solidFill>
              </a:rPr>
              <a:t>Lorem ip do sit amet</a:t>
            </a:r>
          </a:p>
        </p:txBody>
      </p:sp>
      <p:sp>
        <p:nvSpPr>
          <p:cNvPr id="56335" name="Inhaltsplatzhalter 9">
            <a:extLst>
              <a:ext uri="{FF2B5EF4-FFF2-40B4-BE49-F238E27FC236}">
                <a16:creationId xmlns:a16="http://schemas.microsoft.com/office/drawing/2014/main" id="{F4C6D734-6670-F843-E1DE-E2E3002B4E16}"/>
              </a:ext>
            </a:extLst>
          </p:cNvPr>
          <p:cNvSpPr txBox="1">
            <a:spLocks noChangeArrowheads="1"/>
          </p:cNvSpPr>
          <p:nvPr/>
        </p:nvSpPr>
        <p:spPr bwMode="auto">
          <a:xfrm>
            <a:off x="8659813" y="5573713"/>
            <a:ext cx="38893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spcAft>
                <a:spcPts val="600"/>
              </a:spcAft>
              <a:buClrTx/>
            </a:pPr>
            <a:r>
              <a:rPr lang="de-CH" altLang="de-DE" b="1" dirty="0">
                <a:solidFill>
                  <a:schemeClr val="tx1"/>
                </a:solidFill>
              </a:rPr>
              <a:t>Lorem ip do sit amet</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346" name="Objekt 4" hidden="1">
            <a:extLst>
              <a:ext uri="{FF2B5EF4-FFF2-40B4-BE49-F238E27FC236}">
                <a16:creationId xmlns:a16="http://schemas.microsoft.com/office/drawing/2014/main" id="{7366055C-AD7E-5D47-23F6-36D87CF104B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57346" name="Objekt 4" hidden="1">
                        <a:extLst>
                          <a:ext uri="{FF2B5EF4-FFF2-40B4-BE49-F238E27FC236}">
                            <a16:creationId xmlns:a16="http://schemas.microsoft.com/office/drawing/2014/main" id="{7366055C-AD7E-5D47-23F6-36D87CF104B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73F5FEAC-ECAE-7D34-6AF2-4D09F314C72C}"/>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57348" name="Titel 14">
            <a:extLst>
              <a:ext uri="{FF2B5EF4-FFF2-40B4-BE49-F238E27FC236}">
                <a16:creationId xmlns:a16="http://schemas.microsoft.com/office/drawing/2014/main" id="{A510F445-D6DC-18DC-FC42-885FA51F8223}"/>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4 Phasen mit Ergebnis</a:t>
            </a:r>
          </a:p>
        </p:txBody>
      </p:sp>
      <p:sp>
        <p:nvSpPr>
          <p:cNvPr id="57349" name="Foliennummernplatzhalter 8">
            <a:extLst>
              <a:ext uri="{FF2B5EF4-FFF2-40B4-BE49-F238E27FC236}">
                <a16:creationId xmlns:a16="http://schemas.microsoft.com/office/drawing/2014/main" id="{BB15513E-FDA1-0983-08AB-1124A1253127}"/>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8EEF5B4D-865C-4857-A94D-EFE6D5D4A15D}" type="slidenum">
              <a:rPr lang="de-CH" altLang="de-DE" sz="1100" smtClean="0">
                <a:solidFill>
                  <a:srgbClr val="003CB4"/>
                </a:solidFill>
                <a:latin typeface="Frutiger for ZKB Light" panose="020B0303030504020204" pitchFamily="34" charset="0"/>
              </a:rPr>
              <a:pPr>
                <a:spcBef>
                  <a:spcPct val="0"/>
                </a:spcBef>
                <a:spcAft>
                  <a:spcPct val="0"/>
                </a:spcAft>
              </a:pPr>
              <a:t>35</a:t>
            </a:fld>
            <a:endParaRPr lang="de-CH" altLang="de-DE" sz="1100" dirty="0">
              <a:solidFill>
                <a:srgbClr val="003CB4"/>
              </a:solidFill>
              <a:latin typeface="Frutiger for ZKB Light" panose="020B0303030504020204" pitchFamily="34" charset="0"/>
            </a:endParaRPr>
          </a:p>
        </p:txBody>
      </p:sp>
      <p:sp>
        <p:nvSpPr>
          <p:cNvPr id="57350" name="Fußzeilenplatzhalter 7">
            <a:extLst>
              <a:ext uri="{FF2B5EF4-FFF2-40B4-BE49-F238E27FC236}">
                <a16:creationId xmlns:a16="http://schemas.microsoft.com/office/drawing/2014/main" id="{2EAB1C45-384C-D2A7-F1D5-8768ABF34E54}"/>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57351" name="Inhaltsplatzhalter 6">
            <a:extLst>
              <a:ext uri="{FF2B5EF4-FFF2-40B4-BE49-F238E27FC236}">
                <a16:creationId xmlns:a16="http://schemas.microsoft.com/office/drawing/2014/main" id="{F7EB095E-EEC1-769E-BF47-114E9ECFDA0F}"/>
              </a:ext>
            </a:extLst>
          </p:cNvPr>
          <p:cNvSpPr txBox="1">
            <a:spLocks noChangeArrowheads="1"/>
          </p:cNvSpPr>
          <p:nvPr/>
        </p:nvSpPr>
        <p:spPr bwMode="auto">
          <a:xfrm>
            <a:off x="306388" y="2740025"/>
            <a:ext cx="2881312" cy="2117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p:txBody>
      </p:sp>
      <p:sp>
        <p:nvSpPr>
          <p:cNvPr id="57352" name="Inhaltsplatzhalter 6">
            <a:extLst>
              <a:ext uri="{FF2B5EF4-FFF2-40B4-BE49-F238E27FC236}">
                <a16:creationId xmlns:a16="http://schemas.microsoft.com/office/drawing/2014/main" id="{4BF8ED95-CD8C-FF20-730D-579C6E22BB1B}"/>
              </a:ext>
            </a:extLst>
          </p:cNvPr>
          <p:cNvSpPr txBox="1">
            <a:spLocks noChangeArrowheads="1"/>
          </p:cNvSpPr>
          <p:nvPr/>
        </p:nvSpPr>
        <p:spPr bwMode="auto">
          <a:xfrm>
            <a:off x="306388" y="5573713"/>
            <a:ext cx="2881312"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solidFill>
                  <a:schemeClr val="tx1"/>
                </a:solidFill>
              </a:rPr>
              <a:t>Lorem ip do sit amet</a:t>
            </a:r>
          </a:p>
        </p:txBody>
      </p:sp>
      <p:sp>
        <p:nvSpPr>
          <p:cNvPr id="57353" name="Textfeld 155">
            <a:extLst>
              <a:ext uri="{FF2B5EF4-FFF2-40B4-BE49-F238E27FC236}">
                <a16:creationId xmlns:a16="http://schemas.microsoft.com/office/drawing/2014/main" id="{952F0392-F3BF-3C42-CCB5-F1BABCEC0955}"/>
              </a:ext>
            </a:extLst>
          </p:cNvPr>
          <p:cNvSpPr>
            <a:spLocks noChangeArrowheads="1"/>
          </p:cNvSpPr>
          <p:nvPr>
            <p:custDataLst>
              <p:tags r:id="rId3"/>
            </p:custDataLst>
          </p:nvPr>
        </p:nvSpPr>
        <p:spPr bwMode="gray">
          <a:xfrm>
            <a:off x="306388" y="1885950"/>
            <a:ext cx="3014662" cy="647700"/>
          </a:xfrm>
          <a:prstGeom prst="homePlate">
            <a:avLst>
              <a:gd name="adj" fmla="val 23337"/>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1</a:t>
            </a:r>
          </a:p>
        </p:txBody>
      </p:sp>
      <p:sp>
        <p:nvSpPr>
          <p:cNvPr id="57354" name="Textfeld 159">
            <a:extLst>
              <a:ext uri="{FF2B5EF4-FFF2-40B4-BE49-F238E27FC236}">
                <a16:creationId xmlns:a16="http://schemas.microsoft.com/office/drawing/2014/main" id="{D47AB7BC-7BDC-E186-759B-695DE245082E}"/>
              </a:ext>
            </a:extLst>
          </p:cNvPr>
          <p:cNvSpPr>
            <a:spLocks noChangeArrowheads="1"/>
          </p:cNvSpPr>
          <p:nvPr>
            <p:custDataLst>
              <p:tags r:id="rId4"/>
            </p:custDataLst>
          </p:nvPr>
        </p:nvSpPr>
        <p:spPr bwMode="gray">
          <a:xfrm>
            <a:off x="3379788" y="1885950"/>
            <a:ext cx="3014662" cy="647700"/>
          </a:xfrm>
          <a:prstGeom prst="chevron">
            <a:avLst>
              <a:gd name="adj" fmla="val 23337"/>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2</a:t>
            </a:r>
          </a:p>
        </p:txBody>
      </p:sp>
      <p:sp>
        <p:nvSpPr>
          <p:cNvPr id="57355" name="Textfeld 163">
            <a:extLst>
              <a:ext uri="{FF2B5EF4-FFF2-40B4-BE49-F238E27FC236}">
                <a16:creationId xmlns:a16="http://schemas.microsoft.com/office/drawing/2014/main" id="{31162E78-E1DA-BE40-0B2D-CA62FD8F4129}"/>
              </a:ext>
            </a:extLst>
          </p:cNvPr>
          <p:cNvSpPr>
            <a:spLocks noChangeArrowheads="1"/>
          </p:cNvSpPr>
          <p:nvPr>
            <p:custDataLst>
              <p:tags r:id="rId5"/>
            </p:custDataLst>
          </p:nvPr>
        </p:nvSpPr>
        <p:spPr bwMode="gray">
          <a:xfrm>
            <a:off x="6453188" y="1885950"/>
            <a:ext cx="3013075" cy="647700"/>
          </a:xfrm>
          <a:prstGeom prst="chevron">
            <a:avLst>
              <a:gd name="adj" fmla="val 23324"/>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3</a:t>
            </a:r>
          </a:p>
        </p:txBody>
      </p:sp>
      <p:sp>
        <p:nvSpPr>
          <p:cNvPr id="57356" name="Textfeld 167">
            <a:extLst>
              <a:ext uri="{FF2B5EF4-FFF2-40B4-BE49-F238E27FC236}">
                <a16:creationId xmlns:a16="http://schemas.microsoft.com/office/drawing/2014/main" id="{48450977-C8C0-A505-9D5E-304EEEF9D102}"/>
              </a:ext>
            </a:extLst>
          </p:cNvPr>
          <p:cNvSpPr>
            <a:spLocks noChangeArrowheads="1"/>
          </p:cNvSpPr>
          <p:nvPr>
            <p:custDataLst>
              <p:tags r:id="rId6"/>
            </p:custDataLst>
          </p:nvPr>
        </p:nvSpPr>
        <p:spPr bwMode="gray">
          <a:xfrm>
            <a:off x="9525000" y="1885950"/>
            <a:ext cx="3014663" cy="647700"/>
          </a:xfrm>
          <a:prstGeom prst="chevron">
            <a:avLst>
              <a:gd name="adj" fmla="val 23337"/>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4</a:t>
            </a:r>
          </a:p>
        </p:txBody>
      </p:sp>
      <p:sp>
        <p:nvSpPr>
          <p:cNvPr id="57357" name="Inhaltsplatzhalter 6">
            <a:extLst>
              <a:ext uri="{FF2B5EF4-FFF2-40B4-BE49-F238E27FC236}">
                <a16:creationId xmlns:a16="http://schemas.microsoft.com/office/drawing/2014/main" id="{A1EC9FE8-643C-5E90-AE0F-8BCECC20837C}"/>
              </a:ext>
            </a:extLst>
          </p:cNvPr>
          <p:cNvSpPr txBox="1">
            <a:spLocks noChangeArrowheads="1"/>
          </p:cNvSpPr>
          <p:nvPr/>
        </p:nvSpPr>
        <p:spPr bwMode="auto">
          <a:xfrm>
            <a:off x="3379788" y="2740025"/>
            <a:ext cx="2881312" cy="2117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p:txBody>
      </p:sp>
      <p:sp>
        <p:nvSpPr>
          <p:cNvPr id="57358" name="Inhaltsplatzhalter 6">
            <a:extLst>
              <a:ext uri="{FF2B5EF4-FFF2-40B4-BE49-F238E27FC236}">
                <a16:creationId xmlns:a16="http://schemas.microsoft.com/office/drawing/2014/main" id="{C93AD611-CA70-E07D-329F-81631C3B8E14}"/>
              </a:ext>
            </a:extLst>
          </p:cNvPr>
          <p:cNvSpPr txBox="1">
            <a:spLocks noChangeArrowheads="1"/>
          </p:cNvSpPr>
          <p:nvPr/>
        </p:nvSpPr>
        <p:spPr bwMode="auto">
          <a:xfrm>
            <a:off x="6453188" y="2740025"/>
            <a:ext cx="2879725" cy="2117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p:txBody>
      </p:sp>
      <p:sp>
        <p:nvSpPr>
          <p:cNvPr id="57359" name="Inhaltsplatzhalter 6">
            <a:extLst>
              <a:ext uri="{FF2B5EF4-FFF2-40B4-BE49-F238E27FC236}">
                <a16:creationId xmlns:a16="http://schemas.microsoft.com/office/drawing/2014/main" id="{2641AA4B-4E4F-2EF3-3DF3-6E71B3F4DB3C}"/>
              </a:ext>
            </a:extLst>
          </p:cNvPr>
          <p:cNvSpPr txBox="1">
            <a:spLocks noChangeArrowheads="1"/>
          </p:cNvSpPr>
          <p:nvPr/>
        </p:nvSpPr>
        <p:spPr bwMode="auto">
          <a:xfrm>
            <a:off x="9525000" y="2740025"/>
            <a:ext cx="2881313" cy="2117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p:txBody>
      </p:sp>
      <p:sp>
        <p:nvSpPr>
          <p:cNvPr id="57360" name="Inhaltsplatzhalter 6">
            <a:extLst>
              <a:ext uri="{FF2B5EF4-FFF2-40B4-BE49-F238E27FC236}">
                <a16:creationId xmlns:a16="http://schemas.microsoft.com/office/drawing/2014/main" id="{5D07F4E4-9EE2-19CB-0116-8E5862F33B36}"/>
              </a:ext>
            </a:extLst>
          </p:cNvPr>
          <p:cNvSpPr txBox="1">
            <a:spLocks noChangeArrowheads="1"/>
          </p:cNvSpPr>
          <p:nvPr/>
        </p:nvSpPr>
        <p:spPr bwMode="auto">
          <a:xfrm>
            <a:off x="3379788" y="5573713"/>
            <a:ext cx="2881312"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solidFill>
                  <a:schemeClr val="tx1"/>
                </a:solidFill>
              </a:rPr>
              <a:t>Lorem ip do sit amet</a:t>
            </a:r>
          </a:p>
        </p:txBody>
      </p:sp>
      <p:sp>
        <p:nvSpPr>
          <p:cNvPr id="57361" name="Inhaltsplatzhalter 6">
            <a:extLst>
              <a:ext uri="{FF2B5EF4-FFF2-40B4-BE49-F238E27FC236}">
                <a16:creationId xmlns:a16="http://schemas.microsoft.com/office/drawing/2014/main" id="{CD8F641F-B978-DC23-2602-2EFC4FDC2BCC}"/>
              </a:ext>
            </a:extLst>
          </p:cNvPr>
          <p:cNvSpPr txBox="1">
            <a:spLocks noChangeArrowheads="1"/>
          </p:cNvSpPr>
          <p:nvPr/>
        </p:nvSpPr>
        <p:spPr bwMode="auto">
          <a:xfrm>
            <a:off x="6453188" y="5573713"/>
            <a:ext cx="28797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solidFill>
                  <a:schemeClr val="tx1"/>
                </a:solidFill>
              </a:rPr>
              <a:t>Lorem ip do sit amet</a:t>
            </a:r>
          </a:p>
        </p:txBody>
      </p:sp>
      <p:sp>
        <p:nvSpPr>
          <p:cNvPr id="57362" name="Inhaltsplatzhalter 6">
            <a:extLst>
              <a:ext uri="{FF2B5EF4-FFF2-40B4-BE49-F238E27FC236}">
                <a16:creationId xmlns:a16="http://schemas.microsoft.com/office/drawing/2014/main" id="{8F7F9DAE-BAEA-1273-A46C-2105242DB607}"/>
              </a:ext>
            </a:extLst>
          </p:cNvPr>
          <p:cNvSpPr txBox="1">
            <a:spLocks noChangeArrowheads="1"/>
          </p:cNvSpPr>
          <p:nvPr/>
        </p:nvSpPr>
        <p:spPr bwMode="auto">
          <a:xfrm>
            <a:off x="9525000" y="5573713"/>
            <a:ext cx="28813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solidFill>
                  <a:schemeClr val="tx1"/>
                </a:solidFill>
              </a:rPr>
              <a:t>Lorem ip do sit amet</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370" name="Objekt 4" hidden="1">
            <a:extLst>
              <a:ext uri="{FF2B5EF4-FFF2-40B4-BE49-F238E27FC236}">
                <a16:creationId xmlns:a16="http://schemas.microsoft.com/office/drawing/2014/main" id="{1993ABBA-E33C-59D6-CF3A-A032CA1EDD3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360" imgH="360" progId="TCLayout.ActiveDocument.1">
                  <p:embed/>
                </p:oleObj>
              </mc:Choice>
              <mc:Fallback>
                <p:oleObj name="think-cell Folie" r:id="rId9" imgW="360" imgH="360" progId="TCLayout.ActiveDocument.1">
                  <p:embed/>
                  <p:pic>
                    <p:nvPicPr>
                      <p:cNvPr id="58370" name="Objekt 4" hidden="1">
                        <a:extLst>
                          <a:ext uri="{FF2B5EF4-FFF2-40B4-BE49-F238E27FC236}">
                            <a16:creationId xmlns:a16="http://schemas.microsoft.com/office/drawing/2014/main" id="{1993ABBA-E33C-59D6-CF3A-A032CA1EDD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DBE190E7-8F00-0E4D-CE14-1CD6954A313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lnSpc>
                <a:spcPct val="90000"/>
              </a:lnSpc>
              <a:defRPr/>
            </a:pPr>
            <a:endParaRPr lang="de-CH" sz="2700" b="1" dirty="0">
              <a:ea typeface="+mj-ea"/>
              <a:cs typeface="+mj-cs"/>
              <a:sym typeface="Frutiger for ZKB Light" panose="020B0303030504020204" pitchFamily="34" charset="0"/>
            </a:endParaRPr>
          </a:p>
        </p:txBody>
      </p:sp>
      <p:sp>
        <p:nvSpPr>
          <p:cNvPr id="58372" name="Titel 14">
            <a:extLst>
              <a:ext uri="{FF2B5EF4-FFF2-40B4-BE49-F238E27FC236}">
                <a16:creationId xmlns:a16="http://schemas.microsoft.com/office/drawing/2014/main" id="{DC4F551C-FACE-1FFE-A854-D5D26EE4B359}"/>
              </a:ext>
            </a:extLst>
          </p:cNvPr>
          <p:cNvSpPr>
            <a:spLocks noGrp="1" noChangeArrowheads="1"/>
          </p:cNvSpPr>
          <p:nvPr>
            <p:ph type="title"/>
          </p:nvPr>
        </p:nvSpPr>
        <p:spPr>
          <a:xfrm>
            <a:off x="306388" y="287338"/>
            <a:ext cx="10180637" cy="863600"/>
          </a:xfrm>
        </p:spPr>
        <p:txBody>
          <a:bodyPr/>
          <a:lstStyle/>
          <a:p>
            <a:pPr>
              <a:spcBef>
                <a:spcPct val="0"/>
              </a:spcBef>
              <a:spcAft>
                <a:spcPct val="0"/>
              </a:spcAft>
            </a:pPr>
            <a:r>
              <a:rPr lang="de-CH" altLang="de-DE" dirty="0"/>
              <a:t>5 Phasen mit Ergebnis</a:t>
            </a:r>
          </a:p>
        </p:txBody>
      </p:sp>
      <p:sp>
        <p:nvSpPr>
          <p:cNvPr id="58373" name="Foliennummernplatzhalter 2">
            <a:extLst>
              <a:ext uri="{FF2B5EF4-FFF2-40B4-BE49-F238E27FC236}">
                <a16:creationId xmlns:a16="http://schemas.microsoft.com/office/drawing/2014/main" id="{BE11D33C-D585-F1B3-C7E8-CD1C92D46C55}"/>
              </a:ext>
            </a:extLst>
          </p:cNvPr>
          <p:cNvSpPr>
            <a:spLocks noGrp="1" noChangeArrowheads="1"/>
          </p:cNvSpPr>
          <p:nvPr>
            <p:ph type="sldNum" sz="quarter" idx="13"/>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7D1EFE5-7B74-4DC9-B3A0-DB9AD5FE6CA2}" type="slidenum">
              <a:rPr lang="de-CH" smtClean="0"/>
              <a:pPr>
                <a:spcBef>
                  <a:spcPct val="0"/>
                </a:spcBef>
                <a:spcAft>
                  <a:spcPct val="0"/>
                </a:spcAft>
                <a:defRPr/>
              </a:pPr>
              <a:t>36</a:t>
            </a:fld>
            <a:endParaRPr lang="de-CH" altLang="de-DE" dirty="0"/>
          </a:p>
        </p:txBody>
      </p:sp>
      <p:sp>
        <p:nvSpPr>
          <p:cNvPr id="58374" name="Fußzeilenplatzhalter 1">
            <a:extLst>
              <a:ext uri="{FF2B5EF4-FFF2-40B4-BE49-F238E27FC236}">
                <a16:creationId xmlns:a16="http://schemas.microsoft.com/office/drawing/2014/main" id="{7F3DFA00-D842-3591-B6A3-B87DB4E285E1}"/>
              </a:ext>
            </a:extLst>
          </p:cNvPr>
          <p:cNvSpPr>
            <a:spLocks noGrp="1" noChangeArrowheads="1"/>
          </p:cNvSpPr>
          <p:nvPr>
            <p:ph type="ftr" sz="quarter" idx="14"/>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dirty="0"/>
          </a:p>
        </p:txBody>
      </p:sp>
      <p:sp>
        <p:nvSpPr>
          <p:cNvPr id="133" name="Inhaltsplatzhalter 6">
            <a:extLst>
              <a:ext uri="{FF2B5EF4-FFF2-40B4-BE49-F238E27FC236}">
                <a16:creationId xmlns:a16="http://schemas.microsoft.com/office/drawing/2014/main" id="{25208CCD-613E-58DE-B867-668D2D2F6472}"/>
              </a:ext>
            </a:extLst>
          </p:cNvPr>
          <p:cNvSpPr txBox="1">
            <a:spLocks/>
          </p:cNvSpPr>
          <p:nvPr/>
        </p:nvSpPr>
        <p:spPr>
          <a:xfrm>
            <a:off x="306388" y="2740025"/>
            <a:ext cx="2322512" cy="2327275"/>
          </a:xfrm>
          <a:prstGeom prst="rect">
            <a:avLst/>
          </a:prstGeom>
        </p:spPr>
        <p:txBody>
          <a:bodyPr lIns="0" tIns="0" rIns="0" bIns="0">
            <a:spAutoFit/>
          </a:bodyPr>
          <a:lstStyle>
            <a:lvl1pPr marL="0" indent="0" algn="l" defTabSz="964143" rtl="0" eaLnBrk="1" latinLnBrk="0" hangingPunct="1">
              <a:lnSpc>
                <a:spcPct val="105000"/>
              </a:lnSpc>
              <a:spcBef>
                <a:spcPts val="0"/>
              </a:spcBef>
              <a:buFont typeface="Frutiger for ZKB Light" panose="020B0303030504020204" pitchFamily="34" charset="0"/>
              <a:buNone/>
              <a:defRPr lang="de-DE" sz="1600" kern="1200" noProof="0" dirty="0" smtClean="0">
                <a:solidFill>
                  <a:schemeClr val="tx1"/>
                </a:solidFill>
                <a:latin typeface="+mn-lt"/>
                <a:ea typeface="+mn-ea"/>
                <a:cs typeface="+mn-cs"/>
              </a:defRPr>
            </a:lvl1pPr>
            <a:lvl2pPr marL="18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Frutiger for ZKB Light" panose="020B0303030504020204" pitchFamily="34" charset="0"/>
                <a:ea typeface="+mn-ea"/>
                <a:cs typeface="+mn-cs"/>
              </a:defRPr>
            </a:lvl2pPr>
            <a:lvl3pPr marL="36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3pPr>
            <a:lvl4pPr marL="54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4pPr>
            <a:lvl5pPr marL="72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marL="284221" lvl="1" indent="-284221">
              <a:defRPr/>
            </a:pPr>
            <a:r>
              <a:rPr lang="de-CH" dirty="0">
                <a:latin typeface="+mn-lt"/>
              </a:rPr>
              <a:t>Lorem ipsum dolor sit ame, cons sadig Lorem ipsum dolor sit amet, ur sadipsc</a:t>
            </a:r>
          </a:p>
          <a:p>
            <a:pPr marL="284221" lvl="1" indent="-284221">
              <a:defRPr/>
            </a:pPr>
            <a:endParaRPr lang="de-CH" dirty="0">
              <a:latin typeface="+mn-lt"/>
            </a:endParaRPr>
          </a:p>
          <a:p>
            <a:pPr marL="284221" lvl="1" indent="-284221">
              <a:defRPr/>
            </a:pPr>
            <a:r>
              <a:rPr lang="de-CH" dirty="0">
                <a:latin typeface="+mn-lt"/>
              </a:rPr>
              <a:t>Lorem ipsum dolor sit amet, coning elitrm Lorem ipsuor sit amet, metur sadipscing elitr</a:t>
            </a:r>
          </a:p>
        </p:txBody>
      </p:sp>
      <p:sp>
        <p:nvSpPr>
          <p:cNvPr id="58376" name="Textfeld 265">
            <a:extLst>
              <a:ext uri="{FF2B5EF4-FFF2-40B4-BE49-F238E27FC236}">
                <a16:creationId xmlns:a16="http://schemas.microsoft.com/office/drawing/2014/main" id="{B43C7B97-5735-B662-D1C2-81E1E1FAA967}"/>
              </a:ext>
            </a:extLst>
          </p:cNvPr>
          <p:cNvSpPr>
            <a:spLocks noChangeArrowheads="1"/>
          </p:cNvSpPr>
          <p:nvPr>
            <p:custDataLst>
              <p:tags r:id="rId3"/>
            </p:custDataLst>
          </p:nvPr>
        </p:nvSpPr>
        <p:spPr bwMode="gray">
          <a:xfrm>
            <a:off x="306388" y="1885950"/>
            <a:ext cx="2414587" cy="647700"/>
          </a:xfrm>
          <a:prstGeom prst="homePlate">
            <a:avLst>
              <a:gd name="adj" fmla="val 22834"/>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1</a:t>
            </a:r>
          </a:p>
        </p:txBody>
      </p:sp>
      <p:sp>
        <p:nvSpPr>
          <p:cNvPr id="58377" name="Textfeld 266">
            <a:extLst>
              <a:ext uri="{FF2B5EF4-FFF2-40B4-BE49-F238E27FC236}">
                <a16:creationId xmlns:a16="http://schemas.microsoft.com/office/drawing/2014/main" id="{9F5AC207-A67D-6318-7579-D89DAF2DDF29}"/>
              </a:ext>
            </a:extLst>
          </p:cNvPr>
          <p:cNvSpPr>
            <a:spLocks noChangeArrowheads="1"/>
          </p:cNvSpPr>
          <p:nvPr>
            <p:custDataLst>
              <p:tags r:id="rId4"/>
            </p:custDataLst>
          </p:nvPr>
        </p:nvSpPr>
        <p:spPr bwMode="gray">
          <a:xfrm>
            <a:off x="2763838" y="1885950"/>
            <a:ext cx="2416175" cy="647700"/>
          </a:xfrm>
          <a:prstGeom prst="chevron">
            <a:avLst>
              <a:gd name="adj" fmla="val 23349"/>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2</a:t>
            </a:r>
          </a:p>
        </p:txBody>
      </p:sp>
      <p:sp>
        <p:nvSpPr>
          <p:cNvPr id="58378" name="Textfeld 267">
            <a:extLst>
              <a:ext uri="{FF2B5EF4-FFF2-40B4-BE49-F238E27FC236}">
                <a16:creationId xmlns:a16="http://schemas.microsoft.com/office/drawing/2014/main" id="{3771BA3F-257A-93F7-17F6-4B8EE4B5914F}"/>
              </a:ext>
            </a:extLst>
          </p:cNvPr>
          <p:cNvSpPr>
            <a:spLocks noChangeArrowheads="1"/>
          </p:cNvSpPr>
          <p:nvPr>
            <p:custDataLst>
              <p:tags r:id="rId5"/>
            </p:custDataLst>
          </p:nvPr>
        </p:nvSpPr>
        <p:spPr bwMode="gray">
          <a:xfrm>
            <a:off x="5222875" y="1885950"/>
            <a:ext cx="2414588" cy="647700"/>
          </a:xfrm>
          <a:prstGeom prst="chevron">
            <a:avLst>
              <a:gd name="adj" fmla="val 23334"/>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3</a:t>
            </a:r>
          </a:p>
        </p:txBody>
      </p:sp>
      <p:sp>
        <p:nvSpPr>
          <p:cNvPr id="58379" name="Textfeld 268">
            <a:extLst>
              <a:ext uri="{FF2B5EF4-FFF2-40B4-BE49-F238E27FC236}">
                <a16:creationId xmlns:a16="http://schemas.microsoft.com/office/drawing/2014/main" id="{BDD814FF-8835-47AC-4466-AC83B5D93685}"/>
              </a:ext>
            </a:extLst>
          </p:cNvPr>
          <p:cNvSpPr>
            <a:spLocks noChangeArrowheads="1"/>
          </p:cNvSpPr>
          <p:nvPr>
            <p:custDataLst>
              <p:tags r:id="rId6"/>
            </p:custDataLst>
          </p:nvPr>
        </p:nvSpPr>
        <p:spPr bwMode="gray">
          <a:xfrm>
            <a:off x="7680325" y="1885950"/>
            <a:ext cx="2414588" cy="647700"/>
          </a:xfrm>
          <a:prstGeom prst="chevron">
            <a:avLst>
              <a:gd name="adj" fmla="val 23334"/>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4</a:t>
            </a:r>
          </a:p>
        </p:txBody>
      </p:sp>
      <p:sp>
        <p:nvSpPr>
          <p:cNvPr id="58380" name="Textfeld 269">
            <a:extLst>
              <a:ext uri="{FF2B5EF4-FFF2-40B4-BE49-F238E27FC236}">
                <a16:creationId xmlns:a16="http://schemas.microsoft.com/office/drawing/2014/main" id="{F6D6EDBA-6FEC-7B19-F661-A697B6E1E8D1}"/>
              </a:ext>
            </a:extLst>
          </p:cNvPr>
          <p:cNvSpPr>
            <a:spLocks noChangeArrowheads="1"/>
          </p:cNvSpPr>
          <p:nvPr>
            <p:custDataLst>
              <p:tags r:id="rId7"/>
            </p:custDataLst>
          </p:nvPr>
        </p:nvSpPr>
        <p:spPr bwMode="gray">
          <a:xfrm>
            <a:off x="10134600" y="1885950"/>
            <a:ext cx="2414588" cy="647700"/>
          </a:xfrm>
          <a:prstGeom prst="chevron">
            <a:avLst>
              <a:gd name="adj" fmla="val 23334"/>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5</a:t>
            </a:r>
          </a:p>
        </p:txBody>
      </p:sp>
      <p:sp>
        <p:nvSpPr>
          <p:cNvPr id="271" name="Inhaltsplatzhalter 6">
            <a:extLst>
              <a:ext uri="{FF2B5EF4-FFF2-40B4-BE49-F238E27FC236}">
                <a16:creationId xmlns:a16="http://schemas.microsoft.com/office/drawing/2014/main" id="{B96819F1-4DB7-B012-793A-965DBA86FC39}"/>
              </a:ext>
            </a:extLst>
          </p:cNvPr>
          <p:cNvSpPr txBox="1">
            <a:spLocks/>
          </p:cNvSpPr>
          <p:nvPr/>
        </p:nvSpPr>
        <p:spPr>
          <a:xfrm>
            <a:off x="2763838" y="2740025"/>
            <a:ext cx="2322512" cy="2327275"/>
          </a:xfrm>
          <a:prstGeom prst="rect">
            <a:avLst/>
          </a:prstGeom>
        </p:spPr>
        <p:txBody>
          <a:bodyPr lIns="0" tIns="0" rIns="0" bIns="0">
            <a:spAutoFit/>
          </a:bodyPr>
          <a:lstStyle>
            <a:lvl1pPr marL="0" indent="0" algn="l" defTabSz="964143" rtl="0" eaLnBrk="1" latinLnBrk="0" hangingPunct="1">
              <a:lnSpc>
                <a:spcPct val="105000"/>
              </a:lnSpc>
              <a:spcBef>
                <a:spcPts val="0"/>
              </a:spcBef>
              <a:buFont typeface="Frutiger for ZKB Light" panose="020B0303030504020204" pitchFamily="34" charset="0"/>
              <a:buNone/>
              <a:defRPr lang="de-DE" sz="1600" kern="1200" noProof="0" dirty="0" smtClean="0">
                <a:solidFill>
                  <a:schemeClr val="tx1"/>
                </a:solidFill>
                <a:latin typeface="+mn-lt"/>
                <a:ea typeface="+mn-ea"/>
                <a:cs typeface="+mn-cs"/>
              </a:defRPr>
            </a:lvl1pPr>
            <a:lvl2pPr marL="18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Frutiger for ZKB Light" panose="020B0303030504020204" pitchFamily="34" charset="0"/>
                <a:ea typeface="+mn-ea"/>
                <a:cs typeface="+mn-cs"/>
              </a:defRPr>
            </a:lvl2pPr>
            <a:lvl3pPr marL="36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3pPr>
            <a:lvl4pPr marL="54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4pPr>
            <a:lvl5pPr marL="72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marL="284221" lvl="1" indent="-284221">
              <a:defRPr/>
            </a:pPr>
            <a:r>
              <a:rPr lang="de-CH" dirty="0">
                <a:latin typeface="+mn-lt"/>
              </a:rPr>
              <a:t>Lorem ipsum dolor sit ame, cons sadig Lorem ipsum dolor sit amet, ur sadipsc</a:t>
            </a:r>
          </a:p>
          <a:p>
            <a:pPr marL="284221" lvl="1" indent="-284221">
              <a:defRPr/>
            </a:pPr>
            <a:endParaRPr lang="de-CH" dirty="0">
              <a:latin typeface="+mn-lt"/>
            </a:endParaRPr>
          </a:p>
          <a:p>
            <a:pPr marL="284221" lvl="1" indent="-284221">
              <a:defRPr/>
            </a:pPr>
            <a:r>
              <a:rPr lang="de-CH" dirty="0">
                <a:latin typeface="+mn-lt"/>
              </a:rPr>
              <a:t>Lorem ipsum dolor sit amet, coning elitrm Lorem ipsuor sit amet, metur sadipscing elitr</a:t>
            </a:r>
          </a:p>
        </p:txBody>
      </p:sp>
      <p:sp>
        <p:nvSpPr>
          <p:cNvPr id="272" name="Inhaltsplatzhalter 6">
            <a:extLst>
              <a:ext uri="{FF2B5EF4-FFF2-40B4-BE49-F238E27FC236}">
                <a16:creationId xmlns:a16="http://schemas.microsoft.com/office/drawing/2014/main" id="{8DCE1867-A2B0-007B-D5FF-C7760677F395}"/>
              </a:ext>
            </a:extLst>
          </p:cNvPr>
          <p:cNvSpPr txBox="1">
            <a:spLocks/>
          </p:cNvSpPr>
          <p:nvPr/>
        </p:nvSpPr>
        <p:spPr>
          <a:xfrm>
            <a:off x="5222875" y="2740025"/>
            <a:ext cx="2322513" cy="2327275"/>
          </a:xfrm>
          <a:prstGeom prst="rect">
            <a:avLst/>
          </a:prstGeom>
        </p:spPr>
        <p:txBody>
          <a:bodyPr lIns="0" tIns="0" rIns="0" bIns="0">
            <a:spAutoFit/>
          </a:bodyPr>
          <a:lstStyle>
            <a:lvl1pPr marL="0" indent="0" algn="l" defTabSz="964143" rtl="0" eaLnBrk="1" latinLnBrk="0" hangingPunct="1">
              <a:lnSpc>
                <a:spcPct val="105000"/>
              </a:lnSpc>
              <a:spcBef>
                <a:spcPts val="0"/>
              </a:spcBef>
              <a:buFont typeface="Frutiger for ZKB Light" panose="020B0303030504020204" pitchFamily="34" charset="0"/>
              <a:buNone/>
              <a:defRPr lang="de-DE" sz="1600" kern="1200" noProof="0" dirty="0" smtClean="0">
                <a:solidFill>
                  <a:schemeClr val="tx1"/>
                </a:solidFill>
                <a:latin typeface="+mn-lt"/>
                <a:ea typeface="+mn-ea"/>
                <a:cs typeface="+mn-cs"/>
              </a:defRPr>
            </a:lvl1pPr>
            <a:lvl2pPr marL="18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Frutiger for ZKB Light" panose="020B0303030504020204" pitchFamily="34" charset="0"/>
                <a:ea typeface="+mn-ea"/>
                <a:cs typeface="+mn-cs"/>
              </a:defRPr>
            </a:lvl2pPr>
            <a:lvl3pPr marL="36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3pPr>
            <a:lvl4pPr marL="54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4pPr>
            <a:lvl5pPr marL="72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marL="284221" lvl="1" indent="-284221">
              <a:defRPr/>
            </a:pPr>
            <a:r>
              <a:rPr lang="de-CH" dirty="0">
                <a:latin typeface="+mn-lt"/>
              </a:rPr>
              <a:t>Lorem ipsum dolor sit ame, cons sadig Lorem ipsum dolor sit amet, ur sadipsc</a:t>
            </a:r>
          </a:p>
          <a:p>
            <a:pPr marL="284221" lvl="1" indent="-284221">
              <a:defRPr/>
            </a:pPr>
            <a:endParaRPr lang="de-CH" dirty="0">
              <a:latin typeface="+mn-lt"/>
            </a:endParaRPr>
          </a:p>
          <a:p>
            <a:pPr marL="284221" lvl="1" indent="-284221">
              <a:defRPr/>
            </a:pPr>
            <a:r>
              <a:rPr lang="de-CH" dirty="0">
                <a:latin typeface="+mn-lt"/>
              </a:rPr>
              <a:t>Lorem ipsum dolor sit amet, coning elitrm Lorem ipsuor sit amet, metur sadipscing elitr</a:t>
            </a:r>
          </a:p>
        </p:txBody>
      </p:sp>
      <p:sp>
        <p:nvSpPr>
          <p:cNvPr id="273" name="Inhaltsplatzhalter 6">
            <a:extLst>
              <a:ext uri="{FF2B5EF4-FFF2-40B4-BE49-F238E27FC236}">
                <a16:creationId xmlns:a16="http://schemas.microsoft.com/office/drawing/2014/main" id="{DA0A6D81-1688-22F6-0FBF-E70DCDB1DFAC}"/>
              </a:ext>
            </a:extLst>
          </p:cNvPr>
          <p:cNvSpPr txBox="1">
            <a:spLocks/>
          </p:cNvSpPr>
          <p:nvPr/>
        </p:nvSpPr>
        <p:spPr>
          <a:xfrm>
            <a:off x="7680325" y="2740025"/>
            <a:ext cx="2322513" cy="2327275"/>
          </a:xfrm>
          <a:prstGeom prst="rect">
            <a:avLst/>
          </a:prstGeom>
        </p:spPr>
        <p:txBody>
          <a:bodyPr lIns="0" tIns="0" rIns="0" bIns="0">
            <a:spAutoFit/>
          </a:bodyPr>
          <a:lstStyle>
            <a:lvl1pPr marL="0" indent="0" algn="l" defTabSz="964143" rtl="0" eaLnBrk="1" latinLnBrk="0" hangingPunct="1">
              <a:lnSpc>
                <a:spcPct val="105000"/>
              </a:lnSpc>
              <a:spcBef>
                <a:spcPts val="0"/>
              </a:spcBef>
              <a:buFont typeface="Frutiger for ZKB Light" panose="020B0303030504020204" pitchFamily="34" charset="0"/>
              <a:buNone/>
              <a:defRPr lang="de-DE" sz="1600" kern="1200" noProof="0" dirty="0" smtClean="0">
                <a:solidFill>
                  <a:schemeClr val="tx1"/>
                </a:solidFill>
                <a:latin typeface="+mn-lt"/>
                <a:ea typeface="+mn-ea"/>
                <a:cs typeface="+mn-cs"/>
              </a:defRPr>
            </a:lvl1pPr>
            <a:lvl2pPr marL="18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Frutiger for ZKB Light" panose="020B0303030504020204" pitchFamily="34" charset="0"/>
                <a:ea typeface="+mn-ea"/>
                <a:cs typeface="+mn-cs"/>
              </a:defRPr>
            </a:lvl2pPr>
            <a:lvl3pPr marL="36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3pPr>
            <a:lvl4pPr marL="54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4pPr>
            <a:lvl5pPr marL="72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marL="284221" lvl="1" indent="-284221">
              <a:defRPr/>
            </a:pPr>
            <a:r>
              <a:rPr lang="de-CH" dirty="0">
                <a:latin typeface="+mn-lt"/>
              </a:rPr>
              <a:t>Lorem ipsum dolor sit ame, cons sadig Lorem ipsum dolor sit amet, ur sadipsc</a:t>
            </a:r>
          </a:p>
          <a:p>
            <a:pPr marL="284221" lvl="1" indent="-284221">
              <a:defRPr/>
            </a:pPr>
            <a:endParaRPr lang="de-CH" dirty="0">
              <a:latin typeface="+mn-lt"/>
            </a:endParaRPr>
          </a:p>
          <a:p>
            <a:pPr marL="284221" lvl="1" indent="-284221">
              <a:defRPr/>
            </a:pPr>
            <a:r>
              <a:rPr lang="de-CH" dirty="0">
                <a:latin typeface="+mn-lt"/>
              </a:rPr>
              <a:t>Lorem ipsum dolor sit amet, coning elitrm Lorem ipsuor sit amet, metur sadipscing elitr</a:t>
            </a:r>
          </a:p>
        </p:txBody>
      </p:sp>
      <p:sp>
        <p:nvSpPr>
          <p:cNvPr id="274" name="Inhaltsplatzhalter 6">
            <a:extLst>
              <a:ext uri="{FF2B5EF4-FFF2-40B4-BE49-F238E27FC236}">
                <a16:creationId xmlns:a16="http://schemas.microsoft.com/office/drawing/2014/main" id="{AF4F6FBE-3C7E-E5C5-A325-43F69BF7614B}"/>
              </a:ext>
            </a:extLst>
          </p:cNvPr>
          <p:cNvSpPr txBox="1">
            <a:spLocks/>
          </p:cNvSpPr>
          <p:nvPr/>
        </p:nvSpPr>
        <p:spPr>
          <a:xfrm>
            <a:off x="10134600" y="2740025"/>
            <a:ext cx="2322513" cy="2327275"/>
          </a:xfrm>
          <a:prstGeom prst="rect">
            <a:avLst/>
          </a:prstGeom>
        </p:spPr>
        <p:txBody>
          <a:bodyPr lIns="0" tIns="0" rIns="0" bIns="0">
            <a:spAutoFit/>
          </a:bodyPr>
          <a:lstStyle>
            <a:lvl1pPr marL="0" indent="0" algn="l" defTabSz="964143" rtl="0" eaLnBrk="1" latinLnBrk="0" hangingPunct="1">
              <a:lnSpc>
                <a:spcPct val="105000"/>
              </a:lnSpc>
              <a:spcBef>
                <a:spcPts val="0"/>
              </a:spcBef>
              <a:buFont typeface="Frutiger for ZKB Light" panose="020B0303030504020204" pitchFamily="34" charset="0"/>
              <a:buNone/>
              <a:defRPr lang="de-DE" sz="1600" kern="1200" noProof="0" dirty="0" smtClean="0">
                <a:solidFill>
                  <a:schemeClr val="tx1"/>
                </a:solidFill>
                <a:latin typeface="+mn-lt"/>
                <a:ea typeface="+mn-ea"/>
                <a:cs typeface="+mn-cs"/>
              </a:defRPr>
            </a:lvl1pPr>
            <a:lvl2pPr marL="18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Frutiger for ZKB Light" panose="020B0303030504020204" pitchFamily="34" charset="0"/>
                <a:ea typeface="+mn-ea"/>
                <a:cs typeface="+mn-cs"/>
              </a:defRPr>
            </a:lvl2pPr>
            <a:lvl3pPr marL="36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3pPr>
            <a:lvl4pPr marL="54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4pPr>
            <a:lvl5pPr marL="72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marL="284221" lvl="1" indent="-284221">
              <a:defRPr/>
            </a:pPr>
            <a:r>
              <a:rPr lang="de-CH" dirty="0">
                <a:latin typeface="+mn-lt"/>
              </a:rPr>
              <a:t>Lorem ipsum dolor sit ame, cons sadig Lorem ipsum dolor sit amet, ur sadipsc</a:t>
            </a:r>
          </a:p>
          <a:p>
            <a:pPr marL="284221" lvl="1" indent="-284221">
              <a:defRPr/>
            </a:pPr>
            <a:endParaRPr lang="de-CH" dirty="0">
              <a:latin typeface="+mn-lt"/>
            </a:endParaRPr>
          </a:p>
          <a:p>
            <a:pPr marL="284221" lvl="1" indent="-284221">
              <a:defRPr/>
            </a:pPr>
            <a:r>
              <a:rPr lang="de-CH" dirty="0">
                <a:latin typeface="+mn-lt"/>
              </a:rPr>
              <a:t>Lorem ipsum dolor sit amet, coning elitrm Lorem ipsuor sit amet, metur sadipscing elitr</a:t>
            </a:r>
          </a:p>
        </p:txBody>
      </p:sp>
      <p:sp>
        <p:nvSpPr>
          <p:cNvPr id="58385" name="Inhaltsplatzhalter 6">
            <a:extLst>
              <a:ext uri="{FF2B5EF4-FFF2-40B4-BE49-F238E27FC236}">
                <a16:creationId xmlns:a16="http://schemas.microsoft.com/office/drawing/2014/main" id="{E5F8FC1B-B9A8-E0F8-75BF-C831751A93B4}"/>
              </a:ext>
            </a:extLst>
          </p:cNvPr>
          <p:cNvSpPr txBox="1">
            <a:spLocks noChangeArrowheads="1"/>
          </p:cNvSpPr>
          <p:nvPr/>
        </p:nvSpPr>
        <p:spPr bwMode="auto">
          <a:xfrm>
            <a:off x="306388" y="5573713"/>
            <a:ext cx="2322512"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solidFill>
                  <a:schemeClr val="tx1"/>
                </a:solidFill>
              </a:rPr>
              <a:t>Lorem ip do sit amet</a:t>
            </a:r>
          </a:p>
        </p:txBody>
      </p:sp>
      <p:sp>
        <p:nvSpPr>
          <p:cNvPr id="58386" name="Inhaltsplatzhalter 6">
            <a:extLst>
              <a:ext uri="{FF2B5EF4-FFF2-40B4-BE49-F238E27FC236}">
                <a16:creationId xmlns:a16="http://schemas.microsoft.com/office/drawing/2014/main" id="{89A23E80-3535-3B2C-9E1C-421642A21FC9}"/>
              </a:ext>
            </a:extLst>
          </p:cNvPr>
          <p:cNvSpPr txBox="1">
            <a:spLocks noChangeArrowheads="1"/>
          </p:cNvSpPr>
          <p:nvPr/>
        </p:nvSpPr>
        <p:spPr bwMode="auto">
          <a:xfrm>
            <a:off x="2763838" y="5573713"/>
            <a:ext cx="2322512"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solidFill>
                  <a:schemeClr val="tx1"/>
                </a:solidFill>
              </a:rPr>
              <a:t>Lorem ip do sit amet</a:t>
            </a:r>
          </a:p>
        </p:txBody>
      </p:sp>
      <p:sp>
        <p:nvSpPr>
          <p:cNvPr id="58387" name="Inhaltsplatzhalter 6">
            <a:extLst>
              <a:ext uri="{FF2B5EF4-FFF2-40B4-BE49-F238E27FC236}">
                <a16:creationId xmlns:a16="http://schemas.microsoft.com/office/drawing/2014/main" id="{9D1308D0-3F44-13E1-0C7D-8766E06DDF85}"/>
              </a:ext>
            </a:extLst>
          </p:cNvPr>
          <p:cNvSpPr txBox="1">
            <a:spLocks noChangeArrowheads="1"/>
          </p:cNvSpPr>
          <p:nvPr/>
        </p:nvSpPr>
        <p:spPr bwMode="auto">
          <a:xfrm>
            <a:off x="5222875" y="5573713"/>
            <a:ext cx="23225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solidFill>
                  <a:schemeClr val="tx1"/>
                </a:solidFill>
              </a:rPr>
              <a:t>Lorem ip do sit amet</a:t>
            </a:r>
          </a:p>
        </p:txBody>
      </p:sp>
      <p:sp>
        <p:nvSpPr>
          <p:cNvPr id="58388" name="Inhaltsplatzhalter 6">
            <a:extLst>
              <a:ext uri="{FF2B5EF4-FFF2-40B4-BE49-F238E27FC236}">
                <a16:creationId xmlns:a16="http://schemas.microsoft.com/office/drawing/2014/main" id="{2D931D5F-F9D6-89E7-B043-DD537502B61B}"/>
              </a:ext>
            </a:extLst>
          </p:cNvPr>
          <p:cNvSpPr txBox="1">
            <a:spLocks noChangeArrowheads="1"/>
          </p:cNvSpPr>
          <p:nvPr/>
        </p:nvSpPr>
        <p:spPr bwMode="auto">
          <a:xfrm>
            <a:off x="7680325" y="5573713"/>
            <a:ext cx="23225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solidFill>
                  <a:schemeClr val="tx1"/>
                </a:solidFill>
              </a:rPr>
              <a:t>Lorem ip do sit amet</a:t>
            </a:r>
          </a:p>
        </p:txBody>
      </p:sp>
      <p:sp>
        <p:nvSpPr>
          <p:cNvPr id="58389" name="Inhaltsplatzhalter 6">
            <a:extLst>
              <a:ext uri="{FF2B5EF4-FFF2-40B4-BE49-F238E27FC236}">
                <a16:creationId xmlns:a16="http://schemas.microsoft.com/office/drawing/2014/main" id="{872DB58B-550D-DF3E-F61A-79F1CD95CA13}"/>
              </a:ext>
            </a:extLst>
          </p:cNvPr>
          <p:cNvSpPr txBox="1">
            <a:spLocks noChangeArrowheads="1"/>
          </p:cNvSpPr>
          <p:nvPr/>
        </p:nvSpPr>
        <p:spPr bwMode="auto">
          <a:xfrm>
            <a:off x="10134600" y="5573713"/>
            <a:ext cx="23225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solidFill>
                  <a:schemeClr val="tx1"/>
                </a:solidFill>
              </a:rPr>
              <a:t>Lorem ip do sit amet</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394" name="Objekt 4" hidden="1">
            <a:extLst>
              <a:ext uri="{FF2B5EF4-FFF2-40B4-BE49-F238E27FC236}">
                <a16:creationId xmlns:a16="http://schemas.microsoft.com/office/drawing/2014/main" id="{C2001F9D-631D-0D4B-5648-8D4770C19D4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0" imgW="360" imgH="360" progId="TCLayout.ActiveDocument.1">
                  <p:embed/>
                </p:oleObj>
              </mc:Choice>
              <mc:Fallback>
                <p:oleObj name="think-cell Folie" r:id="rId10" imgW="360" imgH="360" progId="TCLayout.ActiveDocument.1">
                  <p:embed/>
                  <p:pic>
                    <p:nvPicPr>
                      <p:cNvPr id="59394" name="Objekt 4" hidden="1">
                        <a:extLst>
                          <a:ext uri="{FF2B5EF4-FFF2-40B4-BE49-F238E27FC236}">
                            <a16:creationId xmlns:a16="http://schemas.microsoft.com/office/drawing/2014/main" id="{C2001F9D-631D-0D4B-5648-8D4770C19D4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66D986D2-4891-1B10-4ACF-60137D6FA028}"/>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59396" name="Titel 14">
            <a:extLst>
              <a:ext uri="{FF2B5EF4-FFF2-40B4-BE49-F238E27FC236}">
                <a16:creationId xmlns:a16="http://schemas.microsoft.com/office/drawing/2014/main" id="{D3C4E0E9-9487-CDB2-73CC-EDACB1B90086}"/>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6 Phasen mit Hervorhebung</a:t>
            </a:r>
          </a:p>
        </p:txBody>
      </p:sp>
      <p:sp>
        <p:nvSpPr>
          <p:cNvPr id="59397" name="Foliennummernplatzhalter 13">
            <a:extLst>
              <a:ext uri="{FF2B5EF4-FFF2-40B4-BE49-F238E27FC236}">
                <a16:creationId xmlns:a16="http://schemas.microsoft.com/office/drawing/2014/main" id="{DEC9C857-3318-5A35-5746-B8CF10B5CE57}"/>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FBBD565C-2DC6-42CF-A206-6B13095CBBCD}" type="slidenum">
              <a:rPr lang="de-CH" altLang="de-DE" sz="1100" smtClean="0">
                <a:solidFill>
                  <a:srgbClr val="003CB4"/>
                </a:solidFill>
                <a:latin typeface="Frutiger for ZKB Light" panose="020B0303030504020204" pitchFamily="34" charset="0"/>
              </a:rPr>
              <a:pPr>
                <a:spcBef>
                  <a:spcPct val="0"/>
                </a:spcBef>
                <a:spcAft>
                  <a:spcPct val="0"/>
                </a:spcAft>
              </a:pPr>
              <a:t>37</a:t>
            </a:fld>
            <a:endParaRPr lang="de-CH" altLang="de-DE" sz="1100" dirty="0">
              <a:solidFill>
                <a:srgbClr val="003CB4"/>
              </a:solidFill>
              <a:latin typeface="Frutiger for ZKB Light" panose="020B0303030504020204" pitchFamily="34" charset="0"/>
            </a:endParaRPr>
          </a:p>
        </p:txBody>
      </p:sp>
      <p:sp>
        <p:nvSpPr>
          <p:cNvPr id="59398" name="Fußzeilenplatzhalter 12">
            <a:extLst>
              <a:ext uri="{FF2B5EF4-FFF2-40B4-BE49-F238E27FC236}">
                <a16:creationId xmlns:a16="http://schemas.microsoft.com/office/drawing/2014/main" id="{00D0FA55-5FB6-D1D3-4EB0-061D51B0058B}"/>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59399" name="Inhaltsplatzhalter 6">
            <a:extLst>
              <a:ext uri="{FF2B5EF4-FFF2-40B4-BE49-F238E27FC236}">
                <a16:creationId xmlns:a16="http://schemas.microsoft.com/office/drawing/2014/main" id="{207B7097-B352-70CA-C5D2-0EE93C373AF9}"/>
              </a:ext>
            </a:extLst>
          </p:cNvPr>
          <p:cNvSpPr txBox="1">
            <a:spLocks noChangeArrowheads="1"/>
          </p:cNvSpPr>
          <p:nvPr/>
        </p:nvSpPr>
        <p:spPr bwMode="auto">
          <a:xfrm>
            <a:off x="306388" y="2740025"/>
            <a:ext cx="1862137" cy="2560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 cons sadig Lorem ipsum dolor sit am, ur sadipsc</a:t>
            </a:r>
          </a:p>
          <a:p>
            <a:pPr eaLnBrk="1" hangingPunct="1">
              <a:buClrTx/>
            </a:pPr>
            <a:endParaRPr lang="de-CH" altLang="de-DE" dirty="0">
              <a:solidFill>
                <a:schemeClr val="tx1"/>
              </a:solidFill>
            </a:endParaRPr>
          </a:p>
          <a:p>
            <a:pPr eaLnBrk="1" hangingPunct="1">
              <a:buClrTx/>
            </a:pPr>
            <a:r>
              <a:rPr lang="de-CH" altLang="de-DE" dirty="0">
                <a:solidFill>
                  <a:schemeClr val="tx1"/>
                </a:solidFill>
              </a:rPr>
              <a:t>Lorem ipsum dolor sit am, coning elitrm Lorem ipsuor sit amet, mer sacing elitr</a:t>
            </a:r>
          </a:p>
        </p:txBody>
      </p:sp>
      <p:sp>
        <p:nvSpPr>
          <p:cNvPr id="59400" name="Textfeld 275">
            <a:extLst>
              <a:ext uri="{FF2B5EF4-FFF2-40B4-BE49-F238E27FC236}">
                <a16:creationId xmlns:a16="http://schemas.microsoft.com/office/drawing/2014/main" id="{329A9F29-75B1-4126-DA61-C637868EC5C0}"/>
              </a:ext>
            </a:extLst>
          </p:cNvPr>
          <p:cNvSpPr>
            <a:spLocks noChangeArrowheads="1"/>
          </p:cNvSpPr>
          <p:nvPr>
            <p:custDataLst>
              <p:tags r:id="rId3"/>
            </p:custDataLst>
          </p:nvPr>
        </p:nvSpPr>
        <p:spPr bwMode="gray">
          <a:xfrm>
            <a:off x="306388" y="1885950"/>
            <a:ext cx="2041525" cy="647700"/>
          </a:xfrm>
          <a:prstGeom prst="homePlate">
            <a:avLst>
              <a:gd name="adj" fmla="val 22837"/>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1</a:t>
            </a:r>
          </a:p>
        </p:txBody>
      </p:sp>
      <p:sp>
        <p:nvSpPr>
          <p:cNvPr id="59401" name="Textfeld 276">
            <a:extLst>
              <a:ext uri="{FF2B5EF4-FFF2-40B4-BE49-F238E27FC236}">
                <a16:creationId xmlns:a16="http://schemas.microsoft.com/office/drawing/2014/main" id="{19FB84BA-EFF5-E7F3-3BC3-C81767E40A16}"/>
              </a:ext>
            </a:extLst>
          </p:cNvPr>
          <p:cNvSpPr>
            <a:spLocks noChangeArrowheads="1"/>
          </p:cNvSpPr>
          <p:nvPr>
            <p:custDataLst>
              <p:tags r:id="rId4"/>
            </p:custDataLst>
          </p:nvPr>
        </p:nvSpPr>
        <p:spPr bwMode="gray">
          <a:xfrm>
            <a:off x="2347913" y="1885950"/>
            <a:ext cx="2041525" cy="647700"/>
          </a:xfrm>
          <a:prstGeom prst="chevron">
            <a:avLst>
              <a:gd name="adj" fmla="val 23333"/>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2</a:t>
            </a:r>
          </a:p>
        </p:txBody>
      </p:sp>
      <p:sp>
        <p:nvSpPr>
          <p:cNvPr id="59402" name="Textfeld 277">
            <a:extLst>
              <a:ext uri="{FF2B5EF4-FFF2-40B4-BE49-F238E27FC236}">
                <a16:creationId xmlns:a16="http://schemas.microsoft.com/office/drawing/2014/main" id="{601B2329-6357-7BDD-85B9-3315E967F523}"/>
              </a:ext>
            </a:extLst>
          </p:cNvPr>
          <p:cNvSpPr>
            <a:spLocks noChangeArrowheads="1"/>
          </p:cNvSpPr>
          <p:nvPr>
            <p:custDataLst>
              <p:tags r:id="rId5"/>
            </p:custDataLst>
          </p:nvPr>
        </p:nvSpPr>
        <p:spPr bwMode="gray">
          <a:xfrm>
            <a:off x="4387850" y="1885950"/>
            <a:ext cx="2041525" cy="647700"/>
          </a:xfrm>
          <a:prstGeom prst="chevron">
            <a:avLst>
              <a:gd name="adj" fmla="val 23333"/>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3</a:t>
            </a:r>
          </a:p>
        </p:txBody>
      </p:sp>
      <p:sp>
        <p:nvSpPr>
          <p:cNvPr id="59403" name="Textfeld 278">
            <a:extLst>
              <a:ext uri="{FF2B5EF4-FFF2-40B4-BE49-F238E27FC236}">
                <a16:creationId xmlns:a16="http://schemas.microsoft.com/office/drawing/2014/main" id="{1C731155-9DC5-4F3D-4038-D04FF9D54F54}"/>
              </a:ext>
            </a:extLst>
          </p:cNvPr>
          <p:cNvSpPr>
            <a:spLocks noChangeArrowheads="1"/>
          </p:cNvSpPr>
          <p:nvPr>
            <p:custDataLst>
              <p:tags r:id="rId6"/>
            </p:custDataLst>
          </p:nvPr>
        </p:nvSpPr>
        <p:spPr bwMode="gray">
          <a:xfrm>
            <a:off x="6427788" y="1885950"/>
            <a:ext cx="2041525" cy="647700"/>
          </a:xfrm>
          <a:prstGeom prst="chevron">
            <a:avLst>
              <a:gd name="adj" fmla="val 23333"/>
            </a:avLst>
          </a:prstGeom>
          <a:solidFill>
            <a:srgbClr val="3D87F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chemeClr val="bg1"/>
                </a:solidFill>
                <a:latin typeface="Frutiger for ZKB Light" panose="020B0303030504020204" pitchFamily="34" charset="0"/>
              </a:rPr>
              <a:t>Phase 4</a:t>
            </a:r>
          </a:p>
        </p:txBody>
      </p:sp>
      <p:sp>
        <p:nvSpPr>
          <p:cNvPr id="59404" name="Textfeld 279">
            <a:extLst>
              <a:ext uri="{FF2B5EF4-FFF2-40B4-BE49-F238E27FC236}">
                <a16:creationId xmlns:a16="http://schemas.microsoft.com/office/drawing/2014/main" id="{D512640B-2683-1A8F-F214-1F43050A4575}"/>
              </a:ext>
            </a:extLst>
          </p:cNvPr>
          <p:cNvSpPr>
            <a:spLocks noChangeArrowheads="1"/>
          </p:cNvSpPr>
          <p:nvPr>
            <p:custDataLst>
              <p:tags r:id="rId7"/>
            </p:custDataLst>
          </p:nvPr>
        </p:nvSpPr>
        <p:spPr bwMode="gray">
          <a:xfrm>
            <a:off x="8467725" y="1885950"/>
            <a:ext cx="2041525" cy="647700"/>
          </a:xfrm>
          <a:prstGeom prst="chevron">
            <a:avLst>
              <a:gd name="adj" fmla="val 23333"/>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5</a:t>
            </a:r>
          </a:p>
        </p:txBody>
      </p:sp>
      <p:sp>
        <p:nvSpPr>
          <p:cNvPr id="59405" name="Textfeld 280">
            <a:extLst>
              <a:ext uri="{FF2B5EF4-FFF2-40B4-BE49-F238E27FC236}">
                <a16:creationId xmlns:a16="http://schemas.microsoft.com/office/drawing/2014/main" id="{C7A9BB1E-34DC-4F54-8A8C-A7A40ADF31AF}"/>
              </a:ext>
            </a:extLst>
          </p:cNvPr>
          <p:cNvSpPr>
            <a:spLocks noChangeArrowheads="1"/>
          </p:cNvSpPr>
          <p:nvPr>
            <p:custDataLst>
              <p:tags r:id="rId8"/>
            </p:custDataLst>
          </p:nvPr>
        </p:nvSpPr>
        <p:spPr bwMode="gray">
          <a:xfrm>
            <a:off x="10507663" y="1885950"/>
            <a:ext cx="2041525" cy="647700"/>
          </a:xfrm>
          <a:prstGeom prst="chevron">
            <a:avLst>
              <a:gd name="adj" fmla="val 23333"/>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6</a:t>
            </a:r>
          </a:p>
        </p:txBody>
      </p:sp>
      <p:sp>
        <p:nvSpPr>
          <p:cNvPr id="59406" name="Inhaltsplatzhalter 6">
            <a:extLst>
              <a:ext uri="{FF2B5EF4-FFF2-40B4-BE49-F238E27FC236}">
                <a16:creationId xmlns:a16="http://schemas.microsoft.com/office/drawing/2014/main" id="{3454653D-AD30-ABE4-8B43-8D0EAD857F76}"/>
              </a:ext>
            </a:extLst>
          </p:cNvPr>
          <p:cNvSpPr txBox="1">
            <a:spLocks noChangeArrowheads="1"/>
          </p:cNvSpPr>
          <p:nvPr/>
        </p:nvSpPr>
        <p:spPr bwMode="auto">
          <a:xfrm>
            <a:off x="2346325" y="2740025"/>
            <a:ext cx="1862138" cy="2560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 cons sadig Lorem ipsum dolor sit am, ur sadipsc</a:t>
            </a:r>
          </a:p>
          <a:p>
            <a:pPr eaLnBrk="1" hangingPunct="1">
              <a:buClrTx/>
            </a:pPr>
            <a:endParaRPr lang="de-CH" altLang="de-DE" dirty="0">
              <a:solidFill>
                <a:schemeClr val="tx1"/>
              </a:solidFill>
            </a:endParaRPr>
          </a:p>
          <a:p>
            <a:pPr eaLnBrk="1" hangingPunct="1">
              <a:buClrTx/>
            </a:pPr>
            <a:r>
              <a:rPr lang="de-CH" altLang="de-DE" dirty="0">
                <a:solidFill>
                  <a:schemeClr val="tx1"/>
                </a:solidFill>
              </a:rPr>
              <a:t>Lorem ipsum dolor sit am, coning elitrm Lorem ipsuor sit amet, mer sacing elitr</a:t>
            </a:r>
          </a:p>
        </p:txBody>
      </p:sp>
      <p:sp>
        <p:nvSpPr>
          <p:cNvPr id="59407" name="Inhaltsplatzhalter 6">
            <a:extLst>
              <a:ext uri="{FF2B5EF4-FFF2-40B4-BE49-F238E27FC236}">
                <a16:creationId xmlns:a16="http://schemas.microsoft.com/office/drawing/2014/main" id="{5CA07D59-650B-5924-078C-516F19FB0CCC}"/>
              </a:ext>
            </a:extLst>
          </p:cNvPr>
          <p:cNvSpPr txBox="1">
            <a:spLocks noChangeArrowheads="1"/>
          </p:cNvSpPr>
          <p:nvPr/>
        </p:nvSpPr>
        <p:spPr bwMode="auto">
          <a:xfrm>
            <a:off x="4386263" y="2740025"/>
            <a:ext cx="1862137" cy="2560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 cons sadig Lorem ipsum dolor sit am, ur sadipsc</a:t>
            </a:r>
          </a:p>
          <a:p>
            <a:pPr eaLnBrk="1" hangingPunct="1">
              <a:buClrTx/>
            </a:pPr>
            <a:endParaRPr lang="de-CH" altLang="de-DE" dirty="0">
              <a:solidFill>
                <a:schemeClr val="tx1"/>
              </a:solidFill>
            </a:endParaRPr>
          </a:p>
          <a:p>
            <a:pPr eaLnBrk="1" hangingPunct="1">
              <a:buClrTx/>
            </a:pPr>
            <a:r>
              <a:rPr lang="de-CH" altLang="de-DE" dirty="0">
                <a:solidFill>
                  <a:schemeClr val="tx1"/>
                </a:solidFill>
              </a:rPr>
              <a:t>Lorem ipsum dolor sit am, coning elitrm Lorem ipsuor sit amet, mer sacing elitr</a:t>
            </a:r>
          </a:p>
        </p:txBody>
      </p:sp>
      <p:sp>
        <p:nvSpPr>
          <p:cNvPr id="59408" name="Inhaltsplatzhalter 6">
            <a:extLst>
              <a:ext uri="{FF2B5EF4-FFF2-40B4-BE49-F238E27FC236}">
                <a16:creationId xmlns:a16="http://schemas.microsoft.com/office/drawing/2014/main" id="{BD7708DE-D1B2-1D9F-5B52-774A14217331}"/>
              </a:ext>
            </a:extLst>
          </p:cNvPr>
          <p:cNvSpPr txBox="1">
            <a:spLocks noChangeArrowheads="1"/>
          </p:cNvSpPr>
          <p:nvPr/>
        </p:nvSpPr>
        <p:spPr bwMode="auto">
          <a:xfrm>
            <a:off x="8467725" y="2740025"/>
            <a:ext cx="1862138" cy="2560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 cons sadig Lorem ipsum dolor sit am, ur sadipsc</a:t>
            </a:r>
          </a:p>
          <a:p>
            <a:pPr eaLnBrk="1" hangingPunct="1">
              <a:buClrTx/>
            </a:pPr>
            <a:endParaRPr lang="de-CH" altLang="de-DE" dirty="0">
              <a:solidFill>
                <a:schemeClr val="tx1"/>
              </a:solidFill>
            </a:endParaRPr>
          </a:p>
          <a:p>
            <a:pPr eaLnBrk="1" hangingPunct="1">
              <a:buClrTx/>
            </a:pPr>
            <a:r>
              <a:rPr lang="de-CH" altLang="de-DE" dirty="0">
                <a:solidFill>
                  <a:schemeClr val="tx1"/>
                </a:solidFill>
              </a:rPr>
              <a:t>Lorem ipsum dolor sit am, coning elitrm Lorem ipsuor sit amet, mer sacing elitr</a:t>
            </a:r>
          </a:p>
        </p:txBody>
      </p:sp>
      <p:sp>
        <p:nvSpPr>
          <p:cNvPr id="59409" name="Inhaltsplatzhalter 6">
            <a:extLst>
              <a:ext uri="{FF2B5EF4-FFF2-40B4-BE49-F238E27FC236}">
                <a16:creationId xmlns:a16="http://schemas.microsoft.com/office/drawing/2014/main" id="{26DDDF32-65C4-048F-0E5E-50EB09C84319}"/>
              </a:ext>
            </a:extLst>
          </p:cNvPr>
          <p:cNvSpPr txBox="1">
            <a:spLocks noChangeArrowheads="1"/>
          </p:cNvSpPr>
          <p:nvPr/>
        </p:nvSpPr>
        <p:spPr bwMode="auto">
          <a:xfrm>
            <a:off x="10507663" y="2740025"/>
            <a:ext cx="1862137" cy="2560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 cons sadig Lorem ipsum dolor sit am, ur sadipsc</a:t>
            </a:r>
          </a:p>
          <a:p>
            <a:pPr eaLnBrk="1" hangingPunct="1">
              <a:buClrTx/>
            </a:pPr>
            <a:endParaRPr lang="de-CH" altLang="de-DE" dirty="0">
              <a:solidFill>
                <a:schemeClr val="tx1"/>
              </a:solidFill>
            </a:endParaRPr>
          </a:p>
          <a:p>
            <a:pPr eaLnBrk="1" hangingPunct="1">
              <a:buClrTx/>
            </a:pPr>
            <a:r>
              <a:rPr lang="de-CH" altLang="de-DE" dirty="0">
                <a:solidFill>
                  <a:schemeClr val="tx1"/>
                </a:solidFill>
              </a:rPr>
              <a:t>Lorem ipsum dolor sit am, coning elitrm Lorem ipsuor sit amet, mer sacing elitr</a:t>
            </a:r>
          </a:p>
        </p:txBody>
      </p:sp>
      <p:sp>
        <p:nvSpPr>
          <p:cNvPr id="59410" name="Inhaltsplatzhalter 6">
            <a:extLst>
              <a:ext uri="{FF2B5EF4-FFF2-40B4-BE49-F238E27FC236}">
                <a16:creationId xmlns:a16="http://schemas.microsoft.com/office/drawing/2014/main" id="{72BCAB71-4408-B10A-9B15-B9F8E2B5E932}"/>
              </a:ext>
            </a:extLst>
          </p:cNvPr>
          <p:cNvSpPr txBox="1">
            <a:spLocks noChangeArrowheads="1"/>
          </p:cNvSpPr>
          <p:nvPr/>
        </p:nvSpPr>
        <p:spPr bwMode="auto">
          <a:xfrm>
            <a:off x="6427788" y="2740025"/>
            <a:ext cx="1862137" cy="2560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 cons sadig Lorem ipsum dolor sit am, ur sadipsc</a:t>
            </a:r>
          </a:p>
          <a:p>
            <a:pPr eaLnBrk="1" hangingPunct="1">
              <a:buClrTx/>
            </a:pPr>
            <a:endParaRPr lang="de-CH" altLang="de-DE" dirty="0">
              <a:solidFill>
                <a:schemeClr val="tx1"/>
              </a:solidFill>
            </a:endParaRPr>
          </a:p>
          <a:p>
            <a:pPr eaLnBrk="1" hangingPunct="1">
              <a:buClrTx/>
            </a:pPr>
            <a:r>
              <a:rPr lang="de-CH" altLang="de-DE" dirty="0">
                <a:solidFill>
                  <a:schemeClr val="tx1"/>
                </a:solidFill>
              </a:rPr>
              <a:t>Lorem ipsum dolor sit am, coning elitrm Lorem ipsuor sit amet, mer sacing elitr</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418" name="think-cell data - do not delete" hidden="1">
            <a:extLst>
              <a:ext uri="{FF2B5EF4-FFF2-40B4-BE49-F238E27FC236}">
                <a16:creationId xmlns:a16="http://schemas.microsoft.com/office/drawing/2014/main" id="{0B7EDCF9-4C77-3683-0341-702902D7955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0418" name="think-cell data - do not delete" hidden="1">
                        <a:extLst>
                          <a:ext uri="{FF2B5EF4-FFF2-40B4-BE49-F238E27FC236}">
                            <a16:creationId xmlns:a16="http://schemas.microsoft.com/office/drawing/2014/main" id="{0B7EDCF9-4C77-3683-0341-702902D7955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BA3162B7-9A04-DD62-8A51-7CC7270508F0}"/>
              </a:ext>
            </a:extLst>
          </p:cNvPr>
          <p:cNvSpPr txBox="1"/>
          <p:nvPr/>
        </p:nvSpPr>
        <p:spPr>
          <a:xfrm>
            <a:off x="411163" y="1751013"/>
            <a:ext cx="1857375" cy="2106612"/>
          </a:xfrm>
          <a:prstGeom prst="rect">
            <a:avLst/>
          </a:prstGeom>
          <a:noFill/>
        </p:spPr>
        <p:txBody>
          <a:bodyPr lIns="0" tIns="0" rIns="0" bIns="0">
            <a:spAutoFit/>
          </a:bodyPr>
          <a:lstStyle/>
          <a:p>
            <a:pPr eaLnBrk="1" hangingPunct="1">
              <a:spcBef>
                <a:spcPts val="0"/>
              </a:spcBef>
              <a:defRPr/>
            </a:pPr>
            <a:r>
              <a:rPr lang="de-CH" sz="2800" b="1" dirty="0">
                <a:solidFill>
                  <a:schemeClr val="tx2"/>
                </a:solidFill>
                <a:latin typeface="Frutiger for ZKB Light" panose="020B0303030504020204" pitchFamily="34" charset="0"/>
                <a:cs typeface="Akkurat-Light"/>
              </a:rPr>
              <a:t>01.26</a:t>
            </a:r>
          </a:p>
          <a:p>
            <a:pPr eaLnBrk="1" hangingPunct="1">
              <a:spcBef>
                <a:spcPts val="0"/>
              </a:spcBef>
              <a:defRPr/>
            </a:pPr>
            <a:r>
              <a:rPr lang="de-CH" sz="1400" b="1" dirty="0">
                <a:latin typeface="Frutiger for ZKB Light" panose="020B0303030504020204" pitchFamily="34" charset="0"/>
                <a:cs typeface="Akkurat-Bold"/>
              </a:rPr>
              <a:t>Projektstart</a:t>
            </a:r>
          </a:p>
          <a:p>
            <a:pPr eaLnBrk="1" hangingPunct="1">
              <a:spcBef>
                <a:spcPts val="0"/>
              </a:spcBef>
              <a:defRPr/>
            </a:pPr>
            <a:r>
              <a:rPr lang="de-CH" sz="1400" dirty="0">
                <a:latin typeface="Frutiger for ZKB Light" panose="020B0303030504020204" pitchFamily="34" charset="0"/>
                <a:cs typeface="Akkurat-Light"/>
              </a:rPr>
              <a:t>Kurzer Text zum Projektstart, </a:t>
            </a:r>
            <a:br>
              <a:rPr lang="de-CH" sz="1400" dirty="0">
                <a:latin typeface="Frutiger for ZKB Light" panose="020B0303030504020204" pitchFamily="34" charset="0"/>
                <a:cs typeface="Akkurat-Light"/>
              </a:rPr>
            </a:br>
            <a:r>
              <a:rPr lang="de-CH" sz="1400" dirty="0">
                <a:latin typeface="Frutiger for ZKB Light" panose="020B0303030504020204" pitchFamily="34" charset="0"/>
                <a:cs typeface="Akkurat-Light"/>
              </a:rPr>
              <a:t>das Wichtigste konsolidiert.</a:t>
            </a:r>
          </a:p>
          <a:p>
            <a:pPr eaLnBrk="1" hangingPunct="1">
              <a:spcBef>
                <a:spcPts val="0"/>
              </a:spcBef>
              <a:defRPr/>
            </a:pPr>
            <a:endParaRPr lang="de-CH" sz="1400" dirty="0">
              <a:latin typeface="Frutiger for ZKB Light" panose="020B0303030504020204" pitchFamily="34" charset="0"/>
              <a:cs typeface="Akkurat-Light"/>
            </a:endParaRPr>
          </a:p>
          <a:p>
            <a:pPr eaLnBrk="1" hangingPunct="1">
              <a:spcBef>
                <a:spcPts val="0"/>
              </a:spcBef>
              <a:defRPr/>
            </a:pPr>
            <a:endParaRPr lang="de-CH" sz="2249" b="1" dirty="0">
              <a:solidFill>
                <a:srgbClr val="0000FF"/>
              </a:solidFill>
              <a:latin typeface="Frutiger for ZKB Light" panose="020B0303030504020204" pitchFamily="34" charset="0"/>
              <a:cs typeface="Akkurat-Bold"/>
            </a:endParaRPr>
          </a:p>
        </p:txBody>
      </p:sp>
      <p:cxnSp>
        <p:nvCxnSpPr>
          <p:cNvPr id="39" name="Straight Connector 38">
            <a:extLst>
              <a:ext uri="{FF2B5EF4-FFF2-40B4-BE49-F238E27FC236}">
                <a16:creationId xmlns:a16="http://schemas.microsoft.com/office/drawing/2014/main" id="{6F2CC948-4C59-5B93-B37A-82E598F0F2D7}"/>
              </a:ext>
            </a:extLst>
          </p:cNvPr>
          <p:cNvCxnSpPr>
            <a:cxnSpLocks/>
          </p:cNvCxnSpPr>
          <p:nvPr/>
        </p:nvCxnSpPr>
        <p:spPr>
          <a:xfrm>
            <a:off x="977900" y="3708400"/>
            <a:ext cx="11887200" cy="0"/>
          </a:xfrm>
          <a:prstGeom prst="line">
            <a:avLst/>
          </a:prstGeom>
          <a:ln w="12700" cmpd="sng">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AA9AB812-40CC-B9E3-BC3A-D3CB1564F0E2}"/>
              </a:ext>
            </a:extLst>
          </p:cNvPr>
          <p:cNvSpPr txBox="1"/>
          <p:nvPr/>
        </p:nvSpPr>
        <p:spPr>
          <a:xfrm>
            <a:off x="2476500" y="4105275"/>
            <a:ext cx="1857375" cy="2190750"/>
          </a:xfrm>
          <a:prstGeom prst="rect">
            <a:avLst/>
          </a:prstGeom>
          <a:noFill/>
        </p:spPr>
        <p:txBody>
          <a:bodyPr lIns="0" tIns="0" rIns="0" bIns="0">
            <a:spAutoFit/>
          </a:bodyPr>
          <a:lstStyle/>
          <a:p>
            <a:pPr eaLnBrk="1" hangingPunct="1">
              <a:spcBef>
                <a:spcPts val="0"/>
              </a:spcBef>
              <a:defRPr/>
            </a:pPr>
            <a:r>
              <a:rPr lang="de-CH" sz="2800" b="1" dirty="0">
                <a:solidFill>
                  <a:schemeClr val="tx2"/>
                </a:solidFill>
                <a:latin typeface="Frutiger for ZKB Light" panose="020B0303030504020204" pitchFamily="34" charset="0"/>
                <a:cs typeface="Akkurat-Light"/>
              </a:rPr>
              <a:t>02.26</a:t>
            </a:r>
          </a:p>
          <a:p>
            <a:pPr eaLnBrk="1" hangingPunct="1">
              <a:spcBef>
                <a:spcPts val="0"/>
              </a:spcBef>
              <a:defRPr/>
            </a:pPr>
            <a:r>
              <a:rPr lang="de-CH" sz="1400" b="1" dirty="0">
                <a:latin typeface="Frutiger for ZKB Light" panose="020B0303030504020204" pitchFamily="34" charset="0"/>
                <a:cs typeface="Akkurat-Bold"/>
              </a:rPr>
              <a:t>Milestone 1</a:t>
            </a:r>
          </a:p>
          <a:p>
            <a:pPr eaLnBrk="1" hangingPunct="1">
              <a:spcBef>
                <a:spcPts val="0"/>
              </a:spcBef>
              <a:defRPr/>
            </a:pPr>
            <a:r>
              <a:rPr lang="de-CH" sz="1400" dirty="0">
                <a:latin typeface="Frutiger for ZKB Light" panose="020B0303030504020204" pitchFamily="34" charset="0"/>
                <a:cs typeface="Akkurat-Light"/>
              </a:rPr>
              <a:t>Kurzer Text zum Milestone 1, </a:t>
            </a:r>
            <a:br>
              <a:rPr lang="de-CH" sz="1400" dirty="0">
                <a:latin typeface="Frutiger for ZKB Light" panose="020B0303030504020204" pitchFamily="34" charset="0"/>
                <a:cs typeface="Akkurat-Light"/>
              </a:rPr>
            </a:br>
            <a:r>
              <a:rPr lang="de-CH" sz="1400" dirty="0">
                <a:latin typeface="Frutiger for ZKB Light" panose="020B0303030504020204" pitchFamily="34" charset="0"/>
                <a:cs typeface="Akkurat-Light"/>
              </a:rPr>
              <a:t>das Wichtigste konsolidiert.</a:t>
            </a:r>
          </a:p>
          <a:p>
            <a:pPr eaLnBrk="1" hangingPunct="1">
              <a:spcBef>
                <a:spcPts val="0"/>
              </a:spcBef>
              <a:defRPr/>
            </a:pPr>
            <a:endParaRPr lang="de-CH" sz="1687" dirty="0">
              <a:latin typeface="Frutiger for ZKB Light" panose="020B0303030504020204" pitchFamily="34" charset="0"/>
              <a:cs typeface="Akkurat-Light"/>
            </a:endParaRPr>
          </a:p>
          <a:p>
            <a:pPr eaLnBrk="1" hangingPunct="1">
              <a:spcBef>
                <a:spcPts val="0"/>
              </a:spcBef>
              <a:defRPr/>
            </a:pPr>
            <a:endParaRPr lang="de-CH" sz="2249" b="1" dirty="0">
              <a:solidFill>
                <a:srgbClr val="0000FF"/>
              </a:solidFill>
              <a:latin typeface="Frutiger for ZKB Light" panose="020B0303030504020204" pitchFamily="34" charset="0"/>
              <a:cs typeface="Akkurat-Bold"/>
            </a:endParaRPr>
          </a:p>
        </p:txBody>
      </p:sp>
      <p:sp>
        <p:nvSpPr>
          <p:cNvPr id="60422" name="TextBox 36">
            <a:extLst>
              <a:ext uri="{FF2B5EF4-FFF2-40B4-BE49-F238E27FC236}">
                <a16:creationId xmlns:a16="http://schemas.microsoft.com/office/drawing/2014/main" id="{092A5DEC-B4C3-4C69-8D96-1FEDCCD7CEED}"/>
              </a:ext>
            </a:extLst>
          </p:cNvPr>
          <p:cNvSpPr txBox="1">
            <a:spLocks noChangeArrowheads="1"/>
          </p:cNvSpPr>
          <p:nvPr/>
        </p:nvSpPr>
        <p:spPr bwMode="auto">
          <a:xfrm>
            <a:off x="4443413" y="1751013"/>
            <a:ext cx="1857375" cy="1594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2800" b="1" dirty="0">
                <a:solidFill>
                  <a:schemeClr val="tx2"/>
                </a:solidFill>
                <a:latin typeface="Frutiger for ZKB Light" panose="020B0303030504020204" pitchFamily="34" charset="0"/>
                <a:ea typeface="Akkurat-Light"/>
                <a:cs typeface="Akkurat-Light"/>
              </a:rPr>
              <a:t>05.26</a:t>
            </a:r>
          </a:p>
          <a:p>
            <a:pPr eaLnBrk="1" hangingPunct="1"/>
            <a:r>
              <a:rPr lang="de-CH" altLang="de-DE" sz="1400" b="1" dirty="0">
                <a:latin typeface="Frutiger for ZKB Light" panose="020B0303030504020204" pitchFamily="34" charset="0"/>
                <a:ea typeface="Akkurat-Bold"/>
                <a:cs typeface="Akkurat-Bold"/>
              </a:rPr>
              <a:t>Milestone 2</a:t>
            </a:r>
          </a:p>
          <a:p>
            <a:pPr eaLnBrk="1" hangingPunct="1"/>
            <a:r>
              <a:rPr lang="de-CH" altLang="de-DE" sz="1400" dirty="0">
                <a:latin typeface="Frutiger for ZKB Light" panose="020B0303030504020204" pitchFamily="34" charset="0"/>
                <a:ea typeface="Akkurat-Light"/>
                <a:cs typeface="Akkurat-Light"/>
              </a:rPr>
              <a:t>Kurzer Text zum Milestone 2, </a:t>
            </a:r>
            <a:br>
              <a:rPr lang="de-CH" altLang="de-DE" sz="1400" dirty="0">
                <a:latin typeface="Frutiger for ZKB Light" panose="020B0303030504020204" pitchFamily="34" charset="0"/>
                <a:ea typeface="Akkurat-Light"/>
                <a:cs typeface="Akkurat-Light"/>
              </a:rPr>
            </a:br>
            <a:r>
              <a:rPr lang="de-CH" altLang="de-DE" sz="1400" dirty="0">
                <a:latin typeface="Frutiger for ZKB Light" panose="020B0303030504020204" pitchFamily="34" charset="0"/>
                <a:ea typeface="Akkurat-Light"/>
                <a:cs typeface="Akkurat-Light"/>
              </a:rPr>
              <a:t>das Wichtigste konsolidiert.</a:t>
            </a:r>
          </a:p>
        </p:txBody>
      </p:sp>
      <p:sp>
        <p:nvSpPr>
          <p:cNvPr id="44" name="TextBox 43">
            <a:extLst>
              <a:ext uri="{FF2B5EF4-FFF2-40B4-BE49-F238E27FC236}">
                <a16:creationId xmlns:a16="http://schemas.microsoft.com/office/drawing/2014/main" id="{C2D7EFE0-7193-E1D0-E760-C0883AC4846F}"/>
              </a:ext>
            </a:extLst>
          </p:cNvPr>
          <p:cNvSpPr txBox="1"/>
          <p:nvPr/>
        </p:nvSpPr>
        <p:spPr>
          <a:xfrm>
            <a:off x="6572250" y="4105275"/>
            <a:ext cx="1857375" cy="2190750"/>
          </a:xfrm>
          <a:prstGeom prst="rect">
            <a:avLst/>
          </a:prstGeom>
          <a:noFill/>
        </p:spPr>
        <p:txBody>
          <a:bodyPr lIns="0" tIns="0" rIns="0" bIns="0">
            <a:spAutoFit/>
          </a:bodyPr>
          <a:lstStyle/>
          <a:p>
            <a:pPr eaLnBrk="1" hangingPunct="1">
              <a:spcBef>
                <a:spcPts val="0"/>
              </a:spcBef>
              <a:defRPr/>
            </a:pPr>
            <a:r>
              <a:rPr lang="de-CH" sz="2800" b="1" dirty="0">
                <a:solidFill>
                  <a:schemeClr val="tx2"/>
                </a:solidFill>
                <a:latin typeface="Frutiger for ZKB Light" panose="020B0303030504020204" pitchFamily="34" charset="0"/>
                <a:cs typeface="Akkurat-Light"/>
              </a:rPr>
              <a:t>07.26</a:t>
            </a:r>
          </a:p>
          <a:p>
            <a:pPr eaLnBrk="1" hangingPunct="1">
              <a:spcBef>
                <a:spcPts val="0"/>
              </a:spcBef>
              <a:defRPr/>
            </a:pPr>
            <a:r>
              <a:rPr lang="de-CH" sz="1400" b="1" dirty="0">
                <a:latin typeface="Frutiger for ZKB Light" panose="020B0303030504020204" pitchFamily="34" charset="0"/>
                <a:cs typeface="Akkurat-Bold"/>
              </a:rPr>
              <a:t>Milestone 3</a:t>
            </a:r>
          </a:p>
          <a:p>
            <a:pPr eaLnBrk="1" hangingPunct="1">
              <a:spcBef>
                <a:spcPts val="0"/>
              </a:spcBef>
              <a:defRPr/>
            </a:pPr>
            <a:r>
              <a:rPr lang="de-CH" sz="1400" dirty="0">
                <a:latin typeface="Frutiger for ZKB Light" panose="020B0303030504020204" pitchFamily="34" charset="0"/>
                <a:cs typeface="Akkurat-Light"/>
              </a:rPr>
              <a:t>Kurzer Text zum Milestone 3, </a:t>
            </a:r>
            <a:br>
              <a:rPr lang="de-CH" sz="1400" dirty="0">
                <a:latin typeface="Frutiger for ZKB Light" panose="020B0303030504020204" pitchFamily="34" charset="0"/>
                <a:cs typeface="Akkurat-Light"/>
              </a:rPr>
            </a:br>
            <a:r>
              <a:rPr lang="de-CH" sz="1400" dirty="0">
                <a:latin typeface="Frutiger for ZKB Light" panose="020B0303030504020204" pitchFamily="34" charset="0"/>
                <a:cs typeface="Akkurat-Light"/>
              </a:rPr>
              <a:t>das Wichtigste konsolidiert.</a:t>
            </a:r>
          </a:p>
          <a:p>
            <a:pPr eaLnBrk="1" hangingPunct="1">
              <a:spcBef>
                <a:spcPts val="0"/>
              </a:spcBef>
              <a:defRPr/>
            </a:pPr>
            <a:endParaRPr lang="de-CH" sz="1687" dirty="0">
              <a:latin typeface="Frutiger for ZKB Light" panose="020B0303030504020204" pitchFamily="34" charset="0"/>
              <a:cs typeface="Akkurat-Light"/>
            </a:endParaRPr>
          </a:p>
          <a:p>
            <a:pPr eaLnBrk="1" hangingPunct="1">
              <a:spcBef>
                <a:spcPts val="0"/>
              </a:spcBef>
              <a:defRPr/>
            </a:pPr>
            <a:endParaRPr lang="de-CH" sz="2249" b="1" dirty="0">
              <a:solidFill>
                <a:srgbClr val="0000FF"/>
              </a:solidFill>
              <a:latin typeface="Frutiger for ZKB Light" panose="020B0303030504020204" pitchFamily="34" charset="0"/>
              <a:cs typeface="Akkurat-Bold"/>
            </a:endParaRPr>
          </a:p>
        </p:txBody>
      </p:sp>
      <p:sp>
        <p:nvSpPr>
          <p:cNvPr id="48" name="TextBox 47">
            <a:extLst>
              <a:ext uri="{FF2B5EF4-FFF2-40B4-BE49-F238E27FC236}">
                <a16:creationId xmlns:a16="http://schemas.microsoft.com/office/drawing/2014/main" id="{4DFA3884-2AE8-08C7-5DD2-2481CBA30745}"/>
              </a:ext>
            </a:extLst>
          </p:cNvPr>
          <p:cNvSpPr txBox="1"/>
          <p:nvPr/>
        </p:nvSpPr>
        <p:spPr>
          <a:xfrm>
            <a:off x="8661400" y="4105275"/>
            <a:ext cx="1857375" cy="2190750"/>
          </a:xfrm>
          <a:prstGeom prst="rect">
            <a:avLst/>
          </a:prstGeom>
          <a:noFill/>
        </p:spPr>
        <p:txBody>
          <a:bodyPr lIns="0" tIns="0" rIns="0" bIns="0">
            <a:spAutoFit/>
          </a:bodyPr>
          <a:lstStyle/>
          <a:p>
            <a:pPr eaLnBrk="1" hangingPunct="1">
              <a:spcBef>
                <a:spcPts val="0"/>
              </a:spcBef>
              <a:defRPr/>
            </a:pPr>
            <a:r>
              <a:rPr lang="de-CH" sz="2800" b="1" dirty="0">
                <a:solidFill>
                  <a:schemeClr val="tx2"/>
                </a:solidFill>
                <a:latin typeface="Frutiger for ZKB Light" panose="020B0303030504020204" pitchFamily="34" charset="0"/>
                <a:cs typeface="Akkurat-Light"/>
              </a:rPr>
              <a:t>10.26</a:t>
            </a:r>
          </a:p>
          <a:p>
            <a:pPr eaLnBrk="1" hangingPunct="1">
              <a:spcBef>
                <a:spcPts val="0"/>
              </a:spcBef>
              <a:defRPr/>
            </a:pPr>
            <a:r>
              <a:rPr lang="de-CH" sz="1400" b="1" dirty="0">
                <a:latin typeface="Frutiger for ZKB Light" panose="020B0303030504020204" pitchFamily="34" charset="0"/>
                <a:cs typeface="Akkurat-Bold"/>
              </a:rPr>
              <a:t>Milestone 4</a:t>
            </a:r>
          </a:p>
          <a:p>
            <a:pPr eaLnBrk="1" hangingPunct="1">
              <a:spcBef>
                <a:spcPts val="0"/>
              </a:spcBef>
              <a:defRPr/>
            </a:pPr>
            <a:r>
              <a:rPr lang="de-CH" sz="1400" dirty="0">
                <a:latin typeface="Frutiger for ZKB Light" panose="020B0303030504020204" pitchFamily="34" charset="0"/>
                <a:cs typeface="Akkurat-Light"/>
              </a:rPr>
              <a:t>Kurzer Text zum Milestone 4, </a:t>
            </a:r>
            <a:br>
              <a:rPr lang="de-CH" sz="1400" dirty="0">
                <a:latin typeface="Frutiger for ZKB Light" panose="020B0303030504020204" pitchFamily="34" charset="0"/>
                <a:cs typeface="Akkurat-Light"/>
              </a:rPr>
            </a:br>
            <a:r>
              <a:rPr lang="de-CH" sz="1400" dirty="0">
                <a:latin typeface="Frutiger for ZKB Light" panose="020B0303030504020204" pitchFamily="34" charset="0"/>
                <a:cs typeface="Akkurat-Light"/>
              </a:rPr>
              <a:t>das Wichtigste konsolidiert.</a:t>
            </a:r>
          </a:p>
          <a:p>
            <a:pPr eaLnBrk="1" hangingPunct="1">
              <a:spcBef>
                <a:spcPts val="0"/>
              </a:spcBef>
              <a:defRPr/>
            </a:pPr>
            <a:endParaRPr lang="de-CH" sz="1687" dirty="0">
              <a:latin typeface="Frutiger for ZKB Light" panose="020B0303030504020204" pitchFamily="34" charset="0"/>
              <a:cs typeface="Akkurat-Light"/>
            </a:endParaRPr>
          </a:p>
          <a:p>
            <a:pPr eaLnBrk="1" hangingPunct="1">
              <a:spcBef>
                <a:spcPts val="0"/>
              </a:spcBef>
              <a:defRPr/>
            </a:pPr>
            <a:endParaRPr lang="de-CH" sz="2249" b="1" dirty="0">
              <a:solidFill>
                <a:srgbClr val="0000FF"/>
              </a:solidFill>
              <a:latin typeface="Frutiger for ZKB Light" panose="020B0303030504020204" pitchFamily="34" charset="0"/>
              <a:cs typeface="Akkurat-Bold"/>
            </a:endParaRPr>
          </a:p>
        </p:txBody>
      </p:sp>
      <p:sp>
        <p:nvSpPr>
          <p:cNvPr id="60425" name="TextBox 48">
            <a:extLst>
              <a:ext uri="{FF2B5EF4-FFF2-40B4-BE49-F238E27FC236}">
                <a16:creationId xmlns:a16="http://schemas.microsoft.com/office/drawing/2014/main" id="{5E5B8545-E457-2D6C-F7E1-0341DCA329BE}"/>
              </a:ext>
            </a:extLst>
          </p:cNvPr>
          <p:cNvSpPr txBox="1">
            <a:spLocks noChangeArrowheads="1"/>
          </p:cNvSpPr>
          <p:nvPr/>
        </p:nvSpPr>
        <p:spPr bwMode="auto">
          <a:xfrm>
            <a:off x="10679113" y="1751013"/>
            <a:ext cx="1857375" cy="1594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2800" b="1" dirty="0">
                <a:solidFill>
                  <a:schemeClr val="tx2"/>
                </a:solidFill>
                <a:latin typeface="Frutiger for ZKB Light" panose="020B0303030504020204" pitchFamily="34" charset="0"/>
                <a:ea typeface="Akkurat-Light"/>
                <a:cs typeface="Akkurat-Light"/>
              </a:rPr>
              <a:t>12.26</a:t>
            </a:r>
          </a:p>
          <a:p>
            <a:pPr eaLnBrk="1" hangingPunct="1"/>
            <a:r>
              <a:rPr lang="de-CH" altLang="de-DE" sz="1400" b="1" dirty="0">
                <a:latin typeface="Frutiger for ZKB Light" panose="020B0303030504020204" pitchFamily="34" charset="0"/>
                <a:ea typeface="Akkurat-Bold"/>
                <a:cs typeface="Akkurat-Bold"/>
              </a:rPr>
              <a:t>Projektabschluss</a:t>
            </a:r>
          </a:p>
          <a:p>
            <a:pPr eaLnBrk="1" hangingPunct="1"/>
            <a:r>
              <a:rPr lang="de-CH" altLang="de-DE" sz="1400" dirty="0">
                <a:latin typeface="Frutiger for ZKB Light" panose="020B0303030504020204" pitchFamily="34" charset="0"/>
                <a:ea typeface="Akkurat-Light"/>
                <a:cs typeface="Akkurat-Light"/>
              </a:rPr>
              <a:t>Kurzer Text zum Projektabschluss, </a:t>
            </a:r>
            <a:br>
              <a:rPr lang="de-CH" altLang="de-DE" sz="1400" dirty="0">
                <a:latin typeface="Frutiger for ZKB Light" panose="020B0303030504020204" pitchFamily="34" charset="0"/>
                <a:ea typeface="Akkurat-Light"/>
                <a:cs typeface="Akkurat-Light"/>
              </a:rPr>
            </a:br>
            <a:r>
              <a:rPr lang="de-CH" altLang="de-DE" sz="1400" dirty="0">
                <a:latin typeface="Frutiger for ZKB Light" panose="020B0303030504020204" pitchFamily="34" charset="0"/>
                <a:ea typeface="Akkurat-Light"/>
                <a:cs typeface="Akkurat-Light"/>
              </a:rPr>
              <a:t>das Wichtigste konsolidiert.</a:t>
            </a:r>
          </a:p>
        </p:txBody>
      </p:sp>
      <p:sp>
        <p:nvSpPr>
          <p:cNvPr id="60426" name="Titel 1">
            <a:extLst>
              <a:ext uri="{FF2B5EF4-FFF2-40B4-BE49-F238E27FC236}">
                <a16:creationId xmlns:a16="http://schemas.microsoft.com/office/drawing/2014/main" id="{1F0AB31D-372F-C76A-AF05-8093EBF887BD}"/>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Auf ein erfolgreiches Projekt!</a:t>
            </a:r>
          </a:p>
        </p:txBody>
      </p:sp>
      <p:sp>
        <p:nvSpPr>
          <p:cNvPr id="60427" name="Foliennummernplatzhalter 9">
            <a:extLst>
              <a:ext uri="{FF2B5EF4-FFF2-40B4-BE49-F238E27FC236}">
                <a16:creationId xmlns:a16="http://schemas.microsoft.com/office/drawing/2014/main" id="{19602959-69D8-0F84-33EB-AFD23FBF6A7A}"/>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54B85234-D6B5-45EF-888C-4A2457C356FD}" type="slidenum">
              <a:rPr lang="de-CH" altLang="de-DE" sz="1100" smtClean="0">
                <a:solidFill>
                  <a:srgbClr val="003CB4"/>
                </a:solidFill>
                <a:latin typeface="Frutiger for ZKB Light" panose="020B0303030504020204" pitchFamily="34" charset="0"/>
              </a:rPr>
              <a:pPr>
                <a:spcBef>
                  <a:spcPct val="0"/>
                </a:spcBef>
                <a:spcAft>
                  <a:spcPct val="0"/>
                </a:spcAft>
              </a:pPr>
              <a:t>38</a:t>
            </a:fld>
            <a:endParaRPr lang="de-CH" altLang="de-DE" sz="1100" dirty="0">
              <a:solidFill>
                <a:srgbClr val="003CB4"/>
              </a:solidFill>
              <a:latin typeface="Frutiger for ZKB Light" panose="020B0303030504020204" pitchFamily="34" charset="0"/>
            </a:endParaRPr>
          </a:p>
        </p:txBody>
      </p:sp>
      <p:sp>
        <p:nvSpPr>
          <p:cNvPr id="60428" name="Fußzeilenplatzhalter 8">
            <a:extLst>
              <a:ext uri="{FF2B5EF4-FFF2-40B4-BE49-F238E27FC236}">
                <a16:creationId xmlns:a16="http://schemas.microsoft.com/office/drawing/2014/main" id="{D9081EAA-052E-D9A0-F1E9-7D8BECEE8802}"/>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5" name="Oval 14">
            <a:extLst>
              <a:ext uri="{FF2B5EF4-FFF2-40B4-BE49-F238E27FC236}">
                <a16:creationId xmlns:a16="http://schemas.microsoft.com/office/drawing/2014/main" id="{98494322-5B5E-FA7E-B803-AC385A10127B}"/>
              </a:ext>
            </a:extLst>
          </p:cNvPr>
          <p:cNvSpPr/>
          <p:nvPr/>
        </p:nvSpPr>
        <p:spPr>
          <a:xfrm>
            <a:off x="762000" y="3486150"/>
            <a:ext cx="450850" cy="449263"/>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16" name="Oval 15">
            <a:extLst>
              <a:ext uri="{FF2B5EF4-FFF2-40B4-BE49-F238E27FC236}">
                <a16:creationId xmlns:a16="http://schemas.microsoft.com/office/drawing/2014/main" id="{2D15AE20-8BC5-99C0-E8FF-0CAF30CFF65D}"/>
              </a:ext>
            </a:extLst>
          </p:cNvPr>
          <p:cNvSpPr/>
          <p:nvPr/>
        </p:nvSpPr>
        <p:spPr>
          <a:xfrm>
            <a:off x="4860925" y="3486150"/>
            <a:ext cx="449263" cy="449263"/>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20" name="Oval 19">
            <a:extLst>
              <a:ext uri="{FF2B5EF4-FFF2-40B4-BE49-F238E27FC236}">
                <a16:creationId xmlns:a16="http://schemas.microsoft.com/office/drawing/2014/main" id="{C3686C98-29AA-8EF8-EA91-34AD10033DB4}"/>
              </a:ext>
            </a:extLst>
          </p:cNvPr>
          <p:cNvSpPr>
            <a:spLocks noChangeAspect="1"/>
          </p:cNvSpPr>
          <p:nvPr/>
        </p:nvSpPr>
        <p:spPr>
          <a:xfrm>
            <a:off x="2836863" y="3573463"/>
            <a:ext cx="287337" cy="287337"/>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21" name="Oval 20">
            <a:extLst>
              <a:ext uri="{FF2B5EF4-FFF2-40B4-BE49-F238E27FC236}">
                <a16:creationId xmlns:a16="http://schemas.microsoft.com/office/drawing/2014/main" id="{ED43D11C-8F04-0151-51E1-B5405BCD7117}"/>
              </a:ext>
            </a:extLst>
          </p:cNvPr>
          <p:cNvSpPr/>
          <p:nvPr/>
        </p:nvSpPr>
        <p:spPr>
          <a:xfrm>
            <a:off x="6892925" y="3573463"/>
            <a:ext cx="287338" cy="287337"/>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22" name="Oval 21">
            <a:extLst>
              <a:ext uri="{FF2B5EF4-FFF2-40B4-BE49-F238E27FC236}">
                <a16:creationId xmlns:a16="http://schemas.microsoft.com/office/drawing/2014/main" id="{D071ADF8-0F99-1B56-465A-5EF1423A837D}"/>
              </a:ext>
            </a:extLst>
          </p:cNvPr>
          <p:cNvSpPr/>
          <p:nvPr/>
        </p:nvSpPr>
        <p:spPr>
          <a:xfrm>
            <a:off x="8955088" y="3573463"/>
            <a:ext cx="288925" cy="287337"/>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23" name="Oval 22">
            <a:extLst>
              <a:ext uri="{FF2B5EF4-FFF2-40B4-BE49-F238E27FC236}">
                <a16:creationId xmlns:a16="http://schemas.microsoft.com/office/drawing/2014/main" id="{CE95220F-C79F-D8AB-9601-3E57BEA01D87}"/>
              </a:ext>
            </a:extLst>
          </p:cNvPr>
          <p:cNvSpPr/>
          <p:nvPr/>
        </p:nvSpPr>
        <p:spPr>
          <a:xfrm>
            <a:off x="11079163" y="3486150"/>
            <a:ext cx="449262" cy="449263"/>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think-cell data - do not delete" hidden="1">
            <a:extLst>
              <a:ext uri="{FF2B5EF4-FFF2-40B4-BE49-F238E27FC236}">
                <a16:creationId xmlns:a16="http://schemas.microsoft.com/office/drawing/2014/main" id="{5671F18D-0F5D-10A2-7571-12F841D09A24}"/>
              </a:ext>
            </a:extLst>
          </p:cNvPr>
          <p:cNvGraphicFramePr>
            <a:graphicFrameLocks noChangeAspect="1"/>
          </p:cNvGraphicFramePr>
          <p:nvPr>
            <p:custDataLst>
              <p:tags r:id="rId1"/>
            </p:custDataLst>
            <p:extLst>
              <p:ext uri="{D42A27DB-BD31-4B8C-83A1-F6EECF244321}">
                <p14:modId xmlns:p14="http://schemas.microsoft.com/office/powerpoint/2010/main" val="4065006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1442" name="think-cell data - do not delete" hidden="1">
                        <a:extLst>
                          <a:ext uri="{FF2B5EF4-FFF2-40B4-BE49-F238E27FC236}">
                            <a16:creationId xmlns:a16="http://schemas.microsoft.com/office/drawing/2014/main" id="{5671F18D-0F5D-10A2-7571-12F841D09A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22" name="Gerader Verbinder 21">
            <a:extLst>
              <a:ext uri="{FF2B5EF4-FFF2-40B4-BE49-F238E27FC236}">
                <a16:creationId xmlns:a16="http://schemas.microsoft.com/office/drawing/2014/main" id="{14584AF2-91E5-FA54-08E8-EE4F3E69D83A}"/>
              </a:ext>
            </a:extLst>
          </p:cNvPr>
          <p:cNvCxnSpPr>
            <a:cxnSpLocks/>
          </p:cNvCxnSpPr>
          <p:nvPr/>
        </p:nvCxnSpPr>
        <p:spPr>
          <a:xfrm>
            <a:off x="6119813" y="1958975"/>
            <a:ext cx="0" cy="5272088"/>
          </a:xfrm>
          <a:prstGeom prst="line">
            <a:avLst/>
          </a:prstGeom>
          <a:ln w="12700">
            <a:solidFill>
              <a:srgbClr val="003CB4"/>
            </a:solidFill>
          </a:ln>
        </p:spPr>
        <p:style>
          <a:lnRef idx="1">
            <a:schemeClr val="accent1"/>
          </a:lnRef>
          <a:fillRef idx="0">
            <a:schemeClr val="accent1"/>
          </a:fillRef>
          <a:effectRef idx="0">
            <a:schemeClr val="accent1"/>
          </a:effectRef>
          <a:fontRef idx="minor">
            <a:schemeClr val="tx1"/>
          </a:fontRef>
        </p:style>
      </p:cxnSp>
      <p:sp>
        <p:nvSpPr>
          <p:cNvPr id="61444" name="Titel 1">
            <a:extLst>
              <a:ext uri="{FF2B5EF4-FFF2-40B4-BE49-F238E27FC236}">
                <a16:creationId xmlns:a16="http://schemas.microsoft.com/office/drawing/2014/main" id="{CA5D4D93-1116-BEFB-B7EF-C2B7083D8326}"/>
              </a:ext>
            </a:extLst>
          </p:cNvPr>
          <p:cNvSpPr>
            <a:spLocks noGrp="1" noChangeArrowheads="1"/>
          </p:cNvSpPr>
          <p:nvPr>
            <p:ph type="title"/>
          </p:nvPr>
        </p:nvSpPr>
        <p:spPr>
          <a:xfrm>
            <a:off x="306388" y="287338"/>
            <a:ext cx="10180637" cy="863600"/>
          </a:xfrm>
        </p:spPr>
        <p:txBody>
          <a:bodyPr vert="horz"/>
          <a:lstStyle/>
          <a:p>
            <a:pPr eaLnBrk="1" hangingPunct="1">
              <a:spcBef>
                <a:spcPct val="0"/>
              </a:spcBef>
              <a:spcAft>
                <a:spcPct val="0"/>
              </a:spcAft>
            </a:pPr>
            <a:r>
              <a:rPr lang="de-CH" altLang="de-DE" dirty="0"/>
              <a:t>Auf ein erfolgreiches Projekt! </a:t>
            </a:r>
            <a:br>
              <a:rPr lang="de-CH" altLang="de-DE" dirty="0"/>
            </a:br>
            <a:r>
              <a:rPr lang="de-CH" altLang="de-DE" dirty="0"/>
              <a:t>(mit Übergang)</a:t>
            </a:r>
          </a:p>
        </p:txBody>
      </p:sp>
      <p:sp>
        <p:nvSpPr>
          <p:cNvPr id="61445" name="Foliennummernplatzhalter 8">
            <a:extLst>
              <a:ext uri="{FF2B5EF4-FFF2-40B4-BE49-F238E27FC236}">
                <a16:creationId xmlns:a16="http://schemas.microsoft.com/office/drawing/2014/main" id="{74B9F135-45B6-908A-5E20-09AC0911FED0}"/>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4086D3BD-0F7F-4984-91BA-F8B219C6F14C}" type="slidenum">
              <a:rPr lang="de-CH" altLang="de-DE" sz="1100" smtClean="0">
                <a:solidFill>
                  <a:srgbClr val="003CB4"/>
                </a:solidFill>
                <a:latin typeface="Frutiger for ZKB Light" panose="020B0303030504020204" pitchFamily="34" charset="0"/>
              </a:rPr>
              <a:pPr>
                <a:spcBef>
                  <a:spcPct val="0"/>
                </a:spcBef>
                <a:spcAft>
                  <a:spcPct val="0"/>
                </a:spcAft>
              </a:pPr>
              <a:t>39</a:t>
            </a:fld>
            <a:endParaRPr lang="de-CH" altLang="de-DE" sz="1100" dirty="0">
              <a:solidFill>
                <a:srgbClr val="003CB4"/>
              </a:solidFill>
              <a:latin typeface="Frutiger for ZKB Light" panose="020B0303030504020204" pitchFamily="34" charset="0"/>
            </a:endParaRPr>
          </a:p>
        </p:txBody>
      </p:sp>
      <p:sp>
        <p:nvSpPr>
          <p:cNvPr id="61446" name="Fußzeilenplatzhalter 7">
            <a:extLst>
              <a:ext uri="{FF2B5EF4-FFF2-40B4-BE49-F238E27FC236}">
                <a16:creationId xmlns:a16="http://schemas.microsoft.com/office/drawing/2014/main" id="{7B879E7C-A03F-AE7F-3E73-0053E4D04099}"/>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3" name="TextBox 6">
            <a:extLst>
              <a:ext uri="{FF2B5EF4-FFF2-40B4-BE49-F238E27FC236}">
                <a16:creationId xmlns:a16="http://schemas.microsoft.com/office/drawing/2014/main" id="{3645B8AF-C52B-271C-6237-50EA47DD8074}"/>
              </a:ext>
            </a:extLst>
          </p:cNvPr>
          <p:cNvSpPr txBox="1"/>
          <p:nvPr/>
        </p:nvSpPr>
        <p:spPr>
          <a:xfrm>
            <a:off x="6584950" y="1638300"/>
            <a:ext cx="2795588" cy="1360488"/>
          </a:xfrm>
          <a:prstGeom prst="rect">
            <a:avLst/>
          </a:prstGeom>
          <a:noFill/>
        </p:spPr>
        <p:txBody>
          <a:bodyPr>
            <a:spAutoFit/>
          </a:bodyPr>
          <a:lstStyle/>
          <a:p>
            <a:pPr eaLnBrk="1" hangingPunct="1">
              <a:spcBef>
                <a:spcPts val="0"/>
              </a:spcBef>
              <a:defRPr/>
            </a:pPr>
            <a:r>
              <a:rPr lang="de-CH" sz="3200" b="1" dirty="0">
                <a:solidFill>
                  <a:schemeClr val="tx2"/>
                </a:solidFill>
                <a:latin typeface="Frutiger for ZKB Light" panose="020B0303030504020204" pitchFamily="34" charset="0"/>
                <a:cs typeface="Akkurat-Light"/>
              </a:rPr>
              <a:t>Step 1</a:t>
            </a:r>
          </a:p>
          <a:p>
            <a:pPr eaLnBrk="1" hangingPunct="1">
              <a:spcBef>
                <a:spcPts val="0"/>
              </a:spcBef>
              <a:defRPr/>
            </a:pPr>
            <a:r>
              <a:rPr lang="de-CH" sz="1400" b="1" dirty="0">
                <a:latin typeface="Frutiger for ZKB Light" panose="020B0303030504020204" pitchFamily="34" charset="0"/>
                <a:cs typeface="Akkurat-Bold"/>
              </a:rPr>
              <a:t>Projektstart</a:t>
            </a:r>
          </a:p>
          <a:p>
            <a:pPr eaLnBrk="1" hangingPunct="1">
              <a:spcBef>
                <a:spcPts val="0"/>
              </a:spcBef>
              <a:defRPr/>
            </a:pPr>
            <a:r>
              <a:rPr lang="de-CH" sz="1400" dirty="0">
                <a:latin typeface="Frutiger for ZKB Light" panose="020B0303030504020204" pitchFamily="34" charset="0"/>
                <a:cs typeface="Akkurat-Light"/>
              </a:rPr>
              <a:t>Optionaler kurzer Beschrieb </a:t>
            </a:r>
            <a:endParaRPr lang="de-CH" sz="1400" dirty="0">
              <a:solidFill>
                <a:schemeClr val="accent1"/>
              </a:solidFill>
              <a:latin typeface="Frutiger for ZKB Light" panose="020B0303030504020204" pitchFamily="34" charset="0"/>
              <a:cs typeface="Akkurat-Light"/>
            </a:endParaRPr>
          </a:p>
          <a:p>
            <a:pPr eaLnBrk="1" hangingPunct="1">
              <a:spcBef>
                <a:spcPts val="0"/>
              </a:spcBef>
              <a:defRPr/>
            </a:pPr>
            <a:endParaRPr lang="de-CH" sz="2249" b="1" dirty="0">
              <a:solidFill>
                <a:srgbClr val="0000FF"/>
              </a:solidFill>
              <a:latin typeface="Frutiger for ZKB Light" panose="020B0303030504020204" pitchFamily="34" charset="0"/>
              <a:cs typeface="Akkurat-Bold"/>
            </a:endParaRPr>
          </a:p>
        </p:txBody>
      </p:sp>
      <p:sp>
        <p:nvSpPr>
          <p:cNvPr id="14" name="TextBox 32">
            <a:extLst>
              <a:ext uri="{FF2B5EF4-FFF2-40B4-BE49-F238E27FC236}">
                <a16:creationId xmlns:a16="http://schemas.microsoft.com/office/drawing/2014/main" id="{AE2C15CB-5E4B-C72C-86A4-C7A9BE374F04}"/>
              </a:ext>
            </a:extLst>
          </p:cNvPr>
          <p:cNvSpPr txBox="1"/>
          <p:nvPr/>
        </p:nvSpPr>
        <p:spPr>
          <a:xfrm>
            <a:off x="2827338" y="3395663"/>
            <a:ext cx="2686050" cy="1620837"/>
          </a:xfrm>
          <a:prstGeom prst="rect">
            <a:avLst/>
          </a:prstGeom>
          <a:noFill/>
        </p:spPr>
        <p:txBody>
          <a:bodyPr>
            <a:spAutoFit/>
          </a:bodyPr>
          <a:lstStyle/>
          <a:p>
            <a:pPr algn="r" eaLnBrk="1" hangingPunct="1">
              <a:spcBef>
                <a:spcPts val="0"/>
              </a:spcBef>
              <a:defRPr/>
            </a:pPr>
            <a:r>
              <a:rPr lang="de-CH" sz="3200" b="1" dirty="0">
                <a:solidFill>
                  <a:schemeClr val="tx2"/>
                </a:solidFill>
                <a:latin typeface="Frutiger for ZKB Light" panose="020B0303030504020204" pitchFamily="34" charset="0"/>
                <a:cs typeface="Akkurat-Light"/>
              </a:rPr>
              <a:t>Step 2</a:t>
            </a:r>
          </a:p>
          <a:p>
            <a:pPr algn="r" eaLnBrk="1" hangingPunct="1">
              <a:spcBef>
                <a:spcPts val="0"/>
              </a:spcBef>
              <a:defRPr/>
            </a:pPr>
            <a:r>
              <a:rPr lang="de-CH" sz="1400" b="1" dirty="0">
                <a:latin typeface="Frutiger for ZKB Light" panose="020B0303030504020204" pitchFamily="34" charset="0"/>
                <a:cs typeface="Akkurat-Bold"/>
              </a:rPr>
              <a:t>Untertitel</a:t>
            </a:r>
          </a:p>
          <a:p>
            <a:pPr algn="r" eaLnBrk="1" hangingPunct="1">
              <a:spcBef>
                <a:spcPts val="0"/>
              </a:spcBef>
              <a:defRPr/>
            </a:pPr>
            <a:r>
              <a:rPr lang="de-CH" sz="1400" dirty="0">
                <a:latin typeface="Frutiger for ZKB Light" panose="020B0303030504020204" pitchFamily="34" charset="0"/>
                <a:cs typeface="Akkurat-Light"/>
              </a:rPr>
              <a:t>Optionaler kurzer Beschrieb</a:t>
            </a:r>
          </a:p>
          <a:p>
            <a:pPr algn="r" eaLnBrk="1" hangingPunct="1">
              <a:spcBef>
                <a:spcPts val="0"/>
              </a:spcBef>
              <a:defRPr/>
            </a:pPr>
            <a:endParaRPr lang="de-CH" sz="1687" dirty="0">
              <a:latin typeface="Frutiger for ZKB Light" panose="020B0303030504020204" pitchFamily="34" charset="0"/>
              <a:cs typeface="Akkurat-Light"/>
            </a:endParaRPr>
          </a:p>
          <a:p>
            <a:pPr algn="r" eaLnBrk="1" hangingPunct="1">
              <a:spcBef>
                <a:spcPts val="0"/>
              </a:spcBef>
              <a:defRPr/>
            </a:pPr>
            <a:endParaRPr lang="de-CH" sz="2249" b="1" dirty="0">
              <a:solidFill>
                <a:srgbClr val="0000FF"/>
              </a:solidFill>
              <a:latin typeface="Frutiger for ZKB Light" panose="020B0303030504020204" pitchFamily="34" charset="0"/>
              <a:cs typeface="Akkurat-Bold"/>
            </a:endParaRPr>
          </a:p>
        </p:txBody>
      </p:sp>
      <p:sp>
        <p:nvSpPr>
          <p:cNvPr id="17" name="TextBox 6">
            <a:extLst>
              <a:ext uri="{FF2B5EF4-FFF2-40B4-BE49-F238E27FC236}">
                <a16:creationId xmlns:a16="http://schemas.microsoft.com/office/drawing/2014/main" id="{AAE1C54A-4B47-80B8-6FF5-9E796E0AB2A5}"/>
              </a:ext>
            </a:extLst>
          </p:cNvPr>
          <p:cNvSpPr txBox="1"/>
          <p:nvPr/>
        </p:nvSpPr>
        <p:spPr>
          <a:xfrm>
            <a:off x="6584950" y="5127625"/>
            <a:ext cx="2506663" cy="1362075"/>
          </a:xfrm>
          <a:prstGeom prst="rect">
            <a:avLst/>
          </a:prstGeom>
          <a:noFill/>
        </p:spPr>
        <p:txBody>
          <a:bodyPr>
            <a:spAutoFit/>
          </a:bodyPr>
          <a:lstStyle/>
          <a:p>
            <a:pPr eaLnBrk="1" hangingPunct="1">
              <a:spcBef>
                <a:spcPts val="0"/>
              </a:spcBef>
              <a:defRPr/>
            </a:pPr>
            <a:r>
              <a:rPr lang="de-CH" sz="3200" b="1" dirty="0">
                <a:solidFill>
                  <a:schemeClr val="tx2"/>
                </a:solidFill>
                <a:latin typeface="Frutiger for ZKB Light" panose="020B0303030504020204" pitchFamily="34" charset="0"/>
                <a:cs typeface="Akkurat-Light"/>
              </a:rPr>
              <a:t>Step 3</a:t>
            </a:r>
          </a:p>
          <a:p>
            <a:pPr eaLnBrk="1" hangingPunct="1">
              <a:spcBef>
                <a:spcPts val="0"/>
              </a:spcBef>
              <a:defRPr/>
            </a:pPr>
            <a:r>
              <a:rPr lang="de-CH" sz="1400" b="1" dirty="0">
                <a:latin typeface="Frutiger for ZKB Light" panose="020B0303030504020204" pitchFamily="34" charset="0"/>
                <a:cs typeface="Akkurat-Bold"/>
              </a:rPr>
              <a:t>Untertitel</a:t>
            </a:r>
          </a:p>
          <a:p>
            <a:pPr eaLnBrk="1" hangingPunct="1">
              <a:spcBef>
                <a:spcPts val="0"/>
              </a:spcBef>
              <a:defRPr/>
            </a:pPr>
            <a:r>
              <a:rPr lang="de-CH" sz="1400" dirty="0">
                <a:latin typeface="Frutiger for ZKB Light" panose="020B0303030504020204" pitchFamily="34" charset="0"/>
                <a:cs typeface="Akkurat-Light"/>
              </a:rPr>
              <a:t>Optionaler kurzer Beschrieb </a:t>
            </a:r>
          </a:p>
          <a:p>
            <a:pPr eaLnBrk="1" hangingPunct="1">
              <a:spcBef>
                <a:spcPts val="0"/>
              </a:spcBef>
              <a:defRPr/>
            </a:pPr>
            <a:endParaRPr lang="de-CH" sz="2249" b="1" dirty="0">
              <a:solidFill>
                <a:srgbClr val="0000FF"/>
              </a:solidFill>
              <a:latin typeface="Frutiger for ZKB Light" panose="020B0303030504020204" pitchFamily="34" charset="0"/>
              <a:cs typeface="Akkurat-Bold"/>
            </a:endParaRPr>
          </a:p>
        </p:txBody>
      </p:sp>
      <p:sp>
        <p:nvSpPr>
          <p:cNvPr id="18" name="Oval 14">
            <a:extLst>
              <a:ext uri="{FF2B5EF4-FFF2-40B4-BE49-F238E27FC236}">
                <a16:creationId xmlns:a16="http://schemas.microsoft.com/office/drawing/2014/main" id="{471B48FA-D283-BA7B-A147-322767C1239B}"/>
              </a:ext>
            </a:extLst>
          </p:cNvPr>
          <p:cNvSpPr/>
          <p:nvPr/>
        </p:nvSpPr>
        <p:spPr>
          <a:xfrm>
            <a:off x="5849938" y="1695450"/>
            <a:ext cx="539750" cy="541338"/>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19" name="Oval 15">
            <a:extLst>
              <a:ext uri="{FF2B5EF4-FFF2-40B4-BE49-F238E27FC236}">
                <a16:creationId xmlns:a16="http://schemas.microsoft.com/office/drawing/2014/main" id="{72306577-2B97-87EB-008F-1F9C9EC543CE}"/>
              </a:ext>
            </a:extLst>
          </p:cNvPr>
          <p:cNvSpPr>
            <a:spLocks noChangeAspect="1"/>
          </p:cNvSpPr>
          <p:nvPr/>
        </p:nvSpPr>
        <p:spPr>
          <a:xfrm>
            <a:off x="5940425" y="3525838"/>
            <a:ext cx="358775" cy="360362"/>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21" name="Oval 19">
            <a:extLst>
              <a:ext uri="{FF2B5EF4-FFF2-40B4-BE49-F238E27FC236}">
                <a16:creationId xmlns:a16="http://schemas.microsoft.com/office/drawing/2014/main" id="{F16C9EEE-F4BE-08C4-F651-6B30137A776F}"/>
              </a:ext>
            </a:extLst>
          </p:cNvPr>
          <p:cNvSpPr>
            <a:spLocks noChangeAspect="1"/>
          </p:cNvSpPr>
          <p:nvPr/>
        </p:nvSpPr>
        <p:spPr>
          <a:xfrm>
            <a:off x="5940425" y="5211763"/>
            <a:ext cx="358775" cy="360362"/>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think-cell data - do not delete" hidden="1">
            <a:extLst>
              <a:ext uri="{FF2B5EF4-FFF2-40B4-BE49-F238E27FC236}">
                <a16:creationId xmlns:a16="http://schemas.microsoft.com/office/drawing/2014/main" id="{D9CBFEC2-465A-CBB1-CEE9-27B4914FA6B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23554" name="think-cell data - do not delete" hidden="1">
                        <a:extLst>
                          <a:ext uri="{FF2B5EF4-FFF2-40B4-BE49-F238E27FC236}">
                            <a16:creationId xmlns:a16="http://schemas.microsoft.com/office/drawing/2014/main" id="{D9CBFEC2-465A-CBB1-CEE9-27B4914FA6B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3555" name="Titel 4">
            <a:extLst>
              <a:ext uri="{FF2B5EF4-FFF2-40B4-BE49-F238E27FC236}">
                <a16:creationId xmlns:a16="http://schemas.microsoft.com/office/drawing/2014/main" id="{635E399C-641F-3CFB-CE2A-8A0D4A019A32}"/>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Agenda</a:t>
            </a:r>
          </a:p>
        </p:txBody>
      </p:sp>
      <p:sp>
        <p:nvSpPr>
          <p:cNvPr id="23556" name="Foliennummernplatzhalter 8">
            <a:extLst>
              <a:ext uri="{FF2B5EF4-FFF2-40B4-BE49-F238E27FC236}">
                <a16:creationId xmlns:a16="http://schemas.microsoft.com/office/drawing/2014/main" id="{569E5C78-DD4D-A2B3-71FC-13C13850DE53}"/>
              </a:ext>
            </a:extLst>
          </p:cNvPr>
          <p:cNvSpPr>
            <a:spLocks noGrp="1" noChangeArrowheads="1"/>
          </p:cNvSpPr>
          <p:nvPr>
            <p:ph type="sldNum" sz="quarter" idx="13"/>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FCC427CC-9DD7-4DBC-B707-251EBA2222B9}" type="slidenum">
              <a:rPr lang="de-CH" smtClean="0"/>
              <a:pPr>
                <a:spcBef>
                  <a:spcPct val="0"/>
                </a:spcBef>
                <a:spcAft>
                  <a:spcPct val="0"/>
                </a:spcAft>
                <a:defRPr/>
              </a:pPr>
              <a:t>4</a:t>
            </a:fld>
            <a:endParaRPr lang="de-CH" altLang="de-DE" sz="1100" dirty="0">
              <a:solidFill>
                <a:srgbClr val="003CB4"/>
              </a:solidFill>
            </a:endParaRPr>
          </a:p>
        </p:txBody>
      </p:sp>
      <p:sp>
        <p:nvSpPr>
          <p:cNvPr id="23557" name="Fußzeilenplatzhalter 7">
            <a:extLst>
              <a:ext uri="{FF2B5EF4-FFF2-40B4-BE49-F238E27FC236}">
                <a16:creationId xmlns:a16="http://schemas.microsoft.com/office/drawing/2014/main" id="{3367B64A-C840-69A1-B213-2DCFAD65C943}"/>
              </a:ext>
            </a:extLst>
          </p:cNvPr>
          <p:cNvSpPr>
            <a:spLocks noGrp="1" noChangeArrowheads="1"/>
          </p:cNvSpPr>
          <p:nvPr>
            <p:ph type="ftr" sz="quarter" idx="14"/>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6" name="Textplatzhalter 5">
            <a:extLst>
              <a:ext uri="{FF2B5EF4-FFF2-40B4-BE49-F238E27FC236}">
                <a16:creationId xmlns:a16="http://schemas.microsoft.com/office/drawing/2014/main" id="{0A653D7C-B7A7-B777-EC01-058194386328}"/>
              </a:ext>
            </a:extLst>
          </p:cNvPr>
          <p:cNvSpPr>
            <a:spLocks noGrp="1"/>
          </p:cNvSpPr>
          <p:nvPr>
            <p:ph type="body" idx="12"/>
          </p:nvPr>
        </p:nvSpPr>
        <p:spPr>
          <a:xfrm>
            <a:off x="306388" y="1885950"/>
            <a:ext cx="10180637" cy="4748213"/>
          </a:xfrm>
        </p:spPr>
        <p:txBody>
          <a:bodyPr rtlCol="0"/>
          <a:lstStyle/>
          <a:p>
            <a:pPr marL="359773" indent="-359773" eaLnBrk="1" fontAlgn="auto" hangingPunct="1">
              <a:buClrTx/>
              <a:buFontTx/>
              <a:buAutoNum type="arabicPeriod"/>
              <a:defRPr/>
            </a:pPr>
            <a:r>
              <a:rPr lang="de-CH" dirty="0"/>
              <a:t>Lorem ipsum dolor </a:t>
            </a:r>
          </a:p>
          <a:p>
            <a:pPr marL="359773" indent="-359773" eaLnBrk="1" fontAlgn="auto" hangingPunct="1">
              <a:buClrTx/>
              <a:buFontTx/>
              <a:buAutoNum type="arabicPeriod"/>
              <a:defRPr/>
            </a:pPr>
            <a:endParaRPr lang="de-CH" dirty="0"/>
          </a:p>
          <a:p>
            <a:pPr marL="359773" indent="-359773" eaLnBrk="1" fontAlgn="auto" hangingPunct="1">
              <a:buClrTx/>
              <a:buFontTx/>
              <a:buAutoNum type="arabicPeriod"/>
              <a:defRPr/>
            </a:pPr>
            <a:r>
              <a:rPr lang="de-CH" dirty="0"/>
              <a:t>Lorem ipsum dolor</a:t>
            </a:r>
          </a:p>
          <a:p>
            <a:pPr marL="359773" indent="-359773" eaLnBrk="1" fontAlgn="auto" hangingPunct="1">
              <a:buClrTx/>
              <a:buFontTx/>
              <a:buAutoNum type="arabicPeriod"/>
              <a:defRPr/>
            </a:pPr>
            <a:endParaRPr lang="de-CH" dirty="0"/>
          </a:p>
          <a:p>
            <a:pPr marL="359773" indent="-359773" eaLnBrk="1" fontAlgn="auto" hangingPunct="1">
              <a:buClrTx/>
              <a:buFontTx/>
              <a:buAutoNum type="arabicPeriod"/>
              <a:defRPr/>
            </a:pPr>
            <a:r>
              <a:rPr lang="de-CH" dirty="0"/>
              <a:t>Lorem ipsum dolor </a:t>
            </a:r>
          </a:p>
          <a:p>
            <a:pPr marL="359773" indent="-359773" eaLnBrk="1" fontAlgn="auto" hangingPunct="1">
              <a:buClrTx/>
              <a:buFontTx/>
              <a:buAutoNum type="arabicPeriod"/>
              <a:defRPr/>
            </a:pPr>
            <a:endParaRPr lang="de-CH" dirty="0"/>
          </a:p>
          <a:p>
            <a:pPr marL="359773" indent="-359773" eaLnBrk="1" fontAlgn="auto" hangingPunct="1">
              <a:buClrTx/>
              <a:buFontTx/>
              <a:buAutoNum type="arabicPeriod"/>
              <a:defRPr/>
            </a:pPr>
            <a:r>
              <a:rPr lang="de-CH" dirty="0"/>
              <a:t>Lorem ipsum dolor</a:t>
            </a:r>
          </a:p>
          <a:p>
            <a:pPr marL="359773" indent="-359773" eaLnBrk="1" fontAlgn="auto" hangingPunct="1">
              <a:defRPr/>
            </a:pPr>
            <a:endParaRPr lang="de-CH" dirty="0"/>
          </a:p>
          <a:p>
            <a:pPr eaLnBrk="1" fontAlgn="auto" hangingPunct="1">
              <a:defRPr/>
            </a:pPr>
            <a:endParaRPr lang="de-CH"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466" name="think-cell data - do not delete" hidden="1">
            <a:extLst>
              <a:ext uri="{FF2B5EF4-FFF2-40B4-BE49-F238E27FC236}">
                <a16:creationId xmlns:a16="http://schemas.microsoft.com/office/drawing/2014/main" id="{C580C5A5-1784-76F0-C2F0-5027FFFD836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2466" name="think-cell data - do not delete" hidden="1">
                        <a:extLst>
                          <a:ext uri="{FF2B5EF4-FFF2-40B4-BE49-F238E27FC236}">
                            <a16:creationId xmlns:a16="http://schemas.microsoft.com/office/drawing/2014/main" id="{C580C5A5-1784-76F0-C2F0-5027FFFD836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13" name="Gerader Verbinder 12">
            <a:extLst>
              <a:ext uri="{FF2B5EF4-FFF2-40B4-BE49-F238E27FC236}">
                <a16:creationId xmlns:a16="http://schemas.microsoft.com/office/drawing/2014/main" id="{A0BEB778-6CC0-9A3C-C975-9D19347040DB}"/>
              </a:ext>
            </a:extLst>
          </p:cNvPr>
          <p:cNvCxnSpPr>
            <a:cxnSpLocks/>
          </p:cNvCxnSpPr>
          <p:nvPr/>
        </p:nvCxnSpPr>
        <p:spPr>
          <a:xfrm>
            <a:off x="6119813" y="0"/>
            <a:ext cx="0" cy="7231063"/>
          </a:xfrm>
          <a:prstGeom prst="line">
            <a:avLst/>
          </a:prstGeom>
          <a:ln w="12700">
            <a:solidFill>
              <a:srgbClr val="003CB4"/>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C3DAB956-C5EF-A4C3-7286-55EDAAA40D32}"/>
              </a:ext>
            </a:extLst>
          </p:cNvPr>
          <p:cNvSpPr/>
          <p:nvPr/>
        </p:nvSpPr>
        <p:spPr>
          <a:xfrm>
            <a:off x="5849938" y="5056188"/>
            <a:ext cx="539750" cy="539750"/>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16" name="Oval 15">
            <a:extLst>
              <a:ext uri="{FF2B5EF4-FFF2-40B4-BE49-F238E27FC236}">
                <a16:creationId xmlns:a16="http://schemas.microsoft.com/office/drawing/2014/main" id="{0BC44FB4-AA75-74CD-9F44-3727E1943885}"/>
              </a:ext>
            </a:extLst>
          </p:cNvPr>
          <p:cNvSpPr>
            <a:spLocks noChangeAspect="1"/>
          </p:cNvSpPr>
          <p:nvPr/>
        </p:nvSpPr>
        <p:spPr>
          <a:xfrm>
            <a:off x="5940425" y="3265488"/>
            <a:ext cx="358775" cy="360362"/>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20" name="Oval 19">
            <a:extLst>
              <a:ext uri="{FF2B5EF4-FFF2-40B4-BE49-F238E27FC236}">
                <a16:creationId xmlns:a16="http://schemas.microsoft.com/office/drawing/2014/main" id="{A5970486-AE2C-6634-31C7-A230B5CC76AF}"/>
              </a:ext>
            </a:extLst>
          </p:cNvPr>
          <p:cNvSpPr>
            <a:spLocks noChangeAspect="1"/>
          </p:cNvSpPr>
          <p:nvPr/>
        </p:nvSpPr>
        <p:spPr>
          <a:xfrm>
            <a:off x="5940425" y="1350963"/>
            <a:ext cx="358775" cy="358775"/>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18" name="TextBox 6">
            <a:extLst>
              <a:ext uri="{FF2B5EF4-FFF2-40B4-BE49-F238E27FC236}">
                <a16:creationId xmlns:a16="http://schemas.microsoft.com/office/drawing/2014/main" id="{DBBB2F2D-AAA7-2F4D-0D8A-F6809AE0843D}"/>
              </a:ext>
            </a:extLst>
          </p:cNvPr>
          <p:cNvSpPr txBox="1"/>
          <p:nvPr/>
        </p:nvSpPr>
        <p:spPr>
          <a:xfrm>
            <a:off x="6584950" y="5054600"/>
            <a:ext cx="2506663" cy="1362075"/>
          </a:xfrm>
          <a:prstGeom prst="rect">
            <a:avLst/>
          </a:prstGeom>
          <a:noFill/>
        </p:spPr>
        <p:txBody>
          <a:bodyPr>
            <a:spAutoFit/>
          </a:bodyPr>
          <a:lstStyle/>
          <a:p>
            <a:pPr eaLnBrk="1" hangingPunct="1">
              <a:spcBef>
                <a:spcPts val="0"/>
              </a:spcBef>
              <a:defRPr/>
            </a:pPr>
            <a:r>
              <a:rPr lang="de-CH" sz="3200" b="1" dirty="0">
                <a:solidFill>
                  <a:schemeClr val="tx2"/>
                </a:solidFill>
                <a:latin typeface="Frutiger for ZKB Light" panose="020B0303030504020204" pitchFamily="34" charset="0"/>
                <a:cs typeface="Akkurat-Light"/>
              </a:rPr>
              <a:t>Step 6</a:t>
            </a:r>
          </a:p>
          <a:p>
            <a:pPr eaLnBrk="1" hangingPunct="1">
              <a:spcBef>
                <a:spcPts val="0"/>
              </a:spcBef>
              <a:defRPr/>
            </a:pPr>
            <a:r>
              <a:rPr lang="de-CH" sz="1400" b="1" dirty="0">
                <a:latin typeface="Frutiger for ZKB Light" panose="020B0303030504020204" pitchFamily="34" charset="0"/>
                <a:cs typeface="Akkurat-Bold"/>
              </a:rPr>
              <a:t>Untertitel</a:t>
            </a:r>
          </a:p>
          <a:p>
            <a:pPr eaLnBrk="1" hangingPunct="1">
              <a:spcBef>
                <a:spcPts val="0"/>
              </a:spcBef>
              <a:defRPr/>
            </a:pPr>
            <a:r>
              <a:rPr lang="de-CH" sz="1400" dirty="0">
                <a:latin typeface="Frutiger for ZKB Light" panose="020B0303030504020204" pitchFamily="34" charset="0"/>
                <a:cs typeface="Akkurat-Light"/>
              </a:rPr>
              <a:t>Optionaler kurzer Beschrieb </a:t>
            </a:r>
          </a:p>
          <a:p>
            <a:pPr eaLnBrk="1" hangingPunct="1">
              <a:spcBef>
                <a:spcPts val="0"/>
              </a:spcBef>
              <a:defRPr/>
            </a:pPr>
            <a:endParaRPr lang="de-CH" sz="2249" b="1" dirty="0">
              <a:latin typeface="Frutiger for ZKB Light" panose="020B0303030504020204" pitchFamily="34" charset="0"/>
              <a:cs typeface="Akkurat-Bold"/>
            </a:endParaRPr>
          </a:p>
        </p:txBody>
      </p:sp>
      <p:sp>
        <p:nvSpPr>
          <p:cNvPr id="19" name="TextBox 6">
            <a:extLst>
              <a:ext uri="{FF2B5EF4-FFF2-40B4-BE49-F238E27FC236}">
                <a16:creationId xmlns:a16="http://schemas.microsoft.com/office/drawing/2014/main" id="{FC6912F1-CDFB-0F51-3567-710B9E354320}"/>
              </a:ext>
            </a:extLst>
          </p:cNvPr>
          <p:cNvSpPr txBox="1"/>
          <p:nvPr/>
        </p:nvSpPr>
        <p:spPr>
          <a:xfrm>
            <a:off x="6584950" y="1230313"/>
            <a:ext cx="2506663" cy="1362075"/>
          </a:xfrm>
          <a:prstGeom prst="rect">
            <a:avLst/>
          </a:prstGeom>
          <a:noFill/>
        </p:spPr>
        <p:txBody>
          <a:bodyPr>
            <a:spAutoFit/>
          </a:bodyPr>
          <a:lstStyle/>
          <a:p>
            <a:pPr eaLnBrk="1" hangingPunct="1">
              <a:spcBef>
                <a:spcPts val="0"/>
              </a:spcBef>
              <a:defRPr/>
            </a:pPr>
            <a:r>
              <a:rPr lang="de-CH" sz="3200" b="1" dirty="0">
                <a:solidFill>
                  <a:schemeClr val="tx2"/>
                </a:solidFill>
                <a:latin typeface="Frutiger for ZKB Light" panose="020B0303030504020204" pitchFamily="34" charset="0"/>
                <a:cs typeface="Akkurat-Light"/>
              </a:rPr>
              <a:t>Step 4</a:t>
            </a:r>
          </a:p>
          <a:p>
            <a:pPr eaLnBrk="1" hangingPunct="1">
              <a:spcBef>
                <a:spcPts val="0"/>
              </a:spcBef>
              <a:defRPr/>
            </a:pPr>
            <a:r>
              <a:rPr lang="de-CH" sz="1400" b="1" dirty="0">
                <a:latin typeface="Frutiger for ZKB Light" panose="020B0303030504020204" pitchFamily="34" charset="0"/>
                <a:cs typeface="Akkurat-Bold"/>
              </a:rPr>
              <a:t>Untertitel</a:t>
            </a:r>
          </a:p>
          <a:p>
            <a:pPr eaLnBrk="1" hangingPunct="1">
              <a:spcBef>
                <a:spcPts val="0"/>
              </a:spcBef>
              <a:defRPr/>
            </a:pPr>
            <a:r>
              <a:rPr lang="de-CH" sz="1400" dirty="0">
                <a:latin typeface="Frutiger for ZKB Light" panose="020B0303030504020204" pitchFamily="34" charset="0"/>
                <a:cs typeface="Akkurat-Light"/>
              </a:rPr>
              <a:t>Optionaler kurzer Beschrieb </a:t>
            </a:r>
          </a:p>
          <a:p>
            <a:pPr eaLnBrk="1" hangingPunct="1">
              <a:spcBef>
                <a:spcPts val="0"/>
              </a:spcBef>
              <a:defRPr/>
            </a:pPr>
            <a:endParaRPr lang="de-CH" sz="2249" b="1" dirty="0">
              <a:latin typeface="Frutiger for ZKB Light" panose="020B0303030504020204" pitchFamily="34" charset="0"/>
              <a:cs typeface="Akkurat-Bold"/>
            </a:endParaRPr>
          </a:p>
        </p:txBody>
      </p:sp>
      <p:sp>
        <p:nvSpPr>
          <p:cNvPr id="21" name="TextBox 32">
            <a:extLst>
              <a:ext uri="{FF2B5EF4-FFF2-40B4-BE49-F238E27FC236}">
                <a16:creationId xmlns:a16="http://schemas.microsoft.com/office/drawing/2014/main" id="{AF080E37-949D-43A7-0289-A56985D9F0C7}"/>
              </a:ext>
            </a:extLst>
          </p:cNvPr>
          <p:cNvSpPr txBox="1"/>
          <p:nvPr/>
        </p:nvSpPr>
        <p:spPr>
          <a:xfrm>
            <a:off x="2827338" y="3165475"/>
            <a:ext cx="2686050" cy="1620838"/>
          </a:xfrm>
          <a:prstGeom prst="rect">
            <a:avLst/>
          </a:prstGeom>
          <a:noFill/>
        </p:spPr>
        <p:txBody>
          <a:bodyPr>
            <a:spAutoFit/>
          </a:bodyPr>
          <a:lstStyle/>
          <a:p>
            <a:pPr algn="r" eaLnBrk="1" hangingPunct="1">
              <a:spcBef>
                <a:spcPts val="0"/>
              </a:spcBef>
              <a:defRPr/>
            </a:pPr>
            <a:r>
              <a:rPr lang="de-CH" sz="3200" b="1" dirty="0">
                <a:solidFill>
                  <a:schemeClr val="tx2"/>
                </a:solidFill>
                <a:latin typeface="Frutiger for ZKB Light" panose="020B0303030504020204" pitchFamily="34" charset="0"/>
                <a:cs typeface="Akkurat-Light"/>
              </a:rPr>
              <a:t>Step 5</a:t>
            </a:r>
          </a:p>
          <a:p>
            <a:pPr algn="r" eaLnBrk="1" hangingPunct="1">
              <a:spcBef>
                <a:spcPts val="0"/>
              </a:spcBef>
              <a:defRPr/>
            </a:pPr>
            <a:r>
              <a:rPr lang="de-CH" sz="1400" b="1" dirty="0">
                <a:latin typeface="Frutiger for ZKB Light" panose="020B0303030504020204" pitchFamily="34" charset="0"/>
                <a:cs typeface="Akkurat-Bold"/>
              </a:rPr>
              <a:t>Untertitel</a:t>
            </a:r>
          </a:p>
          <a:p>
            <a:pPr algn="r" eaLnBrk="1" hangingPunct="1">
              <a:spcBef>
                <a:spcPts val="0"/>
              </a:spcBef>
              <a:defRPr/>
            </a:pPr>
            <a:r>
              <a:rPr lang="de-CH" sz="1400" dirty="0">
                <a:latin typeface="Frutiger for ZKB Light" panose="020B0303030504020204" pitchFamily="34" charset="0"/>
                <a:cs typeface="Akkurat-Light"/>
              </a:rPr>
              <a:t>Optionaler kurzer Beschrieb</a:t>
            </a:r>
          </a:p>
          <a:p>
            <a:pPr algn="r" eaLnBrk="1" hangingPunct="1">
              <a:spcBef>
                <a:spcPts val="0"/>
              </a:spcBef>
              <a:defRPr/>
            </a:pPr>
            <a:endParaRPr lang="de-CH" sz="1687" dirty="0">
              <a:latin typeface="Frutiger for ZKB Light" panose="020B0303030504020204" pitchFamily="34" charset="0"/>
              <a:cs typeface="Akkurat-Light"/>
            </a:endParaRPr>
          </a:p>
          <a:p>
            <a:pPr algn="r" eaLnBrk="1" hangingPunct="1">
              <a:spcBef>
                <a:spcPts val="0"/>
              </a:spcBef>
              <a:defRPr/>
            </a:pPr>
            <a:endParaRPr lang="de-CH" sz="2249" b="1" dirty="0">
              <a:latin typeface="Frutiger for ZKB Light" panose="020B0303030504020204" pitchFamily="34" charset="0"/>
              <a:cs typeface="Akkurat-Bold"/>
            </a:endParaRPr>
          </a:p>
        </p:txBody>
      </p:sp>
      <p:sp>
        <p:nvSpPr>
          <p:cNvPr id="62474" name="Foliennummernplatzhalter 8">
            <a:extLst>
              <a:ext uri="{FF2B5EF4-FFF2-40B4-BE49-F238E27FC236}">
                <a16:creationId xmlns:a16="http://schemas.microsoft.com/office/drawing/2014/main" id="{3181A180-D6D1-34C3-E2FF-9388B190A54D}"/>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475C0359-809D-4F09-934A-72115F3CB18D}" type="slidenum">
              <a:rPr lang="de-CH" altLang="de-DE" sz="1100" smtClean="0">
                <a:solidFill>
                  <a:srgbClr val="003CB4"/>
                </a:solidFill>
                <a:latin typeface="Frutiger for ZKB Light" panose="020B0303030504020204" pitchFamily="34" charset="0"/>
              </a:rPr>
              <a:pPr>
                <a:spcBef>
                  <a:spcPct val="0"/>
                </a:spcBef>
                <a:spcAft>
                  <a:spcPct val="0"/>
                </a:spcAft>
              </a:pPr>
              <a:t>40</a:t>
            </a:fld>
            <a:endParaRPr lang="de-CH" altLang="de-DE" sz="1100" dirty="0">
              <a:solidFill>
                <a:srgbClr val="003CB4"/>
              </a:solidFill>
              <a:latin typeface="Frutiger for ZKB Light" panose="020B0303030504020204" pitchFamily="34" charset="0"/>
            </a:endParaRPr>
          </a:p>
        </p:txBody>
      </p:sp>
      <p:sp>
        <p:nvSpPr>
          <p:cNvPr id="62475" name="Fußzeilenplatzhalter 7">
            <a:extLst>
              <a:ext uri="{FF2B5EF4-FFF2-40B4-BE49-F238E27FC236}">
                <a16:creationId xmlns:a16="http://schemas.microsoft.com/office/drawing/2014/main" id="{58A34838-F225-FE0E-07BA-0108628849F7}"/>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Tree>
  </p:cSld>
  <p:clrMapOvr>
    <a:masterClrMapping/>
  </p:clrMapOvr>
  <p:transition spd="slow">
    <p:push dir="u"/>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490" name="think-cell data - do not delete" hidden="1">
            <a:extLst>
              <a:ext uri="{FF2B5EF4-FFF2-40B4-BE49-F238E27FC236}">
                <a16:creationId xmlns:a16="http://schemas.microsoft.com/office/drawing/2014/main" id="{11C535BD-0D5E-5E0E-35CF-B1B8D55A5A1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3490" name="think-cell data - do not delete" hidden="1">
                        <a:extLst>
                          <a:ext uri="{FF2B5EF4-FFF2-40B4-BE49-F238E27FC236}">
                            <a16:creationId xmlns:a16="http://schemas.microsoft.com/office/drawing/2014/main" id="{11C535BD-0D5E-5E0E-35CF-B1B8D55A5A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26" name="Gerader Verbinder 25">
            <a:extLst>
              <a:ext uri="{FF2B5EF4-FFF2-40B4-BE49-F238E27FC236}">
                <a16:creationId xmlns:a16="http://schemas.microsoft.com/office/drawing/2014/main" id="{77BAA446-E857-BBDE-7E67-392B5948EB4A}"/>
              </a:ext>
            </a:extLst>
          </p:cNvPr>
          <p:cNvCxnSpPr>
            <a:cxnSpLocks/>
          </p:cNvCxnSpPr>
          <p:nvPr/>
        </p:nvCxnSpPr>
        <p:spPr>
          <a:xfrm>
            <a:off x="6119813" y="0"/>
            <a:ext cx="0" cy="5414963"/>
          </a:xfrm>
          <a:prstGeom prst="line">
            <a:avLst/>
          </a:prstGeom>
          <a:ln w="12700">
            <a:solidFill>
              <a:srgbClr val="003CB4"/>
            </a:solidFill>
          </a:ln>
        </p:spPr>
        <p:style>
          <a:lnRef idx="1">
            <a:schemeClr val="accent1"/>
          </a:lnRef>
          <a:fillRef idx="0">
            <a:schemeClr val="accent1"/>
          </a:fillRef>
          <a:effectRef idx="0">
            <a:schemeClr val="accent1"/>
          </a:effectRef>
          <a:fontRef idx="minor">
            <a:schemeClr val="tx1"/>
          </a:fontRef>
        </p:style>
      </p:cxnSp>
      <p:sp>
        <p:nvSpPr>
          <p:cNvPr id="17" name="TextBox 6">
            <a:extLst>
              <a:ext uri="{FF2B5EF4-FFF2-40B4-BE49-F238E27FC236}">
                <a16:creationId xmlns:a16="http://schemas.microsoft.com/office/drawing/2014/main" id="{D81A27B4-5EAB-E961-F99C-B8D4188FC1A3}"/>
              </a:ext>
            </a:extLst>
          </p:cNvPr>
          <p:cNvSpPr txBox="1"/>
          <p:nvPr/>
        </p:nvSpPr>
        <p:spPr>
          <a:xfrm>
            <a:off x="6584950" y="5054600"/>
            <a:ext cx="2506663" cy="1362075"/>
          </a:xfrm>
          <a:prstGeom prst="rect">
            <a:avLst/>
          </a:prstGeom>
          <a:noFill/>
        </p:spPr>
        <p:txBody>
          <a:bodyPr>
            <a:spAutoFit/>
          </a:bodyPr>
          <a:lstStyle/>
          <a:p>
            <a:pPr eaLnBrk="1" hangingPunct="1">
              <a:spcBef>
                <a:spcPts val="0"/>
              </a:spcBef>
              <a:defRPr/>
            </a:pPr>
            <a:r>
              <a:rPr lang="de-CH" sz="3200" b="1" dirty="0">
                <a:solidFill>
                  <a:schemeClr val="tx2"/>
                </a:solidFill>
                <a:latin typeface="Frutiger for ZKB Light" panose="020B0303030504020204" pitchFamily="34" charset="0"/>
                <a:cs typeface="Akkurat-Light"/>
              </a:rPr>
              <a:t>Step 9</a:t>
            </a:r>
          </a:p>
          <a:p>
            <a:pPr eaLnBrk="1" hangingPunct="1">
              <a:spcBef>
                <a:spcPts val="0"/>
              </a:spcBef>
              <a:defRPr/>
            </a:pPr>
            <a:r>
              <a:rPr lang="de-CH" sz="1400" b="1" dirty="0">
                <a:latin typeface="Frutiger for ZKB Light" panose="020B0303030504020204" pitchFamily="34" charset="0"/>
                <a:cs typeface="Akkurat-Bold"/>
              </a:rPr>
              <a:t>Projektabschluss</a:t>
            </a:r>
          </a:p>
          <a:p>
            <a:pPr eaLnBrk="1" hangingPunct="1">
              <a:spcBef>
                <a:spcPts val="0"/>
              </a:spcBef>
              <a:defRPr/>
            </a:pPr>
            <a:r>
              <a:rPr lang="de-CH" sz="1400" dirty="0">
                <a:latin typeface="Frutiger for ZKB Light" panose="020B0303030504020204" pitchFamily="34" charset="0"/>
                <a:cs typeface="Akkurat-Light"/>
              </a:rPr>
              <a:t>Optionaler kurzer Beschrieb </a:t>
            </a:r>
          </a:p>
          <a:p>
            <a:pPr eaLnBrk="1" hangingPunct="1">
              <a:spcBef>
                <a:spcPts val="0"/>
              </a:spcBef>
              <a:defRPr/>
            </a:pPr>
            <a:endParaRPr lang="de-CH" sz="2249" b="1" dirty="0">
              <a:latin typeface="Frutiger for ZKB Light" panose="020B0303030504020204" pitchFamily="34" charset="0"/>
              <a:cs typeface="Akkurat-Bold"/>
            </a:endParaRPr>
          </a:p>
        </p:txBody>
      </p:sp>
      <p:sp>
        <p:nvSpPr>
          <p:cNvPr id="18" name="TextBox 6">
            <a:extLst>
              <a:ext uri="{FF2B5EF4-FFF2-40B4-BE49-F238E27FC236}">
                <a16:creationId xmlns:a16="http://schemas.microsoft.com/office/drawing/2014/main" id="{B3164D7B-8FAF-2F11-DAF3-A0902472B4B6}"/>
              </a:ext>
            </a:extLst>
          </p:cNvPr>
          <p:cNvSpPr txBox="1"/>
          <p:nvPr/>
        </p:nvSpPr>
        <p:spPr>
          <a:xfrm>
            <a:off x="6584950" y="1230313"/>
            <a:ext cx="2506663" cy="1362075"/>
          </a:xfrm>
          <a:prstGeom prst="rect">
            <a:avLst/>
          </a:prstGeom>
          <a:noFill/>
        </p:spPr>
        <p:txBody>
          <a:bodyPr>
            <a:spAutoFit/>
          </a:bodyPr>
          <a:lstStyle/>
          <a:p>
            <a:pPr eaLnBrk="1" hangingPunct="1">
              <a:spcBef>
                <a:spcPts val="0"/>
              </a:spcBef>
              <a:defRPr/>
            </a:pPr>
            <a:r>
              <a:rPr lang="de-CH" sz="3200" b="1" dirty="0">
                <a:solidFill>
                  <a:schemeClr val="tx2"/>
                </a:solidFill>
                <a:latin typeface="Frutiger for ZKB Light" panose="020B0303030504020204" pitchFamily="34" charset="0"/>
                <a:cs typeface="Akkurat-Light"/>
              </a:rPr>
              <a:t>Step 7</a:t>
            </a:r>
          </a:p>
          <a:p>
            <a:pPr eaLnBrk="1" hangingPunct="1">
              <a:spcBef>
                <a:spcPts val="0"/>
              </a:spcBef>
              <a:defRPr/>
            </a:pPr>
            <a:r>
              <a:rPr lang="de-CH" sz="1400" b="1" dirty="0">
                <a:latin typeface="Frutiger for ZKB Light" panose="020B0303030504020204" pitchFamily="34" charset="0"/>
                <a:cs typeface="Akkurat-Bold"/>
              </a:rPr>
              <a:t>Untertitel</a:t>
            </a:r>
          </a:p>
          <a:p>
            <a:pPr eaLnBrk="1" hangingPunct="1">
              <a:spcBef>
                <a:spcPts val="0"/>
              </a:spcBef>
              <a:defRPr/>
            </a:pPr>
            <a:r>
              <a:rPr lang="de-CH" sz="1400" dirty="0">
                <a:latin typeface="Frutiger for ZKB Light" panose="020B0303030504020204" pitchFamily="34" charset="0"/>
                <a:cs typeface="Akkurat-Light"/>
              </a:rPr>
              <a:t>Optionaler kurzer Beschrieb </a:t>
            </a:r>
          </a:p>
          <a:p>
            <a:pPr eaLnBrk="1" hangingPunct="1">
              <a:spcBef>
                <a:spcPts val="0"/>
              </a:spcBef>
              <a:defRPr/>
            </a:pPr>
            <a:endParaRPr lang="de-CH" sz="2249" b="1" dirty="0">
              <a:latin typeface="Frutiger for ZKB Light" panose="020B0303030504020204" pitchFamily="34" charset="0"/>
              <a:cs typeface="Akkurat-Bold"/>
            </a:endParaRPr>
          </a:p>
        </p:txBody>
      </p:sp>
      <p:sp>
        <p:nvSpPr>
          <p:cNvPr id="63494" name="TextBox 32">
            <a:extLst>
              <a:ext uri="{FF2B5EF4-FFF2-40B4-BE49-F238E27FC236}">
                <a16:creationId xmlns:a16="http://schemas.microsoft.com/office/drawing/2014/main" id="{9D903757-C54F-65F8-A41B-473B59EB06C2}"/>
              </a:ext>
            </a:extLst>
          </p:cNvPr>
          <p:cNvSpPr txBox="1">
            <a:spLocks noChangeArrowheads="1"/>
          </p:cNvSpPr>
          <p:nvPr/>
        </p:nvSpPr>
        <p:spPr bwMode="auto">
          <a:xfrm>
            <a:off x="2827338" y="3165475"/>
            <a:ext cx="2686050" cy="1101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r" eaLnBrk="1" hangingPunct="1"/>
            <a:r>
              <a:rPr lang="de-CH" altLang="de-DE" sz="3200" b="1" dirty="0">
                <a:solidFill>
                  <a:schemeClr val="tx2"/>
                </a:solidFill>
                <a:latin typeface="Frutiger for ZKB Light" panose="020B0303030504020204" pitchFamily="34" charset="0"/>
                <a:ea typeface="Akkurat-Light"/>
                <a:cs typeface="Akkurat-Light"/>
              </a:rPr>
              <a:t>Step 8</a:t>
            </a:r>
          </a:p>
          <a:p>
            <a:pPr algn="r" eaLnBrk="1" hangingPunct="1"/>
            <a:r>
              <a:rPr lang="de-CH" altLang="de-DE" sz="1400" b="1" dirty="0">
                <a:latin typeface="Frutiger for ZKB Light" panose="020B0303030504020204" pitchFamily="34" charset="0"/>
                <a:ea typeface="Akkurat-Bold"/>
                <a:cs typeface="Akkurat-Bold"/>
              </a:rPr>
              <a:t>Untertitel</a:t>
            </a:r>
          </a:p>
          <a:p>
            <a:pPr algn="r" eaLnBrk="1" hangingPunct="1"/>
            <a:r>
              <a:rPr lang="de-CH" altLang="de-DE" sz="1400" dirty="0">
                <a:latin typeface="Frutiger for ZKB Light" panose="020B0303030504020204" pitchFamily="34" charset="0"/>
                <a:ea typeface="Akkurat-Light"/>
                <a:cs typeface="Akkurat-Light"/>
              </a:rPr>
              <a:t>Optionaler kurzer Beschrieb </a:t>
            </a:r>
          </a:p>
        </p:txBody>
      </p:sp>
      <p:sp>
        <p:nvSpPr>
          <p:cNvPr id="9" name="Oval 19">
            <a:extLst>
              <a:ext uri="{FF2B5EF4-FFF2-40B4-BE49-F238E27FC236}">
                <a16:creationId xmlns:a16="http://schemas.microsoft.com/office/drawing/2014/main" id="{51B9A973-97C4-B27A-C300-F19811853471}"/>
              </a:ext>
            </a:extLst>
          </p:cNvPr>
          <p:cNvSpPr>
            <a:spLocks noChangeAspect="1"/>
          </p:cNvSpPr>
          <p:nvPr/>
        </p:nvSpPr>
        <p:spPr>
          <a:xfrm>
            <a:off x="5940425" y="1350963"/>
            <a:ext cx="358775" cy="358775"/>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10" name="Oval 19">
            <a:extLst>
              <a:ext uri="{FF2B5EF4-FFF2-40B4-BE49-F238E27FC236}">
                <a16:creationId xmlns:a16="http://schemas.microsoft.com/office/drawing/2014/main" id="{05C92B37-0D80-7E66-CC4B-BE89A6A07274}"/>
              </a:ext>
            </a:extLst>
          </p:cNvPr>
          <p:cNvSpPr>
            <a:spLocks noChangeAspect="1"/>
          </p:cNvSpPr>
          <p:nvPr/>
        </p:nvSpPr>
        <p:spPr>
          <a:xfrm>
            <a:off x="5940425" y="3262313"/>
            <a:ext cx="358775" cy="360362"/>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11" name="Oval 14">
            <a:extLst>
              <a:ext uri="{FF2B5EF4-FFF2-40B4-BE49-F238E27FC236}">
                <a16:creationId xmlns:a16="http://schemas.microsoft.com/office/drawing/2014/main" id="{77EBC769-F3AC-EDCA-55D8-432493741FA7}"/>
              </a:ext>
            </a:extLst>
          </p:cNvPr>
          <p:cNvSpPr/>
          <p:nvPr/>
        </p:nvSpPr>
        <p:spPr>
          <a:xfrm>
            <a:off x="5849938" y="5056188"/>
            <a:ext cx="539750" cy="539750"/>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63498" name="Foliennummernplatzhalter 11">
            <a:extLst>
              <a:ext uri="{FF2B5EF4-FFF2-40B4-BE49-F238E27FC236}">
                <a16:creationId xmlns:a16="http://schemas.microsoft.com/office/drawing/2014/main" id="{83087947-267E-A881-A456-5E3FF2FE4B69}"/>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3C8C552D-1835-4873-81C2-ED7719623AB0}" type="slidenum">
              <a:rPr lang="de-CH" altLang="de-DE" sz="1100" smtClean="0">
                <a:solidFill>
                  <a:srgbClr val="003CB4"/>
                </a:solidFill>
                <a:latin typeface="Frutiger for ZKB Light" panose="020B0303030504020204" pitchFamily="34" charset="0"/>
              </a:rPr>
              <a:pPr>
                <a:spcBef>
                  <a:spcPct val="0"/>
                </a:spcBef>
                <a:spcAft>
                  <a:spcPct val="0"/>
                </a:spcAft>
              </a:pPr>
              <a:t>41</a:t>
            </a:fld>
            <a:endParaRPr lang="de-CH" altLang="de-DE" sz="1100" dirty="0">
              <a:solidFill>
                <a:srgbClr val="003CB4"/>
              </a:solidFill>
              <a:latin typeface="Frutiger for ZKB Light" panose="020B0303030504020204" pitchFamily="34" charset="0"/>
            </a:endParaRPr>
          </a:p>
        </p:txBody>
      </p:sp>
      <p:sp>
        <p:nvSpPr>
          <p:cNvPr id="63499" name="Fußzeilenplatzhalter 7">
            <a:extLst>
              <a:ext uri="{FF2B5EF4-FFF2-40B4-BE49-F238E27FC236}">
                <a16:creationId xmlns:a16="http://schemas.microsoft.com/office/drawing/2014/main" id="{0853E3F0-13C1-59FE-0F75-1C4E693897C9}"/>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Tree>
  </p:cSld>
  <p:clrMapOvr>
    <a:masterClrMapping/>
  </p:clrMapOvr>
  <p:transition spd="slow">
    <p:push dir="u"/>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514" name="think-cell data - do not delete" hidden="1">
            <a:extLst>
              <a:ext uri="{FF2B5EF4-FFF2-40B4-BE49-F238E27FC236}">
                <a16:creationId xmlns:a16="http://schemas.microsoft.com/office/drawing/2014/main" id="{B29CDB84-CF37-5DEA-2998-BAFAD99B71B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4514" name="think-cell data - do not delete" hidden="1">
                        <a:extLst>
                          <a:ext uri="{FF2B5EF4-FFF2-40B4-BE49-F238E27FC236}">
                            <a16:creationId xmlns:a16="http://schemas.microsoft.com/office/drawing/2014/main" id="{B29CDB84-CF37-5DEA-2998-BAFAD99B71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itel 2">
            <a:extLst>
              <a:ext uri="{FF2B5EF4-FFF2-40B4-BE49-F238E27FC236}">
                <a16:creationId xmlns:a16="http://schemas.microsoft.com/office/drawing/2014/main" id="{178A3CB0-49AD-DDEB-571A-68342EC749F1}"/>
              </a:ext>
            </a:extLst>
          </p:cNvPr>
          <p:cNvSpPr>
            <a:spLocks noGrp="1"/>
          </p:cNvSpPr>
          <p:nvPr>
            <p:ph type="title"/>
          </p:nvPr>
        </p:nvSpPr>
        <p:spPr>
          <a:xfrm>
            <a:off x="306388" y="1885950"/>
            <a:ext cx="10180637" cy="4748213"/>
          </a:xfrm>
        </p:spPr>
        <p:txBody>
          <a:bodyPr rtlCol="0">
            <a:noAutofit/>
          </a:bodyPr>
          <a:lstStyle/>
          <a:p>
            <a:pPr marL="355600" indent="-355600" defTabSz="17190" eaLnBrk="1" fontAlgn="auto" hangingPunct="1">
              <a:defRPr/>
            </a:pPr>
            <a:br>
              <a:rPr lang="de-CH" dirty="0">
                <a:solidFill>
                  <a:schemeClr val="accent1"/>
                </a:solidFill>
              </a:rPr>
            </a:br>
            <a:r>
              <a:rPr lang="de-CH" dirty="0">
                <a:solidFill>
                  <a:schemeClr val="accent1"/>
                </a:solidFill>
              </a:rPr>
              <a:t>«Hier kann ein Zitat oder ein </a:t>
            </a:r>
            <a:r>
              <a:rPr lang="de-CH" dirty="0">
                <a:solidFill>
                  <a:schemeClr val="accent6"/>
                </a:solidFill>
              </a:rPr>
              <a:t>Statement</a:t>
            </a:r>
            <a:r>
              <a:rPr lang="de-CH" dirty="0"/>
              <a:t> s</a:t>
            </a:r>
            <a:r>
              <a:rPr lang="de-CH" dirty="0">
                <a:solidFill>
                  <a:schemeClr val="accent1"/>
                </a:solidFill>
              </a:rPr>
              <a:t>tehen.»</a:t>
            </a:r>
            <a:br>
              <a:rPr lang="de-CH" dirty="0">
                <a:solidFill>
                  <a:schemeClr val="accent1"/>
                </a:solidFill>
              </a:rPr>
            </a:br>
            <a:endParaRPr lang="de-CH" dirty="0"/>
          </a:p>
        </p:txBody>
      </p:sp>
      <p:sp>
        <p:nvSpPr>
          <p:cNvPr id="64516" name="Textfeld 4">
            <a:extLst>
              <a:ext uri="{FF2B5EF4-FFF2-40B4-BE49-F238E27FC236}">
                <a16:creationId xmlns:a16="http://schemas.microsoft.com/office/drawing/2014/main" id="{43BE10F4-A7AD-C5D7-15B3-CD145A6E99CB}"/>
              </a:ext>
            </a:extLst>
          </p:cNvPr>
          <p:cNvSpPr txBox="1">
            <a:spLocks noChangeArrowheads="1"/>
          </p:cNvSpPr>
          <p:nvPr/>
        </p:nvSpPr>
        <p:spPr bwMode="auto">
          <a:xfrm>
            <a:off x="306388" y="4106863"/>
            <a:ext cx="5629275" cy="3000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marL="355600">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600" dirty="0">
                <a:solidFill>
                  <a:schemeClr val="accent1"/>
                </a:solidFill>
                <a:latin typeface="Frutiger for ZKB Light" panose="020B0303030504020204" pitchFamily="34" charset="0"/>
              </a:rPr>
              <a:t>Vorname und Name (falls ein Zitat)</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0876C2F-824E-DFAB-5B0E-DC15215A3215}"/>
              </a:ext>
            </a:extLst>
          </p:cNvPr>
          <p:cNvGraphicFramePr>
            <a:graphicFrameLocks noChangeAspect="1"/>
          </p:cNvGraphicFramePr>
          <p:nvPr>
            <p:custDataLst>
              <p:tags r:id="rId1"/>
            </p:custDataLst>
            <p:extLst>
              <p:ext uri="{D42A27DB-BD31-4B8C-83A1-F6EECF244321}">
                <p14:modId xmlns:p14="http://schemas.microsoft.com/office/powerpoint/2010/main" val="3719334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272" imgH="272" progId="TCLayout.ActiveDocument.1">
                  <p:embed/>
                </p:oleObj>
              </mc:Choice>
              <mc:Fallback>
                <p:oleObj name="think-cell Folie" r:id="rId3" imgW="272" imgH="27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5538" name="Picture 2">
            <a:extLst>
              <a:ext uri="{FF2B5EF4-FFF2-40B4-BE49-F238E27FC236}">
                <a16:creationId xmlns:a16="http://schemas.microsoft.com/office/drawing/2014/main" id="{033DBFCA-CF39-E613-EF7F-A2C83232755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2906375" cy="723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hteck 13">
            <a:extLst>
              <a:ext uri="{FF2B5EF4-FFF2-40B4-BE49-F238E27FC236}">
                <a16:creationId xmlns:a16="http://schemas.microsoft.com/office/drawing/2014/main" id="{894A5F4E-9CB7-AE59-B35C-A3083D51B06B}"/>
              </a:ext>
            </a:extLst>
          </p:cNvPr>
          <p:cNvSpPr/>
          <p:nvPr/>
        </p:nvSpPr>
        <p:spPr>
          <a:xfrm rot="16200000">
            <a:off x="5718404" y="43486"/>
            <a:ext cx="7231063" cy="7144088"/>
          </a:xfrm>
          <a:prstGeom prst="rect">
            <a:avLst/>
          </a:prstGeom>
          <a:gradFill>
            <a:gsLst>
              <a:gs pos="18000">
                <a:srgbClr val="0A0A0A">
                  <a:alpha val="0"/>
                </a:srgbClr>
              </a:gs>
              <a:gs pos="66000">
                <a:srgbClr val="000000">
                  <a:alpha val="23000"/>
                </a:srgbClr>
              </a:gs>
            </a:gsLst>
            <a:lin ang="5400000" scaled="1"/>
          </a:gradFill>
          <a:ln w="6350" cap="flat" cmpd="sng" algn="ctr">
            <a:noFill/>
            <a:prstDash val="solid"/>
            <a:round/>
            <a:headEnd type="none" w="med" len="med"/>
            <a:tailEnd type="none" w="med" len="med"/>
          </a:ln>
          <a:effectLst/>
        </p:spPr>
        <p:txBody>
          <a:bodyPr lIns="0" tIns="0" rIns="0" bIns="0"/>
          <a:lstStyle/>
          <a:p>
            <a:pPr defTabSz="284221" eaLnBrk="1" hangingPunct="1">
              <a:lnSpc>
                <a:spcPct val="105000"/>
              </a:lnSpc>
              <a:spcBef>
                <a:spcPts val="0"/>
              </a:spcBef>
              <a:spcAft>
                <a:spcPts val="0"/>
              </a:spcAft>
              <a:buClr>
                <a:srgbClr val="003CB4"/>
              </a:buClr>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3" name="Rechteck 2">
            <a:extLst>
              <a:ext uri="{FF2B5EF4-FFF2-40B4-BE49-F238E27FC236}">
                <a16:creationId xmlns:a16="http://schemas.microsoft.com/office/drawing/2014/main" id="{3F9FE604-A2B6-9917-1222-61D347180A68}"/>
              </a:ext>
            </a:extLst>
          </p:cNvPr>
          <p:cNvSpPr/>
          <p:nvPr/>
        </p:nvSpPr>
        <p:spPr>
          <a:xfrm rot="16200000">
            <a:off x="2812255" y="-2837458"/>
            <a:ext cx="7231063" cy="12905978"/>
          </a:xfrm>
          <a:prstGeom prst="rect">
            <a:avLst/>
          </a:prstGeom>
          <a:gradFill>
            <a:gsLst>
              <a:gs pos="18000">
                <a:srgbClr val="0A0A0A">
                  <a:alpha val="0"/>
                </a:srgbClr>
              </a:gs>
              <a:gs pos="66000">
                <a:srgbClr val="000000">
                  <a:alpha val="25000"/>
                </a:srgbClr>
              </a:gs>
            </a:gsLst>
            <a:lin ang="5400000" scaled="1"/>
          </a:gradFill>
          <a:ln w="6350" cap="flat" cmpd="sng" algn="ctr">
            <a:noFill/>
            <a:prstDash val="solid"/>
            <a:round/>
            <a:headEnd type="none" w="med" len="med"/>
            <a:tailEnd type="none" w="med" len="med"/>
          </a:ln>
          <a:effectLst/>
        </p:spPr>
        <p:txBody>
          <a:bodyPr lIns="0" tIns="0" rIns="0" bIns="0"/>
          <a:lstStyle/>
          <a:p>
            <a:pPr defTabSz="284221" eaLnBrk="1" hangingPunct="1">
              <a:lnSpc>
                <a:spcPct val="105000"/>
              </a:lnSpc>
              <a:spcBef>
                <a:spcPts val="0"/>
              </a:spcBef>
              <a:spcAft>
                <a:spcPts val="0"/>
              </a:spcAft>
              <a:buClr>
                <a:srgbClr val="003CB4"/>
              </a:buClr>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2" name="Untertitel 2">
            <a:extLst>
              <a:ext uri="{FF2B5EF4-FFF2-40B4-BE49-F238E27FC236}">
                <a16:creationId xmlns:a16="http://schemas.microsoft.com/office/drawing/2014/main" id="{669DD30A-737D-A639-6CE5-BF0070924B42}"/>
              </a:ext>
            </a:extLst>
          </p:cNvPr>
          <p:cNvSpPr txBox="1">
            <a:spLocks/>
          </p:cNvSpPr>
          <p:nvPr/>
        </p:nvSpPr>
        <p:spPr>
          <a:xfrm>
            <a:off x="7011988" y="2543175"/>
            <a:ext cx="4348162" cy="2797175"/>
          </a:xfrm>
          <a:prstGeom prst="rect">
            <a:avLst/>
          </a:prstGeom>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mn-lt"/>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mn-lt"/>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ts val="3360"/>
              </a:lnSpc>
              <a:defRPr/>
            </a:pPr>
            <a:r>
              <a:rPr lang="de-CH" sz="2800" b="1" dirty="0">
                <a:solidFill>
                  <a:schemeClr val="bg1"/>
                </a:solidFill>
              </a:rPr>
              <a:t>Lorem ipsum dolor sit amet, consetetur sadipscing elitr, sed diam </a:t>
            </a:r>
            <a:r>
              <a:rPr lang="de-CH" sz="2800" b="1" dirty="0">
                <a:solidFill>
                  <a:schemeClr val="accent6"/>
                </a:solidFill>
              </a:rPr>
              <a:t>nonumy eirmod </a:t>
            </a:r>
            <a:r>
              <a:rPr lang="de-CH" sz="2800" b="1" dirty="0">
                <a:solidFill>
                  <a:schemeClr val="bg1"/>
                </a:solidFill>
              </a:rPr>
              <a:t>tempor invidunt ut labore et dolore magna.</a:t>
            </a:r>
          </a:p>
        </p:txBody>
      </p:sp>
      <p:grpSp>
        <p:nvGrpSpPr>
          <p:cNvPr id="7" name="Gruppieren 6">
            <a:extLst>
              <a:ext uri="{FF2B5EF4-FFF2-40B4-BE49-F238E27FC236}">
                <a16:creationId xmlns:a16="http://schemas.microsoft.com/office/drawing/2014/main" id="{BADAE806-F760-9EEB-FF29-A961BF9E4BA9}"/>
              </a:ext>
            </a:extLst>
          </p:cNvPr>
          <p:cNvGrpSpPr/>
          <p:nvPr/>
        </p:nvGrpSpPr>
        <p:grpSpPr>
          <a:xfrm>
            <a:off x="8965319" y="735013"/>
            <a:ext cx="3333044" cy="738187"/>
            <a:chOff x="8965319" y="735013"/>
            <a:chExt cx="3333044" cy="738187"/>
          </a:xfrm>
        </p:grpSpPr>
        <p:pic>
          <p:nvPicPr>
            <p:cNvPr id="5" name="Grafik 4">
              <a:extLst>
                <a:ext uri="{FF2B5EF4-FFF2-40B4-BE49-F238E27FC236}">
                  <a16:creationId xmlns:a16="http://schemas.microsoft.com/office/drawing/2014/main" id="{B1BA0445-A27B-DC44-1CE1-88AF0701276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65319" y="793630"/>
              <a:ext cx="551423" cy="551423"/>
            </a:xfrm>
            <a:prstGeom prst="rect">
              <a:avLst/>
            </a:prstGeom>
          </p:spPr>
        </p:pic>
        <p:sp>
          <p:nvSpPr>
            <p:cNvPr id="65547" name="Textfeld 24">
              <a:extLst>
                <a:ext uri="{FF2B5EF4-FFF2-40B4-BE49-F238E27FC236}">
                  <a16:creationId xmlns:a16="http://schemas.microsoft.com/office/drawing/2014/main" id="{DAD2918E-0832-33E5-D0D5-B1DB0B35639F}"/>
                </a:ext>
              </a:extLst>
            </p:cNvPr>
            <p:cNvSpPr txBox="1">
              <a:spLocks noChangeArrowheads="1"/>
            </p:cNvSpPr>
            <p:nvPr/>
          </p:nvSpPr>
          <p:spPr bwMode="auto">
            <a:xfrm>
              <a:off x="9789763" y="735013"/>
              <a:ext cx="2508600" cy="7381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solidFill>
                    <a:srgbClr val="FFFFFF"/>
                  </a:solidFill>
                </a:rPr>
                <a:t>Tipp: </a:t>
              </a:r>
              <a:r>
                <a:rPr lang="de-CH" altLang="de-DE" dirty="0">
                  <a:solidFill>
                    <a:srgbClr val="FFFFFF"/>
                  </a:solidFill>
                </a:rPr>
                <a:t>Folie enthält eine</a:t>
              </a:r>
              <a:br>
                <a:rPr lang="de-CH" altLang="de-DE" dirty="0">
                  <a:solidFill>
                    <a:srgbClr val="FFFFFF"/>
                  </a:solidFill>
                </a:rPr>
              </a:br>
              <a:r>
                <a:rPr lang="de-CH" altLang="de-DE" dirty="0">
                  <a:solidFill>
                    <a:srgbClr val="FFFFFF"/>
                  </a:solidFill>
                </a:rPr>
                <a:t>optionale Abdunklung </a:t>
              </a:r>
              <a:br>
                <a:rPr lang="de-CH" altLang="de-DE" dirty="0">
                  <a:solidFill>
                    <a:srgbClr val="FFFFFF"/>
                  </a:solidFill>
                </a:rPr>
              </a:br>
              <a:r>
                <a:rPr lang="de-CH" altLang="de-DE" dirty="0">
                  <a:solidFill>
                    <a:srgbClr val="FFFFFF"/>
                  </a:solidFill>
                </a:rPr>
                <a:t>zur besseren Lesbarkeit.</a:t>
              </a:r>
            </a:p>
          </p:txBody>
        </p:sp>
      </p:gr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2" name="Grafik 13">
            <a:extLst>
              <a:ext uri="{FF2B5EF4-FFF2-40B4-BE49-F238E27FC236}">
                <a16:creationId xmlns:a16="http://schemas.microsoft.com/office/drawing/2014/main" id="{14C16864-4657-6893-9BDF-7CD3420BFB1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882563" cy="723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hteck 14">
            <a:extLst>
              <a:ext uri="{FF2B5EF4-FFF2-40B4-BE49-F238E27FC236}">
                <a16:creationId xmlns:a16="http://schemas.microsoft.com/office/drawing/2014/main" id="{1AA83831-09B9-EB35-D9FC-765335946106}"/>
              </a:ext>
            </a:extLst>
          </p:cNvPr>
          <p:cNvSpPr/>
          <p:nvPr/>
        </p:nvSpPr>
        <p:spPr>
          <a:xfrm rot="5400000">
            <a:off x="2839043" y="-2839042"/>
            <a:ext cx="7212040" cy="12890125"/>
          </a:xfrm>
          <a:prstGeom prst="rect">
            <a:avLst/>
          </a:prstGeom>
          <a:gradFill>
            <a:gsLst>
              <a:gs pos="18000">
                <a:srgbClr val="0A0A0A">
                  <a:alpha val="0"/>
                </a:srgbClr>
              </a:gs>
              <a:gs pos="66000">
                <a:srgbClr val="000000">
                  <a:alpha val="12000"/>
                </a:srgbClr>
              </a:gs>
            </a:gsLst>
            <a:lin ang="5400000" scaled="1"/>
          </a:gradFill>
          <a:ln w="6350" cap="flat" cmpd="sng" algn="ctr">
            <a:noFill/>
            <a:prstDash val="solid"/>
            <a:round/>
            <a:headEnd type="none" w="med" len="med"/>
            <a:tailEnd type="none" w="med" len="med"/>
          </a:ln>
          <a:effectLst/>
        </p:spPr>
        <p:txBody>
          <a:bodyPr lIns="0" tIns="0" rIns="0" bIns="0"/>
          <a:lstStyle/>
          <a:p>
            <a:pPr defTabSz="284221" eaLnBrk="1" hangingPunct="1">
              <a:lnSpc>
                <a:spcPct val="105000"/>
              </a:lnSpc>
              <a:spcBef>
                <a:spcPts val="0"/>
              </a:spcBef>
              <a:spcAft>
                <a:spcPts val="0"/>
              </a:spcAft>
              <a:buClr>
                <a:srgbClr val="003CB4"/>
              </a:buClr>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66566" name="Untertitel 2">
            <a:extLst>
              <a:ext uri="{FF2B5EF4-FFF2-40B4-BE49-F238E27FC236}">
                <a16:creationId xmlns:a16="http://schemas.microsoft.com/office/drawing/2014/main" id="{41427248-691B-8D17-8B38-B8C397C64151}"/>
              </a:ext>
            </a:extLst>
          </p:cNvPr>
          <p:cNvSpPr txBox="1">
            <a:spLocks noChangeArrowheads="1"/>
          </p:cNvSpPr>
          <p:nvPr/>
        </p:nvSpPr>
        <p:spPr bwMode="auto">
          <a:xfrm>
            <a:off x="611188" y="1931988"/>
            <a:ext cx="4348162" cy="279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ts val="3363"/>
              </a:lnSpc>
            </a:pPr>
            <a:r>
              <a:rPr lang="de-CH" altLang="de-DE" sz="2800" b="1" dirty="0">
                <a:solidFill>
                  <a:schemeClr val="bg1"/>
                </a:solidFill>
              </a:rPr>
              <a:t>Lorem ipsum dolor sit amet, consetetur sadipscing elitr, sed diam nonumy eirmod tempor invidunt ut labore et dolore magna.</a:t>
            </a:r>
          </a:p>
        </p:txBody>
      </p:sp>
      <p:grpSp>
        <p:nvGrpSpPr>
          <p:cNvPr id="2" name="Gruppieren 1">
            <a:extLst>
              <a:ext uri="{FF2B5EF4-FFF2-40B4-BE49-F238E27FC236}">
                <a16:creationId xmlns:a16="http://schemas.microsoft.com/office/drawing/2014/main" id="{71E0EB0E-E82B-203A-45FE-74488BBC32C3}"/>
              </a:ext>
            </a:extLst>
          </p:cNvPr>
          <p:cNvGrpSpPr/>
          <p:nvPr/>
        </p:nvGrpSpPr>
        <p:grpSpPr>
          <a:xfrm>
            <a:off x="8965319" y="4911675"/>
            <a:ext cx="3333044" cy="738187"/>
            <a:chOff x="8965319" y="735013"/>
            <a:chExt cx="3333044" cy="738187"/>
          </a:xfrm>
        </p:grpSpPr>
        <p:pic>
          <p:nvPicPr>
            <p:cNvPr id="3" name="Grafik 2">
              <a:extLst>
                <a:ext uri="{FF2B5EF4-FFF2-40B4-BE49-F238E27FC236}">
                  <a16:creationId xmlns:a16="http://schemas.microsoft.com/office/drawing/2014/main" id="{B50EA392-D6DF-2DD5-BAD8-5751D8C797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65319" y="793630"/>
              <a:ext cx="551423" cy="551423"/>
            </a:xfrm>
            <a:prstGeom prst="rect">
              <a:avLst/>
            </a:prstGeom>
          </p:spPr>
        </p:pic>
        <p:sp>
          <p:nvSpPr>
            <p:cNvPr id="4" name="Textfeld 24">
              <a:extLst>
                <a:ext uri="{FF2B5EF4-FFF2-40B4-BE49-F238E27FC236}">
                  <a16:creationId xmlns:a16="http://schemas.microsoft.com/office/drawing/2014/main" id="{4283DC06-F956-6061-0071-79801D7B69D9}"/>
                </a:ext>
              </a:extLst>
            </p:cNvPr>
            <p:cNvSpPr txBox="1">
              <a:spLocks noChangeArrowheads="1"/>
            </p:cNvSpPr>
            <p:nvPr/>
          </p:nvSpPr>
          <p:spPr bwMode="auto">
            <a:xfrm>
              <a:off x="9789763" y="735013"/>
              <a:ext cx="2508600" cy="7381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solidFill>
                    <a:srgbClr val="FFFFFF"/>
                  </a:solidFill>
                </a:rPr>
                <a:t>Tipp: </a:t>
              </a:r>
              <a:r>
                <a:rPr lang="de-CH" altLang="de-DE" dirty="0">
                  <a:solidFill>
                    <a:srgbClr val="FFFFFF"/>
                  </a:solidFill>
                </a:rPr>
                <a:t>Folie enthält eine</a:t>
              </a:r>
              <a:br>
                <a:rPr lang="de-CH" altLang="de-DE" dirty="0">
                  <a:solidFill>
                    <a:srgbClr val="FFFFFF"/>
                  </a:solidFill>
                </a:rPr>
              </a:br>
              <a:r>
                <a:rPr lang="de-CH" altLang="de-DE" dirty="0">
                  <a:solidFill>
                    <a:srgbClr val="FFFFFF"/>
                  </a:solidFill>
                </a:rPr>
                <a:t>optionale Abdunklung </a:t>
              </a:r>
              <a:br>
                <a:rPr lang="de-CH" altLang="de-DE" dirty="0">
                  <a:solidFill>
                    <a:srgbClr val="FFFFFF"/>
                  </a:solidFill>
                </a:rPr>
              </a:br>
              <a:r>
                <a:rPr lang="de-CH" altLang="de-DE" dirty="0">
                  <a:solidFill>
                    <a:srgbClr val="FFFFFF"/>
                  </a:solidFill>
                </a:rPr>
                <a:t>zur besseren Lesbarkeit.</a:t>
              </a:r>
            </a:p>
          </p:txBody>
        </p:sp>
      </p:gr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6" name="Grafik 21">
            <a:extLst>
              <a:ext uri="{FF2B5EF4-FFF2-40B4-BE49-F238E27FC236}">
                <a16:creationId xmlns:a16="http://schemas.microsoft.com/office/drawing/2014/main" id="{4555B8AF-C6E3-B498-A3A6-FF0607349C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8" y="0"/>
            <a:ext cx="12857163" cy="723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7587" name="think-cell data - do not delete" hidden="1">
            <a:extLst>
              <a:ext uri="{FF2B5EF4-FFF2-40B4-BE49-F238E27FC236}">
                <a16:creationId xmlns:a16="http://schemas.microsoft.com/office/drawing/2014/main" id="{5599E8E9-8F4E-E590-9735-75325ED3310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0" imgH="350" progId="TCLayout.ActiveDocument.1">
                  <p:embed/>
                </p:oleObj>
              </mc:Choice>
              <mc:Fallback>
                <p:oleObj name="think-cell Folie" r:id="rId4" imgW="350" imgH="350" progId="TCLayout.ActiveDocument.1">
                  <p:embed/>
                  <p:pic>
                    <p:nvPicPr>
                      <p:cNvPr id="67587" name="think-cell data - do not delete" hidden="1">
                        <a:extLst>
                          <a:ext uri="{FF2B5EF4-FFF2-40B4-BE49-F238E27FC236}">
                            <a16:creationId xmlns:a16="http://schemas.microsoft.com/office/drawing/2014/main" id="{5599E8E9-8F4E-E590-9735-75325ED3310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7588" name="Textfeld 8">
            <a:extLst>
              <a:ext uri="{FF2B5EF4-FFF2-40B4-BE49-F238E27FC236}">
                <a16:creationId xmlns:a16="http://schemas.microsoft.com/office/drawing/2014/main" id="{ADC5956C-CA82-D482-064E-224AB7F017CC}"/>
              </a:ext>
            </a:extLst>
          </p:cNvPr>
          <p:cNvSpPr txBox="1">
            <a:spLocks noChangeArrowheads="1"/>
          </p:cNvSpPr>
          <p:nvPr/>
        </p:nvSpPr>
        <p:spPr bwMode="auto">
          <a:xfrm>
            <a:off x="-1511300" y="44069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67589" name="Inhaltsplatzhalter 2">
            <a:extLst>
              <a:ext uri="{FF2B5EF4-FFF2-40B4-BE49-F238E27FC236}">
                <a16:creationId xmlns:a16="http://schemas.microsoft.com/office/drawing/2014/main" id="{765BB4AC-A677-C8DB-9C56-4DE4D4D627AE}"/>
              </a:ext>
            </a:extLst>
          </p:cNvPr>
          <p:cNvSpPr txBox="1">
            <a:spLocks noChangeArrowheads="1"/>
          </p:cNvSpPr>
          <p:nvPr/>
        </p:nvSpPr>
        <p:spPr bwMode="auto">
          <a:xfrm>
            <a:off x="766763" y="4048125"/>
            <a:ext cx="3671887" cy="151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sz="2000" b="1" dirty="0">
                <a:solidFill>
                  <a:schemeClr val="bg1"/>
                </a:solidFill>
              </a:rPr>
              <a:t>At vero eos et accusam </a:t>
            </a:r>
            <a:br>
              <a:rPr lang="de-CH" altLang="de-DE" sz="2000" b="1" dirty="0">
                <a:solidFill>
                  <a:schemeClr val="bg1"/>
                </a:solidFill>
              </a:rPr>
            </a:br>
            <a:r>
              <a:rPr lang="de-CH" altLang="de-DE" sz="2000" b="1" dirty="0">
                <a:solidFill>
                  <a:schemeClr val="bg1"/>
                </a:solidFill>
              </a:rPr>
              <a:t>et justo duo dolores. </a:t>
            </a:r>
            <a:br>
              <a:rPr lang="de-CH" altLang="de-DE" sz="2000" b="1" dirty="0">
                <a:solidFill>
                  <a:schemeClr val="bg1"/>
                </a:solidFill>
              </a:rPr>
            </a:br>
            <a:r>
              <a:rPr lang="de-CH" altLang="de-DE" sz="2000" b="1" dirty="0">
                <a:solidFill>
                  <a:schemeClr val="bg1"/>
                </a:solidFill>
              </a:rPr>
              <a:t>At vero eos et accusam </a:t>
            </a:r>
            <a:br>
              <a:rPr lang="de-CH" altLang="de-DE" sz="2000" b="1" dirty="0">
                <a:solidFill>
                  <a:schemeClr val="bg1"/>
                </a:solidFill>
              </a:rPr>
            </a:br>
            <a:r>
              <a:rPr lang="de-CH" altLang="de-DE" sz="2000" b="1" dirty="0">
                <a:solidFill>
                  <a:schemeClr val="bg1"/>
                </a:solidFill>
              </a:rPr>
              <a:t>et justo duo dolores.</a:t>
            </a:r>
          </a:p>
          <a:p>
            <a:pPr eaLnBrk="1" hangingPunct="1">
              <a:buClrTx/>
              <a:buFontTx/>
              <a:buNone/>
            </a:pPr>
            <a:endParaRPr lang="de-CH" altLang="de-DE" sz="2000" b="1" dirty="0">
              <a:solidFill>
                <a:schemeClr val="bg1"/>
              </a:solidFill>
            </a:endParaRPr>
          </a:p>
        </p:txBody>
      </p:sp>
      <p:sp>
        <p:nvSpPr>
          <p:cNvPr id="67590" name="Inhaltsplatzhalter 2">
            <a:extLst>
              <a:ext uri="{FF2B5EF4-FFF2-40B4-BE49-F238E27FC236}">
                <a16:creationId xmlns:a16="http://schemas.microsoft.com/office/drawing/2014/main" id="{663E1016-5853-3621-46D2-A86DADD723F8}"/>
              </a:ext>
            </a:extLst>
          </p:cNvPr>
          <p:cNvSpPr txBox="1">
            <a:spLocks noChangeArrowheads="1"/>
          </p:cNvSpPr>
          <p:nvPr/>
        </p:nvSpPr>
        <p:spPr bwMode="auto">
          <a:xfrm>
            <a:off x="592138" y="2244725"/>
            <a:ext cx="3344862" cy="151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sz="12000" b="1" dirty="0">
                <a:solidFill>
                  <a:schemeClr val="bg1"/>
                </a:solidFill>
              </a:rPr>
              <a:t>15%</a:t>
            </a:r>
          </a:p>
        </p:txBody>
      </p:sp>
      <p:sp>
        <p:nvSpPr>
          <p:cNvPr id="13" name="Titel 1">
            <a:extLst>
              <a:ext uri="{FF2B5EF4-FFF2-40B4-BE49-F238E27FC236}">
                <a16:creationId xmlns:a16="http://schemas.microsoft.com/office/drawing/2014/main" id="{A1FB91A2-36CE-3F65-38E0-BADB0C9A33EE}"/>
              </a:ext>
            </a:extLst>
          </p:cNvPr>
          <p:cNvSpPr txBox="1">
            <a:spLocks/>
          </p:cNvSpPr>
          <p:nvPr/>
        </p:nvSpPr>
        <p:spPr>
          <a:xfrm>
            <a:off x="306388" y="287338"/>
            <a:ext cx="10180637" cy="863600"/>
          </a:xfrm>
          <a:prstGeom prst="rect">
            <a:avLst/>
          </a:prstGeom>
          <a:ln>
            <a:solidFill>
              <a:schemeClr val="bg1">
                <a:lumMod val="75000"/>
                <a:alpha val="0"/>
              </a:schemeClr>
            </a:solidFill>
          </a:ln>
        </p:spPr>
        <p:txBody>
          <a:bodyPr lIns="0" tIns="0" rIns="0" bIns="0"/>
          <a:lstStyle>
            <a:lvl1pPr marL="0" indent="0" algn="l" defTabSz="17190" rtl="0" eaLnBrk="1" latinLnBrk="0" hangingPunct="1">
              <a:lnSpc>
                <a:spcPct val="95000"/>
              </a:lnSpc>
              <a:spcBef>
                <a:spcPts val="0"/>
              </a:spcBef>
              <a:spcAft>
                <a:spcPts val="0"/>
              </a:spcAft>
              <a:buNone/>
              <a:defRPr sz="2800" b="1" i="0" u="none" kern="1200">
                <a:solidFill>
                  <a:srgbClr val="003CB4"/>
                </a:solidFill>
                <a:latin typeface="Frutiger for ZKB Light" panose="020B0303030504020204" pitchFamily="34" charset="0"/>
                <a:ea typeface="+mj-ea"/>
                <a:cs typeface="+mj-cs"/>
              </a:defRPr>
            </a:lvl1pPr>
          </a:lstStyle>
          <a:p>
            <a:pPr fontAlgn="auto">
              <a:defRPr/>
            </a:pPr>
            <a:r>
              <a:rPr lang="de-CH" dirty="0">
                <a:solidFill>
                  <a:schemeClr val="bg1"/>
                </a:solidFill>
              </a:rPr>
              <a:t>Folientitel (max. zweizeilig)</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610" name="Grafik 3">
            <a:extLst>
              <a:ext uri="{FF2B5EF4-FFF2-40B4-BE49-F238E27FC236}">
                <a16:creationId xmlns:a16="http://schemas.microsoft.com/office/drawing/2014/main" id="{88009112-C38E-502C-B9F4-D7F2484448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855575" cy="723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8611" name="think-cell data - do not delete" hidden="1">
            <a:extLst>
              <a:ext uri="{FF2B5EF4-FFF2-40B4-BE49-F238E27FC236}">
                <a16:creationId xmlns:a16="http://schemas.microsoft.com/office/drawing/2014/main" id="{492110D9-302E-E9D5-4C06-208DF4252BC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0" imgH="350" progId="TCLayout.ActiveDocument.1">
                  <p:embed/>
                </p:oleObj>
              </mc:Choice>
              <mc:Fallback>
                <p:oleObj name="think-cell Folie" r:id="rId4" imgW="350" imgH="350" progId="TCLayout.ActiveDocument.1">
                  <p:embed/>
                  <p:pic>
                    <p:nvPicPr>
                      <p:cNvPr id="68611" name="think-cell data - do not delete" hidden="1">
                        <a:extLst>
                          <a:ext uri="{FF2B5EF4-FFF2-40B4-BE49-F238E27FC236}">
                            <a16:creationId xmlns:a16="http://schemas.microsoft.com/office/drawing/2014/main" id="{492110D9-302E-E9D5-4C06-208DF4252BC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hteck 4">
            <a:extLst>
              <a:ext uri="{FF2B5EF4-FFF2-40B4-BE49-F238E27FC236}">
                <a16:creationId xmlns:a16="http://schemas.microsoft.com/office/drawing/2014/main" id="{B44D8028-DE61-A9A3-55A6-028380621CB3}"/>
              </a:ext>
            </a:extLst>
          </p:cNvPr>
          <p:cNvSpPr/>
          <p:nvPr/>
        </p:nvSpPr>
        <p:spPr>
          <a:xfrm rot="5400000">
            <a:off x="-811595" y="804642"/>
            <a:ext cx="7244962" cy="5621775"/>
          </a:xfrm>
          <a:prstGeom prst="rect">
            <a:avLst/>
          </a:prstGeom>
          <a:gradFill>
            <a:gsLst>
              <a:gs pos="96000">
                <a:srgbClr val="0A0A0A">
                  <a:alpha val="43000"/>
                </a:srgbClr>
              </a:gs>
              <a:gs pos="0">
                <a:schemeClr val="bg1">
                  <a:alpha val="0"/>
                </a:schemeClr>
              </a:gs>
            </a:gsLst>
            <a:lin ang="5400000" scaled="1"/>
          </a:gradFill>
          <a:ln w="6350" cap="flat" cmpd="sng" algn="ctr">
            <a:noFill/>
            <a:prstDash val="solid"/>
            <a:round/>
            <a:headEnd type="none" w="med" len="med"/>
            <a:tailEnd type="none" w="med" len="med"/>
          </a:ln>
          <a:effectLst/>
        </p:spPr>
        <p:txBody>
          <a:bodyPr lIns="0" tIns="0" rIns="0" bIns="0"/>
          <a:lstStyle/>
          <a:p>
            <a:pPr defTabSz="284221" eaLnBrk="1" hangingPunct="1">
              <a:lnSpc>
                <a:spcPct val="105000"/>
              </a:lnSpc>
              <a:spcBef>
                <a:spcPts val="0"/>
              </a:spcBef>
              <a:spcAft>
                <a:spcPts val="0"/>
              </a:spcAft>
              <a:buFont typeface="Frutiger for ZKB Light" panose="020B0303030504020204" pitchFamily="34" charset="0"/>
              <a:buNone/>
              <a:defRPr/>
            </a:pPr>
            <a:endParaRPr lang="de-CH" sz="1600" b="1" dirty="0">
              <a:solidFill>
                <a:srgbClr val="003CB4"/>
              </a:solidFill>
              <a:latin typeface="Frutiger for ZKB Light" panose="020B0303030504020204" pitchFamily="34" charset="0"/>
            </a:endParaRPr>
          </a:p>
        </p:txBody>
      </p:sp>
      <p:sp>
        <p:nvSpPr>
          <p:cNvPr id="68615" name="Textfeld 8">
            <a:extLst>
              <a:ext uri="{FF2B5EF4-FFF2-40B4-BE49-F238E27FC236}">
                <a16:creationId xmlns:a16="http://schemas.microsoft.com/office/drawing/2014/main" id="{45BF430A-A430-D8D0-C84D-8F15C109A138}"/>
              </a:ext>
            </a:extLst>
          </p:cNvPr>
          <p:cNvSpPr txBox="1">
            <a:spLocks noChangeArrowheads="1"/>
          </p:cNvSpPr>
          <p:nvPr/>
        </p:nvSpPr>
        <p:spPr bwMode="auto">
          <a:xfrm>
            <a:off x="-1511300" y="44069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2" name="Titel 4">
            <a:extLst>
              <a:ext uri="{FF2B5EF4-FFF2-40B4-BE49-F238E27FC236}">
                <a16:creationId xmlns:a16="http://schemas.microsoft.com/office/drawing/2014/main" id="{125E0F96-2EF9-4768-E3D3-6C30A23A6B92}"/>
              </a:ext>
            </a:extLst>
          </p:cNvPr>
          <p:cNvSpPr txBox="1">
            <a:spLocks/>
          </p:cNvSpPr>
          <p:nvPr/>
        </p:nvSpPr>
        <p:spPr>
          <a:xfrm>
            <a:off x="681038" y="2744788"/>
            <a:ext cx="4824412" cy="1908175"/>
          </a:xfrm>
          <a:prstGeom prst="rect">
            <a:avLst/>
          </a:prstGeom>
        </p:spPr>
        <p:txBody>
          <a:bodyPr lIns="0" tIns="0" rIns="0" bIns="0"/>
          <a:lstStyle>
            <a:lvl1pPr marL="0" indent="0" algn="l" defTabSz="964143" rtl="0" eaLnBrk="1" latinLnBrk="0" hangingPunct="1">
              <a:lnSpc>
                <a:spcPct val="95000"/>
              </a:lnSpc>
              <a:spcBef>
                <a:spcPts val="0"/>
              </a:spcBef>
              <a:spcAft>
                <a:spcPts val="0"/>
              </a:spcAft>
              <a:buNone/>
              <a:defRPr sz="2700" b="1" i="0" u="none" kern="1200">
                <a:solidFill>
                  <a:srgbClr val="003CB4"/>
                </a:solidFill>
                <a:latin typeface="Frutiger for ZKB Light" panose="020B0303030504020204" pitchFamily="34" charset="0"/>
                <a:ea typeface="+mj-ea"/>
                <a:cs typeface="+mj-cs"/>
              </a:defRPr>
            </a:lvl1pPr>
          </a:lstStyle>
          <a:p>
            <a:pPr>
              <a:defRPr/>
            </a:pPr>
            <a:r>
              <a:rPr lang="de-CH" sz="4400" dirty="0">
                <a:solidFill>
                  <a:schemeClr val="lt1"/>
                </a:solidFill>
              </a:rPr>
              <a:t>«At vero eos et </a:t>
            </a:r>
            <a:r>
              <a:rPr lang="de-CH" sz="4400" dirty="0">
                <a:solidFill>
                  <a:schemeClr val="accent6"/>
                </a:solidFill>
              </a:rPr>
              <a:t>accusam</a:t>
            </a:r>
            <a:r>
              <a:rPr lang="de-CH" sz="4400" dirty="0">
                <a:solidFill>
                  <a:schemeClr val="lt1"/>
                </a:solidFill>
              </a:rPr>
              <a:t> et justo duo dolores.»</a:t>
            </a:r>
          </a:p>
        </p:txBody>
      </p:sp>
      <p:sp>
        <p:nvSpPr>
          <p:cNvPr id="68617" name="Inhaltsplatzhalter 2">
            <a:extLst>
              <a:ext uri="{FF2B5EF4-FFF2-40B4-BE49-F238E27FC236}">
                <a16:creationId xmlns:a16="http://schemas.microsoft.com/office/drawing/2014/main" id="{85F2CB0A-6AD1-8564-3B9B-65F65D3DE9AF}"/>
              </a:ext>
            </a:extLst>
          </p:cNvPr>
          <p:cNvSpPr txBox="1">
            <a:spLocks noChangeArrowheads="1"/>
          </p:cNvSpPr>
          <p:nvPr/>
        </p:nvSpPr>
        <p:spPr bwMode="auto">
          <a:xfrm>
            <a:off x="704850" y="4767263"/>
            <a:ext cx="3095625"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sz="1800" dirty="0">
                <a:solidFill>
                  <a:schemeClr val="bg1"/>
                </a:solidFill>
              </a:rPr>
              <a:t>At vero eos et accusam </a:t>
            </a:r>
            <a:br>
              <a:rPr lang="de-CH" altLang="de-DE" sz="1800" dirty="0">
                <a:solidFill>
                  <a:schemeClr val="bg1"/>
                </a:solidFill>
              </a:rPr>
            </a:br>
            <a:r>
              <a:rPr lang="de-CH" altLang="de-DE" sz="1800" dirty="0">
                <a:solidFill>
                  <a:schemeClr val="bg1"/>
                </a:solidFill>
              </a:rPr>
              <a:t>et justo duo dolores.</a:t>
            </a:r>
          </a:p>
        </p:txBody>
      </p:sp>
      <p:sp>
        <p:nvSpPr>
          <p:cNvPr id="17" name="Titel 1">
            <a:extLst>
              <a:ext uri="{FF2B5EF4-FFF2-40B4-BE49-F238E27FC236}">
                <a16:creationId xmlns:a16="http://schemas.microsoft.com/office/drawing/2014/main" id="{50DF145C-FBA6-BABD-2E1E-88863E41DEE4}"/>
              </a:ext>
            </a:extLst>
          </p:cNvPr>
          <p:cNvSpPr txBox="1">
            <a:spLocks/>
          </p:cNvSpPr>
          <p:nvPr/>
        </p:nvSpPr>
        <p:spPr>
          <a:xfrm>
            <a:off x="306388" y="287338"/>
            <a:ext cx="10180637" cy="863600"/>
          </a:xfrm>
          <a:prstGeom prst="rect">
            <a:avLst/>
          </a:prstGeom>
          <a:ln>
            <a:solidFill>
              <a:schemeClr val="bg1">
                <a:lumMod val="75000"/>
                <a:alpha val="0"/>
              </a:schemeClr>
            </a:solidFill>
          </a:ln>
        </p:spPr>
        <p:txBody>
          <a:bodyPr lIns="0" tIns="0" rIns="0" bIns="0"/>
          <a:lstStyle>
            <a:lvl1pPr marL="0" indent="0" algn="l" defTabSz="17190" rtl="0" eaLnBrk="1" latinLnBrk="0" hangingPunct="1">
              <a:lnSpc>
                <a:spcPct val="95000"/>
              </a:lnSpc>
              <a:spcBef>
                <a:spcPts val="0"/>
              </a:spcBef>
              <a:spcAft>
                <a:spcPts val="0"/>
              </a:spcAft>
              <a:buNone/>
              <a:defRPr sz="2800" b="1" i="0" u="none" kern="1200">
                <a:solidFill>
                  <a:srgbClr val="003CB4"/>
                </a:solidFill>
                <a:latin typeface="Frutiger for ZKB Light" panose="020B0303030504020204" pitchFamily="34" charset="0"/>
                <a:ea typeface="+mj-ea"/>
                <a:cs typeface="+mj-cs"/>
              </a:defRPr>
            </a:lvl1pPr>
          </a:lstStyle>
          <a:p>
            <a:pPr fontAlgn="auto">
              <a:defRPr/>
            </a:pPr>
            <a:r>
              <a:rPr lang="de-CH" dirty="0">
                <a:solidFill>
                  <a:schemeClr val="bg1"/>
                </a:solidFill>
              </a:rPr>
              <a:t>Folientitel (max. zweizeilig)</a:t>
            </a:r>
          </a:p>
        </p:txBody>
      </p:sp>
      <p:grpSp>
        <p:nvGrpSpPr>
          <p:cNvPr id="3" name="Gruppieren 2">
            <a:extLst>
              <a:ext uri="{FF2B5EF4-FFF2-40B4-BE49-F238E27FC236}">
                <a16:creationId xmlns:a16="http://schemas.microsoft.com/office/drawing/2014/main" id="{6C433B9F-6D91-50B6-165E-17BFD3E64F91}"/>
              </a:ext>
            </a:extLst>
          </p:cNvPr>
          <p:cNvGrpSpPr/>
          <p:nvPr/>
        </p:nvGrpSpPr>
        <p:grpSpPr>
          <a:xfrm>
            <a:off x="9431447" y="429072"/>
            <a:ext cx="3333044" cy="738187"/>
            <a:chOff x="8965319" y="735013"/>
            <a:chExt cx="3333044" cy="738187"/>
          </a:xfrm>
        </p:grpSpPr>
        <p:pic>
          <p:nvPicPr>
            <p:cNvPr id="4" name="Grafik 3">
              <a:extLst>
                <a:ext uri="{FF2B5EF4-FFF2-40B4-BE49-F238E27FC236}">
                  <a16:creationId xmlns:a16="http://schemas.microsoft.com/office/drawing/2014/main" id="{FD32A712-8E31-68C3-2513-34AF4A1B665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65319" y="793630"/>
              <a:ext cx="551423" cy="551423"/>
            </a:xfrm>
            <a:prstGeom prst="rect">
              <a:avLst/>
            </a:prstGeom>
          </p:spPr>
        </p:pic>
        <p:sp>
          <p:nvSpPr>
            <p:cNvPr id="6" name="Textfeld 24">
              <a:extLst>
                <a:ext uri="{FF2B5EF4-FFF2-40B4-BE49-F238E27FC236}">
                  <a16:creationId xmlns:a16="http://schemas.microsoft.com/office/drawing/2014/main" id="{CB773481-C7D3-1AF9-8F19-4A0B6FD40124}"/>
                </a:ext>
              </a:extLst>
            </p:cNvPr>
            <p:cNvSpPr txBox="1">
              <a:spLocks noChangeArrowheads="1"/>
            </p:cNvSpPr>
            <p:nvPr/>
          </p:nvSpPr>
          <p:spPr bwMode="auto">
            <a:xfrm>
              <a:off x="9789763" y="735013"/>
              <a:ext cx="2508600" cy="7381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solidFill>
                    <a:srgbClr val="FFFFFF"/>
                  </a:solidFill>
                </a:rPr>
                <a:t>Tipp: </a:t>
              </a:r>
              <a:r>
                <a:rPr lang="de-CH" altLang="de-DE" dirty="0">
                  <a:solidFill>
                    <a:srgbClr val="FFFFFF"/>
                  </a:solidFill>
                </a:rPr>
                <a:t>Folie enthält eine</a:t>
              </a:r>
              <a:br>
                <a:rPr lang="de-CH" altLang="de-DE" dirty="0">
                  <a:solidFill>
                    <a:srgbClr val="FFFFFF"/>
                  </a:solidFill>
                </a:rPr>
              </a:br>
              <a:r>
                <a:rPr lang="de-CH" altLang="de-DE" dirty="0">
                  <a:solidFill>
                    <a:srgbClr val="FFFFFF"/>
                  </a:solidFill>
                </a:rPr>
                <a:t>optionale Abdunklung </a:t>
              </a:r>
              <a:br>
                <a:rPr lang="de-CH" altLang="de-DE" dirty="0">
                  <a:solidFill>
                    <a:srgbClr val="FFFFFF"/>
                  </a:solidFill>
                </a:rPr>
              </a:br>
              <a:r>
                <a:rPr lang="de-CH" altLang="de-DE" dirty="0">
                  <a:solidFill>
                    <a:srgbClr val="FFFFFF"/>
                  </a:solidFill>
                </a:rPr>
                <a:t>zur besseren Lesbarkeit.</a:t>
              </a:r>
            </a:p>
          </p:txBody>
        </p:sp>
      </p:gr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634" name="think-cell data - do not delete" hidden="1">
            <a:extLst>
              <a:ext uri="{FF2B5EF4-FFF2-40B4-BE49-F238E27FC236}">
                <a16:creationId xmlns:a16="http://schemas.microsoft.com/office/drawing/2014/main" id="{C08466DE-3D02-567D-FA28-778D2F1E8C4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69634" name="think-cell data - do not delete" hidden="1">
                        <a:extLst>
                          <a:ext uri="{FF2B5EF4-FFF2-40B4-BE49-F238E27FC236}">
                            <a16:creationId xmlns:a16="http://schemas.microsoft.com/office/drawing/2014/main" id="{C08466DE-3D02-567D-FA28-778D2F1E8C4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9635" name="Grafik 3">
            <a:extLst>
              <a:ext uri="{FF2B5EF4-FFF2-40B4-BE49-F238E27FC236}">
                <a16:creationId xmlns:a16="http://schemas.microsoft.com/office/drawing/2014/main" id="{3A109D37-EC83-3A5F-0CF3-2F7796B180A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9238" y="0"/>
            <a:ext cx="13104813" cy="723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eck 2">
            <a:extLst>
              <a:ext uri="{FF2B5EF4-FFF2-40B4-BE49-F238E27FC236}">
                <a16:creationId xmlns:a16="http://schemas.microsoft.com/office/drawing/2014/main" id="{3A7CC81B-F710-A54E-EFC7-E578B255A870}"/>
              </a:ext>
            </a:extLst>
          </p:cNvPr>
          <p:cNvSpPr/>
          <p:nvPr/>
        </p:nvSpPr>
        <p:spPr>
          <a:xfrm rot="16200000">
            <a:off x="6412491" y="801879"/>
            <a:ext cx="7244962" cy="5641205"/>
          </a:xfrm>
          <a:prstGeom prst="rect">
            <a:avLst/>
          </a:prstGeom>
          <a:gradFill>
            <a:gsLst>
              <a:gs pos="96000">
                <a:srgbClr val="0A0A0A">
                  <a:alpha val="43000"/>
                </a:srgbClr>
              </a:gs>
              <a:gs pos="0">
                <a:schemeClr val="bg1">
                  <a:alpha val="0"/>
                </a:schemeClr>
              </a:gs>
            </a:gsLst>
            <a:lin ang="5400000" scaled="1"/>
          </a:gradFill>
          <a:ln w="6350" cap="flat" cmpd="sng" algn="ctr">
            <a:noFill/>
            <a:prstDash val="solid"/>
            <a:round/>
            <a:headEnd type="none" w="med" len="med"/>
            <a:tailEnd type="none" w="med" len="med"/>
          </a:ln>
          <a:effectLst/>
        </p:spPr>
        <p:txBody>
          <a:bodyPr lIns="0" tIns="0" rIns="0" bIns="0"/>
          <a:lstStyle/>
          <a:p>
            <a:pPr defTabSz="284221" eaLnBrk="1" hangingPunct="1">
              <a:lnSpc>
                <a:spcPct val="105000"/>
              </a:lnSpc>
              <a:spcBef>
                <a:spcPts val="0"/>
              </a:spcBef>
              <a:spcAft>
                <a:spcPts val="0"/>
              </a:spcAft>
              <a:buFont typeface="Frutiger for ZKB Light" panose="020B0303030504020204" pitchFamily="34" charset="0"/>
              <a:buNone/>
              <a:defRPr/>
            </a:pPr>
            <a:endParaRPr lang="de-CH" sz="1600" b="1" dirty="0">
              <a:solidFill>
                <a:srgbClr val="003CB4"/>
              </a:solidFill>
              <a:latin typeface="Frutiger for ZKB Light" panose="020B0303030504020204" pitchFamily="34" charset="0"/>
            </a:endParaRPr>
          </a:p>
        </p:txBody>
      </p:sp>
      <p:sp>
        <p:nvSpPr>
          <p:cNvPr id="69639" name="Textfeld 8">
            <a:extLst>
              <a:ext uri="{FF2B5EF4-FFF2-40B4-BE49-F238E27FC236}">
                <a16:creationId xmlns:a16="http://schemas.microsoft.com/office/drawing/2014/main" id="{3A49A95F-AAD2-2940-9F24-FC65FBB732AD}"/>
              </a:ext>
            </a:extLst>
          </p:cNvPr>
          <p:cNvSpPr txBox="1">
            <a:spLocks noChangeArrowheads="1"/>
          </p:cNvSpPr>
          <p:nvPr/>
        </p:nvSpPr>
        <p:spPr bwMode="auto">
          <a:xfrm>
            <a:off x="-1511300" y="44069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69640" name="Titel 4">
            <a:extLst>
              <a:ext uri="{FF2B5EF4-FFF2-40B4-BE49-F238E27FC236}">
                <a16:creationId xmlns:a16="http://schemas.microsoft.com/office/drawing/2014/main" id="{21A00DD0-1348-2D0F-316C-8DD32E7A8A7C}"/>
              </a:ext>
            </a:extLst>
          </p:cNvPr>
          <p:cNvSpPr txBox="1">
            <a:spLocks noChangeArrowheads="1"/>
          </p:cNvSpPr>
          <p:nvPr/>
        </p:nvSpPr>
        <p:spPr bwMode="auto">
          <a:xfrm>
            <a:off x="8027988" y="2967038"/>
            <a:ext cx="4824412" cy="190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lnSpc>
                <a:spcPct val="95000"/>
              </a:lnSpc>
            </a:pPr>
            <a:r>
              <a:rPr lang="de-CH" altLang="de-DE" sz="4400" b="1" dirty="0">
                <a:solidFill>
                  <a:srgbClr val="FFFFFF"/>
                </a:solidFill>
                <a:latin typeface="Frutiger for ZKB Light" panose="020B0303030504020204" pitchFamily="34" charset="0"/>
              </a:rPr>
              <a:t>At vero eos et accusam et justo duo dolores.</a:t>
            </a:r>
          </a:p>
        </p:txBody>
      </p:sp>
      <p:sp>
        <p:nvSpPr>
          <p:cNvPr id="18" name="Titel 1">
            <a:extLst>
              <a:ext uri="{FF2B5EF4-FFF2-40B4-BE49-F238E27FC236}">
                <a16:creationId xmlns:a16="http://schemas.microsoft.com/office/drawing/2014/main" id="{91824D38-6D64-76E4-62F2-C183AFC4CCA5}"/>
              </a:ext>
            </a:extLst>
          </p:cNvPr>
          <p:cNvSpPr txBox="1">
            <a:spLocks/>
          </p:cNvSpPr>
          <p:nvPr/>
        </p:nvSpPr>
        <p:spPr>
          <a:xfrm>
            <a:off x="306388" y="287338"/>
            <a:ext cx="10180637" cy="863600"/>
          </a:xfrm>
          <a:prstGeom prst="rect">
            <a:avLst/>
          </a:prstGeom>
          <a:ln>
            <a:solidFill>
              <a:schemeClr val="bg1">
                <a:lumMod val="75000"/>
                <a:alpha val="0"/>
              </a:schemeClr>
            </a:solidFill>
          </a:ln>
        </p:spPr>
        <p:txBody>
          <a:bodyPr lIns="0" tIns="0" rIns="0" bIns="0"/>
          <a:lstStyle>
            <a:lvl1pPr marL="0" indent="0" algn="l" defTabSz="17190" rtl="0" eaLnBrk="1" latinLnBrk="0" hangingPunct="1">
              <a:lnSpc>
                <a:spcPct val="95000"/>
              </a:lnSpc>
              <a:spcBef>
                <a:spcPts val="0"/>
              </a:spcBef>
              <a:spcAft>
                <a:spcPts val="0"/>
              </a:spcAft>
              <a:buNone/>
              <a:defRPr sz="2800" b="1" i="0" u="none" kern="1200">
                <a:solidFill>
                  <a:srgbClr val="003CB4"/>
                </a:solidFill>
                <a:latin typeface="Frutiger for ZKB Light" panose="020B0303030504020204" pitchFamily="34" charset="0"/>
                <a:ea typeface="+mj-ea"/>
                <a:cs typeface="+mj-cs"/>
              </a:defRPr>
            </a:lvl1pPr>
          </a:lstStyle>
          <a:p>
            <a:pPr fontAlgn="auto">
              <a:defRPr/>
            </a:pPr>
            <a:r>
              <a:rPr lang="de-CH" dirty="0">
                <a:solidFill>
                  <a:schemeClr val="bg1"/>
                </a:solidFill>
              </a:rPr>
              <a:t>Folientitel (max. zweizeilig)</a:t>
            </a:r>
          </a:p>
        </p:txBody>
      </p:sp>
      <p:grpSp>
        <p:nvGrpSpPr>
          <p:cNvPr id="2" name="Gruppieren 1">
            <a:extLst>
              <a:ext uri="{FF2B5EF4-FFF2-40B4-BE49-F238E27FC236}">
                <a16:creationId xmlns:a16="http://schemas.microsoft.com/office/drawing/2014/main" id="{0EEBBCE9-3901-0802-CF54-339F31B3EC3C}"/>
              </a:ext>
            </a:extLst>
          </p:cNvPr>
          <p:cNvGrpSpPr/>
          <p:nvPr/>
        </p:nvGrpSpPr>
        <p:grpSpPr>
          <a:xfrm>
            <a:off x="9431447" y="429072"/>
            <a:ext cx="3333044" cy="738187"/>
            <a:chOff x="8965319" y="735013"/>
            <a:chExt cx="3333044" cy="738187"/>
          </a:xfrm>
        </p:grpSpPr>
        <p:pic>
          <p:nvPicPr>
            <p:cNvPr id="4" name="Grafik 3">
              <a:extLst>
                <a:ext uri="{FF2B5EF4-FFF2-40B4-BE49-F238E27FC236}">
                  <a16:creationId xmlns:a16="http://schemas.microsoft.com/office/drawing/2014/main" id="{D86B7BD6-5389-2BA9-BF92-EE15A84DF7F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65319" y="793630"/>
              <a:ext cx="551423" cy="551423"/>
            </a:xfrm>
            <a:prstGeom prst="rect">
              <a:avLst/>
            </a:prstGeom>
          </p:spPr>
        </p:pic>
        <p:sp>
          <p:nvSpPr>
            <p:cNvPr id="5" name="Textfeld 24">
              <a:extLst>
                <a:ext uri="{FF2B5EF4-FFF2-40B4-BE49-F238E27FC236}">
                  <a16:creationId xmlns:a16="http://schemas.microsoft.com/office/drawing/2014/main" id="{8987CA4A-EF1B-60BA-3738-6E5BFDDEA6A2}"/>
                </a:ext>
              </a:extLst>
            </p:cNvPr>
            <p:cNvSpPr txBox="1">
              <a:spLocks noChangeArrowheads="1"/>
            </p:cNvSpPr>
            <p:nvPr/>
          </p:nvSpPr>
          <p:spPr bwMode="auto">
            <a:xfrm>
              <a:off x="9789763" y="735013"/>
              <a:ext cx="2508600" cy="7381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solidFill>
                    <a:srgbClr val="FFFFFF"/>
                  </a:solidFill>
                </a:rPr>
                <a:t>Tipp: </a:t>
              </a:r>
              <a:r>
                <a:rPr lang="de-CH" altLang="de-DE" dirty="0">
                  <a:solidFill>
                    <a:srgbClr val="FFFFFF"/>
                  </a:solidFill>
                </a:rPr>
                <a:t>Folie enthält eine</a:t>
              </a:r>
              <a:br>
                <a:rPr lang="de-CH" altLang="de-DE" dirty="0">
                  <a:solidFill>
                    <a:srgbClr val="FFFFFF"/>
                  </a:solidFill>
                </a:rPr>
              </a:br>
              <a:r>
                <a:rPr lang="de-CH" altLang="de-DE" dirty="0">
                  <a:solidFill>
                    <a:srgbClr val="FFFFFF"/>
                  </a:solidFill>
                </a:rPr>
                <a:t>optionale Abdunklung </a:t>
              </a:r>
              <a:br>
                <a:rPr lang="de-CH" altLang="de-DE" dirty="0">
                  <a:solidFill>
                    <a:srgbClr val="FFFFFF"/>
                  </a:solidFill>
                </a:rPr>
              </a:br>
              <a:r>
                <a:rPr lang="de-CH" altLang="de-DE" dirty="0">
                  <a:solidFill>
                    <a:srgbClr val="FFFFFF"/>
                  </a:solidFill>
                </a:rPr>
                <a:t>zur besseren Lesbarkeit.</a:t>
              </a:r>
            </a:p>
          </p:txBody>
        </p:sp>
      </p:gr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Grafik 3">
            <a:extLst>
              <a:ext uri="{FF2B5EF4-FFF2-40B4-BE49-F238E27FC236}">
                <a16:creationId xmlns:a16="http://schemas.microsoft.com/office/drawing/2014/main" id="{F97F1561-9B9D-1207-C92C-DC76025883D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72250" y="0"/>
            <a:ext cx="6283325" cy="723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0659" name="think-cell data - do not delete" hidden="1">
            <a:extLst>
              <a:ext uri="{FF2B5EF4-FFF2-40B4-BE49-F238E27FC236}">
                <a16:creationId xmlns:a16="http://schemas.microsoft.com/office/drawing/2014/main" id="{9ECBAD2D-D522-4CCD-D987-1A5BDE7DBF4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0" imgH="350" progId="TCLayout.ActiveDocument.1">
                  <p:embed/>
                </p:oleObj>
              </mc:Choice>
              <mc:Fallback>
                <p:oleObj name="think-cell Folie" r:id="rId4" imgW="350" imgH="350" progId="TCLayout.ActiveDocument.1">
                  <p:embed/>
                  <p:pic>
                    <p:nvPicPr>
                      <p:cNvPr id="70659" name="think-cell data - do not delete" hidden="1">
                        <a:extLst>
                          <a:ext uri="{FF2B5EF4-FFF2-40B4-BE49-F238E27FC236}">
                            <a16:creationId xmlns:a16="http://schemas.microsoft.com/office/drawing/2014/main" id="{9ECBAD2D-D522-4CCD-D987-1A5BDE7DBF4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el 1">
            <a:extLst>
              <a:ext uri="{FF2B5EF4-FFF2-40B4-BE49-F238E27FC236}">
                <a16:creationId xmlns:a16="http://schemas.microsoft.com/office/drawing/2014/main" id="{A00A3162-49BD-DD67-B7F8-409422088FCB}"/>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solidFill>
                  <a:schemeClr val="dk1"/>
                </a:solidFill>
              </a:rPr>
              <a:t>Folientitel (max. zweizeilig)</a:t>
            </a:r>
          </a:p>
        </p:txBody>
      </p:sp>
      <p:sp>
        <p:nvSpPr>
          <p:cNvPr id="70661" name="Foliennummernplatzhalter 9">
            <a:extLst>
              <a:ext uri="{FF2B5EF4-FFF2-40B4-BE49-F238E27FC236}">
                <a16:creationId xmlns:a16="http://schemas.microsoft.com/office/drawing/2014/main" id="{39E140E5-0864-2435-1F08-EF8FDC910D0A}"/>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47E155D9-26B4-4F97-90CA-1FEC4764E43C}" type="slidenum">
              <a:rPr lang="de-CH" altLang="de-DE" sz="1100" smtClean="0">
                <a:solidFill>
                  <a:srgbClr val="003CB4"/>
                </a:solidFill>
                <a:latin typeface="Frutiger for ZKB Light" panose="020B0303030504020204" pitchFamily="34" charset="0"/>
              </a:rPr>
              <a:pPr>
                <a:spcBef>
                  <a:spcPct val="0"/>
                </a:spcBef>
                <a:spcAft>
                  <a:spcPct val="0"/>
                </a:spcAft>
              </a:pPr>
              <a:t>48</a:t>
            </a:fld>
            <a:endParaRPr lang="de-CH" altLang="de-DE" sz="1100" dirty="0">
              <a:solidFill>
                <a:srgbClr val="003CB4"/>
              </a:solidFill>
              <a:latin typeface="Frutiger for ZKB Light" panose="020B0303030504020204" pitchFamily="34" charset="0"/>
            </a:endParaRPr>
          </a:p>
        </p:txBody>
      </p:sp>
      <p:sp>
        <p:nvSpPr>
          <p:cNvPr id="70662" name="Fußzeilenplatzhalter 7">
            <a:extLst>
              <a:ext uri="{FF2B5EF4-FFF2-40B4-BE49-F238E27FC236}">
                <a16:creationId xmlns:a16="http://schemas.microsoft.com/office/drawing/2014/main" id="{0B70C6F2-C9CE-D5BB-19D7-D5E670857CBD}"/>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70663" name="Textfeld 8">
            <a:extLst>
              <a:ext uri="{FF2B5EF4-FFF2-40B4-BE49-F238E27FC236}">
                <a16:creationId xmlns:a16="http://schemas.microsoft.com/office/drawing/2014/main" id="{16272D58-EC4F-1AC5-0FBE-74B3EDD5F260}"/>
              </a:ext>
            </a:extLst>
          </p:cNvPr>
          <p:cNvSpPr txBox="1">
            <a:spLocks noChangeArrowheads="1"/>
          </p:cNvSpPr>
          <p:nvPr/>
        </p:nvSpPr>
        <p:spPr bwMode="auto">
          <a:xfrm>
            <a:off x="-1511300" y="44069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17" name="Titel 4">
            <a:extLst>
              <a:ext uri="{FF2B5EF4-FFF2-40B4-BE49-F238E27FC236}">
                <a16:creationId xmlns:a16="http://schemas.microsoft.com/office/drawing/2014/main" id="{608F6AA8-82AC-E404-2F37-BF2341425BCC}"/>
              </a:ext>
            </a:extLst>
          </p:cNvPr>
          <p:cNvSpPr txBox="1">
            <a:spLocks/>
          </p:cNvSpPr>
          <p:nvPr/>
        </p:nvSpPr>
        <p:spPr>
          <a:xfrm>
            <a:off x="709613" y="2662238"/>
            <a:ext cx="4248150" cy="1906587"/>
          </a:xfrm>
          <a:prstGeom prst="rect">
            <a:avLst/>
          </a:prstGeom>
        </p:spPr>
        <p:txBody>
          <a:bodyPr lIns="0" tIns="0" rIns="0" bIns="0"/>
          <a:lstStyle>
            <a:lvl1pPr marL="0" indent="0" algn="l" defTabSz="964143" rtl="0" eaLnBrk="1" latinLnBrk="0" hangingPunct="1">
              <a:lnSpc>
                <a:spcPct val="95000"/>
              </a:lnSpc>
              <a:spcBef>
                <a:spcPts val="0"/>
              </a:spcBef>
              <a:spcAft>
                <a:spcPts val="0"/>
              </a:spcAft>
              <a:buNone/>
              <a:defRPr sz="2700" b="1" i="0" u="none" kern="1200">
                <a:solidFill>
                  <a:srgbClr val="003CB4"/>
                </a:solidFill>
                <a:latin typeface="Frutiger for ZKB Light" panose="020B0303030504020204" pitchFamily="34" charset="0"/>
                <a:ea typeface="+mj-ea"/>
                <a:cs typeface="+mj-cs"/>
              </a:defRPr>
            </a:lvl1pPr>
          </a:lstStyle>
          <a:p>
            <a:pPr>
              <a:defRPr/>
            </a:pPr>
            <a:r>
              <a:rPr lang="de-CH" sz="4000" dirty="0">
                <a:solidFill>
                  <a:schemeClr val="dk1"/>
                </a:solidFill>
              </a:rPr>
              <a:t>At vero eos et </a:t>
            </a:r>
            <a:r>
              <a:rPr lang="de-CH" sz="4000" dirty="0">
                <a:solidFill>
                  <a:schemeClr val="accent6"/>
                </a:solidFill>
              </a:rPr>
              <a:t>accusam</a:t>
            </a:r>
            <a:r>
              <a:rPr lang="de-CH" sz="4000" dirty="0">
                <a:solidFill>
                  <a:schemeClr val="dk1"/>
                </a:solidFill>
              </a:rPr>
              <a:t> et justo duo dolores.</a:t>
            </a: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82" name="Grafik 3">
            <a:extLst>
              <a:ext uri="{FF2B5EF4-FFF2-40B4-BE49-F238E27FC236}">
                <a16:creationId xmlns:a16="http://schemas.microsoft.com/office/drawing/2014/main" id="{2ED8E522-5B7F-1307-3602-D0CCD3F060C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72250" y="0"/>
            <a:ext cx="6283325" cy="723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1683" name="think-cell data - do not delete" hidden="1">
            <a:extLst>
              <a:ext uri="{FF2B5EF4-FFF2-40B4-BE49-F238E27FC236}">
                <a16:creationId xmlns:a16="http://schemas.microsoft.com/office/drawing/2014/main" id="{27269AA9-065C-7CB2-B1E8-5270C8D420F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0" imgH="350" progId="TCLayout.ActiveDocument.1">
                  <p:embed/>
                </p:oleObj>
              </mc:Choice>
              <mc:Fallback>
                <p:oleObj name="think-cell Folie" r:id="rId4" imgW="350" imgH="350" progId="TCLayout.ActiveDocument.1">
                  <p:embed/>
                  <p:pic>
                    <p:nvPicPr>
                      <p:cNvPr id="71683" name="think-cell data - do not delete" hidden="1">
                        <a:extLst>
                          <a:ext uri="{FF2B5EF4-FFF2-40B4-BE49-F238E27FC236}">
                            <a16:creationId xmlns:a16="http://schemas.microsoft.com/office/drawing/2014/main" id="{27269AA9-065C-7CB2-B1E8-5270C8D420F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el 1">
            <a:extLst>
              <a:ext uri="{FF2B5EF4-FFF2-40B4-BE49-F238E27FC236}">
                <a16:creationId xmlns:a16="http://schemas.microsoft.com/office/drawing/2014/main" id="{B7C01B8E-BE28-669C-8877-EDE7F7F01E9B}"/>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solidFill>
                  <a:schemeClr val="dk1"/>
                </a:solidFill>
              </a:rPr>
              <a:t>Folientitel (max. zweizeilig)</a:t>
            </a:r>
          </a:p>
        </p:txBody>
      </p:sp>
      <p:sp>
        <p:nvSpPr>
          <p:cNvPr id="71685" name="Foliennummernplatzhalter 10">
            <a:extLst>
              <a:ext uri="{FF2B5EF4-FFF2-40B4-BE49-F238E27FC236}">
                <a16:creationId xmlns:a16="http://schemas.microsoft.com/office/drawing/2014/main" id="{20DA4D64-4932-E351-0C09-4544C880E070}"/>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49</a:t>
            </a:fld>
            <a:endParaRPr lang="de-CH" altLang="de-DE" sz="1100" dirty="0">
              <a:solidFill>
                <a:srgbClr val="003CB4"/>
              </a:solidFill>
            </a:endParaRPr>
          </a:p>
        </p:txBody>
      </p:sp>
      <p:sp>
        <p:nvSpPr>
          <p:cNvPr id="71686" name="Fußzeilenplatzhalter 9">
            <a:extLst>
              <a:ext uri="{FF2B5EF4-FFF2-40B4-BE49-F238E27FC236}">
                <a16:creationId xmlns:a16="http://schemas.microsoft.com/office/drawing/2014/main" id="{97C40BFD-086B-26C2-39BF-5029CC6A7D15}"/>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2" name="Inhaltsplatzhalter 1">
            <a:extLst>
              <a:ext uri="{FF2B5EF4-FFF2-40B4-BE49-F238E27FC236}">
                <a16:creationId xmlns:a16="http://schemas.microsoft.com/office/drawing/2014/main" id="{173E2CAE-6C55-33E8-CC4B-5531B7DC10BB}"/>
              </a:ext>
            </a:extLst>
          </p:cNvPr>
          <p:cNvSpPr>
            <a:spLocks noGrp="1"/>
          </p:cNvSpPr>
          <p:nvPr>
            <p:ph idx="12"/>
          </p:nvPr>
        </p:nvSpPr>
        <p:spPr>
          <a:xfrm>
            <a:off x="306388" y="1885950"/>
            <a:ext cx="5976937" cy="4748213"/>
          </a:xfrm>
        </p:spPr>
        <p:txBody>
          <a:bodyPr rtlCol="0"/>
          <a:lstStyle/>
          <a:p>
            <a:pPr eaLnBrk="1" fontAlgn="auto" hangingPunct="1">
              <a:defRPr/>
            </a:pPr>
            <a:r>
              <a:rPr lang="de-CH" b="1" dirty="0">
                <a:cs typeface="+mn-cs"/>
              </a:rPr>
              <a:t>Überschrift</a:t>
            </a:r>
          </a:p>
          <a:p>
            <a:pPr eaLnBrk="1" fontAlgn="auto" hangingPunct="1">
              <a:defRPr/>
            </a:pPr>
            <a:r>
              <a:rPr lang="de-CH" dirty="0"/>
              <a:t>Lorem ipsum dolor sit amet, consectetur adipiscing elit, sed do eiusmod tempor incididunt ut labore et dolore magna aliqua. Ut enim ad minim veniam, quis nostrud exercitation. Ut enim ad minim veniam, quis nostrud exercitation.</a:t>
            </a:r>
            <a:endParaRPr lang="de-CH" dirty="0">
              <a:solidFill>
                <a:schemeClr val="accent3"/>
              </a:solidFill>
            </a:endParaRPr>
          </a:p>
          <a:p>
            <a:pPr eaLnBrk="1" fontAlgn="auto" hangingPunct="1">
              <a:defRPr/>
            </a:pPr>
            <a:endParaRPr lang="de-CH" dirty="0"/>
          </a:p>
          <a:p>
            <a:pPr eaLnBrk="1" fontAlgn="auto" hangingPunct="1">
              <a:defRPr/>
            </a:pPr>
            <a:r>
              <a:rPr lang="de-CH" b="1" dirty="0">
                <a:cs typeface="+mn-cs"/>
              </a:rPr>
              <a:t>Überschrift</a:t>
            </a:r>
          </a:p>
          <a:p>
            <a:pPr eaLnBrk="1" fontAlgn="auto" hangingPunct="1">
              <a:defRPr/>
            </a:pPr>
            <a:r>
              <a:rPr lang="de-CH" dirty="0"/>
              <a:t>Lorem ipsum dolor sit amet, consectetur adipiscing elit, sed do eiusmod tempor incididunt ut labore et dolore magna aliqua. Ut enim ad minim veniam, quis nostrud exercitation. Ut enim ad minim veniam, quis nostrud exercitation.</a:t>
            </a:r>
            <a:endParaRPr lang="de-CH" dirty="0">
              <a:solidFill>
                <a:schemeClr val="accent3"/>
              </a:solidFill>
            </a:endParaRPr>
          </a:p>
          <a:p>
            <a:pPr eaLnBrk="1" fontAlgn="auto" hangingPunct="1">
              <a:defRPr/>
            </a:pPr>
            <a:endParaRPr lang="de-CH" dirty="0"/>
          </a:p>
          <a:p>
            <a:pPr eaLnBrk="1" fontAlgn="auto" hangingPunct="1">
              <a:defRPr/>
            </a:pPr>
            <a:r>
              <a:rPr lang="de-CH" b="1" dirty="0">
                <a:cs typeface="+mn-cs"/>
              </a:rPr>
              <a:t>Überschrift</a:t>
            </a:r>
          </a:p>
          <a:p>
            <a:pPr eaLnBrk="1" fontAlgn="auto" hangingPunct="1">
              <a:defRPr/>
            </a:pPr>
            <a:r>
              <a:rPr lang="de-CH" dirty="0"/>
              <a:t>Lorem ipsum dolor sit amet, consectetur adipiscing elit, sed do eiusmod tempor incididunt ut labore et dolore magna aliqua. Ut enim ad minim veniam, quis nostrud exercitation. Ut enim ad minim veniam, quis nostrud exercitation.</a:t>
            </a:r>
            <a:endParaRPr lang="de-CH" dirty="0">
              <a:solidFill>
                <a:schemeClr val="accent3"/>
              </a:solidFill>
            </a:endParaRPr>
          </a:p>
          <a:p>
            <a:pPr eaLnBrk="1" fontAlgn="auto" hangingPunct="1">
              <a:defRPr/>
            </a:pPr>
            <a:endParaRPr lang="de-CH" dirty="0"/>
          </a:p>
        </p:txBody>
      </p:sp>
      <p:sp>
        <p:nvSpPr>
          <p:cNvPr id="71688" name="Textfeld 8">
            <a:extLst>
              <a:ext uri="{FF2B5EF4-FFF2-40B4-BE49-F238E27FC236}">
                <a16:creationId xmlns:a16="http://schemas.microsoft.com/office/drawing/2014/main" id="{23B71C81-6B60-7750-80AA-970EC3B339B8}"/>
              </a:ext>
            </a:extLst>
          </p:cNvPr>
          <p:cNvSpPr txBox="1">
            <a:spLocks noChangeArrowheads="1"/>
          </p:cNvSpPr>
          <p:nvPr/>
        </p:nvSpPr>
        <p:spPr bwMode="auto">
          <a:xfrm>
            <a:off x="-1511300" y="44069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578" name="think-cell data - do not delete" hidden="1">
            <a:extLst>
              <a:ext uri="{FF2B5EF4-FFF2-40B4-BE49-F238E27FC236}">
                <a16:creationId xmlns:a16="http://schemas.microsoft.com/office/drawing/2014/main" id="{E7227AA0-C218-FA9A-78F8-3278A6D204C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24578" name="think-cell data - do not delete" hidden="1">
                        <a:extLst>
                          <a:ext uri="{FF2B5EF4-FFF2-40B4-BE49-F238E27FC236}">
                            <a16:creationId xmlns:a16="http://schemas.microsoft.com/office/drawing/2014/main" id="{E7227AA0-C218-FA9A-78F8-3278A6D204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82BC6748-2E69-1872-EA20-B990B51B6F15}"/>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Agenda</a:t>
            </a:r>
          </a:p>
        </p:txBody>
      </p:sp>
      <p:sp>
        <p:nvSpPr>
          <p:cNvPr id="24580" name="Foliennummernplatzhalter 19">
            <a:extLst>
              <a:ext uri="{FF2B5EF4-FFF2-40B4-BE49-F238E27FC236}">
                <a16:creationId xmlns:a16="http://schemas.microsoft.com/office/drawing/2014/main" id="{BC9087B0-8597-0E4A-FB8A-FF2424E21844}"/>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E00E0731-FD11-4A88-9778-1CD2D3E90282}" type="slidenum">
              <a:rPr lang="de-CH" altLang="de-DE" sz="1100" smtClean="0">
                <a:solidFill>
                  <a:srgbClr val="003CB4"/>
                </a:solidFill>
                <a:latin typeface="Frutiger for ZKB Light" panose="020B0303030504020204" pitchFamily="34" charset="0"/>
              </a:rPr>
              <a:pPr>
                <a:spcBef>
                  <a:spcPct val="0"/>
                </a:spcBef>
                <a:spcAft>
                  <a:spcPct val="0"/>
                </a:spcAft>
              </a:pPr>
              <a:t>5</a:t>
            </a:fld>
            <a:endParaRPr lang="de-CH" altLang="de-DE" sz="1100" dirty="0">
              <a:solidFill>
                <a:srgbClr val="003CB4"/>
              </a:solidFill>
              <a:latin typeface="Frutiger for ZKB Light" panose="020B0303030504020204" pitchFamily="34" charset="0"/>
            </a:endParaRPr>
          </a:p>
        </p:txBody>
      </p:sp>
      <p:sp>
        <p:nvSpPr>
          <p:cNvPr id="24581" name="Fußzeilenplatzhalter 18">
            <a:extLst>
              <a:ext uri="{FF2B5EF4-FFF2-40B4-BE49-F238E27FC236}">
                <a16:creationId xmlns:a16="http://schemas.microsoft.com/office/drawing/2014/main" id="{66C82624-122D-61DD-E773-E5E1B47BA795}"/>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24582" name="Textfeld 7">
            <a:extLst>
              <a:ext uri="{FF2B5EF4-FFF2-40B4-BE49-F238E27FC236}">
                <a16:creationId xmlns:a16="http://schemas.microsoft.com/office/drawing/2014/main" id="{DA88428F-EBB6-1EB5-CFF7-86011C030505}"/>
              </a:ext>
            </a:extLst>
          </p:cNvPr>
          <p:cNvSpPr txBox="1">
            <a:spLocks noChangeArrowheads="1"/>
          </p:cNvSpPr>
          <p:nvPr/>
        </p:nvSpPr>
        <p:spPr bwMode="auto">
          <a:xfrm>
            <a:off x="1282700" y="1870075"/>
            <a:ext cx="4530725" cy="6340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Untertitel et accusam et justo duo</a:t>
            </a:r>
          </a:p>
        </p:txBody>
      </p:sp>
      <p:sp>
        <p:nvSpPr>
          <p:cNvPr id="24583" name="Textplatzhalter 2">
            <a:extLst>
              <a:ext uri="{FF2B5EF4-FFF2-40B4-BE49-F238E27FC236}">
                <a16:creationId xmlns:a16="http://schemas.microsoft.com/office/drawing/2014/main" id="{F2F51C44-237B-D28C-1201-CCC673187981}"/>
              </a:ext>
            </a:extLst>
          </p:cNvPr>
          <p:cNvSpPr txBox="1">
            <a:spLocks/>
          </p:cNvSpPr>
          <p:nvPr/>
        </p:nvSpPr>
        <p:spPr bwMode="auto">
          <a:xfrm>
            <a:off x="701675" y="2973388"/>
            <a:ext cx="633413" cy="676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sz="4400" b="1" dirty="0">
                <a:solidFill>
                  <a:schemeClr val="tx1"/>
                </a:solidFill>
              </a:rPr>
              <a:t>2</a:t>
            </a:r>
          </a:p>
        </p:txBody>
      </p:sp>
      <p:sp>
        <p:nvSpPr>
          <p:cNvPr id="24584" name="Textfeld 27">
            <a:extLst>
              <a:ext uri="{FF2B5EF4-FFF2-40B4-BE49-F238E27FC236}">
                <a16:creationId xmlns:a16="http://schemas.microsoft.com/office/drawing/2014/main" id="{7EBA09CF-F7F9-1B04-7C41-16AC072AFCF4}"/>
              </a:ext>
            </a:extLst>
          </p:cNvPr>
          <p:cNvSpPr txBox="1">
            <a:spLocks noChangeArrowheads="1"/>
          </p:cNvSpPr>
          <p:nvPr/>
        </p:nvSpPr>
        <p:spPr bwMode="auto">
          <a:xfrm>
            <a:off x="1282700" y="3017838"/>
            <a:ext cx="4530725" cy="6340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Untertitel et accusam et justo duo</a:t>
            </a:r>
          </a:p>
        </p:txBody>
      </p:sp>
      <p:sp>
        <p:nvSpPr>
          <p:cNvPr id="24585" name="Textplatzhalter 2">
            <a:extLst>
              <a:ext uri="{FF2B5EF4-FFF2-40B4-BE49-F238E27FC236}">
                <a16:creationId xmlns:a16="http://schemas.microsoft.com/office/drawing/2014/main" id="{44E499E6-9794-8024-D5B9-035863AF2F4A}"/>
              </a:ext>
            </a:extLst>
          </p:cNvPr>
          <p:cNvSpPr txBox="1">
            <a:spLocks/>
          </p:cNvSpPr>
          <p:nvPr/>
        </p:nvSpPr>
        <p:spPr bwMode="auto">
          <a:xfrm>
            <a:off x="701675" y="4121150"/>
            <a:ext cx="633413" cy="676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sz="4400" b="1" dirty="0">
                <a:solidFill>
                  <a:schemeClr val="tx1"/>
                </a:solidFill>
              </a:rPr>
              <a:t>3</a:t>
            </a:r>
          </a:p>
        </p:txBody>
      </p:sp>
      <p:sp>
        <p:nvSpPr>
          <p:cNvPr id="24586" name="Textfeld 32">
            <a:extLst>
              <a:ext uri="{FF2B5EF4-FFF2-40B4-BE49-F238E27FC236}">
                <a16:creationId xmlns:a16="http://schemas.microsoft.com/office/drawing/2014/main" id="{B75467BA-C024-6A30-8995-A8142E937AFE}"/>
              </a:ext>
            </a:extLst>
          </p:cNvPr>
          <p:cNvSpPr txBox="1">
            <a:spLocks noChangeArrowheads="1"/>
          </p:cNvSpPr>
          <p:nvPr/>
        </p:nvSpPr>
        <p:spPr bwMode="auto">
          <a:xfrm>
            <a:off x="1282700" y="4165600"/>
            <a:ext cx="4530725" cy="6340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Untertitel et accusam et justo duo</a:t>
            </a:r>
          </a:p>
        </p:txBody>
      </p:sp>
      <p:sp>
        <p:nvSpPr>
          <p:cNvPr id="24587" name="Textplatzhalter 2">
            <a:extLst>
              <a:ext uri="{FF2B5EF4-FFF2-40B4-BE49-F238E27FC236}">
                <a16:creationId xmlns:a16="http://schemas.microsoft.com/office/drawing/2014/main" id="{D4403CB2-3965-FA49-F9D0-43D3A5B78D39}"/>
              </a:ext>
            </a:extLst>
          </p:cNvPr>
          <p:cNvSpPr txBox="1">
            <a:spLocks/>
          </p:cNvSpPr>
          <p:nvPr/>
        </p:nvSpPr>
        <p:spPr bwMode="auto">
          <a:xfrm>
            <a:off x="701675" y="1825625"/>
            <a:ext cx="633413" cy="676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sz="4400" b="1" dirty="0">
                <a:solidFill>
                  <a:schemeClr val="tx1"/>
                </a:solidFill>
              </a:rPr>
              <a:t>1</a:t>
            </a:r>
          </a:p>
        </p:txBody>
      </p:sp>
      <p:sp>
        <p:nvSpPr>
          <p:cNvPr id="24588" name="Textplatzhalter 2">
            <a:extLst>
              <a:ext uri="{FF2B5EF4-FFF2-40B4-BE49-F238E27FC236}">
                <a16:creationId xmlns:a16="http://schemas.microsoft.com/office/drawing/2014/main" id="{AA15393B-B00B-7C47-63D6-60460FF3B90F}"/>
              </a:ext>
            </a:extLst>
          </p:cNvPr>
          <p:cNvSpPr txBox="1">
            <a:spLocks/>
          </p:cNvSpPr>
          <p:nvPr/>
        </p:nvSpPr>
        <p:spPr bwMode="auto">
          <a:xfrm>
            <a:off x="701675" y="5268913"/>
            <a:ext cx="633413" cy="676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sz="4400" b="1" dirty="0">
                <a:solidFill>
                  <a:schemeClr val="tx1"/>
                </a:solidFill>
              </a:rPr>
              <a:t>4</a:t>
            </a:r>
          </a:p>
        </p:txBody>
      </p:sp>
      <p:sp>
        <p:nvSpPr>
          <p:cNvPr id="24589" name="Textfeld 3">
            <a:extLst>
              <a:ext uri="{FF2B5EF4-FFF2-40B4-BE49-F238E27FC236}">
                <a16:creationId xmlns:a16="http://schemas.microsoft.com/office/drawing/2014/main" id="{B402C26C-E11E-1889-BEBD-42AA0F6482CB}"/>
              </a:ext>
            </a:extLst>
          </p:cNvPr>
          <p:cNvSpPr txBox="1">
            <a:spLocks noChangeArrowheads="1"/>
          </p:cNvSpPr>
          <p:nvPr/>
        </p:nvSpPr>
        <p:spPr bwMode="auto">
          <a:xfrm>
            <a:off x="1282700" y="5314950"/>
            <a:ext cx="4530725" cy="6340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Untertitel et accusam et justo duo</a:t>
            </a:r>
          </a:p>
        </p:txBody>
      </p:sp>
      <p:sp>
        <p:nvSpPr>
          <p:cNvPr id="24590" name="Textfeld 4">
            <a:extLst>
              <a:ext uri="{FF2B5EF4-FFF2-40B4-BE49-F238E27FC236}">
                <a16:creationId xmlns:a16="http://schemas.microsoft.com/office/drawing/2014/main" id="{D8199E49-0944-DDEB-EBB2-A723E90CA42F}"/>
              </a:ext>
            </a:extLst>
          </p:cNvPr>
          <p:cNvSpPr txBox="1">
            <a:spLocks noChangeArrowheads="1"/>
          </p:cNvSpPr>
          <p:nvPr/>
        </p:nvSpPr>
        <p:spPr bwMode="auto">
          <a:xfrm>
            <a:off x="7153275" y="1870075"/>
            <a:ext cx="4530725" cy="6340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Untertitel et accusam et justo duo</a:t>
            </a:r>
          </a:p>
        </p:txBody>
      </p:sp>
      <p:sp>
        <p:nvSpPr>
          <p:cNvPr id="24591" name="Textplatzhalter 2">
            <a:extLst>
              <a:ext uri="{FF2B5EF4-FFF2-40B4-BE49-F238E27FC236}">
                <a16:creationId xmlns:a16="http://schemas.microsoft.com/office/drawing/2014/main" id="{2BD7371F-E4AC-53D7-18FA-E983D7AF2ABB}"/>
              </a:ext>
            </a:extLst>
          </p:cNvPr>
          <p:cNvSpPr txBox="1">
            <a:spLocks/>
          </p:cNvSpPr>
          <p:nvPr/>
        </p:nvSpPr>
        <p:spPr bwMode="auto">
          <a:xfrm>
            <a:off x="6572250" y="2973388"/>
            <a:ext cx="633413" cy="676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sz="4400" b="1" dirty="0">
                <a:solidFill>
                  <a:schemeClr val="tx1"/>
                </a:solidFill>
              </a:rPr>
              <a:t>6</a:t>
            </a:r>
          </a:p>
        </p:txBody>
      </p:sp>
      <p:sp>
        <p:nvSpPr>
          <p:cNvPr id="24592" name="Textfeld 6">
            <a:extLst>
              <a:ext uri="{FF2B5EF4-FFF2-40B4-BE49-F238E27FC236}">
                <a16:creationId xmlns:a16="http://schemas.microsoft.com/office/drawing/2014/main" id="{B2421382-B6A1-A369-92EC-E04B74D955D7}"/>
              </a:ext>
            </a:extLst>
          </p:cNvPr>
          <p:cNvSpPr txBox="1">
            <a:spLocks noChangeArrowheads="1"/>
          </p:cNvSpPr>
          <p:nvPr/>
        </p:nvSpPr>
        <p:spPr bwMode="auto">
          <a:xfrm>
            <a:off x="7153275" y="3017838"/>
            <a:ext cx="4530725" cy="6340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Untertitel et accusam et justo duo</a:t>
            </a:r>
          </a:p>
        </p:txBody>
      </p:sp>
      <p:sp>
        <p:nvSpPr>
          <p:cNvPr id="24593" name="Textplatzhalter 2">
            <a:extLst>
              <a:ext uri="{FF2B5EF4-FFF2-40B4-BE49-F238E27FC236}">
                <a16:creationId xmlns:a16="http://schemas.microsoft.com/office/drawing/2014/main" id="{6C35B879-5A6E-C49A-A37A-332F6298D7D3}"/>
              </a:ext>
            </a:extLst>
          </p:cNvPr>
          <p:cNvSpPr txBox="1">
            <a:spLocks/>
          </p:cNvSpPr>
          <p:nvPr/>
        </p:nvSpPr>
        <p:spPr bwMode="auto">
          <a:xfrm>
            <a:off x="6572250" y="4121150"/>
            <a:ext cx="633413" cy="676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sz="4400" b="1" dirty="0">
                <a:solidFill>
                  <a:schemeClr val="tx1"/>
                </a:solidFill>
              </a:rPr>
              <a:t>7</a:t>
            </a:r>
          </a:p>
        </p:txBody>
      </p:sp>
      <p:sp>
        <p:nvSpPr>
          <p:cNvPr id="24594" name="Textfeld 12">
            <a:extLst>
              <a:ext uri="{FF2B5EF4-FFF2-40B4-BE49-F238E27FC236}">
                <a16:creationId xmlns:a16="http://schemas.microsoft.com/office/drawing/2014/main" id="{20F85523-F436-0927-B978-A836CFE59F9C}"/>
              </a:ext>
            </a:extLst>
          </p:cNvPr>
          <p:cNvSpPr txBox="1">
            <a:spLocks noChangeArrowheads="1"/>
          </p:cNvSpPr>
          <p:nvPr/>
        </p:nvSpPr>
        <p:spPr bwMode="auto">
          <a:xfrm>
            <a:off x="7153275" y="4165600"/>
            <a:ext cx="4530725" cy="6340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Untertitel et accusam et justo duo</a:t>
            </a:r>
          </a:p>
        </p:txBody>
      </p:sp>
      <p:sp>
        <p:nvSpPr>
          <p:cNvPr id="24595" name="Textplatzhalter 2">
            <a:extLst>
              <a:ext uri="{FF2B5EF4-FFF2-40B4-BE49-F238E27FC236}">
                <a16:creationId xmlns:a16="http://schemas.microsoft.com/office/drawing/2014/main" id="{031214B5-D362-4D3F-E150-FB5924A76E2E}"/>
              </a:ext>
            </a:extLst>
          </p:cNvPr>
          <p:cNvSpPr txBox="1">
            <a:spLocks/>
          </p:cNvSpPr>
          <p:nvPr/>
        </p:nvSpPr>
        <p:spPr bwMode="auto">
          <a:xfrm>
            <a:off x="6572250" y="1825625"/>
            <a:ext cx="633413" cy="676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sz="4400" b="1" dirty="0">
                <a:solidFill>
                  <a:schemeClr val="tx1"/>
                </a:solidFill>
              </a:rPr>
              <a:t>5</a:t>
            </a:r>
          </a:p>
        </p:txBody>
      </p:sp>
      <p:sp>
        <p:nvSpPr>
          <p:cNvPr id="24596" name="Textplatzhalter 2">
            <a:extLst>
              <a:ext uri="{FF2B5EF4-FFF2-40B4-BE49-F238E27FC236}">
                <a16:creationId xmlns:a16="http://schemas.microsoft.com/office/drawing/2014/main" id="{FDB8BF5A-C944-3AD5-EE19-EC5DF792B653}"/>
              </a:ext>
            </a:extLst>
          </p:cNvPr>
          <p:cNvSpPr txBox="1">
            <a:spLocks/>
          </p:cNvSpPr>
          <p:nvPr/>
        </p:nvSpPr>
        <p:spPr bwMode="auto">
          <a:xfrm>
            <a:off x="6572250" y="5268913"/>
            <a:ext cx="633413" cy="676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sz="4400" b="1" dirty="0">
                <a:solidFill>
                  <a:schemeClr val="tx1"/>
                </a:solidFill>
              </a:rPr>
              <a:t>8</a:t>
            </a:r>
          </a:p>
        </p:txBody>
      </p:sp>
      <p:sp>
        <p:nvSpPr>
          <p:cNvPr id="24597" name="Textfeld 15">
            <a:extLst>
              <a:ext uri="{FF2B5EF4-FFF2-40B4-BE49-F238E27FC236}">
                <a16:creationId xmlns:a16="http://schemas.microsoft.com/office/drawing/2014/main" id="{C613400B-7790-24AD-8B1F-8A285BE974A2}"/>
              </a:ext>
            </a:extLst>
          </p:cNvPr>
          <p:cNvSpPr txBox="1">
            <a:spLocks noChangeArrowheads="1"/>
          </p:cNvSpPr>
          <p:nvPr/>
        </p:nvSpPr>
        <p:spPr bwMode="auto">
          <a:xfrm>
            <a:off x="7153275" y="5314950"/>
            <a:ext cx="4530725" cy="6340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Untertitel et accusam et justo duo</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hteck 22">
            <a:extLst>
              <a:ext uri="{FF2B5EF4-FFF2-40B4-BE49-F238E27FC236}">
                <a16:creationId xmlns:a16="http://schemas.microsoft.com/office/drawing/2014/main" id="{CC60F4E3-EC96-9C55-A77B-BCAFEDA45AD6}"/>
              </a:ext>
            </a:extLst>
          </p:cNvPr>
          <p:cNvSpPr>
            <a:spLocks noChangeArrowheads="1"/>
          </p:cNvSpPr>
          <p:nvPr/>
        </p:nvSpPr>
        <p:spPr bwMode="auto">
          <a:xfrm flipH="1">
            <a:off x="6572250" y="0"/>
            <a:ext cx="6283325" cy="7232650"/>
          </a:xfrm>
          <a:prstGeom prst="rect">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2880" tIns="182880" rIns="182880" bIns="18288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spcBef>
                <a:spcPct val="20000"/>
              </a:spcBef>
              <a:buFontTx/>
              <a:buNone/>
            </a:pPr>
            <a:endParaRPr lang="de-CH" altLang="de-DE" sz="2000" b="1" dirty="0">
              <a:sym typeface="Frutiger for ZKB Light" panose="020B0303030504020204" pitchFamily="34" charset="0"/>
            </a:endParaRPr>
          </a:p>
        </p:txBody>
      </p:sp>
      <p:graphicFrame>
        <p:nvGraphicFramePr>
          <p:cNvPr id="72707" name="Objekt 4" hidden="1">
            <a:extLst>
              <a:ext uri="{FF2B5EF4-FFF2-40B4-BE49-F238E27FC236}">
                <a16:creationId xmlns:a16="http://schemas.microsoft.com/office/drawing/2014/main" id="{102C108C-EFE6-7875-F0CA-814970B07C1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72707" name="Objekt 4" hidden="1">
                        <a:extLst>
                          <a:ext uri="{FF2B5EF4-FFF2-40B4-BE49-F238E27FC236}">
                            <a16:creationId xmlns:a16="http://schemas.microsoft.com/office/drawing/2014/main" id="{102C108C-EFE6-7875-F0CA-814970B07C1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6BD92748-F060-580F-C0E3-80B5882360D6}"/>
              </a:ext>
            </a:extLst>
          </p:cNvPr>
          <p:cNvSpPr/>
          <p:nvPr>
            <p:custDataLst>
              <p:tags r:id="rId2"/>
            </p:custDataLst>
          </p:nvPr>
        </p:nvSpPr>
        <p:spPr>
          <a:xfrm>
            <a:off x="0" y="0"/>
            <a:ext cx="158750" cy="158750"/>
          </a:xfrm>
          <a:prstGeom prst="rect">
            <a:avLst/>
          </a:prstGeom>
          <a:noFill/>
          <a:ln w="6350" cap="flat" cmpd="sng" algn="ctr">
            <a:solidFill>
              <a:srgbClr val="000000"/>
            </a:solidFill>
            <a:prstDash val="solid"/>
            <a:round/>
            <a:headEnd type="none" w="med" len="med"/>
            <a:tailEnd type="none" w="med" len="med"/>
          </a:ln>
          <a:effectLst/>
        </p:spPr>
        <p:txBody>
          <a:bodyPr wrap="none" lIns="0" tIns="0" rIns="0" bIns="0"/>
          <a:lstStyle/>
          <a:p>
            <a:pPr defTabSz="284221" eaLnBrk="1" hangingPunct="1">
              <a:lnSpc>
                <a:spcPct val="105000"/>
              </a:lnSpc>
              <a:spcBef>
                <a:spcPct val="20000"/>
              </a:spcBef>
              <a:buFont typeface="Frutiger for ZKB Light" panose="020B0303030504020204" pitchFamily="34" charset="0"/>
              <a:buNone/>
              <a:defRPr/>
            </a:pPr>
            <a:endParaRPr lang="de-CH" sz="2700" b="1" dirty="0">
              <a:solidFill>
                <a:srgbClr val="003CB4"/>
              </a:solidFill>
              <a:latin typeface="Frutiger for ZKB Light" panose="020B0303030504020204" pitchFamily="34" charset="0"/>
              <a:ea typeface="+mj-ea"/>
              <a:cs typeface="+mj-cs"/>
              <a:sym typeface="Frutiger for ZKB Light" panose="020B0303030504020204" pitchFamily="34" charset="0"/>
            </a:endParaRPr>
          </a:p>
        </p:txBody>
      </p:sp>
      <p:sp>
        <p:nvSpPr>
          <p:cNvPr id="72709" name="Rechteck 15">
            <a:extLst>
              <a:ext uri="{FF2B5EF4-FFF2-40B4-BE49-F238E27FC236}">
                <a16:creationId xmlns:a16="http://schemas.microsoft.com/office/drawing/2014/main" id="{92FB2E51-BE4A-8A21-72F2-D7C9CC51F639}"/>
              </a:ext>
            </a:extLst>
          </p:cNvPr>
          <p:cNvSpPr>
            <a:spLocks noChangeArrowheads="1"/>
          </p:cNvSpPr>
          <p:nvPr/>
        </p:nvSpPr>
        <p:spPr bwMode="auto">
          <a:xfrm>
            <a:off x="7364413" y="2989263"/>
            <a:ext cx="4986337"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4200" dirty="0">
                <a:solidFill>
                  <a:schemeClr val="tx1"/>
                </a:solidFill>
                <a:sym typeface="Frutiger for ZKB Light" panose="020B0303030504020204" pitchFamily="34" charset="0"/>
              </a:rPr>
              <a:t>Kennzahl</a:t>
            </a:r>
          </a:p>
          <a:p>
            <a:pPr eaLnBrk="1" hangingPunct="1">
              <a:lnSpc>
                <a:spcPct val="105000"/>
              </a:lnSpc>
            </a:pPr>
            <a:r>
              <a:rPr lang="de-CH" altLang="de-DE" sz="4200" b="1" dirty="0">
                <a:solidFill>
                  <a:schemeClr val="tx1"/>
                </a:solidFill>
                <a:sym typeface="Frutiger for ZKB Light" panose="020B0303030504020204" pitchFamily="34" charset="0"/>
              </a:rPr>
              <a:t>xx Mrd. </a:t>
            </a:r>
          </a:p>
          <a:p>
            <a:pPr eaLnBrk="1" hangingPunct="1">
              <a:lnSpc>
                <a:spcPct val="105000"/>
              </a:lnSpc>
            </a:pPr>
            <a:endParaRPr lang="de-CH" altLang="de-DE" sz="4200" b="1" dirty="0">
              <a:solidFill>
                <a:schemeClr val="tx1"/>
              </a:solidFill>
              <a:sym typeface="Frutiger for ZKB Light" panose="020B0303030504020204" pitchFamily="34" charset="0"/>
            </a:endParaRPr>
          </a:p>
        </p:txBody>
      </p:sp>
      <p:sp>
        <p:nvSpPr>
          <p:cNvPr id="72710" name="Titel 16">
            <a:extLst>
              <a:ext uri="{FF2B5EF4-FFF2-40B4-BE49-F238E27FC236}">
                <a16:creationId xmlns:a16="http://schemas.microsoft.com/office/drawing/2014/main" id="{2568A61E-EF52-2DC5-BFE4-723E44AEA774}"/>
              </a:ext>
            </a:extLst>
          </p:cNvPr>
          <p:cNvSpPr>
            <a:spLocks noGrp="1" noChangeArrowheads="1"/>
          </p:cNvSpPr>
          <p:nvPr>
            <p:ph type="title"/>
          </p:nvPr>
        </p:nvSpPr>
        <p:spPr>
          <a:xfrm>
            <a:off x="306388" y="287338"/>
            <a:ext cx="5976937" cy="863600"/>
          </a:xfrm>
        </p:spPr>
        <p:txBody>
          <a:bodyPr/>
          <a:lstStyle/>
          <a:p>
            <a:pPr eaLnBrk="1" hangingPunct="1">
              <a:spcBef>
                <a:spcPct val="0"/>
              </a:spcBef>
              <a:spcAft>
                <a:spcPct val="0"/>
              </a:spcAft>
            </a:pPr>
            <a:r>
              <a:rPr lang="de-CH" altLang="de-DE" dirty="0"/>
              <a:t>Folientitel (max. zweizeilig)</a:t>
            </a:r>
          </a:p>
        </p:txBody>
      </p:sp>
      <p:sp>
        <p:nvSpPr>
          <p:cNvPr id="72711" name="Foliennummernplatzhalter 10">
            <a:extLst>
              <a:ext uri="{FF2B5EF4-FFF2-40B4-BE49-F238E27FC236}">
                <a16:creationId xmlns:a16="http://schemas.microsoft.com/office/drawing/2014/main" id="{9CCA69F7-EF15-D8CF-C15D-DFE3B40BC75C}"/>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50</a:t>
            </a:fld>
            <a:endParaRPr lang="de-CH" altLang="de-DE" sz="1100" dirty="0">
              <a:solidFill>
                <a:srgbClr val="003CB4"/>
              </a:solidFill>
            </a:endParaRPr>
          </a:p>
        </p:txBody>
      </p:sp>
      <p:sp>
        <p:nvSpPr>
          <p:cNvPr id="72712" name="Fußzeilenplatzhalter 9">
            <a:extLst>
              <a:ext uri="{FF2B5EF4-FFF2-40B4-BE49-F238E27FC236}">
                <a16:creationId xmlns:a16="http://schemas.microsoft.com/office/drawing/2014/main" id="{2F952394-3BC2-FF4C-2122-E0779F60E58B}"/>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2" name="Inhaltsplatzhalter 1">
            <a:extLst>
              <a:ext uri="{FF2B5EF4-FFF2-40B4-BE49-F238E27FC236}">
                <a16:creationId xmlns:a16="http://schemas.microsoft.com/office/drawing/2014/main" id="{6E030F35-06DB-C4BF-72F2-E502267C02AA}"/>
              </a:ext>
            </a:extLst>
          </p:cNvPr>
          <p:cNvSpPr>
            <a:spLocks noGrp="1"/>
          </p:cNvSpPr>
          <p:nvPr>
            <p:ph idx="12"/>
          </p:nvPr>
        </p:nvSpPr>
        <p:spPr>
          <a:xfrm>
            <a:off x="306388" y="1885950"/>
            <a:ext cx="5976937" cy="4748213"/>
          </a:xfrm>
        </p:spPr>
        <p:txBody>
          <a:bodyPr rtlCol="0"/>
          <a:lstStyle/>
          <a:p>
            <a:pPr eaLnBrk="1" fontAlgn="auto" hangingPunct="1">
              <a:defRPr/>
            </a:pPr>
            <a:r>
              <a:rPr lang="de-CH" b="1" dirty="0">
                <a:cs typeface="+mn-cs"/>
              </a:rPr>
              <a:t>Überschrift</a:t>
            </a:r>
          </a:p>
          <a:p>
            <a:pPr eaLnBrk="1" fontAlgn="auto" hangingPunct="1">
              <a:defRPr/>
            </a:pPr>
            <a:r>
              <a:rPr lang="de-CH" dirty="0"/>
              <a:t>Lorem ipsum dolor sit amet, consectetur adipiscing elit, sed do eiusmod tempor incididunt ut labore et dolore magna aliqua. Ut enim ad minim veniam, quis nostrud exercitation. Ut enim ad </a:t>
            </a:r>
            <a:br>
              <a:rPr lang="de-CH" dirty="0"/>
            </a:br>
            <a:r>
              <a:rPr lang="de-CH" dirty="0"/>
              <a:t>minim veniam, quis nostrud exercitation.</a:t>
            </a:r>
            <a:endParaRPr lang="de-CH" dirty="0">
              <a:solidFill>
                <a:schemeClr val="accent3"/>
              </a:solidFill>
            </a:endParaRPr>
          </a:p>
          <a:p>
            <a:pPr eaLnBrk="1" fontAlgn="auto" hangingPunct="1">
              <a:defRPr/>
            </a:pPr>
            <a:endParaRPr lang="de-CH" dirty="0"/>
          </a:p>
          <a:p>
            <a:pPr eaLnBrk="1" fontAlgn="auto" hangingPunct="1">
              <a:defRPr/>
            </a:pPr>
            <a:endParaRPr lang="de-CH" dirty="0"/>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54" name="think-cell data - do not delete" hidden="1">
            <a:extLst>
              <a:ext uri="{FF2B5EF4-FFF2-40B4-BE49-F238E27FC236}">
                <a16:creationId xmlns:a16="http://schemas.microsoft.com/office/drawing/2014/main" id="{57CF2276-3B2A-5178-061D-BDC2E8EB618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4754" name="think-cell data - do not delete" hidden="1">
                        <a:extLst>
                          <a:ext uri="{FF2B5EF4-FFF2-40B4-BE49-F238E27FC236}">
                            <a16:creationId xmlns:a16="http://schemas.microsoft.com/office/drawing/2014/main" id="{57CF2276-3B2A-5178-061D-BDC2E8EB618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8C3170F9-4FFE-A12F-ED9D-8AF578EEFD41}"/>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Folientitel (max. zweizeilig)</a:t>
            </a:r>
          </a:p>
        </p:txBody>
      </p:sp>
      <p:sp>
        <p:nvSpPr>
          <p:cNvPr id="74756" name="Foliennummernplatzhalter 8">
            <a:extLst>
              <a:ext uri="{FF2B5EF4-FFF2-40B4-BE49-F238E27FC236}">
                <a16:creationId xmlns:a16="http://schemas.microsoft.com/office/drawing/2014/main" id="{BC2A6217-4C2A-AC2F-42C1-2A807B7133E4}"/>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302C4B42-C164-4B10-90FB-EDA8A25B34FE}" type="slidenum">
              <a:rPr lang="de-CH" altLang="de-DE" sz="1100" smtClean="0">
                <a:solidFill>
                  <a:srgbClr val="003CB4"/>
                </a:solidFill>
                <a:latin typeface="Frutiger for ZKB Light" panose="020B0303030504020204" pitchFamily="34" charset="0"/>
              </a:rPr>
              <a:pPr>
                <a:spcBef>
                  <a:spcPct val="0"/>
                </a:spcBef>
                <a:spcAft>
                  <a:spcPct val="0"/>
                </a:spcAft>
              </a:pPr>
              <a:t>51</a:t>
            </a:fld>
            <a:endParaRPr lang="de-CH" altLang="de-DE" sz="1100" dirty="0">
              <a:solidFill>
                <a:srgbClr val="003CB4"/>
              </a:solidFill>
              <a:latin typeface="Frutiger for ZKB Light" panose="020B0303030504020204" pitchFamily="34" charset="0"/>
            </a:endParaRPr>
          </a:p>
        </p:txBody>
      </p:sp>
      <p:sp>
        <p:nvSpPr>
          <p:cNvPr id="74757" name="Fußzeilenplatzhalter 7">
            <a:extLst>
              <a:ext uri="{FF2B5EF4-FFF2-40B4-BE49-F238E27FC236}">
                <a16:creationId xmlns:a16="http://schemas.microsoft.com/office/drawing/2014/main" id="{4C8D043C-C407-5F6B-DE59-97B7180209BA}"/>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4" name="Titel 4">
            <a:extLst>
              <a:ext uri="{FF2B5EF4-FFF2-40B4-BE49-F238E27FC236}">
                <a16:creationId xmlns:a16="http://schemas.microsoft.com/office/drawing/2014/main" id="{CE4805CF-E744-8D15-1719-1780DF90CA08}"/>
              </a:ext>
            </a:extLst>
          </p:cNvPr>
          <p:cNvSpPr txBox="1">
            <a:spLocks/>
          </p:cNvSpPr>
          <p:nvPr/>
        </p:nvSpPr>
        <p:spPr>
          <a:xfrm>
            <a:off x="306388" y="1917700"/>
            <a:ext cx="5233987" cy="1908175"/>
          </a:xfrm>
          <a:prstGeom prst="rect">
            <a:avLst/>
          </a:prstGeom>
        </p:spPr>
        <p:txBody>
          <a:bodyPr lIns="0" tIns="0" rIns="0" bIns="0"/>
          <a:lstStyle>
            <a:lvl1pPr marL="0" indent="0" algn="l" defTabSz="964143" rtl="0" eaLnBrk="1" latinLnBrk="0" hangingPunct="1">
              <a:lnSpc>
                <a:spcPct val="95000"/>
              </a:lnSpc>
              <a:spcBef>
                <a:spcPts val="0"/>
              </a:spcBef>
              <a:spcAft>
                <a:spcPts val="0"/>
              </a:spcAft>
              <a:buNone/>
              <a:defRPr sz="2700" b="1" i="0" u="none" kern="1200">
                <a:solidFill>
                  <a:srgbClr val="003CB4"/>
                </a:solidFill>
                <a:latin typeface="Frutiger for ZKB Light" panose="020B0303030504020204" pitchFamily="34" charset="0"/>
                <a:ea typeface="+mj-ea"/>
                <a:cs typeface="+mj-cs"/>
              </a:defRPr>
            </a:lvl1pPr>
          </a:lstStyle>
          <a:p>
            <a:pPr marL="355600">
              <a:defRPr/>
            </a:pPr>
            <a:r>
              <a:rPr lang="de-CH" sz="4400" dirty="0"/>
              <a:t>At vero eos et </a:t>
            </a:r>
            <a:r>
              <a:rPr lang="de-CH" sz="4400" dirty="0">
                <a:solidFill>
                  <a:schemeClr val="accent6"/>
                </a:solidFill>
              </a:rPr>
              <a:t>accusam</a:t>
            </a:r>
            <a:r>
              <a:rPr lang="de-CH" sz="4400" dirty="0"/>
              <a:t> et justo duo dolores.</a:t>
            </a:r>
          </a:p>
        </p:txBody>
      </p:sp>
      <p:pic>
        <p:nvPicPr>
          <p:cNvPr id="74759" name="Grafik 10">
            <a:extLst>
              <a:ext uri="{FF2B5EF4-FFF2-40B4-BE49-F238E27FC236}">
                <a16:creationId xmlns:a16="http://schemas.microsoft.com/office/drawing/2014/main" id="{CAB5F545-3D62-EA86-7958-6B1BFCDBBF2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22963" y="1671638"/>
            <a:ext cx="6016625" cy="478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think-cell data - do not delete" hidden="1">
            <a:extLst>
              <a:ext uri="{FF2B5EF4-FFF2-40B4-BE49-F238E27FC236}">
                <a16:creationId xmlns:a16="http://schemas.microsoft.com/office/drawing/2014/main" id="{4CDE5070-596F-D9F7-F799-9F9DB56EEC3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76802" name="think-cell data - do not delete" hidden="1">
                        <a:extLst>
                          <a:ext uri="{FF2B5EF4-FFF2-40B4-BE49-F238E27FC236}">
                            <a16:creationId xmlns:a16="http://schemas.microsoft.com/office/drawing/2014/main" id="{4CDE5070-596F-D9F7-F799-9F9DB56EEC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03" name="Oval 9">
            <a:extLst>
              <a:ext uri="{FF2B5EF4-FFF2-40B4-BE49-F238E27FC236}">
                <a16:creationId xmlns:a16="http://schemas.microsoft.com/office/drawing/2014/main" id="{45FF7A9D-9916-B7BE-11A8-0A2FF907F491}"/>
              </a:ext>
            </a:extLst>
          </p:cNvPr>
          <p:cNvSpPr>
            <a:spLocks noChangeArrowheads="1"/>
          </p:cNvSpPr>
          <p:nvPr/>
        </p:nvSpPr>
        <p:spPr bwMode="auto">
          <a:xfrm>
            <a:off x="9555163" y="4765675"/>
            <a:ext cx="1473200" cy="1473200"/>
          </a:xfrm>
          <a:prstGeom prst="ellipse">
            <a:avLst/>
          </a:prstGeom>
          <a:solidFill>
            <a:srgbClr val="68D9B1"/>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2800" b="1" dirty="0">
                <a:solidFill>
                  <a:srgbClr val="FFFFFF"/>
                </a:solidFill>
                <a:latin typeface="Frutiger for ZKB Light" panose="020B0303030504020204" pitchFamily="34" charset="0"/>
              </a:rPr>
              <a:t>7%</a:t>
            </a:r>
            <a:br>
              <a:rPr lang="de-CH" altLang="de-DE" sz="4000" b="1" dirty="0">
                <a:solidFill>
                  <a:srgbClr val="FFFFFF"/>
                </a:solidFill>
                <a:latin typeface="Frutiger for ZKB Light" panose="020B0303030504020204" pitchFamily="34" charset="0"/>
              </a:rPr>
            </a:br>
            <a:r>
              <a:rPr lang="de-CH" altLang="de-DE" sz="1400" dirty="0">
                <a:solidFill>
                  <a:srgbClr val="FFFFFF"/>
                </a:solidFill>
                <a:latin typeface="Frutiger for ZKB Light" panose="020B0303030504020204" pitchFamily="34" charset="0"/>
              </a:rPr>
              <a:t>Lorem ipsum</a:t>
            </a:r>
          </a:p>
        </p:txBody>
      </p:sp>
      <p:sp>
        <p:nvSpPr>
          <p:cNvPr id="76804" name="Oval 9">
            <a:extLst>
              <a:ext uri="{FF2B5EF4-FFF2-40B4-BE49-F238E27FC236}">
                <a16:creationId xmlns:a16="http://schemas.microsoft.com/office/drawing/2014/main" id="{72D0B420-7A8D-83E8-CC98-BB6B91AE909B}"/>
              </a:ext>
            </a:extLst>
          </p:cNvPr>
          <p:cNvSpPr>
            <a:spLocks noChangeArrowheads="1"/>
          </p:cNvSpPr>
          <p:nvPr/>
        </p:nvSpPr>
        <p:spPr bwMode="auto">
          <a:xfrm>
            <a:off x="10277475" y="3144838"/>
            <a:ext cx="1711325" cy="1711325"/>
          </a:xfrm>
          <a:prstGeom prst="ellipse">
            <a:avLst/>
          </a:prstGeom>
          <a:solidFill>
            <a:srgbClr val="29BA88"/>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3200" b="1" dirty="0">
                <a:solidFill>
                  <a:srgbClr val="FFFFFF"/>
                </a:solidFill>
                <a:latin typeface="Frutiger for ZKB Light" panose="020B0303030504020204" pitchFamily="34" charset="0"/>
              </a:rPr>
              <a:t>15%</a:t>
            </a:r>
            <a:br>
              <a:rPr lang="de-CH" altLang="de-DE" sz="4000" b="1" dirty="0">
                <a:solidFill>
                  <a:srgbClr val="FFFFFF"/>
                </a:solidFill>
                <a:latin typeface="Frutiger for ZKB Light" panose="020B0303030504020204" pitchFamily="34" charset="0"/>
              </a:rPr>
            </a:br>
            <a:r>
              <a:rPr lang="de-CH" altLang="de-DE" sz="1600" dirty="0">
                <a:solidFill>
                  <a:srgbClr val="FFFFFF"/>
                </a:solidFill>
                <a:latin typeface="Frutiger for ZKB Light" panose="020B0303030504020204" pitchFamily="34" charset="0"/>
              </a:rPr>
              <a:t>Lorem ipsum</a:t>
            </a:r>
          </a:p>
        </p:txBody>
      </p:sp>
      <p:sp>
        <p:nvSpPr>
          <p:cNvPr id="76805" name="Oval 9">
            <a:extLst>
              <a:ext uri="{FF2B5EF4-FFF2-40B4-BE49-F238E27FC236}">
                <a16:creationId xmlns:a16="http://schemas.microsoft.com/office/drawing/2014/main" id="{11B99D13-073A-B458-D0FC-A6CCB2975408}"/>
              </a:ext>
            </a:extLst>
          </p:cNvPr>
          <p:cNvSpPr>
            <a:spLocks noChangeArrowheads="1"/>
          </p:cNvSpPr>
          <p:nvPr/>
        </p:nvSpPr>
        <p:spPr bwMode="auto">
          <a:xfrm>
            <a:off x="7262813" y="2401888"/>
            <a:ext cx="2862262" cy="2862262"/>
          </a:xfrm>
          <a:prstGeom prst="ellipse">
            <a:avLst/>
          </a:prstGeom>
          <a:solidFill>
            <a:srgbClr val="3D87F5"/>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4800" b="1" dirty="0">
                <a:solidFill>
                  <a:srgbClr val="FFFFFF"/>
                </a:solidFill>
                <a:latin typeface="Frutiger for ZKB Light" panose="020B0303030504020204" pitchFamily="34" charset="0"/>
              </a:rPr>
              <a:t>25%</a:t>
            </a:r>
            <a:br>
              <a:rPr lang="de-CH" altLang="de-DE" sz="4000" b="1" dirty="0">
                <a:solidFill>
                  <a:srgbClr val="FFFFFF"/>
                </a:solidFill>
                <a:latin typeface="Frutiger for ZKB Light" panose="020B0303030504020204" pitchFamily="34" charset="0"/>
              </a:rPr>
            </a:br>
            <a:r>
              <a:rPr lang="de-CH" altLang="de-DE" sz="1600" dirty="0">
                <a:solidFill>
                  <a:srgbClr val="FFFFFF"/>
                </a:solidFill>
                <a:latin typeface="Frutiger for ZKB Light" panose="020B0303030504020204" pitchFamily="34" charset="0"/>
              </a:rPr>
              <a:t>Lorem ipsum</a:t>
            </a:r>
          </a:p>
        </p:txBody>
      </p:sp>
      <p:sp>
        <p:nvSpPr>
          <p:cNvPr id="7" name="Titel 1">
            <a:extLst>
              <a:ext uri="{FF2B5EF4-FFF2-40B4-BE49-F238E27FC236}">
                <a16:creationId xmlns:a16="http://schemas.microsoft.com/office/drawing/2014/main" id="{B5B6C7CE-A576-AB85-8AF5-48E008B35050}"/>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Folientitel (max. zweizeilig)</a:t>
            </a:r>
          </a:p>
        </p:txBody>
      </p:sp>
      <p:sp>
        <p:nvSpPr>
          <p:cNvPr id="76807" name="Foliennummernplatzhalter 10">
            <a:extLst>
              <a:ext uri="{FF2B5EF4-FFF2-40B4-BE49-F238E27FC236}">
                <a16:creationId xmlns:a16="http://schemas.microsoft.com/office/drawing/2014/main" id="{F2C38B1F-5592-4390-8A6D-3F0B321FC6C4}"/>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52</a:t>
            </a:fld>
            <a:endParaRPr lang="de-CH" altLang="de-DE" sz="1100" dirty="0">
              <a:solidFill>
                <a:srgbClr val="003CB4"/>
              </a:solidFill>
            </a:endParaRPr>
          </a:p>
        </p:txBody>
      </p:sp>
      <p:sp>
        <p:nvSpPr>
          <p:cNvPr id="76808" name="Fußzeilenplatzhalter 7">
            <a:extLst>
              <a:ext uri="{FF2B5EF4-FFF2-40B4-BE49-F238E27FC236}">
                <a16:creationId xmlns:a16="http://schemas.microsoft.com/office/drawing/2014/main" id="{B48FD0AD-36C7-7432-B837-A3182FDA8766}"/>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76809" name="Inhaltsplatzhalter 5">
            <a:extLst>
              <a:ext uri="{FF2B5EF4-FFF2-40B4-BE49-F238E27FC236}">
                <a16:creationId xmlns:a16="http://schemas.microsoft.com/office/drawing/2014/main" id="{03170131-C99A-EDDE-9D4C-BB4F30DCCEC1}"/>
              </a:ext>
            </a:extLst>
          </p:cNvPr>
          <p:cNvSpPr>
            <a:spLocks noGrp="1" noChangeArrowheads="1"/>
          </p:cNvSpPr>
          <p:nvPr>
            <p:ph idx="12"/>
          </p:nvPr>
        </p:nvSpPr>
        <p:spPr>
          <a:xfrm>
            <a:off x="306388" y="1885950"/>
            <a:ext cx="3889375" cy="4748213"/>
          </a:xfrm>
        </p:spPr>
        <p:txBody>
          <a:bodyPr/>
          <a:lstStyle/>
          <a:p>
            <a:pPr defTabSz="963613" eaLnBrk="1" hangingPunct="1">
              <a:spcBef>
                <a:spcPct val="0"/>
              </a:spcBef>
              <a:spcAft>
                <a:spcPct val="0"/>
              </a:spcAft>
              <a:buClrTx/>
              <a:buFontTx/>
              <a:buNone/>
            </a:pPr>
            <a:r>
              <a:rPr lang="de-CH" altLang="de-DE" b="1" dirty="0">
                <a:solidFill>
                  <a:schemeClr val="tx1"/>
                </a:solidFill>
                <a:cs typeface="Calibri" panose="020F0502020204030204" pitchFamily="34" charset="0"/>
              </a:rPr>
              <a:t>Nam liber tempor cum soluta </a:t>
            </a:r>
          </a:p>
          <a:p>
            <a:pPr defTabSz="963613" eaLnBrk="1" hangingPunct="1">
              <a:spcBef>
                <a:spcPct val="0"/>
              </a:spcBef>
              <a:spcAft>
                <a:spcPct val="0"/>
              </a:spcAft>
              <a:buClrTx/>
            </a:pPr>
            <a:r>
              <a:rPr lang="de-CH" altLang="de-DE" dirty="0">
                <a:solidFill>
                  <a:schemeClr val="tx1"/>
                </a:solidFill>
                <a:cs typeface="Aharoni" panose="020F0502020204030204" pitchFamily="2" charset="-79"/>
              </a:rPr>
              <a:t>Duis autem vel eum iriure dolor in hendrerit in vulputate velit esse molestie consequat</a:t>
            </a:r>
            <a:r>
              <a:rPr lang="de-CH" altLang="de-DE" dirty="0">
                <a:cs typeface="Aharoni" panose="020F0502020204030204" pitchFamily="2" charset="-79"/>
              </a:rPr>
              <a:t> facilisis at vero eros et accumsan et iusto.</a:t>
            </a:r>
            <a:endParaRPr lang="de-CH" altLang="de-DE" dirty="0">
              <a:solidFill>
                <a:schemeClr val="tx1"/>
              </a:solidFill>
              <a:cs typeface="Aharoni" panose="020F0502020204030204" pitchFamily="2" charset="-79"/>
            </a:endParaRPr>
          </a:p>
          <a:p>
            <a:pPr defTabSz="963613" eaLnBrk="1" hangingPunct="1">
              <a:spcBef>
                <a:spcPct val="0"/>
              </a:spcBef>
              <a:spcAft>
                <a:spcPct val="0"/>
              </a:spcAft>
            </a:pPr>
            <a:endParaRPr lang="de-CH" altLang="de-DE" dirty="0">
              <a:cs typeface="Aharoni" panose="020F0502020204030204" pitchFamily="2" charset="-79"/>
            </a:endParaRPr>
          </a:p>
          <a:p>
            <a:pPr defTabSz="963613" eaLnBrk="1" hangingPunct="1">
              <a:spcBef>
                <a:spcPct val="0"/>
              </a:spcBef>
              <a:spcAft>
                <a:spcPct val="0"/>
              </a:spcAft>
            </a:pPr>
            <a:endParaRPr lang="de-CH" altLang="de-DE" dirty="0">
              <a:cs typeface="Aharoni" panose="020F0502020204030204" pitchFamily="2" charset="-79"/>
            </a:endParaRPr>
          </a:p>
        </p:txBody>
      </p:sp>
      <p:sp>
        <p:nvSpPr>
          <p:cNvPr id="76810" name="Textfeld 8">
            <a:extLst>
              <a:ext uri="{FF2B5EF4-FFF2-40B4-BE49-F238E27FC236}">
                <a16:creationId xmlns:a16="http://schemas.microsoft.com/office/drawing/2014/main" id="{A4AAE104-8761-E2CD-54F3-89F01CC855B4}"/>
              </a:ext>
            </a:extLst>
          </p:cNvPr>
          <p:cNvSpPr txBox="1">
            <a:spLocks noChangeArrowheads="1"/>
          </p:cNvSpPr>
          <p:nvPr/>
        </p:nvSpPr>
        <p:spPr bwMode="auto">
          <a:xfrm>
            <a:off x="-1511300" y="44069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76811" name="Oval 9">
            <a:extLst>
              <a:ext uri="{FF2B5EF4-FFF2-40B4-BE49-F238E27FC236}">
                <a16:creationId xmlns:a16="http://schemas.microsoft.com/office/drawing/2014/main" id="{4597BA17-3916-0BAC-74E5-F475ADB9607A}"/>
              </a:ext>
            </a:extLst>
          </p:cNvPr>
          <p:cNvSpPr>
            <a:spLocks noChangeArrowheads="1"/>
          </p:cNvSpPr>
          <p:nvPr/>
        </p:nvSpPr>
        <p:spPr bwMode="auto">
          <a:xfrm>
            <a:off x="5592763" y="1263650"/>
            <a:ext cx="2020887" cy="2019300"/>
          </a:xfrm>
          <a:prstGeom prst="ellipse">
            <a:avLst/>
          </a:prstGeom>
          <a:solidFill>
            <a:srgbClr val="003CB4"/>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4400" b="1" dirty="0">
                <a:solidFill>
                  <a:schemeClr val="bg1"/>
                </a:solidFill>
                <a:latin typeface="Frutiger for ZKB Light" panose="020B0303030504020204" pitchFamily="34" charset="0"/>
              </a:rPr>
              <a:t>20%</a:t>
            </a:r>
            <a:br>
              <a:rPr lang="de-CH" altLang="de-DE" sz="4000" b="1" dirty="0">
                <a:solidFill>
                  <a:schemeClr val="bg1"/>
                </a:solidFill>
                <a:latin typeface="Frutiger for ZKB Light" panose="020B0303030504020204" pitchFamily="34" charset="0"/>
              </a:rPr>
            </a:br>
            <a:r>
              <a:rPr lang="de-CH" altLang="de-DE" sz="1600" dirty="0">
                <a:solidFill>
                  <a:srgbClr val="FFFFFF"/>
                </a:solidFill>
                <a:latin typeface="Frutiger for ZKB Light" panose="020B0303030504020204" pitchFamily="34" charset="0"/>
              </a:rPr>
              <a:t>Lorem ipsum</a:t>
            </a:r>
          </a:p>
        </p:txBody>
      </p:sp>
      <p:sp>
        <p:nvSpPr>
          <p:cNvPr id="32" name="Oval 9">
            <a:extLst>
              <a:ext uri="{FF2B5EF4-FFF2-40B4-BE49-F238E27FC236}">
                <a16:creationId xmlns:a16="http://schemas.microsoft.com/office/drawing/2014/main" id="{97536C6A-8097-D921-7CDA-AF0723C8E61F}"/>
              </a:ext>
            </a:extLst>
          </p:cNvPr>
          <p:cNvSpPr/>
          <p:nvPr/>
        </p:nvSpPr>
        <p:spPr>
          <a:xfrm>
            <a:off x="3960813" y="3240088"/>
            <a:ext cx="3365500" cy="3365500"/>
          </a:xfrm>
          <a:prstGeom prst="ellipse">
            <a:avLst/>
          </a:prstGeom>
          <a:solidFill>
            <a:schemeClr val="accent3"/>
          </a:solidFill>
          <a:ln w="6350" cap="flat" cmpd="sng" algn="ctr">
            <a:noFill/>
            <a:prstDash val="solid"/>
            <a:round/>
            <a:headEnd type="none" w="med" len="med"/>
            <a:tailEnd type="none" w="med" len="med"/>
          </a:ln>
          <a:effectLst/>
        </p:spPr>
        <p:txBody>
          <a:bodyPr lIns="0" tIns="0" rIns="0" bIns="0" anchor="ctr"/>
          <a:lstStyle/>
          <a:p>
            <a:pPr algn="ctr" eaLnBrk="1" hangingPunct="1">
              <a:spcBef>
                <a:spcPts val="0"/>
              </a:spcBef>
              <a:defRPr/>
            </a:pPr>
            <a:r>
              <a:rPr lang="de-CH" sz="6000" b="1" dirty="0">
                <a:solidFill>
                  <a:schemeClr val="dk1"/>
                </a:solidFill>
                <a:latin typeface="Frutiger for ZKB Light" panose="020B0303030504020204" pitchFamily="34" charset="0"/>
              </a:rPr>
              <a:t>30%</a:t>
            </a:r>
            <a:br>
              <a:rPr lang="de-CH" sz="4000" b="1" dirty="0">
                <a:solidFill>
                  <a:schemeClr val="dk1"/>
                </a:solidFill>
                <a:latin typeface="Frutiger for ZKB Light" panose="020B0303030504020204" pitchFamily="34" charset="0"/>
              </a:rPr>
            </a:br>
            <a:r>
              <a:rPr lang="de-CH" sz="1600" dirty="0">
                <a:solidFill>
                  <a:schemeClr val="dk1"/>
                </a:solidFill>
                <a:latin typeface="Frutiger for ZKB Light" panose="020B0303030504020204" pitchFamily="34" charset="0"/>
              </a:rPr>
              <a:t>Lorem ipsum</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826" name="think-cell data - do not delete" hidden="1">
            <a:extLst>
              <a:ext uri="{FF2B5EF4-FFF2-40B4-BE49-F238E27FC236}">
                <a16:creationId xmlns:a16="http://schemas.microsoft.com/office/drawing/2014/main" id="{9D6EDA6B-FD23-DC36-4317-B4E68FD55D8B}"/>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77826" name="think-cell data - do not delete" hidden="1">
                        <a:extLst>
                          <a:ext uri="{FF2B5EF4-FFF2-40B4-BE49-F238E27FC236}">
                            <a16:creationId xmlns:a16="http://schemas.microsoft.com/office/drawing/2014/main" id="{9D6EDA6B-FD23-DC36-4317-B4E68FD55D8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el 1">
            <a:extLst>
              <a:ext uri="{FF2B5EF4-FFF2-40B4-BE49-F238E27FC236}">
                <a16:creationId xmlns:a16="http://schemas.microsoft.com/office/drawing/2014/main" id="{30C33B8D-7A32-6974-3F96-46F17078F521}"/>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Folientitel (max. zweizeilig)</a:t>
            </a:r>
          </a:p>
        </p:txBody>
      </p:sp>
      <p:sp>
        <p:nvSpPr>
          <p:cNvPr id="77828" name="Foliennummernplatzhalter 12">
            <a:extLst>
              <a:ext uri="{FF2B5EF4-FFF2-40B4-BE49-F238E27FC236}">
                <a16:creationId xmlns:a16="http://schemas.microsoft.com/office/drawing/2014/main" id="{02013457-15A0-EC7B-6819-4B00C88B6A74}"/>
              </a:ext>
            </a:extLst>
          </p:cNvPr>
          <p:cNvSpPr>
            <a:spLocks noGrp="1" noChangeArrowheads="1"/>
          </p:cNvSpPr>
          <p:nvPr>
            <p:ph type="sldNum" sz="quarter" idx="16"/>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1B41B96-C24D-47CE-B205-C22431F12D8E}" type="slidenum">
              <a:rPr lang="de-CH" smtClean="0"/>
              <a:pPr>
                <a:spcBef>
                  <a:spcPct val="0"/>
                </a:spcBef>
                <a:spcAft>
                  <a:spcPct val="0"/>
                </a:spcAft>
                <a:defRPr/>
              </a:pPr>
              <a:t>53</a:t>
            </a:fld>
            <a:endParaRPr lang="de-CH" altLang="de-DE" sz="1100" dirty="0">
              <a:solidFill>
                <a:srgbClr val="003CB4"/>
              </a:solidFill>
            </a:endParaRPr>
          </a:p>
        </p:txBody>
      </p:sp>
      <p:sp>
        <p:nvSpPr>
          <p:cNvPr id="77829" name="Fußzeilenplatzhalter 11">
            <a:extLst>
              <a:ext uri="{FF2B5EF4-FFF2-40B4-BE49-F238E27FC236}">
                <a16:creationId xmlns:a16="http://schemas.microsoft.com/office/drawing/2014/main" id="{585559DC-8036-CEB3-608E-364CD6296E19}"/>
              </a:ext>
            </a:extLst>
          </p:cNvPr>
          <p:cNvSpPr>
            <a:spLocks noGrp="1" noChangeArrowheads="1"/>
          </p:cNvSpPr>
          <p:nvPr>
            <p:ph type="ftr" sz="quarter" idx="17"/>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 name="Inhaltsplatzhalter 2">
            <a:extLst>
              <a:ext uri="{FF2B5EF4-FFF2-40B4-BE49-F238E27FC236}">
                <a16:creationId xmlns:a16="http://schemas.microsoft.com/office/drawing/2014/main" id="{2486DF59-EF13-68F8-8DAA-4BAF918442C1}"/>
              </a:ext>
            </a:extLst>
          </p:cNvPr>
          <p:cNvSpPr>
            <a:spLocks noGrp="1"/>
          </p:cNvSpPr>
          <p:nvPr>
            <p:ph idx="12"/>
          </p:nvPr>
        </p:nvSpPr>
        <p:spPr>
          <a:xfrm>
            <a:off x="306388" y="2532063"/>
            <a:ext cx="5976937" cy="4102100"/>
          </a:xfrm>
          <a:ln>
            <a:solidFill>
              <a:schemeClr val="bg1">
                <a:lumMod val="75000"/>
                <a:alpha val="0"/>
              </a:schemeClr>
            </a:solidFill>
          </a:ln>
        </p:spPr>
        <p:txBody>
          <a:bodyPr rtlCol="0"/>
          <a:lstStyle/>
          <a:p>
            <a:pPr eaLnBrk="1" fontAlgn="auto" hangingPunct="1">
              <a:defRPr/>
            </a:pPr>
            <a:r>
              <a:rPr lang="de-CH" dirty="0"/>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a:t>
            </a:r>
            <a:endParaRPr lang="de-CH" dirty="0">
              <a:solidFill>
                <a:schemeClr val="accent3"/>
              </a:solidFill>
            </a:endParaRPr>
          </a:p>
        </p:txBody>
      </p:sp>
      <p:sp>
        <p:nvSpPr>
          <p:cNvPr id="14" name="Textplatzhalter 13">
            <a:extLst>
              <a:ext uri="{FF2B5EF4-FFF2-40B4-BE49-F238E27FC236}">
                <a16:creationId xmlns:a16="http://schemas.microsoft.com/office/drawing/2014/main" id="{C7000CFA-97C8-3AAE-4B5F-8092419B43B6}"/>
              </a:ext>
            </a:extLst>
          </p:cNvPr>
          <p:cNvSpPr>
            <a:spLocks noGrp="1"/>
          </p:cNvSpPr>
          <p:nvPr>
            <p:ph type="body" sz="quarter" idx="14"/>
          </p:nvPr>
        </p:nvSpPr>
        <p:spPr>
          <a:xfrm>
            <a:off x="306388" y="1885950"/>
            <a:ext cx="5976937" cy="646113"/>
          </a:xfrm>
        </p:spPr>
        <p:txBody>
          <a:bodyPr rtlCol="0">
            <a:noAutofit/>
          </a:bodyPr>
          <a:lstStyle/>
          <a:p>
            <a:pPr defTabSz="284221" eaLnBrk="1" fontAlgn="auto" hangingPunct="1">
              <a:defRPr/>
            </a:pPr>
            <a:r>
              <a:rPr lang="de-CH" dirty="0">
                <a:cs typeface="+mn-cs"/>
              </a:rPr>
              <a:t>Überschrift</a:t>
            </a:r>
          </a:p>
        </p:txBody>
      </p:sp>
      <p:sp>
        <p:nvSpPr>
          <p:cNvPr id="77832" name="Textfeld 8">
            <a:extLst>
              <a:ext uri="{FF2B5EF4-FFF2-40B4-BE49-F238E27FC236}">
                <a16:creationId xmlns:a16="http://schemas.microsoft.com/office/drawing/2014/main" id="{220C52D3-1FE2-F27F-DF93-11C2AAA26182}"/>
              </a:ext>
            </a:extLst>
          </p:cNvPr>
          <p:cNvSpPr txBox="1">
            <a:spLocks noChangeArrowheads="1"/>
          </p:cNvSpPr>
          <p:nvPr/>
        </p:nvSpPr>
        <p:spPr bwMode="auto">
          <a:xfrm>
            <a:off x="-1511300" y="44069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77839" name="Textfeld 1">
            <a:extLst>
              <a:ext uri="{FF2B5EF4-FFF2-40B4-BE49-F238E27FC236}">
                <a16:creationId xmlns:a16="http://schemas.microsoft.com/office/drawing/2014/main" id="{57FD0B04-3853-5720-63AD-DE2CFEAB1D30}"/>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sp>
        <p:nvSpPr>
          <p:cNvPr id="2" name="Oval 3">
            <a:extLst>
              <a:ext uri="{FF2B5EF4-FFF2-40B4-BE49-F238E27FC236}">
                <a16:creationId xmlns:a16="http://schemas.microsoft.com/office/drawing/2014/main" id="{5048C066-105F-66A4-6BAC-52B8149BC316}"/>
              </a:ext>
            </a:extLst>
          </p:cNvPr>
          <p:cNvSpPr/>
          <p:nvPr/>
        </p:nvSpPr>
        <p:spPr>
          <a:xfrm>
            <a:off x="7197503" y="3004206"/>
            <a:ext cx="2376264" cy="2376264"/>
          </a:xfrm>
          <a:prstGeom prst="ellipse">
            <a:avLst/>
          </a:prstGeom>
          <a:solidFill>
            <a:srgbClr val="003CB4"/>
          </a:solidFill>
          <a:ln w="6350" cap="flat" cmpd="sng" algn="ctr">
            <a:solidFill>
              <a:srgbClr val="000000">
                <a:alpha val="0"/>
              </a:srgbClr>
            </a:solidFill>
            <a:prstDash val="solid"/>
            <a:round/>
            <a:headEnd type="none" w="med" len="med"/>
            <a:tailEnd type="none" w="med" len="med"/>
          </a:ln>
          <a:effec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Font typeface="Frutiger for ZKB Light" panose="020B0303030504020204" pitchFamily="34" charset="0"/>
              <a:buNone/>
            </a:pPr>
            <a:endParaRPr lang="de-CH" sz="1600" b="0" i="0" u="none" dirty="0">
              <a:solidFill>
                <a:srgbClr val="003CB4"/>
              </a:solidFill>
              <a:latin typeface="Frutiger for ZKB Light" panose="020B0303030504020204" pitchFamily="34" charset="0"/>
            </a:endParaRPr>
          </a:p>
        </p:txBody>
      </p:sp>
      <p:sp>
        <p:nvSpPr>
          <p:cNvPr id="4" name="Oval 5">
            <a:extLst>
              <a:ext uri="{FF2B5EF4-FFF2-40B4-BE49-F238E27FC236}">
                <a16:creationId xmlns:a16="http://schemas.microsoft.com/office/drawing/2014/main" id="{D680BF86-389E-8785-8FD6-1D30238FB405}"/>
              </a:ext>
            </a:extLst>
          </p:cNvPr>
          <p:cNvSpPr/>
          <p:nvPr/>
        </p:nvSpPr>
        <p:spPr>
          <a:xfrm>
            <a:off x="9308107" y="1864828"/>
            <a:ext cx="1945469" cy="1945469"/>
          </a:xfrm>
          <a:prstGeom prst="ellipse">
            <a:avLst/>
          </a:prstGeom>
          <a:solidFill>
            <a:srgbClr val="A0CAFD"/>
          </a:solidFill>
          <a:ln w="6350" cap="flat" cmpd="sng" algn="ctr">
            <a:solidFill>
              <a:srgbClr val="000000">
                <a:alpha val="0"/>
              </a:srgbClr>
            </a:solidFill>
            <a:prstDash val="solid"/>
            <a:round/>
            <a:headEnd type="none" w="med" len="med"/>
            <a:tailEnd type="none" w="med" len="med"/>
          </a:ln>
          <a:effec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Font typeface="Frutiger for ZKB Light" panose="020B0303030504020204" pitchFamily="34" charset="0"/>
              <a:buNone/>
            </a:pPr>
            <a:endParaRPr lang="de-CH" sz="1600" b="0" i="0" u="none" dirty="0">
              <a:solidFill>
                <a:srgbClr val="003CB4"/>
              </a:solidFill>
              <a:latin typeface="Frutiger for ZKB Light" panose="020B0303030504020204" pitchFamily="34" charset="0"/>
            </a:endParaRPr>
          </a:p>
        </p:txBody>
      </p:sp>
      <p:sp>
        <p:nvSpPr>
          <p:cNvPr id="5" name="Oval 9">
            <a:extLst>
              <a:ext uri="{FF2B5EF4-FFF2-40B4-BE49-F238E27FC236}">
                <a16:creationId xmlns:a16="http://schemas.microsoft.com/office/drawing/2014/main" id="{2D4668B0-D9AE-1D67-3DA4-F81EE1C7FE53}"/>
              </a:ext>
            </a:extLst>
          </p:cNvPr>
          <p:cNvSpPr/>
          <p:nvPr/>
        </p:nvSpPr>
        <p:spPr>
          <a:xfrm>
            <a:off x="9534353" y="3901998"/>
            <a:ext cx="2536994" cy="2536994"/>
          </a:xfrm>
          <a:prstGeom prst="ellipse">
            <a:avLst/>
          </a:prstGeom>
          <a:solidFill>
            <a:srgbClr val="3D87F5"/>
          </a:solidFill>
          <a:ln w="6350" cap="flat" cmpd="sng" algn="ctr">
            <a:solidFill>
              <a:srgbClr val="000000">
                <a:alpha val="0"/>
              </a:srgbClr>
            </a:solidFill>
            <a:prstDash val="solid"/>
            <a:round/>
            <a:headEnd type="none" w="med" len="med"/>
            <a:tailEnd type="none" w="med" len="med"/>
          </a:ln>
          <a:effec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Font typeface="Frutiger for ZKB Light" panose="020B0303030504020204" pitchFamily="34" charset="0"/>
              <a:buNone/>
            </a:pPr>
            <a:endParaRPr lang="de-CH" sz="1600" b="0" i="0" u="none" dirty="0">
              <a:solidFill>
                <a:srgbClr val="003CB4"/>
              </a:solidFill>
              <a:latin typeface="Frutiger for ZKB Light" panose="020B0303030504020204" pitchFamily="34" charset="0"/>
            </a:endParaRPr>
          </a:p>
        </p:txBody>
      </p:sp>
      <p:pic>
        <p:nvPicPr>
          <p:cNvPr id="6" name="Grafik 5">
            <a:extLst>
              <a:ext uri="{FF2B5EF4-FFF2-40B4-BE49-F238E27FC236}">
                <a16:creationId xmlns:a16="http://schemas.microsoft.com/office/drawing/2014/main" id="{360F7E3B-EA2D-505F-8E59-5116B2D5A90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27449" y="4495094"/>
            <a:ext cx="1350802" cy="1350802"/>
          </a:xfrm>
          <a:prstGeom prst="rect">
            <a:avLst/>
          </a:prstGeom>
        </p:spPr>
      </p:pic>
      <p:pic>
        <p:nvPicPr>
          <p:cNvPr id="8" name="Grafik 7">
            <a:extLst>
              <a:ext uri="{FF2B5EF4-FFF2-40B4-BE49-F238E27FC236}">
                <a16:creationId xmlns:a16="http://schemas.microsoft.com/office/drawing/2014/main" id="{57D177EB-2A7A-F7D6-7F40-A20E5994AF9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7642109" y="3448812"/>
            <a:ext cx="1487052" cy="1487052"/>
          </a:xfrm>
          <a:prstGeom prst="rect">
            <a:avLst/>
          </a:prstGeom>
        </p:spPr>
      </p:pic>
      <p:pic>
        <p:nvPicPr>
          <p:cNvPr id="9" name="Grafik 8">
            <a:extLst>
              <a:ext uri="{FF2B5EF4-FFF2-40B4-BE49-F238E27FC236}">
                <a16:creationId xmlns:a16="http://schemas.microsoft.com/office/drawing/2014/main" id="{3D564EE0-E9A9-F048-F45A-5D2E50BADE9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41887" y="2198608"/>
            <a:ext cx="1277908" cy="1277908"/>
          </a:xfrm>
          <a:prstGeom prst="rect">
            <a:avLst/>
          </a:prstGeom>
        </p:spPr>
      </p:pic>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8850" name="think-cell data - do not delete" hidden="1">
            <a:extLst>
              <a:ext uri="{FF2B5EF4-FFF2-40B4-BE49-F238E27FC236}">
                <a16:creationId xmlns:a16="http://schemas.microsoft.com/office/drawing/2014/main" id="{B8ED829D-73E0-96A5-7F24-3B1847220E3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8850" name="think-cell data - do not delete" hidden="1">
                        <a:extLst>
                          <a:ext uri="{FF2B5EF4-FFF2-40B4-BE49-F238E27FC236}">
                            <a16:creationId xmlns:a16="http://schemas.microsoft.com/office/drawing/2014/main" id="{B8ED829D-73E0-96A5-7F24-3B1847220E3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8851" name="Titel 1">
            <a:extLst>
              <a:ext uri="{FF2B5EF4-FFF2-40B4-BE49-F238E27FC236}">
                <a16:creationId xmlns:a16="http://schemas.microsoft.com/office/drawing/2014/main" id="{F73B6E71-C47B-00A2-57F5-7D990F53E73C}"/>
              </a:ext>
            </a:extLst>
          </p:cNvPr>
          <p:cNvSpPr>
            <a:spLocks noGrp="1"/>
          </p:cNvSpPr>
          <p:nvPr>
            <p:ph type="title"/>
          </p:nvPr>
        </p:nvSpPr>
        <p:spPr>
          <a:xfrm>
            <a:off x="306388" y="287338"/>
            <a:ext cx="10180637" cy="863600"/>
          </a:xfrm>
          <a:extLst>
            <a:ext uri="{91240B29-F687-4F45-9708-019B960494DF}">
              <a14:hiddenLine xmlns:a14="http://schemas.microsoft.com/office/drawing/2010/main" w="19050">
                <a:solidFill>
                  <a:srgbClr val="008000"/>
                </a:solidFill>
                <a:prstDash val="solid"/>
                <a:miter lim="800000"/>
                <a:headEnd/>
                <a:tailEnd/>
              </a14:hiddenLine>
            </a:ext>
          </a:extLst>
        </p:spPr>
        <p:txBody>
          <a:bodyPr/>
          <a:lstStyle/>
          <a:p>
            <a:pPr eaLnBrk="1" hangingPunct="1">
              <a:spcBef>
                <a:spcPct val="0"/>
              </a:spcBef>
              <a:spcAft>
                <a:spcPct val="0"/>
              </a:spcAft>
            </a:pPr>
            <a:r>
              <a:rPr lang="de-CH" altLang="de-DE" dirty="0"/>
              <a:t>Übersicht Zahlen/Fakten</a:t>
            </a:r>
          </a:p>
        </p:txBody>
      </p:sp>
      <p:sp>
        <p:nvSpPr>
          <p:cNvPr id="78852" name="Foliennummernplatzhalter 23">
            <a:extLst>
              <a:ext uri="{FF2B5EF4-FFF2-40B4-BE49-F238E27FC236}">
                <a16:creationId xmlns:a16="http://schemas.microsoft.com/office/drawing/2014/main" id="{1778910B-53FC-FBDB-437D-2F94DA90BE97}"/>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BEAC5A39-8BD2-432E-B265-C3FB3A060975}" type="slidenum">
              <a:rPr lang="de-CH" altLang="de-DE" sz="1100" smtClean="0">
                <a:solidFill>
                  <a:srgbClr val="003CB4"/>
                </a:solidFill>
                <a:latin typeface="Frutiger for ZKB Light" panose="020B0303030504020204" pitchFamily="34" charset="0"/>
              </a:rPr>
              <a:pPr>
                <a:spcBef>
                  <a:spcPct val="0"/>
                </a:spcBef>
                <a:spcAft>
                  <a:spcPct val="0"/>
                </a:spcAft>
              </a:pPr>
              <a:t>54</a:t>
            </a:fld>
            <a:endParaRPr lang="de-CH" altLang="de-DE" sz="1100" dirty="0">
              <a:solidFill>
                <a:srgbClr val="003CB4"/>
              </a:solidFill>
              <a:latin typeface="Frutiger for ZKB Light" panose="020B0303030504020204" pitchFamily="34" charset="0"/>
            </a:endParaRPr>
          </a:p>
        </p:txBody>
      </p:sp>
      <p:sp>
        <p:nvSpPr>
          <p:cNvPr id="78853" name="Fußzeilenplatzhalter 20">
            <a:extLst>
              <a:ext uri="{FF2B5EF4-FFF2-40B4-BE49-F238E27FC236}">
                <a16:creationId xmlns:a16="http://schemas.microsoft.com/office/drawing/2014/main" id="{08B0D57C-0B7C-F447-D2B9-A379912F4351}"/>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78854" name="Textfeld 15">
            <a:extLst>
              <a:ext uri="{FF2B5EF4-FFF2-40B4-BE49-F238E27FC236}">
                <a16:creationId xmlns:a16="http://schemas.microsoft.com/office/drawing/2014/main" id="{DB19B562-6263-5AEE-91F3-040A82EA6471}"/>
              </a:ext>
            </a:extLst>
          </p:cNvPr>
          <p:cNvSpPr txBox="1">
            <a:spLocks noChangeArrowheads="1"/>
          </p:cNvSpPr>
          <p:nvPr/>
        </p:nvSpPr>
        <p:spPr bwMode="auto">
          <a:xfrm>
            <a:off x="306388" y="6454775"/>
            <a:ext cx="12242800"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spcBef>
                <a:spcPct val="20000"/>
              </a:spcBef>
            </a:pPr>
            <a:r>
              <a:rPr lang="de-CH" altLang="de-DE" sz="1100" baseline="30000" dirty="0"/>
              <a:t>1</a:t>
            </a:r>
            <a:r>
              <a:rPr lang="de-CH" altLang="de-DE" sz="1100" dirty="0"/>
              <a:t> Davon xx Geschäftsstellen (Vorjahr: xx) der Zürcher Kantonalbank in Zürich sowie x Geschäftsstellen</a:t>
            </a:r>
          </a:p>
        </p:txBody>
      </p:sp>
      <p:sp>
        <p:nvSpPr>
          <p:cNvPr id="78855" name="Rechteck 2">
            <a:extLst>
              <a:ext uri="{FF2B5EF4-FFF2-40B4-BE49-F238E27FC236}">
                <a16:creationId xmlns:a16="http://schemas.microsoft.com/office/drawing/2014/main" id="{5556B7A8-CBDC-B705-E219-3BDB4DA22D79}"/>
              </a:ext>
            </a:extLst>
          </p:cNvPr>
          <p:cNvSpPr>
            <a:spLocks noChangeArrowheads="1"/>
          </p:cNvSpPr>
          <p:nvPr/>
        </p:nvSpPr>
        <p:spPr bwMode="auto">
          <a:xfrm>
            <a:off x="6470650" y="3400425"/>
            <a:ext cx="2984500" cy="2936875"/>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pic>
        <p:nvPicPr>
          <p:cNvPr id="78856" name="Grafik 6">
            <a:extLst>
              <a:ext uri="{FF2B5EF4-FFF2-40B4-BE49-F238E27FC236}">
                <a16:creationId xmlns:a16="http://schemas.microsoft.com/office/drawing/2014/main" id="{69191EDD-6005-A7D7-BE61-F082ECCB67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91350" y="3671888"/>
            <a:ext cx="1995488" cy="248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57" name="Rechteck 8">
            <a:extLst>
              <a:ext uri="{FF2B5EF4-FFF2-40B4-BE49-F238E27FC236}">
                <a16:creationId xmlns:a16="http://schemas.microsoft.com/office/drawing/2014/main" id="{6C30BF06-52D4-3349-D1E0-B55FDA51DE8C}"/>
              </a:ext>
            </a:extLst>
          </p:cNvPr>
          <p:cNvSpPr>
            <a:spLocks noChangeArrowheads="1"/>
          </p:cNvSpPr>
          <p:nvPr/>
        </p:nvSpPr>
        <p:spPr bwMode="auto">
          <a:xfrm>
            <a:off x="306388" y="3400425"/>
            <a:ext cx="6070600" cy="2936875"/>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sp>
        <p:nvSpPr>
          <p:cNvPr id="78858" name="Rechteck 9">
            <a:extLst>
              <a:ext uri="{FF2B5EF4-FFF2-40B4-BE49-F238E27FC236}">
                <a16:creationId xmlns:a16="http://schemas.microsoft.com/office/drawing/2014/main" id="{2A2F21C4-7A40-41CD-C1D7-70E4B4326954}"/>
              </a:ext>
            </a:extLst>
          </p:cNvPr>
          <p:cNvSpPr>
            <a:spLocks noChangeArrowheads="1"/>
          </p:cNvSpPr>
          <p:nvPr/>
        </p:nvSpPr>
        <p:spPr bwMode="auto">
          <a:xfrm>
            <a:off x="306388" y="4024313"/>
            <a:ext cx="4538662" cy="237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0" tIns="0" rIns="0" bIns="0">
            <a:spAutoFit/>
          </a:bodyPr>
          <a:lstStyle>
            <a:lvl1pPr>
              <a:tabLst>
                <a:tab pos="2332038" algn="l"/>
              </a:tabLst>
              <a:defRPr sz="6300">
                <a:solidFill>
                  <a:schemeClr val="tx1"/>
                </a:solidFill>
                <a:latin typeface="Frutiger for ZKB Light"/>
              </a:defRPr>
            </a:lvl1pPr>
            <a:lvl2pPr marL="742950" indent="-285750">
              <a:tabLst>
                <a:tab pos="2332038" algn="l"/>
              </a:tabLst>
              <a:defRPr sz="6300">
                <a:solidFill>
                  <a:schemeClr val="tx1"/>
                </a:solidFill>
                <a:latin typeface="Frutiger for ZKB Light"/>
              </a:defRPr>
            </a:lvl2pPr>
            <a:lvl3pPr marL="1143000" indent="-228600">
              <a:tabLst>
                <a:tab pos="2332038" algn="l"/>
              </a:tabLst>
              <a:defRPr sz="6300">
                <a:solidFill>
                  <a:schemeClr val="tx1"/>
                </a:solidFill>
                <a:latin typeface="Frutiger for ZKB Light"/>
              </a:defRPr>
            </a:lvl3pPr>
            <a:lvl4pPr marL="1600200" indent="-228600">
              <a:tabLst>
                <a:tab pos="2332038" algn="l"/>
              </a:tabLst>
              <a:defRPr sz="6300">
                <a:solidFill>
                  <a:schemeClr val="tx1"/>
                </a:solidFill>
                <a:latin typeface="Frutiger for ZKB Light"/>
              </a:defRPr>
            </a:lvl4pPr>
            <a:lvl5pPr marL="2057400" indent="-228600">
              <a:tabLst>
                <a:tab pos="2332038" algn="l"/>
              </a:tabLst>
              <a:defRPr sz="6300">
                <a:solidFill>
                  <a:schemeClr val="tx1"/>
                </a:solidFill>
                <a:latin typeface="Frutiger for ZKB Light"/>
              </a:defRPr>
            </a:lvl5pPr>
            <a:lvl6pPr marL="2514600" indent="-228600" eaLnBrk="0" fontAlgn="base" hangingPunct="0">
              <a:spcBef>
                <a:spcPct val="0"/>
              </a:spcBef>
              <a:spcAft>
                <a:spcPct val="0"/>
              </a:spcAft>
              <a:tabLst>
                <a:tab pos="2332038" algn="l"/>
              </a:tabLst>
              <a:defRPr sz="6300">
                <a:solidFill>
                  <a:schemeClr val="tx1"/>
                </a:solidFill>
                <a:latin typeface="Frutiger for ZKB Light"/>
              </a:defRPr>
            </a:lvl6pPr>
            <a:lvl7pPr marL="2971800" indent="-228600" eaLnBrk="0" fontAlgn="base" hangingPunct="0">
              <a:spcBef>
                <a:spcPct val="0"/>
              </a:spcBef>
              <a:spcAft>
                <a:spcPct val="0"/>
              </a:spcAft>
              <a:tabLst>
                <a:tab pos="2332038" algn="l"/>
              </a:tabLst>
              <a:defRPr sz="6300">
                <a:solidFill>
                  <a:schemeClr val="tx1"/>
                </a:solidFill>
                <a:latin typeface="Frutiger for ZKB Light"/>
              </a:defRPr>
            </a:lvl7pPr>
            <a:lvl8pPr marL="3429000" indent="-228600" eaLnBrk="0" fontAlgn="base" hangingPunct="0">
              <a:spcBef>
                <a:spcPct val="0"/>
              </a:spcBef>
              <a:spcAft>
                <a:spcPct val="0"/>
              </a:spcAft>
              <a:tabLst>
                <a:tab pos="2332038" algn="l"/>
              </a:tabLst>
              <a:defRPr sz="6300">
                <a:solidFill>
                  <a:schemeClr val="tx1"/>
                </a:solidFill>
                <a:latin typeface="Frutiger for ZKB Light"/>
              </a:defRPr>
            </a:lvl8pPr>
            <a:lvl9pPr marL="3886200" indent="-228600" eaLnBrk="0" fontAlgn="base" hangingPunct="0">
              <a:spcBef>
                <a:spcPct val="0"/>
              </a:spcBef>
              <a:spcAft>
                <a:spcPct val="0"/>
              </a:spcAft>
              <a:tabLst>
                <a:tab pos="2332038" algn="l"/>
              </a:tabLst>
              <a:defRPr sz="6300">
                <a:solidFill>
                  <a:schemeClr val="tx1"/>
                </a:solidFill>
                <a:latin typeface="Frutiger for ZKB Light"/>
              </a:defRPr>
            </a:lvl9pPr>
          </a:lstStyle>
          <a:p>
            <a:pPr eaLnBrk="1" hangingPunct="1">
              <a:lnSpc>
                <a:spcPts val="6100"/>
              </a:lnSpc>
              <a:spcBef>
                <a:spcPts val="0"/>
              </a:spcBef>
            </a:pPr>
            <a:r>
              <a:rPr lang="de-CH" altLang="de-DE" sz="6800" b="1" dirty="0">
                <a:solidFill>
                  <a:srgbClr val="003CB4"/>
                </a:solidFill>
                <a:latin typeface="Frutiger for ZKB Light" panose="020B0303030504020204" pitchFamily="34" charset="0"/>
              </a:rPr>
              <a:t>AAA 	</a:t>
            </a:r>
            <a:r>
              <a:rPr lang="de-CH" altLang="de-DE" sz="1400" b="1" dirty="0">
                <a:solidFill>
                  <a:srgbClr val="003CB4"/>
                </a:solidFill>
                <a:latin typeface="Frutiger for ZKB Light" panose="020B0303030504020204" pitchFamily="34" charset="0"/>
              </a:rPr>
              <a:t>S&amp;P</a:t>
            </a:r>
          </a:p>
          <a:p>
            <a:pPr eaLnBrk="1" hangingPunct="1">
              <a:lnSpc>
                <a:spcPts val="6100"/>
              </a:lnSpc>
              <a:spcBef>
                <a:spcPts val="0"/>
              </a:spcBef>
            </a:pPr>
            <a:r>
              <a:rPr lang="de-CH" altLang="de-DE" sz="6800" b="1" dirty="0">
                <a:solidFill>
                  <a:srgbClr val="003CB4"/>
                </a:solidFill>
                <a:latin typeface="Frutiger for ZKB Light" panose="020B0303030504020204" pitchFamily="34" charset="0"/>
              </a:rPr>
              <a:t>AAA	</a:t>
            </a:r>
            <a:r>
              <a:rPr lang="de-CH" altLang="de-DE" sz="1400" b="1" dirty="0">
                <a:solidFill>
                  <a:srgbClr val="003CB4"/>
                </a:solidFill>
                <a:latin typeface="Frutiger for ZKB Light" panose="020B0303030504020204" pitchFamily="34" charset="0"/>
              </a:rPr>
              <a:t>Fitch</a:t>
            </a:r>
            <a:endParaRPr lang="de-CH" altLang="de-DE" sz="6800" b="1" dirty="0">
              <a:solidFill>
                <a:srgbClr val="003CB4"/>
              </a:solidFill>
              <a:latin typeface="Frutiger for ZKB Light" panose="020B0303030504020204" pitchFamily="34" charset="0"/>
            </a:endParaRPr>
          </a:p>
          <a:p>
            <a:pPr eaLnBrk="1" hangingPunct="1">
              <a:lnSpc>
                <a:spcPts val="6100"/>
              </a:lnSpc>
              <a:spcBef>
                <a:spcPts val="0"/>
              </a:spcBef>
            </a:pPr>
            <a:r>
              <a:rPr lang="de-CH" altLang="de-DE" sz="6800" b="1" dirty="0">
                <a:solidFill>
                  <a:srgbClr val="003CB4"/>
                </a:solidFill>
                <a:latin typeface="Frutiger for ZKB Light" panose="020B0303030504020204" pitchFamily="34" charset="0"/>
              </a:rPr>
              <a:t>Aaa	</a:t>
            </a:r>
            <a:r>
              <a:rPr lang="de-CH" altLang="de-DE" sz="1400" b="1" dirty="0">
                <a:solidFill>
                  <a:srgbClr val="003CB4"/>
                </a:solidFill>
                <a:latin typeface="Frutiger for ZKB Light" panose="020B0303030504020204" pitchFamily="34" charset="0"/>
              </a:rPr>
              <a:t>Moody’s</a:t>
            </a:r>
            <a:endParaRPr lang="de-CH" altLang="de-DE" sz="6800" b="1" dirty="0">
              <a:solidFill>
                <a:srgbClr val="003CB4"/>
              </a:solidFill>
              <a:latin typeface="Frutiger for ZKB Light" panose="020B0303030504020204" pitchFamily="34" charset="0"/>
            </a:endParaRPr>
          </a:p>
        </p:txBody>
      </p:sp>
      <p:sp>
        <p:nvSpPr>
          <p:cNvPr id="78859" name="Rechteck 57">
            <a:extLst>
              <a:ext uri="{FF2B5EF4-FFF2-40B4-BE49-F238E27FC236}">
                <a16:creationId xmlns:a16="http://schemas.microsoft.com/office/drawing/2014/main" id="{8D5E2303-AFCA-5D17-1105-003FCAD5332A}"/>
              </a:ext>
            </a:extLst>
          </p:cNvPr>
          <p:cNvSpPr>
            <a:spLocks noChangeArrowheads="1"/>
          </p:cNvSpPr>
          <p:nvPr/>
        </p:nvSpPr>
        <p:spPr bwMode="auto">
          <a:xfrm>
            <a:off x="7708900" y="4497388"/>
            <a:ext cx="512763"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36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fontAlgn="t" hangingPunct="1">
              <a:spcBef>
                <a:spcPct val="20000"/>
              </a:spcBef>
            </a:pPr>
            <a:r>
              <a:rPr lang="de-CH" altLang="de-DE" sz="3600" b="1" dirty="0">
                <a:solidFill>
                  <a:srgbClr val="003CB4"/>
                </a:solidFill>
                <a:latin typeface="Frutiger for ZKB Light" panose="020B0303030504020204" pitchFamily="34" charset="0"/>
              </a:rPr>
              <a:t>xx</a:t>
            </a:r>
            <a:endParaRPr lang="de-CH" altLang="de-DE" sz="3600" b="1" baseline="30000" dirty="0">
              <a:solidFill>
                <a:srgbClr val="003CB4"/>
              </a:solidFill>
              <a:latin typeface="Frutiger for ZKB Light" panose="020B0303030504020204" pitchFamily="34" charset="0"/>
            </a:endParaRPr>
          </a:p>
        </p:txBody>
      </p:sp>
      <p:sp>
        <p:nvSpPr>
          <p:cNvPr id="78860" name="Rechteck 12">
            <a:extLst>
              <a:ext uri="{FF2B5EF4-FFF2-40B4-BE49-F238E27FC236}">
                <a16:creationId xmlns:a16="http://schemas.microsoft.com/office/drawing/2014/main" id="{972DC89B-6525-E993-5A76-98D76C6F063C}"/>
              </a:ext>
            </a:extLst>
          </p:cNvPr>
          <p:cNvSpPr>
            <a:spLocks noChangeArrowheads="1"/>
          </p:cNvSpPr>
          <p:nvPr/>
        </p:nvSpPr>
        <p:spPr bwMode="auto">
          <a:xfrm>
            <a:off x="9551988" y="1885950"/>
            <a:ext cx="2989262" cy="1427163"/>
          </a:xfrm>
          <a:prstGeom prst="rect">
            <a:avLst/>
          </a:prstGeom>
          <a:solidFill>
            <a:srgbClr val="3D87F5"/>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spcBef>
                <a:spcPct val="20000"/>
              </a:spcBef>
              <a:buClrTx/>
            </a:pPr>
            <a:endParaRPr lang="de-CH" altLang="de-DE" sz="1200" dirty="0"/>
          </a:p>
        </p:txBody>
      </p:sp>
      <p:sp>
        <p:nvSpPr>
          <p:cNvPr id="78861" name="Rechteck 24">
            <a:extLst>
              <a:ext uri="{FF2B5EF4-FFF2-40B4-BE49-F238E27FC236}">
                <a16:creationId xmlns:a16="http://schemas.microsoft.com/office/drawing/2014/main" id="{BEE0BED8-5FFD-0A7F-D88D-C41721B8330A}"/>
              </a:ext>
            </a:extLst>
          </p:cNvPr>
          <p:cNvSpPr>
            <a:spLocks noChangeArrowheads="1"/>
          </p:cNvSpPr>
          <p:nvPr/>
        </p:nvSpPr>
        <p:spPr bwMode="auto">
          <a:xfrm>
            <a:off x="9551988" y="2719388"/>
            <a:ext cx="2017712"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44000" tIns="0" rIns="0" bIns="36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600" b="1" dirty="0">
                <a:solidFill>
                  <a:schemeClr val="bg1"/>
                </a:solidFill>
                <a:latin typeface="Frutiger for ZKB Light" panose="020B0303030504020204" pitchFamily="34" charset="0"/>
              </a:rPr>
              <a:t>xxx Mio.</a:t>
            </a:r>
            <a:endParaRPr lang="de-CH" altLang="de-DE" sz="3600" dirty="0">
              <a:solidFill>
                <a:schemeClr val="bg1"/>
              </a:solidFill>
              <a:latin typeface="Frutiger for ZKB Light" panose="020B0303030504020204" pitchFamily="34" charset="0"/>
            </a:endParaRPr>
          </a:p>
        </p:txBody>
      </p:sp>
      <p:sp>
        <p:nvSpPr>
          <p:cNvPr id="78862" name="Rechteck 15">
            <a:extLst>
              <a:ext uri="{FF2B5EF4-FFF2-40B4-BE49-F238E27FC236}">
                <a16:creationId xmlns:a16="http://schemas.microsoft.com/office/drawing/2014/main" id="{A54B93E6-35C0-449C-A816-FF5113B7F154}"/>
              </a:ext>
            </a:extLst>
          </p:cNvPr>
          <p:cNvSpPr>
            <a:spLocks noChangeArrowheads="1"/>
          </p:cNvSpPr>
          <p:nvPr/>
        </p:nvSpPr>
        <p:spPr bwMode="auto">
          <a:xfrm>
            <a:off x="9551988" y="1885950"/>
            <a:ext cx="21272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chemeClr val="bg1"/>
                </a:solidFill>
                <a:latin typeface="Frutiger for ZKB Light" panose="020B0303030504020204" pitchFamily="34" charset="0"/>
              </a:rPr>
              <a:t>Gesamtpartizipation</a:t>
            </a:r>
          </a:p>
          <a:p>
            <a:pPr eaLnBrk="1" hangingPunct="1">
              <a:spcBef>
                <a:spcPct val="20000"/>
              </a:spcBef>
            </a:pPr>
            <a:r>
              <a:rPr lang="de-CH" altLang="de-DE" sz="1200" dirty="0">
                <a:solidFill>
                  <a:schemeClr val="bg1"/>
                </a:solidFill>
                <a:latin typeface="Frutiger for ZKB Light" panose="020B0303030504020204" pitchFamily="34" charset="0"/>
              </a:rPr>
              <a:t>Kanton und Gemeinden (CHF)</a:t>
            </a:r>
          </a:p>
        </p:txBody>
      </p:sp>
      <p:sp>
        <p:nvSpPr>
          <p:cNvPr id="78863" name="Rechteck 18">
            <a:extLst>
              <a:ext uri="{FF2B5EF4-FFF2-40B4-BE49-F238E27FC236}">
                <a16:creationId xmlns:a16="http://schemas.microsoft.com/office/drawing/2014/main" id="{EF181472-4BFE-C18F-4593-1A9D68BC6B10}"/>
              </a:ext>
            </a:extLst>
          </p:cNvPr>
          <p:cNvSpPr>
            <a:spLocks noChangeArrowheads="1"/>
          </p:cNvSpPr>
          <p:nvPr/>
        </p:nvSpPr>
        <p:spPr bwMode="auto">
          <a:xfrm>
            <a:off x="306388" y="1885950"/>
            <a:ext cx="2989262" cy="1423988"/>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sp>
        <p:nvSpPr>
          <p:cNvPr id="78864" name="Rechteck 2">
            <a:extLst>
              <a:ext uri="{FF2B5EF4-FFF2-40B4-BE49-F238E27FC236}">
                <a16:creationId xmlns:a16="http://schemas.microsoft.com/office/drawing/2014/main" id="{7979B9F2-C7BF-C0FE-C6FD-876D42609B10}"/>
              </a:ext>
            </a:extLst>
          </p:cNvPr>
          <p:cNvSpPr>
            <a:spLocks noChangeArrowheads="1"/>
          </p:cNvSpPr>
          <p:nvPr/>
        </p:nvSpPr>
        <p:spPr bwMode="auto">
          <a:xfrm>
            <a:off x="306388" y="2719388"/>
            <a:ext cx="2989262"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36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3600" b="1" dirty="0" err="1">
                <a:solidFill>
                  <a:srgbClr val="003CB4"/>
                </a:solidFill>
                <a:latin typeface="Frutiger for ZKB Light" panose="020B0303030504020204" pitchFamily="34" charset="0"/>
              </a:rPr>
              <a:t>xx,x</a:t>
            </a:r>
            <a:r>
              <a:rPr lang="de-CH" altLang="de-DE" sz="3600" b="1" dirty="0">
                <a:solidFill>
                  <a:srgbClr val="003CB4"/>
                </a:solidFill>
                <a:latin typeface="Frutiger for ZKB Light" panose="020B0303030504020204" pitchFamily="34" charset="0"/>
              </a:rPr>
              <a:t> Mrd.</a:t>
            </a:r>
          </a:p>
        </p:txBody>
      </p:sp>
      <p:sp>
        <p:nvSpPr>
          <p:cNvPr id="78865" name="Rechteck 9">
            <a:extLst>
              <a:ext uri="{FF2B5EF4-FFF2-40B4-BE49-F238E27FC236}">
                <a16:creationId xmlns:a16="http://schemas.microsoft.com/office/drawing/2014/main" id="{6F4E3E31-DE87-A929-5D17-CF481430BCB4}"/>
              </a:ext>
            </a:extLst>
          </p:cNvPr>
          <p:cNvSpPr>
            <a:spLocks noChangeArrowheads="1"/>
          </p:cNvSpPr>
          <p:nvPr/>
        </p:nvSpPr>
        <p:spPr bwMode="auto">
          <a:xfrm>
            <a:off x="306388" y="1885950"/>
            <a:ext cx="2127250"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Bilanzsumme (CHF)</a:t>
            </a:r>
          </a:p>
        </p:txBody>
      </p:sp>
      <p:sp>
        <p:nvSpPr>
          <p:cNvPr id="78866" name="Rechteck 22">
            <a:extLst>
              <a:ext uri="{FF2B5EF4-FFF2-40B4-BE49-F238E27FC236}">
                <a16:creationId xmlns:a16="http://schemas.microsoft.com/office/drawing/2014/main" id="{AB7D1CAB-F3B0-E207-4BC2-0B992796D023}"/>
              </a:ext>
            </a:extLst>
          </p:cNvPr>
          <p:cNvSpPr>
            <a:spLocks noChangeArrowheads="1"/>
          </p:cNvSpPr>
          <p:nvPr/>
        </p:nvSpPr>
        <p:spPr bwMode="auto">
          <a:xfrm>
            <a:off x="6470650" y="1885950"/>
            <a:ext cx="2989263" cy="1423988"/>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sp>
        <p:nvSpPr>
          <p:cNvPr id="78867" name="Rechteck 22">
            <a:extLst>
              <a:ext uri="{FF2B5EF4-FFF2-40B4-BE49-F238E27FC236}">
                <a16:creationId xmlns:a16="http://schemas.microsoft.com/office/drawing/2014/main" id="{012524D9-EBFA-6A53-BDAC-02A87109C911}"/>
              </a:ext>
            </a:extLst>
          </p:cNvPr>
          <p:cNvSpPr>
            <a:spLocks noChangeArrowheads="1"/>
          </p:cNvSpPr>
          <p:nvPr/>
        </p:nvSpPr>
        <p:spPr bwMode="auto">
          <a:xfrm>
            <a:off x="6470650" y="2719388"/>
            <a:ext cx="2989263"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36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600" b="1" dirty="0" err="1">
                <a:solidFill>
                  <a:srgbClr val="003CB4"/>
                </a:solidFill>
                <a:latin typeface="Frutiger for ZKB Light" panose="020B0303030504020204" pitchFamily="34" charset="0"/>
              </a:rPr>
              <a:t>xx,x</a:t>
            </a:r>
            <a:r>
              <a:rPr lang="de-CH" altLang="de-DE" sz="3600" b="1" dirty="0">
                <a:solidFill>
                  <a:srgbClr val="003CB4"/>
                </a:solidFill>
                <a:latin typeface="Frutiger for ZKB Light" panose="020B0303030504020204" pitchFamily="34" charset="0"/>
              </a:rPr>
              <a:t>%</a:t>
            </a:r>
            <a:endParaRPr lang="de-CH" altLang="de-DE" sz="3600" dirty="0">
              <a:solidFill>
                <a:srgbClr val="003CB4"/>
              </a:solidFill>
              <a:latin typeface="Frutiger for ZKB Light" panose="020B0303030504020204" pitchFamily="34" charset="0"/>
            </a:endParaRPr>
          </a:p>
        </p:txBody>
      </p:sp>
      <p:sp>
        <p:nvSpPr>
          <p:cNvPr id="78868" name="Rechteck 23">
            <a:extLst>
              <a:ext uri="{FF2B5EF4-FFF2-40B4-BE49-F238E27FC236}">
                <a16:creationId xmlns:a16="http://schemas.microsoft.com/office/drawing/2014/main" id="{96262B22-619E-518A-E42D-917075A6E42A}"/>
              </a:ext>
            </a:extLst>
          </p:cNvPr>
          <p:cNvSpPr>
            <a:spLocks noChangeArrowheads="1"/>
          </p:cNvSpPr>
          <p:nvPr/>
        </p:nvSpPr>
        <p:spPr bwMode="auto">
          <a:xfrm>
            <a:off x="6470650" y="1885950"/>
            <a:ext cx="29654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Risikobasierte Kapitalquote</a:t>
            </a:r>
            <a:br>
              <a:rPr lang="de-CH" altLang="de-DE" sz="1200" dirty="0">
                <a:solidFill>
                  <a:srgbClr val="003CB4"/>
                </a:solidFill>
                <a:latin typeface="Frutiger for ZKB Light" panose="020B0303030504020204" pitchFamily="34" charset="0"/>
              </a:rPr>
            </a:br>
            <a:r>
              <a:rPr lang="de-CH" altLang="de-DE" sz="1200" dirty="0">
                <a:solidFill>
                  <a:srgbClr val="003CB4"/>
                </a:solidFill>
                <a:latin typeface="Frutiger for ZKB Light" panose="020B0303030504020204" pitchFamily="34" charset="0"/>
              </a:rPr>
              <a:t>(going-concern)</a:t>
            </a:r>
          </a:p>
        </p:txBody>
      </p:sp>
      <p:sp>
        <p:nvSpPr>
          <p:cNvPr id="78869" name="Rechteck 32">
            <a:extLst>
              <a:ext uri="{FF2B5EF4-FFF2-40B4-BE49-F238E27FC236}">
                <a16:creationId xmlns:a16="http://schemas.microsoft.com/office/drawing/2014/main" id="{AD9C4BBC-1E05-0E37-49F3-346A4CC276D5}"/>
              </a:ext>
            </a:extLst>
          </p:cNvPr>
          <p:cNvSpPr>
            <a:spLocks noChangeArrowheads="1"/>
          </p:cNvSpPr>
          <p:nvPr/>
        </p:nvSpPr>
        <p:spPr bwMode="auto">
          <a:xfrm>
            <a:off x="3387725" y="1885950"/>
            <a:ext cx="2989263" cy="1423988"/>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sp>
        <p:nvSpPr>
          <p:cNvPr id="78870" name="Rechteck 10">
            <a:extLst>
              <a:ext uri="{FF2B5EF4-FFF2-40B4-BE49-F238E27FC236}">
                <a16:creationId xmlns:a16="http://schemas.microsoft.com/office/drawing/2014/main" id="{C61C1384-075C-670F-E2A1-EA26E53CF447}"/>
              </a:ext>
            </a:extLst>
          </p:cNvPr>
          <p:cNvSpPr>
            <a:spLocks noChangeArrowheads="1"/>
          </p:cNvSpPr>
          <p:nvPr/>
        </p:nvSpPr>
        <p:spPr bwMode="auto">
          <a:xfrm>
            <a:off x="3390900" y="2719388"/>
            <a:ext cx="2989263"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36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3600" b="1" dirty="0" err="1">
                <a:solidFill>
                  <a:srgbClr val="003CB4"/>
                </a:solidFill>
                <a:latin typeface="Frutiger for ZKB Light" panose="020B0303030504020204" pitchFamily="34" charset="0"/>
              </a:rPr>
              <a:t>x’xxx</a:t>
            </a:r>
            <a:r>
              <a:rPr lang="de-CH" altLang="de-DE" sz="3600" b="1" dirty="0">
                <a:solidFill>
                  <a:srgbClr val="003CB4"/>
                </a:solidFill>
                <a:latin typeface="Frutiger for ZKB Light" panose="020B0303030504020204" pitchFamily="34" charset="0"/>
              </a:rPr>
              <a:t> Mio. </a:t>
            </a:r>
          </a:p>
        </p:txBody>
      </p:sp>
      <p:sp>
        <p:nvSpPr>
          <p:cNvPr id="78871" name="Rechteck 11">
            <a:extLst>
              <a:ext uri="{FF2B5EF4-FFF2-40B4-BE49-F238E27FC236}">
                <a16:creationId xmlns:a16="http://schemas.microsoft.com/office/drawing/2014/main" id="{EAC32890-6758-966E-9307-6203D54C3A6F}"/>
              </a:ext>
            </a:extLst>
          </p:cNvPr>
          <p:cNvSpPr>
            <a:spLocks noChangeArrowheads="1"/>
          </p:cNvSpPr>
          <p:nvPr/>
        </p:nvSpPr>
        <p:spPr bwMode="auto">
          <a:xfrm>
            <a:off x="3387725" y="1885950"/>
            <a:ext cx="2128838"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Konzerngewinn (CHF)</a:t>
            </a:r>
          </a:p>
        </p:txBody>
      </p:sp>
      <p:sp>
        <p:nvSpPr>
          <p:cNvPr id="78872" name="Rechteck 37">
            <a:extLst>
              <a:ext uri="{FF2B5EF4-FFF2-40B4-BE49-F238E27FC236}">
                <a16:creationId xmlns:a16="http://schemas.microsoft.com/office/drawing/2014/main" id="{E919FB6E-C8AA-5C84-ADBC-0427C9E3A8C4}"/>
              </a:ext>
            </a:extLst>
          </p:cNvPr>
          <p:cNvSpPr>
            <a:spLocks noChangeArrowheads="1"/>
          </p:cNvSpPr>
          <p:nvPr/>
        </p:nvSpPr>
        <p:spPr bwMode="auto">
          <a:xfrm>
            <a:off x="9551988" y="3400425"/>
            <a:ext cx="2989262" cy="1423988"/>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spcBef>
                <a:spcPct val="20000"/>
              </a:spcBef>
              <a:buClrTx/>
              <a:buFontTx/>
              <a:buNone/>
            </a:pPr>
            <a:endParaRPr lang="de-CH" altLang="de-DE" sz="1200" dirty="0"/>
          </a:p>
        </p:txBody>
      </p:sp>
      <p:sp>
        <p:nvSpPr>
          <p:cNvPr id="78873" name="Rechteck 29">
            <a:extLst>
              <a:ext uri="{FF2B5EF4-FFF2-40B4-BE49-F238E27FC236}">
                <a16:creationId xmlns:a16="http://schemas.microsoft.com/office/drawing/2014/main" id="{1F13DD7D-9928-9485-B053-0DE80114D37B}"/>
              </a:ext>
            </a:extLst>
          </p:cNvPr>
          <p:cNvSpPr>
            <a:spLocks noChangeArrowheads="1"/>
          </p:cNvSpPr>
          <p:nvPr/>
        </p:nvSpPr>
        <p:spPr bwMode="auto">
          <a:xfrm>
            <a:off x="9609138" y="3570288"/>
            <a:ext cx="2816225" cy="11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defTabSz="196850">
              <a:defRPr sz="6300">
                <a:solidFill>
                  <a:schemeClr val="tx1"/>
                </a:solidFill>
                <a:latin typeface="Frutiger for ZKB Light"/>
              </a:defRPr>
            </a:lvl1pPr>
            <a:lvl2pPr marL="742950" indent="-285750" defTabSz="196850">
              <a:defRPr sz="6300">
                <a:solidFill>
                  <a:schemeClr val="tx1"/>
                </a:solidFill>
                <a:latin typeface="Frutiger for ZKB Light"/>
              </a:defRPr>
            </a:lvl2pPr>
            <a:lvl3pPr marL="1143000" indent="-228600" defTabSz="196850">
              <a:defRPr sz="6300">
                <a:solidFill>
                  <a:schemeClr val="tx1"/>
                </a:solidFill>
                <a:latin typeface="Frutiger for ZKB Light"/>
              </a:defRPr>
            </a:lvl3pPr>
            <a:lvl4pPr marL="1600200" indent="-228600" defTabSz="196850">
              <a:defRPr sz="6300">
                <a:solidFill>
                  <a:schemeClr val="tx1"/>
                </a:solidFill>
                <a:latin typeface="Frutiger for ZKB Light"/>
              </a:defRPr>
            </a:lvl4pPr>
            <a:lvl5pPr marL="2057400" indent="-228600" defTabSz="196850">
              <a:defRPr sz="6300">
                <a:solidFill>
                  <a:schemeClr val="tx1"/>
                </a:solidFill>
                <a:latin typeface="Frutiger for ZKB Light"/>
              </a:defRPr>
            </a:lvl5pPr>
            <a:lvl6pPr marL="2514600" indent="-228600" defTabSz="196850" eaLnBrk="0" fontAlgn="base" hangingPunct="0">
              <a:spcBef>
                <a:spcPct val="0"/>
              </a:spcBef>
              <a:spcAft>
                <a:spcPct val="0"/>
              </a:spcAft>
              <a:defRPr sz="6300">
                <a:solidFill>
                  <a:schemeClr val="tx1"/>
                </a:solidFill>
                <a:latin typeface="Frutiger for ZKB Light"/>
              </a:defRPr>
            </a:lvl6pPr>
            <a:lvl7pPr marL="2971800" indent="-228600" defTabSz="196850" eaLnBrk="0" fontAlgn="base" hangingPunct="0">
              <a:spcBef>
                <a:spcPct val="0"/>
              </a:spcBef>
              <a:spcAft>
                <a:spcPct val="0"/>
              </a:spcAft>
              <a:defRPr sz="6300">
                <a:solidFill>
                  <a:schemeClr val="tx1"/>
                </a:solidFill>
                <a:latin typeface="Frutiger for ZKB Light"/>
              </a:defRPr>
            </a:lvl7pPr>
            <a:lvl8pPr marL="3429000" indent="-228600" defTabSz="196850" eaLnBrk="0" fontAlgn="base" hangingPunct="0">
              <a:spcBef>
                <a:spcPct val="0"/>
              </a:spcBef>
              <a:spcAft>
                <a:spcPct val="0"/>
              </a:spcAft>
              <a:defRPr sz="6300">
                <a:solidFill>
                  <a:schemeClr val="tx1"/>
                </a:solidFill>
                <a:latin typeface="Frutiger for ZKB Light"/>
              </a:defRPr>
            </a:lvl8pPr>
            <a:lvl9pPr marL="3886200" indent="-228600" defTabSz="196850" eaLnBrk="0" fontAlgn="base" hangingPunct="0">
              <a:spcBef>
                <a:spcPct val="0"/>
              </a:spcBef>
              <a:spcAft>
                <a:spcPct val="0"/>
              </a:spcAft>
              <a:defRPr sz="6300">
                <a:solidFill>
                  <a:schemeClr val="tx1"/>
                </a:solidFill>
                <a:latin typeface="Frutiger for ZKB Light"/>
              </a:defRPr>
            </a:lvl9pPr>
          </a:lstStyle>
          <a:p>
            <a:pPr eaLnBrk="1" hangingPunct="1">
              <a:lnSpc>
                <a:spcPct val="105000"/>
              </a:lnSpc>
              <a:spcBef>
                <a:spcPct val="20000"/>
              </a:spcBef>
              <a:buFont typeface="Frutiger for ZKB Light" panose="020B0303030504020204" pitchFamily="34" charset="0"/>
              <a:buNone/>
            </a:pPr>
            <a:endParaRPr lang="de-CH" altLang="de-DE" sz="1600" dirty="0">
              <a:solidFill>
                <a:srgbClr val="003CB4"/>
              </a:solidFill>
              <a:latin typeface="Frutiger for ZKB Light" panose="020B0303030504020204" pitchFamily="34" charset="0"/>
            </a:endParaRPr>
          </a:p>
        </p:txBody>
      </p:sp>
      <p:sp>
        <p:nvSpPr>
          <p:cNvPr id="78874" name="Rechteck 24">
            <a:extLst>
              <a:ext uri="{FF2B5EF4-FFF2-40B4-BE49-F238E27FC236}">
                <a16:creationId xmlns:a16="http://schemas.microsoft.com/office/drawing/2014/main" id="{B3F866D8-A60A-92AF-62A3-5C0C39D04BD2}"/>
              </a:ext>
            </a:extLst>
          </p:cNvPr>
          <p:cNvSpPr>
            <a:spLocks noChangeArrowheads="1"/>
          </p:cNvSpPr>
          <p:nvPr/>
        </p:nvSpPr>
        <p:spPr bwMode="auto">
          <a:xfrm>
            <a:off x="9551988" y="4234064"/>
            <a:ext cx="1299568" cy="590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44000" tIns="0" rIns="0" bIns="36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600" b="1" dirty="0" err="1">
                <a:solidFill>
                  <a:srgbClr val="003CB4"/>
                </a:solidFill>
                <a:latin typeface="Frutiger for ZKB Light" panose="020B0303030504020204" pitchFamily="34" charset="0"/>
              </a:rPr>
              <a:t>x’xxx</a:t>
            </a:r>
            <a:endParaRPr lang="de-CH" altLang="de-DE" sz="3600" dirty="0">
              <a:solidFill>
                <a:srgbClr val="003CB4"/>
              </a:solidFill>
              <a:latin typeface="Frutiger for ZKB Light" panose="020B0303030504020204" pitchFamily="34" charset="0"/>
            </a:endParaRPr>
          </a:p>
        </p:txBody>
      </p:sp>
      <p:sp>
        <p:nvSpPr>
          <p:cNvPr id="78875" name="Rechteck 41">
            <a:extLst>
              <a:ext uri="{FF2B5EF4-FFF2-40B4-BE49-F238E27FC236}">
                <a16:creationId xmlns:a16="http://schemas.microsoft.com/office/drawing/2014/main" id="{B98B907C-456D-805C-6835-26EDD8634B6F}"/>
              </a:ext>
            </a:extLst>
          </p:cNvPr>
          <p:cNvSpPr>
            <a:spLocks noChangeArrowheads="1"/>
          </p:cNvSpPr>
          <p:nvPr/>
        </p:nvSpPr>
        <p:spPr bwMode="auto">
          <a:xfrm>
            <a:off x="9551988" y="3400425"/>
            <a:ext cx="21272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Mitarbeitende (teilzeitbereinigt)</a:t>
            </a:r>
          </a:p>
        </p:txBody>
      </p:sp>
      <p:sp>
        <p:nvSpPr>
          <p:cNvPr id="78876" name="Rechteck 9">
            <a:extLst>
              <a:ext uri="{FF2B5EF4-FFF2-40B4-BE49-F238E27FC236}">
                <a16:creationId xmlns:a16="http://schemas.microsoft.com/office/drawing/2014/main" id="{0515C0C6-8AF1-1AF3-14E8-2BAD3DC9CA7A}"/>
              </a:ext>
            </a:extLst>
          </p:cNvPr>
          <p:cNvSpPr>
            <a:spLocks noChangeArrowheads="1"/>
          </p:cNvSpPr>
          <p:nvPr/>
        </p:nvSpPr>
        <p:spPr bwMode="auto">
          <a:xfrm>
            <a:off x="306388" y="3400425"/>
            <a:ext cx="2127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Rating</a:t>
            </a:r>
          </a:p>
        </p:txBody>
      </p:sp>
      <p:sp>
        <p:nvSpPr>
          <p:cNvPr id="78877" name="Rechteck 23">
            <a:extLst>
              <a:ext uri="{FF2B5EF4-FFF2-40B4-BE49-F238E27FC236}">
                <a16:creationId xmlns:a16="http://schemas.microsoft.com/office/drawing/2014/main" id="{2194D6D8-DBE3-6ACF-020F-605C52726BC1}"/>
              </a:ext>
            </a:extLst>
          </p:cNvPr>
          <p:cNvSpPr>
            <a:spLocks noChangeArrowheads="1"/>
          </p:cNvSpPr>
          <p:nvPr/>
        </p:nvSpPr>
        <p:spPr bwMode="auto">
          <a:xfrm>
            <a:off x="6470650" y="3400425"/>
            <a:ext cx="21272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Geschäftsstellen</a:t>
            </a:r>
            <a:r>
              <a:rPr lang="de-CH" altLang="de-DE" sz="1200" baseline="30000" dirty="0">
                <a:solidFill>
                  <a:srgbClr val="003CB4"/>
                </a:solidFill>
                <a:latin typeface="Frutiger for ZKB Light" panose="020B0303030504020204" pitchFamily="34" charset="0"/>
              </a:rPr>
              <a:t>1</a:t>
            </a:r>
          </a:p>
        </p:txBody>
      </p:sp>
      <p:sp>
        <p:nvSpPr>
          <p:cNvPr id="78878" name="Rechteck 44">
            <a:extLst>
              <a:ext uri="{FF2B5EF4-FFF2-40B4-BE49-F238E27FC236}">
                <a16:creationId xmlns:a16="http://schemas.microsoft.com/office/drawing/2014/main" id="{858E9D60-A2A7-1E7A-6D13-213F48958A46}"/>
              </a:ext>
            </a:extLst>
          </p:cNvPr>
          <p:cNvSpPr>
            <a:spLocks noChangeArrowheads="1"/>
          </p:cNvSpPr>
          <p:nvPr/>
        </p:nvSpPr>
        <p:spPr bwMode="auto">
          <a:xfrm>
            <a:off x="9551988" y="4911725"/>
            <a:ext cx="2989262" cy="1425575"/>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spcBef>
                <a:spcPct val="20000"/>
              </a:spcBef>
              <a:buClrTx/>
              <a:buFontTx/>
              <a:buNone/>
            </a:pPr>
            <a:endParaRPr lang="de-CH" altLang="de-DE" sz="1200" dirty="0"/>
          </a:p>
        </p:txBody>
      </p:sp>
      <p:sp>
        <p:nvSpPr>
          <p:cNvPr id="78879" name="Rechteck 29">
            <a:extLst>
              <a:ext uri="{FF2B5EF4-FFF2-40B4-BE49-F238E27FC236}">
                <a16:creationId xmlns:a16="http://schemas.microsoft.com/office/drawing/2014/main" id="{BF6EECFA-8479-42C5-2FE5-E5EB19344047}"/>
              </a:ext>
            </a:extLst>
          </p:cNvPr>
          <p:cNvSpPr>
            <a:spLocks noChangeArrowheads="1"/>
          </p:cNvSpPr>
          <p:nvPr/>
        </p:nvSpPr>
        <p:spPr bwMode="auto">
          <a:xfrm>
            <a:off x="9609138" y="5081588"/>
            <a:ext cx="2816225" cy="11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defTabSz="196850">
              <a:defRPr sz="6300">
                <a:solidFill>
                  <a:schemeClr val="tx1"/>
                </a:solidFill>
                <a:latin typeface="Frutiger for ZKB Light"/>
              </a:defRPr>
            </a:lvl1pPr>
            <a:lvl2pPr marL="742950" indent="-285750" defTabSz="196850">
              <a:defRPr sz="6300">
                <a:solidFill>
                  <a:schemeClr val="tx1"/>
                </a:solidFill>
                <a:latin typeface="Frutiger for ZKB Light"/>
              </a:defRPr>
            </a:lvl2pPr>
            <a:lvl3pPr marL="1143000" indent="-228600" defTabSz="196850">
              <a:defRPr sz="6300">
                <a:solidFill>
                  <a:schemeClr val="tx1"/>
                </a:solidFill>
                <a:latin typeface="Frutiger for ZKB Light"/>
              </a:defRPr>
            </a:lvl3pPr>
            <a:lvl4pPr marL="1600200" indent="-228600" defTabSz="196850">
              <a:defRPr sz="6300">
                <a:solidFill>
                  <a:schemeClr val="tx1"/>
                </a:solidFill>
                <a:latin typeface="Frutiger for ZKB Light"/>
              </a:defRPr>
            </a:lvl4pPr>
            <a:lvl5pPr marL="2057400" indent="-228600" defTabSz="196850">
              <a:defRPr sz="6300">
                <a:solidFill>
                  <a:schemeClr val="tx1"/>
                </a:solidFill>
                <a:latin typeface="Frutiger for ZKB Light"/>
              </a:defRPr>
            </a:lvl5pPr>
            <a:lvl6pPr marL="2514600" indent="-228600" defTabSz="196850" eaLnBrk="0" fontAlgn="base" hangingPunct="0">
              <a:spcBef>
                <a:spcPct val="0"/>
              </a:spcBef>
              <a:spcAft>
                <a:spcPct val="0"/>
              </a:spcAft>
              <a:defRPr sz="6300">
                <a:solidFill>
                  <a:schemeClr val="tx1"/>
                </a:solidFill>
                <a:latin typeface="Frutiger for ZKB Light"/>
              </a:defRPr>
            </a:lvl6pPr>
            <a:lvl7pPr marL="2971800" indent="-228600" defTabSz="196850" eaLnBrk="0" fontAlgn="base" hangingPunct="0">
              <a:spcBef>
                <a:spcPct val="0"/>
              </a:spcBef>
              <a:spcAft>
                <a:spcPct val="0"/>
              </a:spcAft>
              <a:defRPr sz="6300">
                <a:solidFill>
                  <a:schemeClr val="tx1"/>
                </a:solidFill>
                <a:latin typeface="Frutiger for ZKB Light"/>
              </a:defRPr>
            </a:lvl7pPr>
            <a:lvl8pPr marL="3429000" indent="-228600" defTabSz="196850" eaLnBrk="0" fontAlgn="base" hangingPunct="0">
              <a:spcBef>
                <a:spcPct val="0"/>
              </a:spcBef>
              <a:spcAft>
                <a:spcPct val="0"/>
              </a:spcAft>
              <a:defRPr sz="6300">
                <a:solidFill>
                  <a:schemeClr val="tx1"/>
                </a:solidFill>
                <a:latin typeface="Frutiger for ZKB Light"/>
              </a:defRPr>
            </a:lvl8pPr>
            <a:lvl9pPr marL="3886200" indent="-228600" defTabSz="196850" eaLnBrk="0" fontAlgn="base" hangingPunct="0">
              <a:spcBef>
                <a:spcPct val="0"/>
              </a:spcBef>
              <a:spcAft>
                <a:spcPct val="0"/>
              </a:spcAft>
              <a:defRPr sz="6300">
                <a:solidFill>
                  <a:schemeClr val="tx1"/>
                </a:solidFill>
                <a:latin typeface="Frutiger for ZKB Light"/>
              </a:defRPr>
            </a:lvl9pPr>
          </a:lstStyle>
          <a:p>
            <a:pPr eaLnBrk="1" hangingPunct="1">
              <a:lnSpc>
                <a:spcPct val="105000"/>
              </a:lnSpc>
              <a:spcBef>
                <a:spcPct val="20000"/>
              </a:spcBef>
              <a:buFont typeface="Frutiger for ZKB Light" panose="020B0303030504020204" pitchFamily="34" charset="0"/>
              <a:buNone/>
            </a:pPr>
            <a:endParaRPr lang="de-CH" altLang="de-DE" sz="1600" dirty="0">
              <a:solidFill>
                <a:srgbClr val="003CB4"/>
              </a:solidFill>
              <a:latin typeface="Frutiger for ZKB Light" panose="020B0303030504020204" pitchFamily="34" charset="0"/>
            </a:endParaRPr>
          </a:p>
        </p:txBody>
      </p:sp>
      <p:sp>
        <p:nvSpPr>
          <p:cNvPr id="78880" name="Rechteck 24">
            <a:extLst>
              <a:ext uri="{FF2B5EF4-FFF2-40B4-BE49-F238E27FC236}">
                <a16:creationId xmlns:a16="http://schemas.microsoft.com/office/drawing/2014/main" id="{0E87FF3E-8E28-BEB3-41FB-63FB379EFC35}"/>
              </a:ext>
            </a:extLst>
          </p:cNvPr>
          <p:cNvSpPr>
            <a:spLocks noChangeArrowheads="1"/>
          </p:cNvSpPr>
          <p:nvPr/>
        </p:nvSpPr>
        <p:spPr bwMode="auto">
          <a:xfrm>
            <a:off x="9551988" y="5746750"/>
            <a:ext cx="2222500"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44000" tIns="0" rIns="0" bIns="36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600" b="1" dirty="0">
                <a:solidFill>
                  <a:srgbClr val="003CB4"/>
                </a:solidFill>
                <a:latin typeface="Frutiger for ZKB Light" panose="020B0303030504020204" pitchFamily="34" charset="0"/>
              </a:rPr>
              <a:t>Kt. Zürich</a:t>
            </a:r>
            <a:endParaRPr lang="de-CH" altLang="de-DE" sz="3600" dirty="0">
              <a:solidFill>
                <a:srgbClr val="003CB4"/>
              </a:solidFill>
              <a:latin typeface="Frutiger for ZKB Light" panose="020B0303030504020204" pitchFamily="34" charset="0"/>
            </a:endParaRPr>
          </a:p>
        </p:txBody>
      </p:sp>
      <p:sp>
        <p:nvSpPr>
          <p:cNvPr id="78881" name="Rechteck 47">
            <a:extLst>
              <a:ext uri="{FF2B5EF4-FFF2-40B4-BE49-F238E27FC236}">
                <a16:creationId xmlns:a16="http://schemas.microsoft.com/office/drawing/2014/main" id="{76F16F4B-E969-E6A8-4D02-7E182B61C08A}"/>
              </a:ext>
            </a:extLst>
          </p:cNvPr>
          <p:cNvSpPr>
            <a:spLocks noChangeArrowheads="1"/>
          </p:cNvSpPr>
          <p:nvPr/>
        </p:nvSpPr>
        <p:spPr bwMode="auto">
          <a:xfrm>
            <a:off x="9551988" y="4911725"/>
            <a:ext cx="21272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Eigentümer</a:t>
            </a: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0898" name="think-cell data - do not delete" hidden="1">
            <a:extLst>
              <a:ext uri="{FF2B5EF4-FFF2-40B4-BE49-F238E27FC236}">
                <a16:creationId xmlns:a16="http://schemas.microsoft.com/office/drawing/2014/main" id="{AF0D9CA0-2C5E-DEB6-A62D-3EDB86A7E65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80898" name="think-cell data - do not delete" hidden="1">
                        <a:extLst>
                          <a:ext uri="{FF2B5EF4-FFF2-40B4-BE49-F238E27FC236}">
                            <a16:creationId xmlns:a16="http://schemas.microsoft.com/office/drawing/2014/main" id="{AF0D9CA0-2C5E-DEB6-A62D-3EDB86A7E6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0899" name="Titel 1">
            <a:extLst>
              <a:ext uri="{FF2B5EF4-FFF2-40B4-BE49-F238E27FC236}">
                <a16:creationId xmlns:a16="http://schemas.microsoft.com/office/drawing/2014/main" id="{DAFE34C7-D9E0-E822-CDCE-92AAFA4C4A24}"/>
              </a:ext>
            </a:extLst>
          </p:cNvPr>
          <p:cNvSpPr>
            <a:spLocks noGrp="1"/>
          </p:cNvSpPr>
          <p:nvPr>
            <p:ph type="title"/>
          </p:nvPr>
        </p:nvSpPr>
        <p:spPr>
          <a:xfrm>
            <a:off x="306388" y="287338"/>
            <a:ext cx="10180637" cy="863600"/>
          </a:xfrm>
          <a:extLst>
            <a:ext uri="{91240B29-F687-4F45-9708-019B960494DF}">
              <a14:hiddenLine xmlns:a14="http://schemas.microsoft.com/office/drawing/2010/main" w="19050">
                <a:solidFill>
                  <a:srgbClr val="008000"/>
                </a:solidFill>
                <a:prstDash val="solid"/>
                <a:miter lim="800000"/>
                <a:headEnd/>
                <a:tailEnd/>
              </a14:hiddenLine>
            </a:ext>
          </a:extLst>
        </p:spPr>
        <p:txBody>
          <a:bodyPr/>
          <a:lstStyle/>
          <a:p>
            <a:pPr eaLnBrk="1" hangingPunct="1">
              <a:spcBef>
                <a:spcPct val="0"/>
              </a:spcBef>
              <a:spcAft>
                <a:spcPct val="0"/>
              </a:spcAft>
            </a:pPr>
            <a:r>
              <a:rPr lang="de-CH" altLang="de-DE" dirty="0"/>
              <a:t>Übersicht Zahlen/Fakten</a:t>
            </a:r>
          </a:p>
        </p:txBody>
      </p:sp>
      <p:sp>
        <p:nvSpPr>
          <p:cNvPr id="80900" name="Foliennummernplatzhalter 22">
            <a:extLst>
              <a:ext uri="{FF2B5EF4-FFF2-40B4-BE49-F238E27FC236}">
                <a16:creationId xmlns:a16="http://schemas.microsoft.com/office/drawing/2014/main" id="{AE69B6E0-AA68-4ABB-923B-C3894717E23F}"/>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8878FE53-B389-45E1-B2CE-FA35E56A4464}" type="slidenum">
              <a:rPr lang="de-CH" altLang="de-DE" sz="1100" smtClean="0">
                <a:solidFill>
                  <a:srgbClr val="003CB4"/>
                </a:solidFill>
                <a:latin typeface="Frutiger for ZKB Light" panose="020B0303030504020204" pitchFamily="34" charset="0"/>
              </a:rPr>
              <a:pPr>
                <a:spcBef>
                  <a:spcPct val="0"/>
                </a:spcBef>
                <a:spcAft>
                  <a:spcPct val="0"/>
                </a:spcAft>
              </a:pPr>
              <a:t>55</a:t>
            </a:fld>
            <a:endParaRPr lang="de-CH" altLang="de-DE" sz="1100" dirty="0">
              <a:solidFill>
                <a:srgbClr val="003CB4"/>
              </a:solidFill>
              <a:latin typeface="Frutiger for ZKB Light" panose="020B0303030504020204" pitchFamily="34" charset="0"/>
            </a:endParaRPr>
          </a:p>
        </p:txBody>
      </p:sp>
      <p:sp>
        <p:nvSpPr>
          <p:cNvPr id="80901" name="Fußzeilenplatzhalter 17">
            <a:extLst>
              <a:ext uri="{FF2B5EF4-FFF2-40B4-BE49-F238E27FC236}">
                <a16:creationId xmlns:a16="http://schemas.microsoft.com/office/drawing/2014/main" id="{D0FB07B4-792E-0112-F4C8-214DA0D0AFC1}"/>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80902" name="Textfeld 15">
            <a:extLst>
              <a:ext uri="{FF2B5EF4-FFF2-40B4-BE49-F238E27FC236}">
                <a16:creationId xmlns:a16="http://schemas.microsoft.com/office/drawing/2014/main" id="{16C736EF-76B3-EF7B-BA91-810878A4DA66}"/>
              </a:ext>
            </a:extLst>
          </p:cNvPr>
          <p:cNvSpPr txBox="1">
            <a:spLocks noChangeArrowheads="1"/>
          </p:cNvSpPr>
          <p:nvPr/>
        </p:nvSpPr>
        <p:spPr bwMode="auto">
          <a:xfrm>
            <a:off x="306388" y="6454775"/>
            <a:ext cx="12242800"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spcBef>
                <a:spcPct val="20000"/>
              </a:spcBef>
            </a:pPr>
            <a:endParaRPr lang="de-CH" altLang="de-DE" sz="1100" dirty="0"/>
          </a:p>
        </p:txBody>
      </p:sp>
      <p:sp>
        <p:nvSpPr>
          <p:cNvPr id="80903" name="Rechteck 18">
            <a:extLst>
              <a:ext uri="{FF2B5EF4-FFF2-40B4-BE49-F238E27FC236}">
                <a16:creationId xmlns:a16="http://schemas.microsoft.com/office/drawing/2014/main" id="{0C7980DA-D2CF-945A-01D9-AEE00A1A4B22}"/>
              </a:ext>
            </a:extLst>
          </p:cNvPr>
          <p:cNvSpPr>
            <a:spLocks noChangeArrowheads="1"/>
          </p:cNvSpPr>
          <p:nvPr/>
        </p:nvSpPr>
        <p:spPr bwMode="auto">
          <a:xfrm>
            <a:off x="6467475" y="4652963"/>
            <a:ext cx="2984500" cy="1684337"/>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spcBef>
                <a:spcPct val="20000"/>
              </a:spcBef>
              <a:buClrTx/>
              <a:buFontTx/>
              <a:buNone/>
            </a:pPr>
            <a:endParaRPr lang="de-CH" altLang="de-DE" sz="1200" dirty="0"/>
          </a:p>
        </p:txBody>
      </p:sp>
      <p:sp>
        <p:nvSpPr>
          <p:cNvPr id="80904" name="Rechteck 9">
            <a:extLst>
              <a:ext uri="{FF2B5EF4-FFF2-40B4-BE49-F238E27FC236}">
                <a16:creationId xmlns:a16="http://schemas.microsoft.com/office/drawing/2014/main" id="{C0349F78-1F63-BBD9-2E03-7DA74BAFAEFA}"/>
              </a:ext>
            </a:extLst>
          </p:cNvPr>
          <p:cNvSpPr>
            <a:spLocks noChangeArrowheads="1"/>
          </p:cNvSpPr>
          <p:nvPr/>
        </p:nvSpPr>
        <p:spPr bwMode="auto">
          <a:xfrm>
            <a:off x="306388" y="4652963"/>
            <a:ext cx="6069012" cy="1684337"/>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sp>
        <p:nvSpPr>
          <p:cNvPr id="80905" name="Rechteck 17433">
            <a:extLst>
              <a:ext uri="{FF2B5EF4-FFF2-40B4-BE49-F238E27FC236}">
                <a16:creationId xmlns:a16="http://schemas.microsoft.com/office/drawing/2014/main" id="{67486BD6-FE61-46E8-EF5D-B472BB31A2FC}"/>
              </a:ext>
            </a:extLst>
          </p:cNvPr>
          <p:cNvSpPr>
            <a:spLocks noChangeArrowheads="1"/>
          </p:cNvSpPr>
          <p:nvPr/>
        </p:nvSpPr>
        <p:spPr bwMode="auto">
          <a:xfrm>
            <a:off x="9545638" y="4652963"/>
            <a:ext cx="2984500" cy="1684337"/>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buFontTx/>
              <a:buNone/>
            </a:pPr>
            <a:endParaRPr lang="de-CH" altLang="de-DE" sz="1200" dirty="0"/>
          </a:p>
        </p:txBody>
      </p:sp>
      <p:sp>
        <p:nvSpPr>
          <p:cNvPr id="80906" name="Rechteck 29">
            <a:extLst>
              <a:ext uri="{FF2B5EF4-FFF2-40B4-BE49-F238E27FC236}">
                <a16:creationId xmlns:a16="http://schemas.microsoft.com/office/drawing/2014/main" id="{BF7314AF-8698-76D1-5633-469170CBE5DB}"/>
              </a:ext>
            </a:extLst>
          </p:cNvPr>
          <p:cNvSpPr>
            <a:spLocks noChangeArrowheads="1"/>
          </p:cNvSpPr>
          <p:nvPr/>
        </p:nvSpPr>
        <p:spPr bwMode="auto">
          <a:xfrm>
            <a:off x="9609138" y="4846638"/>
            <a:ext cx="2816225" cy="1208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defTabSz="196850">
              <a:defRPr sz="6300">
                <a:solidFill>
                  <a:schemeClr val="tx1"/>
                </a:solidFill>
                <a:latin typeface="Frutiger for ZKB Light"/>
              </a:defRPr>
            </a:lvl1pPr>
            <a:lvl2pPr marL="742950" indent="-285750" defTabSz="196850">
              <a:defRPr sz="6300">
                <a:solidFill>
                  <a:schemeClr val="tx1"/>
                </a:solidFill>
                <a:latin typeface="Frutiger for ZKB Light"/>
              </a:defRPr>
            </a:lvl2pPr>
            <a:lvl3pPr marL="1143000" indent="-228600" defTabSz="196850">
              <a:defRPr sz="6300">
                <a:solidFill>
                  <a:schemeClr val="tx1"/>
                </a:solidFill>
                <a:latin typeface="Frutiger for ZKB Light"/>
              </a:defRPr>
            </a:lvl3pPr>
            <a:lvl4pPr marL="1600200" indent="-228600" defTabSz="196850">
              <a:defRPr sz="6300">
                <a:solidFill>
                  <a:schemeClr val="tx1"/>
                </a:solidFill>
                <a:latin typeface="Frutiger for ZKB Light"/>
              </a:defRPr>
            </a:lvl4pPr>
            <a:lvl5pPr marL="2057400" indent="-228600" defTabSz="196850">
              <a:defRPr sz="6300">
                <a:solidFill>
                  <a:schemeClr val="tx1"/>
                </a:solidFill>
                <a:latin typeface="Frutiger for ZKB Light"/>
              </a:defRPr>
            </a:lvl5pPr>
            <a:lvl6pPr marL="2514600" indent="-228600" defTabSz="196850" eaLnBrk="0" fontAlgn="base" hangingPunct="0">
              <a:spcBef>
                <a:spcPct val="0"/>
              </a:spcBef>
              <a:spcAft>
                <a:spcPct val="0"/>
              </a:spcAft>
              <a:defRPr sz="6300">
                <a:solidFill>
                  <a:schemeClr val="tx1"/>
                </a:solidFill>
                <a:latin typeface="Frutiger for ZKB Light"/>
              </a:defRPr>
            </a:lvl6pPr>
            <a:lvl7pPr marL="2971800" indent="-228600" defTabSz="196850" eaLnBrk="0" fontAlgn="base" hangingPunct="0">
              <a:spcBef>
                <a:spcPct val="0"/>
              </a:spcBef>
              <a:spcAft>
                <a:spcPct val="0"/>
              </a:spcAft>
              <a:defRPr sz="6300">
                <a:solidFill>
                  <a:schemeClr val="tx1"/>
                </a:solidFill>
                <a:latin typeface="Frutiger for ZKB Light"/>
              </a:defRPr>
            </a:lvl7pPr>
            <a:lvl8pPr marL="3429000" indent="-228600" defTabSz="196850" eaLnBrk="0" fontAlgn="base" hangingPunct="0">
              <a:spcBef>
                <a:spcPct val="0"/>
              </a:spcBef>
              <a:spcAft>
                <a:spcPct val="0"/>
              </a:spcAft>
              <a:defRPr sz="6300">
                <a:solidFill>
                  <a:schemeClr val="tx1"/>
                </a:solidFill>
                <a:latin typeface="Frutiger for ZKB Light"/>
              </a:defRPr>
            </a:lvl8pPr>
            <a:lvl9pPr marL="3886200" indent="-228600" defTabSz="196850" eaLnBrk="0" fontAlgn="base" hangingPunct="0">
              <a:spcBef>
                <a:spcPct val="0"/>
              </a:spcBef>
              <a:spcAft>
                <a:spcPct val="0"/>
              </a:spcAft>
              <a:defRPr sz="6300">
                <a:solidFill>
                  <a:schemeClr val="tx1"/>
                </a:solidFill>
                <a:latin typeface="Frutiger for ZKB Light"/>
              </a:defRPr>
            </a:lvl9pPr>
          </a:lstStyle>
          <a:p>
            <a:pPr eaLnBrk="1" hangingPunct="1">
              <a:lnSpc>
                <a:spcPct val="105000"/>
              </a:lnSpc>
              <a:spcBef>
                <a:spcPct val="20000"/>
              </a:spcBef>
              <a:buFont typeface="Frutiger for ZKB Light" panose="020B0303030504020204" pitchFamily="34" charset="0"/>
              <a:buNone/>
            </a:pPr>
            <a:endParaRPr lang="de-CH" altLang="de-DE" sz="1600" dirty="0">
              <a:solidFill>
                <a:srgbClr val="003CB4"/>
              </a:solidFill>
              <a:latin typeface="Frutiger for ZKB Light" panose="020B0303030504020204" pitchFamily="34" charset="0"/>
            </a:endParaRPr>
          </a:p>
        </p:txBody>
      </p:sp>
      <p:sp>
        <p:nvSpPr>
          <p:cNvPr id="80907" name="Rechteck 29">
            <a:extLst>
              <a:ext uri="{FF2B5EF4-FFF2-40B4-BE49-F238E27FC236}">
                <a16:creationId xmlns:a16="http://schemas.microsoft.com/office/drawing/2014/main" id="{ED2F89B5-CFB2-1550-522B-9DA529313A65}"/>
              </a:ext>
            </a:extLst>
          </p:cNvPr>
          <p:cNvSpPr>
            <a:spLocks noChangeArrowheads="1"/>
          </p:cNvSpPr>
          <p:nvPr/>
        </p:nvSpPr>
        <p:spPr bwMode="auto">
          <a:xfrm>
            <a:off x="9609138" y="4943475"/>
            <a:ext cx="2816225" cy="1208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defTabSz="196850">
              <a:defRPr sz="6300">
                <a:solidFill>
                  <a:schemeClr val="tx1"/>
                </a:solidFill>
                <a:latin typeface="Frutiger for ZKB Light"/>
              </a:defRPr>
            </a:lvl1pPr>
            <a:lvl2pPr marL="742950" indent="-285750" defTabSz="196850">
              <a:defRPr sz="6300">
                <a:solidFill>
                  <a:schemeClr val="tx1"/>
                </a:solidFill>
                <a:latin typeface="Frutiger for ZKB Light"/>
              </a:defRPr>
            </a:lvl2pPr>
            <a:lvl3pPr marL="1143000" indent="-228600" defTabSz="196850">
              <a:defRPr sz="6300">
                <a:solidFill>
                  <a:schemeClr val="tx1"/>
                </a:solidFill>
                <a:latin typeface="Frutiger for ZKB Light"/>
              </a:defRPr>
            </a:lvl3pPr>
            <a:lvl4pPr marL="1600200" indent="-228600" defTabSz="196850">
              <a:defRPr sz="6300">
                <a:solidFill>
                  <a:schemeClr val="tx1"/>
                </a:solidFill>
                <a:latin typeface="Frutiger for ZKB Light"/>
              </a:defRPr>
            </a:lvl4pPr>
            <a:lvl5pPr marL="2057400" indent="-228600" defTabSz="196850">
              <a:defRPr sz="6300">
                <a:solidFill>
                  <a:schemeClr val="tx1"/>
                </a:solidFill>
                <a:latin typeface="Frutiger for ZKB Light"/>
              </a:defRPr>
            </a:lvl5pPr>
            <a:lvl6pPr marL="2514600" indent="-228600" defTabSz="196850" eaLnBrk="0" fontAlgn="base" hangingPunct="0">
              <a:spcBef>
                <a:spcPct val="0"/>
              </a:spcBef>
              <a:spcAft>
                <a:spcPct val="0"/>
              </a:spcAft>
              <a:defRPr sz="6300">
                <a:solidFill>
                  <a:schemeClr val="tx1"/>
                </a:solidFill>
                <a:latin typeface="Frutiger for ZKB Light"/>
              </a:defRPr>
            </a:lvl6pPr>
            <a:lvl7pPr marL="2971800" indent="-228600" defTabSz="196850" eaLnBrk="0" fontAlgn="base" hangingPunct="0">
              <a:spcBef>
                <a:spcPct val="0"/>
              </a:spcBef>
              <a:spcAft>
                <a:spcPct val="0"/>
              </a:spcAft>
              <a:defRPr sz="6300">
                <a:solidFill>
                  <a:schemeClr val="tx1"/>
                </a:solidFill>
                <a:latin typeface="Frutiger for ZKB Light"/>
              </a:defRPr>
            </a:lvl7pPr>
            <a:lvl8pPr marL="3429000" indent="-228600" defTabSz="196850" eaLnBrk="0" fontAlgn="base" hangingPunct="0">
              <a:spcBef>
                <a:spcPct val="0"/>
              </a:spcBef>
              <a:spcAft>
                <a:spcPct val="0"/>
              </a:spcAft>
              <a:defRPr sz="6300">
                <a:solidFill>
                  <a:schemeClr val="tx1"/>
                </a:solidFill>
                <a:latin typeface="Frutiger for ZKB Light"/>
              </a:defRPr>
            </a:lvl8pPr>
            <a:lvl9pPr marL="3886200" indent="-228600" defTabSz="196850" eaLnBrk="0" fontAlgn="base" hangingPunct="0">
              <a:spcBef>
                <a:spcPct val="0"/>
              </a:spcBef>
              <a:spcAft>
                <a:spcPct val="0"/>
              </a:spcAft>
              <a:defRPr sz="6300">
                <a:solidFill>
                  <a:schemeClr val="tx1"/>
                </a:solidFill>
                <a:latin typeface="Frutiger for ZKB Light"/>
              </a:defRPr>
            </a:lvl9pPr>
          </a:lstStyle>
          <a:p>
            <a:pPr eaLnBrk="1" hangingPunct="1">
              <a:lnSpc>
                <a:spcPct val="105000"/>
              </a:lnSpc>
              <a:spcBef>
                <a:spcPct val="20000"/>
              </a:spcBef>
              <a:buFont typeface="Frutiger for ZKB Light" panose="020B0303030504020204" pitchFamily="34" charset="0"/>
              <a:buNone/>
            </a:pPr>
            <a:endParaRPr lang="de-CH" altLang="de-DE" sz="1600" dirty="0">
              <a:solidFill>
                <a:srgbClr val="003CB4"/>
              </a:solidFill>
              <a:latin typeface="Frutiger for ZKB Light" panose="020B0303030504020204" pitchFamily="34" charset="0"/>
            </a:endParaRPr>
          </a:p>
        </p:txBody>
      </p:sp>
      <p:sp>
        <p:nvSpPr>
          <p:cNvPr id="80908" name="Rechteck 24">
            <a:extLst>
              <a:ext uri="{FF2B5EF4-FFF2-40B4-BE49-F238E27FC236}">
                <a16:creationId xmlns:a16="http://schemas.microsoft.com/office/drawing/2014/main" id="{D5BBE67A-C84B-6A71-DB49-745B90C3CE14}"/>
              </a:ext>
            </a:extLst>
          </p:cNvPr>
          <p:cNvSpPr>
            <a:spLocks noChangeArrowheads="1"/>
          </p:cNvSpPr>
          <p:nvPr/>
        </p:nvSpPr>
        <p:spPr bwMode="auto">
          <a:xfrm>
            <a:off x="9551988" y="5772150"/>
            <a:ext cx="2965450"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0" bIns="72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200" b="1" dirty="0">
                <a:solidFill>
                  <a:srgbClr val="003CB4"/>
                </a:solidFill>
                <a:latin typeface="Frutiger for ZKB Light" panose="020B0303030504020204" pitchFamily="34" charset="0"/>
              </a:rPr>
              <a:t>xxx Mio.</a:t>
            </a:r>
            <a:endParaRPr lang="de-CH" altLang="de-DE" sz="3200" dirty="0">
              <a:solidFill>
                <a:srgbClr val="003CB4"/>
              </a:solidFill>
              <a:latin typeface="Frutiger for ZKB Light" panose="020B0303030504020204" pitchFamily="34" charset="0"/>
            </a:endParaRPr>
          </a:p>
        </p:txBody>
      </p:sp>
      <p:sp>
        <p:nvSpPr>
          <p:cNvPr id="80909" name="Rechteck 56">
            <a:extLst>
              <a:ext uri="{FF2B5EF4-FFF2-40B4-BE49-F238E27FC236}">
                <a16:creationId xmlns:a16="http://schemas.microsoft.com/office/drawing/2014/main" id="{3229E190-6392-013D-4B4C-9556E2CD4551}"/>
              </a:ext>
            </a:extLst>
          </p:cNvPr>
          <p:cNvSpPr>
            <a:spLocks noChangeArrowheads="1"/>
          </p:cNvSpPr>
          <p:nvPr/>
        </p:nvSpPr>
        <p:spPr bwMode="auto">
          <a:xfrm>
            <a:off x="9551988" y="4652963"/>
            <a:ext cx="2127250" cy="525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Kennzahl XY</a:t>
            </a:r>
          </a:p>
        </p:txBody>
      </p:sp>
      <p:sp>
        <p:nvSpPr>
          <p:cNvPr id="80910" name="Rechteck 2">
            <a:extLst>
              <a:ext uri="{FF2B5EF4-FFF2-40B4-BE49-F238E27FC236}">
                <a16:creationId xmlns:a16="http://schemas.microsoft.com/office/drawing/2014/main" id="{5DBF2912-19C7-42D1-58C6-7CB38B7EFBC8}"/>
              </a:ext>
            </a:extLst>
          </p:cNvPr>
          <p:cNvSpPr>
            <a:spLocks noChangeArrowheads="1"/>
          </p:cNvSpPr>
          <p:nvPr/>
        </p:nvSpPr>
        <p:spPr bwMode="auto">
          <a:xfrm>
            <a:off x="306388" y="5032375"/>
            <a:ext cx="5761037" cy="1303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0" bIns="7200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ts val="0"/>
              </a:spcBef>
            </a:pPr>
            <a:r>
              <a:rPr lang="de-CH" altLang="de-DE" sz="2000" dirty="0">
                <a:solidFill>
                  <a:srgbClr val="003CB4"/>
                </a:solidFill>
                <a:latin typeface="Frutiger for ZKB Light" panose="020B0303030504020204" pitchFamily="34" charset="0"/>
              </a:rPr>
              <a:t>XY CHF lorem ipsum dolor lorem. </a:t>
            </a:r>
            <a:br>
              <a:rPr lang="de-CH" altLang="de-DE" sz="2000" dirty="0">
                <a:solidFill>
                  <a:srgbClr val="003CB4"/>
                </a:solidFill>
                <a:latin typeface="Frutiger for ZKB Light" panose="020B0303030504020204" pitchFamily="34" charset="0"/>
              </a:rPr>
            </a:br>
            <a:r>
              <a:rPr lang="de-CH" altLang="de-DE" sz="2000" dirty="0">
                <a:solidFill>
                  <a:srgbClr val="003CB4"/>
                </a:solidFill>
                <a:latin typeface="Frutiger for ZKB Light" panose="020B0303030504020204" pitchFamily="34" charset="0"/>
              </a:rPr>
              <a:t>dolor lorem dolor lorem ipsum dolor lorem ipsum.</a:t>
            </a:r>
          </a:p>
          <a:p>
            <a:pPr eaLnBrk="1" hangingPunct="1">
              <a:spcBef>
                <a:spcPts val="0"/>
              </a:spcBef>
            </a:pPr>
            <a:r>
              <a:rPr lang="de-CH" altLang="de-DE" sz="2000" dirty="0">
                <a:solidFill>
                  <a:srgbClr val="003CB4"/>
                </a:solidFill>
                <a:latin typeface="Frutiger for ZKB Light" panose="020B0303030504020204" pitchFamily="34" charset="0"/>
              </a:rPr>
              <a:t>dolor lorem dolor lorem ipsum dolor lorem ipsum. dolor lorem dolor lorem.</a:t>
            </a:r>
            <a:endParaRPr lang="de-CH" altLang="de-DE" sz="2000" b="1" dirty="0">
              <a:solidFill>
                <a:srgbClr val="003CB4"/>
              </a:solidFill>
              <a:latin typeface="Frutiger for ZKB Light" panose="020B0303030504020204" pitchFamily="34" charset="0"/>
            </a:endParaRPr>
          </a:p>
        </p:txBody>
      </p:sp>
      <p:sp>
        <p:nvSpPr>
          <p:cNvPr id="80911" name="Rechteck 9">
            <a:extLst>
              <a:ext uri="{FF2B5EF4-FFF2-40B4-BE49-F238E27FC236}">
                <a16:creationId xmlns:a16="http://schemas.microsoft.com/office/drawing/2014/main" id="{53E04A41-8D6C-0DC6-878A-7083A3E115B8}"/>
              </a:ext>
            </a:extLst>
          </p:cNvPr>
          <p:cNvSpPr>
            <a:spLocks noChangeArrowheads="1"/>
          </p:cNvSpPr>
          <p:nvPr/>
        </p:nvSpPr>
        <p:spPr bwMode="auto">
          <a:xfrm>
            <a:off x="306388" y="4652963"/>
            <a:ext cx="21272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Bottom Line</a:t>
            </a:r>
          </a:p>
        </p:txBody>
      </p:sp>
      <p:sp>
        <p:nvSpPr>
          <p:cNvPr id="80912" name="Rechteck 22">
            <a:extLst>
              <a:ext uri="{FF2B5EF4-FFF2-40B4-BE49-F238E27FC236}">
                <a16:creationId xmlns:a16="http://schemas.microsoft.com/office/drawing/2014/main" id="{E0DC5AD5-D23C-2ACB-4E88-106655D6D54B}"/>
              </a:ext>
            </a:extLst>
          </p:cNvPr>
          <p:cNvSpPr>
            <a:spLocks noChangeArrowheads="1"/>
          </p:cNvSpPr>
          <p:nvPr/>
        </p:nvSpPr>
        <p:spPr bwMode="auto">
          <a:xfrm>
            <a:off x="6429375" y="5772150"/>
            <a:ext cx="3006725"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0" bIns="72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200" b="1" dirty="0" err="1">
                <a:solidFill>
                  <a:srgbClr val="003CB4"/>
                </a:solidFill>
                <a:latin typeface="Frutiger for ZKB Light" panose="020B0303030504020204" pitchFamily="34" charset="0"/>
              </a:rPr>
              <a:t>xx,x</a:t>
            </a:r>
            <a:r>
              <a:rPr lang="de-CH" altLang="de-DE" sz="3200" b="1" dirty="0">
                <a:solidFill>
                  <a:srgbClr val="003CB4"/>
                </a:solidFill>
                <a:latin typeface="Frutiger for ZKB Light" panose="020B0303030504020204" pitchFamily="34" charset="0"/>
              </a:rPr>
              <a:t>%</a:t>
            </a:r>
          </a:p>
        </p:txBody>
      </p:sp>
      <p:sp>
        <p:nvSpPr>
          <p:cNvPr id="80913" name="Rechteck 23">
            <a:extLst>
              <a:ext uri="{FF2B5EF4-FFF2-40B4-BE49-F238E27FC236}">
                <a16:creationId xmlns:a16="http://schemas.microsoft.com/office/drawing/2014/main" id="{73BC5BD6-A571-7431-2E43-5B294C94BD26}"/>
              </a:ext>
            </a:extLst>
          </p:cNvPr>
          <p:cNvSpPr>
            <a:spLocks noChangeArrowheads="1"/>
          </p:cNvSpPr>
          <p:nvPr/>
        </p:nvSpPr>
        <p:spPr bwMode="auto">
          <a:xfrm>
            <a:off x="6470650" y="4652963"/>
            <a:ext cx="2965450" cy="525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Kennzahl XY</a:t>
            </a:r>
          </a:p>
        </p:txBody>
      </p:sp>
      <p:sp>
        <p:nvSpPr>
          <p:cNvPr id="80914" name="Rechteck 1">
            <a:extLst>
              <a:ext uri="{FF2B5EF4-FFF2-40B4-BE49-F238E27FC236}">
                <a16:creationId xmlns:a16="http://schemas.microsoft.com/office/drawing/2014/main" id="{1898C83F-1ECD-9A3B-EBAC-2794689557C8}"/>
              </a:ext>
            </a:extLst>
          </p:cNvPr>
          <p:cNvSpPr>
            <a:spLocks noChangeArrowheads="1"/>
          </p:cNvSpPr>
          <p:nvPr/>
        </p:nvSpPr>
        <p:spPr bwMode="auto">
          <a:xfrm>
            <a:off x="9551988" y="1885950"/>
            <a:ext cx="2989262" cy="1292225"/>
          </a:xfrm>
          <a:prstGeom prst="rect">
            <a:avLst/>
          </a:prstGeom>
          <a:solidFill>
            <a:srgbClr val="3D87F5"/>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spcBef>
                <a:spcPct val="20000"/>
              </a:spcBef>
              <a:buClrTx/>
            </a:pPr>
            <a:endParaRPr lang="de-CH" altLang="de-DE" sz="1200" dirty="0"/>
          </a:p>
        </p:txBody>
      </p:sp>
      <p:sp>
        <p:nvSpPr>
          <p:cNvPr id="80915" name="Rechteck 24">
            <a:extLst>
              <a:ext uri="{FF2B5EF4-FFF2-40B4-BE49-F238E27FC236}">
                <a16:creationId xmlns:a16="http://schemas.microsoft.com/office/drawing/2014/main" id="{BCA92E57-C781-2FAC-000B-99D7F010B20E}"/>
              </a:ext>
            </a:extLst>
          </p:cNvPr>
          <p:cNvSpPr>
            <a:spLocks noChangeArrowheads="1"/>
          </p:cNvSpPr>
          <p:nvPr/>
        </p:nvSpPr>
        <p:spPr bwMode="auto">
          <a:xfrm>
            <a:off x="9551988" y="2609850"/>
            <a:ext cx="2989262"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0" bIns="72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200" b="1" dirty="0">
                <a:solidFill>
                  <a:schemeClr val="bg1"/>
                </a:solidFill>
                <a:latin typeface="Frutiger for ZKB Light" panose="020B0303030504020204" pitchFamily="34" charset="0"/>
              </a:rPr>
              <a:t>xxx Mio.</a:t>
            </a:r>
          </a:p>
        </p:txBody>
      </p:sp>
      <p:sp>
        <p:nvSpPr>
          <p:cNvPr id="80916" name="Rechteck 6">
            <a:extLst>
              <a:ext uri="{FF2B5EF4-FFF2-40B4-BE49-F238E27FC236}">
                <a16:creationId xmlns:a16="http://schemas.microsoft.com/office/drawing/2014/main" id="{076E00C5-0E07-BB5E-1CFA-A68DD228B05B}"/>
              </a:ext>
            </a:extLst>
          </p:cNvPr>
          <p:cNvSpPr>
            <a:spLocks noChangeArrowheads="1"/>
          </p:cNvSpPr>
          <p:nvPr/>
        </p:nvSpPr>
        <p:spPr bwMode="auto">
          <a:xfrm>
            <a:off x="9551988" y="1885950"/>
            <a:ext cx="29654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chemeClr val="bg1"/>
                </a:solidFill>
                <a:latin typeface="Frutiger for ZKB Light" panose="020B0303030504020204" pitchFamily="34" charset="0"/>
              </a:rPr>
              <a:t>Kennzahl XY</a:t>
            </a:r>
          </a:p>
        </p:txBody>
      </p:sp>
      <p:sp>
        <p:nvSpPr>
          <p:cNvPr id="80917" name="Rechteck 8">
            <a:extLst>
              <a:ext uri="{FF2B5EF4-FFF2-40B4-BE49-F238E27FC236}">
                <a16:creationId xmlns:a16="http://schemas.microsoft.com/office/drawing/2014/main" id="{EDB97839-CB9A-52B9-1AA4-ECF15E057CDD}"/>
              </a:ext>
            </a:extLst>
          </p:cNvPr>
          <p:cNvSpPr>
            <a:spLocks noChangeArrowheads="1"/>
          </p:cNvSpPr>
          <p:nvPr/>
        </p:nvSpPr>
        <p:spPr bwMode="auto">
          <a:xfrm>
            <a:off x="306388" y="1885950"/>
            <a:ext cx="2989262" cy="1289050"/>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sp>
        <p:nvSpPr>
          <p:cNvPr id="80918" name="Rechteck 2">
            <a:extLst>
              <a:ext uri="{FF2B5EF4-FFF2-40B4-BE49-F238E27FC236}">
                <a16:creationId xmlns:a16="http://schemas.microsoft.com/office/drawing/2014/main" id="{4F03D48D-8BE4-FEF2-BB4E-00365AA6A211}"/>
              </a:ext>
            </a:extLst>
          </p:cNvPr>
          <p:cNvSpPr>
            <a:spLocks noChangeArrowheads="1"/>
          </p:cNvSpPr>
          <p:nvPr/>
        </p:nvSpPr>
        <p:spPr bwMode="auto">
          <a:xfrm>
            <a:off x="306388" y="2609850"/>
            <a:ext cx="2989262"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0" bIns="72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200" b="1" dirty="0" err="1">
                <a:solidFill>
                  <a:srgbClr val="003CB4"/>
                </a:solidFill>
                <a:latin typeface="Frutiger for ZKB Light" panose="020B0303030504020204" pitchFamily="34" charset="0"/>
              </a:rPr>
              <a:t>xx,x</a:t>
            </a:r>
            <a:r>
              <a:rPr lang="de-CH" altLang="de-DE" sz="3200" b="1" dirty="0">
                <a:solidFill>
                  <a:srgbClr val="003CB4"/>
                </a:solidFill>
                <a:latin typeface="Frutiger for ZKB Light" panose="020B0303030504020204" pitchFamily="34" charset="0"/>
              </a:rPr>
              <a:t> Mrd.</a:t>
            </a:r>
          </a:p>
        </p:txBody>
      </p:sp>
      <p:sp>
        <p:nvSpPr>
          <p:cNvPr id="80919" name="Rechteck 9">
            <a:extLst>
              <a:ext uri="{FF2B5EF4-FFF2-40B4-BE49-F238E27FC236}">
                <a16:creationId xmlns:a16="http://schemas.microsoft.com/office/drawing/2014/main" id="{88C81DE5-AB6C-69F4-B7EC-527F69ADF986}"/>
              </a:ext>
            </a:extLst>
          </p:cNvPr>
          <p:cNvSpPr>
            <a:spLocks noChangeArrowheads="1"/>
          </p:cNvSpPr>
          <p:nvPr/>
        </p:nvSpPr>
        <p:spPr bwMode="auto">
          <a:xfrm>
            <a:off x="306388" y="1885950"/>
            <a:ext cx="2127250"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Kennzahl XY</a:t>
            </a:r>
          </a:p>
        </p:txBody>
      </p:sp>
      <p:sp>
        <p:nvSpPr>
          <p:cNvPr id="80920" name="Rechteck 27">
            <a:extLst>
              <a:ext uri="{FF2B5EF4-FFF2-40B4-BE49-F238E27FC236}">
                <a16:creationId xmlns:a16="http://schemas.microsoft.com/office/drawing/2014/main" id="{F1819E2E-CD92-4057-A47A-D7DCDD0C6CCD}"/>
              </a:ext>
            </a:extLst>
          </p:cNvPr>
          <p:cNvSpPr>
            <a:spLocks noChangeArrowheads="1"/>
          </p:cNvSpPr>
          <p:nvPr/>
        </p:nvSpPr>
        <p:spPr bwMode="auto">
          <a:xfrm>
            <a:off x="6470650" y="1885950"/>
            <a:ext cx="2989263" cy="1289050"/>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sp>
        <p:nvSpPr>
          <p:cNvPr id="80921" name="Rechteck 22">
            <a:extLst>
              <a:ext uri="{FF2B5EF4-FFF2-40B4-BE49-F238E27FC236}">
                <a16:creationId xmlns:a16="http://schemas.microsoft.com/office/drawing/2014/main" id="{E566AC88-62DB-0239-BA1F-33865DBE3A0B}"/>
              </a:ext>
            </a:extLst>
          </p:cNvPr>
          <p:cNvSpPr>
            <a:spLocks noChangeArrowheads="1"/>
          </p:cNvSpPr>
          <p:nvPr/>
        </p:nvSpPr>
        <p:spPr bwMode="auto">
          <a:xfrm>
            <a:off x="6470650" y="2609850"/>
            <a:ext cx="29892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0" bIns="72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200" b="1" dirty="0" err="1">
                <a:solidFill>
                  <a:srgbClr val="003CB4"/>
                </a:solidFill>
                <a:latin typeface="Frutiger for ZKB Light" panose="020B0303030504020204" pitchFamily="34" charset="0"/>
              </a:rPr>
              <a:t>xx,x</a:t>
            </a:r>
            <a:r>
              <a:rPr lang="de-CH" altLang="de-DE" sz="3200" b="1" dirty="0">
                <a:solidFill>
                  <a:srgbClr val="003CB4"/>
                </a:solidFill>
                <a:latin typeface="Frutiger for ZKB Light" panose="020B0303030504020204" pitchFamily="34" charset="0"/>
              </a:rPr>
              <a:t>%</a:t>
            </a:r>
          </a:p>
        </p:txBody>
      </p:sp>
      <p:sp>
        <p:nvSpPr>
          <p:cNvPr id="80922" name="Rechteck 23">
            <a:extLst>
              <a:ext uri="{FF2B5EF4-FFF2-40B4-BE49-F238E27FC236}">
                <a16:creationId xmlns:a16="http://schemas.microsoft.com/office/drawing/2014/main" id="{FFD8E610-C277-6646-D894-CFD03F8F1FE4}"/>
              </a:ext>
            </a:extLst>
          </p:cNvPr>
          <p:cNvSpPr>
            <a:spLocks noChangeArrowheads="1"/>
          </p:cNvSpPr>
          <p:nvPr/>
        </p:nvSpPr>
        <p:spPr bwMode="auto">
          <a:xfrm>
            <a:off x="6470650" y="1885950"/>
            <a:ext cx="29654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Kennzahl XY</a:t>
            </a:r>
          </a:p>
        </p:txBody>
      </p:sp>
      <p:sp>
        <p:nvSpPr>
          <p:cNvPr id="80923" name="Rechteck 32">
            <a:extLst>
              <a:ext uri="{FF2B5EF4-FFF2-40B4-BE49-F238E27FC236}">
                <a16:creationId xmlns:a16="http://schemas.microsoft.com/office/drawing/2014/main" id="{449D1EDA-D0A9-E649-32E1-F047705EEA61}"/>
              </a:ext>
            </a:extLst>
          </p:cNvPr>
          <p:cNvSpPr>
            <a:spLocks noChangeArrowheads="1"/>
          </p:cNvSpPr>
          <p:nvPr/>
        </p:nvSpPr>
        <p:spPr bwMode="auto">
          <a:xfrm>
            <a:off x="3387725" y="1885950"/>
            <a:ext cx="2989263" cy="1289050"/>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sp>
        <p:nvSpPr>
          <p:cNvPr id="80924" name="Rechteck 10">
            <a:extLst>
              <a:ext uri="{FF2B5EF4-FFF2-40B4-BE49-F238E27FC236}">
                <a16:creationId xmlns:a16="http://schemas.microsoft.com/office/drawing/2014/main" id="{239F2165-86E9-77AD-BD31-6939D49B20F5}"/>
              </a:ext>
            </a:extLst>
          </p:cNvPr>
          <p:cNvSpPr>
            <a:spLocks noChangeArrowheads="1"/>
          </p:cNvSpPr>
          <p:nvPr/>
        </p:nvSpPr>
        <p:spPr bwMode="auto">
          <a:xfrm>
            <a:off x="3390900" y="2609850"/>
            <a:ext cx="29892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0" bIns="72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200" b="1" dirty="0" err="1">
                <a:solidFill>
                  <a:srgbClr val="003CB4"/>
                </a:solidFill>
                <a:latin typeface="Frutiger for ZKB Light" panose="020B0303030504020204" pitchFamily="34" charset="0"/>
              </a:rPr>
              <a:t>x’xxx</a:t>
            </a:r>
            <a:r>
              <a:rPr lang="de-CH" altLang="de-DE" sz="3200" b="1" dirty="0">
                <a:solidFill>
                  <a:srgbClr val="003CB4"/>
                </a:solidFill>
                <a:latin typeface="Frutiger for ZKB Light" panose="020B0303030504020204" pitchFamily="34" charset="0"/>
              </a:rPr>
              <a:t> Mio. </a:t>
            </a:r>
          </a:p>
        </p:txBody>
      </p:sp>
      <p:sp>
        <p:nvSpPr>
          <p:cNvPr id="80925" name="Rechteck 11">
            <a:extLst>
              <a:ext uri="{FF2B5EF4-FFF2-40B4-BE49-F238E27FC236}">
                <a16:creationId xmlns:a16="http://schemas.microsoft.com/office/drawing/2014/main" id="{7C6530DB-AFF2-5522-AC6B-E890EE3CFADF}"/>
              </a:ext>
            </a:extLst>
          </p:cNvPr>
          <p:cNvSpPr>
            <a:spLocks noChangeArrowheads="1"/>
          </p:cNvSpPr>
          <p:nvPr/>
        </p:nvSpPr>
        <p:spPr bwMode="auto">
          <a:xfrm>
            <a:off x="3387725" y="1885950"/>
            <a:ext cx="2128838"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Kennzahl XY</a:t>
            </a:r>
          </a:p>
        </p:txBody>
      </p:sp>
      <p:sp>
        <p:nvSpPr>
          <p:cNvPr id="80926" name="Rechteck 42">
            <a:extLst>
              <a:ext uri="{FF2B5EF4-FFF2-40B4-BE49-F238E27FC236}">
                <a16:creationId xmlns:a16="http://schemas.microsoft.com/office/drawing/2014/main" id="{B704114D-6E19-70DD-596C-2328054E2929}"/>
              </a:ext>
            </a:extLst>
          </p:cNvPr>
          <p:cNvSpPr>
            <a:spLocks noChangeArrowheads="1"/>
          </p:cNvSpPr>
          <p:nvPr/>
        </p:nvSpPr>
        <p:spPr bwMode="auto">
          <a:xfrm>
            <a:off x="9551988" y="3268663"/>
            <a:ext cx="2989262" cy="1292225"/>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buFontTx/>
              <a:buNone/>
            </a:pPr>
            <a:endParaRPr lang="de-CH" altLang="de-DE" sz="1200" dirty="0"/>
          </a:p>
        </p:txBody>
      </p:sp>
      <p:sp>
        <p:nvSpPr>
          <p:cNvPr id="80927" name="Rechteck 24">
            <a:extLst>
              <a:ext uri="{FF2B5EF4-FFF2-40B4-BE49-F238E27FC236}">
                <a16:creationId xmlns:a16="http://schemas.microsoft.com/office/drawing/2014/main" id="{05B6F233-1E00-AC8B-35E2-8A200754B76D}"/>
              </a:ext>
            </a:extLst>
          </p:cNvPr>
          <p:cNvSpPr>
            <a:spLocks noChangeArrowheads="1"/>
          </p:cNvSpPr>
          <p:nvPr/>
        </p:nvSpPr>
        <p:spPr bwMode="auto">
          <a:xfrm>
            <a:off x="9551988" y="3994150"/>
            <a:ext cx="2017712"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0" bIns="72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200" b="1" dirty="0">
                <a:solidFill>
                  <a:srgbClr val="003CB4"/>
                </a:solidFill>
                <a:latin typeface="Frutiger for ZKB Light" panose="020B0303030504020204" pitchFamily="34" charset="0"/>
              </a:rPr>
              <a:t>xxx Mio.</a:t>
            </a:r>
          </a:p>
        </p:txBody>
      </p:sp>
      <p:sp>
        <p:nvSpPr>
          <p:cNvPr id="80928" name="Rechteck 44">
            <a:extLst>
              <a:ext uri="{FF2B5EF4-FFF2-40B4-BE49-F238E27FC236}">
                <a16:creationId xmlns:a16="http://schemas.microsoft.com/office/drawing/2014/main" id="{BD0E336C-0367-81C1-9B0F-80B87E9CB595}"/>
              </a:ext>
            </a:extLst>
          </p:cNvPr>
          <p:cNvSpPr>
            <a:spLocks noChangeArrowheads="1"/>
          </p:cNvSpPr>
          <p:nvPr/>
        </p:nvSpPr>
        <p:spPr bwMode="auto">
          <a:xfrm>
            <a:off x="9551988" y="3268663"/>
            <a:ext cx="29654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Kennzahl XY</a:t>
            </a:r>
          </a:p>
        </p:txBody>
      </p:sp>
      <p:sp>
        <p:nvSpPr>
          <p:cNvPr id="80929" name="Rechteck 46">
            <a:extLst>
              <a:ext uri="{FF2B5EF4-FFF2-40B4-BE49-F238E27FC236}">
                <a16:creationId xmlns:a16="http://schemas.microsoft.com/office/drawing/2014/main" id="{31AF4CA1-DACC-364E-00D8-FEE09431E0A8}"/>
              </a:ext>
            </a:extLst>
          </p:cNvPr>
          <p:cNvSpPr>
            <a:spLocks noChangeArrowheads="1"/>
          </p:cNvSpPr>
          <p:nvPr/>
        </p:nvSpPr>
        <p:spPr bwMode="auto">
          <a:xfrm>
            <a:off x="306388" y="3268663"/>
            <a:ext cx="2989262" cy="1290637"/>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sp>
        <p:nvSpPr>
          <p:cNvPr id="80930" name="Rechteck 2">
            <a:extLst>
              <a:ext uri="{FF2B5EF4-FFF2-40B4-BE49-F238E27FC236}">
                <a16:creationId xmlns:a16="http://schemas.microsoft.com/office/drawing/2014/main" id="{AB0EDAC0-02AA-2C65-C2AC-4337FA578090}"/>
              </a:ext>
            </a:extLst>
          </p:cNvPr>
          <p:cNvSpPr>
            <a:spLocks noChangeArrowheads="1"/>
          </p:cNvSpPr>
          <p:nvPr/>
        </p:nvSpPr>
        <p:spPr bwMode="auto">
          <a:xfrm>
            <a:off x="306388" y="3994150"/>
            <a:ext cx="2989262"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0" bIns="72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200" b="1" dirty="0" err="1">
                <a:solidFill>
                  <a:srgbClr val="003CB4"/>
                </a:solidFill>
                <a:latin typeface="Frutiger for ZKB Light" panose="020B0303030504020204" pitchFamily="34" charset="0"/>
              </a:rPr>
              <a:t>xx,x</a:t>
            </a:r>
            <a:r>
              <a:rPr lang="de-CH" altLang="de-DE" sz="3200" b="1" dirty="0">
                <a:solidFill>
                  <a:srgbClr val="003CB4"/>
                </a:solidFill>
                <a:latin typeface="Frutiger for ZKB Light" panose="020B0303030504020204" pitchFamily="34" charset="0"/>
              </a:rPr>
              <a:t> Mrd.</a:t>
            </a:r>
          </a:p>
        </p:txBody>
      </p:sp>
      <p:sp>
        <p:nvSpPr>
          <p:cNvPr id="80931" name="Rechteck 9">
            <a:extLst>
              <a:ext uri="{FF2B5EF4-FFF2-40B4-BE49-F238E27FC236}">
                <a16:creationId xmlns:a16="http://schemas.microsoft.com/office/drawing/2014/main" id="{5307E636-FF7E-7E15-7367-454F71CA8F56}"/>
              </a:ext>
            </a:extLst>
          </p:cNvPr>
          <p:cNvSpPr>
            <a:spLocks noChangeArrowheads="1"/>
          </p:cNvSpPr>
          <p:nvPr/>
        </p:nvSpPr>
        <p:spPr bwMode="auto">
          <a:xfrm>
            <a:off x="306388" y="3268663"/>
            <a:ext cx="2127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Kennzahl XY</a:t>
            </a:r>
          </a:p>
        </p:txBody>
      </p:sp>
      <p:sp>
        <p:nvSpPr>
          <p:cNvPr id="80932" name="Rechteck 49">
            <a:extLst>
              <a:ext uri="{FF2B5EF4-FFF2-40B4-BE49-F238E27FC236}">
                <a16:creationId xmlns:a16="http://schemas.microsoft.com/office/drawing/2014/main" id="{DDAEB363-48AD-F72A-DDA7-9F3EAF8F58F3}"/>
              </a:ext>
            </a:extLst>
          </p:cNvPr>
          <p:cNvSpPr>
            <a:spLocks noChangeArrowheads="1"/>
          </p:cNvSpPr>
          <p:nvPr/>
        </p:nvSpPr>
        <p:spPr bwMode="auto">
          <a:xfrm>
            <a:off x="6470650" y="3268663"/>
            <a:ext cx="2989263" cy="1290637"/>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sp>
        <p:nvSpPr>
          <p:cNvPr id="80933" name="Rechteck 22">
            <a:extLst>
              <a:ext uri="{FF2B5EF4-FFF2-40B4-BE49-F238E27FC236}">
                <a16:creationId xmlns:a16="http://schemas.microsoft.com/office/drawing/2014/main" id="{E62E97ED-607D-6EDC-51B9-B3DE56434C5A}"/>
              </a:ext>
            </a:extLst>
          </p:cNvPr>
          <p:cNvSpPr>
            <a:spLocks noChangeArrowheads="1"/>
          </p:cNvSpPr>
          <p:nvPr/>
        </p:nvSpPr>
        <p:spPr bwMode="auto">
          <a:xfrm>
            <a:off x="6470650" y="3994150"/>
            <a:ext cx="29892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0" bIns="72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200" b="1" dirty="0" err="1">
                <a:solidFill>
                  <a:srgbClr val="003CB4"/>
                </a:solidFill>
                <a:latin typeface="Frutiger for ZKB Light" panose="020B0303030504020204" pitchFamily="34" charset="0"/>
              </a:rPr>
              <a:t>xx,x</a:t>
            </a:r>
            <a:r>
              <a:rPr lang="de-CH" altLang="de-DE" sz="3200" b="1" dirty="0">
                <a:solidFill>
                  <a:srgbClr val="003CB4"/>
                </a:solidFill>
                <a:latin typeface="Frutiger for ZKB Light" panose="020B0303030504020204" pitchFamily="34" charset="0"/>
              </a:rPr>
              <a:t>%</a:t>
            </a:r>
          </a:p>
        </p:txBody>
      </p:sp>
      <p:sp>
        <p:nvSpPr>
          <p:cNvPr id="80934" name="Rechteck 23">
            <a:extLst>
              <a:ext uri="{FF2B5EF4-FFF2-40B4-BE49-F238E27FC236}">
                <a16:creationId xmlns:a16="http://schemas.microsoft.com/office/drawing/2014/main" id="{C0864AF7-4334-F704-18E6-5AD1E815D618}"/>
              </a:ext>
            </a:extLst>
          </p:cNvPr>
          <p:cNvSpPr>
            <a:spLocks noChangeArrowheads="1"/>
          </p:cNvSpPr>
          <p:nvPr/>
        </p:nvSpPr>
        <p:spPr bwMode="auto">
          <a:xfrm>
            <a:off x="6470650" y="3268663"/>
            <a:ext cx="29654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Kennzahl XY</a:t>
            </a:r>
          </a:p>
        </p:txBody>
      </p:sp>
      <p:sp>
        <p:nvSpPr>
          <p:cNvPr id="80935" name="Rechteck 52">
            <a:extLst>
              <a:ext uri="{FF2B5EF4-FFF2-40B4-BE49-F238E27FC236}">
                <a16:creationId xmlns:a16="http://schemas.microsoft.com/office/drawing/2014/main" id="{51319B98-AC67-4F6E-1B30-3C2B36EA157E}"/>
              </a:ext>
            </a:extLst>
          </p:cNvPr>
          <p:cNvSpPr>
            <a:spLocks noChangeArrowheads="1"/>
          </p:cNvSpPr>
          <p:nvPr/>
        </p:nvSpPr>
        <p:spPr bwMode="auto">
          <a:xfrm>
            <a:off x="3387725" y="3268663"/>
            <a:ext cx="2989263" cy="1290637"/>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sp>
        <p:nvSpPr>
          <p:cNvPr id="80936" name="Rechteck 10">
            <a:extLst>
              <a:ext uri="{FF2B5EF4-FFF2-40B4-BE49-F238E27FC236}">
                <a16:creationId xmlns:a16="http://schemas.microsoft.com/office/drawing/2014/main" id="{40BD6220-2D3B-1CB1-3347-75BF500C495A}"/>
              </a:ext>
            </a:extLst>
          </p:cNvPr>
          <p:cNvSpPr>
            <a:spLocks noChangeArrowheads="1"/>
          </p:cNvSpPr>
          <p:nvPr/>
        </p:nvSpPr>
        <p:spPr bwMode="auto">
          <a:xfrm>
            <a:off x="3390900" y="3994150"/>
            <a:ext cx="29892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0" bIns="72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200" b="1" dirty="0" err="1">
                <a:solidFill>
                  <a:srgbClr val="003CB4"/>
                </a:solidFill>
                <a:latin typeface="Frutiger for ZKB Light" panose="020B0303030504020204" pitchFamily="34" charset="0"/>
              </a:rPr>
              <a:t>x’xxx</a:t>
            </a:r>
            <a:r>
              <a:rPr lang="de-CH" altLang="de-DE" sz="3200" b="1" dirty="0">
                <a:solidFill>
                  <a:srgbClr val="003CB4"/>
                </a:solidFill>
                <a:latin typeface="Frutiger for ZKB Light" panose="020B0303030504020204" pitchFamily="34" charset="0"/>
              </a:rPr>
              <a:t> Mio. </a:t>
            </a:r>
          </a:p>
        </p:txBody>
      </p:sp>
      <p:sp>
        <p:nvSpPr>
          <p:cNvPr id="80937" name="Rechteck 11">
            <a:extLst>
              <a:ext uri="{FF2B5EF4-FFF2-40B4-BE49-F238E27FC236}">
                <a16:creationId xmlns:a16="http://schemas.microsoft.com/office/drawing/2014/main" id="{E2BB22B5-D41A-27C3-71E5-C1AA69366934}"/>
              </a:ext>
            </a:extLst>
          </p:cNvPr>
          <p:cNvSpPr>
            <a:spLocks noChangeArrowheads="1"/>
          </p:cNvSpPr>
          <p:nvPr/>
        </p:nvSpPr>
        <p:spPr bwMode="auto">
          <a:xfrm>
            <a:off x="3387725" y="3268663"/>
            <a:ext cx="2128838"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Kennzahl XY</a:t>
            </a:r>
          </a:p>
        </p:txBody>
      </p:sp>
      <p:sp>
        <p:nvSpPr>
          <p:cNvPr id="80938" name="Textfeld 17409">
            <a:extLst>
              <a:ext uri="{FF2B5EF4-FFF2-40B4-BE49-F238E27FC236}">
                <a16:creationId xmlns:a16="http://schemas.microsoft.com/office/drawing/2014/main" id="{5AD0A47D-C05F-F171-2B17-575C88306C32}"/>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946" name="think-cell data - do not delete" hidden="1">
            <a:extLst>
              <a:ext uri="{FF2B5EF4-FFF2-40B4-BE49-F238E27FC236}">
                <a16:creationId xmlns:a16="http://schemas.microsoft.com/office/drawing/2014/main" id="{A239DA96-A33F-1EB2-3EE7-CB7270FF602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82946" name="think-cell data - do not delete" hidden="1">
                        <a:extLst>
                          <a:ext uri="{FF2B5EF4-FFF2-40B4-BE49-F238E27FC236}">
                            <a16:creationId xmlns:a16="http://schemas.microsoft.com/office/drawing/2014/main" id="{A239DA96-A33F-1EB2-3EE7-CB7270FF60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373A116C-6D90-C6B6-A58B-A5EAC193BC5B}"/>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Prozentkreis 1</a:t>
            </a:r>
          </a:p>
        </p:txBody>
      </p:sp>
      <p:sp>
        <p:nvSpPr>
          <p:cNvPr id="82948" name="Foliennummernplatzhalter 13">
            <a:extLst>
              <a:ext uri="{FF2B5EF4-FFF2-40B4-BE49-F238E27FC236}">
                <a16:creationId xmlns:a16="http://schemas.microsoft.com/office/drawing/2014/main" id="{37DBDF3B-7910-9E67-DFA1-D825D3075EAD}"/>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56</a:t>
            </a:fld>
            <a:endParaRPr lang="de-CH" altLang="de-DE" sz="1100" dirty="0">
              <a:solidFill>
                <a:srgbClr val="003CB4"/>
              </a:solidFill>
            </a:endParaRPr>
          </a:p>
        </p:txBody>
      </p:sp>
      <p:sp>
        <p:nvSpPr>
          <p:cNvPr id="82949" name="Fußzeilenplatzhalter 12">
            <a:extLst>
              <a:ext uri="{FF2B5EF4-FFF2-40B4-BE49-F238E27FC236}">
                <a16:creationId xmlns:a16="http://schemas.microsoft.com/office/drawing/2014/main" id="{0C4B7ACC-13F1-B068-2660-50CD830EAF0F}"/>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1" name="Textfeld 30">
            <a:extLst>
              <a:ext uri="{FF2B5EF4-FFF2-40B4-BE49-F238E27FC236}">
                <a16:creationId xmlns:a16="http://schemas.microsoft.com/office/drawing/2014/main" id="{09AEF3E5-491B-9895-8552-DC251EA81D7C}"/>
              </a:ext>
            </a:extLst>
          </p:cNvPr>
          <p:cNvSpPr txBox="1"/>
          <p:nvPr/>
        </p:nvSpPr>
        <p:spPr>
          <a:xfrm>
            <a:off x="1277938" y="4821238"/>
            <a:ext cx="2411412" cy="738187"/>
          </a:xfrm>
          <a:prstGeom prst="rect">
            <a:avLst/>
          </a:prstGeom>
          <a:noFill/>
          <a:ln cmpd="sng">
            <a:noFill/>
            <a:prstDash val="solid"/>
          </a:ln>
          <a:effectLst/>
        </p:spPr>
        <p:txBody>
          <a:bodyPr lIns="0" tIns="0" rIns="0" bIns="0">
            <a:spAutoFit/>
          </a:bodyPr>
          <a:lstStyle/>
          <a:p>
            <a:pPr eaLnBrk="1" hangingPunct="1">
              <a:spcBef>
                <a:spcPts val="0"/>
              </a:spcBef>
              <a:defRPr/>
            </a:pPr>
            <a:r>
              <a:rPr lang="de-CH" sz="1600" dirty="0">
                <a:latin typeface="Frutiger for ZKB Light" panose="020B0303030504020204" pitchFamily="34" charset="0"/>
              </a:rPr>
              <a:t>Lorem ipsum dolor sit amet, consectetur adipiscing elit</a:t>
            </a:r>
            <a:endParaRPr lang="de-CH" sz="1600" dirty="0">
              <a:solidFill>
                <a:schemeClr val="accent3"/>
              </a:solidFill>
              <a:latin typeface="Frutiger for ZKB Light" panose="020B0303030504020204" pitchFamily="34" charset="0"/>
            </a:endParaRPr>
          </a:p>
        </p:txBody>
      </p:sp>
      <p:sp>
        <p:nvSpPr>
          <p:cNvPr id="32" name="Textfeld 31">
            <a:extLst>
              <a:ext uri="{FF2B5EF4-FFF2-40B4-BE49-F238E27FC236}">
                <a16:creationId xmlns:a16="http://schemas.microsoft.com/office/drawing/2014/main" id="{29D2000A-9814-D9C7-B384-BD794BC9D2FE}"/>
              </a:ext>
            </a:extLst>
          </p:cNvPr>
          <p:cNvSpPr txBox="1"/>
          <p:nvPr/>
        </p:nvSpPr>
        <p:spPr>
          <a:xfrm>
            <a:off x="5454650" y="4821238"/>
            <a:ext cx="2413000" cy="738187"/>
          </a:xfrm>
          <a:prstGeom prst="rect">
            <a:avLst/>
          </a:prstGeom>
          <a:noFill/>
          <a:ln cmpd="sng">
            <a:noFill/>
            <a:prstDash val="solid"/>
          </a:ln>
          <a:effectLst/>
        </p:spPr>
        <p:txBody>
          <a:bodyPr lIns="0" tIns="0" rIns="0" bIns="0">
            <a:spAutoFit/>
          </a:bodyPr>
          <a:lstStyle/>
          <a:p>
            <a:pPr eaLnBrk="1" hangingPunct="1">
              <a:spcBef>
                <a:spcPts val="0"/>
              </a:spcBef>
              <a:defRPr/>
            </a:pPr>
            <a:r>
              <a:rPr lang="de-CH" sz="1600" dirty="0">
                <a:latin typeface="Frutiger for ZKB Light" panose="020B0303030504020204" pitchFamily="34" charset="0"/>
              </a:rPr>
              <a:t>Lorem ipsum dolor sit amet, consectetur adipiscing elit</a:t>
            </a:r>
            <a:endParaRPr lang="de-CH" sz="1600" dirty="0">
              <a:solidFill>
                <a:schemeClr val="accent3"/>
              </a:solidFill>
              <a:latin typeface="Frutiger for ZKB Light" panose="020B0303030504020204" pitchFamily="34" charset="0"/>
            </a:endParaRPr>
          </a:p>
        </p:txBody>
      </p:sp>
      <p:sp>
        <p:nvSpPr>
          <p:cNvPr id="33" name="Textfeld 32">
            <a:extLst>
              <a:ext uri="{FF2B5EF4-FFF2-40B4-BE49-F238E27FC236}">
                <a16:creationId xmlns:a16="http://schemas.microsoft.com/office/drawing/2014/main" id="{4DF21DEE-7B4D-773B-2BFB-70C579BBE201}"/>
              </a:ext>
            </a:extLst>
          </p:cNvPr>
          <p:cNvSpPr txBox="1"/>
          <p:nvPr/>
        </p:nvSpPr>
        <p:spPr>
          <a:xfrm>
            <a:off x="9632950" y="4821238"/>
            <a:ext cx="2411413" cy="738187"/>
          </a:xfrm>
          <a:prstGeom prst="rect">
            <a:avLst/>
          </a:prstGeom>
          <a:noFill/>
          <a:ln cmpd="sng">
            <a:noFill/>
            <a:prstDash val="solid"/>
          </a:ln>
          <a:effectLst/>
        </p:spPr>
        <p:txBody>
          <a:bodyPr lIns="0" tIns="0" rIns="0" bIns="0">
            <a:spAutoFit/>
          </a:bodyPr>
          <a:lstStyle/>
          <a:p>
            <a:pPr eaLnBrk="1" hangingPunct="1">
              <a:spcBef>
                <a:spcPts val="0"/>
              </a:spcBef>
              <a:defRPr/>
            </a:pPr>
            <a:r>
              <a:rPr lang="de-CH" sz="1600" dirty="0">
                <a:latin typeface="Frutiger for ZKB Light" panose="020B0303030504020204" pitchFamily="34" charset="0"/>
              </a:rPr>
              <a:t>Lorem ipsum dolor sit amet, consectetur adipiscing elit</a:t>
            </a:r>
            <a:endParaRPr lang="de-CH" sz="1600" dirty="0">
              <a:solidFill>
                <a:schemeClr val="accent3"/>
              </a:solidFill>
              <a:latin typeface="Frutiger for ZKB Light" panose="020B0303030504020204" pitchFamily="34" charset="0"/>
            </a:endParaRPr>
          </a:p>
        </p:txBody>
      </p:sp>
      <p:sp>
        <p:nvSpPr>
          <p:cNvPr id="82953" name="Textfeld 37">
            <a:extLst>
              <a:ext uri="{FF2B5EF4-FFF2-40B4-BE49-F238E27FC236}">
                <a16:creationId xmlns:a16="http://schemas.microsoft.com/office/drawing/2014/main" id="{C91CD48D-1B85-B86C-064F-E6DC809FF24D}"/>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sp>
        <p:nvSpPr>
          <p:cNvPr id="22" name="Oval 26">
            <a:extLst>
              <a:ext uri="{FF2B5EF4-FFF2-40B4-BE49-F238E27FC236}">
                <a16:creationId xmlns:a16="http://schemas.microsoft.com/office/drawing/2014/main" id="{DC124AD9-3E5D-CDD0-4977-9C7DBB39F34C}"/>
              </a:ext>
            </a:extLst>
          </p:cNvPr>
          <p:cNvSpPr/>
          <p:nvPr/>
        </p:nvSpPr>
        <p:spPr>
          <a:xfrm>
            <a:off x="1044575" y="2100263"/>
            <a:ext cx="2411413" cy="2413000"/>
          </a:xfrm>
          <a:prstGeom prst="ellipse">
            <a:avLst/>
          </a:prstGeom>
          <a:solidFill>
            <a:srgbClr val="D2E6FE"/>
          </a:solidFill>
          <a:ln w="57150" cap="flat" cmpd="sng" algn="ctr">
            <a:noFill/>
            <a:prstDash val="solid"/>
            <a:round/>
            <a:headEnd type="none" w="med" len="med"/>
            <a:tailEnd type="none" w="med" len="med"/>
          </a:ln>
          <a:effectLst/>
        </p:spPr>
        <p:txBody>
          <a:bodyPr lIns="0" tIns="0" rIns="0" bIns="0" anchor="ctr"/>
          <a:lstStyle/>
          <a:p>
            <a:pPr algn="ctr" defTabSz="964143" eaLnBrk="1" hangingPunct="1">
              <a:lnSpc>
                <a:spcPct val="95000"/>
              </a:lnSpc>
              <a:spcBef>
                <a:spcPts val="0"/>
              </a:spcBef>
              <a:spcAft>
                <a:spcPts val="0"/>
              </a:spcAft>
              <a:defRPr/>
            </a:pPr>
            <a:r>
              <a:rPr lang="de-CH" sz="4800" b="1" dirty="0">
                <a:solidFill>
                  <a:srgbClr val="003CB4"/>
                </a:solidFill>
                <a:latin typeface="Frutiger for ZKB Light" panose="020B0303030504020204" pitchFamily="34" charset="0"/>
                <a:ea typeface="+mj-ea"/>
                <a:cs typeface="+mj-cs"/>
              </a:rPr>
              <a:t>24%</a:t>
            </a:r>
          </a:p>
          <a:p>
            <a:pPr algn="ctr" eaLnBrk="1" hangingPunct="1">
              <a:lnSpc>
                <a:spcPct val="95000"/>
              </a:lnSpc>
              <a:spcBef>
                <a:spcPts val="0"/>
              </a:spcBef>
              <a:spcAft>
                <a:spcPts val="0"/>
              </a:spcAft>
              <a:defRPr/>
            </a:pPr>
            <a:r>
              <a:rPr lang="de-CH" sz="1600" dirty="0">
                <a:latin typeface="Frutiger for ZKB Light" panose="020B0303030504020204" pitchFamily="34" charset="0"/>
              </a:rPr>
              <a:t>Lorem ipsum</a:t>
            </a:r>
            <a:r>
              <a:rPr lang="de-CH" sz="1600" baseline="30000" dirty="0">
                <a:latin typeface="Frutiger for ZKB Light" panose="020B0303030504020204" pitchFamily="34" charset="0"/>
              </a:rPr>
              <a:t>1</a:t>
            </a:r>
          </a:p>
        </p:txBody>
      </p:sp>
      <p:sp>
        <p:nvSpPr>
          <p:cNvPr id="15" name="Oval 26">
            <a:extLst>
              <a:ext uri="{FF2B5EF4-FFF2-40B4-BE49-F238E27FC236}">
                <a16:creationId xmlns:a16="http://schemas.microsoft.com/office/drawing/2014/main" id="{43D5842F-F79F-D2A7-FCEF-A874ABAAA3B0}"/>
              </a:ext>
            </a:extLst>
          </p:cNvPr>
          <p:cNvSpPr/>
          <p:nvPr/>
        </p:nvSpPr>
        <p:spPr>
          <a:xfrm>
            <a:off x="5221288" y="2100263"/>
            <a:ext cx="2413000" cy="2413000"/>
          </a:xfrm>
          <a:prstGeom prst="ellipse">
            <a:avLst/>
          </a:prstGeom>
          <a:solidFill>
            <a:srgbClr val="D2E6FE"/>
          </a:solidFill>
          <a:ln w="57150" cap="flat" cmpd="sng" algn="ctr">
            <a:noFill/>
            <a:prstDash val="solid"/>
            <a:round/>
            <a:headEnd type="none" w="med" len="med"/>
            <a:tailEnd type="none" w="med" len="med"/>
          </a:ln>
          <a:effectLst/>
        </p:spPr>
        <p:txBody>
          <a:bodyPr lIns="0" tIns="0" rIns="0" bIns="0" anchor="ctr"/>
          <a:lstStyle/>
          <a:p>
            <a:pPr algn="ctr" defTabSz="964143" eaLnBrk="1" hangingPunct="1">
              <a:lnSpc>
                <a:spcPct val="95000"/>
              </a:lnSpc>
              <a:spcBef>
                <a:spcPts val="0"/>
              </a:spcBef>
              <a:spcAft>
                <a:spcPts val="0"/>
              </a:spcAft>
              <a:defRPr/>
            </a:pPr>
            <a:r>
              <a:rPr lang="de-CH" sz="4800" b="1" dirty="0">
                <a:solidFill>
                  <a:srgbClr val="003CB4"/>
                </a:solidFill>
                <a:latin typeface="Frutiger for ZKB Light" panose="020B0303030504020204" pitchFamily="34" charset="0"/>
                <a:ea typeface="+mj-ea"/>
                <a:cs typeface="+mj-cs"/>
              </a:rPr>
              <a:t>36%</a:t>
            </a:r>
          </a:p>
          <a:p>
            <a:pPr algn="ctr" eaLnBrk="1" hangingPunct="1">
              <a:lnSpc>
                <a:spcPct val="95000"/>
              </a:lnSpc>
              <a:spcBef>
                <a:spcPts val="0"/>
              </a:spcBef>
              <a:spcAft>
                <a:spcPts val="0"/>
              </a:spcAft>
              <a:defRPr/>
            </a:pPr>
            <a:r>
              <a:rPr lang="de-CH" sz="1600" dirty="0">
                <a:latin typeface="Frutiger for ZKB Light" panose="020B0303030504020204" pitchFamily="34" charset="0"/>
              </a:rPr>
              <a:t>Lorem ipsum</a:t>
            </a:r>
          </a:p>
        </p:txBody>
      </p:sp>
      <p:sp>
        <p:nvSpPr>
          <p:cNvPr id="16" name="Oval 26">
            <a:extLst>
              <a:ext uri="{FF2B5EF4-FFF2-40B4-BE49-F238E27FC236}">
                <a16:creationId xmlns:a16="http://schemas.microsoft.com/office/drawing/2014/main" id="{2CE4D15C-48E1-9565-DECA-BAA900756132}"/>
              </a:ext>
            </a:extLst>
          </p:cNvPr>
          <p:cNvSpPr/>
          <p:nvPr/>
        </p:nvSpPr>
        <p:spPr>
          <a:xfrm>
            <a:off x="9399588" y="2100263"/>
            <a:ext cx="2411412" cy="2413000"/>
          </a:xfrm>
          <a:prstGeom prst="ellipse">
            <a:avLst/>
          </a:prstGeom>
          <a:solidFill>
            <a:srgbClr val="D2E6FE"/>
          </a:solidFill>
          <a:ln w="57150" cap="flat" cmpd="sng" algn="ctr">
            <a:noFill/>
            <a:prstDash val="solid"/>
            <a:round/>
            <a:headEnd type="none" w="med" len="med"/>
            <a:tailEnd type="none" w="med" len="med"/>
          </a:ln>
          <a:effectLst/>
        </p:spPr>
        <p:txBody>
          <a:bodyPr lIns="0" tIns="0" rIns="0" bIns="0" anchor="ctr"/>
          <a:lstStyle/>
          <a:p>
            <a:pPr algn="ctr" defTabSz="964143" eaLnBrk="1" hangingPunct="1">
              <a:lnSpc>
                <a:spcPct val="95000"/>
              </a:lnSpc>
              <a:spcBef>
                <a:spcPts val="0"/>
              </a:spcBef>
              <a:spcAft>
                <a:spcPts val="0"/>
              </a:spcAft>
              <a:defRPr/>
            </a:pPr>
            <a:r>
              <a:rPr lang="de-CH" sz="4800" b="1" dirty="0">
                <a:solidFill>
                  <a:srgbClr val="003CB4"/>
                </a:solidFill>
                <a:latin typeface="Frutiger for ZKB Light" panose="020B0303030504020204" pitchFamily="34" charset="0"/>
                <a:ea typeface="+mj-ea"/>
                <a:cs typeface="+mj-cs"/>
              </a:rPr>
              <a:t>19%</a:t>
            </a:r>
          </a:p>
          <a:p>
            <a:pPr algn="ctr" eaLnBrk="1" hangingPunct="1">
              <a:lnSpc>
                <a:spcPct val="95000"/>
              </a:lnSpc>
              <a:spcBef>
                <a:spcPts val="0"/>
              </a:spcBef>
              <a:spcAft>
                <a:spcPts val="0"/>
              </a:spcAft>
              <a:defRPr/>
            </a:pPr>
            <a:r>
              <a:rPr lang="de-CH" sz="1600" dirty="0">
                <a:latin typeface="Frutiger for ZKB Light" panose="020B0303030504020204" pitchFamily="34" charset="0"/>
              </a:rPr>
              <a:t>Lorem ipsum</a:t>
            </a: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970" name="think-cell data - do not delete" hidden="1">
            <a:extLst>
              <a:ext uri="{FF2B5EF4-FFF2-40B4-BE49-F238E27FC236}">
                <a16:creationId xmlns:a16="http://schemas.microsoft.com/office/drawing/2014/main" id="{F6A3426B-D67B-3DE4-B137-71FF92DA8E8A}"/>
              </a:ext>
            </a:extLst>
          </p:cNvPr>
          <p:cNvGraphicFramePr>
            <a:graphicFrameLocks noChangeAspect="1"/>
          </p:cNvGraphicFramePr>
          <p:nvPr>
            <p:custDataLst>
              <p:tags r:id="rId1"/>
            </p:custDataLst>
            <p:extLst>
              <p:ext uri="{D42A27DB-BD31-4B8C-83A1-F6EECF244321}">
                <p14:modId xmlns:p14="http://schemas.microsoft.com/office/powerpoint/2010/main" val="34695937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3970" name="think-cell data - do not delete" hidden="1">
                        <a:extLst>
                          <a:ext uri="{FF2B5EF4-FFF2-40B4-BE49-F238E27FC236}">
                            <a16:creationId xmlns:a16="http://schemas.microsoft.com/office/drawing/2014/main" id="{F6A3426B-D67B-3DE4-B137-71FF92DA8E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27" name="Donut">
            <a:extLst>
              <a:ext uri="{FF2B5EF4-FFF2-40B4-BE49-F238E27FC236}">
                <a16:creationId xmlns:a16="http://schemas.microsoft.com/office/drawing/2014/main" id="{05A54F7E-F330-6064-1676-C3D1D522F996}"/>
              </a:ext>
            </a:extLst>
          </p:cNvPr>
          <p:cNvGrpSpPr>
            <a:grpSpLocks noChangeAspect="1"/>
          </p:cNvGrpSpPr>
          <p:nvPr/>
        </p:nvGrpSpPr>
        <p:grpSpPr>
          <a:xfrm>
            <a:off x="4674071" y="2031355"/>
            <a:ext cx="2540000" cy="2540000"/>
            <a:chOff x="0" y="0"/>
            <a:chExt cx="2540000" cy="2540000"/>
          </a:xfrm>
        </p:grpSpPr>
        <p:sp>
          <p:nvSpPr>
            <p:cNvPr id="25" name="Arc">
              <a:extLst>
                <a:ext uri="{FF2B5EF4-FFF2-40B4-BE49-F238E27FC236}">
                  <a16:creationId xmlns:a16="http://schemas.microsoft.com/office/drawing/2014/main" id="{8CC1ED55-3C53-01AD-1601-1B66D9342E53}"/>
                </a:ext>
              </a:extLst>
            </p:cNvPr>
            <p:cNvSpPr>
              <a:spLocks noChangeAspect="1"/>
            </p:cNvSpPr>
            <p:nvPr/>
          </p:nvSpPr>
          <p:spPr>
            <a:xfrm>
              <a:off x="0" y="0"/>
              <a:ext cx="2540000" cy="2540000"/>
            </a:xfrm>
            <a:prstGeom prst="blockArc">
              <a:avLst>
                <a:gd name="adj1" fmla="val 16200000"/>
                <a:gd name="adj2" fmla="val 3024000"/>
                <a:gd name="adj3" fmla="val 25000"/>
              </a:avLst>
            </a:prstGeom>
            <a:solidFill>
              <a:schemeClr val="accent5"/>
            </a:solidFill>
            <a:ln w="38100" cap="flat" cmpd="sng" algn="ctr">
              <a:solidFill>
                <a:schemeClr val="accent5"/>
              </a:solidFill>
              <a:prstDash val="solid"/>
              <a:round/>
              <a:headEnd type="none" w="med" len="med"/>
              <a:tailEnd type="none" w="med" len="med"/>
            </a:ln>
            <a:effectLst/>
          </p:spPr>
          <p:txBody>
            <a:bodyPr vert="horz" wrap="square" lIns="0" tIns="0" rIns="0" bIns="0" rtlCol="0" anchor="t" anchorCtr="0">
              <a:noAutofit/>
            </a:bodyPr>
            <a:lstStyle/>
            <a:p>
              <a:pPr marL="0" indent="-285750" algn="l" defTabSz="284221" rtl="0" fontAlgn="base">
                <a:lnSpc>
                  <a:spcPct val="100000"/>
                </a:lnSpc>
                <a:spcBef>
                  <a:spcPts val="0"/>
                </a:spcBef>
                <a:spcAft>
                  <a:spcPts val="0"/>
                </a:spcAft>
                <a:buClr>
                  <a:srgbClr val="003CB4"/>
                </a:buClr>
                <a:buFont typeface="Frutiger for ZKB Light" panose="020B0303030504020204" pitchFamily="34" charset="0"/>
                <a:buNone/>
              </a:pPr>
              <a:endParaRPr lang="de-CH" sz="1600" b="0" dirty="0">
                <a:solidFill>
                  <a:srgbClr val="003CB4"/>
                </a:solidFill>
                <a:latin typeface="Frutiger for ZKB Light" panose="020B0303030504020204" pitchFamily="34" charset="0"/>
              </a:endParaRPr>
            </a:p>
          </p:txBody>
        </p:sp>
        <p:sp>
          <p:nvSpPr>
            <p:cNvPr id="26" name="Kreis">
              <a:extLst>
                <a:ext uri="{FF2B5EF4-FFF2-40B4-BE49-F238E27FC236}">
                  <a16:creationId xmlns:a16="http://schemas.microsoft.com/office/drawing/2014/main" id="{870ECE1F-127C-9940-D34E-BE51E2923292}"/>
                </a:ext>
              </a:extLst>
            </p:cNvPr>
            <p:cNvSpPr>
              <a:spLocks noChangeAspect="1"/>
            </p:cNvSpPr>
            <p:nvPr/>
          </p:nvSpPr>
          <p:spPr>
            <a:xfrm>
              <a:off x="635000" y="635000"/>
              <a:ext cx="1270000" cy="1270000"/>
            </a:xfrm>
            <a:prstGeom prst="ellipse">
              <a:avLst/>
            </a:prstGeom>
            <a:noFill/>
            <a:ln w="38100" cap="flat" cmpd="sng" algn="ctr">
              <a:solidFill>
                <a:schemeClr val="accent5"/>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p>
              <a:pPr marL="0" indent="-285750" algn="ctr" defTabSz="284221" rtl="0" fontAlgn="base">
                <a:lnSpc>
                  <a:spcPct val="100000"/>
                </a:lnSpc>
                <a:spcBef>
                  <a:spcPts val="0"/>
                </a:spcBef>
                <a:spcAft>
                  <a:spcPts val="0"/>
                </a:spcAft>
                <a:buClr>
                  <a:srgbClr val="003CB4"/>
                </a:buClr>
                <a:buFont typeface="Frutiger for ZKB Light" panose="020B0303030504020204" pitchFamily="34" charset="0"/>
                <a:buNone/>
              </a:pPr>
              <a:r>
                <a:rPr lang="de-CH" sz="3600" b="0" dirty="0">
                  <a:solidFill>
                    <a:schemeClr val="dk1"/>
                  </a:solidFill>
                  <a:latin typeface="Frutiger for ZKB Light" panose="020B0303030504020204" pitchFamily="34" charset="0"/>
                </a:rPr>
                <a:t> </a:t>
              </a:r>
              <a:r>
                <a:rPr lang="de-CH" sz="2800" b="1" dirty="0">
                  <a:solidFill>
                    <a:schemeClr val="dk1"/>
                  </a:solidFill>
                  <a:latin typeface="Frutiger for ZKB Light" panose="020B0303030504020204" pitchFamily="34" charset="0"/>
                </a:rPr>
                <a:t>39%</a:t>
              </a:r>
            </a:p>
          </p:txBody>
        </p:sp>
      </p:grpSp>
      <p:sp>
        <p:nvSpPr>
          <p:cNvPr id="7" name="Titel 1">
            <a:extLst>
              <a:ext uri="{FF2B5EF4-FFF2-40B4-BE49-F238E27FC236}">
                <a16:creationId xmlns:a16="http://schemas.microsoft.com/office/drawing/2014/main" id="{03A9FB67-5E31-E341-3193-65AD7851DF89}"/>
              </a:ext>
            </a:extLst>
          </p:cNvPr>
          <p:cNvSpPr>
            <a:spLocks noGrp="1"/>
          </p:cNvSpPr>
          <p:nvPr>
            <p:ph type="title"/>
          </p:nvPr>
        </p:nvSpPr>
        <p:spPr>
          <a:xfrm>
            <a:off x="306388" y="287338"/>
            <a:ext cx="10180637" cy="863600"/>
          </a:xfrm>
          <a:ln>
            <a:solidFill>
              <a:schemeClr val="bg1">
                <a:lumMod val="75000"/>
                <a:alpha val="0"/>
              </a:schemeClr>
            </a:solidFill>
          </a:ln>
        </p:spPr>
        <p:txBody>
          <a:bodyPr vert="horz" rtlCol="0"/>
          <a:lstStyle/>
          <a:p>
            <a:pPr defTabSz="17190" eaLnBrk="1" fontAlgn="auto" hangingPunct="1">
              <a:defRPr/>
            </a:pPr>
            <a:r>
              <a:rPr lang="de-CH" dirty="0"/>
              <a:t>Prozentkreis 2</a:t>
            </a:r>
          </a:p>
        </p:txBody>
      </p:sp>
      <p:sp>
        <p:nvSpPr>
          <p:cNvPr id="83972" name="Foliennummernplatzhalter 24">
            <a:extLst>
              <a:ext uri="{FF2B5EF4-FFF2-40B4-BE49-F238E27FC236}">
                <a16:creationId xmlns:a16="http://schemas.microsoft.com/office/drawing/2014/main" id="{494897E7-5BD8-1810-1EF8-146DCB255EF5}"/>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57</a:t>
            </a:fld>
            <a:endParaRPr lang="de-CH" altLang="de-DE" sz="1100" dirty="0">
              <a:solidFill>
                <a:srgbClr val="003CB4"/>
              </a:solidFill>
            </a:endParaRPr>
          </a:p>
        </p:txBody>
      </p:sp>
      <p:sp>
        <p:nvSpPr>
          <p:cNvPr id="83973" name="Fußzeilenplatzhalter 23">
            <a:extLst>
              <a:ext uri="{FF2B5EF4-FFF2-40B4-BE49-F238E27FC236}">
                <a16:creationId xmlns:a16="http://schemas.microsoft.com/office/drawing/2014/main" id="{5DFEDEB2-0460-1F0B-52DF-CD0C0B613792}"/>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83974" name="Textfeld 8">
            <a:extLst>
              <a:ext uri="{FF2B5EF4-FFF2-40B4-BE49-F238E27FC236}">
                <a16:creationId xmlns:a16="http://schemas.microsoft.com/office/drawing/2014/main" id="{428E4663-7994-8025-C51A-460A6AE7ADCB}"/>
              </a:ext>
            </a:extLst>
          </p:cNvPr>
          <p:cNvSpPr txBox="1">
            <a:spLocks noChangeArrowheads="1"/>
          </p:cNvSpPr>
          <p:nvPr/>
        </p:nvSpPr>
        <p:spPr bwMode="auto">
          <a:xfrm>
            <a:off x="-1511300" y="44069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83981" name="Textfeld 10">
            <a:extLst>
              <a:ext uri="{FF2B5EF4-FFF2-40B4-BE49-F238E27FC236}">
                <a16:creationId xmlns:a16="http://schemas.microsoft.com/office/drawing/2014/main" id="{3E1FFC84-8B83-A18E-F335-E40F92501E3A}"/>
              </a:ext>
            </a:extLst>
          </p:cNvPr>
          <p:cNvSpPr txBox="1">
            <a:spLocks noChangeArrowheads="1"/>
          </p:cNvSpPr>
          <p:nvPr/>
        </p:nvSpPr>
        <p:spPr bwMode="auto">
          <a:xfrm>
            <a:off x="306388" y="5070475"/>
            <a:ext cx="3632200"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Titel optional</a:t>
            </a:r>
            <a:r>
              <a:rPr lang="de-CH" altLang="de-DE" b="1" baseline="30000" dirty="0"/>
              <a:t>1</a:t>
            </a:r>
          </a:p>
          <a:p>
            <a:pPr eaLnBrk="1" hangingPunct="1"/>
            <a:r>
              <a:rPr lang="de-CH" altLang="de-DE" dirty="0"/>
              <a:t>Lorem ipsum dolor sit amet, con setetur sadipscing dolor sit amet, con setetur sadipscing</a:t>
            </a:r>
          </a:p>
        </p:txBody>
      </p:sp>
      <p:sp>
        <p:nvSpPr>
          <p:cNvPr id="83982" name="Textfeld 16">
            <a:extLst>
              <a:ext uri="{FF2B5EF4-FFF2-40B4-BE49-F238E27FC236}">
                <a16:creationId xmlns:a16="http://schemas.microsoft.com/office/drawing/2014/main" id="{A3F80BED-BEF0-142C-6056-7EDCA0EA2A97}"/>
              </a:ext>
            </a:extLst>
          </p:cNvPr>
          <p:cNvSpPr txBox="1">
            <a:spLocks noChangeArrowheads="1"/>
          </p:cNvSpPr>
          <p:nvPr/>
        </p:nvSpPr>
        <p:spPr bwMode="auto">
          <a:xfrm>
            <a:off x="8670925" y="5070475"/>
            <a:ext cx="3633788"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Titel optional</a:t>
            </a:r>
          </a:p>
          <a:p>
            <a:pPr eaLnBrk="1" hangingPunct="1"/>
            <a:r>
              <a:rPr lang="de-CH" altLang="de-DE" dirty="0"/>
              <a:t>Lorem ipsum dolor sit amet, con setetur sadipscing dolor sit amet, con setetur sadipscing</a:t>
            </a:r>
          </a:p>
        </p:txBody>
      </p:sp>
      <p:sp>
        <p:nvSpPr>
          <p:cNvPr id="83983" name="Textfeld 28">
            <a:extLst>
              <a:ext uri="{FF2B5EF4-FFF2-40B4-BE49-F238E27FC236}">
                <a16:creationId xmlns:a16="http://schemas.microsoft.com/office/drawing/2014/main" id="{E5AA207A-23B3-D5CD-6FB3-44CAEDF69BA4}"/>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sp>
        <p:nvSpPr>
          <p:cNvPr id="83984" name="Textfeld 11">
            <a:extLst>
              <a:ext uri="{FF2B5EF4-FFF2-40B4-BE49-F238E27FC236}">
                <a16:creationId xmlns:a16="http://schemas.microsoft.com/office/drawing/2014/main" id="{7AE8D1F7-EF4B-B80E-D69D-51E039764344}"/>
              </a:ext>
            </a:extLst>
          </p:cNvPr>
          <p:cNvSpPr txBox="1">
            <a:spLocks noChangeArrowheads="1"/>
          </p:cNvSpPr>
          <p:nvPr/>
        </p:nvSpPr>
        <p:spPr bwMode="auto">
          <a:xfrm>
            <a:off x="4476750" y="5070475"/>
            <a:ext cx="3633788"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Titel optional</a:t>
            </a:r>
          </a:p>
          <a:p>
            <a:pPr eaLnBrk="1" hangingPunct="1"/>
            <a:r>
              <a:rPr lang="de-CH" altLang="de-DE" dirty="0"/>
              <a:t>Lorem ipsum dolor sit amet, con setetur sadipscing dolor sit amet, con setetur sadipscing</a:t>
            </a:r>
          </a:p>
        </p:txBody>
      </p:sp>
      <p:grpSp>
        <p:nvGrpSpPr>
          <p:cNvPr id="18" name="Donut">
            <a:extLst>
              <a:ext uri="{FF2B5EF4-FFF2-40B4-BE49-F238E27FC236}">
                <a16:creationId xmlns:a16="http://schemas.microsoft.com/office/drawing/2014/main" id="{44E8D040-1597-9195-24CF-0A4858143839}"/>
              </a:ext>
            </a:extLst>
          </p:cNvPr>
          <p:cNvGrpSpPr>
            <a:grpSpLocks noChangeAspect="1"/>
          </p:cNvGrpSpPr>
          <p:nvPr/>
        </p:nvGrpSpPr>
        <p:grpSpPr>
          <a:xfrm>
            <a:off x="491802" y="2031355"/>
            <a:ext cx="2540000" cy="2540000"/>
            <a:chOff x="0" y="0"/>
            <a:chExt cx="2540000" cy="2540000"/>
          </a:xfrm>
        </p:grpSpPr>
        <p:sp>
          <p:nvSpPr>
            <p:cNvPr id="16" name="Arc">
              <a:extLst>
                <a:ext uri="{FF2B5EF4-FFF2-40B4-BE49-F238E27FC236}">
                  <a16:creationId xmlns:a16="http://schemas.microsoft.com/office/drawing/2014/main" id="{16A275D7-C7D2-B987-39E3-D63C82643AD1}"/>
                </a:ext>
              </a:extLst>
            </p:cNvPr>
            <p:cNvSpPr>
              <a:spLocks noChangeAspect="1"/>
            </p:cNvSpPr>
            <p:nvPr/>
          </p:nvSpPr>
          <p:spPr>
            <a:xfrm>
              <a:off x="0" y="0"/>
              <a:ext cx="2540000" cy="2540000"/>
            </a:xfrm>
            <a:prstGeom prst="blockArc">
              <a:avLst>
                <a:gd name="adj1" fmla="val 16200000"/>
                <a:gd name="adj2" fmla="val 10152001"/>
                <a:gd name="adj3" fmla="val 25000"/>
              </a:avLst>
            </a:prstGeom>
            <a:solidFill>
              <a:schemeClr val="accent3"/>
            </a:solidFill>
            <a:ln w="38100" cap="flat" cmpd="sng" algn="ctr">
              <a:solidFill>
                <a:schemeClr val="accent3"/>
              </a:solidFill>
              <a:prstDash val="solid"/>
              <a:round/>
              <a:headEnd type="none" w="med" len="med"/>
              <a:tailEnd type="none" w="med" len="med"/>
            </a:ln>
            <a:effectLst/>
          </p:spPr>
          <p:txBody>
            <a:bodyPr vert="horz" wrap="square" lIns="0" tIns="0" rIns="0" bIns="0" rtlCol="0" anchor="t" anchorCtr="0">
              <a:noAutofit/>
            </a:bodyPr>
            <a:lstStyle/>
            <a:p>
              <a:pPr marL="0" indent="-285750" algn="l" defTabSz="284221" rtl="0" fontAlgn="base">
                <a:lnSpc>
                  <a:spcPct val="100000"/>
                </a:lnSpc>
                <a:spcBef>
                  <a:spcPts val="0"/>
                </a:spcBef>
                <a:spcAft>
                  <a:spcPts val="0"/>
                </a:spcAft>
                <a:buClr>
                  <a:srgbClr val="003CB4"/>
                </a:buClr>
                <a:buFont typeface="Frutiger for ZKB Light" panose="020B0303030504020204" pitchFamily="34" charset="0"/>
                <a:buNone/>
              </a:pPr>
              <a:endParaRPr lang="de-CH" sz="1600" b="0" dirty="0">
                <a:solidFill>
                  <a:srgbClr val="003CB4"/>
                </a:solidFill>
                <a:latin typeface="Frutiger for ZKB Light" panose="020B0303030504020204" pitchFamily="34" charset="0"/>
              </a:endParaRPr>
            </a:p>
          </p:txBody>
        </p:sp>
        <p:sp>
          <p:nvSpPr>
            <p:cNvPr id="17" name="Kreis">
              <a:extLst>
                <a:ext uri="{FF2B5EF4-FFF2-40B4-BE49-F238E27FC236}">
                  <a16:creationId xmlns:a16="http://schemas.microsoft.com/office/drawing/2014/main" id="{7D556437-4668-38D7-BF48-CA7422A6417E}"/>
                </a:ext>
              </a:extLst>
            </p:cNvPr>
            <p:cNvSpPr>
              <a:spLocks noChangeAspect="1"/>
            </p:cNvSpPr>
            <p:nvPr/>
          </p:nvSpPr>
          <p:spPr>
            <a:xfrm>
              <a:off x="635000" y="635000"/>
              <a:ext cx="1270000" cy="1270000"/>
            </a:xfrm>
            <a:prstGeom prst="ellipse">
              <a:avLst/>
            </a:prstGeom>
            <a:noFill/>
            <a:ln w="38100"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p>
              <a:pPr marL="0" indent="-285750" algn="ctr" defTabSz="284221" rtl="0" fontAlgn="base">
                <a:lnSpc>
                  <a:spcPct val="100000"/>
                </a:lnSpc>
                <a:spcBef>
                  <a:spcPts val="0"/>
                </a:spcBef>
                <a:spcAft>
                  <a:spcPts val="0"/>
                </a:spcAft>
                <a:buClr>
                  <a:srgbClr val="003CB4"/>
                </a:buClr>
                <a:buFont typeface="Frutiger for ZKB Light" panose="020B0303030504020204" pitchFamily="34" charset="0"/>
                <a:buNone/>
              </a:pPr>
              <a:r>
                <a:rPr lang="de-CH" sz="3600" b="0" dirty="0">
                  <a:solidFill>
                    <a:schemeClr val="dk1"/>
                  </a:solidFill>
                  <a:latin typeface="Frutiger for ZKB Light" panose="020B0303030504020204" pitchFamily="34" charset="0"/>
                </a:rPr>
                <a:t> </a:t>
              </a:r>
              <a:r>
                <a:rPr lang="de-CH" sz="2800" b="1" dirty="0">
                  <a:solidFill>
                    <a:schemeClr val="dk1"/>
                  </a:solidFill>
                  <a:latin typeface="Frutiger for ZKB Light" panose="020B0303030504020204" pitchFamily="34" charset="0"/>
                </a:rPr>
                <a:t>72%</a:t>
              </a:r>
            </a:p>
          </p:txBody>
        </p:sp>
      </p:grpSp>
      <p:grpSp>
        <p:nvGrpSpPr>
          <p:cNvPr id="30" name="Donut">
            <a:extLst>
              <a:ext uri="{FF2B5EF4-FFF2-40B4-BE49-F238E27FC236}">
                <a16:creationId xmlns:a16="http://schemas.microsoft.com/office/drawing/2014/main" id="{0AD9578E-49D9-F8FC-1DDC-92974406C94A}"/>
              </a:ext>
            </a:extLst>
          </p:cNvPr>
          <p:cNvGrpSpPr>
            <a:grpSpLocks noChangeAspect="1"/>
          </p:cNvGrpSpPr>
          <p:nvPr/>
        </p:nvGrpSpPr>
        <p:grpSpPr>
          <a:xfrm>
            <a:off x="8856339" y="2031355"/>
            <a:ext cx="2540000" cy="2540000"/>
            <a:chOff x="0" y="0"/>
            <a:chExt cx="2540000" cy="2540000"/>
          </a:xfrm>
        </p:grpSpPr>
        <p:sp>
          <p:nvSpPr>
            <p:cNvPr id="28" name="Arc">
              <a:extLst>
                <a:ext uri="{FF2B5EF4-FFF2-40B4-BE49-F238E27FC236}">
                  <a16:creationId xmlns:a16="http://schemas.microsoft.com/office/drawing/2014/main" id="{16047959-E5C2-486B-83E8-1E181658A38A}"/>
                </a:ext>
              </a:extLst>
            </p:cNvPr>
            <p:cNvSpPr>
              <a:spLocks noChangeAspect="1"/>
            </p:cNvSpPr>
            <p:nvPr/>
          </p:nvSpPr>
          <p:spPr>
            <a:xfrm>
              <a:off x="0" y="0"/>
              <a:ext cx="2540000" cy="2540000"/>
            </a:xfrm>
            <a:prstGeom prst="blockArc">
              <a:avLst>
                <a:gd name="adj1" fmla="val 16200000"/>
                <a:gd name="adj2" fmla="val 7776000"/>
                <a:gd name="adj3" fmla="val 25000"/>
              </a:avLst>
            </a:prstGeom>
            <a:solidFill>
              <a:schemeClr val="dk1"/>
            </a:solidFill>
            <a:ln w="38100" cap="flat" cmpd="sng" algn="ctr">
              <a:solidFill>
                <a:schemeClr val="dk1"/>
              </a:solidFill>
              <a:prstDash val="solid"/>
              <a:round/>
              <a:headEnd type="none" w="med" len="med"/>
              <a:tailEnd type="none" w="med" len="med"/>
            </a:ln>
            <a:effectLst/>
          </p:spPr>
          <p:txBody>
            <a:bodyPr vert="horz" wrap="square" lIns="0" tIns="0" rIns="0" bIns="0" rtlCol="0" anchor="t" anchorCtr="0">
              <a:noAutofit/>
            </a:bodyPr>
            <a:lstStyle/>
            <a:p>
              <a:pPr marL="0" indent="-285750" algn="l" defTabSz="284221" rtl="0" fontAlgn="base">
                <a:lnSpc>
                  <a:spcPct val="100000"/>
                </a:lnSpc>
                <a:spcBef>
                  <a:spcPts val="0"/>
                </a:spcBef>
                <a:spcAft>
                  <a:spcPts val="0"/>
                </a:spcAft>
                <a:buClr>
                  <a:srgbClr val="003CB4"/>
                </a:buClr>
                <a:buFont typeface="Frutiger for ZKB Light" panose="020B0303030504020204" pitchFamily="34" charset="0"/>
                <a:buNone/>
              </a:pPr>
              <a:endParaRPr lang="de-CH" sz="1600" b="0" dirty="0">
                <a:solidFill>
                  <a:srgbClr val="003CB4"/>
                </a:solidFill>
                <a:latin typeface="Frutiger for ZKB Light" panose="020B0303030504020204" pitchFamily="34" charset="0"/>
              </a:endParaRPr>
            </a:p>
          </p:txBody>
        </p:sp>
        <p:sp>
          <p:nvSpPr>
            <p:cNvPr id="29" name="Kreis">
              <a:extLst>
                <a:ext uri="{FF2B5EF4-FFF2-40B4-BE49-F238E27FC236}">
                  <a16:creationId xmlns:a16="http://schemas.microsoft.com/office/drawing/2014/main" id="{7DE9E412-E9E8-88B2-3912-5579064A214C}"/>
                </a:ext>
              </a:extLst>
            </p:cNvPr>
            <p:cNvSpPr>
              <a:spLocks noChangeAspect="1"/>
            </p:cNvSpPr>
            <p:nvPr/>
          </p:nvSpPr>
          <p:spPr>
            <a:xfrm>
              <a:off x="635000" y="635000"/>
              <a:ext cx="1270000" cy="1270000"/>
            </a:xfrm>
            <a:prstGeom prst="ellipse">
              <a:avLst/>
            </a:prstGeom>
            <a:noFill/>
            <a:ln w="38100" cap="flat" cmpd="sng" algn="ctr">
              <a:solidFill>
                <a:schemeClr val="dk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p>
              <a:pPr marL="0" indent="-285750" algn="ctr" defTabSz="284221" rtl="0" fontAlgn="base">
                <a:lnSpc>
                  <a:spcPct val="100000"/>
                </a:lnSpc>
                <a:spcBef>
                  <a:spcPts val="0"/>
                </a:spcBef>
                <a:spcAft>
                  <a:spcPts val="0"/>
                </a:spcAft>
                <a:buClr>
                  <a:srgbClr val="003CB4"/>
                </a:buClr>
                <a:buFont typeface="Frutiger for ZKB Light" panose="020B0303030504020204" pitchFamily="34" charset="0"/>
                <a:buNone/>
              </a:pPr>
              <a:r>
                <a:rPr lang="de-CH" sz="3600" b="0" dirty="0">
                  <a:solidFill>
                    <a:schemeClr val="dk1"/>
                  </a:solidFill>
                  <a:latin typeface="Frutiger for ZKB Light" panose="020B0303030504020204" pitchFamily="34" charset="0"/>
                </a:rPr>
                <a:t> </a:t>
              </a:r>
              <a:r>
                <a:rPr lang="de-CH" sz="2800" b="1" dirty="0">
                  <a:solidFill>
                    <a:schemeClr val="dk1"/>
                  </a:solidFill>
                  <a:latin typeface="Frutiger for ZKB Light" panose="020B0303030504020204" pitchFamily="34" charset="0"/>
                </a:rPr>
                <a:t>61%</a:t>
              </a:r>
            </a:p>
          </p:txBody>
        </p:sp>
      </p:gr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4994" name="Objekt 4" hidden="1">
            <a:extLst>
              <a:ext uri="{FF2B5EF4-FFF2-40B4-BE49-F238E27FC236}">
                <a16:creationId xmlns:a16="http://schemas.microsoft.com/office/drawing/2014/main" id="{F4332D3D-236E-88C6-948B-6DE30B1AC4B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84994" name="Objekt 4" hidden="1">
                        <a:extLst>
                          <a:ext uri="{FF2B5EF4-FFF2-40B4-BE49-F238E27FC236}">
                            <a16:creationId xmlns:a16="http://schemas.microsoft.com/office/drawing/2014/main" id="{F4332D3D-236E-88C6-948B-6DE30B1AC4B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4995" name="Titel 14">
            <a:extLst>
              <a:ext uri="{FF2B5EF4-FFF2-40B4-BE49-F238E27FC236}">
                <a16:creationId xmlns:a16="http://schemas.microsoft.com/office/drawing/2014/main" id="{CDDCE780-05F5-B41E-C063-3C84B61E24C9}"/>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Ringdiagramm</a:t>
            </a:r>
          </a:p>
        </p:txBody>
      </p:sp>
      <p:sp>
        <p:nvSpPr>
          <p:cNvPr id="3" name="Inhaltsplatzhalter 2">
            <a:extLst>
              <a:ext uri="{FF2B5EF4-FFF2-40B4-BE49-F238E27FC236}">
                <a16:creationId xmlns:a16="http://schemas.microsoft.com/office/drawing/2014/main" id="{7AD0C060-F667-0DF0-A797-C39859A83FD2}"/>
              </a:ext>
            </a:extLst>
          </p:cNvPr>
          <p:cNvSpPr>
            <a:spLocks noGrp="1"/>
          </p:cNvSpPr>
          <p:nvPr>
            <p:ph idx="12"/>
          </p:nvPr>
        </p:nvSpPr>
        <p:spPr>
          <a:xfrm>
            <a:off x="306388" y="1885950"/>
            <a:ext cx="5976937" cy="4748213"/>
          </a:xfrm>
        </p:spPr>
        <p:txBody>
          <a:bodyPr rtlCol="0"/>
          <a:lstStyle/>
          <a:p>
            <a:pPr eaLnBrk="1" fontAlgn="auto" hangingPunct="1">
              <a:defRPr/>
            </a:pPr>
            <a:r>
              <a:rPr lang="de-CH" b="1" dirty="0"/>
              <a:t>Titel des Diagramms</a:t>
            </a:r>
            <a:r>
              <a:rPr lang="de-CH" b="1" baseline="30000" dirty="0">
                <a:cs typeface="+mn-cs"/>
              </a:rPr>
              <a:t>1</a:t>
            </a:r>
            <a:r>
              <a:rPr lang="de-CH" b="1" dirty="0"/>
              <a:t> </a:t>
            </a:r>
          </a:p>
          <a:p>
            <a:pPr eaLnBrk="1" fontAlgn="auto" hangingPunct="1">
              <a:defRPr/>
            </a:pPr>
            <a:r>
              <a:rPr lang="de-CH" dirty="0"/>
              <a:t>(in Einheit)</a:t>
            </a:r>
          </a:p>
          <a:p>
            <a:pPr eaLnBrk="1" fontAlgn="auto" hangingPunct="1">
              <a:defRPr/>
            </a:pPr>
            <a:endParaRPr lang="de-CH" dirty="0"/>
          </a:p>
        </p:txBody>
      </p:sp>
      <p:sp>
        <p:nvSpPr>
          <p:cNvPr id="84997" name="Inhaltsplatzhalter 5">
            <a:extLst>
              <a:ext uri="{FF2B5EF4-FFF2-40B4-BE49-F238E27FC236}">
                <a16:creationId xmlns:a16="http://schemas.microsoft.com/office/drawing/2014/main" id="{B26D6064-3639-FD20-2C48-9659C1CEF3CB}"/>
              </a:ext>
            </a:extLst>
          </p:cNvPr>
          <p:cNvSpPr>
            <a:spLocks noGrp="1" noChangeArrowheads="1"/>
          </p:cNvSpPr>
          <p:nvPr>
            <p:ph sz="quarter" idx="13"/>
          </p:nvPr>
        </p:nvSpPr>
        <p:spPr>
          <a:xfrm>
            <a:off x="6572250" y="1885950"/>
            <a:ext cx="5976938" cy="4748213"/>
          </a:xfrm>
        </p:spPr>
        <p:txBody>
          <a:bodyPr/>
          <a:lstStyle/>
          <a:p>
            <a:pPr defTabSz="284163" eaLnBrk="1" hangingPunct="1">
              <a:spcBef>
                <a:spcPct val="0"/>
              </a:spcBef>
              <a:spcAft>
                <a:spcPct val="0"/>
              </a:spcAft>
            </a:pPr>
            <a:r>
              <a:rPr lang="de-CH" altLang="de-DE" b="1" dirty="0">
                <a:cs typeface="Aharoni" panose="020F0502020204030204" pitchFamily="2" charset="-79"/>
              </a:rPr>
              <a:t>Kommentar</a:t>
            </a:r>
          </a:p>
          <a:p>
            <a:pPr lvl="1" eaLnBrk="1" hangingPunct="1">
              <a:spcBef>
                <a:spcPct val="0"/>
              </a:spcBef>
              <a:spcAft>
                <a:spcPct val="0"/>
              </a:spcAft>
            </a:pPr>
            <a:r>
              <a:rPr lang="de-CH" altLang="de-DE" dirty="0">
                <a:cs typeface="Aharoni" panose="020F0502020204030204" pitchFamily="2" charset="-79"/>
              </a:rPr>
              <a:t>Lorem ipsum dolor sit ame, consetetur sadipscing elitr</a:t>
            </a:r>
          </a:p>
          <a:p>
            <a:pPr lvl="1" eaLnBrk="1" hangingPunct="1">
              <a:spcBef>
                <a:spcPct val="0"/>
              </a:spcBef>
              <a:spcAft>
                <a:spcPct val="0"/>
              </a:spcAft>
            </a:pPr>
            <a:r>
              <a:rPr lang="de-CH" altLang="de-DE" dirty="0">
                <a:cs typeface="Aharoni" panose="020F0502020204030204" pitchFamily="2" charset="-79"/>
              </a:rPr>
              <a:t>Lorem ipsum dolor sit ame, consetetur sadipscing elitr</a:t>
            </a:r>
          </a:p>
          <a:p>
            <a:pPr lvl="1" eaLnBrk="1" hangingPunct="1">
              <a:spcBef>
                <a:spcPct val="0"/>
              </a:spcBef>
              <a:spcAft>
                <a:spcPct val="0"/>
              </a:spcAft>
            </a:pPr>
            <a:r>
              <a:rPr lang="de-CH" altLang="de-DE" dirty="0">
                <a:cs typeface="Aharoni" panose="020F0502020204030204" pitchFamily="2" charset="-79"/>
              </a:rPr>
              <a:t>Lorem ipsum dolor sit ame, consetetur sadipscing elitr</a:t>
            </a:r>
          </a:p>
          <a:p>
            <a:pPr lvl="1" eaLnBrk="1" hangingPunct="1">
              <a:spcBef>
                <a:spcPct val="0"/>
              </a:spcBef>
              <a:spcAft>
                <a:spcPct val="0"/>
              </a:spcAft>
            </a:pPr>
            <a:r>
              <a:rPr lang="de-CH" altLang="de-DE" dirty="0">
                <a:cs typeface="Aharoni" panose="020F0502020204030204" pitchFamily="2" charset="-79"/>
              </a:rPr>
              <a:t>Lorem ipsum dolor sit ame, consetetur sadipscing elitr</a:t>
            </a: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p:txBody>
      </p:sp>
      <p:sp>
        <p:nvSpPr>
          <p:cNvPr id="84998" name="Foliennummernplatzhalter 9">
            <a:extLst>
              <a:ext uri="{FF2B5EF4-FFF2-40B4-BE49-F238E27FC236}">
                <a16:creationId xmlns:a16="http://schemas.microsoft.com/office/drawing/2014/main" id="{93737499-892D-7B54-9E5D-F564563B3992}"/>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58</a:t>
            </a:fld>
            <a:endParaRPr lang="de-CH" altLang="de-DE" sz="1100" dirty="0">
              <a:solidFill>
                <a:srgbClr val="003CB4"/>
              </a:solidFill>
            </a:endParaRPr>
          </a:p>
        </p:txBody>
      </p:sp>
      <p:sp>
        <p:nvSpPr>
          <p:cNvPr id="84999" name="Fußzeilenplatzhalter 8">
            <a:extLst>
              <a:ext uri="{FF2B5EF4-FFF2-40B4-BE49-F238E27FC236}">
                <a16:creationId xmlns:a16="http://schemas.microsoft.com/office/drawing/2014/main" id="{97B695AE-E670-2FB1-5F13-A6691D6CC6DB}"/>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4" name="Rechteck 3" hidden="1">
            <a:extLst>
              <a:ext uri="{FF2B5EF4-FFF2-40B4-BE49-F238E27FC236}">
                <a16:creationId xmlns:a16="http://schemas.microsoft.com/office/drawing/2014/main" id="{6DD5E790-8EB8-86E2-8A6A-67F158916AD4}"/>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85002" name="Textfeld 13">
            <a:extLst>
              <a:ext uri="{FF2B5EF4-FFF2-40B4-BE49-F238E27FC236}">
                <a16:creationId xmlns:a16="http://schemas.microsoft.com/office/drawing/2014/main" id="{0AF80E03-AB00-855D-A144-590766BF3441}"/>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graphicFrame>
        <p:nvGraphicFramePr>
          <p:cNvPr id="2" name="Object 17">
            <a:extLst>
              <a:ext uri="{FF2B5EF4-FFF2-40B4-BE49-F238E27FC236}">
                <a16:creationId xmlns:a16="http://schemas.microsoft.com/office/drawing/2014/main" id="{9A41BEA1-6FFD-4269-0C01-F4305ECB81E8}"/>
              </a:ext>
            </a:extLst>
          </p:cNvPr>
          <p:cNvGraphicFramePr>
            <a:graphicFrameLocks noChangeAspect="1"/>
          </p:cNvGraphicFramePr>
          <p:nvPr/>
        </p:nvGraphicFramePr>
        <p:xfrm>
          <a:off x="306388" y="1958776"/>
          <a:ext cx="5976937" cy="4537075"/>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018" name="Objekt 4" hidden="1">
            <a:extLst>
              <a:ext uri="{FF2B5EF4-FFF2-40B4-BE49-F238E27FC236}">
                <a16:creationId xmlns:a16="http://schemas.microsoft.com/office/drawing/2014/main" id="{A54B0BFF-6280-1251-8422-4C466EF1703E}"/>
              </a:ext>
            </a:extLst>
          </p:cNvPr>
          <p:cNvGraphicFramePr>
            <a:graphicFrameLocks noChangeAspect="1"/>
          </p:cNvGraphicFramePr>
          <p:nvPr>
            <p:custDataLst>
              <p:tags r:id="rId1"/>
            </p:custDataLst>
            <p:extLst>
              <p:ext uri="{D42A27DB-BD31-4B8C-83A1-F6EECF244321}">
                <p14:modId xmlns:p14="http://schemas.microsoft.com/office/powerpoint/2010/main" val="714496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86018" name="Objekt 4" hidden="1">
                        <a:extLst>
                          <a:ext uri="{FF2B5EF4-FFF2-40B4-BE49-F238E27FC236}">
                            <a16:creationId xmlns:a16="http://schemas.microsoft.com/office/drawing/2014/main" id="{A54B0BFF-6280-1251-8422-4C466EF1703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6019" name="Titel 14">
            <a:extLst>
              <a:ext uri="{FF2B5EF4-FFF2-40B4-BE49-F238E27FC236}">
                <a16:creationId xmlns:a16="http://schemas.microsoft.com/office/drawing/2014/main" id="{3A294F3A-3BDE-E068-4D83-15C0FD2C3DA5}"/>
              </a:ext>
            </a:extLst>
          </p:cNvPr>
          <p:cNvSpPr>
            <a:spLocks noGrp="1" noChangeArrowheads="1"/>
          </p:cNvSpPr>
          <p:nvPr>
            <p:ph type="title"/>
          </p:nvPr>
        </p:nvSpPr>
        <p:spPr/>
        <p:txBody>
          <a:bodyPr vert="horz"/>
          <a:lstStyle/>
          <a:p>
            <a:pPr eaLnBrk="1" hangingPunct="1">
              <a:spcBef>
                <a:spcPct val="0"/>
              </a:spcBef>
              <a:spcAft>
                <a:spcPct val="0"/>
              </a:spcAft>
            </a:pPr>
            <a:r>
              <a:rPr lang="de-CH" altLang="de-DE" dirty="0"/>
              <a:t>Kombination Säulen- und Liniendiagramm</a:t>
            </a:r>
          </a:p>
        </p:txBody>
      </p:sp>
      <p:sp>
        <p:nvSpPr>
          <p:cNvPr id="86022" name="Foliennummernplatzhalter 13">
            <a:extLst>
              <a:ext uri="{FF2B5EF4-FFF2-40B4-BE49-F238E27FC236}">
                <a16:creationId xmlns:a16="http://schemas.microsoft.com/office/drawing/2014/main" id="{B6469383-B4BC-0BD7-6D1E-1C165ED9B7AD}"/>
              </a:ext>
            </a:extLst>
          </p:cNvPr>
          <p:cNvSpPr>
            <a:spLocks noGrp="1" noChangeArrowheads="1"/>
          </p:cNvSpPr>
          <p:nvPr>
            <p:ph type="sldNum" sz="quarter" idx="10"/>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59</a:t>
            </a:fld>
            <a:endParaRPr lang="de-CH" altLang="de-DE" sz="1100" dirty="0">
              <a:solidFill>
                <a:srgbClr val="003CB4"/>
              </a:solidFill>
            </a:endParaRPr>
          </a:p>
        </p:txBody>
      </p:sp>
      <p:sp>
        <p:nvSpPr>
          <p:cNvPr id="86023" name="Fußzeilenplatzhalter 12">
            <a:extLst>
              <a:ext uri="{FF2B5EF4-FFF2-40B4-BE49-F238E27FC236}">
                <a16:creationId xmlns:a16="http://schemas.microsoft.com/office/drawing/2014/main" id="{50D1D741-EF25-193B-614E-5246D4D4E2BE}"/>
              </a:ext>
            </a:extLst>
          </p:cNvPr>
          <p:cNvSpPr>
            <a:spLocks noGrp="1" noChangeArrowheads="1"/>
          </p:cNvSpPr>
          <p:nvPr>
            <p:ph type="ftr" sz="quarter" idx="11"/>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2" name="Inhaltsplatzhalter 1">
            <a:extLst>
              <a:ext uri="{FF2B5EF4-FFF2-40B4-BE49-F238E27FC236}">
                <a16:creationId xmlns:a16="http://schemas.microsoft.com/office/drawing/2014/main" id="{D48C55E8-01A1-AC1E-8D24-9193495883CD}"/>
              </a:ext>
            </a:extLst>
          </p:cNvPr>
          <p:cNvSpPr>
            <a:spLocks noGrp="1"/>
          </p:cNvSpPr>
          <p:nvPr>
            <p:ph idx="12"/>
          </p:nvPr>
        </p:nvSpPr>
        <p:spPr/>
        <p:txBody>
          <a:bodyPr rtlCol="0"/>
          <a:lstStyle/>
          <a:p>
            <a:pPr eaLnBrk="1" fontAlgn="auto" hangingPunct="1">
              <a:defRPr/>
            </a:pPr>
            <a:r>
              <a:rPr lang="de-CH" b="1" dirty="0"/>
              <a:t>Titel des Diagramms</a:t>
            </a:r>
            <a:r>
              <a:rPr lang="de-CH" b="1" baseline="30000" dirty="0">
                <a:cs typeface="+mn-cs"/>
              </a:rPr>
              <a:t>1</a:t>
            </a:r>
            <a:r>
              <a:rPr lang="de-CH" b="1" dirty="0"/>
              <a:t> </a:t>
            </a:r>
          </a:p>
          <a:p>
            <a:pPr eaLnBrk="1" fontAlgn="auto" hangingPunct="1">
              <a:defRPr/>
            </a:pPr>
            <a:r>
              <a:rPr lang="de-CH" dirty="0"/>
              <a:t>(in Einheit)</a:t>
            </a:r>
          </a:p>
        </p:txBody>
      </p:sp>
      <p:sp>
        <p:nvSpPr>
          <p:cNvPr id="9" name="Inhaltsplatzhalter 8">
            <a:extLst>
              <a:ext uri="{FF2B5EF4-FFF2-40B4-BE49-F238E27FC236}">
                <a16:creationId xmlns:a16="http://schemas.microsoft.com/office/drawing/2014/main" id="{28132742-8064-3EE1-F8A4-05864A612386}"/>
              </a:ext>
            </a:extLst>
          </p:cNvPr>
          <p:cNvSpPr>
            <a:spLocks noGrp="1"/>
          </p:cNvSpPr>
          <p:nvPr>
            <p:ph sz="quarter" idx="14"/>
          </p:nvPr>
        </p:nvSpPr>
        <p:spPr/>
        <p:txBody>
          <a:bodyPr/>
          <a:lstStyle/>
          <a:p>
            <a:pPr eaLnBrk="1" hangingPunct="1">
              <a:defRPr/>
            </a:pPr>
            <a:r>
              <a:rPr lang="de-CH" b="1" dirty="0"/>
              <a:t>Kommenta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endParaRPr lang="de-CH" dirty="0"/>
          </a:p>
        </p:txBody>
      </p:sp>
      <p:sp>
        <p:nvSpPr>
          <p:cNvPr id="4" name="Rechteck 3" hidden="1">
            <a:extLst>
              <a:ext uri="{FF2B5EF4-FFF2-40B4-BE49-F238E27FC236}">
                <a16:creationId xmlns:a16="http://schemas.microsoft.com/office/drawing/2014/main" id="{656258C5-14F7-5803-27B7-139AB025BF88}"/>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86026" name="Textfeld 15">
            <a:extLst>
              <a:ext uri="{FF2B5EF4-FFF2-40B4-BE49-F238E27FC236}">
                <a16:creationId xmlns:a16="http://schemas.microsoft.com/office/drawing/2014/main" id="{6419BA01-5E41-DEA6-5EF9-6372DD233D53}"/>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graphicFrame>
        <p:nvGraphicFramePr>
          <p:cNvPr id="3" name="Object 9">
            <a:extLst>
              <a:ext uri="{FF2B5EF4-FFF2-40B4-BE49-F238E27FC236}">
                <a16:creationId xmlns:a16="http://schemas.microsoft.com/office/drawing/2014/main" id="{264E2F1E-B7D3-2C63-8C79-37B446C3F807}"/>
              </a:ext>
            </a:extLst>
          </p:cNvPr>
          <p:cNvGraphicFramePr>
            <a:graphicFrameLocks noChangeAspect="1"/>
          </p:cNvGraphicFramePr>
          <p:nvPr>
            <p:extLst>
              <p:ext uri="{D42A27DB-BD31-4B8C-83A1-F6EECF244321}">
                <p14:modId xmlns:p14="http://schemas.microsoft.com/office/powerpoint/2010/main" val="3430478007"/>
              </p:ext>
            </p:extLst>
          </p:nvPr>
        </p:nvGraphicFramePr>
        <p:xfrm>
          <a:off x="220609" y="2464513"/>
          <a:ext cx="8151896" cy="3887322"/>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02" name="think-cell data - do not delete" hidden="1">
            <a:extLst>
              <a:ext uri="{FF2B5EF4-FFF2-40B4-BE49-F238E27FC236}">
                <a16:creationId xmlns:a16="http://schemas.microsoft.com/office/drawing/2014/main" id="{68A92404-CFA1-A7E7-A4BB-9D53C9077BD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25602" name="think-cell data - do not delete" hidden="1">
                        <a:extLst>
                          <a:ext uri="{FF2B5EF4-FFF2-40B4-BE49-F238E27FC236}">
                            <a16:creationId xmlns:a16="http://schemas.microsoft.com/office/drawing/2014/main" id="{68A92404-CFA1-A7E7-A4BB-9D53C9077B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30F12E90-EFD6-A90E-F7AC-2F26AD4A2570}"/>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Agenda</a:t>
            </a:r>
          </a:p>
        </p:txBody>
      </p:sp>
      <p:sp>
        <p:nvSpPr>
          <p:cNvPr id="25604" name="Foliennummernplatzhalter 10">
            <a:extLst>
              <a:ext uri="{FF2B5EF4-FFF2-40B4-BE49-F238E27FC236}">
                <a16:creationId xmlns:a16="http://schemas.microsoft.com/office/drawing/2014/main" id="{6E04DA31-E448-A744-C196-756E2BBE1D02}"/>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6</a:t>
            </a:fld>
            <a:endParaRPr lang="de-CH" altLang="de-DE" sz="1100" dirty="0">
              <a:solidFill>
                <a:srgbClr val="003CB4"/>
              </a:solidFill>
            </a:endParaRPr>
          </a:p>
        </p:txBody>
      </p:sp>
      <p:sp>
        <p:nvSpPr>
          <p:cNvPr id="25605" name="Fußzeilenplatzhalter 9">
            <a:extLst>
              <a:ext uri="{FF2B5EF4-FFF2-40B4-BE49-F238E27FC236}">
                <a16:creationId xmlns:a16="http://schemas.microsoft.com/office/drawing/2014/main" id="{05D2400F-5A80-04E8-142A-102FEF76C615}"/>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 name="Textplatzhalter 2">
            <a:extLst>
              <a:ext uri="{FF2B5EF4-FFF2-40B4-BE49-F238E27FC236}">
                <a16:creationId xmlns:a16="http://schemas.microsoft.com/office/drawing/2014/main" id="{79F07D75-D5BF-99A9-3203-1248DBAB32FC}"/>
              </a:ext>
            </a:extLst>
          </p:cNvPr>
          <p:cNvSpPr>
            <a:spLocks noGrp="1"/>
          </p:cNvSpPr>
          <p:nvPr>
            <p:ph idx="12"/>
          </p:nvPr>
        </p:nvSpPr>
        <p:spPr>
          <a:xfrm>
            <a:off x="306388" y="1885950"/>
            <a:ext cx="5976937" cy="4748213"/>
          </a:xfrm>
          <a:ln>
            <a:solidFill>
              <a:schemeClr val="bg1">
                <a:lumMod val="75000"/>
                <a:alpha val="0"/>
              </a:schemeClr>
            </a:solidFill>
          </a:ln>
        </p:spPr>
        <p:txBody>
          <a:bodyPr rtlCol="0"/>
          <a:lstStyle/>
          <a:p>
            <a:pPr marL="358775" defTabSz="964143" eaLnBrk="1" fontAlgn="auto" hangingPunct="1">
              <a:buClrTx/>
              <a:buFontTx/>
              <a:buNone/>
              <a:defRPr/>
            </a:pPr>
            <a:r>
              <a:rPr lang="de-CH" sz="2800" b="1" dirty="0">
                <a:cs typeface="+mn-cs"/>
              </a:rPr>
              <a:t>Duis autem</a:t>
            </a:r>
          </a:p>
          <a:p>
            <a:pPr marL="358775" defTabSz="964143" eaLnBrk="1" fontAlgn="auto" hangingPunct="1">
              <a:buClrTx/>
              <a:buFontTx/>
              <a:buNone/>
              <a:defRPr/>
            </a:pPr>
            <a:r>
              <a:rPr lang="de-CH" sz="2000" dirty="0">
                <a:cs typeface="+mn-cs"/>
              </a:rPr>
              <a:t>Untertitel</a:t>
            </a:r>
          </a:p>
          <a:p>
            <a:pPr marL="358775" defTabSz="964143" eaLnBrk="1" fontAlgn="auto" hangingPunct="1">
              <a:buClrTx/>
              <a:buFontTx/>
              <a:buNone/>
              <a:defRPr/>
            </a:pPr>
            <a:br>
              <a:rPr lang="de-CH" sz="2800" b="1" dirty="0">
                <a:solidFill>
                  <a:schemeClr val="tx1"/>
                </a:solidFill>
              </a:rPr>
            </a:br>
            <a:r>
              <a:rPr lang="de-CH" sz="2800" b="1" dirty="0">
                <a:solidFill>
                  <a:schemeClr val="tx1"/>
                </a:solidFill>
              </a:rPr>
              <a:t>Vel eum iriure</a:t>
            </a:r>
            <a:r>
              <a:rPr lang="de-CH" sz="2800" b="1" dirty="0">
                <a:cs typeface="+mn-cs"/>
              </a:rPr>
              <a:t> </a:t>
            </a:r>
          </a:p>
          <a:p>
            <a:pPr marL="358775" defTabSz="964143" eaLnBrk="1" fontAlgn="auto" hangingPunct="1">
              <a:buClrTx/>
              <a:buFontTx/>
              <a:buNone/>
              <a:defRPr/>
            </a:pPr>
            <a:r>
              <a:rPr lang="de-CH" sz="2000" dirty="0">
                <a:cs typeface="+mn-cs"/>
              </a:rPr>
              <a:t>Untertitel</a:t>
            </a:r>
            <a:endParaRPr lang="de-CH" sz="2000" dirty="0"/>
          </a:p>
          <a:p>
            <a:pPr marL="358775" defTabSz="964143" eaLnBrk="1" fontAlgn="auto" hangingPunct="1">
              <a:buClrTx/>
              <a:buFontTx/>
              <a:buNone/>
              <a:defRPr/>
            </a:pPr>
            <a:endParaRPr lang="de-CH" sz="2800" b="1" dirty="0">
              <a:cs typeface="+mn-cs"/>
            </a:endParaRPr>
          </a:p>
          <a:p>
            <a:pPr marL="358775" defTabSz="964143" eaLnBrk="1" fontAlgn="auto" hangingPunct="1">
              <a:buClrTx/>
              <a:buFontTx/>
              <a:buNone/>
              <a:defRPr/>
            </a:pPr>
            <a:r>
              <a:rPr lang="de-CH" sz="2800" b="1" dirty="0">
                <a:solidFill>
                  <a:schemeClr val="tx1"/>
                </a:solidFill>
              </a:rPr>
              <a:t>Dolor in hendrerit</a:t>
            </a:r>
          </a:p>
          <a:p>
            <a:pPr marL="358775" defTabSz="964143" eaLnBrk="1" fontAlgn="auto" hangingPunct="1">
              <a:buClrTx/>
              <a:buFontTx/>
              <a:buNone/>
              <a:defRPr/>
            </a:pPr>
            <a:r>
              <a:rPr lang="de-CH" sz="2000" dirty="0">
                <a:cs typeface="+mn-cs"/>
              </a:rPr>
              <a:t>Untertitel</a:t>
            </a:r>
            <a:endParaRPr lang="de-CH" sz="2600" dirty="0">
              <a:cs typeface="+mn-cs"/>
            </a:endParaRPr>
          </a:p>
          <a:p>
            <a:pPr defTabSz="964143" eaLnBrk="1" fontAlgn="auto" hangingPunct="1">
              <a:buClrTx/>
              <a:buFontTx/>
              <a:buNone/>
              <a:defRPr/>
            </a:pPr>
            <a:endParaRPr lang="de-CH" sz="2000" dirty="0">
              <a:cs typeface="+mn-cs"/>
            </a:endParaRPr>
          </a:p>
        </p:txBody>
      </p:sp>
      <p:sp>
        <p:nvSpPr>
          <p:cNvPr id="25607" name="Inhaltsplatzhalter 7">
            <a:extLst>
              <a:ext uri="{FF2B5EF4-FFF2-40B4-BE49-F238E27FC236}">
                <a16:creationId xmlns:a16="http://schemas.microsoft.com/office/drawing/2014/main" id="{8E62FB09-6CB6-9021-DC1E-50B50E8937F2}"/>
              </a:ext>
            </a:extLst>
          </p:cNvPr>
          <p:cNvSpPr>
            <a:spLocks noGrp="1" noChangeArrowheads="1"/>
          </p:cNvSpPr>
          <p:nvPr>
            <p:ph sz="quarter" idx="13"/>
          </p:nvPr>
        </p:nvSpPr>
        <p:spPr>
          <a:xfrm>
            <a:off x="6572250" y="1885950"/>
            <a:ext cx="5976938" cy="4748213"/>
          </a:xfrm>
        </p:spPr>
        <p:txBody>
          <a:bodyPr/>
          <a:lstStyle/>
          <a:p>
            <a:pPr defTabSz="284163" eaLnBrk="1" hangingPunct="1">
              <a:spcBef>
                <a:spcPct val="0"/>
              </a:spcBef>
              <a:spcAft>
                <a:spcPct val="0"/>
              </a:spcAft>
            </a:pPr>
            <a:r>
              <a:rPr lang="de-CH" altLang="de-DE" sz="2800" b="1" dirty="0">
                <a:cs typeface="Aharoni" panose="020F0502020204030204" pitchFamily="2" charset="-79"/>
              </a:rPr>
              <a:t>Eu feugiat </a:t>
            </a:r>
          </a:p>
          <a:p>
            <a:pPr defTabSz="284163" eaLnBrk="1" hangingPunct="1">
              <a:spcBef>
                <a:spcPct val="0"/>
              </a:spcBef>
              <a:spcAft>
                <a:spcPct val="0"/>
              </a:spcAft>
            </a:pPr>
            <a:r>
              <a:rPr lang="de-CH" altLang="de-DE" sz="2000" dirty="0">
                <a:cs typeface="Aharoni" panose="020F0502020204030204" pitchFamily="2" charset="-79"/>
              </a:rPr>
              <a:t>Untertitel</a:t>
            </a:r>
          </a:p>
          <a:p>
            <a:pPr defTabSz="284163" eaLnBrk="1" hangingPunct="1">
              <a:spcBef>
                <a:spcPct val="0"/>
              </a:spcBef>
              <a:spcAft>
                <a:spcPct val="0"/>
              </a:spcAft>
              <a:buClrTx/>
              <a:buFontTx/>
              <a:buNone/>
            </a:pPr>
            <a:endParaRPr lang="de-CH" altLang="de-DE" sz="2800" b="1" dirty="0">
              <a:cs typeface="Aharoni" panose="020F0502020204030204" pitchFamily="2" charset="-79"/>
            </a:endParaRPr>
          </a:p>
          <a:p>
            <a:pPr defTabSz="284163" eaLnBrk="1" hangingPunct="1">
              <a:spcBef>
                <a:spcPct val="0"/>
              </a:spcBef>
              <a:spcAft>
                <a:spcPct val="0"/>
              </a:spcAft>
              <a:buClrTx/>
              <a:buFontTx/>
              <a:buNone/>
            </a:pPr>
            <a:r>
              <a:rPr lang="de-CH" altLang="de-DE" sz="2800" b="1" dirty="0">
                <a:cs typeface="Aharoni" panose="020F0502020204030204" pitchFamily="2" charset="-79"/>
              </a:rPr>
              <a:t>Q&amp;A</a:t>
            </a:r>
          </a:p>
          <a:p>
            <a:pPr defTabSz="284163" eaLnBrk="1" hangingPunct="1">
              <a:spcBef>
                <a:spcPct val="0"/>
              </a:spcBef>
              <a:spcAft>
                <a:spcPct val="0"/>
              </a:spcAft>
              <a:buClrTx/>
              <a:buFontTx/>
              <a:buNone/>
            </a:pPr>
            <a:endParaRPr lang="de-CH" altLang="de-DE" sz="2000"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042" name="Objekt 4" hidden="1">
            <a:extLst>
              <a:ext uri="{FF2B5EF4-FFF2-40B4-BE49-F238E27FC236}">
                <a16:creationId xmlns:a16="http://schemas.microsoft.com/office/drawing/2014/main" id="{B4554CF7-1B38-75CA-3274-68A6EC7B9C0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87042" name="Objekt 4" hidden="1">
                        <a:extLst>
                          <a:ext uri="{FF2B5EF4-FFF2-40B4-BE49-F238E27FC236}">
                            <a16:creationId xmlns:a16="http://schemas.microsoft.com/office/drawing/2014/main" id="{B4554CF7-1B38-75CA-3274-68A6EC7B9C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7043" name="Titel 14">
            <a:extLst>
              <a:ext uri="{FF2B5EF4-FFF2-40B4-BE49-F238E27FC236}">
                <a16:creationId xmlns:a16="http://schemas.microsoft.com/office/drawing/2014/main" id="{CA426CDF-FB67-7C11-1DBB-2D96085A4523}"/>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Säulendiagramm gestapelt</a:t>
            </a:r>
          </a:p>
        </p:txBody>
      </p:sp>
      <p:sp>
        <p:nvSpPr>
          <p:cNvPr id="3" name="Textplatzhalter 2">
            <a:extLst>
              <a:ext uri="{FF2B5EF4-FFF2-40B4-BE49-F238E27FC236}">
                <a16:creationId xmlns:a16="http://schemas.microsoft.com/office/drawing/2014/main" id="{F3D03E6C-3943-3655-4323-D166A8A3F794}"/>
              </a:ext>
            </a:extLst>
          </p:cNvPr>
          <p:cNvSpPr>
            <a:spLocks noGrp="1"/>
          </p:cNvSpPr>
          <p:nvPr>
            <p:ph idx="12"/>
          </p:nvPr>
        </p:nvSpPr>
        <p:spPr>
          <a:xfrm>
            <a:off x="306388" y="1885950"/>
            <a:ext cx="3889375" cy="4748213"/>
          </a:xfrm>
        </p:spPr>
        <p:txBody>
          <a:bodyPr rtlCol="0"/>
          <a:lstStyle/>
          <a:p>
            <a:pPr eaLnBrk="1" fontAlgn="auto" hangingPunct="1">
              <a:defRPr/>
            </a:pPr>
            <a:r>
              <a:rPr lang="de-CH" b="1" dirty="0"/>
              <a:t>Titel des Diagramms</a:t>
            </a:r>
            <a:r>
              <a:rPr lang="de-CH" b="1" baseline="30000" dirty="0">
                <a:cs typeface="+mn-cs"/>
              </a:rPr>
              <a:t>1</a:t>
            </a:r>
            <a:r>
              <a:rPr lang="de-CH" b="1" dirty="0"/>
              <a:t> </a:t>
            </a:r>
          </a:p>
          <a:p>
            <a:pPr eaLnBrk="1" fontAlgn="auto" hangingPunct="1">
              <a:defRPr/>
            </a:pPr>
            <a:r>
              <a:rPr lang="de-CH" dirty="0"/>
              <a:t>(in Einheit)</a:t>
            </a:r>
          </a:p>
          <a:p>
            <a:pPr eaLnBrk="1" fontAlgn="auto" hangingPunct="1">
              <a:defRPr/>
            </a:pPr>
            <a:endParaRPr lang="de-CH" dirty="0"/>
          </a:p>
        </p:txBody>
      </p:sp>
      <p:sp>
        <p:nvSpPr>
          <p:cNvPr id="8" name="Inhaltsplatzhalter 7">
            <a:extLst>
              <a:ext uri="{FF2B5EF4-FFF2-40B4-BE49-F238E27FC236}">
                <a16:creationId xmlns:a16="http://schemas.microsoft.com/office/drawing/2014/main" id="{F67F4176-9C3B-21EC-6A78-74D34314D228}"/>
              </a:ext>
            </a:extLst>
          </p:cNvPr>
          <p:cNvSpPr>
            <a:spLocks noGrp="1"/>
          </p:cNvSpPr>
          <p:nvPr>
            <p:ph sz="quarter" idx="14"/>
          </p:nvPr>
        </p:nvSpPr>
        <p:spPr>
          <a:xfrm>
            <a:off x="8659813" y="1885950"/>
            <a:ext cx="3889375" cy="4748213"/>
          </a:xfrm>
        </p:spPr>
        <p:txBody>
          <a:bodyPr/>
          <a:lstStyle/>
          <a:p>
            <a:pPr eaLnBrk="1" hangingPunct="1">
              <a:defRPr/>
            </a:pPr>
            <a:r>
              <a:rPr lang="de-CH" b="1" dirty="0"/>
              <a:t>Kommenta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pPr eaLnBrk="1" hangingPunct="1">
              <a:defRPr/>
            </a:pPr>
            <a:endParaRPr lang="de-CH" dirty="0"/>
          </a:p>
        </p:txBody>
      </p:sp>
      <p:sp>
        <p:nvSpPr>
          <p:cNvPr id="87046" name="Foliennummernplatzhalter 8">
            <a:extLst>
              <a:ext uri="{FF2B5EF4-FFF2-40B4-BE49-F238E27FC236}">
                <a16:creationId xmlns:a16="http://schemas.microsoft.com/office/drawing/2014/main" id="{792D79B5-9DD1-FEFC-54E6-5CDAE49F991E}"/>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60</a:t>
            </a:fld>
            <a:endParaRPr lang="de-CH" altLang="de-DE" sz="1100" dirty="0">
              <a:solidFill>
                <a:srgbClr val="003CB4"/>
              </a:solidFill>
            </a:endParaRPr>
          </a:p>
        </p:txBody>
      </p:sp>
      <p:sp>
        <p:nvSpPr>
          <p:cNvPr id="87047" name="Fußzeilenplatzhalter 7">
            <a:extLst>
              <a:ext uri="{FF2B5EF4-FFF2-40B4-BE49-F238E27FC236}">
                <a16:creationId xmlns:a16="http://schemas.microsoft.com/office/drawing/2014/main" id="{C87EF106-33D5-0AA1-2CF9-39AC32AE9BA0}"/>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4" name="Rechteck 3" hidden="1">
            <a:extLst>
              <a:ext uri="{FF2B5EF4-FFF2-40B4-BE49-F238E27FC236}">
                <a16:creationId xmlns:a16="http://schemas.microsoft.com/office/drawing/2014/main" id="{47ADD34D-8619-B624-B061-641641BC32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87050" name="Textfeld 12">
            <a:extLst>
              <a:ext uri="{FF2B5EF4-FFF2-40B4-BE49-F238E27FC236}">
                <a16:creationId xmlns:a16="http://schemas.microsoft.com/office/drawing/2014/main" id="{59B52ECD-CCFE-C27D-01FB-A440B2B671FF}"/>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graphicFrame>
        <p:nvGraphicFramePr>
          <p:cNvPr id="2" name="Diagramm 3">
            <a:extLst>
              <a:ext uri="{FF2B5EF4-FFF2-40B4-BE49-F238E27FC236}">
                <a16:creationId xmlns:a16="http://schemas.microsoft.com/office/drawing/2014/main" id="{2EAC7D05-F690-3DE8-9A3E-8BAB3A8335BC}"/>
              </a:ext>
            </a:extLst>
          </p:cNvPr>
          <p:cNvGraphicFramePr/>
          <p:nvPr>
            <p:extLst>
              <p:ext uri="{D42A27DB-BD31-4B8C-83A1-F6EECF244321}">
                <p14:modId xmlns:p14="http://schemas.microsoft.com/office/powerpoint/2010/main" val="2518542134"/>
              </p:ext>
            </p:extLst>
          </p:nvPr>
        </p:nvGraphicFramePr>
        <p:xfrm>
          <a:off x="270286" y="2464513"/>
          <a:ext cx="8097427" cy="4176000"/>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114" name="Objekt 4" hidden="1">
            <a:extLst>
              <a:ext uri="{FF2B5EF4-FFF2-40B4-BE49-F238E27FC236}">
                <a16:creationId xmlns:a16="http://schemas.microsoft.com/office/drawing/2014/main" id="{837DB114-FFA6-E95B-440B-B5C0DF16F2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90114" name="Objekt 4" hidden="1">
                        <a:extLst>
                          <a:ext uri="{FF2B5EF4-FFF2-40B4-BE49-F238E27FC236}">
                            <a16:creationId xmlns:a16="http://schemas.microsoft.com/office/drawing/2014/main" id="{837DB114-FFA6-E95B-440B-B5C0DF16F2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0115" name="Titel 14">
            <a:extLst>
              <a:ext uri="{FF2B5EF4-FFF2-40B4-BE49-F238E27FC236}">
                <a16:creationId xmlns:a16="http://schemas.microsoft.com/office/drawing/2014/main" id="{4D67A661-E6E3-F3B3-8517-38A4BCBD1F0E}"/>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Wasserfall Diagramm</a:t>
            </a:r>
          </a:p>
        </p:txBody>
      </p:sp>
      <p:sp>
        <p:nvSpPr>
          <p:cNvPr id="2" name="Inhaltsplatzhalter 1">
            <a:extLst>
              <a:ext uri="{FF2B5EF4-FFF2-40B4-BE49-F238E27FC236}">
                <a16:creationId xmlns:a16="http://schemas.microsoft.com/office/drawing/2014/main" id="{E496CD07-8009-C70D-6E5C-6D71313DE196}"/>
              </a:ext>
            </a:extLst>
          </p:cNvPr>
          <p:cNvSpPr>
            <a:spLocks noGrp="1"/>
          </p:cNvSpPr>
          <p:nvPr>
            <p:ph idx="12"/>
          </p:nvPr>
        </p:nvSpPr>
        <p:spPr>
          <a:xfrm>
            <a:off x="306388" y="1885950"/>
            <a:ext cx="3889375" cy="4748213"/>
          </a:xfrm>
        </p:spPr>
        <p:txBody>
          <a:bodyPr rtlCol="0"/>
          <a:lstStyle/>
          <a:p>
            <a:pPr eaLnBrk="1" fontAlgn="auto" hangingPunct="1">
              <a:defRPr/>
            </a:pPr>
            <a:r>
              <a:rPr lang="de-CH" b="1" dirty="0"/>
              <a:t>Titel des Diagramms</a:t>
            </a:r>
            <a:r>
              <a:rPr lang="de-CH" b="1" baseline="30000" dirty="0">
                <a:cs typeface="+mn-cs"/>
              </a:rPr>
              <a:t>1</a:t>
            </a:r>
            <a:r>
              <a:rPr lang="de-CH" b="1" dirty="0"/>
              <a:t> </a:t>
            </a:r>
          </a:p>
          <a:p>
            <a:pPr eaLnBrk="1" fontAlgn="auto" hangingPunct="1">
              <a:defRPr/>
            </a:pPr>
            <a:r>
              <a:rPr lang="de-CH" dirty="0"/>
              <a:t>(in Einheit)</a:t>
            </a:r>
          </a:p>
        </p:txBody>
      </p:sp>
      <p:sp>
        <p:nvSpPr>
          <p:cNvPr id="7" name="Inhaltsplatzhalter 6">
            <a:extLst>
              <a:ext uri="{FF2B5EF4-FFF2-40B4-BE49-F238E27FC236}">
                <a16:creationId xmlns:a16="http://schemas.microsoft.com/office/drawing/2014/main" id="{D6918309-E1B5-3AA6-D974-B5D322D37862}"/>
              </a:ext>
            </a:extLst>
          </p:cNvPr>
          <p:cNvSpPr>
            <a:spLocks noGrp="1"/>
          </p:cNvSpPr>
          <p:nvPr>
            <p:ph sz="quarter" idx="14"/>
          </p:nvPr>
        </p:nvSpPr>
        <p:spPr>
          <a:xfrm>
            <a:off x="8659813" y="1885950"/>
            <a:ext cx="3889375" cy="4748213"/>
          </a:xfrm>
        </p:spPr>
        <p:txBody>
          <a:bodyPr/>
          <a:lstStyle/>
          <a:p>
            <a:pPr eaLnBrk="1" fontAlgn="auto" hangingPunct="1">
              <a:defRPr/>
            </a:pPr>
            <a:r>
              <a:rPr lang="de-CH" b="1" dirty="0"/>
              <a:t>Kommentar</a:t>
            </a:r>
          </a:p>
          <a:p>
            <a:pPr marL="285750" indent="-285750" eaLnBrk="1" fontAlgn="auto" hangingPunct="1">
              <a:buFont typeface="Frutiger for ZKB Light" panose="020B0303030504020204" pitchFamily="34" charset="0"/>
              <a:buChar char="–"/>
              <a:defRPr/>
            </a:pPr>
            <a:r>
              <a:rPr lang="de-CH" dirty="0"/>
              <a:t>Lorem ipsum dolor sit ame, consetetur sadipscing elitr</a:t>
            </a:r>
          </a:p>
          <a:p>
            <a:pPr marL="285750" indent="-285750" eaLnBrk="1" fontAlgn="auto" hangingPunct="1">
              <a:buFont typeface="Frutiger for ZKB Light" panose="020B0303030504020204" pitchFamily="34" charset="0"/>
              <a:buChar char="–"/>
              <a:defRPr/>
            </a:pPr>
            <a:r>
              <a:rPr lang="de-CH" dirty="0"/>
              <a:t>Lorem ipsum dolor sit ame, consetetur sadipscing elitr</a:t>
            </a:r>
          </a:p>
          <a:p>
            <a:pPr marL="285750" indent="-285750" eaLnBrk="1" fontAlgn="auto" hangingPunct="1">
              <a:buFont typeface="Frutiger for ZKB Light" panose="020B0303030504020204" pitchFamily="34" charset="0"/>
              <a:buChar char="–"/>
              <a:defRPr/>
            </a:pPr>
            <a:r>
              <a:rPr lang="de-CH" dirty="0"/>
              <a:t>Lorem ipsum dolor sit ame, consetetur sadipscing elitr</a:t>
            </a:r>
          </a:p>
          <a:p>
            <a:pPr marL="285750" indent="-285750" eaLnBrk="1" fontAlgn="auto" hangingPunct="1">
              <a:buFont typeface="Frutiger for ZKB Light" panose="020B0303030504020204" pitchFamily="34" charset="0"/>
              <a:buChar char="–"/>
              <a:defRPr/>
            </a:pPr>
            <a:r>
              <a:rPr lang="de-CH" dirty="0"/>
              <a:t>Lorem ipsum dolor sit ame, consetetur sadipscing elitr</a:t>
            </a:r>
          </a:p>
          <a:p>
            <a:pPr eaLnBrk="1" hangingPunct="1">
              <a:defRPr/>
            </a:pPr>
            <a:endParaRPr lang="de-CH" dirty="0"/>
          </a:p>
        </p:txBody>
      </p:sp>
      <p:sp>
        <p:nvSpPr>
          <p:cNvPr id="90118" name="Foliennummernplatzhalter 8">
            <a:extLst>
              <a:ext uri="{FF2B5EF4-FFF2-40B4-BE49-F238E27FC236}">
                <a16:creationId xmlns:a16="http://schemas.microsoft.com/office/drawing/2014/main" id="{3DFCE247-92AE-3B99-2F06-A520559413BB}"/>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61</a:t>
            </a:fld>
            <a:endParaRPr lang="de-CH" altLang="de-DE" sz="1100" dirty="0">
              <a:solidFill>
                <a:srgbClr val="003CB4"/>
              </a:solidFill>
            </a:endParaRPr>
          </a:p>
        </p:txBody>
      </p:sp>
      <p:sp>
        <p:nvSpPr>
          <p:cNvPr id="90119" name="Fußzeilenplatzhalter 7">
            <a:extLst>
              <a:ext uri="{FF2B5EF4-FFF2-40B4-BE49-F238E27FC236}">
                <a16:creationId xmlns:a16="http://schemas.microsoft.com/office/drawing/2014/main" id="{08A8B4CB-FC3D-5BB2-AC42-6A03AA2EC23A}"/>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4" name="Rechteck 3" hidden="1">
            <a:extLst>
              <a:ext uri="{FF2B5EF4-FFF2-40B4-BE49-F238E27FC236}">
                <a16:creationId xmlns:a16="http://schemas.microsoft.com/office/drawing/2014/main" id="{B737437B-3593-EF9D-0D08-F4F8CC2CF4B7}"/>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90122" name="Textfeld 9">
            <a:extLst>
              <a:ext uri="{FF2B5EF4-FFF2-40B4-BE49-F238E27FC236}">
                <a16:creationId xmlns:a16="http://schemas.microsoft.com/office/drawing/2014/main" id="{AFF60A13-F382-0E58-EADA-A2C919DF51E6}"/>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graphicFrame>
        <p:nvGraphicFramePr>
          <p:cNvPr id="3" name="Object 9">
            <a:extLst>
              <a:ext uri="{FF2B5EF4-FFF2-40B4-BE49-F238E27FC236}">
                <a16:creationId xmlns:a16="http://schemas.microsoft.com/office/drawing/2014/main" id="{B11031B1-BB21-51F2-B818-70C34792FCBC}"/>
              </a:ext>
            </a:extLst>
          </p:cNvPr>
          <p:cNvGraphicFramePr>
            <a:graphicFrameLocks noChangeAspect="1"/>
          </p:cNvGraphicFramePr>
          <p:nvPr/>
        </p:nvGraphicFramePr>
        <p:xfrm>
          <a:off x="163091" y="2474259"/>
          <a:ext cx="7543002" cy="4166254"/>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think-cell data - do not delete" hidden="1">
            <a:extLst>
              <a:ext uri="{FF2B5EF4-FFF2-40B4-BE49-F238E27FC236}">
                <a16:creationId xmlns:a16="http://schemas.microsoft.com/office/drawing/2014/main" id="{3543A8F1-1A32-AAB4-58F8-AF6873AD030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91138" name="think-cell data - do not delete" hidden="1">
                        <a:extLst>
                          <a:ext uri="{FF2B5EF4-FFF2-40B4-BE49-F238E27FC236}">
                            <a16:creationId xmlns:a16="http://schemas.microsoft.com/office/drawing/2014/main" id="{3543A8F1-1A32-AAB4-58F8-AF6873AD03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1141" name="Titel 1">
            <a:extLst>
              <a:ext uri="{FF2B5EF4-FFF2-40B4-BE49-F238E27FC236}">
                <a16:creationId xmlns:a16="http://schemas.microsoft.com/office/drawing/2014/main" id="{18A99998-2553-69BC-3493-4AE25DDFBD09}"/>
              </a:ext>
            </a:extLst>
          </p:cNvPr>
          <p:cNvSpPr>
            <a:spLocks noGrp="1"/>
          </p:cNvSpPr>
          <p:nvPr>
            <p:ph type="title"/>
          </p:nvPr>
        </p:nvSpPr>
        <p:spPr>
          <a:xfrm>
            <a:off x="306388" y="287338"/>
            <a:ext cx="10180637" cy="863600"/>
          </a:xfrm>
          <a:ln>
            <a:solidFill>
              <a:schemeClr val="bg1"/>
            </a:solidFill>
            <a:miter lim="800000"/>
            <a:headEnd/>
            <a:tailEnd/>
          </a:ln>
        </p:spPr>
        <p:txBody>
          <a:bodyPr/>
          <a:lstStyle/>
          <a:p>
            <a:pPr eaLnBrk="1" hangingPunct="1">
              <a:spcBef>
                <a:spcPct val="0"/>
              </a:spcBef>
              <a:spcAft>
                <a:spcPct val="0"/>
              </a:spcAft>
            </a:pPr>
            <a:r>
              <a:rPr lang="de-CH" altLang="de-DE" dirty="0"/>
              <a:t>Säulen / Säulen gestapelt mit Vergleichszahlen</a:t>
            </a:r>
          </a:p>
        </p:txBody>
      </p:sp>
      <p:sp>
        <p:nvSpPr>
          <p:cNvPr id="91142" name="Foliennummernplatzhalter 12">
            <a:extLst>
              <a:ext uri="{FF2B5EF4-FFF2-40B4-BE49-F238E27FC236}">
                <a16:creationId xmlns:a16="http://schemas.microsoft.com/office/drawing/2014/main" id="{FCA29B44-C597-134B-7CCB-785F7145BE39}"/>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62</a:t>
            </a:fld>
            <a:endParaRPr lang="de-CH" altLang="de-DE" sz="1100" dirty="0">
              <a:solidFill>
                <a:srgbClr val="003CB4"/>
              </a:solidFill>
            </a:endParaRPr>
          </a:p>
        </p:txBody>
      </p:sp>
      <p:sp>
        <p:nvSpPr>
          <p:cNvPr id="91143" name="Fußzeilenplatzhalter 10">
            <a:extLst>
              <a:ext uri="{FF2B5EF4-FFF2-40B4-BE49-F238E27FC236}">
                <a16:creationId xmlns:a16="http://schemas.microsoft.com/office/drawing/2014/main" id="{72A169AD-7E02-D388-2BAD-F06C93FBDA4F}"/>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2" name="Textplatzhalter 11">
            <a:extLst>
              <a:ext uri="{FF2B5EF4-FFF2-40B4-BE49-F238E27FC236}">
                <a16:creationId xmlns:a16="http://schemas.microsoft.com/office/drawing/2014/main" id="{69F3C4B7-E7F0-8E25-AD54-3221535C737D}"/>
              </a:ext>
            </a:extLst>
          </p:cNvPr>
          <p:cNvSpPr>
            <a:spLocks noGrp="1"/>
          </p:cNvSpPr>
          <p:nvPr>
            <p:ph idx="12"/>
          </p:nvPr>
        </p:nvSpPr>
        <p:spPr>
          <a:xfrm>
            <a:off x="306388" y="1885950"/>
            <a:ext cx="3889375" cy="4748213"/>
          </a:xfrm>
        </p:spPr>
        <p:txBody>
          <a:bodyPr rtlCol="0"/>
          <a:lstStyle/>
          <a:p>
            <a:pPr eaLnBrk="1" fontAlgn="auto" hangingPunct="1">
              <a:defRPr/>
            </a:pPr>
            <a:r>
              <a:rPr lang="de-CH" b="1" dirty="0"/>
              <a:t>Lorem ipsum</a:t>
            </a:r>
            <a:r>
              <a:rPr lang="de-CH" b="1" baseline="30000" dirty="0">
                <a:cs typeface="+mn-cs"/>
              </a:rPr>
              <a:t>1</a:t>
            </a:r>
            <a:br>
              <a:rPr lang="de-CH" b="1" dirty="0"/>
            </a:br>
            <a:r>
              <a:rPr lang="de-CH" dirty="0"/>
              <a:t>(in Einheit)</a:t>
            </a:r>
          </a:p>
        </p:txBody>
      </p:sp>
      <p:sp>
        <p:nvSpPr>
          <p:cNvPr id="91145" name="Textplatzhalter 18">
            <a:extLst>
              <a:ext uri="{FF2B5EF4-FFF2-40B4-BE49-F238E27FC236}">
                <a16:creationId xmlns:a16="http://schemas.microsoft.com/office/drawing/2014/main" id="{D9EEA8AE-7ADD-12E9-4B70-BF92934AD45E}"/>
              </a:ext>
            </a:extLst>
          </p:cNvPr>
          <p:cNvSpPr>
            <a:spLocks noGrp="1" noChangeArrowheads="1"/>
          </p:cNvSpPr>
          <p:nvPr>
            <p:ph sz="quarter" idx="13"/>
          </p:nvPr>
        </p:nvSpPr>
        <p:spPr>
          <a:xfrm>
            <a:off x="4483100" y="1885950"/>
            <a:ext cx="3889375" cy="4748213"/>
          </a:xfrm>
        </p:spPr>
        <p:txBody>
          <a:bodyPr/>
          <a:lstStyle/>
          <a:p>
            <a:pPr defTabSz="284163" eaLnBrk="1" hangingPunct="1">
              <a:spcBef>
                <a:spcPct val="0"/>
              </a:spcBef>
              <a:spcAft>
                <a:spcPct val="0"/>
              </a:spcAft>
            </a:pPr>
            <a:r>
              <a:rPr lang="de-CH" altLang="de-DE" b="1" dirty="0">
                <a:cs typeface="Aharoni" panose="020F0502020204030204" pitchFamily="2" charset="-79"/>
              </a:rPr>
              <a:t>Lorem ipsum</a:t>
            </a:r>
          </a:p>
          <a:p>
            <a:pPr defTabSz="284163" eaLnBrk="1" hangingPunct="1">
              <a:spcBef>
                <a:spcPct val="0"/>
              </a:spcBef>
              <a:spcAft>
                <a:spcPct val="0"/>
              </a:spcAft>
            </a:pPr>
            <a:r>
              <a:rPr lang="de-CH" altLang="de-DE" dirty="0">
                <a:cs typeface="Aharoni" panose="020F0502020204030204" pitchFamily="2" charset="-79"/>
              </a:rPr>
              <a:t>(in Einheit)</a:t>
            </a:r>
            <a:endParaRPr lang="de-CH" altLang="de-DE" b="1" dirty="0">
              <a:cs typeface="Aharoni" panose="020F0502020204030204" pitchFamily="2" charset="-79"/>
            </a:endParaRPr>
          </a:p>
        </p:txBody>
      </p:sp>
      <p:sp>
        <p:nvSpPr>
          <p:cNvPr id="91146" name="Textfeld 8">
            <a:extLst>
              <a:ext uri="{FF2B5EF4-FFF2-40B4-BE49-F238E27FC236}">
                <a16:creationId xmlns:a16="http://schemas.microsoft.com/office/drawing/2014/main" id="{0FF7D299-B7F2-DBAF-2C36-AB6681E03DB4}"/>
              </a:ext>
            </a:extLst>
          </p:cNvPr>
          <p:cNvSpPr txBox="1">
            <a:spLocks noChangeArrowheads="1"/>
          </p:cNvSpPr>
          <p:nvPr/>
        </p:nvSpPr>
        <p:spPr bwMode="auto">
          <a:xfrm>
            <a:off x="-254000" y="5008563"/>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91151" name="Textfeld 19">
            <a:extLst>
              <a:ext uri="{FF2B5EF4-FFF2-40B4-BE49-F238E27FC236}">
                <a16:creationId xmlns:a16="http://schemas.microsoft.com/office/drawing/2014/main" id="{99892D87-1274-BB53-50AC-F211FE97BDE8}"/>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graphicFrame>
        <p:nvGraphicFramePr>
          <p:cNvPr id="2" name="Diagramm 3">
            <a:extLst>
              <a:ext uri="{FF2B5EF4-FFF2-40B4-BE49-F238E27FC236}">
                <a16:creationId xmlns:a16="http://schemas.microsoft.com/office/drawing/2014/main" id="{0D4225B5-8A8F-9DA7-A8D4-B74A88EBBE8F}"/>
              </a:ext>
            </a:extLst>
          </p:cNvPr>
          <p:cNvGraphicFramePr/>
          <p:nvPr/>
        </p:nvGraphicFramePr>
        <p:xfrm>
          <a:off x="4248704" y="2437332"/>
          <a:ext cx="6247846" cy="401340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agramm 2">
            <a:extLst>
              <a:ext uri="{FF2B5EF4-FFF2-40B4-BE49-F238E27FC236}">
                <a16:creationId xmlns:a16="http://schemas.microsoft.com/office/drawing/2014/main" id="{360D7042-45BF-874A-8945-C0358E64193A}"/>
              </a:ext>
            </a:extLst>
          </p:cNvPr>
          <p:cNvGraphicFramePr/>
          <p:nvPr/>
        </p:nvGraphicFramePr>
        <p:xfrm>
          <a:off x="305816" y="2437332"/>
          <a:ext cx="3241651" cy="4013406"/>
        </p:xfrm>
        <a:graphic>
          <a:graphicData uri="http://schemas.openxmlformats.org/drawingml/2006/chart">
            <c:chart xmlns:c="http://schemas.openxmlformats.org/drawingml/2006/chart" xmlns:r="http://schemas.openxmlformats.org/officeDocument/2006/relationships" r:id="rId7"/>
          </a:graphicData>
        </a:graphic>
      </p:graphicFrame>
      <p:sp>
        <p:nvSpPr>
          <p:cNvPr id="4" name="Freihandform: Form 3">
            <a:extLst>
              <a:ext uri="{FF2B5EF4-FFF2-40B4-BE49-F238E27FC236}">
                <a16:creationId xmlns:a16="http://schemas.microsoft.com/office/drawing/2014/main" id="{F8C8515B-F6FE-12CD-3B41-23782895285B}"/>
              </a:ext>
            </a:extLst>
          </p:cNvPr>
          <p:cNvSpPr/>
          <p:nvPr/>
        </p:nvSpPr>
        <p:spPr>
          <a:xfrm>
            <a:off x="949959" y="2791944"/>
            <a:ext cx="1252913" cy="1468284"/>
          </a:xfrm>
          <a:custGeom>
            <a:avLst/>
            <a:gdLst>
              <a:gd name="connsiteX0" fmla="*/ 0 w 1280160"/>
              <a:gd name="connsiteY0" fmla="*/ 1413163 h 1413163"/>
              <a:gd name="connsiteX1" fmla="*/ 0 w 1280160"/>
              <a:gd name="connsiteY1" fmla="*/ 0 h 1413163"/>
              <a:gd name="connsiteX2" fmla="*/ 1280160 w 1280160"/>
              <a:gd name="connsiteY2" fmla="*/ 0 h 1413163"/>
              <a:gd name="connsiteX3" fmla="*/ 1280160 w 1280160"/>
              <a:gd name="connsiteY3" fmla="*/ 631767 h 1413163"/>
              <a:gd name="connsiteX0" fmla="*/ 0 w 1280160"/>
              <a:gd name="connsiteY0" fmla="*/ 1413163 h 1413163"/>
              <a:gd name="connsiteX1" fmla="*/ 0 w 1280160"/>
              <a:gd name="connsiteY1" fmla="*/ 0 h 1413163"/>
              <a:gd name="connsiteX2" fmla="*/ 1280160 w 1280160"/>
              <a:gd name="connsiteY2" fmla="*/ 0 h 1413163"/>
              <a:gd name="connsiteX3" fmla="*/ 1280160 w 1280160"/>
              <a:gd name="connsiteY3" fmla="*/ 582874 h 1413163"/>
            </a:gdLst>
            <a:ahLst/>
            <a:cxnLst>
              <a:cxn ang="0">
                <a:pos x="connsiteX0" y="connsiteY0"/>
              </a:cxn>
              <a:cxn ang="0">
                <a:pos x="connsiteX1" y="connsiteY1"/>
              </a:cxn>
              <a:cxn ang="0">
                <a:pos x="connsiteX2" y="connsiteY2"/>
              </a:cxn>
              <a:cxn ang="0">
                <a:pos x="connsiteX3" y="connsiteY3"/>
              </a:cxn>
            </a:cxnLst>
            <a:rect l="l" t="t" r="r" b="b"/>
            <a:pathLst>
              <a:path w="1280160" h="1413163">
                <a:moveTo>
                  <a:pt x="0" y="1413163"/>
                </a:moveTo>
                <a:lnTo>
                  <a:pt x="0" y="0"/>
                </a:lnTo>
                <a:lnTo>
                  <a:pt x="1280160" y="0"/>
                </a:lnTo>
                <a:lnTo>
                  <a:pt x="1280160" y="582874"/>
                </a:lnTo>
              </a:path>
            </a:pathLst>
          </a:custGeom>
          <a:ln w="19050" cmpd="sng">
            <a:solidFill>
              <a:srgbClr val="003CB4"/>
            </a:solidFill>
            <a:headEnd type="none"/>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dirty="0">
              <a:latin typeface="Frutiger for ZKB Light" panose="020B0303030504020204" pitchFamily="34" charset="0"/>
            </a:endParaRPr>
          </a:p>
        </p:txBody>
      </p:sp>
      <p:sp>
        <p:nvSpPr>
          <p:cNvPr id="5" name="Freihandform: Form 4">
            <a:extLst>
              <a:ext uri="{FF2B5EF4-FFF2-40B4-BE49-F238E27FC236}">
                <a16:creationId xmlns:a16="http://schemas.microsoft.com/office/drawing/2014/main" id="{A6F84C72-A9B5-08FC-8F31-FFAD3A4927F2}"/>
              </a:ext>
            </a:extLst>
          </p:cNvPr>
          <p:cNvSpPr/>
          <p:nvPr/>
        </p:nvSpPr>
        <p:spPr>
          <a:xfrm>
            <a:off x="7253817" y="2481929"/>
            <a:ext cx="1246218" cy="1654037"/>
          </a:xfrm>
          <a:custGeom>
            <a:avLst/>
            <a:gdLst>
              <a:gd name="connsiteX0" fmla="*/ 0 w 1280160"/>
              <a:gd name="connsiteY0" fmla="*/ 1413163 h 1413163"/>
              <a:gd name="connsiteX1" fmla="*/ 0 w 1280160"/>
              <a:gd name="connsiteY1" fmla="*/ 0 h 1413163"/>
              <a:gd name="connsiteX2" fmla="*/ 1280160 w 1280160"/>
              <a:gd name="connsiteY2" fmla="*/ 0 h 1413163"/>
              <a:gd name="connsiteX3" fmla="*/ 1280160 w 1280160"/>
              <a:gd name="connsiteY3" fmla="*/ 631767 h 1413163"/>
              <a:gd name="connsiteX0" fmla="*/ 8312 w 1280160"/>
              <a:gd name="connsiteY0" fmla="*/ 146304 h 631767"/>
              <a:gd name="connsiteX1" fmla="*/ 0 w 1280160"/>
              <a:gd name="connsiteY1" fmla="*/ 0 h 631767"/>
              <a:gd name="connsiteX2" fmla="*/ 1280160 w 1280160"/>
              <a:gd name="connsiteY2" fmla="*/ 0 h 631767"/>
              <a:gd name="connsiteX3" fmla="*/ 1280160 w 1280160"/>
              <a:gd name="connsiteY3" fmla="*/ 631767 h 631767"/>
              <a:gd name="connsiteX0" fmla="*/ 0 w 1284548"/>
              <a:gd name="connsiteY0" fmla="*/ 123667 h 631767"/>
              <a:gd name="connsiteX1" fmla="*/ 4388 w 1284548"/>
              <a:gd name="connsiteY1" fmla="*/ 0 h 631767"/>
              <a:gd name="connsiteX2" fmla="*/ 1284548 w 1284548"/>
              <a:gd name="connsiteY2" fmla="*/ 0 h 631767"/>
              <a:gd name="connsiteX3" fmla="*/ 1284548 w 1284548"/>
              <a:gd name="connsiteY3" fmla="*/ 631767 h 631767"/>
              <a:gd name="connsiteX0" fmla="*/ 1962 w 1280160"/>
              <a:gd name="connsiteY0" fmla="*/ 123667 h 631767"/>
              <a:gd name="connsiteX1" fmla="*/ 0 w 1280160"/>
              <a:gd name="connsiteY1" fmla="*/ 0 h 631767"/>
              <a:gd name="connsiteX2" fmla="*/ 1280160 w 1280160"/>
              <a:gd name="connsiteY2" fmla="*/ 0 h 631767"/>
              <a:gd name="connsiteX3" fmla="*/ 1280160 w 1280160"/>
              <a:gd name="connsiteY3" fmla="*/ 631767 h 631767"/>
            </a:gdLst>
            <a:ahLst/>
            <a:cxnLst>
              <a:cxn ang="0">
                <a:pos x="connsiteX0" y="connsiteY0"/>
              </a:cxn>
              <a:cxn ang="0">
                <a:pos x="connsiteX1" y="connsiteY1"/>
              </a:cxn>
              <a:cxn ang="0">
                <a:pos x="connsiteX2" y="connsiteY2"/>
              </a:cxn>
              <a:cxn ang="0">
                <a:pos x="connsiteX3" y="connsiteY3"/>
              </a:cxn>
            </a:cxnLst>
            <a:rect l="l" t="t" r="r" b="b"/>
            <a:pathLst>
              <a:path w="1280160" h="631767">
                <a:moveTo>
                  <a:pt x="1962" y="123667"/>
                </a:moveTo>
                <a:lnTo>
                  <a:pt x="0" y="0"/>
                </a:lnTo>
                <a:lnTo>
                  <a:pt x="1280160" y="0"/>
                </a:lnTo>
                <a:lnTo>
                  <a:pt x="1280160" y="631767"/>
                </a:lnTo>
              </a:path>
            </a:pathLst>
          </a:custGeom>
          <a:ln w="19050" cmpd="sng">
            <a:solidFill>
              <a:srgbClr val="003CB4"/>
            </a:solidFill>
            <a:headEnd type="none"/>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dirty="0">
              <a:latin typeface="Frutiger for ZKB Light" panose="020B0303030504020204" pitchFamily="34" charset="0"/>
            </a:endParaRPr>
          </a:p>
        </p:txBody>
      </p:sp>
      <p:sp>
        <p:nvSpPr>
          <p:cNvPr id="6" name="Textplatzhalter 11">
            <a:extLst>
              <a:ext uri="{FF2B5EF4-FFF2-40B4-BE49-F238E27FC236}">
                <a16:creationId xmlns:a16="http://schemas.microsoft.com/office/drawing/2014/main" id="{C90CAE0A-824A-9602-BE59-4FE3BDEE5FEC}"/>
              </a:ext>
            </a:extLst>
          </p:cNvPr>
          <p:cNvSpPr txBox="1">
            <a:spLocks/>
          </p:cNvSpPr>
          <p:nvPr/>
        </p:nvSpPr>
        <p:spPr>
          <a:xfrm>
            <a:off x="1260660" y="2652244"/>
            <a:ext cx="652072" cy="280689"/>
          </a:xfrm>
          <a:prstGeom prst="rect">
            <a:avLst/>
          </a:prstGeom>
          <a:solidFill>
            <a:schemeClr val="lt1"/>
          </a:solidFill>
        </p:spPr>
        <p:txBody>
          <a:bodyPr vert="horz" wrap="square" lIns="36000" tIns="36000" rIns="36000" bIns="36000" rtlCol="0" anchor="ctr" anchorCtr="0">
            <a:noAutofit/>
          </a:bodyPr>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algn="ctr" fontAlgn="auto"/>
            <a:r>
              <a:rPr lang="de-CH" b="1" dirty="0"/>
              <a:t>+6%</a:t>
            </a:r>
          </a:p>
        </p:txBody>
      </p:sp>
      <p:sp>
        <p:nvSpPr>
          <p:cNvPr id="7" name="Textplatzhalter 11">
            <a:extLst>
              <a:ext uri="{FF2B5EF4-FFF2-40B4-BE49-F238E27FC236}">
                <a16:creationId xmlns:a16="http://schemas.microsoft.com/office/drawing/2014/main" id="{319A0EDA-C593-EE2A-59E6-38D68F6E8A61}"/>
              </a:ext>
            </a:extLst>
          </p:cNvPr>
          <p:cNvSpPr txBox="1">
            <a:spLocks/>
          </p:cNvSpPr>
          <p:nvPr/>
        </p:nvSpPr>
        <p:spPr>
          <a:xfrm>
            <a:off x="7557985" y="2354140"/>
            <a:ext cx="652072" cy="280689"/>
          </a:xfrm>
          <a:prstGeom prst="rect">
            <a:avLst/>
          </a:prstGeom>
          <a:solidFill>
            <a:schemeClr val="lt1"/>
          </a:solidFill>
        </p:spPr>
        <p:txBody>
          <a:bodyPr vert="horz" wrap="square" lIns="36000" tIns="36000" rIns="36000" bIns="36000" rtlCol="0" anchor="ctr" anchorCtr="0">
            <a:noAutofit/>
          </a:bodyPr>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algn="ctr" fontAlgn="auto"/>
            <a:r>
              <a:rPr lang="de-CH" b="1" dirty="0"/>
              <a:t>–35%</a:t>
            </a: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186" name="think-cell data - do not delete" hidden="1">
            <a:extLst>
              <a:ext uri="{FF2B5EF4-FFF2-40B4-BE49-F238E27FC236}">
                <a16:creationId xmlns:a16="http://schemas.microsoft.com/office/drawing/2014/main" id="{43FAF8B9-FDEA-CE92-C8FB-03429FDD299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93186" name="think-cell data - do not delete" hidden="1">
                        <a:extLst>
                          <a:ext uri="{FF2B5EF4-FFF2-40B4-BE49-F238E27FC236}">
                            <a16:creationId xmlns:a16="http://schemas.microsoft.com/office/drawing/2014/main" id="{43FAF8B9-FDEA-CE92-C8FB-03429FDD29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3187" name="Titel 1">
            <a:extLst>
              <a:ext uri="{FF2B5EF4-FFF2-40B4-BE49-F238E27FC236}">
                <a16:creationId xmlns:a16="http://schemas.microsoft.com/office/drawing/2014/main" id="{BF908338-B9F6-1898-8780-55D64803A828}"/>
              </a:ext>
            </a:extLst>
          </p:cNvPr>
          <p:cNvSpPr>
            <a:spLocks noGrp="1"/>
          </p:cNvSpPr>
          <p:nvPr>
            <p:ph type="title"/>
          </p:nvPr>
        </p:nvSpPr>
        <p:spPr>
          <a:xfrm>
            <a:off x="306388" y="287338"/>
            <a:ext cx="10180637" cy="863600"/>
          </a:xfrm>
          <a:ln>
            <a:solidFill>
              <a:schemeClr val="bg1"/>
            </a:solidFill>
            <a:miter lim="800000"/>
            <a:headEnd/>
            <a:tailEnd/>
          </a:ln>
        </p:spPr>
        <p:txBody>
          <a:bodyPr/>
          <a:lstStyle/>
          <a:p>
            <a:pPr eaLnBrk="1" hangingPunct="1">
              <a:spcBef>
                <a:spcPct val="0"/>
              </a:spcBef>
              <a:spcAft>
                <a:spcPct val="0"/>
              </a:spcAft>
            </a:pPr>
            <a:r>
              <a:rPr lang="de-CH" altLang="de-DE" dirty="0"/>
              <a:t>Gruppierte Säulen</a:t>
            </a:r>
          </a:p>
        </p:txBody>
      </p:sp>
      <p:sp>
        <p:nvSpPr>
          <p:cNvPr id="6" name="Inhaltsplatzhalter 5">
            <a:extLst>
              <a:ext uri="{FF2B5EF4-FFF2-40B4-BE49-F238E27FC236}">
                <a16:creationId xmlns:a16="http://schemas.microsoft.com/office/drawing/2014/main" id="{5A5E8DBC-0606-7984-6D1E-040D2DF41A07}"/>
              </a:ext>
            </a:extLst>
          </p:cNvPr>
          <p:cNvSpPr>
            <a:spLocks noGrp="1"/>
          </p:cNvSpPr>
          <p:nvPr>
            <p:ph idx="12"/>
          </p:nvPr>
        </p:nvSpPr>
        <p:spPr>
          <a:xfrm>
            <a:off x="306388" y="1885950"/>
            <a:ext cx="3889375" cy="4748213"/>
          </a:xfrm>
        </p:spPr>
        <p:txBody>
          <a:bodyPr rtlCol="0"/>
          <a:lstStyle/>
          <a:p>
            <a:pPr eaLnBrk="1" fontAlgn="auto" hangingPunct="1">
              <a:defRPr/>
            </a:pPr>
            <a:r>
              <a:rPr lang="de-CH" b="1" dirty="0"/>
              <a:t>Diagrammtitel</a:t>
            </a:r>
            <a:r>
              <a:rPr lang="de-CH" b="1" baseline="30000" dirty="0">
                <a:cs typeface="+mn-cs"/>
              </a:rPr>
              <a:t>1</a:t>
            </a:r>
            <a:br>
              <a:rPr lang="de-CH" dirty="0"/>
            </a:br>
            <a:r>
              <a:rPr lang="de-CH" dirty="0"/>
              <a:t>(in Einheit)</a:t>
            </a:r>
          </a:p>
        </p:txBody>
      </p:sp>
      <p:sp>
        <p:nvSpPr>
          <p:cNvPr id="4" name="Inhaltsplatzhalter 3">
            <a:extLst>
              <a:ext uri="{FF2B5EF4-FFF2-40B4-BE49-F238E27FC236}">
                <a16:creationId xmlns:a16="http://schemas.microsoft.com/office/drawing/2014/main" id="{6EF84842-7E79-0CEA-BC31-50F7BA07B60D}"/>
              </a:ext>
            </a:extLst>
          </p:cNvPr>
          <p:cNvSpPr>
            <a:spLocks noGrp="1"/>
          </p:cNvSpPr>
          <p:nvPr>
            <p:ph sz="quarter" idx="14"/>
          </p:nvPr>
        </p:nvSpPr>
        <p:spPr>
          <a:xfrm>
            <a:off x="8659813" y="1885950"/>
            <a:ext cx="3889375" cy="4748213"/>
          </a:xfrm>
        </p:spPr>
        <p:txBody>
          <a:bodyPr/>
          <a:lstStyle/>
          <a:p>
            <a:pPr eaLnBrk="1" hangingPunct="1">
              <a:defRPr/>
            </a:pPr>
            <a:r>
              <a:rPr lang="de-CH" b="1" dirty="0"/>
              <a:t>Kommenta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pPr eaLnBrk="1" hangingPunct="1">
              <a:defRPr/>
            </a:pPr>
            <a:endParaRPr lang="de-CH" dirty="0"/>
          </a:p>
        </p:txBody>
      </p:sp>
      <p:sp>
        <p:nvSpPr>
          <p:cNvPr id="93190" name="Foliennummernplatzhalter 12">
            <a:extLst>
              <a:ext uri="{FF2B5EF4-FFF2-40B4-BE49-F238E27FC236}">
                <a16:creationId xmlns:a16="http://schemas.microsoft.com/office/drawing/2014/main" id="{3C19E465-AE2A-C579-AEA1-55695F39A0F5}"/>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63</a:t>
            </a:fld>
            <a:endParaRPr lang="de-CH" altLang="de-DE" sz="1100" dirty="0">
              <a:solidFill>
                <a:srgbClr val="003CB4"/>
              </a:solidFill>
            </a:endParaRPr>
          </a:p>
        </p:txBody>
      </p:sp>
      <p:sp>
        <p:nvSpPr>
          <p:cNvPr id="93191" name="Fußzeilenplatzhalter 11">
            <a:extLst>
              <a:ext uri="{FF2B5EF4-FFF2-40B4-BE49-F238E27FC236}">
                <a16:creationId xmlns:a16="http://schemas.microsoft.com/office/drawing/2014/main" id="{00A685A2-02C5-A6BC-7E42-28DB3EA17E81}"/>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93192" name="Textfeld 18">
            <a:extLst>
              <a:ext uri="{FF2B5EF4-FFF2-40B4-BE49-F238E27FC236}">
                <a16:creationId xmlns:a16="http://schemas.microsoft.com/office/drawing/2014/main" id="{62315166-DD86-39D9-57DF-27991288673E}"/>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sp>
        <p:nvSpPr>
          <p:cNvPr id="93193" name="Textfeld 13">
            <a:extLst>
              <a:ext uri="{FF2B5EF4-FFF2-40B4-BE49-F238E27FC236}">
                <a16:creationId xmlns:a16="http://schemas.microsoft.com/office/drawing/2014/main" id="{85ED7A2B-BF8F-5942-BCD3-AC0959431F0A}"/>
              </a:ext>
            </a:extLst>
          </p:cNvPr>
          <p:cNvSpPr txBox="1">
            <a:spLocks noChangeArrowheads="1"/>
          </p:cNvSpPr>
          <p:nvPr/>
        </p:nvSpPr>
        <p:spPr bwMode="auto">
          <a:xfrm>
            <a:off x="-254000" y="51308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graphicFrame>
        <p:nvGraphicFramePr>
          <p:cNvPr id="2" name="Inhaltsplatzhalter 19">
            <a:extLst>
              <a:ext uri="{FF2B5EF4-FFF2-40B4-BE49-F238E27FC236}">
                <a16:creationId xmlns:a16="http://schemas.microsoft.com/office/drawing/2014/main" id="{6E0AF9CC-618C-7A7B-947C-9B00A608A9AD}"/>
              </a:ext>
            </a:extLst>
          </p:cNvPr>
          <p:cNvGraphicFramePr>
            <a:graphicFrameLocks/>
          </p:cNvGraphicFramePr>
          <p:nvPr/>
        </p:nvGraphicFramePr>
        <p:xfrm>
          <a:off x="305817" y="2273300"/>
          <a:ext cx="7346106" cy="4127500"/>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5234" name="think-cell data - do not delete" hidden="1">
            <a:extLst>
              <a:ext uri="{FF2B5EF4-FFF2-40B4-BE49-F238E27FC236}">
                <a16:creationId xmlns:a16="http://schemas.microsoft.com/office/drawing/2014/main" id="{DE5DD0D2-F58C-83E5-DE1E-E3D5F38C717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95234" name="think-cell data - do not delete" hidden="1">
                        <a:extLst>
                          <a:ext uri="{FF2B5EF4-FFF2-40B4-BE49-F238E27FC236}">
                            <a16:creationId xmlns:a16="http://schemas.microsoft.com/office/drawing/2014/main" id="{DE5DD0D2-F58C-83E5-DE1E-E3D5F38C717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4A53CFF1-3F71-3AC0-891F-487F3B1039A2}"/>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Gruppierte Balken</a:t>
            </a:r>
          </a:p>
        </p:txBody>
      </p:sp>
      <p:sp>
        <p:nvSpPr>
          <p:cNvPr id="3" name="Inhaltsplatzhalter 2">
            <a:extLst>
              <a:ext uri="{FF2B5EF4-FFF2-40B4-BE49-F238E27FC236}">
                <a16:creationId xmlns:a16="http://schemas.microsoft.com/office/drawing/2014/main" id="{871046E3-8A96-8E4D-11A9-4817805E13BC}"/>
              </a:ext>
            </a:extLst>
          </p:cNvPr>
          <p:cNvSpPr>
            <a:spLocks noGrp="1"/>
          </p:cNvSpPr>
          <p:nvPr>
            <p:ph idx="12"/>
          </p:nvPr>
        </p:nvSpPr>
        <p:spPr>
          <a:xfrm>
            <a:off x="306388" y="1885950"/>
            <a:ext cx="3889375" cy="4748213"/>
          </a:xfrm>
          <a:ln>
            <a:solidFill>
              <a:schemeClr val="bg1">
                <a:lumMod val="75000"/>
                <a:alpha val="0"/>
              </a:schemeClr>
            </a:solidFill>
          </a:ln>
        </p:spPr>
        <p:txBody>
          <a:bodyPr rtlCol="0"/>
          <a:lstStyle/>
          <a:p>
            <a:pPr eaLnBrk="1" fontAlgn="auto" hangingPunct="1">
              <a:defRPr/>
            </a:pPr>
            <a:r>
              <a:rPr lang="de-CH" b="1" dirty="0">
                <a:cs typeface="+mn-cs"/>
              </a:rPr>
              <a:t>Diagrammtitel</a:t>
            </a:r>
            <a:r>
              <a:rPr lang="de-CH" b="1" baseline="30000" dirty="0">
                <a:cs typeface="+mn-cs"/>
              </a:rPr>
              <a:t>1</a:t>
            </a:r>
          </a:p>
          <a:p>
            <a:pPr eaLnBrk="1" fontAlgn="auto" hangingPunct="1">
              <a:defRPr/>
            </a:pPr>
            <a:r>
              <a:rPr lang="de-CH" dirty="0">
                <a:cs typeface="+mn-cs"/>
              </a:rPr>
              <a:t>(in Einheit)</a:t>
            </a:r>
            <a:endParaRPr lang="de-CH" dirty="0"/>
          </a:p>
        </p:txBody>
      </p:sp>
      <p:sp>
        <p:nvSpPr>
          <p:cNvPr id="7" name="Inhaltsplatzhalter 6">
            <a:extLst>
              <a:ext uri="{FF2B5EF4-FFF2-40B4-BE49-F238E27FC236}">
                <a16:creationId xmlns:a16="http://schemas.microsoft.com/office/drawing/2014/main" id="{28583F0F-6DBB-9DC7-52A7-9C9EA4AE80A6}"/>
              </a:ext>
            </a:extLst>
          </p:cNvPr>
          <p:cNvSpPr>
            <a:spLocks noGrp="1"/>
          </p:cNvSpPr>
          <p:nvPr>
            <p:ph sz="quarter" idx="14"/>
          </p:nvPr>
        </p:nvSpPr>
        <p:spPr>
          <a:xfrm>
            <a:off x="8659813" y="1885950"/>
            <a:ext cx="3889375" cy="4748213"/>
          </a:xfrm>
        </p:spPr>
        <p:txBody>
          <a:bodyPr/>
          <a:lstStyle/>
          <a:p>
            <a:pPr eaLnBrk="1" hangingPunct="1">
              <a:defRPr/>
            </a:pPr>
            <a:r>
              <a:rPr lang="de-CH" b="1" dirty="0"/>
              <a:t>Kommenta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pPr eaLnBrk="1" hangingPunct="1">
              <a:defRPr/>
            </a:pPr>
            <a:endParaRPr lang="de-CH" dirty="0"/>
          </a:p>
        </p:txBody>
      </p:sp>
      <p:sp>
        <p:nvSpPr>
          <p:cNvPr id="95238" name="Foliennummernplatzhalter 13">
            <a:extLst>
              <a:ext uri="{FF2B5EF4-FFF2-40B4-BE49-F238E27FC236}">
                <a16:creationId xmlns:a16="http://schemas.microsoft.com/office/drawing/2014/main" id="{130E2E90-FF28-C683-18B0-81583A38FEE8}"/>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64</a:t>
            </a:fld>
            <a:endParaRPr lang="de-CH" altLang="de-DE" sz="1100" dirty="0">
              <a:solidFill>
                <a:srgbClr val="003CB4"/>
              </a:solidFill>
            </a:endParaRPr>
          </a:p>
        </p:txBody>
      </p:sp>
      <p:sp>
        <p:nvSpPr>
          <p:cNvPr id="95239" name="Fußzeilenplatzhalter 11">
            <a:extLst>
              <a:ext uri="{FF2B5EF4-FFF2-40B4-BE49-F238E27FC236}">
                <a16:creationId xmlns:a16="http://schemas.microsoft.com/office/drawing/2014/main" id="{8B521603-1A24-CAFA-494A-4E814F7A5DAE}"/>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95241" name="Textfeld 18">
            <a:extLst>
              <a:ext uri="{FF2B5EF4-FFF2-40B4-BE49-F238E27FC236}">
                <a16:creationId xmlns:a16="http://schemas.microsoft.com/office/drawing/2014/main" id="{D8952B21-AE73-3662-AC48-CAA3C1EF44F7}"/>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graphicFrame>
        <p:nvGraphicFramePr>
          <p:cNvPr id="4" name="Inhaltsplatzhalter 3">
            <a:extLst>
              <a:ext uri="{FF2B5EF4-FFF2-40B4-BE49-F238E27FC236}">
                <a16:creationId xmlns:a16="http://schemas.microsoft.com/office/drawing/2014/main" id="{E7978CE6-7E26-2094-98E6-2730B74C44F6}"/>
              </a:ext>
            </a:extLst>
          </p:cNvPr>
          <p:cNvGraphicFramePr>
            <a:graphicFrameLocks/>
          </p:cNvGraphicFramePr>
          <p:nvPr/>
        </p:nvGraphicFramePr>
        <p:xfrm>
          <a:off x="306388" y="2319338"/>
          <a:ext cx="7273527" cy="414128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7941917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258" name="think-cell data - do not delete" hidden="1">
            <a:extLst>
              <a:ext uri="{FF2B5EF4-FFF2-40B4-BE49-F238E27FC236}">
                <a16:creationId xmlns:a16="http://schemas.microsoft.com/office/drawing/2014/main" id="{A0E96B09-C4E9-3D92-0852-E96BB894F6F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0" imgH="350" progId="TCLayout.ActiveDocument.1">
                  <p:embed/>
                </p:oleObj>
              </mc:Choice>
              <mc:Fallback>
                <p:oleObj name="think-cell Folie" r:id="rId4" imgW="350" imgH="350" progId="TCLayout.ActiveDocument.1">
                  <p:embed/>
                  <p:pic>
                    <p:nvPicPr>
                      <p:cNvPr id="96258" name="think-cell data - do not delete" hidden="1">
                        <a:extLst>
                          <a:ext uri="{FF2B5EF4-FFF2-40B4-BE49-F238E27FC236}">
                            <a16:creationId xmlns:a16="http://schemas.microsoft.com/office/drawing/2014/main" id="{A0E96B09-C4E9-3D92-0852-E96BB894F6F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6259" name="Titel 1">
            <a:extLst>
              <a:ext uri="{FF2B5EF4-FFF2-40B4-BE49-F238E27FC236}">
                <a16:creationId xmlns:a16="http://schemas.microsoft.com/office/drawing/2014/main" id="{8A1FDA45-DA6E-4407-23FB-14614C113C8D}"/>
              </a:ext>
            </a:extLst>
          </p:cNvPr>
          <p:cNvSpPr>
            <a:spLocks noGrp="1"/>
          </p:cNvSpPr>
          <p:nvPr>
            <p:ph type="title"/>
          </p:nvPr>
        </p:nvSpPr>
        <p:spPr>
          <a:xfrm>
            <a:off x="306388" y="287338"/>
            <a:ext cx="10180637" cy="863600"/>
          </a:xfrm>
          <a:ln>
            <a:solidFill>
              <a:schemeClr val="bg1"/>
            </a:solidFill>
            <a:miter lim="800000"/>
            <a:headEnd/>
            <a:tailEnd/>
          </a:ln>
        </p:spPr>
        <p:txBody>
          <a:bodyPr/>
          <a:lstStyle/>
          <a:p>
            <a:pPr eaLnBrk="1" hangingPunct="1">
              <a:spcBef>
                <a:spcPct val="0"/>
              </a:spcBef>
              <a:spcAft>
                <a:spcPct val="0"/>
              </a:spcAft>
            </a:pPr>
            <a:r>
              <a:rPr lang="de-CH" altLang="de-DE" dirty="0"/>
              <a:t>Säulen und Liniendiagramm – 2 Spalten mit Überschrift</a:t>
            </a:r>
          </a:p>
        </p:txBody>
      </p:sp>
      <p:sp>
        <p:nvSpPr>
          <p:cNvPr id="96260" name="Foliennummernplatzhalter 9">
            <a:extLst>
              <a:ext uri="{FF2B5EF4-FFF2-40B4-BE49-F238E27FC236}">
                <a16:creationId xmlns:a16="http://schemas.microsoft.com/office/drawing/2014/main" id="{B24676C9-D3F8-E4E2-A402-EA01385116F8}"/>
              </a:ext>
            </a:extLst>
          </p:cNvPr>
          <p:cNvSpPr>
            <a:spLocks noGrp="1" noChangeArrowheads="1"/>
          </p:cNvSpPr>
          <p:nvPr>
            <p:ph type="sldNum" sz="quarter" idx="16"/>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1B41B96-C24D-47CE-B205-C22431F12D8E}" type="slidenum">
              <a:rPr lang="de-CH" smtClean="0"/>
              <a:pPr>
                <a:spcBef>
                  <a:spcPct val="0"/>
                </a:spcBef>
                <a:spcAft>
                  <a:spcPct val="0"/>
                </a:spcAft>
                <a:defRPr/>
              </a:pPr>
              <a:t>65</a:t>
            </a:fld>
            <a:endParaRPr lang="de-CH" altLang="de-DE" sz="1100" dirty="0">
              <a:solidFill>
                <a:srgbClr val="003CB4"/>
              </a:solidFill>
            </a:endParaRPr>
          </a:p>
        </p:txBody>
      </p:sp>
      <p:sp>
        <p:nvSpPr>
          <p:cNvPr id="96261" name="Fußzeilenplatzhalter 8">
            <a:extLst>
              <a:ext uri="{FF2B5EF4-FFF2-40B4-BE49-F238E27FC236}">
                <a16:creationId xmlns:a16="http://schemas.microsoft.com/office/drawing/2014/main" id="{30CC229F-5AC8-441E-35DB-A5592A37CE95}"/>
              </a:ext>
            </a:extLst>
          </p:cNvPr>
          <p:cNvSpPr>
            <a:spLocks noGrp="1" noChangeArrowheads="1"/>
          </p:cNvSpPr>
          <p:nvPr>
            <p:ph type="ftr" sz="quarter" idx="17"/>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96262" name="Textplatzhalter 21">
            <a:extLst>
              <a:ext uri="{FF2B5EF4-FFF2-40B4-BE49-F238E27FC236}">
                <a16:creationId xmlns:a16="http://schemas.microsoft.com/office/drawing/2014/main" id="{DF1587AE-2D41-85A4-43B2-3FD27493F44C}"/>
              </a:ext>
            </a:extLst>
          </p:cNvPr>
          <p:cNvSpPr>
            <a:spLocks noGrp="1" noChangeArrowheads="1"/>
          </p:cNvSpPr>
          <p:nvPr>
            <p:ph type="body" sz="quarter" idx="14"/>
          </p:nvPr>
        </p:nvSpPr>
        <p:spPr>
          <a:xfrm>
            <a:off x="306388" y="1885950"/>
            <a:ext cx="5976937" cy="646113"/>
          </a:xfrm>
        </p:spPr>
        <p:txBody>
          <a:bodyPr/>
          <a:lstStyle/>
          <a:p>
            <a:pPr eaLnBrk="1" hangingPunct="1">
              <a:spcBef>
                <a:spcPct val="0"/>
              </a:spcBef>
              <a:spcAft>
                <a:spcPct val="0"/>
              </a:spcAft>
            </a:pPr>
            <a:r>
              <a:rPr lang="de-CH" altLang="de-DE" dirty="0">
                <a:cs typeface="Aharoni" panose="020F0502020204030204" pitchFamily="2" charset="-79"/>
              </a:rPr>
              <a:t>Überschrift</a:t>
            </a:r>
            <a:r>
              <a:rPr lang="de-CH" altLang="de-DE" baseline="30000" dirty="0">
                <a:cs typeface="Aharoni" panose="020F0502020204030204" pitchFamily="2" charset="-79"/>
              </a:rPr>
              <a:t>1</a:t>
            </a:r>
          </a:p>
        </p:txBody>
      </p:sp>
      <p:sp>
        <p:nvSpPr>
          <p:cNvPr id="96263" name="Textplatzhalter 22">
            <a:extLst>
              <a:ext uri="{FF2B5EF4-FFF2-40B4-BE49-F238E27FC236}">
                <a16:creationId xmlns:a16="http://schemas.microsoft.com/office/drawing/2014/main" id="{AB2C33F7-6E3B-37EA-E663-D735D26E44E1}"/>
              </a:ext>
            </a:extLst>
          </p:cNvPr>
          <p:cNvSpPr>
            <a:spLocks noGrp="1" noChangeArrowheads="1"/>
          </p:cNvSpPr>
          <p:nvPr>
            <p:ph type="body" sz="quarter" idx="15"/>
          </p:nvPr>
        </p:nvSpPr>
        <p:spPr>
          <a:xfrm>
            <a:off x="6572250" y="1885950"/>
            <a:ext cx="5976938" cy="646113"/>
          </a:xfrm>
        </p:spPr>
        <p:txBody>
          <a:bodyPr/>
          <a:lstStyle/>
          <a:p>
            <a:pPr eaLnBrk="1" hangingPunct="1">
              <a:spcBef>
                <a:spcPct val="0"/>
              </a:spcBef>
              <a:spcAft>
                <a:spcPct val="0"/>
              </a:spcAft>
            </a:pPr>
            <a:r>
              <a:rPr lang="de-CH" altLang="de-DE" dirty="0">
                <a:cs typeface="Aharoni" panose="020F0502020204030204" pitchFamily="2" charset="-79"/>
              </a:rPr>
              <a:t>Überschrift</a:t>
            </a:r>
          </a:p>
        </p:txBody>
      </p:sp>
      <p:sp>
        <p:nvSpPr>
          <p:cNvPr id="96264" name="Textfeld 27">
            <a:extLst>
              <a:ext uri="{FF2B5EF4-FFF2-40B4-BE49-F238E27FC236}">
                <a16:creationId xmlns:a16="http://schemas.microsoft.com/office/drawing/2014/main" id="{257DC9C8-59D4-C7BD-61A6-8CAF8940A199}"/>
              </a:ext>
            </a:extLst>
          </p:cNvPr>
          <p:cNvSpPr txBox="1">
            <a:spLocks noChangeArrowheads="1"/>
          </p:cNvSpPr>
          <p:nvPr/>
        </p:nvSpPr>
        <p:spPr bwMode="auto">
          <a:xfrm>
            <a:off x="-254000" y="51308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96267" name="Textfeld 5">
            <a:extLst>
              <a:ext uri="{FF2B5EF4-FFF2-40B4-BE49-F238E27FC236}">
                <a16:creationId xmlns:a16="http://schemas.microsoft.com/office/drawing/2014/main" id="{4A0FCB1F-727D-479B-5BA7-96A9CF654609}"/>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graphicFrame>
        <p:nvGraphicFramePr>
          <p:cNvPr id="2" name="Inhaltsplatzhalter 5">
            <a:extLst>
              <a:ext uri="{FF2B5EF4-FFF2-40B4-BE49-F238E27FC236}">
                <a16:creationId xmlns:a16="http://schemas.microsoft.com/office/drawing/2014/main" id="{7A24D867-7B26-A1A2-447C-A05433AC38EB}"/>
              </a:ext>
            </a:extLst>
          </p:cNvPr>
          <p:cNvGraphicFramePr>
            <a:graphicFrameLocks/>
          </p:cNvGraphicFramePr>
          <p:nvPr>
            <p:extLst>
              <p:ext uri="{D42A27DB-BD31-4B8C-83A1-F6EECF244321}">
                <p14:modId xmlns:p14="http://schemas.microsoft.com/office/powerpoint/2010/main" val="2267916842"/>
              </p:ext>
            </p:extLst>
          </p:nvPr>
        </p:nvGraphicFramePr>
        <p:xfrm>
          <a:off x="6572250" y="2532804"/>
          <a:ext cx="5976938" cy="392153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Inhaltsplatzhalter 4">
            <a:extLst>
              <a:ext uri="{FF2B5EF4-FFF2-40B4-BE49-F238E27FC236}">
                <a16:creationId xmlns:a16="http://schemas.microsoft.com/office/drawing/2014/main" id="{A3E3F92F-15CB-F611-0727-E1F02B59A050}"/>
              </a:ext>
            </a:extLst>
          </p:cNvPr>
          <p:cNvGraphicFramePr>
            <a:graphicFrameLocks/>
          </p:cNvGraphicFramePr>
          <p:nvPr>
            <p:extLst>
              <p:ext uri="{D42A27DB-BD31-4B8C-83A1-F6EECF244321}">
                <p14:modId xmlns:p14="http://schemas.microsoft.com/office/powerpoint/2010/main" val="2775448957"/>
              </p:ext>
            </p:extLst>
          </p:nvPr>
        </p:nvGraphicFramePr>
        <p:xfrm>
          <a:off x="306387" y="2532803"/>
          <a:ext cx="5976938" cy="3921530"/>
        </p:xfrm>
        <a:graphic>
          <a:graphicData uri="http://schemas.openxmlformats.org/drawingml/2006/chart">
            <c:chart xmlns:c="http://schemas.openxmlformats.org/drawingml/2006/chart" xmlns:r="http://schemas.openxmlformats.org/officeDocument/2006/relationships" r:id="rId7"/>
          </a:graphicData>
        </a:graphic>
      </p:graphicFrame>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32ACF1-9E96-F709-6BB6-B08B257E5D69}"/>
              </a:ext>
            </a:extLst>
          </p:cNvPr>
          <p:cNvGraphicFramePr>
            <a:graphicFrameLocks noChangeAspect="1"/>
          </p:cNvGraphicFramePr>
          <p:nvPr>
            <p:custDataLst>
              <p:tags r:id="rId1"/>
            </p:custDataLst>
            <p:extLst>
              <p:ext uri="{D42A27DB-BD31-4B8C-83A1-F6EECF244321}">
                <p14:modId xmlns:p14="http://schemas.microsoft.com/office/powerpoint/2010/main" val="571671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72" imgH="272" progId="TCLayout.ActiveDocument.1">
                  <p:embed/>
                </p:oleObj>
              </mc:Choice>
              <mc:Fallback>
                <p:oleObj name="think-cell Folie" r:id="rId4" imgW="272" imgH="27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610A1D0-0863-421B-96B8-A04CB6A6336B}"/>
              </a:ext>
            </a:extLst>
          </p:cNvPr>
          <p:cNvSpPr>
            <a:spLocks noGrp="1"/>
          </p:cNvSpPr>
          <p:nvPr>
            <p:ph type="title"/>
          </p:nvPr>
        </p:nvSpPr>
        <p:spPr/>
        <p:txBody>
          <a:bodyPr vert="horz"/>
          <a:lstStyle/>
          <a:p>
            <a:r>
              <a:rPr lang="de-CH" altLang="de-DE" dirty="0"/>
              <a:t>Komplexe Diagramme </a:t>
            </a:r>
            <a:br>
              <a:rPr lang="de-CH" altLang="de-DE" dirty="0"/>
            </a:br>
            <a:r>
              <a:rPr lang="de-CH" altLang="de-DE" dirty="0"/>
              <a:t>(Beispiel)</a:t>
            </a:r>
            <a:endParaRPr lang="de-CH" dirty="0"/>
          </a:p>
        </p:txBody>
      </p:sp>
      <p:sp>
        <p:nvSpPr>
          <p:cNvPr id="11" name="Inhaltsplatzhalter 10">
            <a:extLst>
              <a:ext uri="{FF2B5EF4-FFF2-40B4-BE49-F238E27FC236}">
                <a16:creationId xmlns:a16="http://schemas.microsoft.com/office/drawing/2014/main" id="{150A01D4-96B1-4FD3-A141-D4E7F5467966}"/>
              </a:ext>
            </a:extLst>
          </p:cNvPr>
          <p:cNvSpPr>
            <a:spLocks noGrp="1"/>
          </p:cNvSpPr>
          <p:nvPr>
            <p:ph idx="12"/>
          </p:nvPr>
        </p:nvSpPr>
        <p:spPr/>
        <p:txBody>
          <a:bodyPr vert="horz" wrap="square" lIns="0" tIns="0" rIns="0" bIns="0" rtlCol="0" anchor="t" anchorCtr="0">
            <a:noAutofit/>
          </a:bodyPr>
          <a:lstStyle/>
          <a:p>
            <a:pPr defTabSz="284163" eaLnBrk="1" hangingPunct="1">
              <a:spcBef>
                <a:spcPct val="0"/>
              </a:spcBef>
              <a:spcAft>
                <a:spcPct val="0"/>
              </a:spcAft>
            </a:pPr>
            <a:r>
              <a:rPr lang="de-CH" altLang="de-DE" b="1" dirty="0">
                <a:solidFill>
                  <a:schemeClr val="tx1"/>
                </a:solidFill>
                <a:cs typeface="Aharoni" panose="020F0502020204030204" pitchFamily="2" charset="-79"/>
              </a:rPr>
              <a:t>Titel des Diagramms</a:t>
            </a:r>
            <a:r>
              <a:rPr lang="de-CH" altLang="de-DE" b="1" baseline="30000" dirty="0">
                <a:solidFill>
                  <a:schemeClr val="tx1"/>
                </a:solidFill>
                <a:cs typeface="Aharoni" panose="020F0502020204030204" pitchFamily="2" charset="-79"/>
              </a:rPr>
              <a:t>1</a:t>
            </a:r>
          </a:p>
          <a:p>
            <a:pPr defTabSz="284163" eaLnBrk="1" hangingPunct="1">
              <a:spcBef>
                <a:spcPct val="0"/>
              </a:spcBef>
              <a:spcAft>
                <a:spcPct val="0"/>
              </a:spcAft>
            </a:pPr>
            <a:r>
              <a:rPr lang="de-CH" altLang="de-DE" dirty="0">
                <a:solidFill>
                  <a:schemeClr val="tx1"/>
                </a:solidFill>
                <a:cs typeface="Aharoni" panose="020F0502020204030204" pitchFamily="2" charset="-79"/>
              </a:rPr>
              <a:t>(in Einheit)</a:t>
            </a:r>
          </a:p>
        </p:txBody>
      </p:sp>
      <p:sp>
        <p:nvSpPr>
          <p:cNvPr id="12" name="Inhaltsplatzhalter 11">
            <a:extLst>
              <a:ext uri="{FF2B5EF4-FFF2-40B4-BE49-F238E27FC236}">
                <a16:creationId xmlns:a16="http://schemas.microsoft.com/office/drawing/2014/main" id="{B563C57B-E20D-4439-91CA-9A3998B34F49}"/>
              </a:ext>
            </a:extLst>
          </p:cNvPr>
          <p:cNvSpPr>
            <a:spLocks noGrp="1"/>
          </p:cNvSpPr>
          <p:nvPr>
            <p:ph sz="quarter" idx="13"/>
          </p:nvPr>
        </p:nvSpPr>
        <p:spPr/>
        <p:txBody>
          <a:bodyPr vert="horz" wrap="square" lIns="0" tIns="0" rIns="0" bIns="0" rtlCol="0" anchor="t" anchorCtr="0">
            <a:noAutofit/>
          </a:bodyPr>
          <a:lstStyle/>
          <a:p>
            <a:pPr defTabSz="284163" eaLnBrk="1" hangingPunct="1">
              <a:spcBef>
                <a:spcPct val="0"/>
              </a:spcBef>
              <a:spcAft>
                <a:spcPct val="0"/>
              </a:spcAft>
            </a:pPr>
            <a:r>
              <a:rPr lang="de-CH" altLang="de-DE" b="1" dirty="0">
                <a:solidFill>
                  <a:schemeClr val="tx1"/>
                </a:solidFill>
                <a:cs typeface="Aharoni" panose="020F0502020204030204" pitchFamily="2" charset="-79"/>
              </a:rPr>
              <a:t>Titel des Diagramms</a:t>
            </a:r>
          </a:p>
          <a:p>
            <a:pPr defTabSz="284163" eaLnBrk="1" hangingPunct="1">
              <a:spcBef>
                <a:spcPct val="0"/>
              </a:spcBef>
              <a:spcAft>
                <a:spcPct val="0"/>
              </a:spcAft>
            </a:pPr>
            <a:r>
              <a:rPr lang="de-CH" altLang="de-DE" dirty="0">
                <a:solidFill>
                  <a:schemeClr val="tx1"/>
                </a:solidFill>
                <a:cs typeface="Aharoni" panose="020F0502020204030204" pitchFamily="2" charset="-79"/>
              </a:rPr>
              <a:t>(in Einheit)</a:t>
            </a:r>
          </a:p>
        </p:txBody>
      </p:sp>
      <p:sp>
        <p:nvSpPr>
          <p:cNvPr id="17" name="Inhaltsplatzhalter 16">
            <a:extLst>
              <a:ext uri="{FF2B5EF4-FFF2-40B4-BE49-F238E27FC236}">
                <a16:creationId xmlns:a16="http://schemas.microsoft.com/office/drawing/2014/main" id="{6D0E38A6-FCF0-4820-B1E4-5B6F71EF6949}"/>
              </a:ext>
            </a:extLst>
          </p:cNvPr>
          <p:cNvSpPr>
            <a:spLocks noGrp="1"/>
          </p:cNvSpPr>
          <p:nvPr>
            <p:ph sz="quarter" idx="14"/>
          </p:nvPr>
        </p:nvSpPr>
        <p:spPr/>
        <p:txBody>
          <a:bodyPr vert="horz" wrap="square" lIns="0" tIns="0" rIns="0" bIns="0" rtlCol="0" anchor="t" anchorCtr="0">
            <a:noAutofit/>
          </a:bodyPr>
          <a:lstStyle/>
          <a:p>
            <a:pPr defTabSz="284163" eaLnBrk="1" hangingPunct="1">
              <a:spcBef>
                <a:spcPct val="0"/>
              </a:spcBef>
              <a:spcAft>
                <a:spcPct val="0"/>
              </a:spcAft>
            </a:pPr>
            <a:r>
              <a:rPr lang="de-CH" altLang="de-DE" b="1" dirty="0">
                <a:solidFill>
                  <a:schemeClr val="tx1"/>
                </a:solidFill>
                <a:cs typeface="Aharoni" panose="020F0502020204030204" pitchFamily="2" charset="-79"/>
              </a:rPr>
              <a:t>Titel des Diagramms</a:t>
            </a:r>
          </a:p>
          <a:p>
            <a:pPr defTabSz="284163" eaLnBrk="1" hangingPunct="1">
              <a:spcBef>
                <a:spcPct val="0"/>
              </a:spcBef>
              <a:spcAft>
                <a:spcPct val="0"/>
              </a:spcAft>
            </a:pPr>
            <a:r>
              <a:rPr lang="de-CH" altLang="de-DE" dirty="0">
                <a:solidFill>
                  <a:schemeClr val="tx1"/>
                </a:solidFill>
                <a:cs typeface="Aharoni" panose="020F0502020204030204" pitchFamily="2" charset="-79"/>
              </a:rPr>
              <a:t>(in Einheit)</a:t>
            </a:r>
          </a:p>
        </p:txBody>
      </p:sp>
      <p:graphicFrame>
        <p:nvGraphicFramePr>
          <p:cNvPr id="9" name="Diagramm 8">
            <a:extLst>
              <a:ext uri="{FF2B5EF4-FFF2-40B4-BE49-F238E27FC236}">
                <a16:creationId xmlns:a16="http://schemas.microsoft.com/office/drawing/2014/main" id="{280F7DEA-305E-462A-8359-5ABE945F2BF9}"/>
              </a:ext>
            </a:extLst>
          </p:cNvPr>
          <p:cNvGraphicFramePr/>
          <p:nvPr>
            <p:extLst>
              <p:ext uri="{D42A27DB-BD31-4B8C-83A1-F6EECF244321}">
                <p14:modId xmlns:p14="http://schemas.microsoft.com/office/powerpoint/2010/main" val="1231436293"/>
              </p:ext>
            </p:extLst>
          </p:nvPr>
        </p:nvGraphicFramePr>
        <p:xfrm>
          <a:off x="201929" y="2514618"/>
          <a:ext cx="3910143" cy="40234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Diagramm 12">
            <a:extLst>
              <a:ext uri="{FF2B5EF4-FFF2-40B4-BE49-F238E27FC236}">
                <a16:creationId xmlns:a16="http://schemas.microsoft.com/office/drawing/2014/main" id="{38198637-9736-4F89-950A-DFC8547F7DD3}"/>
              </a:ext>
            </a:extLst>
          </p:cNvPr>
          <p:cNvGraphicFramePr/>
          <p:nvPr>
            <p:extLst>
              <p:ext uri="{D42A27DB-BD31-4B8C-83A1-F6EECF244321}">
                <p14:modId xmlns:p14="http://schemas.microsoft.com/office/powerpoint/2010/main" val="1979064295"/>
              </p:ext>
            </p:extLst>
          </p:nvPr>
        </p:nvGraphicFramePr>
        <p:xfrm>
          <a:off x="4481318" y="2514616"/>
          <a:ext cx="3910143" cy="402346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Diagramm 13">
            <a:extLst>
              <a:ext uri="{FF2B5EF4-FFF2-40B4-BE49-F238E27FC236}">
                <a16:creationId xmlns:a16="http://schemas.microsoft.com/office/drawing/2014/main" id="{0F6C5088-A65F-4405-8191-10D70BE55B87}"/>
              </a:ext>
            </a:extLst>
          </p:cNvPr>
          <p:cNvGraphicFramePr/>
          <p:nvPr>
            <p:extLst>
              <p:ext uri="{D42A27DB-BD31-4B8C-83A1-F6EECF244321}">
                <p14:modId xmlns:p14="http://schemas.microsoft.com/office/powerpoint/2010/main" val="1585348483"/>
              </p:ext>
            </p:extLst>
          </p:nvPr>
        </p:nvGraphicFramePr>
        <p:xfrm>
          <a:off x="8591652" y="2514616"/>
          <a:ext cx="3957535" cy="4023469"/>
        </p:xfrm>
        <a:graphic>
          <a:graphicData uri="http://schemas.openxmlformats.org/drawingml/2006/chart">
            <c:chart xmlns:c="http://schemas.openxmlformats.org/drawingml/2006/chart" xmlns:r="http://schemas.openxmlformats.org/officeDocument/2006/relationships" r:id="rId8"/>
          </a:graphicData>
        </a:graphic>
      </p:graphicFrame>
      <p:sp>
        <p:nvSpPr>
          <p:cNvPr id="3" name="Fußzeilenplatzhalter 2">
            <a:extLst>
              <a:ext uri="{FF2B5EF4-FFF2-40B4-BE49-F238E27FC236}">
                <a16:creationId xmlns:a16="http://schemas.microsoft.com/office/drawing/2014/main" id="{EF076F04-C2BF-4DDF-AE1A-B6ECD5A32622}"/>
              </a:ext>
            </a:extLst>
          </p:cNvPr>
          <p:cNvSpPr>
            <a:spLocks noGrp="1"/>
          </p:cNvSpPr>
          <p:nvPr>
            <p:ph type="ftr" sz="quarter" idx="11"/>
          </p:nvPr>
        </p:nvSpPr>
        <p:spPr/>
        <p:txBody>
          <a:bodyPr/>
          <a:lstStyle/>
          <a:p>
            <a:r>
              <a:rPr lang="de-CH" dirty="0"/>
              <a:t>Hallo blaue Welt! | Februar 2022</a:t>
            </a:r>
          </a:p>
        </p:txBody>
      </p:sp>
      <p:sp>
        <p:nvSpPr>
          <p:cNvPr id="4" name="Foliennummernplatzhalter 3">
            <a:extLst>
              <a:ext uri="{FF2B5EF4-FFF2-40B4-BE49-F238E27FC236}">
                <a16:creationId xmlns:a16="http://schemas.microsoft.com/office/drawing/2014/main" id="{23DA9B87-CF13-4ADE-82ED-956CCE99D9B2}"/>
              </a:ext>
            </a:extLst>
          </p:cNvPr>
          <p:cNvSpPr>
            <a:spLocks noGrp="1"/>
          </p:cNvSpPr>
          <p:nvPr>
            <p:ph type="sldNum" sz="quarter" idx="10"/>
          </p:nvPr>
        </p:nvSpPr>
        <p:spPr/>
        <p:txBody>
          <a:bodyPr/>
          <a:lstStyle/>
          <a:p>
            <a:fld id="{9871DA25-A9EC-401E-B2F6-3C7389F775D9}" type="slidenum">
              <a:rPr lang="de-CH" smtClean="0"/>
              <a:pPr/>
              <a:t>66</a:t>
            </a:fld>
            <a:endParaRPr lang="de-CH" dirty="0"/>
          </a:p>
        </p:txBody>
      </p:sp>
      <p:sp>
        <p:nvSpPr>
          <p:cNvPr id="8" name="Textfeld 14">
            <a:extLst>
              <a:ext uri="{FF2B5EF4-FFF2-40B4-BE49-F238E27FC236}">
                <a16:creationId xmlns:a16="http://schemas.microsoft.com/office/drawing/2014/main" id="{1DDC672A-4B63-92D5-9922-BDAFB2E8B9C5}"/>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spTree>
    <p:extLst>
      <p:ext uri="{BB962C8B-B14F-4D97-AF65-F5344CB8AC3E}">
        <p14:creationId xmlns:p14="http://schemas.microsoft.com/office/powerpoint/2010/main" val="87714674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hteck 38">
            <a:extLst>
              <a:ext uri="{FF2B5EF4-FFF2-40B4-BE49-F238E27FC236}">
                <a16:creationId xmlns:a16="http://schemas.microsoft.com/office/drawing/2014/main" id="{AA5CB428-A650-6C82-82AF-DB5A559FA3C6}"/>
              </a:ext>
            </a:extLst>
          </p:cNvPr>
          <p:cNvSpPr>
            <a:spLocks noChangeArrowheads="1"/>
          </p:cNvSpPr>
          <p:nvPr/>
        </p:nvSpPr>
        <p:spPr bwMode="auto">
          <a:xfrm>
            <a:off x="7067550" y="2174875"/>
            <a:ext cx="4681538" cy="1657350"/>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dirty="0"/>
          </a:p>
        </p:txBody>
      </p:sp>
      <p:graphicFrame>
        <p:nvGraphicFramePr>
          <p:cNvPr id="98307" name="think-cell data - do not delete" hidden="1">
            <a:extLst>
              <a:ext uri="{FF2B5EF4-FFF2-40B4-BE49-F238E27FC236}">
                <a16:creationId xmlns:a16="http://schemas.microsoft.com/office/drawing/2014/main" id="{9927EEFF-0003-7A92-998B-D3C7AD1762E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98307" name="think-cell data - do not delete" hidden="1">
                        <a:extLst>
                          <a:ext uri="{FF2B5EF4-FFF2-40B4-BE49-F238E27FC236}">
                            <a16:creationId xmlns:a16="http://schemas.microsoft.com/office/drawing/2014/main" id="{9927EEFF-0003-7A92-998B-D3C7AD1762E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932E95B7-6CFD-DB8A-0E44-80949DCC509B}"/>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2 x 2 Matrix mit Text</a:t>
            </a:r>
          </a:p>
        </p:txBody>
      </p:sp>
      <p:cxnSp>
        <p:nvCxnSpPr>
          <p:cNvPr id="15" name="Gerader Verbinder 14">
            <a:extLst>
              <a:ext uri="{FF2B5EF4-FFF2-40B4-BE49-F238E27FC236}">
                <a16:creationId xmlns:a16="http://schemas.microsoft.com/office/drawing/2014/main" id="{99858850-A545-3628-404A-BCE40CE7A52D}"/>
              </a:ext>
            </a:extLst>
          </p:cNvPr>
          <p:cNvCxnSpPr>
            <a:cxnSpLocks/>
          </p:cNvCxnSpPr>
          <p:nvPr/>
        </p:nvCxnSpPr>
        <p:spPr>
          <a:xfrm>
            <a:off x="1739900" y="5848350"/>
            <a:ext cx="10190163" cy="0"/>
          </a:xfrm>
          <a:prstGeom prst="line">
            <a:avLst/>
          </a:prstGeom>
          <a:ln w="12700" cmpd="sng">
            <a:solidFill>
              <a:srgbClr val="003CB4"/>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FFF00017-73C6-DEA6-E36B-322B0B1C66C2}"/>
              </a:ext>
            </a:extLst>
          </p:cNvPr>
          <p:cNvCxnSpPr>
            <a:cxnSpLocks/>
          </p:cNvCxnSpPr>
          <p:nvPr/>
        </p:nvCxnSpPr>
        <p:spPr>
          <a:xfrm flipV="1">
            <a:off x="1739900" y="1897063"/>
            <a:ext cx="0" cy="3951287"/>
          </a:xfrm>
          <a:prstGeom prst="line">
            <a:avLst/>
          </a:prstGeom>
          <a:ln w="12700" cmpd="sng">
            <a:solidFill>
              <a:srgbClr val="003CB4"/>
            </a:solidFill>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0" name="Inhaltsplatzhalter 6">
            <a:extLst>
              <a:ext uri="{FF2B5EF4-FFF2-40B4-BE49-F238E27FC236}">
                <a16:creationId xmlns:a16="http://schemas.microsoft.com/office/drawing/2014/main" id="{42DA09ED-97C5-CE3A-55AA-175B8512DBC1}"/>
              </a:ext>
            </a:extLst>
          </p:cNvPr>
          <p:cNvSpPr txBox="1">
            <a:spLocks/>
          </p:cNvSpPr>
          <p:nvPr/>
        </p:nvSpPr>
        <p:spPr>
          <a:xfrm>
            <a:off x="306388" y="1885950"/>
            <a:ext cx="1296987" cy="215900"/>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b="1" dirty="0">
                <a:cs typeface="+mn-cs"/>
              </a:rPr>
              <a:t>Achse A</a:t>
            </a:r>
          </a:p>
          <a:p>
            <a:pPr fontAlgn="auto">
              <a:defRPr/>
            </a:pPr>
            <a:r>
              <a:rPr lang="de-CH" dirty="0">
                <a:cs typeface="+mn-cs"/>
              </a:rPr>
              <a:t>Optionaler Beschrieb </a:t>
            </a:r>
            <a:endParaRPr lang="de-CH" dirty="0"/>
          </a:p>
        </p:txBody>
      </p:sp>
      <p:sp>
        <p:nvSpPr>
          <p:cNvPr id="13" name="Inhaltsplatzhalter 6">
            <a:extLst>
              <a:ext uri="{FF2B5EF4-FFF2-40B4-BE49-F238E27FC236}">
                <a16:creationId xmlns:a16="http://schemas.microsoft.com/office/drawing/2014/main" id="{73CD2E69-ABDE-5394-8227-9AE8FCBA07C3}"/>
              </a:ext>
            </a:extLst>
          </p:cNvPr>
          <p:cNvSpPr txBox="1">
            <a:spLocks/>
          </p:cNvSpPr>
          <p:nvPr/>
        </p:nvSpPr>
        <p:spPr>
          <a:xfrm>
            <a:off x="9804400" y="6003925"/>
            <a:ext cx="2168525" cy="190500"/>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b="1" dirty="0">
                <a:cs typeface="+mn-cs"/>
              </a:rPr>
              <a:t>Achse B</a:t>
            </a:r>
          </a:p>
          <a:p>
            <a:pPr fontAlgn="auto">
              <a:defRPr/>
            </a:pPr>
            <a:r>
              <a:rPr lang="de-CH" dirty="0">
                <a:cs typeface="+mn-cs"/>
              </a:rPr>
              <a:t>Optionaler Beschrieb </a:t>
            </a:r>
            <a:endParaRPr lang="de-CH" dirty="0"/>
          </a:p>
        </p:txBody>
      </p:sp>
      <p:sp>
        <p:nvSpPr>
          <p:cNvPr id="14" name="Inhaltsplatzhalter 6">
            <a:extLst>
              <a:ext uri="{FF2B5EF4-FFF2-40B4-BE49-F238E27FC236}">
                <a16:creationId xmlns:a16="http://schemas.microsoft.com/office/drawing/2014/main" id="{6EA54907-B2F4-EC43-E1D6-20DF89D0CD9A}"/>
              </a:ext>
            </a:extLst>
          </p:cNvPr>
          <p:cNvSpPr txBox="1">
            <a:spLocks/>
          </p:cNvSpPr>
          <p:nvPr/>
        </p:nvSpPr>
        <p:spPr>
          <a:xfrm>
            <a:off x="2251075" y="2335213"/>
            <a:ext cx="4248150" cy="1352550"/>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b="1" dirty="0">
                <a:cs typeface="+mn-cs"/>
              </a:rPr>
              <a:t>Lorem ipsum</a:t>
            </a:r>
            <a:endParaRPr lang="de-CH" dirty="0"/>
          </a:p>
          <a:p>
            <a:pPr fontAlgn="auto">
              <a:defRPr/>
            </a:pPr>
            <a:r>
              <a:rPr lang="de-CH" dirty="0"/>
              <a:t>Lorem ipsum dolor sit amet, consectetur adip elit, sed do eiusmod tempor incididunt. Lorem ipsum dolor sit amet, consectetur adipiscing elit, sed do eiusmod tempor incididunt.</a:t>
            </a:r>
          </a:p>
        </p:txBody>
      </p:sp>
      <p:sp>
        <p:nvSpPr>
          <p:cNvPr id="23" name="Inhaltsplatzhalter 6">
            <a:extLst>
              <a:ext uri="{FF2B5EF4-FFF2-40B4-BE49-F238E27FC236}">
                <a16:creationId xmlns:a16="http://schemas.microsoft.com/office/drawing/2014/main" id="{724984DE-33C5-7AD1-BB63-0692C39C4E3C}"/>
              </a:ext>
            </a:extLst>
          </p:cNvPr>
          <p:cNvSpPr txBox="1">
            <a:spLocks/>
          </p:cNvSpPr>
          <p:nvPr/>
        </p:nvSpPr>
        <p:spPr>
          <a:xfrm>
            <a:off x="2251075" y="4143375"/>
            <a:ext cx="4248150" cy="1350963"/>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b="1" dirty="0">
                <a:cs typeface="+mn-cs"/>
              </a:rPr>
              <a:t>Lorem ipsum</a:t>
            </a:r>
            <a:endParaRPr lang="de-CH" dirty="0"/>
          </a:p>
          <a:p>
            <a:pPr fontAlgn="auto">
              <a:defRPr/>
            </a:pPr>
            <a:r>
              <a:rPr lang="de-CH" dirty="0"/>
              <a:t>Lorem ipsum dolor sit amet, consectetur adip elit, sed do eiusmod tempor incididunt. Lorem ipsum dolor sit amet, consectetur adipiscing elit, sed do eiusmod tempor incididunt.</a:t>
            </a:r>
          </a:p>
        </p:txBody>
      </p:sp>
      <p:sp>
        <p:nvSpPr>
          <p:cNvPr id="24" name="Inhaltsplatzhalter 6">
            <a:extLst>
              <a:ext uri="{FF2B5EF4-FFF2-40B4-BE49-F238E27FC236}">
                <a16:creationId xmlns:a16="http://schemas.microsoft.com/office/drawing/2014/main" id="{D444EBEF-BC63-5F65-FE1A-99B02C4EFE93}"/>
              </a:ext>
            </a:extLst>
          </p:cNvPr>
          <p:cNvSpPr txBox="1">
            <a:spLocks/>
          </p:cNvSpPr>
          <p:nvPr/>
        </p:nvSpPr>
        <p:spPr>
          <a:xfrm>
            <a:off x="7254875" y="2335213"/>
            <a:ext cx="4248150" cy="1352550"/>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b="1" dirty="0">
                <a:cs typeface="+mn-cs"/>
              </a:rPr>
              <a:t>Lorem ipsum</a:t>
            </a:r>
            <a:endParaRPr lang="de-CH" dirty="0"/>
          </a:p>
          <a:p>
            <a:pPr fontAlgn="auto">
              <a:defRPr/>
            </a:pPr>
            <a:r>
              <a:rPr lang="de-CH" dirty="0"/>
              <a:t>Lorem ipsum dolor sit amet, consectetur adip elit, sed do eiusmod tempor incididunt. Lorem ipsum dolor sit amet, consectetur adipiscing elit, sed do eiusmod tempor incididunt.</a:t>
            </a:r>
          </a:p>
        </p:txBody>
      </p:sp>
      <p:sp>
        <p:nvSpPr>
          <p:cNvPr id="25" name="Inhaltsplatzhalter 6">
            <a:extLst>
              <a:ext uri="{FF2B5EF4-FFF2-40B4-BE49-F238E27FC236}">
                <a16:creationId xmlns:a16="http://schemas.microsoft.com/office/drawing/2014/main" id="{5BC9ABBF-0AFE-3868-D6AD-696CD4A50B03}"/>
              </a:ext>
            </a:extLst>
          </p:cNvPr>
          <p:cNvSpPr txBox="1">
            <a:spLocks/>
          </p:cNvSpPr>
          <p:nvPr/>
        </p:nvSpPr>
        <p:spPr>
          <a:xfrm>
            <a:off x="7254875" y="4143375"/>
            <a:ext cx="4248150" cy="1350963"/>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b="1" dirty="0">
                <a:cs typeface="+mn-cs"/>
              </a:rPr>
              <a:t>Lorem ipsum</a:t>
            </a:r>
            <a:endParaRPr lang="de-CH" dirty="0"/>
          </a:p>
          <a:p>
            <a:pPr fontAlgn="auto">
              <a:defRPr/>
            </a:pPr>
            <a:r>
              <a:rPr lang="de-CH" dirty="0"/>
              <a:t>Lorem ipsum dolor sit amet, consectetur adip elit, sed do eiusmod tempor incididunt. Lorem ipsum dolor sit amet, consectetur adipiscing elit, sed do eiusmod tempor incididunt.</a:t>
            </a:r>
          </a:p>
        </p:txBody>
      </p:sp>
      <p:sp>
        <p:nvSpPr>
          <p:cNvPr id="98317" name="Fußzeilenplatzhalter 6">
            <a:extLst>
              <a:ext uri="{FF2B5EF4-FFF2-40B4-BE49-F238E27FC236}">
                <a16:creationId xmlns:a16="http://schemas.microsoft.com/office/drawing/2014/main" id="{98C8C2EB-D89D-475F-BBD6-971B1DA3B4E6}"/>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98318" name="Foliennummernplatzhalter 7">
            <a:extLst>
              <a:ext uri="{FF2B5EF4-FFF2-40B4-BE49-F238E27FC236}">
                <a16:creationId xmlns:a16="http://schemas.microsoft.com/office/drawing/2014/main" id="{08B694B2-EFCC-6D5E-B7F1-A24DD6DA8BEE}"/>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67</a:t>
            </a:fld>
            <a:endParaRPr lang="de-CH" altLang="de-DE" sz="1100" dirty="0">
              <a:solidFill>
                <a:srgbClr val="003CB4"/>
              </a:solidFill>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9330" name="think-cell data - do not delete" hidden="1">
            <a:extLst>
              <a:ext uri="{FF2B5EF4-FFF2-40B4-BE49-F238E27FC236}">
                <a16:creationId xmlns:a16="http://schemas.microsoft.com/office/drawing/2014/main" id="{2963DA81-AB5E-6272-2F22-7A06EB094EFB}"/>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0" imgH="350" progId="TCLayout.ActiveDocument.1">
                  <p:embed/>
                </p:oleObj>
              </mc:Choice>
              <mc:Fallback>
                <p:oleObj name="think-cell Folie" r:id="rId4" imgW="350" imgH="350" progId="TCLayout.ActiveDocument.1">
                  <p:embed/>
                  <p:pic>
                    <p:nvPicPr>
                      <p:cNvPr id="99330" name="think-cell data - do not delete" hidden="1">
                        <a:extLst>
                          <a:ext uri="{FF2B5EF4-FFF2-40B4-BE49-F238E27FC236}">
                            <a16:creationId xmlns:a16="http://schemas.microsoft.com/office/drawing/2014/main" id="{2963DA81-AB5E-6272-2F22-7A06EB094EF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AFFF997D-6349-8A66-0C29-3E72B62F0D93}"/>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Stärken und Schwächen</a:t>
            </a:r>
          </a:p>
        </p:txBody>
      </p:sp>
      <p:sp>
        <p:nvSpPr>
          <p:cNvPr id="99332" name="Foliennummernplatzhalter 11">
            <a:extLst>
              <a:ext uri="{FF2B5EF4-FFF2-40B4-BE49-F238E27FC236}">
                <a16:creationId xmlns:a16="http://schemas.microsoft.com/office/drawing/2014/main" id="{F0FF7AD4-0FC9-170A-100E-0C3DC6877BA7}"/>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6DCE35B3-E5D4-4065-895B-51A1F13B2218}" type="slidenum">
              <a:rPr lang="de-CH" altLang="de-DE" sz="1100" smtClean="0">
                <a:solidFill>
                  <a:srgbClr val="003CB4"/>
                </a:solidFill>
                <a:latin typeface="Frutiger for ZKB Light" panose="020B0303030504020204" pitchFamily="34" charset="0"/>
              </a:rPr>
              <a:pPr>
                <a:spcBef>
                  <a:spcPct val="0"/>
                </a:spcBef>
                <a:spcAft>
                  <a:spcPct val="0"/>
                </a:spcAft>
              </a:pPr>
              <a:t>68</a:t>
            </a:fld>
            <a:endParaRPr lang="de-CH" altLang="de-DE" sz="1100" dirty="0">
              <a:solidFill>
                <a:srgbClr val="003CB4"/>
              </a:solidFill>
              <a:latin typeface="Frutiger for ZKB Light" panose="020B0303030504020204" pitchFamily="34" charset="0"/>
            </a:endParaRPr>
          </a:p>
        </p:txBody>
      </p:sp>
      <p:sp>
        <p:nvSpPr>
          <p:cNvPr id="99333" name="Fußzeilenplatzhalter 10">
            <a:extLst>
              <a:ext uri="{FF2B5EF4-FFF2-40B4-BE49-F238E27FC236}">
                <a16:creationId xmlns:a16="http://schemas.microsoft.com/office/drawing/2014/main" id="{C90C8895-96E9-B872-4EEA-99049B4B3B0E}"/>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99334" name="Rectangle 20">
            <a:extLst>
              <a:ext uri="{FF2B5EF4-FFF2-40B4-BE49-F238E27FC236}">
                <a16:creationId xmlns:a16="http://schemas.microsoft.com/office/drawing/2014/main" id="{EF903A74-C4AA-4E17-CC80-E81EE0C3FDB1}"/>
              </a:ext>
            </a:extLst>
          </p:cNvPr>
          <p:cNvSpPr>
            <a:spLocks noChangeArrowheads="1"/>
          </p:cNvSpPr>
          <p:nvPr>
            <p:custDataLst>
              <p:tags r:id="rId2"/>
            </p:custDataLst>
          </p:nvPr>
        </p:nvSpPr>
        <p:spPr bwMode="gray">
          <a:xfrm>
            <a:off x="4873625" y="1912938"/>
            <a:ext cx="4530725" cy="2073275"/>
          </a:xfrm>
          <a:prstGeom prst="rect">
            <a:avLst/>
          </a:prstGeom>
          <a:solidFill>
            <a:srgbClr val="D2E6FE"/>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00566" tIns="50283" rIns="100566" bIns="50283"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lnSpc>
                <a:spcPts val="2000"/>
              </a:lnSpc>
              <a:spcBef>
                <a:spcPct val="20000"/>
              </a:spcBef>
            </a:pPr>
            <a:endParaRPr lang="de-CH" altLang="de-DE" sz="1600" dirty="0">
              <a:latin typeface="Frutiger for ZKB Light" panose="020B0303030504020204" pitchFamily="34" charset="0"/>
            </a:endParaRPr>
          </a:p>
        </p:txBody>
      </p:sp>
      <p:cxnSp>
        <p:nvCxnSpPr>
          <p:cNvPr id="15" name="Gerader Verbinder 14">
            <a:extLst>
              <a:ext uri="{FF2B5EF4-FFF2-40B4-BE49-F238E27FC236}">
                <a16:creationId xmlns:a16="http://schemas.microsoft.com/office/drawing/2014/main" id="{C659E9B4-BA45-3AD5-2169-AD0F870F82C4}"/>
              </a:ext>
            </a:extLst>
          </p:cNvPr>
          <p:cNvCxnSpPr>
            <a:cxnSpLocks/>
          </p:cNvCxnSpPr>
          <p:nvPr/>
        </p:nvCxnSpPr>
        <p:spPr>
          <a:xfrm>
            <a:off x="306388" y="3986213"/>
            <a:ext cx="9097962" cy="0"/>
          </a:xfrm>
          <a:prstGeom prst="line">
            <a:avLst/>
          </a:prstGeom>
          <a:ln w="12700" cmpd="sng">
            <a:solidFill>
              <a:srgbClr val="003CB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17475D8F-8891-A694-01F8-9AD81653FD9D}"/>
              </a:ext>
            </a:extLst>
          </p:cNvPr>
          <p:cNvCxnSpPr>
            <a:cxnSpLocks/>
          </p:cNvCxnSpPr>
          <p:nvPr/>
        </p:nvCxnSpPr>
        <p:spPr>
          <a:xfrm flipV="1">
            <a:off x="4873625" y="1912938"/>
            <a:ext cx="0" cy="4440237"/>
          </a:xfrm>
          <a:prstGeom prst="line">
            <a:avLst/>
          </a:prstGeom>
          <a:ln w="12700" cmpd="sng">
            <a:solidFill>
              <a:srgbClr val="003CB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Inhaltsplatzhalter 6">
            <a:extLst>
              <a:ext uri="{FF2B5EF4-FFF2-40B4-BE49-F238E27FC236}">
                <a16:creationId xmlns:a16="http://schemas.microsoft.com/office/drawing/2014/main" id="{65F506A1-C6F8-772C-D678-C5D16738B88F}"/>
              </a:ext>
            </a:extLst>
          </p:cNvPr>
          <p:cNvSpPr txBox="1">
            <a:spLocks/>
          </p:cNvSpPr>
          <p:nvPr/>
        </p:nvSpPr>
        <p:spPr>
          <a:xfrm>
            <a:off x="365125" y="3648075"/>
            <a:ext cx="1217613" cy="201613"/>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sz="1400" dirty="0">
                <a:cs typeface="+mn-cs"/>
              </a:rPr>
              <a:t>Ausprägung D</a:t>
            </a:r>
            <a:endParaRPr lang="de-CH" sz="1400" dirty="0"/>
          </a:p>
        </p:txBody>
      </p:sp>
      <p:sp>
        <p:nvSpPr>
          <p:cNvPr id="27" name="Inhaltsplatzhalter 6">
            <a:extLst>
              <a:ext uri="{FF2B5EF4-FFF2-40B4-BE49-F238E27FC236}">
                <a16:creationId xmlns:a16="http://schemas.microsoft.com/office/drawing/2014/main" id="{0E21FFDC-B85F-CD9A-BDB4-182837DCF33C}"/>
              </a:ext>
            </a:extLst>
          </p:cNvPr>
          <p:cNvSpPr txBox="1">
            <a:spLocks/>
          </p:cNvSpPr>
          <p:nvPr/>
        </p:nvSpPr>
        <p:spPr>
          <a:xfrm>
            <a:off x="8083550" y="3648075"/>
            <a:ext cx="1217613" cy="201613"/>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algn="r" fontAlgn="auto">
              <a:defRPr/>
            </a:pPr>
            <a:r>
              <a:rPr lang="de-CH" sz="1400" dirty="0">
                <a:cs typeface="+mn-cs"/>
              </a:rPr>
              <a:t>Ausprägung A</a:t>
            </a:r>
            <a:endParaRPr lang="de-CH" sz="1400" dirty="0"/>
          </a:p>
        </p:txBody>
      </p:sp>
      <p:sp>
        <p:nvSpPr>
          <p:cNvPr id="29" name="Inhaltsplatzhalter 6">
            <a:extLst>
              <a:ext uri="{FF2B5EF4-FFF2-40B4-BE49-F238E27FC236}">
                <a16:creationId xmlns:a16="http://schemas.microsoft.com/office/drawing/2014/main" id="{1D615A33-85AD-4755-634D-3D042090B31E}"/>
              </a:ext>
            </a:extLst>
          </p:cNvPr>
          <p:cNvSpPr txBox="1">
            <a:spLocks/>
          </p:cNvSpPr>
          <p:nvPr/>
        </p:nvSpPr>
        <p:spPr>
          <a:xfrm>
            <a:off x="3295650" y="4770438"/>
            <a:ext cx="1217613" cy="203200"/>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b="1" dirty="0">
                <a:cs typeface="+mn-cs"/>
              </a:rPr>
              <a:t>Produkt 1</a:t>
            </a:r>
            <a:endParaRPr lang="de-CH" b="1" dirty="0"/>
          </a:p>
        </p:txBody>
      </p:sp>
      <p:sp>
        <p:nvSpPr>
          <p:cNvPr id="99340" name="Ellipse 29">
            <a:extLst>
              <a:ext uri="{FF2B5EF4-FFF2-40B4-BE49-F238E27FC236}">
                <a16:creationId xmlns:a16="http://schemas.microsoft.com/office/drawing/2014/main" id="{A796BF8F-2DC2-415D-7FCA-E9A1127D49EF}"/>
              </a:ext>
            </a:extLst>
          </p:cNvPr>
          <p:cNvSpPr>
            <a:spLocks noChangeArrowheads="1"/>
          </p:cNvSpPr>
          <p:nvPr/>
        </p:nvSpPr>
        <p:spPr bwMode="auto">
          <a:xfrm>
            <a:off x="6784975" y="2844800"/>
            <a:ext cx="338138" cy="338138"/>
          </a:xfrm>
          <a:prstGeom prst="ellipse">
            <a:avLst/>
          </a:prstGeom>
          <a:solidFill>
            <a:schemeClr val="tx1"/>
          </a:solidFill>
          <a:ln>
            <a:noFill/>
          </a:ln>
          <a:extLst>
            <a:ext uri="{91240B29-F687-4F45-9708-019B960494DF}">
              <a14:hiddenLine xmlns:a14="http://schemas.microsoft.com/office/drawing/2010/main" w="28575"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99341" name="Ellipse 30">
            <a:extLst>
              <a:ext uri="{FF2B5EF4-FFF2-40B4-BE49-F238E27FC236}">
                <a16:creationId xmlns:a16="http://schemas.microsoft.com/office/drawing/2014/main" id="{8B8E8E2F-2C14-873D-393E-2B985AEDF6A5}"/>
              </a:ext>
            </a:extLst>
          </p:cNvPr>
          <p:cNvSpPr>
            <a:spLocks noChangeArrowheads="1"/>
          </p:cNvSpPr>
          <p:nvPr/>
        </p:nvSpPr>
        <p:spPr bwMode="auto">
          <a:xfrm>
            <a:off x="6272213" y="5400675"/>
            <a:ext cx="338137" cy="338138"/>
          </a:xfrm>
          <a:prstGeom prst="ellipse">
            <a:avLst/>
          </a:prstGeom>
          <a:solidFill>
            <a:schemeClr val="tx1"/>
          </a:solidFill>
          <a:ln>
            <a:noFill/>
          </a:ln>
          <a:extLst>
            <a:ext uri="{91240B29-F687-4F45-9708-019B960494DF}">
              <a14:hiddenLine xmlns:a14="http://schemas.microsoft.com/office/drawing/2010/main" w="28575" algn="ctr">
                <a:solidFill>
                  <a:srgbClr val="003CB4"/>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99342" name="Ellipse 31">
            <a:extLst>
              <a:ext uri="{FF2B5EF4-FFF2-40B4-BE49-F238E27FC236}">
                <a16:creationId xmlns:a16="http://schemas.microsoft.com/office/drawing/2014/main" id="{FBA0623C-190D-907B-4424-4333C061DA9C}"/>
              </a:ext>
            </a:extLst>
          </p:cNvPr>
          <p:cNvSpPr>
            <a:spLocks noChangeArrowheads="1"/>
          </p:cNvSpPr>
          <p:nvPr/>
        </p:nvSpPr>
        <p:spPr bwMode="auto">
          <a:xfrm>
            <a:off x="2776538" y="4729163"/>
            <a:ext cx="338137" cy="338137"/>
          </a:xfrm>
          <a:prstGeom prst="ellipse">
            <a:avLst/>
          </a:prstGeom>
          <a:solidFill>
            <a:schemeClr val="tx1"/>
          </a:solidFill>
          <a:ln>
            <a:noFill/>
          </a:ln>
          <a:extLst>
            <a:ext uri="{91240B29-F687-4F45-9708-019B960494DF}">
              <a14:hiddenLine xmlns:a14="http://schemas.microsoft.com/office/drawing/2010/main" w="28575" algn="ctr">
                <a:solidFill>
                  <a:srgbClr val="003CB4"/>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99343" name="Ellipse 32">
            <a:extLst>
              <a:ext uri="{FF2B5EF4-FFF2-40B4-BE49-F238E27FC236}">
                <a16:creationId xmlns:a16="http://schemas.microsoft.com/office/drawing/2014/main" id="{03F4462E-55DC-668C-99EC-2BA38B9FF2A0}"/>
              </a:ext>
            </a:extLst>
          </p:cNvPr>
          <p:cNvSpPr>
            <a:spLocks noChangeArrowheads="1"/>
          </p:cNvSpPr>
          <p:nvPr/>
        </p:nvSpPr>
        <p:spPr bwMode="auto">
          <a:xfrm>
            <a:off x="2822575" y="2836863"/>
            <a:ext cx="338138" cy="338137"/>
          </a:xfrm>
          <a:prstGeom prst="ellipse">
            <a:avLst/>
          </a:prstGeom>
          <a:solidFill>
            <a:schemeClr val="tx1"/>
          </a:solidFill>
          <a:ln>
            <a:noFill/>
          </a:ln>
          <a:extLst>
            <a:ext uri="{91240B29-F687-4F45-9708-019B960494DF}">
              <a14:hiddenLine xmlns:a14="http://schemas.microsoft.com/office/drawing/2010/main" w="28575" algn="ctr">
                <a:solidFill>
                  <a:srgbClr val="003CB4"/>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34" name="Inhaltsplatzhalter 6">
            <a:extLst>
              <a:ext uri="{FF2B5EF4-FFF2-40B4-BE49-F238E27FC236}">
                <a16:creationId xmlns:a16="http://schemas.microsoft.com/office/drawing/2014/main" id="{0E485FAB-F0A3-47D1-B9CB-047A4E57A6FB}"/>
              </a:ext>
            </a:extLst>
          </p:cNvPr>
          <p:cNvSpPr txBox="1">
            <a:spLocks/>
          </p:cNvSpPr>
          <p:nvPr/>
        </p:nvSpPr>
        <p:spPr>
          <a:xfrm>
            <a:off x="8083550" y="6135688"/>
            <a:ext cx="1217613" cy="203200"/>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algn="r" fontAlgn="auto">
              <a:defRPr/>
            </a:pPr>
            <a:r>
              <a:rPr lang="de-CH" sz="1400" dirty="0">
                <a:cs typeface="+mn-cs"/>
              </a:rPr>
              <a:t>Ausprägung B</a:t>
            </a:r>
            <a:endParaRPr lang="de-CH" sz="1400" dirty="0"/>
          </a:p>
        </p:txBody>
      </p:sp>
      <p:sp>
        <p:nvSpPr>
          <p:cNvPr id="35" name="Inhaltsplatzhalter 6">
            <a:extLst>
              <a:ext uri="{FF2B5EF4-FFF2-40B4-BE49-F238E27FC236}">
                <a16:creationId xmlns:a16="http://schemas.microsoft.com/office/drawing/2014/main" id="{5658F799-710C-4C1F-F922-A2A8345A05CD}"/>
              </a:ext>
            </a:extLst>
          </p:cNvPr>
          <p:cNvSpPr txBox="1">
            <a:spLocks/>
          </p:cNvSpPr>
          <p:nvPr/>
        </p:nvSpPr>
        <p:spPr>
          <a:xfrm>
            <a:off x="365125" y="6135688"/>
            <a:ext cx="1217613" cy="203200"/>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algn="r" fontAlgn="auto">
              <a:defRPr/>
            </a:pPr>
            <a:r>
              <a:rPr lang="de-CH" sz="1400" dirty="0">
                <a:cs typeface="+mn-cs"/>
              </a:rPr>
              <a:t>Ausprägung C</a:t>
            </a:r>
            <a:endParaRPr lang="de-CH" sz="1400" dirty="0"/>
          </a:p>
        </p:txBody>
      </p:sp>
      <p:sp>
        <p:nvSpPr>
          <p:cNvPr id="36" name="Inhaltsplatzhalter 6">
            <a:extLst>
              <a:ext uri="{FF2B5EF4-FFF2-40B4-BE49-F238E27FC236}">
                <a16:creationId xmlns:a16="http://schemas.microsoft.com/office/drawing/2014/main" id="{CAF07E31-64CE-C780-0765-0B3488F21B9F}"/>
              </a:ext>
            </a:extLst>
          </p:cNvPr>
          <p:cNvSpPr txBox="1">
            <a:spLocks/>
          </p:cNvSpPr>
          <p:nvPr/>
        </p:nvSpPr>
        <p:spPr>
          <a:xfrm>
            <a:off x="3341688" y="2882900"/>
            <a:ext cx="1217612" cy="203200"/>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b="1" dirty="0">
                <a:cs typeface="+mn-cs"/>
              </a:rPr>
              <a:t>Produkt 2</a:t>
            </a:r>
            <a:endParaRPr lang="de-CH" b="1" dirty="0"/>
          </a:p>
        </p:txBody>
      </p:sp>
      <p:sp>
        <p:nvSpPr>
          <p:cNvPr id="37" name="Inhaltsplatzhalter 6">
            <a:extLst>
              <a:ext uri="{FF2B5EF4-FFF2-40B4-BE49-F238E27FC236}">
                <a16:creationId xmlns:a16="http://schemas.microsoft.com/office/drawing/2014/main" id="{302B414F-A705-FDAB-CF9F-8EBCE2C9C3FC}"/>
              </a:ext>
            </a:extLst>
          </p:cNvPr>
          <p:cNvSpPr txBox="1">
            <a:spLocks/>
          </p:cNvSpPr>
          <p:nvPr/>
        </p:nvSpPr>
        <p:spPr>
          <a:xfrm>
            <a:off x="7277100" y="2874963"/>
            <a:ext cx="1217613" cy="201612"/>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b="1" dirty="0">
                <a:cs typeface="+mn-cs"/>
              </a:rPr>
              <a:t>Produkt 3</a:t>
            </a:r>
            <a:endParaRPr lang="de-CH" b="1" dirty="0"/>
          </a:p>
        </p:txBody>
      </p:sp>
      <p:sp>
        <p:nvSpPr>
          <p:cNvPr id="38" name="Inhaltsplatzhalter 6">
            <a:extLst>
              <a:ext uri="{FF2B5EF4-FFF2-40B4-BE49-F238E27FC236}">
                <a16:creationId xmlns:a16="http://schemas.microsoft.com/office/drawing/2014/main" id="{88194516-B25F-9067-4A95-CC7126C4956D}"/>
              </a:ext>
            </a:extLst>
          </p:cNvPr>
          <p:cNvSpPr txBox="1">
            <a:spLocks/>
          </p:cNvSpPr>
          <p:nvPr/>
        </p:nvSpPr>
        <p:spPr>
          <a:xfrm>
            <a:off x="6770688" y="5443538"/>
            <a:ext cx="1217612" cy="203200"/>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b="1" dirty="0">
                <a:cs typeface="+mn-cs"/>
              </a:rPr>
              <a:t>Produkt 4</a:t>
            </a:r>
            <a:endParaRPr lang="de-CH" b="1" dirty="0"/>
          </a:p>
        </p:txBody>
      </p:sp>
      <p:sp>
        <p:nvSpPr>
          <p:cNvPr id="7" name="Inhaltsplatzhalter 16">
            <a:extLst>
              <a:ext uri="{FF2B5EF4-FFF2-40B4-BE49-F238E27FC236}">
                <a16:creationId xmlns:a16="http://schemas.microsoft.com/office/drawing/2014/main" id="{18312660-CD54-68DC-6B6F-76F0E7838722}"/>
              </a:ext>
            </a:extLst>
          </p:cNvPr>
          <p:cNvSpPr txBox="1">
            <a:spLocks/>
          </p:cNvSpPr>
          <p:nvPr/>
        </p:nvSpPr>
        <p:spPr>
          <a:xfrm>
            <a:off x="10079038" y="1885950"/>
            <a:ext cx="2470150" cy="4748213"/>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dirty="0"/>
              <a:t>Lorem ipsum dolor sit amet, consectetur adipiscing elit, sed do eiusmod tempor incididunt ut labore et dolore magna aliqua. Ut enim ad minim veniam, quis nostrud </a:t>
            </a:r>
          </a:p>
          <a:p>
            <a:pPr fontAlgn="auto">
              <a:defRPr/>
            </a:pPr>
            <a:endParaRPr lang="de-CH" dirty="0"/>
          </a:p>
          <a:p>
            <a:pPr fontAlgn="auto">
              <a:defRPr/>
            </a:pPr>
            <a:r>
              <a:rPr lang="de-CH" dirty="0"/>
              <a:t>Exercitation ullamco laboris </a:t>
            </a:r>
            <a:br>
              <a:rPr lang="de-CH" dirty="0"/>
            </a:br>
            <a:r>
              <a:rPr lang="de-CH" dirty="0"/>
              <a:t>nisi ut aliquip ex ea commodo consequat. Duis aute irure dolor in reprehenderit in voluptate velit esse.</a:t>
            </a:r>
            <a:endParaRPr lang="de-CH" dirty="0">
              <a:solidFill>
                <a:schemeClr val="accent3"/>
              </a:solidFill>
            </a:endParaRPr>
          </a:p>
          <a:p>
            <a:pPr fontAlgn="auto">
              <a:defRPr/>
            </a:pPr>
            <a:r>
              <a:rPr lang="de-CH" dirty="0"/>
              <a:t>exercitation ullamco laboris nisi ut aliquip ex ea commodo consequat. Duis aute irure dolor in.</a:t>
            </a: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354" name="think-cell data - do not delete" hidden="1">
            <a:extLst>
              <a:ext uri="{FF2B5EF4-FFF2-40B4-BE49-F238E27FC236}">
                <a16:creationId xmlns:a16="http://schemas.microsoft.com/office/drawing/2014/main" id="{C8B06006-18E1-E7C6-76EE-D5BDCE8F283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00354" name="think-cell data - do not delete" hidden="1">
                        <a:extLst>
                          <a:ext uri="{FF2B5EF4-FFF2-40B4-BE49-F238E27FC236}">
                            <a16:creationId xmlns:a16="http://schemas.microsoft.com/office/drawing/2014/main" id="{C8B06006-18E1-E7C6-76EE-D5BDCE8F28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D6497120-428F-20DA-6EE7-BD6D09E7283F}"/>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Text 2 Spalten mit Pros und Cons</a:t>
            </a:r>
          </a:p>
        </p:txBody>
      </p:sp>
      <p:sp>
        <p:nvSpPr>
          <p:cNvPr id="100356" name="Foliennummernplatzhalter 11">
            <a:extLst>
              <a:ext uri="{FF2B5EF4-FFF2-40B4-BE49-F238E27FC236}">
                <a16:creationId xmlns:a16="http://schemas.microsoft.com/office/drawing/2014/main" id="{A05EDAFD-25DC-9E57-B385-CF210D86F787}"/>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69</a:t>
            </a:fld>
            <a:endParaRPr lang="de-CH" altLang="de-DE" sz="1100" dirty="0">
              <a:solidFill>
                <a:srgbClr val="003CB4"/>
              </a:solidFill>
            </a:endParaRPr>
          </a:p>
        </p:txBody>
      </p:sp>
      <p:sp>
        <p:nvSpPr>
          <p:cNvPr id="100357" name="Fußzeilenplatzhalter 9">
            <a:extLst>
              <a:ext uri="{FF2B5EF4-FFF2-40B4-BE49-F238E27FC236}">
                <a16:creationId xmlns:a16="http://schemas.microsoft.com/office/drawing/2014/main" id="{6AE50A32-9E58-57DC-1329-DB5B40623575}"/>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4" name="Inhaltsplatzhalter 13">
            <a:extLst>
              <a:ext uri="{FF2B5EF4-FFF2-40B4-BE49-F238E27FC236}">
                <a16:creationId xmlns:a16="http://schemas.microsoft.com/office/drawing/2014/main" id="{49D2C8C9-A0E2-7728-A6E3-92960D335BBE}"/>
              </a:ext>
            </a:extLst>
          </p:cNvPr>
          <p:cNvSpPr>
            <a:spLocks noGrp="1"/>
          </p:cNvSpPr>
          <p:nvPr>
            <p:ph idx="12"/>
          </p:nvPr>
        </p:nvSpPr>
        <p:spPr>
          <a:xfrm>
            <a:off x="306388" y="1885950"/>
            <a:ext cx="5976937" cy="4748213"/>
          </a:xfrm>
        </p:spPr>
        <p:txBody>
          <a:bodyPr rtlCol="0"/>
          <a:lstStyle/>
          <a:p>
            <a:pPr eaLnBrk="1" fontAlgn="auto" hangingPunct="1">
              <a:defRPr/>
            </a:pPr>
            <a:r>
              <a:rPr lang="de-CH" sz="2800" b="1" dirty="0">
                <a:cs typeface="+mn-cs"/>
              </a:rPr>
              <a:t>Überschrift</a:t>
            </a:r>
          </a:p>
          <a:p>
            <a:pPr eaLnBrk="1" fontAlgn="auto" hangingPunct="1">
              <a:defRPr/>
            </a:pPr>
            <a:endParaRPr lang="de-CH" dirty="0"/>
          </a:p>
          <a:p>
            <a:pPr eaLnBrk="1" fontAlgn="auto" hangingPunct="1">
              <a:defRPr/>
            </a:pPr>
            <a:r>
              <a:rPr lang="de-CH" dirty="0"/>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a:t>
            </a:r>
            <a:endParaRPr lang="de-CH" dirty="0">
              <a:solidFill>
                <a:schemeClr val="accent3"/>
              </a:solidFill>
            </a:endParaRPr>
          </a:p>
          <a:p>
            <a:pPr eaLnBrk="1" fontAlgn="auto" hangingPunct="1">
              <a:defRPr/>
            </a:pPr>
            <a:endParaRPr lang="de-CH" dirty="0"/>
          </a:p>
        </p:txBody>
      </p:sp>
      <p:sp>
        <p:nvSpPr>
          <p:cNvPr id="15" name="Inhaltsplatzhalter 6">
            <a:extLst>
              <a:ext uri="{FF2B5EF4-FFF2-40B4-BE49-F238E27FC236}">
                <a16:creationId xmlns:a16="http://schemas.microsoft.com/office/drawing/2014/main" id="{35026B6C-4FE3-004E-F251-9C94B9BE4596}"/>
              </a:ext>
            </a:extLst>
          </p:cNvPr>
          <p:cNvSpPr txBox="1">
            <a:spLocks/>
          </p:cNvSpPr>
          <p:nvPr/>
        </p:nvSpPr>
        <p:spPr>
          <a:xfrm>
            <a:off x="7364413" y="1887538"/>
            <a:ext cx="5113337" cy="2160587"/>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sz="2000" b="1" dirty="0">
                <a:cs typeface="+mn-cs"/>
              </a:rPr>
              <a:t>Pros (optionale Überschrift)</a:t>
            </a:r>
          </a:p>
          <a:p>
            <a:pPr fontAlgn="auto">
              <a:defRPr/>
            </a:pPr>
            <a:endParaRPr lang="de-CH" dirty="0"/>
          </a:p>
          <a:p>
            <a:pPr marL="285750" indent="-285750" fontAlgn="auto">
              <a:buFont typeface="Frutiger for ZKB Light" panose="020B0303030504020204" pitchFamily="34" charset="0"/>
              <a:buChar char="–"/>
              <a:defRPr/>
            </a:pPr>
            <a:r>
              <a:rPr lang="de-CH" dirty="0"/>
              <a:t>Lorem ipsum dolor sit amet, consectetur adipiscing elit, sed do eiusmod tempor incididunt ut labore et</a:t>
            </a:r>
          </a:p>
          <a:p>
            <a:pPr marL="285750" indent="-285750" fontAlgn="auto">
              <a:buFont typeface="Frutiger for ZKB Light" panose="020B0303030504020204" pitchFamily="34" charset="0"/>
              <a:buChar char="–"/>
              <a:defRPr/>
            </a:pPr>
            <a:r>
              <a:rPr lang="de-CH" dirty="0"/>
              <a:t>dolore magna aliqua. Ut enim ad minim veniam, quis nostrud exercitation ullamco laboris nisi ut aliquip ex</a:t>
            </a:r>
          </a:p>
          <a:p>
            <a:pPr marL="285750" indent="-285750" fontAlgn="auto">
              <a:buFont typeface="Frutiger for ZKB Light" panose="020B0303030504020204" pitchFamily="34" charset="0"/>
              <a:buChar char="–"/>
              <a:defRPr/>
            </a:pPr>
            <a:r>
              <a:rPr lang="de-CH" dirty="0"/>
              <a:t>ea commodo consequat. Duis aute irure dolor in reprehenderit in voluptate velit esse.</a:t>
            </a:r>
            <a:endParaRPr lang="de-CH" dirty="0">
              <a:solidFill>
                <a:schemeClr val="accent3"/>
              </a:solidFill>
            </a:endParaRPr>
          </a:p>
        </p:txBody>
      </p:sp>
      <p:sp>
        <p:nvSpPr>
          <p:cNvPr id="16" name="Inhaltsplatzhalter 6">
            <a:extLst>
              <a:ext uri="{FF2B5EF4-FFF2-40B4-BE49-F238E27FC236}">
                <a16:creationId xmlns:a16="http://schemas.microsoft.com/office/drawing/2014/main" id="{7E8E0F13-4D69-87A8-FF64-4F2C574FC06C}"/>
              </a:ext>
            </a:extLst>
          </p:cNvPr>
          <p:cNvSpPr txBox="1">
            <a:spLocks/>
          </p:cNvSpPr>
          <p:nvPr/>
        </p:nvSpPr>
        <p:spPr>
          <a:xfrm>
            <a:off x="7364413" y="4337050"/>
            <a:ext cx="4895850" cy="2297113"/>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a:defRPr/>
            </a:pPr>
            <a:r>
              <a:rPr lang="de-CH" sz="2000" b="1" dirty="0">
                <a:cs typeface="+mn-cs"/>
              </a:rPr>
              <a:t>Cons (optionale Überschrift)</a:t>
            </a:r>
          </a:p>
          <a:p>
            <a:pPr fontAlgn="auto">
              <a:defRPr/>
            </a:pPr>
            <a:endParaRPr lang="de-CH" dirty="0"/>
          </a:p>
          <a:p>
            <a:pPr marL="285750" indent="-285750" fontAlgn="auto">
              <a:buFont typeface="Frutiger for ZKB Light" panose="020B0303030504020204" pitchFamily="34" charset="0"/>
              <a:buChar char="–"/>
              <a:defRPr/>
            </a:pPr>
            <a:r>
              <a:rPr lang="de-CH" dirty="0"/>
              <a:t>Lorem ipsum dolor sit amet, consectetur adipiscing elit, sed do eiusmod tempor incididunt ut labore et</a:t>
            </a:r>
          </a:p>
          <a:p>
            <a:pPr marL="285750" indent="-285750" fontAlgn="auto">
              <a:buFont typeface="Frutiger for ZKB Light" panose="020B0303030504020204" pitchFamily="34" charset="0"/>
              <a:buChar char="–"/>
              <a:defRPr/>
            </a:pPr>
            <a:r>
              <a:rPr lang="de-CH" dirty="0"/>
              <a:t>dolore magna aliqua. Ut enim ad minim veniam, quis nostrud exercitation ullamco laboris nisi ut aliquip ex</a:t>
            </a:r>
          </a:p>
          <a:p>
            <a:pPr marL="285750" indent="-285750" fontAlgn="auto">
              <a:buFont typeface="Frutiger for ZKB Light" panose="020B0303030504020204" pitchFamily="34" charset="0"/>
              <a:buChar char="–"/>
              <a:defRPr/>
            </a:pPr>
            <a:r>
              <a:rPr lang="de-CH" dirty="0"/>
              <a:t>ea commodo consequat. Duis aute irure dolor in reprehenderit in voluptate velit esse.</a:t>
            </a:r>
            <a:endParaRPr lang="de-CH" dirty="0">
              <a:solidFill>
                <a:schemeClr val="accent3"/>
              </a:solidFill>
            </a:endParaRPr>
          </a:p>
        </p:txBody>
      </p:sp>
      <p:pic>
        <p:nvPicPr>
          <p:cNvPr id="3" name="Grafik 2">
            <a:extLst>
              <a:ext uri="{FF2B5EF4-FFF2-40B4-BE49-F238E27FC236}">
                <a16:creationId xmlns:a16="http://schemas.microsoft.com/office/drawing/2014/main" id="{B8EC6703-A595-2770-3C12-69068F217A7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72250" y="1857666"/>
            <a:ext cx="533510" cy="533510"/>
          </a:xfrm>
          <a:prstGeom prst="rect">
            <a:avLst/>
          </a:prstGeom>
        </p:spPr>
      </p:pic>
      <p:pic>
        <p:nvPicPr>
          <p:cNvPr id="4" name="Grafik 3">
            <a:extLst>
              <a:ext uri="{FF2B5EF4-FFF2-40B4-BE49-F238E27FC236}">
                <a16:creationId xmlns:a16="http://schemas.microsoft.com/office/drawing/2014/main" id="{9397F828-9C7C-C623-433F-68C88C47ABE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69707" y="4267318"/>
            <a:ext cx="533510" cy="533510"/>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26" name="think-cell data - do not delete" hidden="1">
            <a:extLst>
              <a:ext uri="{FF2B5EF4-FFF2-40B4-BE49-F238E27FC236}">
                <a16:creationId xmlns:a16="http://schemas.microsoft.com/office/drawing/2014/main" id="{428995E9-62B9-33E5-C28B-E410A88E6E9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26626" name="think-cell data - do not delete" hidden="1">
                        <a:extLst>
                          <a:ext uri="{FF2B5EF4-FFF2-40B4-BE49-F238E27FC236}">
                            <a16:creationId xmlns:a16="http://schemas.microsoft.com/office/drawing/2014/main" id="{428995E9-62B9-33E5-C28B-E410A88E6E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8ED0BAB9-7B9D-B7D6-C06E-F49728DBE497}"/>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Programm</a:t>
            </a:r>
          </a:p>
        </p:txBody>
      </p:sp>
      <p:sp>
        <p:nvSpPr>
          <p:cNvPr id="26628" name="Foliennummernplatzhalter 11">
            <a:extLst>
              <a:ext uri="{FF2B5EF4-FFF2-40B4-BE49-F238E27FC236}">
                <a16:creationId xmlns:a16="http://schemas.microsoft.com/office/drawing/2014/main" id="{461D2846-16E4-B7A1-67C0-E65E3E7DBAFA}"/>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82316C5C-BEF0-4ADD-97CE-FAB0EBF99131}" type="slidenum">
              <a:rPr lang="de-CH" altLang="de-DE" sz="1100" smtClean="0">
                <a:solidFill>
                  <a:srgbClr val="003CB4"/>
                </a:solidFill>
                <a:latin typeface="Frutiger for ZKB Light" panose="020B0303030504020204" pitchFamily="34" charset="0"/>
              </a:rPr>
              <a:pPr>
                <a:spcBef>
                  <a:spcPct val="0"/>
                </a:spcBef>
                <a:spcAft>
                  <a:spcPct val="0"/>
                </a:spcAft>
              </a:pPr>
              <a:t>7</a:t>
            </a:fld>
            <a:endParaRPr lang="de-CH" altLang="de-DE" sz="1100" dirty="0">
              <a:solidFill>
                <a:srgbClr val="003CB4"/>
              </a:solidFill>
              <a:latin typeface="Frutiger for ZKB Light" panose="020B0303030504020204" pitchFamily="34" charset="0"/>
            </a:endParaRPr>
          </a:p>
        </p:txBody>
      </p:sp>
      <p:sp>
        <p:nvSpPr>
          <p:cNvPr id="26629" name="Fußzeilenplatzhalter 9">
            <a:extLst>
              <a:ext uri="{FF2B5EF4-FFF2-40B4-BE49-F238E27FC236}">
                <a16:creationId xmlns:a16="http://schemas.microsoft.com/office/drawing/2014/main" id="{1B98B9FC-E2CB-19D2-CB67-3AF4A87EF573}"/>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grpSp>
        <p:nvGrpSpPr>
          <p:cNvPr id="26630" name="Gruppieren 77">
            <a:extLst>
              <a:ext uri="{FF2B5EF4-FFF2-40B4-BE49-F238E27FC236}">
                <a16:creationId xmlns:a16="http://schemas.microsoft.com/office/drawing/2014/main" id="{D07C3F9D-35F3-8978-837D-5516B8B501E9}"/>
              </a:ext>
            </a:extLst>
          </p:cNvPr>
          <p:cNvGrpSpPr>
            <a:grpSpLocks/>
          </p:cNvGrpSpPr>
          <p:nvPr/>
        </p:nvGrpSpPr>
        <p:grpSpPr bwMode="auto">
          <a:xfrm>
            <a:off x="319088" y="1828800"/>
            <a:ext cx="12184062" cy="676275"/>
            <a:chOff x="319807" y="1828401"/>
            <a:chExt cx="12183713" cy="677108"/>
          </a:xfrm>
        </p:grpSpPr>
        <p:sp>
          <p:nvSpPr>
            <p:cNvPr id="26651" name="Textfeld 10">
              <a:extLst>
                <a:ext uri="{FF2B5EF4-FFF2-40B4-BE49-F238E27FC236}">
                  <a16:creationId xmlns:a16="http://schemas.microsoft.com/office/drawing/2014/main" id="{01028675-F059-92D4-8DB2-CA876FA9D86D}"/>
                </a:ext>
              </a:extLst>
            </p:cNvPr>
            <p:cNvSpPr txBox="1">
              <a:spLocks noChangeArrowheads="1"/>
            </p:cNvSpPr>
            <p:nvPr/>
          </p:nvSpPr>
          <p:spPr bwMode="auto">
            <a:xfrm>
              <a:off x="10487405" y="1920724"/>
              <a:ext cx="2016115"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latin typeface="Frutiger for ZKB Light" panose="020B0303030504020204" pitchFamily="34" charset="0"/>
                </a:rPr>
                <a:t>8.30–10.45 Uhr</a:t>
              </a:r>
            </a:p>
          </p:txBody>
        </p:sp>
        <p:sp>
          <p:nvSpPr>
            <p:cNvPr id="26652" name="Textplatzhalter 2">
              <a:extLst>
                <a:ext uri="{FF2B5EF4-FFF2-40B4-BE49-F238E27FC236}">
                  <a16:creationId xmlns:a16="http://schemas.microsoft.com/office/drawing/2014/main" id="{0614BBD3-8359-241B-BA8E-A7AE883A4AC5}"/>
                </a:ext>
              </a:extLst>
            </p:cNvPr>
            <p:cNvSpPr txBox="1">
              <a:spLocks/>
            </p:cNvSpPr>
            <p:nvPr/>
          </p:nvSpPr>
          <p:spPr bwMode="auto">
            <a:xfrm>
              <a:off x="319807" y="1828401"/>
              <a:ext cx="633199" cy="6771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r" eaLnBrk="1" hangingPunct="1">
                <a:buClrTx/>
                <a:buFontTx/>
                <a:buNone/>
              </a:pPr>
              <a:r>
                <a:rPr lang="de-CH" altLang="de-DE" sz="4400" b="1" dirty="0">
                  <a:solidFill>
                    <a:schemeClr val="tx1"/>
                  </a:solidFill>
                </a:rPr>
                <a:t>1</a:t>
              </a:r>
            </a:p>
          </p:txBody>
        </p:sp>
        <p:sp>
          <p:nvSpPr>
            <p:cNvPr id="26653" name="Textfeld 16">
              <a:extLst>
                <a:ext uri="{FF2B5EF4-FFF2-40B4-BE49-F238E27FC236}">
                  <a16:creationId xmlns:a16="http://schemas.microsoft.com/office/drawing/2014/main" id="{00544421-5760-16F9-A6D1-FA19645FAEB3}"/>
                </a:ext>
              </a:extLst>
            </p:cNvPr>
            <p:cNvSpPr txBox="1">
              <a:spLocks noChangeArrowheads="1"/>
            </p:cNvSpPr>
            <p:nvPr/>
          </p:nvSpPr>
          <p:spPr bwMode="auto">
            <a:xfrm>
              <a:off x="6593685" y="1920724"/>
              <a:ext cx="3362494"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latin typeface="Frutiger for ZKB Light" panose="020B0303030504020204" pitchFamily="34" charset="0"/>
                </a:rPr>
                <a:t>Vorname Nachname</a:t>
              </a:r>
            </a:p>
          </p:txBody>
        </p:sp>
        <p:sp>
          <p:nvSpPr>
            <p:cNvPr id="26654" name="Textfeld 4">
              <a:extLst>
                <a:ext uri="{FF2B5EF4-FFF2-40B4-BE49-F238E27FC236}">
                  <a16:creationId xmlns:a16="http://schemas.microsoft.com/office/drawing/2014/main" id="{9861B8B6-25F2-4803-328A-615B6DEB7A5D}"/>
                </a:ext>
              </a:extLst>
            </p:cNvPr>
            <p:cNvSpPr txBox="1">
              <a:spLocks noChangeArrowheads="1"/>
            </p:cNvSpPr>
            <p:nvPr/>
          </p:nvSpPr>
          <p:spPr bwMode="auto">
            <a:xfrm>
              <a:off x="1282708" y="1920724"/>
              <a:ext cx="4979181" cy="5423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Lorem ipsum dolor</a:t>
              </a:r>
            </a:p>
          </p:txBody>
        </p:sp>
      </p:grpSp>
      <p:grpSp>
        <p:nvGrpSpPr>
          <p:cNvPr id="26631" name="Gruppieren 78">
            <a:extLst>
              <a:ext uri="{FF2B5EF4-FFF2-40B4-BE49-F238E27FC236}">
                <a16:creationId xmlns:a16="http://schemas.microsoft.com/office/drawing/2014/main" id="{7AB837AE-01A1-C0AB-FA21-48C3CCFC48DF}"/>
              </a:ext>
            </a:extLst>
          </p:cNvPr>
          <p:cNvGrpSpPr>
            <a:grpSpLocks/>
          </p:cNvGrpSpPr>
          <p:nvPr/>
        </p:nvGrpSpPr>
        <p:grpSpPr bwMode="auto">
          <a:xfrm>
            <a:off x="319088" y="2771775"/>
            <a:ext cx="12184062" cy="677863"/>
            <a:chOff x="319807" y="2735977"/>
            <a:chExt cx="12183713" cy="677108"/>
          </a:xfrm>
        </p:grpSpPr>
        <p:sp>
          <p:nvSpPr>
            <p:cNvPr id="26647" name="Textfeld 50">
              <a:extLst>
                <a:ext uri="{FF2B5EF4-FFF2-40B4-BE49-F238E27FC236}">
                  <a16:creationId xmlns:a16="http://schemas.microsoft.com/office/drawing/2014/main" id="{BA2B3988-0FA2-1889-0422-4807F3E1C8AE}"/>
                </a:ext>
              </a:extLst>
            </p:cNvPr>
            <p:cNvSpPr txBox="1">
              <a:spLocks noChangeArrowheads="1"/>
            </p:cNvSpPr>
            <p:nvPr/>
          </p:nvSpPr>
          <p:spPr bwMode="auto">
            <a:xfrm>
              <a:off x="10487405" y="2828300"/>
              <a:ext cx="2016115"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latin typeface="Frutiger for ZKB Light" panose="020B0303030504020204" pitchFamily="34" charset="0"/>
                </a:rPr>
                <a:t>8.30–10.45 Uhr</a:t>
              </a:r>
            </a:p>
          </p:txBody>
        </p:sp>
        <p:sp>
          <p:nvSpPr>
            <p:cNvPr id="26648" name="Textplatzhalter 2">
              <a:extLst>
                <a:ext uri="{FF2B5EF4-FFF2-40B4-BE49-F238E27FC236}">
                  <a16:creationId xmlns:a16="http://schemas.microsoft.com/office/drawing/2014/main" id="{7857B61C-D02E-36D3-A79A-6CD5EC8F4869}"/>
                </a:ext>
              </a:extLst>
            </p:cNvPr>
            <p:cNvSpPr txBox="1">
              <a:spLocks/>
            </p:cNvSpPr>
            <p:nvPr/>
          </p:nvSpPr>
          <p:spPr bwMode="auto">
            <a:xfrm>
              <a:off x="319807" y="2735977"/>
              <a:ext cx="633199" cy="6771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r" eaLnBrk="1" hangingPunct="1">
                <a:buClrTx/>
                <a:buFontTx/>
                <a:buNone/>
              </a:pPr>
              <a:r>
                <a:rPr lang="de-CH" altLang="de-DE" sz="4400" b="1" dirty="0">
                  <a:solidFill>
                    <a:schemeClr val="tx1"/>
                  </a:solidFill>
                </a:rPr>
                <a:t>2</a:t>
              </a:r>
            </a:p>
          </p:txBody>
        </p:sp>
        <p:sp>
          <p:nvSpPr>
            <p:cNvPr id="26649" name="Textfeld 51">
              <a:extLst>
                <a:ext uri="{FF2B5EF4-FFF2-40B4-BE49-F238E27FC236}">
                  <a16:creationId xmlns:a16="http://schemas.microsoft.com/office/drawing/2014/main" id="{32E6D5DB-CA1F-AF8D-5F29-188C63C0BB2C}"/>
                </a:ext>
              </a:extLst>
            </p:cNvPr>
            <p:cNvSpPr txBox="1">
              <a:spLocks noChangeArrowheads="1"/>
            </p:cNvSpPr>
            <p:nvPr/>
          </p:nvSpPr>
          <p:spPr bwMode="auto">
            <a:xfrm>
              <a:off x="6593685" y="2828300"/>
              <a:ext cx="3362494"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latin typeface="Frutiger for ZKB Light" panose="020B0303030504020204" pitchFamily="34" charset="0"/>
                </a:rPr>
                <a:t>Vorname Nachname</a:t>
              </a:r>
            </a:p>
          </p:txBody>
        </p:sp>
        <p:sp>
          <p:nvSpPr>
            <p:cNvPr id="26650" name="Textfeld 52">
              <a:extLst>
                <a:ext uri="{FF2B5EF4-FFF2-40B4-BE49-F238E27FC236}">
                  <a16:creationId xmlns:a16="http://schemas.microsoft.com/office/drawing/2014/main" id="{0441B9F4-6888-E3BD-DF90-78B665E135CE}"/>
                </a:ext>
              </a:extLst>
            </p:cNvPr>
            <p:cNvSpPr txBox="1">
              <a:spLocks noChangeArrowheads="1"/>
            </p:cNvSpPr>
            <p:nvPr/>
          </p:nvSpPr>
          <p:spPr bwMode="auto">
            <a:xfrm>
              <a:off x="1282708" y="2828300"/>
              <a:ext cx="4979181" cy="5410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Lorem ipsum dolor</a:t>
              </a:r>
            </a:p>
          </p:txBody>
        </p:sp>
      </p:grpSp>
      <p:grpSp>
        <p:nvGrpSpPr>
          <p:cNvPr id="26632" name="Gruppieren 79">
            <a:extLst>
              <a:ext uri="{FF2B5EF4-FFF2-40B4-BE49-F238E27FC236}">
                <a16:creationId xmlns:a16="http://schemas.microsoft.com/office/drawing/2014/main" id="{4F0AD36C-D3CA-5008-CDFE-A4A464ECA0BD}"/>
              </a:ext>
            </a:extLst>
          </p:cNvPr>
          <p:cNvGrpSpPr>
            <a:grpSpLocks/>
          </p:cNvGrpSpPr>
          <p:nvPr/>
        </p:nvGrpSpPr>
        <p:grpSpPr bwMode="auto">
          <a:xfrm>
            <a:off x="319088" y="3716338"/>
            <a:ext cx="12184062" cy="676275"/>
            <a:chOff x="319807" y="3643553"/>
            <a:chExt cx="12183713" cy="677108"/>
          </a:xfrm>
        </p:grpSpPr>
        <p:sp>
          <p:nvSpPr>
            <p:cNvPr id="26643" name="Textfeld 55">
              <a:extLst>
                <a:ext uri="{FF2B5EF4-FFF2-40B4-BE49-F238E27FC236}">
                  <a16:creationId xmlns:a16="http://schemas.microsoft.com/office/drawing/2014/main" id="{5E77422C-CB07-BA68-773E-005C1B2D906D}"/>
                </a:ext>
              </a:extLst>
            </p:cNvPr>
            <p:cNvSpPr txBox="1">
              <a:spLocks noChangeArrowheads="1"/>
            </p:cNvSpPr>
            <p:nvPr/>
          </p:nvSpPr>
          <p:spPr bwMode="auto">
            <a:xfrm>
              <a:off x="10487405" y="3735876"/>
              <a:ext cx="2016115"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latin typeface="Frutiger for ZKB Light" panose="020B0303030504020204" pitchFamily="34" charset="0"/>
                </a:rPr>
                <a:t>8.30–10.45 Uhr</a:t>
              </a:r>
            </a:p>
          </p:txBody>
        </p:sp>
        <p:sp>
          <p:nvSpPr>
            <p:cNvPr id="26644" name="Textplatzhalter 2">
              <a:extLst>
                <a:ext uri="{FF2B5EF4-FFF2-40B4-BE49-F238E27FC236}">
                  <a16:creationId xmlns:a16="http://schemas.microsoft.com/office/drawing/2014/main" id="{C92E37AB-07EE-517D-08ED-60D59E4AF4D8}"/>
                </a:ext>
              </a:extLst>
            </p:cNvPr>
            <p:cNvSpPr txBox="1">
              <a:spLocks/>
            </p:cNvSpPr>
            <p:nvPr/>
          </p:nvSpPr>
          <p:spPr bwMode="auto">
            <a:xfrm>
              <a:off x="319807" y="3643553"/>
              <a:ext cx="633199" cy="6771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r" eaLnBrk="1" hangingPunct="1">
                <a:buClrTx/>
                <a:buFontTx/>
                <a:buNone/>
              </a:pPr>
              <a:r>
                <a:rPr lang="de-CH" altLang="de-DE" sz="4400" b="1" dirty="0">
                  <a:solidFill>
                    <a:schemeClr val="tx1"/>
                  </a:solidFill>
                </a:rPr>
                <a:t>3</a:t>
              </a:r>
            </a:p>
          </p:txBody>
        </p:sp>
        <p:sp>
          <p:nvSpPr>
            <p:cNvPr id="26645" name="Textfeld 56">
              <a:extLst>
                <a:ext uri="{FF2B5EF4-FFF2-40B4-BE49-F238E27FC236}">
                  <a16:creationId xmlns:a16="http://schemas.microsoft.com/office/drawing/2014/main" id="{DE97F24F-766F-8D63-77B4-46FA8249343B}"/>
                </a:ext>
              </a:extLst>
            </p:cNvPr>
            <p:cNvSpPr txBox="1">
              <a:spLocks noChangeArrowheads="1"/>
            </p:cNvSpPr>
            <p:nvPr/>
          </p:nvSpPr>
          <p:spPr bwMode="auto">
            <a:xfrm>
              <a:off x="6593685" y="3735876"/>
              <a:ext cx="3362494"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latin typeface="Frutiger for ZKB Light" panose="020B0303030504020204" pitchFamily="34" charset="0"/>
                </a:rPr>
                <a:t>Vorname Nachname</a:t>
              </a:r>
            </a:p>
          </p:txBody>
        </p:sp>
        <p:sp>
          <p:nvSpPr>
            <p:cNvPr id="26646" name="Textfeld 57">
              <a:extLst>
                <a:ext uri="{FF2B5EF4-FFF2-40B4-BE49-F238E27FC236}">
                  <a16:creationId xmlns:a16="http://schemas.microsoft.com/office/drawing/2014/main" id="{18EA591C-7A8F-184F-762C-D46A8E5F86F7}"/>
                </a:ext>
              </a:extLst>
            </p:cNvPr>
            <p:cNvSpPr txBox="1">
              <a:spLocks noChangeArrowheads="1"/>
            </p:cNvSpPr>
            <p:nvPr/>
          </p:nvSpPr>
          <p:spPr bwMode="auto">
            <a:xfrm>
              <a:off x="1282708" y="3735876"/>
              <a:ext cx="4979181" cy="5423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Lorem ipsum dolor</a:t>
              </a:r>
            </a:p>
          </p:txBody>
        </p:sp>
      </p:grpSp>
      <p:grpSp>
        <p:nvGrpSpPr>
          <p:cNvPr id="26633" name="Gruppieren 80">
            <a:extLst>
              <a:ext uri="{FF2B5EF4-FFF2-40B4-BE49-F238E27FC236}">
                <a16:creationId xmlns:a16="http://schemas.microsoft.com/office/drawing/2014/main" id="{DA9416F0-00AA-958D-FDA1-09EC2F467B8C}"/>
              </a:ext>
            </a:extLst>
          </p:cNvPr>
          <p:cNvGrpSpPr>
            <a:grpSpLocks/>
          </p:cNvGrpSpPr>
          <p:nvPr/>
        </p:nvGrpSpPr>
        <p:grpSpPr bwMode="auto">
          <a:xfrm>
            <a:off x="319088" y="4659313"/>
            <a:ext cx="12184062" cy="676275"/>
            <a:chOff x="319807" y="4551129"/>
            <a:chExt cx="12183713" cy="677108"/>
          </a:xfrm>
        </p:grpSpPr>
        <p:sp>
          <p:nvSpPr>
            <p:cNvPr id="26639" name="Textfeld 60">
              <a:extLst>
                <a:ext uri="{FF2B5EF4-FFF2-40B4-BE49-F238E27FC236}">
                  <a16:creationId xmlns:a16="http://schemas.microsoft.com/office/drawing/2014/main" id="{EB8CBD44-4E30-180A-C45D-5FC9F8F0BB1B}"/>
                </a:ext>
              </a:extLst>
            </p:cNvPr>
            <p:cNvSpPr txBox="1">
              <a:spLocks noChangeArrowheads="1"/>
            </p:cNvSpPr>
            <p:nvPr/>
          </p:nvSpPr>
          <p:spPr bwMode="auto">
            <a:xfrm>
              <a:off x="10487405" y="4643452"/>
              <a:ext cx="2016115"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latin typeface="Frutiger for ZKB Light" panose="020B0303030504020204" pitchFamily="34" charset="0"/>
                </a:rPr>
                <a:t>8.30–10.45 Uhr</a:t>
              </a:r>
            </a:p>
          </p:txBody>
        </p:sp>
        <p:sp>
          <p:nvSpPr>
            <p:cNvPr id="26640" name="Textplatzhalter 2">
              <a:extLst>
                <a:ext uri="{FF2B5EF4-FFF2-40B4-BE49-F238E27FC236}">
                  <a16:creationId xmlns:a16="http://schemas.microsoft.com/office/drawing/2014/main" id="{6EA56226-557E-53CE-314A-BF15D3EC1672}"/>
                </a:ext>
              </a:extLst>
            </p:cNvPr>
            <p:cNvSpPr txBox="1">
              <a:spLocks/>
            </p:cNvSpPr>
            <p:nvPr/>
          </p:nvSpPr>
          <p:spPr bwMode="auto">
            <a:xfrm>
              <a:off x="319807" y="4551129"/>
              <a:ext cx="633199" cy="6771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r" eaLnBrk="1" hangingPunct="1">
                <a:buClrTx/>
                <a:buFontTx/>
                <a:buNone/>
              </a:pPr>
              <a:r>
                <a:rPr lang="de-CH" altLang="de-DE" sz="4400" b="1" dirty="0">
                  <a:solidFill>
                    <a:schemeClr val="tx1"/>
                  </a:solidFill>
                </a:rPr>
                <a:t>4</a:t>
              </a:r>
            </a:p>
          </p:txBody>
        </p:sp>
        <p:sp>
          <p:nvSpPr>
            <p:cNvPr id="26641" name="Textfeld 61">
              <a:extLst>
                <a:ext uri="{FF2B5EF4-FFF2-40B4-BE49-F238E27FC236}">
                  <a16:creationId xmlns:a16="http://schemas.microsoft.com/office/drawing/2014/main" id="{9466CB05-07FA-01A5-3906-0673778A1C0B}"/>
                </a:ext>
              </a:extLst>
            </p:cNvPr>
            <p:cNvSpPr txBox="1">
              <a:spLocks noChangeArrowheads="1"/>
            </p:cNvSpPr>
            <p:nvPr/>
          </p:nvSpPr>
          <p:spPr bwMode="auto">
            <a:xfrm>
              <a:off x="6593685" y="4643452"/>
              <a:ext cx="3362494"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latin typeface="Frutiger for ZKB Light" panose="020B0303030504020204" pitchFamily="34" charset="0"/>
                </a:rPr>
                <a:t>Vorname Nachname</a:t>
              </a:r>
            </a:p>
          </p:txBody>
        </p:sp>
        <p:sp>
          <p:nvSpPr>
            <p:cNvPr id="26642" name="Textfeld 62">
              <a:extLst>
                <a:ext uri="{FF2B5EF4-FFF2-40B4-BE49-F238E27FC236}">
                  <a16:creationId xmlns:a16="http://schemas.microsoft.com/office/drawing/2014/main" id="{8F5547BC-BB4D-77DC-F9DD-A6419B509A9C}"/>
                </a:ext>
              </a:extLst>
            </p:cNvPr>
            <p:cNvSpPr txBox="1">
              <a:spLocks noChangeArrowheads="1"/>
            </p:cNvSpPr>
            <p:nvPr/>
          </p:nvSpPr>
          <p:spPr bwMode="auto">
            <a:xfrm>
              <a:off x="1282708" y="4643452"/>
              <a:ext cx="4979181" cy="5423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Lorem ipsum dolor</a:t>
              </a:r>
            </a:p>
          </p:txBody>
        </p:sp>
      </p:grpSp>
      <p:grpSp>
        <p:nvGrpSpPr>
          <p:cNvPr id="26634" name="Gruppieren 81">
            <a:extLst>
              <a:ext uri="{FF2B5EF4-FFF2-40B4-BE49-F238E27FC236}">
                <a16:creationId xmlns:a16="http://schemas.microsoft.com/office/drawing/2014/main" id="{C7CA7985-2A7F-8880-1DC6-A3C3803F64F3}"/>
              </a:ext>
            </a:extLst>
          </p:cNvPr>
          <p:cNvGrpSpPr>
            <a:grpSpLocks/>
          </p:cNvGrpSpPr>
          <p:nvPr/>
        </p:nvGrpSpPr>
        <p:grpSpPr bwMode="auto">
          <a:xfrm>
            <a:off x="319088" y="5602288"/>
            <a:ext cx="12184062" cy="677862"/>
            <a:chOff x="319807" y="5458703"/>
            <a:chExt cx="12183713" cy="677108"/>
          </a:xfrm>
        </p:grpSpPr>
        <p:sp>
          <p:nvSpPr>
            <p:cNvPr id="26635" name="Textfeld 65">
              <a:extLst>
                <a:ext uri="{FF2B5EF4-FFF2-40B4-BE49-F238E27FC236}">
                  <a16:creationId xmlns:a16="http://schemas.microsoft.com/office/drawing/2014/main" id="{C1B7543B-48DE-6587-8C74-7FC35AE3E57C}"/>
                </a:ext>
              </a:extLst>
            </p:cNvPr>
            <p:cNvSpPr txBox="1">
              <a:spLocks noChangeArrowheads="1"/>
            </p:cNvSpPr>
            <p:nvPr/>
          </p:nvSpPr>
          <p:spPr bwMode="auto">
            <a:xfrm>
              <a:off x="10487405" y="5551026"/>
              <a:ext cx="2016115"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latin typeface="Frutiger for ZKB Light" panose="020B0303030504020204" pitchFamily="34" charset="0"/>
                </a:rPr>
                <a:t>8.30–10.45 Uhr</a:t>
              </a:r>
            </a:p>
          </p:txBody>
        </p:sp>
        <p:sp>
          <p:nvSpPr>
            <p:cNvPr id="26636" name="Textfeld 66">
              <a:extLst>
                <a:ext uri="{FF2B5EF4-FFF2-40B4-BE49-F238E27FC236}">
                  <a16:creationId xmlns:a16="http://schemas.microsoft.com/office/drawing/2014/main" id="{EFCE8937-792C-7B3B-F93C-60884C20D4CB}"/>
                </a:ext>
              </a:extLst>
            </p:cNvPr>
            <p:cNvSpPr txBox="1">
              <a:spLocks noChangeArrowheads="1"/>
            </p:cNvSpPr>
            <p:nvPr/>
          </p:nvSpPr>
          <p:spPr bwMode="auto">
            <a:xfrm>
              <a:off x="6593685" y="5551026"/>
              <a:ext cx="3362494"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latin typeface="Frutiger for ZKB Light" panose="020B0303030504020204" pitchFamily="34" charset="0"/>
                </a:rPr>
                <a:t>Vorname Nachname</a:t>
              </a:r>
            </a:p>
          </p:txBody>
        </p:sp>
        <p:sp>
          <p:nvSpPr>
            <p:cNvPr id="26637" name="Textfeld 67">
              <a:extLst>
                <a:ext uri="{FF2B5EF4-FFF2-40B4-BE49-F238E27FC236}">
                  <a16:creationId xmlns:a16="http://schemas.microsoft.com/office/drawing/2014/main" id="{CA5066A7-319C-7750-6ABB-C8A8825AE3D7}"/>
                </a:ext>
              </a:extLst>
            </p:cNvPr>
            <p:cNvSpPr txBox="1">
              <a:spLocks noChangeArrowheads="1"/>
            </p:cNvSpPr>
            <p:nvPr/>
          </p:nvSpPr>
          <p:spPr bwMode="auto">
            <a:xfrm>
              <a:off x="1282708" y="5551026"/>
              <a:ext cx="4979181" cy="5410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Lorem ipsum dolor</a:t>
              </a:r>
            </a:p>
          </p:txBody>
        </p:sp>
        <p:sp>
          <p:nvSpPr>
            <p:cNvPr id="26638" name="Textplatzhalter 2">
              <a:extLst>
                <a:ext uri="{FF2B5EF4-FFF2-40B4-BE49-F238E27FC236}">
                  <a16:creationId xmlns:a16="http://schemas.microsoft.com/office/drawing/2014/main" id="{2CC8091E-BBDA-EB4F-5D63-7EE031C06C19}"/>
                </a:ext>
              </a:extLst>
            </p:cNvPr>
            <p:cNvSpPr txBox="1">
              <a:spLocks/>
            </p:cNvSpPr>
            <p:nvPr/>
          </p:nvSpPr>
          <p:spPr bwMode="auto">
            <a:xfrm>
              <a:off x="319807" y="5458703"/>
              <a:ext cx="633199" cy="6771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r" eaLnBrk="1" hangingPunct="1">
                <a:buClrTx/>
                <a:buFontTx/>
                <a:buNone/>
              </a:pPr>
              <a:r>
                <a:rPr lang="de-CH" altLang="de-DE" sz="4400" b="1" dirty="0">
                  <a:solidFill>
                    <a:schemeClr val="tx1"/>
                  </a:solidFill>
                </a:rPr>
                <a:t>5</a:t>
              </a:r>
            </a:p>
          </p:txBody>
        </p:sp>
      </p:gr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5DAA66-2856-0BA4-81C4-F041A9318BF6}"/>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Text 2 Spalten mit Pros und Cons und Fazit</a:t>
            </a:r>
          </a:p>
        </p:txBody>
      </p:sp>
      <p:sp>
        <p:nvSpPr>
          <p:cNvPr id="101379" name="Foliennummernplatzhalter 9">
            <a:extLst>
              <a:ext uri="{FF2B5EF4-FFF2-40B4-BE49-F238E27FC236}">
                <a16:creationId xmlns:a16="http://schemas.microsoft.com/office/drawing/2014/main" id="{380176B9-F2B2-3C08-EE60-84653A3F863B}"/>
              </a:ext>
            </a:extLst>
          </p:cNvPr>
          <p:cNvSpPr>
            <a:spLocks noGrp="1" noChangeArrowheads="1"/>
          </p:cNvSpPr>
          <p:nvPr>
            <p:ph type="sldNum" sz="quarter" idx="16"/>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1B41B96-C24D-47CE-B205-C22431F12D8E}" type="slidenum">
              <a:rPr lang="de-CH" smtClean="0"/>
              <a:pPr>
                <a:spcBef>
                  <a:spcPct val="0"/>
                </a:spcBef>
                <a:spcAft>
                  <a:spcPct val="0"/>
                </a:spcAft>
                <a:defRPr/>
              </a:pPr>
              <a:t>70</a:t>
            </a:fld>
            <a:endParaRPr lang="de-CH" altLang="de-DE" sz="1100" dirty="0">
              <a:solidFill>
                <a:srgbClr val="003CB4"/>
              </a:solidFill>
            </a:endParaRPr>
          </a:p>
        </p:txBody>
      </p:sp>
      <p:sp>
        <p:nvSpPr>
          <p:cNvPr id="101380" name="Fußzeilenplatzhalter 7">
            <a:extLst>
              <a:ext uri="{FF2B5EF4-FFF2-40B4-BE49-F238E27FC236}">
                <a16:creationId xmlns:a16="http://schemas.microsoft.com/office/drawing/2014/main" id="{992DD468-E0DB-A59A-E6B8-FF75B1B96E92}"/>
              </a:ext>
            </a:extLst>
          </p:cNvPr>
          <p:cNvSpPr>
            <a:spLocks noGrp="1" noChangeArrowheads="1"/>
          </p:cNvSpPr>
          <p:nvPr>
            <p:ph type="ftr" sz="quarter" idx="17"/>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5" name="Inhaltsplatzhalter 14">
            <a:extLst>
              <a:ext uri="{FF2B5EF4-FFF2-40B4-BE49-F238E27FC236}">
                <a16:creationId xmlns:a16="http://schemas.microsoft.com/office/drawing/2014/main" id="{CB493DF2-F96B-3A55-5A18-111A287A2A25}"/>
              </a:ext>
            </a:extLst>
          </p:cNvPr>
          <p:cNvSpPr>
            <a:spLocks noGrp="1"/>
          </p:cNvSpPr>
          <p:nvPr>
            <p:ph idx="12"/>
          </p:nvPr>
        </p:nvSpPr>
        <p:spPr>
          <a:xfrm>
            <a:off x="306388" y="2532063"/>
            <a:ext cx="5976937" cy="4102100"/>
          </a:xfrm>
        </p:spPr>
        <p:txBody>
          <a:bodyPr rtlCol="0"/>
          <a:lstStyle/>
          <a:p>
            <a:pPr eaLnBrk="1" fontAlgn="auto" hangingPunct="1">
              <a:defRPr/>
            </a:pPr>
            <a:r>
              <a:rPr lang="de-CH" sz="2000" b="1" dirty="0">
                <a:cs typeface="+mn-cs"/>
              </a:rPr>
              <a:t>Pros (optionale Überschrift)</a:t>
            </a:r>
          </a:p>
          <a:p>
            <a:pPr eaLnBrk="1" fontAlgn="auto" hangingPunct="1">
              <a:defRPr/>
            </a:pPr>
            <a:endParaRPr lang="de-CH" dirty="0"/>
          </a:p>
          <a:p>
            <a:pPr eaLnBrk="1" fontAlgn="auto" hangingPunct="1">
              <a:defRPr/>
            </a:pPr>
            <a:r>
              <a:rPr lang="de-CH" dirty="0"/>
              <a:t>Lorem ipsum dolor sit amet, consectetur adipiscing elit, sed do eiusmod tempor incididunt ut labore et dolore magna aliqua. Ut enim ad minim veniam, quis nostrud exercitation ullamco laboris </a:t>
            </a:r>
            <a:br>
              <a:rPr lang="de-CH" dirty="0"/>
            </a:br>
            <a:r>
              <a:rPr lang="de-CH" dirty="0"/>
              <a:t>nisi ut aliquip ex ea commodo consequat. Duis aute irure dolor in reprehenderit in voluptate velit esse.</a:t>
            </a:r>
            <a:endParaRPr lang="de-CH" dirty="0">
              <a:solidFill>
                <a:schemeClr val="accent3"/>
              </a:solidFill>
            </a:endParaRPr>
          </a:p>
          <a:p>
            <a:pPr eaLnBrk="1" fontAlgn="auto" hangingPunct="1">
              <a:defRPr/>
            </a:pPr>
            <a:endParaRPr lang="de-CH" dirty="0"/>
          </a:p>
        </p:txBody>
      </p:sp>
      <p:sp>
        <p:nvSpPr>
          <p:cNvPr id="101382" name="Inhaltsplatzhalter 4">
            <a:extLst>
              <a:ext uri="{FF2B5EF4-FFF2-40B4-BE49-F238E27FC236}">
                <a16:creationId xmlns:a16="http://schemas.microsoft.com/office/drawing/2014/main" id="{D970A981-BE3B-F437-E4AD-691D900110C5}"/>
              </a:ext>
            </a:extLst>
          </p:cNvPr>
          <p:cNvSpPr>
            <a:spLocks noGrp="1" noChangeArrowheads="1"/>
          </p:cNvSpPr>
          <p:nvPr>
            <p:ph sz="quarter" idx="13"/>
          </p:nvPr>
        </p:nvSpPr>
        <p:spPr>
          <a:xfrm>
            <a:off x="6572250" y="2532063"/>
            <a:ext cx="5976938" cy="4102100"/>
          </a:xfrm>
        </p:spPr>
        <p:txBody>
          <a:bodyPr/>
          <a:lstStyle/>
          <a:p>
            <a:pPr defTabSz="284163" eaLnBrk="1" hangingPunct="1">
              <a:spcBef>
                <a:spcPct val="0"/>
              </a:spcBef>
              <a:spcAft>
                <a:spcPct val="0"/>
              </a:spcAft>
            </a:pPr>
            <a:r>
              <a:rPr lang="de-CH" altLang="de-DE" sz="2000" b="1" dirty="0">
                <a:cs typeface="Aharoni" panose="020F0502020204030204" pitchFamily="2" charset="-79"/>
              </a:rPr>
              <a:t>Cons (optionale Überschrift)</a:t>
            </a: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r>
              <a:rPr lang="de-CH" altLang="de-DE" dirty="0">
                <a:cs typeface="Aharoni" panose="020F0502020204030204" pitchFamily="2" charset="-79"/>
              </a:rPr>
              <a:t>Lorem ipsum dolor sit amet, consectetur adipiscing elit, sed do eiusmod tempor incididunt ut labore et dolore magna aliqua. Ut enim ad minim veniam, quis nostrud exercitation ullamco laboris </a:t>
            </a:r>
            <a:br>
              <a:rPr lang="de-CH" altLang="de-DE" dirty="0">
                <a:cs typeface="Aharoni" panose="020F0502020204030204" pitchFamily="2" charset="-79"/>
              </a:rPr>
            </a:br>
            <a:r>
              <a:rPr lang="de-CH" altLang="de-DE" dirty="0">
                <a:cs typeface="Aharoni" panose="020F0502020204030204" pitchFamily="2" charset="-79"/>
              </a:rPr>
              <a:t>nisi ut aliquip ex ea commodo consequat. Duis aute irure dolor in reprehenderit in voluptate velit esse.</a:t>
            </a:r>
          </a:p>
          <a:p>
            <a:pPr defTabSz="284163" eaLnBrk="1" hangingPunct="1">
              <a:spcBef>
                <a:spcPct val="0"/>
              </a:spcBef>
              <a:spcAft>
                <a:spcPct val="0"/>
              </a:spcAft>
            </a:pPr>
            <a:endParaRPr lang="de-CH" altLang="de-DE" dirty="0">
              <a:cs typeface="Aharoni" panose="020F0502020204030204" pitchFamily="2" charset="-79"/>
            </a:endParaRPr>
          </a:p>
        </p:txBody>
      </p:sp>
      <p:graphicFrame>
        <p:nvGraphicFramePr>
          <p:cNvPr id="101383" name="think-cell data - do not delete" hidden="1">
            <a:extLst>
              <a:ext uri="{FF2B5EF4-FFF2-40B4-BE49-F238E27FC236}">
                <a16:creationId xmlns:a16="http://schemas.microsoft.com/office/drawing/2014/main" id="{A949220E-C94B-561B-1603-BF17A7799F5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01383" name="think-cell data - do not delete" hidden="1">
                        <a:extLst>
                          <a:ext uri="{FF2B5EF4-FFF2-40B4-BE49-F238E27FC236}">
                            <a16:creationId xmlns:a16="http://schemas.microsoft.com/office/drawing/2014/main" id="{A949220E-C94B-561B-1603-BF17A7799F5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1386" name="Rechteck 12">
            <a:extLst>
              <a:ext uri="{FF2B5EF4-FFF2-40B4-BE49-F238E27FC236}">
                <a16:creationId xmlns:a16="http://schemas.microsoft.com/office/drawing/2014/main" id="{7B58A009-B893-D73B-8BC3-834EF4AC24BA}"/>
              </a:ext>
            </a:extLst>
          </p:cNvPr>
          <p:cNvSpPr>
            <a:spLocks noChangeArrowheads="1"/>
          </p:cNvSpPr>
          <p:nvPr/>
        </p:nvSpPr>
        <p:spPr bwMode="auto">
          <a:xfrm>
            <a:off x="306388" y="5236776"/>
            <a:ext cx="10193337" cy="1067573"/>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144000" tIns="108000" rIns="108000" bIns="108000" anchor="ctr">
            <a:spAutoFit/>
          </a:bodyP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sz="2000" b="1" dirty="0"/>
              <a:t>Fazit (optional)</a:t>
            </a:r>
          </a:p>
          <a:p>
            <a:pPr eaLnBrk="1" hangingPunct="1">
              <a:buClrTx/>
              <a:buFontTx/>
              <a:buNone/>
            </a:pPr>
            <a:r>
              <a:rPr lang="de-CH" altLang="de-DE" dirty="0"/>
              <a:t>eiusmod tempor incididunt ut labore et dolore magna aliqua. Ut enim ad minim veniam, quis nostrud exercitation ullamco laboris nisi ut aliquip ex ea commodo consequat. Duis aute irure dolor in reprehenderit in voluptatlit esse.</a:t>
            </a:r>
          </a:p>
        </p:txBody>
      </p:sp>
      <p:pic>
        <p:nvPicPr>
          <p:cNvPr id="3" name="Grafik 2">
            <a:extLst>
              <a:ext uri="{FF2B5EF4-FFF2-40B4-BE49-F238E27FC236}">
                <a16:creationId xmlns:a16="http://schemas.microsoft.com/office/drawing/2014/main" id="{0ADC5457-A367-5E45-B2CA-6766ADA400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69707" y="1857885"/>
            <a:ext cx="533510" cy="533510"/>
          </a:xfrm>
          <a:prstGeom prst="rect">
            <a:avLst/>
          </a:prstGeom>
        </p:spPr>
      </p:pic>
      <p:pic>
        <p:nvPicPr>
          <p:cNvPr id="4" name="Grafik 3">
            <a:extLst>
              <a:ext uri="{FF2B5EF4-FFF2-40B4-BE49-F238E27FC236}">
                <a16:creationId xmlns:a16="http://schemas.microsoft.com/office/drawing/2014/main" id="{5755175F-F93B-D71A-8825-C1F2416579D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6388" y="1857885"/>
            <a:ext cx="533510" cy="533510"/>
          </a:xfrm>
          <a:prstGeom prst="rect">
            <a:avLst/>
          </a:prstGeom>
        </p:spPr>
      </p:pic>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02" name="think-cell data - do not delete" hidden="1">
            <a:extLst>
              <a:ext uri="{FF2B5EF4-FFF2-40B4-BE49-F238E27FC236}">
                <a16:creationId xmlns:a16="http://schemas.microsoft.com/office/drawing/2014/main" id="{844EDC21-6E08-E2E3-F499-812D51B7348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02402" name="think-cell data - do not delete" hidden="1">
                        <a:extLst>
                          <a:ext uri="{FF2B5EF4-FFF2-40B4-BE49-F238E27FC236}">
                            <a16:creationId xmlns:a16="http://schemas.microsoft.com/office/drawing/2014/main" id="{844EDC21-6E08-E2E3-F499-812D51B7348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4CEC350D-CB3B-0C65-DC3A-3C76C6E41CA6}"/>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Text 2 Spalten mit Ergebnis</a:t>
            </a:r>
          </a:p>
        </p:txBody>
      </p:sp>
      <p:sp>
        <p:nvSpPr>
          <p:cNvPr id="102404" name="Foliennummernplatzhalter 7">
            <a:extLst>
              <a:ext uri="{FF2B5EF4-FFF2-40B4-BE49-F238E27FC236}">
                <a16:creationId xmlns:a16="http://schemas.microsoft.com/office/drawing/2014/main" id="{3C26B7F6-D22F-B3FB-3FB5-FB3299322BA0}"/>
              </a:ext>
            </a:extLst>
          </p:cNvPr>
          <p:cNvSpPr>
            <a:spLocks noGrp="1" noChangeArrowheads="1"/>
          </p:cNvSpPr>
          <p:nvPr>
            <p:ph type="sldNum" sz="quarter" idx="16"/>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1B41B96-C24D-47CE-B205-C22431F12D8E}" type="slidenum">
              <a:rPr lang="de-CH" smtClean="0"/>
              <a:pPr>
                <a:spcBef>
                  <a:spcPct val="0"/>
                </a:spcBef>
                <a:spcAft>
                  <a:spcPct val="0"/>
                </a:spcAft>
                <a:defRPr/>
              </a:pPr>
              <a:t>71</a:t>
            </a:fld>
            <a:endParaRPr lang="de-CH" altLang="de-DE" sz="1100" dirty="0">
              <a:solidFill>
                <a:srgbClr val="003CB4"/>
              </a:solidFill>
            </a:endParaRPr>
          </a:p>
        </p:txBody>
      </p:sp>
      <p:sp>
        <p:nvSpPr>
          <p:cNvPr id="102405" name="Fußzeilenplatzhalter 6">
            <a:extLst>
              <a:ext uri="{FF2B5EF4-FFF2-40B4-BE49-F238E27FC236}">
                <a16:creationId xmlns:a16="http://schemas.microsoft.com/office/drawing/2014/main" id="{9CA361EC-A24E-22A9-DCD9-17D4B87B2B1F}"/>
              </a:ext>
            </a:extLst>
          </p:cNvPr>
          <p:cNvSpPr>
            <a:spLocks noGrp="1" noChangeArrowheads="1"/>
          </p:cNvSpPr>
          <p:nvPr>
            <p:ph type="ftr" sz="quarter" idx="17"/>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3" name="Inhaltsplatzhalter 12">
            <a:extLst>
              <a:ext uri="{FF2B5EF4-FFF2-40B4-BE49-F238E27FC236}">
                <a16:creationId xmlns:a16="http://schemas.microsoft.com/office/drawing/2014/main" id="{2E744B2D-7F2E-CA3A-60AF-2FEEAB3C3CDE}"/>
              </a:ext>
            </a:extLst>
          </p:cNvPr>
          <p:cNvSpPr>
            <a:spLocks noGrp="1"/>
          </p:cNvSpPr>
          <p:nvPr>
            <p:ph idx="12"/>
          </p:nvPr>
        </p:nvSpPr>
        <p:spPr>
          <a:xfrm>
            <a:off x="306388" y="2532063"/>
            <a:ext cx="5976937" cy="4102100"/>
          </a:xfrm>
        </p:spPr>
        <p:txBody>
          <a:bodyPr rtlCol="0"/>
          <a:lstStyle/>
          <a:p>
            <a:pPr marL="285750" indent="-285750" eaLnBrk="1" fontAlgn="auto" hangingPunct="1">
              <a:buFont typeface="Symbol" panose="05050102010706020507" pitchFamily="18" charset="2"/>
              <a:buChar char="-"/>
              <a:defRPr/>
            </a:pPr>
            <a:r>
              <a:rPr lang="de-CH" dirty="0"/>
              <a:t>Lorem ipsum dolor sit amet, consectetur adipiscing elit, sed do eiusmod tempor incididunt ut labore et dolore magna aliqua. Ut enim ad minim veniam, quis nostrud </a:t>
            </a:r>
          </a:p>
          <a:p>
            <a:pPr marL="285750" indent="-285750" eaLnBrk="1" fontAlgn="auto" hangingPunct="1">
              <a:buFont typeface="Symbol" panose="05050102010706020507" pitchFamily="18" charset="2"/>
              <a:buChar char="-"/>
              <a:defRPr/>
            </a:pPr>
            <a:r>
              <a:rPr lang="de-CH" dirty="0"/>
              <a:t>exercitation ullamco laboris </a:t>
            </a:r>
            <a:br>
              <a:rPr lang="de-CH" dirty="0"/>
            </a:br>
            <a:r>
              <a:rPr lang="de-CH" dirty="0"/>
              <a:t>nisi ut aliquip ex ea commodo consequat. Duis aute irure dolor in reprehenderit in voluptate velit esse.</a:t>
            </a:r>
            <a:endParaRPr lang="de-CH" dirty="0">
              <a:solidFill>
                <a:schemeClr val="accent3"/>
              </a:solidFill>
            </a:endParaRPr>
          </a:p>
          <a:p>
            <a:pPr marL="285750" indent="-285750" eaLnBrk="1" fontAlgn="auto" hangingPunct="1">
              <a:buFont typeface="Symbol" panose="05050102010706020507" pitchFamily="18" charset="2"/>
              <a:buChar char="-"/>
              <a:defRPr/>
            </a:pPr>
            <a:r>
              <a:rPr lang="de-CH" dirty="0"/>
              <a:t>exercitation ullamco laboris nisi ut aliquip ex ea commodo consequat. Duis aute irure dolor in.</a:t>
            </a:r>
          </a:p>
          <a:p>
            <a:pPr eaLnBrk="1" fontAlgn="auto" hangingPunct="1">
              <a:defRPr/>
            </a:pPr>
            <a:endParaRPr lang="de-CH" dirty="0"/>
          </a:p>
        </p:txBody>
      </p:sp>
      <p:sp>
        <p:nvSpPr>
          <p:cNvPr id="14" name="Inhaltsplatzhalter 13">
            <a:extLst>
              <a:ext uri="{FF2B5EF4-FFF2-40B4-BE49-F238E27FC236}">
                <a16:creationId xmlns:a16="http://schemas.microsoft.com/office/drawing/2014/main" id="{8C3B861E-4F34-2D36-A8A2-A2B821004428}"/>
              </a:ext>
            </a:extLst>
          </p:cNvPr>
          <p:cNvSpPr>
            <a:spLocks noGrp="1"/>
          </p:cNvSpPr>
          <p:nvPr>
            <p:ph sz="quarter" idx="13"/>
          </p:nvPr>
        </p:nvSpPr>
        <p:spPr>
          <a:xfrm>
            <a:off x="6572250" y="2532063"/>
            <a:ext cx="5976938" cy="4102100"/>
          </a:xfrm>
        </p:spPr>
        <p:txBody>
          <a:bodyPr rtlCol="0"/>
          <a:lstStyle/>
          <a:p>
            <a:pPr marL="285750" indent="-285750" eaLnBrk="1" fontAlgn="auto" hangingPunct="1">
              <a:buFont typeface="Symbol" panose="05050102010706020507" pitchFamily="18" charset="2"/>
              <a:buChar char="-"/>
              <a:defRPr/>
            </a:pPr>
            <a:r>
              <a:rPr lang="de-CH" dirty="0"/>
              <a:t>Lorem ipsum dolor sit amet, consectetur adipiscing elit, sed do eiusmod tempor incididunt ut labore et dolore magna aliqua. Ut enim ad minim veniam, quis nostrud </a:t>
            </a:r>
          </a:p>
          <a:p>
            <a:pPr marL="285750" indent="-285750" eaLnBrk="1" fontAlgn="auto" hangingPunct="1">
              <a:buFont typeface="Symbol" panose="05050102010706020507" pitchFamily="18" charset="2"/>
              <a:buChar char="-"/>
              <a:defRPr/>
            </a:pPr>
            <a:r>
              <a:rPr lang="de-CH" dirty="0"/>
              <a:t>exercitation ullamco laboris </a:t>
            </a:r>
            <a:br>
              <a:rPr lang="de-CH" dirty="0"/>
            </a:br>
            <a:r>
              <a:rPr lang="de-CH" dirty="0"/>
              <a:t>nisi ut aliquip ex ea commodo consequat. Duis aute irure dolor in reprehenderit in voluptate velit esse.</a:t>
            </a:r>
            <a:endParaRPr lang="de-CH" dirty="0">
              <a:solidFill>
                <a:schemeClr val="accent3"/>
              </a:solidFill>
            </a:endParaRPr>
          </a:p>
          <a:p>
            <a:pPr marL="285750" indent="-285750" eaLnBrk="1" fontAlgn="auto" hangingPunct="1">
              <a:buFont typeface="Symbol" panose="05050102010706020507" pitchFamily="18" charset="2"/>
              <a:buChar char="-"/>
              <a:defRPr/>
            </a:pPr>
            <a:r>
              <a:rPr lang="de-CH" dirty="0"/>
              <a:t>exercitation ullamco laboris nisi ut aliquip ex ea commodo consequat. Duis aute irure dolor in.</a:t>
            </a:r>
          </a:p>
          <a:p>
            <a:pPr eaLnBrk="1" fontAlgn="auto" hangingPunct="1">
              <a:defRPr/>
            </a:pPr>
            <a:endParaRPr lang="de-CH" dirty="0"/>
          </a:p>
        </p:txBody>
      </p:sp>
      <p:sp>
        <p:nvSpPr>
          <p:cNvPr id="102408" name="Textplatzhalter 14">
            <a:extLst>
              <a:ext uri="{FF2B5EF4-FFF2-40B4-BE49-F238E27FC236}">
                <a16:creationId xmlns:a16="http://schemas.microsoft.com/office/drawing/2014/main" id="{C99959F7-2EE9-2E88-B340-A8659E05049D}"/>
              </a:ext>
            </a:extLst>
          </p:cNvPr>
          <p:cNvSpPr>
            <a:spLocks noGrp="1" noChangeArrowheads="1"/>
          </p:cNvSpPr>
          <p:nvPr>
            <p:ph type="body" sz="quarter" idx="14"/>
          </p:nvPr>
        </p:nvSpPr>
        <p:spPr>
          <a:xfrm>
            <a:off x="306388" y="1885950"/>
            <a:ext cx="5976937" cy="646113"/>
          </a:xfrm>
        </p:spPr>
        <p:txBody>
          <a:bodyPr/>
          <a:lstStyle/>
          <a:p>
            <a:pPr eaLnBrk="1" hangingPunct="1">
              <a:spcBef>
                <a:spcPct val="0"/>
              </a:spcBef>
              <a:spcAft>
                <a:spcPct val="0"/>
              </a:spcAft>
            </a:pPr>
            <a:r>
              <a:rPr lang="de-CH" altLang="de-DE" dirty="0">
                <a:cs typeface="Aharoni" panose="020F0502020204030204" pitchFamily="2" charset="-79"/>
              </a:rPr>
              <a:t>Lorem ipsum dolor</a:t>
            </a:r>
          </a:p>
        </p:txBody>
      </p:sp>
      <p:sp>
        <p:nvSpPr>
          <p:cNvPr id="102409" name="Textplatzhalter 17">
            <a:extLst>
              <a:ext uri="{FF2B5EF4-FFF2-40B4-BE49-F238E27FC236}">
                <a16:creationId xmlns:a16="http://schemas.microsoft.com/office/drawing/2014/main" id="{6F21BD63-72C7-A400-CE13-7928A330F150}"/>
              </a:ext>
            </a:extLst>
          </p:cNvPr>
          <p:cNvSpPr>
            <a:spLocks noGrp="1" noChangeArrowheads="1"/>
          </p:cNvSpPr>
          <p:nvPr>
            <p:ph type="body" sz="quarter" idx="15"/>
          </p:nvPr>
        </p:nvSpPr>
        <p:spPr>
          <a:xfrm>
            <a:off x="6572250" y="1885950"/>
            <a:ext cx="5976938" cy="646113"/>
          </a:xfrm>
        </p:spPr>
        <p:txBody>
          <a:bodyPr/>
          <a:lstStyle/>
          <a:p>
            <a:pPr eaLnBrk="1" hangingPunct="1">
              <a:spcBef>
                <a:spcPct val="0"/>
              </a:spcBef>
              <a:spcAft>
                <a:spcPct val="0"/>
              </a:spcAft>
            </a:pPr>
            <a:r>
              <a:rPr lang="de-CH" altLang="de-DE" dirty="0">
                <a:cs typeface="Aharoni" panose="020F0502020204030204" pitchFamily="2" charset="-79"/>
              </a:rPr>
              <a:t>Lorem ipsum dolor</a:t>
            </a:r>
          </a:p>
        </p:txBody>
      </p:sp>
      <p:sp>
        <p:nvSpPr>
          <p:cNvPr id="102410" name="Rechteck 15">
            <a:extLst>
              <a:ext uri="{FF2B5EF4-FFF2-40B4-BE49-F238E27FC236}">
                <a16:creationId xmlns:a16="http://schemas.microsoft.com/office/drawing/2014/main" id="{19791DDE-864B-EA3C-5E2A-066E6A65433B}"/>
              </a:ext>
            </a:extLst>
          </p:cNvPr>
          <p:cNvSpPr>
            <a:spLocks noChangeArrowheads="1"/>
          </p:cNvSpPr>
          <p:nvPr/>
        </p:nvSpPr>
        <p:spPr bwMode="auto">
          <a:xfrm>
            <a:off x="306388" y="5292725"/>
            <a:ext cx="10193337" cy="955675"/>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144000" tIns="108000" rIns="108000" bIns="108000" anchor="ctr">
            <a:spAutoFit/>
          </a:bodyP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b="1" dirty="0"/>
              <a:t>Lorem ipsum dolor sit amet, consectetur adipiscing elit, sed do eiusmod tempor incididunt ut labore</a:t>
            </a:r>
            <a:br>
              <a:rPr lang="de-CH" altLang="de-DE" b="1" dirty="0"/>
            </a:br>
            <a:r>
              <a:rPr lang="de-CH" altLang="de-DE" b="1" dirty="0"/>
              <a:t>et dolore magna aliqua. Ut enim ad minim veniam, quis. Lorem ipsum dolor sit amet, consectetur adipiscing elit, sed do eiusmod tempor incididunt ut labore.</a:t>
            </a: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3426" name="think-cell data - do not delete" hidden="1">
            <a:extLst>
              <a:ext uri="{FF2B5EF4-FFF2-40B4-BE49-F238E27FC236}">
                <a16:creationId xmlns:a16="http://schemas.microsoft.com/office/drawing/2014/main" id="{12E71B82-AD0E-D670-E342-AE005EF86A5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03426" name="think-cell data - do not delete" hidden="1">
                        <a:extLst>
                          <a:ext uri="{FF2B5EF4-FFF2-40B4-BE49-F238E27FC236}">
                            <a16:creationId xmlns:a16="http://schemas.microsoft.com/office/drawing/2014/main" id="{12E71B82-AD0E-D670-E342-AE005EF86A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4355C455-5BF1-0921-45E3-6C0BC4B382A6}"/>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Text 2 Spalten mit Ergebnis</a:t>
            </a:r>
          </a:p>
        </p:txBody>
      </p:sp>
      <p:sp>
        <p:nvSpPr>
          <p:cNvPr id="103428" name="Foliennummernplatzhalter 13">
            <a:extLst>
              <a:ext uri="{FF2B5EF4-FFF2-40B4-BE49-F238E27FC236}">
                <a16:creationId xmlns:a16="http://schemas.microsoft.com/office/drawing/2014/main" id="{60B12068-4B37-218A-9B1E-78EFCFD1D1A3}"/>
              </a:ext>
            </a:extLst>
          </p:cNvPr>
          <p:cNvSpPr>
            <a:spLocks noGrp="1" noChangeArrowheads="1"/>
          </p:cNvSpPr>
          <p:nvPr>
            <p:ph type="sldNum" sz="quarter" idx="16"/>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1B41B96-C24D-47CE-B205-C22431F12D8E}" type="slidenum">
              <a:rPr lang="de-CH" smtClean="0"/>
              <a:pPr>
                <a:spcBef>
                  <a:spcPct val="0"/>
                </a:spcBef>
                <a:spcAft>
                  <a:spcPct val="0"/>
                </a:spcAft>
                <a:defRPr/>
              </a:pPr>
              <a:t>72</a:t>
            </a:fld>
            <a:endParaRPr lang="de-CH" altLang="de-DE" sz="1100" dirty="0">
              <a:solidFill>
                <a:srgbClr val="003CB4"/>
              </a:solidFill>
            </a:endParaRPr>
          </a:p>
        </p:txBody>
      </p:sp>
      <p:sp>
        <p:nvSpPr>
          <p:cNvPr id="103429" name="Fußzeilenplatzhalter 9">
            <a:extLst>
              <a:ext uri="{FF2B5EF4-FFF2-40B4-BE49-F238E27FC236}">
                <a16:creationId xmlns:a16="http://schemas.microsoft.com/office/drawing/2014/main" id="{9171400E-DECB-50D2-80C8-57D5BCCEE458}"/>
              </a:ext>
            </a:extLst>
          </p:cNvPr>
          <p:cNvSpPr>
            <a:spLocks noGrp="1" noChangeArrowheads="1"/>
          </p:cNvSpPr>
          <p:nvPr>
            <p:ph type="ftr" sz="quarter" idx="17"/>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7" name="Inhaltsplatzhalter 16">
            <a:extLst>
              <a:ext uri="{FF2B5EF4-FFF2-40B4-BE49-F238E27FC236}">
                <a16:creationId xmlns:a16="http://schemas.microsoft.com/office/drawing/2014/main" id="{448E3119-93E7-5724-EE3F-0B0C9758505A}"/>
              </a:ext>
            </a:extLst>
          </p:cNvPr>
          <p:cNvSpPr>
            <a:spLocks noGrp="1"/>
          </p:cNvSpPr>
          <p:nvPr>
            <p:ph idx="12"/>
          </p:nvPr>
        </p:nvSpPr>
        <p:spPr>
          <a:xfrm>
            <a:off x="306388" y="2532063"/>
            <a:ext cx="5976937" cy="4102100"/>
          </a:xfrm>
        </p:spPr>
        <p:txBody>
          <a:bodyPr rtlCol="0"/>
          <a:lstStyle/>
          <a:p>
            <a:pPr marL="285750" indent="-285750" eaLnBrk="1" fontAlgn="auto" hangingPunct="1">
              <a:buFont typeface="Symbol" panose="05050102010706020507" pitchFamily="18" charset="2"/>
              <a:buChar char="-"/>
              <a:defRPr/>
            </a:pPr>
            <a:r>
              <a:rPr lang="de-CH" dirty="0"/>
              <a:t>Lorem ipsum dolor sit amet, consectetur adipiscing elit, sed do eiusmod tempor incididunt ut labore et dolore magna aliqua. Ut enim ad minim veniam, quis nostrud </a:t>
            </a:r>
          </a:p>
          <a:p>
            <a:pPr marL="285750" indent="-285750" eaLnBrk="1" fontAlgn="auto" hangingPunct="1">
              <a:buFont typeface="Symbol" panose="05050102010706020507" pitchFamily="18" charset="2"/>
              <a:buChar char="-"/>
              <a:defRPr/>
            </a:pPr>
            <a:r>
              <a:rPr lang="de-CH" dirty="0"/>
              <a:t>exercitation ullamco laboris </a:t>
            </a:r>
            <a:br>
              <a:rPr lang="de-CH" dirty="0"/>
            </a:br>
            <a:r>
              <a:rPr lang="de-CH" dirty="0"/>
              <a:t>nisi ut aliquip ex ea commodo consequat. Duis aute irure dolor in reprehenderit in voluptate velit esse.</a:t>
            </a:r>
            <a:endParaRPr lang="de-CH" dirty="0">
              <a:solidFill>
                <a:schemeClr val="accent3"/>
              </a:solidFill>
            </a:endParaRPr>
          </a:p>
          <a:p>
            <a:pPr marL="285750" indent="-285750" eaLnBrk="1" fontAlgn="auto" hangingPunct="1">
              <a:buFont typeface="Symbol" panose="05050102010706020507" pitchFamily="18" charset="2"/>
              <a:buChar char="-"/>
              <a:defRPr/>
            </a:pPr>
            <a:r>
              <a:rPr lang="de-CH" dirty="0"/>
              <a:t>exercitation ullamco laboris nisi ut aliquip ex ea commodo consequat. Duis aute irure dolor in.</a:t>
            </a:r>
          </a:p>
        </p:txBody>
      </p:sp>
      <p:sp>
        <p:nvSpPr>
          <p:cNvPr id="19" name="Inhaltsplatzhalter 18">
            <a:extLst>
              <a:ext uri="{FF2B5EF4-FFF2-40B4-BE49-F238E27FC236}">
                <a16:creationId xmlns:a16="http://schemas.microsoft.com/office/drawing/2014/main" id="{BC9E1A83-5114-7708-B59A-2EFCE5297BE4}"/>
              </a:ext>
            </a:extLst>
          </p:cNvPr>
          <p:cNvSpPr>
            <a:spLocks noGrp="1"/>
          </p:cNvSpPr>
          <p:nvPr>
            <p:ph sz="quarter" idx="13"/>
          </p:nvPr>
        </p:nvSpPr>
        <p:spPr>
          <a:xfrm>
            <a:off x="6572250" y="2532063"/>
            <a:ext cx="5976938" cy="4102100"/>
          </a:xfrm>
        </p:spPr>
        <p:txBody>
          <a:bodyPr rtlCol="0"/>
          <a:lstStyle/>
          <a:p>
            <a:pPr marL="285750" indent="-285750" eaLnBrk="1" fontAlgn="auto" hangingPunct="1">
              <a:buFont typeface="Symbol" panose="05050102010706020507" pitchFamily="18" charset="2"/>
              <a:buChar char="-"/>
              <a:defRPr/>
            </a:pPr>
            <a:r>
              <a:rPr lang="de-CH" dirty="0"/>
              <a:t>Lorem ipsum dolor sit amet, consectetur adipiscing elit, sed do eiusmod tempor incididunt ut labore et dolore magna aliqua. Ut enim ad minim veniam, quis nostrud </a:t>
            </a:r>
          </a:p>
          <a:p>
            <a:pPr marL="285750" indent="-285750" eaLnBrk="1" fontAlgn="auto" hangingPunct="1">
              <a:buFont typeface="Symbol" panose="05050102010706020507" pitchFamily="18" charset="2"/>
              <a:buChar char="-"/>
              <a:defRPr/>
            </a:pPr>
            <a:r>
              <a:rPr lang="de-CH" dirty="0"/>
              <a:t>exercitation ullamco laboris </a:t>
            </a:r>
            <a:br>
              <a:rPr lang="de-CH" dirty="0"/>
            </a:br>
            <a:r>
              <a:rPr lang="de-CH" dirty="0"/>
              <a:t>nisi ut aliquip ex ea commodo consequat. Duis aute irure dolor in reprehenderit in voluptate velit esse.</a:t>
            </a:r>
            <a:endParaRPr lang="de-CH" dirty="0">
              <a:solidFill>
                <a:schemeClr val="accent3"/>
              </a:solidFill>
            </a:endParaRPr>
          </a:p>
          <a:p>
            <a:pPr marL="285750" indent="-285750" eaLnBrk="1" fontAlgn="auto" hangingPunct="1">
              <a:buFont typeface="Symbol" panose="05050102010706020507" pitchFamily="18" charset="2"/>
              <a:buChar char="-"/>
              <a:defRPr/>
            </a:pPr>
            <a:r>
              <a:rPr lang="de-CH" dirty="0"/>
              <a:t>exercitation ullamco laboris nisi ut aliquip ex ea commodo consequat. Duis aute irure dolor in.</a:t>
            </a:r>
          </a:p>
          <a:p>
            <a:pPr eaLnBrk="1" fontAlgn="auto" hangingPunct="1">
              <a:defRPr/>
            </a:pPr>
            <a:endParaRPr lang="de-CH" dirty="0"/>
          </a:p>
        </p:txBody>
      </p:sp>
      <p:sp>
        <p:nvSpPr>
          <p:cNvPr id="103432" name="Textplatzhalter 20">
            <a:extLst>
              <a:ext uri="{FF2B5EF4-FFF2-40B4-BE49-F238E27FC236}">
                <a16:creationId xmlns:a16="http://schemas.microsoft.com/office/drawing/2014/main" id="{8E249F65-69C8-5861-0BF5-529D6A3684F0}"/>
              </a:ext>
            </a:extLst>
          </p:cNvPr>
          <p:cNvSpPr>
            <a:spLocks noGrp="1" noChangeArrowheads="1"/>
          </p:cNvSpPr>
          <p:nvPr>
            <p:ph type="body" sz="quarter" idx="14"/>
          </p:nvPr>
        </p:nvSpPr>
        <p:spPr>
          <a:xfrm>
            <a:off x="306388" y="1885950"/>
            <a:ext cx="5976937" cy="646113"/>
          </a:xfrm>
        </p:spPr>
        <p:txBody>
          <a:bodyPr/>
          <a:lstStyle/>
          <a:p>
            <a:pPr eaLnBrk="1" hangingPunct="1">
              <a:spcBef>
                <a:spcPct val="0"/>
              </a:spcBef>
              <a:spcAft>
                <a:spcPct val="0"/>
              </a:spcAft>
            </a:pPr>
            <a:r>
              <a:rPr lang="de-CH" altLang="de-DE" dirty="0">
                <a:cs typeface="Aharoni" panose="020F0502020204030204" pitchFamily="2" charset="-79"/>
              </a:rPr>
              <a:t>Lorem ipsum dolor</a:t>
            </a:r>
          </a:p>
        </p:txBody>
      </p:sp>
      <p:sp>
        <p:nvSpPr>
          <p:cNvPr id="103433" name="Textplatzhalter 22">
            <a:extLst>
              <a:ext uri="{FF2B5EF4-FFF2-40B4-BE49-F238E27FC236}">
                <a16:creationId xmlns:a16="http://schemas.microsoft.com/office/drawing/2014/main" id="{122E451E-7328-2E19-01E3-82F6F1084B77}"/>
              </a:ext>
            </a:extLst>
          </p:cNvPr>
          <p:cNvSpPr>
            <a:spLocks noGrp="1" noChangeArrowheads="1"/>
          </p:cNvSpPr>
          <p:nvPr>
            <p:ph type="body" sz="quarter" idx="15"/>
          </p:nvPr>
        </p:nvSpPr>
        <p:spPr>
          <a:xfrm>
            <a:off x="6572250" y="1885950"/>
            <a:ext cx="5976938" cy="646113"/>
          </a:xfrm>
        </p:spPr>
        <p:txBody>
          <a:bodyPr/>
          <a:lstStyle/>
          <a:p>
            <a:pPr eaLnBrk="1" hangingPunct="1">
              <a:spcBef>
                <a:spcPct val="0"/>
              </a:spcBef>
              <a:spcAft>
                <a:spcPct val="0"/>
              </a:spcAft>
            </a:pPr>
            <a:r>
              <a:rPr lang="de-CH" altLang="de-DE" dirty="0">
                <a:cs typeface="Aharoni" panose="020F0502020204030204" pitchFamily="2" charset="-79"/>
              </a:rPr>
              <a:t>Lorem ipsum dolor</a:t>
            </a:r>
          </a:p>
        </p:txBody>
      </p:sp>
      <p:sp>
        <p:nvSpPr>
          <p:cNvPr id="103434" name="Rechteck 3">
            <a:extLst>
              <a:ext uri="{FF2B5EF4-FFF2-40B4-BE49-F238E27FC236}">
                <a16:creationId xmlns:a16="http://schemas.microsoft.com/office/drawing/2014/main" id="{22AE8375-D341-DCDD-E5DA-4EADF31FEF3F}"/>
              </a:ext>
            </a:extLst>
          </p:cNvPr>
          <p:cNvSpPr>
            <a:spLocks noChangeArrowheads="1"/>
          </p:cNvSpPr>
          <p:nvPr/>
        </p:nvSpPr>
        <p:spPr bwMode="auto">
          <a:xfrm>
            <a:off x="6572250" y="5292725"/>
            <a:ext cx="5976938" cy="955675"/>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144000" tIns="108000" rIns="108000" bIns="108000" anchor="ctr">
            <a:spAutoFit/>
          </a:bodyP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b="1" dirty="0"/>
              <a:t>Lorem ipsum dolor sit amet, consectetur adipiscing elit, </a:t>
            </a:r>
            <a:br>
              <a:rPr lang="de-CH" altLang="de-DE" b="1" dirty="0"/>
            </a:br>
            <a:r>
              <a:rPr lang="de-CH" altLang="de-DE" b="1" dirty="0"/>
              <a:t>sed do eiusmod tempor incididunt ut labore et </a:t>
            </a:r>
            <a:br>
              <a:rPr lang="de-CH" altLang="de-DE" b="1" dirty="0"/>
            </a:br>
            <a:r>
              <a:rPr lang="de-CH" altLang="de-DE" b="1" dirty="0"/>
              <a:t>dolore magna aliqua. Ut enim ad minim veniam, quis.</a:t>
            </a:r>
          </a:p>
        </p:txBody>
      </p:sp>
      <p:sp>
        <p:nvSpPr>
          <p:cNvPr id="103435" name="Rechteck 14">
            <a:extLst>
              <a:ext uri="{FF2B5EF4-FFF2-40B4-BE49-F238E27FC236}">
                <a16:creationId xmlns:a16="http://schemas.microsoft.com/office/drawing/2014/main" id="{E881ABD0-7ABF-3A22-E178-04127309909B}"/>
              </a:ext>
            </a:extLst>
          </p:cNvPr>
          <p:cNvSpPr>
            <a:spLocks noChangeArrowheads="1"/>
          </p:cNvSpPr>
          <p:nvPr/>
        </p:nvSpPr>
        <p:spPr bwMode="auto">
          <a:xfrm>
            <a:off x="306388" y="5292725"/>
            <a:ext cx="5975350" cy="955675"/>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144000" tIns="108000" rIns="108000" bIns="108000" anchor="ctr">
            <a:spAutoFit/>
          </a:bodyP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b="1" dirty="0"/>
              <a:t>Lorem ipsum dolor sit amet, consectetur adipiscing elit, </a:t>
            </a:r>
            <a:br>
              <a:rPr lang="de-CH" altLang="de-DE" b="1" dirty="0"/>
            </a:br>
            <a:r>
              <a:rPr lang="de-CH" altLang="de-DE" b="1" dirty="0"/>
              <a:t>sed do eiusmod tempor incididunt ut labore et </a:t>
            </a:r>
            <a:br>
              <a:rPr lang="de-CH" altLang="de-DE" b="1" dirty="0"/>
            </a:br>
            <a:r>
              <a:rPr lang="de-CH" altLang="de-DE" b="1" dirty="0"/>
              <a:t>dolore magna aliqua. Ut enim ad minim veniam, quis.</a:t>
            </a: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450" name="think-cell data - do not delete" hidden="1">
            <a:extLst>
              <a:ext uri="{FF2B5EF4-FFF2-40B4-BE49-F238E27FC236}">
                <a16:creationId xmlns:a16="http://schemas.microsoft.com/office/drawing/2014/main" id="{F339AB28-6274-1F68-5BFB-6D686D44592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04450" name="think-cell data - do not delete" hidden="1">
                        <a:extLst>
                          <a:ext uri="{FF2B5EF4-FFF2-40B4-BE49-F238E27FC236}">
                            <a16:creationId xmlns:a16="http://schemas.microsoft.com/office/drawing/2014/main" id="{F339AB28-6274-1F68-5BFB-6D686D4459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8F383F6E-B45E-9519-C757-7DE8B1FCB22E}"/>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Text 3 Spalten mit Ergebnis</a:t>
            </a:r>
          </a:p>
        </p:txBody>
      </p:sp>
      <p:sp>
        <p:nvSpPr>
          <p:cNvPr id="104452" name="Foliennummernplatzhalter 9">
            <a:extLst>
              <a:ext uri="{FF2B5EF4-FFF2-40B4-BE49-F238E27FC236}">
                <a16:creationId xmlns:a16="http://schemas.microsoft.com/office/drawing/2014/main" id="{A7412ADE-B3F7-1B67-2197-CD7214CF1B75}"/>
              </a:ext>
            </a:extLst>
          </p:cNvPr>
          <p:cNvSpPr>
            <a:spLocks noGrp="1" noChangeArrowheads="1"/>
          </p:cNvSpPr>
          <p:nvPr>
            <p:ph type="sldNum" sz="quarter" idx="18"/>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7B0CBD8B-4CC1-4D60-B277-93F47DDD902C}" type="slidenum">
              <a:rPr lang="de-CH" smtClean="0"/>
              <a:pPr>
                <a:spcBef>
                  <a:spcPct val="0"/>
                </a:spcBef>
                <a:spcAft>
                  <a:spcPct val="0"/>
                </a:spcAft>
                <a:defRPr/>
              </a:pPr>
              <a:t>73</a:t>
            </a:fld>
            <a:endParaRPr lang="de-CH" altLang="de-DE" sz="1100" dirty="0">
              <a:solidFill>
                <a:srgbClr val="003CB4"/>
              </a:solidFill>
            </a:endParaRPr>
          </a:p>
        </p:txBody>
      </p:sp>
      <p:sp>
        <p:nvSpPr>
          <p:cNvPr id="104453" name="Fußzeilenplatzhalter 7">
            <a:extLst>
              <a:ext uri="{FF2B5EF4-FFF2-40B4-BE49-F238E27FC236}">
                <a16:creationId xmlns:a16="http://schemas.microsoft.com/office/drawing/2014/main" id="{65DD9866-8D64-A111-ACE8-C229D5B1D1F3}"/>
              </a:ext>
            </a:extLst>
          </p:cNvPr>
          <p:cNvSpPr>
            <a:spLocks noGrp="1" noChangeArrowheads="1"/>
          </p:cNvSpPr>
          <p:nvPr>
            <p:ph type="ftr" sz="quarter" idx="19"/>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27" name="Inhaltsplatzhalter 26">
            <a:extLst>
              <a:ext uri="{FF2B5EF4-FFF2-40B4-BE49-F238E27FC236}">
                <a16:creationId xmlns:a16="http://schemas.microsoft.com/office/drawing/2014/main" id="{D05643E2-2563-624D-8451-A3A4BDE124C7}"/>
              </a:ext>
            </a:extLst>
          </p:cNvPr>
          <p:cNvSpPr>
            <a:spLocks noGrp="1"/>
          </p:cNvSpPr>
          <p:nvPr>
            <p:ph idx="12"/>
          </p:nvPr>
        </p:nvSpPr>
        <p:spPr>
          <a:xfrm>
            <a:off x="306388" y="2532063"/>
            <a:ext cx="3889375" cy="4102100"/>
          </a:xfrm>
        </p:spPr>
        <p:txBody>
          <a:bodyPr rtlCol="0"/>
          <a:lstStyle/>
          <a:p>
            <a:pPr marL="285750" indent="-285750" eaLnBrk="1" fontAlgn="auto" hangingPunct="1">
              <a:buFont typeface="Symbol" panose="05050102010706020507" pitchFamily="18" charset="2"/>
              <a:buChar char="-"/>
              <a:defRPr/>
            </a:pPr>
            <a:r>
              <a:rPr lang="de-CH" dirty="0"/>
              <a:t>Lorem ipsum dolor sit amet, consectetur adipiscing elit, sed do eiusmod </a:t>
            </a:r>
            <a:br>
              <a:rPr lang="de-CH" dirty="0"/>
            </a:br>
            <a:r>
              <a:rPr lang="de-CH" dirty="0"/>
              <a:t>tempor incididunt ut labore et dolore magna aliqua. </a:t>
            </a:r>
          </a:p>
          <a:p>
            <a:pPr marL="285750" indent="-285750" eaLnBrk="1" fontAlgn="auto" hangingPunct="1">
              <a:buFont typeface="Symbol" panose="05050102010706020507" pitchFamily="18" charset="2"/>
              <a:buChar char="-"/>
              <a:defRPr/>
            </a:pPr>
            <a:r>
              <a:rPr lang="de-CH" dirty="0"/>
              <a:t>exercitation ullamco laboris </a:t>
            </a:r>
            <a:br>
              <a:rPr lang="de-CH" dirty="0"/>
            </a:br>
            <a:r>
              <a:rPr lang="de-CH" dirty="0"/>
              <a:t>nisi ut aliquip ex ea commodo consequat. Duis aute irure dolor in reprehenderit.</a:t>
            </a:r>
          </a:p>
          <a:p>
            <a:pPr marL="285750" indent="-285750" eaLnBrk="1" fontAlgn="auto" hangingPunct="1">
              <a:buFont typeface="Symbol" panose="05050102010706020507" pitchFamily="18" charset="2"/>
              <a:buChar char="-"/>
              <a:defRPr/>
            </a:pPr>
            <a:r>
              <a:rPr lang="de-CH" dirty="0"/>
              <a:t>exercitation ullamco laboris </a:t>
            </a:r>
            <a:br>
              <a:rPr lang="de-CH" dirty="0"/>
            </a:br>
            <a:r>
              <a:rPr lang="de-CH" dirty="0"/>
              <a:t>nisi ut aliquip ex ea commodo consequat. Duis aute irure dolor in reprehenderit.</a:t>
            </a:r>
          </a:p>
          <a:p>
            <a:pPr marL="285750" indent="-285750" eaLnBrk="1" fontAlgn="auto" hangingPunct="1">
              <a:buFont typeface="Symbol" panose="05050102010706020507" pitchFamily="18" charset="2"/>
              <a:buChar char="-"/>
              <a:defRPr/>
            </a:pPr>
            <a:endParaRPr lang="de-CH" dirty="0"/>
          </a:p>
          <a:p>
            <a:pPr eaLnBrk="1" fontAlgn="auto" hangingPunct="1">
              <a:defRPr/>
            </a:pPr>
            <a:endParaRPr lang="de-CH" dirty="0"/>
          </a:p>
        </p:txBody>
      </p:sp>
      <p:sp>
        <p:nvSpPr>
          <p:cNvPr id="28" name="Inhaltsplatzhalter 27">
            <a:extLst>
              <a:ext uri="{FF2B5EF4-FFF2-40B4-BE49-F238E27FC236}">
                <a16:creationId xmlns:a16="http://schemas.microsoft.com/office/drawing/2014/main" id="{7660D251-4527-C7FF-7DE7-D1EE80D7E921}"/>
              </a:ext>
            </a:extLst>
          </p:cNvPr>
          <p:cNvSpPr>
            <a:spLocks noGrp="1"/>
          </p:cNvSpPr>
          <p:nvPr>
            <p:ph sz="quarter" idx="13"/>
          </p:nvPr>
        </p:nvSpPr>
        <p:spPr>
          <a:xfrm>
            <a:off x="4483100" y="2532063"/>
            <a:ext cx="3889375" cy="4102100"/>
          </a:xfrm>
        </p:spPr>
        <p:txBody>
          <a:bodyPr rtlCol="0"/>
          <a:lstStyle/>
          <a:p>
            <a:pPr marL="285750" indent="-285750" eaLnBrk="1" fontAlgn="auto" hangingPunct="1">
              <a:buFont typeface="Symbol" panose="05050102010706020507" pitchFamily="18" charset="2"/>
              <a:buChar char="-"/>
              <a:defRPr/>
            </a:pPr>
            <a:r>
              <a:rPr lang="de-CH" dirty="0"/>
              <a:t>Lorem ipsum dolor sit amet, consectetur adipiscing elit, sed do eiusmod </a:t>
            </a:r>
            <a:br>
              <a:rPr lang="de-CH" dirty="0"/>
            </a:br>
            <a:r>
              <a:rPr lang="de-CH" dirty="0"/>
              <a:t>tempor incididunt ut labore et dolore magna aliqua. </a:t>
            </a:r>
          </a:p>
          <a:p>
            <a:pPr marL="285750" indent="-285750" eaLnBrk="1" fontAlgn="auto" hangingPunct="1">
              <a:buFont typeface="Symbol" panose="05050102010706020507" pitchFamily="18" charset="2"/>
              <a:buChar char="-"/>
              <a:defRPr/>
            </a:pPr>
            <a:r>
              <a:rPr lang="de-CH" dirty="0"/>
              <a:t>exercitation ullamco laboris </a:t>
            </a:r>
            <a:br>
              <a:rPr lang="de-CH" dirty="0"/>
            </a:br>
            <a:r>
              <a:rPr lang="de-CH" dirty="0"/>
              <a:t>nisi ut aliquip ex ea commodo consequat. Duis aute irure dolor in reprehenderit.</a:t>
            </a:r>
          </a:p>
          <a:p>
            <a:pPr marL="285750" indent="-285750" eaLnBrk="1" fontAlgn="auto" hangingPunct="1">
              <a:buFont typeface="Symbol" panose="05050102010706020507" pitchFamily="18" charset="2"/>
              <a:buChar char="-"/>
              <a:defRPr/>
            </a:pPr>
            <a:r>
              <a:rPr lang="de-CH" dirty="0"/>
              <a:t>exercitation ullamco laboris </a:t>
            </a:r>
            <a:br>
              <a:rPr lang="de-CH" dirty="0"/>
            </a:br>
            <a:r>
              <a:rPr lang="de-CH" dirty="0"/>
              <a:t>nisi ut aliquip ex ea commodo consequat. Duis aute irure dolor in reprehenderit.</a:t>
            </a:r>
          </a:p>
          <a:p>
            <a:pPr marL="285750" indent="-285750" eaLnBrk="1" fontAlgn="auto" hangingPunct="1">
              <a:buFont typeface="Symbol" panose="05050102010706020507" pitchFamily="18" charset="2"/>
              <a:buChar char="-"/>
              <a:defRPr/>
            </a:pPr>
            <a:endParaRPr lang="de-CH" dirty="0"/>
          </a:p>
          <a:p>
            <a:pPr eaLnBrk="1" fontAlgn="auto" hangingPunct="1">
              <a:defRPr/>
            </a:pPr>
            <a:endParaRPr lang="de-CH" dirty="0"/>
          </a:p>
        </p:txBody>
      </p:sp>
      <p:sp>
        <p:nvSpPr>
          <p:cNvPr id="29" name="Inhaltsplatzhalter 28">
            <a:extLst>
              <a:ext uri="{FF2B5EF4-FFF2-40B4-BE49-F238E27FC236}">
                <a16:creationId xmlns:a16="http://schemas.microsoft.com/office/drawing/2014/main" id="{81EAFAA6-1A87-0DB2-9794-6526559648C6}"/>
              </a:ext>
            </a:extLst>
          </p:cNvPr>
          <p:cNvSpPr>
            <a:spLocks noGrp="1"/>
          </p:cNvSpPr>
          <p:nvPr>
            <p:ph sz="quarter" idx="14"/>
          </p:nvPr>
        </p:nvSpPr>
        <p:spPr>
          <a:xfrm>
            <a:off x="8659813" y="2532063"/>
            <a:ext cx="3889375" cy="4102100"/>
          </a:xfrm>
        </p:spPr>
        <p:txBody>
          <a:bodyPr rtlCol="0"/>
          <a:lstStyle/>
          <a:p>
            <a:pPr marL="285750" indent="-285750" eaLnBrk="1" fontAlgn="auto" hangingPunct="1">
              <a:buFont typeface="Symbol" panose="05050102010706020507" pitchFamily="18" charset="2"/>
              <a:buChar char="-"/>
              <a:defRPr/>
            </a:pPr>
            <a:r>
              <a:rPr lang="de-CH" dirty="0"/>
              <a:t>Lorem ipsum dolor sit amet, consectetur adipiscing elit, sed do eiusmod </a:t>
            </a:r>
            <a:br>
              <a:rPr lang="de-CH" dirty="0"/>
            </a:br>
            <a:r>
              <a:rPr lang="de-CH" dirty="0"/>
              <a:t>tempor incididunt ut labore et dolore magna aliqua. </a:t>
            </a:r>
          </a:p>
          <a:p>
            <a:pPr marL="285750" indent="-285750" eaLnBrk="1" fontAlgn="auto" hangingPunct="1">
              <a:buFont typeface="Symbol" panose="05050102010706020507" pitchFamily="18" charset="2"/>
              <a:buChar char="-"/>
              <a:defRPr/>
            </a:pPr>
            <a:r>
              <a:rPr lang="de-CH" dirty="0"/>
              <a:t>exercitation ullamco laboris </a:t>
            </a:r>
            <a:br>
              <a:rPr lang="de-CH" dirty="0"/>
            </a:br>
            <a:r>
              <a:rPr lang="de-CH" dirty="0"/>
              <a:t>nisi ut aliquip ex ea commodo consequat. Duis aute irure dolor in reprehenderit.</a:t>
            </a:r>
          </a:p>
          <a:p>
            <a:pPr marL="285750" indent="-285750" eaLnBrk="1" fontAlgn="auto" hangingPunct="1">
              <a:buFont typeface="Symbol" panose="05050102010706020507" pitchFamily="18" charset="2"/>
              <a:buChar char="-"/>
              <a:defRPr/>
            </a:pPr>
            <a:r>
              <a:rPr lang="de-CH" dirty="0"/>
              <a:t>exercitation ullamco laboris </a:t>
            </a:r>
            <a:br>
              <a:rPr lang="de-CH" dirty="0"/>
            </a:br>
            <a:r>
              <a:rPr lang="de-CH" dirty="0"/>
              <a:t>nisi ut aliquip ex ea commodo consequat. Duis aute irure dolor in reprehenderit.</a:t>
            </a:r>
          </a:p>
          <a:p>
            <a:pPr marL="285750" indent="-285750" eaLnBrk="1" fontAlgn="auto" hangingPunct="1">
              <a:buFont typeface="Symbol" panose="05050102010706020507" pitchFamily="18" charset="2"/>
              <a:buChar char="-"/>
              <a:defRPr/>
            </a:pPr>
            <a:endParaRPr lang="de-CH" dirty="0"/>
          </a:p>
          <a:p>
            <a:pPr eaLnBrk="1" fontAlgn="auto" hangingPunct="1">
              <a:defRPr/>
            </a:pPr>
            <a:endParaRPr lang="de-CH" dirty="0"/>
          </a:p>
        </p:txBody>
      </p:sp>
      <p:sp>
        <p:nvSpPr>
          <p:cNvPr id="104457" name="Textplatzhalter 29">
            <a:extLst>
              <a:ext uri="{FF2B5EF4-FFF2-40B4-BE49-F238E27FC236}">
                <a16:creationId xmlns:a16="http://schemas.microsoft.com/office/drawing/2014/main" id="{490AFF60-8DB3-4C1E-1DC0-DE5115D6C26F}"/>
              </a:ext>
            </a:extLst>
          </p:cNvPr>
          <p:cNvSpPr>
            <a:spLocks noGrp="1" noChangeArrowheads="1"/>
          </p:cNvSpPr>
          <p:nvPr>
            <p:ph type="body" sz="quarter" idx="15"/>
          </p:nvPr>
        </p:nvSpPr>
        <p:spPr>
          <a:xfrm>
            <a:off x="306388" y="1885950"/>
            <a:ext cx="3889375" cy="646113"/>
          </a:xfrm>
        </p:spPr>
        <p:txBody>
          <a:bodyPr/>
          <a:lstStyle/>
          <a:p>
            <a:pPr eaLnBrk="1" hangingPunct="1">
              <a:spcBef>
                <a:spcPct val="0"/>
              </a:spcBef>
              <a:spcAft>
                <a:spcPct val="0"/>
              </a:spcAft>
            </a:pPr>
            <a:r>
              <a:rPr lang="de-CH" altLang="de-DE" dirty="0">
                <a:cs typeface="Aharoni" panose="020F0502020204030204" pitchFamily="2" charset="-79"/>
              </a:rPr>
              <a:t>Lorem ipsum dolor</a:t>
            </a:r>
          </a:p>
        </p:txBody>
      </p:sp>
      <p:sp>
        <p:nvSpPr>
          <p:cNvPr id="104458" name="Textplatzhalter 30">
            <a:extLst>
              <a:ext uri="{FF2B5EF4-FFF2-40B4-BE49-F238E27FC236}">
                <a16:creationId xmlns:a16="http://schemas.microsoft.com/office/drawing/2014/main" id="{9B20FF51-2F85-4354-0959-A7789B613AA5}"/>
              </a:ext>
            </a:extLst>
          </p:cNvPr>
          <p:cNvSpPr>
            <a:spLocks noGrp="1" noChangeArrowheads="1"/>
          </p:cNvSpPr>
          <p:nvPr>
            <p:ph type="body" sz="quarter" idx="16"/>
          </p:nvPr>
        </p:nvSpPr>
        <p:spPr>
          <a:xfrm>
            <a:off x="4483100" y="1885950"/>
            <a:ext cx="3889375" cy="646113"/>
          </a:xfrm>
        </p:spPr>
        <p:txBody>
          <a:bodyPr/>
          <a:lstStyle/>
          <a:p>
            <a:pPr eaLnBrk="1" hangingPunct="1">
              <a:spcBef>
                <a:spcPct val="0"/>
              </a:spcBef>
              <a:spcAft>
                <a:spcPct val="0"/>
              </a:spcAft>
            </a:pPr>
            <a:r>
              <a:rPr lang="de-CH" altLang="de-DE" dirty="0">
                <a:cs typeface="Aharoni" panose="020F0502020204030204" pitchFamily="2" charset="-79"/>
              </a:rPr>
              <a:t>Lorem ipsum dolor</a:t>
            </a:r>
          </a:p>
        </p:txBody>
      </p:sp>
      <p:sp>
        <p:nvSpPr>
          <p:cNvPr id="104459" name="Textplatzhalter 31">
            <a:extLst>
              <a:ext uri="{FF2B5EF4-FFF2-40B4-BE49-F238E27FC236}">
                <a16:creationId xmlns:a16="http://schemas.microsoft.com/office/drawing/2014/main" id="{955E51FE-5F47-4CFB-3A5E-BCD51FE9424C}"/>
              </a:ext>
            </a:extLst>
          </p:cNvPr>
          <p:cNvSpPr>
            <a:spLocks noGrp="1" noChangeArrowheads="1"/>
          </p:cNvSpPr>
          <p:nvPr>
            <p:ph type="body" sz="quarter" idx="17"/>
          </p:nvPr>
        </p:nvSpPr>
        <p:spPr>
          <a:xfrm>
            <a:off x="8659813" y="1885950"/>
            <a:ext cx="3889375" cy="646113"/>
          </a:xfrm>
        </p:spPr>
        <p:txBody>
          <a:bodyPr/>
          <a:lstStyle/>
          <a:p>
            <a:pPr eaLnBrk="1" hangingPunct="1">
              <a:spcBef>
                <a:spcPct val="0"/>
              </a:spcBef>
              <a:spcAft>
                <a:spcPct val="0"/>
              </a:spcAft>
            </a:pPr>
            <a:r>
              <a:rPr lang="de-CH" altLang="de-DE" dirty="0">
                <a:cs typeface="Aharoni" panose="020F0502020204030204" pitchFamily="2" charset="-79"/>
              </a:rPr>
              <a:t>Lorem ipsum dolor</a:t>
            </a:r>
          </a:p>
        </p:txBody>
      </p:sp>
      <p:sp>
        <p:nvSpPr>
          <p:cNvPr id="104460" name="Inhaltsplatzhalter 2">
            <a:extLst>
              <a:ext uri="{FF2B5EF4-FFF2-40B4-BE49-F238E27FC236}">
                <a16:creationId xmlns:a16="http://schemas.microsoft.com/office/drawing/2014/main" id="{2ADF79A9-FE50-2168-DDF2-DC23280CA523}"/>
              </a:ext>
            </a:extLst>
          </p:cNvPr>
          <p:cNvSpPr txBox="1">
            <a:spLocks noChangeArrowheads="1"/>
          </p:cNvSpPr>
          <p:nvPr/>
        </p:nvSpPr>
        <p:spPr bwMode="auto">
          <a:xfrm>
            <a:off x="306388" y="5292725"/>
            <a:ext cx="3887787" cy="957263"/>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144000" tIns="108000" rIns="108000" bIns="108000" anchor="ctr">
            <a:spAutoFit/>
          </a:bodyP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t>Lorem ipsum dolor sit amet, consectetur adipiscing elit, sed do eiusmod tempor incididunt ut</a:t>
            </a:r>
          </a:p>
        </p:txBody>
      </p:sp>
      <p:sp>
        <p:nvSpPr>
          <p:cNvPr id="104461" name="Inhaltsplatzhalter 2">
            <a:extLst>
              <a:ext uri="{FF2B5EF4-FFF2-40B4-BE49-F238E27FC236}">
                <a16:creationId xmlns:a16="http://schemas.microsoft.com/office/drawing/2014/main" id="{8D74E339-F84C-D957-0EF2-5AF9D694374B}"/>
              </a:ext>
            </a:extLst>
          </p:cNvPr>
          <p:cNvSpPr txBox="1">
            <a:spLocks noChangeArrowheads="1"/>
          </p:cNvSpPr>
          <p:nvPr/>
        </p:nvSpPr>
        <p:spPr bwMode="auto">
          <a:xfrm>
            <a:off x="4483100" y="5292725"/>
            <a:ext cx="3889375" cy="957263"/>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144000" tIns="108000" rIns="108000" bIns="108000" anchor="ctr">
            <a:spAutoFit/>
          </a:bodyP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t>Lorem ipsum dolor sit amet, consectetur adipiscing elit, sed do eiusmod tempor incididunt ut</a:t>
            </a:r>
          </a:p>
        </p:txBody>
      </p:sp>
      <p:sp>
        <p:nvSpPr>
          <p:cNvPr id="104462" name="Inhaltsplatzhalter 2">
            <a:extLst>
              <a:ext uri="{FF2B5EF4-FFF2-40B4-BE49-F238E27FC236}">
                <a16:creationId xmlns:a16="http://schemas.microsoft.com/office/drawing/2014/main" id="{B1F6A882-62A2-ECC3-152E-CCCDDD788867}"/>
              </a:ext>
            </a:extLst>
          </p:cNvPr>
          <p:cNvSpPr txBox="1">
            <a:spLocks noChangeArrowheads="1"/>
          </p:cNvSpPr>
          <p:nvPr/>
        </p:nvSpPr>
        <p:spPr bwMode="auto">
          <a:xfrm>
            <a:off x="8659813" y="5292725"/>
            <a:ext cx="3889375" cy="957263"/>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144000" tIns="108000" rIns="108000" bIns="108000" anchor="ctr">
            <a:spAutoFit/>
          </a:bodyP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t>Lorem ipsum dolor sit amet, consectetur adipiscing elit, sed do eiusmod tempor incididunt ut</a:t>
            </a: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hteck 29">
            <a:extLst>
              <a:ext uri="{FF2B5EF4-FFF2-40B4-BE49-F238E27FC236}">
                <a16:creationId xmlns:a16="http://schemas.microsoft.com/office/drawing/2014/main" id="{843BBA4A-7383-DEEE-850F-EFE1B206FC02}"/>
              </a:ext>
            </a:extLst>
          </p:cNvPr>
          <p:cNvSpPr>
            <a:spLocks noChangeArrowheads="1"/>
          </p:cNvSpPr>
          <p:nvPr/>
        </p:nvSpPr>
        <p:spPr bwMode="auto">
          <a:xfrm>
            <a:off x="8461375" y="1747838"/>
            <a:ext cx="4087813" cy="4886325"/>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dirty="0"/>
          </a:p>
        </p:txBody>
      </p:sp>
      <p:graphicFrame>
        <p:nvGraphicFramePr>
          <p:cNvPr id="105475" name="think-cell data - do not delete" hidden="1">
            <a:extLst>
              <a:ext uri="{FF2B5EF4-FFF2-40B4-BE49-F238E27FC236}">
                <a16:creationId xmlns:a16="http://schemas.microsoft.com/office/drawing/2014/main" id="{0524F8B6-E008-DED9-B46B-354A1FDD864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05475" name="think-cell data - do not delete" hidden="1">
                        <a:extLst>
                          <a:ext uri="{FF2B5EF4-FFF2-40B4-BE49-F238E27FC236}">
                            <a16:creationId xmlns:a16="http://schemas.microsoft.com/office/drawing/2014/main" id="{0524F8B6-E008-DED9-B46B-354A1FDD86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60128323-9F50-CBD6-2421-A5341938C583}"/>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Summary</a:t>
            </a:r>
          </a:p>
        </p:txBody>
      </p:sp>
      <p:sp>
        <p:nvSpPr>
          <p:cNvPr id="105477" name="Foliennummernplatzhalter 7">
            <a:extLst>
              <a:ext uri="{FF2B5EF4-FFF2-40B4-BE49-F238E27FC236}">
                <a16:creationId xmlns:a16="http://schemas.microsoft.com/office/drawing/2014/main" id="{35A90EC2-D457-044C-A1DA-386074686C09}"/>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3DF0B289-4CB2-438F-A868-FB470C4E618D}" type="slidenum">
              <a:rPr lang="de-CH" altLang="de-DE" sz="1100" smtClean="0">
                <a:solidFill>
                  <a:srgbClr val="003CB4"/>
                </a:solidFill>
                <a:latin typeface="Frutiger for ZKB Light" panose="020B0303030504020204" pitchFamily="34" charset="0"/>
              </a:rPr>
              <a:pPr>
                <a:spcBef>
                  <a:spcPct val="0"/>
                </a:spcBef>
                <a:spcAft>
                  <a:spcPct val="0"/>
                </a:spcAft>
              </a:pPr>
              <a:t>74</a:t>
            </a:fld>
            <a:endParaRPr lang="de-CH" altLang="de-DE" sz="1100" dirty="0">
              <a:solidFill>
                <a:srgbClr val="003CB4"/>
              </a:solidFill>
              <a:latin typeface="Frutiger for ZKB Light" panose="020B0303030504020204" pitchFamily="34" charset="0"/>
            </a:endParaRPr>
          </a:p>
        </p:txBody>
      </p:sp>
      <p:sp>
        <p:nvSpPr>
          <p:cNvPr id="105478" name="Fußzeilenplatzhalter 6">
            <a:extLst>
              <a:ext uri="{FF2B5EF4-FFF2-40B4-BE49-F238E27FC236}">
                <a16:creationId xmlns:a16="http://schemas.microsoft.com/office/drawing/2014/main" id="{AE489C6B-63F3-1B0C-FC10-E9E3E9F7EFBA}"/>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4" name="Inhaltsplatzhalter 16">
            <a:extLst>
              <a:ext uri="{FF2B5EF4-FFF2-40B4-BE49-F238E27FC236}">
                <a16:creationId xmlns:a16="http://schemas.microsoft.com/office/drawing/2014/main" id="{B9A920AA-CE66-C17D-553A-1A2A2242B7CC}"/>
              </a:ext>
            </a:extLst>
          </p:cNvPr>
          <p:cNvSpPr txBox="1">
            <a:spLocks/>
          </p:cNvSpPr>
          <p:nvPr/>
        </p:nvSpPr>
        <p:spPr>
          <a:xfrm>
            <a:off x="4498975" y="1885950"/>
            <a:ext cx="3889375" cy="2665413"/>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sz="1400" b="1" dirty="0"/>
              <a:t>Überschrift</a:t>
            </a:r>
            <a:endParaRPr lang="de-CH" sz="1400" dirty="0"/>
          </a:p>
          <a:p>
            <a:pPr fontAlgn="auto">
              <a:defRPr/>
            </a:pPr>
            <a:r>
              <a:rPr lang="de-CH" sz="1400" dirty="0"/>
              <a:t>Lorem ipsum dolor sit amet, consectetur adipiscing elit, sed do eiusmod tempor incididunt ut labore et dolore magna aliqua. Exercitation ullamco laboris </a:t>
            </a:r>
            <a:br>
              <a:rPr lang="de-CH" sz="1400" dirty="0"/>
            </a:br>
            <a:r>
              <a:rPr lang="de-CH" sz="1400" dirty="0"/>
              <a:t>nisi ut aliquip ex ea commodo consequat. Duis aute irure dolor in reprehenderit. </a:t>
            </a:r>
          </a:p>
          <a:p>
            <a:pPr marL="285750" indent="-285750" fontAlgn="auto">
              <a:buFont typeface="Frutiger for ZKB Light" panose="020B0303030504020204" pitchFamily="34" charset="0"/>
              <a:buChar char="–"/>
              <a:defRPr/>
            </a:pPr>
            <a:r>
              <a:rPr lang="de-CH" sz="1400" dirty="0"/>
              <a:t>Exercitation ullamco laboris nisi ut aliquip ex ea commodo consequat. Dolor in reprehenderit. </a:t>
            </a:r>
          </a:p>
          <a:p>
            <a:pPr marL="285750" indent="-285750" fontAlgn="auto">
              <a:buFont typeface="Frutiger for ZKB Light" panose="020B0303030504020204" pitchFamily="34" charset="0"/>
              <a:buChar char="–"/>
              <a:defRPr/>
            </a:pPr>
            <a:r>
              <a:rPr lang="de-CH" sz="1400" dirty="0"/>
              <a:t>Exercitation ullamco laboris nisi ut aliquip ex ea commodo consequat. </a:t>
            </a:r>
          </a:p>
          <a:p>
            <a:pPr marL="285750" indent="-285750" fontAlgn="auto">
              <a:buFont typeface="Frutiger for ZKB Light" panose="020B0303030504020204" pitchFamily="34" charset="0"/>
              <a:buChar char="–"/>
              <a:defRPr/>
            </a:pPr>
            <a:endParaRPr lang="de-CH" sz="1400" dirty="0"/>
          </a:p>
          <a:p>
            <a:pPr fontAlgn="auto">
              <a:defRPr/>
            </a:pPr>
            <a:r>
              <a:rPr lang="de-CH" sz="1400" b="1" dirty="0"/>
              <a:t>Laboris nisi: ut aliquip ex ea commodo consequat. Duis aute irure dolor.</a:t>
            </a:r>
            <a:endParaRPr lang="de-CH" sz="1400" dirty="0"/>
          </a:p>
          <a:p>
            <a:pPr fontAlgn="auto">
              <a:defRPr/>
            </a:pPr>
            <a:endParaRPr lang="de-CH" sz="1400" dirty="0"/>
          </a:p>
          <a:p>
            <a:pPr fontAlgn="auto">
              <a:defRPr/>
            </a:pPr>
            <a:endParaRPr lang="de-CH" sz="1400" dirty="0"/>
          </a:p>
        </p:txBody>
      </p:sp>
      <p:sp>
        <p:nvSpPr>
          <p:cNvPr id="19" name="Inhaltsplatzhalter 16">
            <a:extLst>
              <a:ext uri="{FF2B5EF4-FFF2-40B4-BE49-F238E27FC236}">
                <a16:creationId xmlns:a16="http://schemas.microsoft.com/office/drawing/2014/main" id="{7E097A84-5934-CACD-1DA0-738A17826131}"/>
              </a:ext>
            </a:extLst>
          </p:cNvPr>
          <p:cNvSpPr txBox="1">
            <a:spLocks/>
          </p:cNvSpPr>
          <p:nvPr/>
        </p:nvSpPr>
        <p:spPr>
          <a:xfrm>
            <a:off x="8591550" y="1885950"/>
            <a:ext cx="3889375" cy="4748213"/>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sz="1400" b="1" dirty="0"/>
              <a:t>Überschrift</a:t>
            </a:r>
            <a:endParaRPr lang="de-CH" sz="1400" dirty="0"/>
          </a:p>
          <a:p>
            <a:pPr fontAlgn="auto">
              <a:defRPr/>
            </a:pPr>
            <a:r>
              <a:rPr lang="de-CH" sz="1400" dirty="0"/>
              <a:t>Lorem ipsum dolor sit amet, consectetur adipiscing elit, sed do eiusmod tempor incididunt ut labore et dolore magna aliqua.</a:t>
            </a:r>
          </a:p>
          <a:p>
            <a:pPr marL="285750" indent="-285750" fontAlgn="auto">
              <a:buFont typeface="Frutiger for ZKB Light" panose="020B0303030504020204" pitchFamily="34" charset="0"/>
              <a:buChar char="–"/>
              <a:defRPr/>
            </a:pPr>
            <a:r>
              <a:rPr lang="de-CH" sz="1400" dirty="0"/>
              <a:t>Aliquip ex ea commodo consequat. Duis aute irure dolor in reprehenderit. </a:t>
            </a:r>
          </a:p>
          <a:p>
            <a:pPr marL="285750" indent="-285750" fontAlgn="auto">
              <a:buFont typeface="Frutiger for ZKB Light" panose="020B0303030504020204" pitchFamily="34" charset="0"/>
              <a:buChar char="–"/>
              <a:defRPr/>
            </a:pPr>
            <a:r>
              <a:rPr lang="de-CH" sz="1400" dirty="0"/>
              <a:t>Exercitation ullamco laboris nisi ut aliquip ex ea commodo consequat. Duis aute irure dolor in reprehenderit. </a:t>
            </a:r>
          </a:p>
          <a:p>
            <a:pPr marL="285750" indent="-285750" fontAlgn="auto">
              <a:buFont typeface="Frutiger for ZKB Light" panose="020B0303030504020204" pitchFamily="34" charset="0"/>
              <a:buChar char="–"/>
              <a:defRPr/>
            </a:pPr>
            <a:r>
              <a:rPr lang="de-CH" sz="1400" dirty="0"/>
              <a:t>Exercitation ullamco laboris nisi ut aliquip ex ea commodo consequat. Duis aute irure dolor in reprehenderit. </a:t>
            </a:r>
          </a:p>
          <a:p>
            <a:pPr marL="285750" indent="-285750" fontAlgn="auto">
              <a:buFont typeface="Frutiger for ZKB Light" panose="020B0303030504020204" pitchFamily="34" charset="0"/>
              <a:buChar char="–"/>
              <a:defRPr/>
            </a:pPr>
            <a:endParaRPr lang="de-CH" sz="1400" dirty="0"/>
          </a:p>
        </p:txBody>
      </p:sp>
      <p:sp>
        <p:nvSpPr>
          <p:cNvPr id="10" name="Inhaltsplatzhalter 16">
            <a:extLst>
              <a:ext uri="{FF2B5EF4-FFF2-40B4-BE49-F238E27FC236}">
                <a16:creationId xmlns:a16="http://schemas.microsoft.com/office/drawing/2014/main" id="{D1D149BD-ADB5-4C5B-62E5-5CFAC76BB45B}"/>
              </a:ext>
            </a:extLst>
          </p:cNvPr>
          <p:cNvSpPr txBox="1">
            <a:spLocks/>
          </p:cNvSpPr>
          <p:nvPr/>
        </p:nvSpPr>
        <p:spPr>
          <a:xfrm>
            <a:off x="306388" y="4406900"/>
            <a:ext cx="3744912" cy="1874838"/>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sz="1400" b="1" dirty="0"/>
              <a:t>Überschrift</a:t>
            </a:r>
            <a:endParaRPr lang="de-CH" sz="1400" dirty="0"/>
          </a:p>
          <a:p>
            <a:pPr fontAlgn="auto">
              <a:defRPr/>
            </a:pPr>
            <a:r>
              <a:rPr lang="de-CH" sz="1400" dirty="0"/>
              <a:t>Lorem ipsum dolor sit amet, consectetur adipiscing elit, sed do eiusmod </a:t>
            </a:r>
            <a:br>
              <a:rPr lang="de-CH" sz="1400" dirty="0"/>
            </a:br>
            <a:r>
              <a:rPr lang="de-CH" sz="1400" dirty="0"/>
              <a:t>tempor incididunt ut labore et dolore magna aliqua. Exercitation ullamco.</a:t>
            </a:r>
          </a:p>
          <a:p>
            <a:pPr fontAlgn="auto">
              <a:defRPr/>
            </a:pPr>
            <a:r>
              <a:rPr lang="de-CH" sz="1400" dirty="0"/>
              <a:t>Duis aute irure dolor in reprehenderit.</a:t>
            </a:r>
          </a:p>
          <a:p>
            <a:pPr marL="285750" indent="-285750" fontAlgn="auto">
              <a:buFont typeface="Frutiger for ZKB Light" panose="020B0303030504020204" pitchFamily="34" charset="0"/>
              <a:buChar char="–"/>
              <a:defRPr/>
            </a:pPr>
            <a:r>
              <a:rPr lang="de-CH" sz="1400" dirty="0"/>
              <a:t>Exercitation ullamco laboris nisi ut aliquip ex ea commodo consequat. </a:t>
            </a:r>
            <a:br>
              <a:rPr lang="de-CH" sz="1400" dirty="0"/>
            </a:br>
            <a:r>
              <a:rPr lang="de-CH" sz="1400" dirty="0"/>
              <a:t>Duis aute irure dolor in reprehenderit.</a:t>
            </a:r>
          </a:p>
          <a:p>
            <a:pPr fontAlgn="auto">
              <a:defRPr/>
            </a:pPr>
            <a:endParaRPr lang="de-CH" sz="1400" dirty="0"/>
          </a:p>
        </p:txBody>
      </p:sp>
      <p:graphicFrame>
        <p:nvGraphicFramePr>
          <p:cNvPr id="13" name="Tabelle 12">
            <a:extLst>
              <a:ext uri="{FF2B5EF4-FFF2-40B4-BE49-F238E27FC236}">
                <a16:creationId xmlns:a16="http://schemas.microsoft.com/office/drawing/2014/main" id="{51F0D2B7-EC3C-729B-EF9D-23E60F054287}"/>
              </a:ext>
            </a:extLst>
          </p:cNvPr>
          <p:cNvGraphicFramePr>
            <a:graphicFrameLocks noGrp="1"/>
          </p:cNvGraphicFramePr>
          <p:nvPr/>
        </p:nvGraphicFramePr>
        <p:xfrm>
          <a:off x="4498975" y="4911725"/>
          <a:ext cx="3781425" cy="1482724"/>
        </p:xfrm>
        <a:graphic>
          <a:graphicData uri="http://schemas.openxmlformats.org/drawingml/2006/table">
            <a:tbl>
              <a:tblPr firstRow="1" bandRow="1">
                <a:tableStyleId>{2D5ABB26-0587-4C30-8999-92F81FD0307C}</a:tableStyleId>
              </a:tblPr>
              <a:tblGrid>
                <a:gridCol w="1296639">
                  <a:extLst>
                    <a:ext uri="{9D8B030D-6E8A-4147-A177-3AD203B41FA5}">
                      <a16:colId xmlns:a16="http://schemas.microsoft.com/office/drawing/2014/main" val="20000"/>
                    </a:ext>
                  </a:extLst>
                </a:gridCol>
                <a:gridCol w="1188147">
                  <a:extLst>
                    <a:ext uri="{9D8B030D-6E8A-4147-A177-3AD203B41FA5}">
                      <a16:colId xmlns:a16="http://schemas.microsoft.com/office/drawing/2014/main" val="20001"/>
                    </a:ext>
                  </a:extLst>
                </a:gridCol>
                <a:gridCol w="1296639">
                  <a:extLst>
                    <a:ext uri="{9D8B030D-6E8A-4147-A177-3AD203B41FA5}">
                      <a16:colId xmlns:a16="http://schemas.microsoft.com/office/drawing/2014/main" val="20002"/>
                    </a:ext>
                  </a:extLst>
                </a:gridCol>
              </a:tblGrid>
              <a:tr h="370681">
                <a:tc>
                  <a:txBody>
                    <a:bodyPr/>
                    <a:lstStyle/>
                    <a:p>
                      <a:r>
                        <a:rPr lang="de-DE" sz="1200" b="1" dirty="0">
                          <a:solidFill>
                            <a:srgbClr val="003CB4"/>
                          </a:solidFill>
                          <a:latin typeface="Frutiger for ZKB Light" panose="020B0303030504020204" pitchFamily="34" charset="0"/>
                        </a:rPr>
                        <a:t>Lorem ipsum</a:t>
                      </a:r>
                    </a:p>
                  </a:txBody>
                  <a:tcPr marL="91451" marR="91451" marT="45700" marB="45700" anchor="ctr">
                    <a:lnR w="3175" cap="flat" cmpd="sng" algn="ctr">
                      <a:solidFill>
                        <a:schemeClr val="tx1">
                          <a:alpha val="0"/>
                        </a:schemeClr>
                      </a:solidFill>
                      <a:prstDash val="solid"/>
                      <a:round/>
                      <a:headEnd type="none" w="med" len="med"/>
                      <a:tailEnd type="none" w="med" len="med"/>
                    </a:lnR>
                    <a:lnB w="6350" cap="flat" cmpd="sng" algn="ctr">
                      <a:solidFill>
                        <a:schemeClr val="dk1"/>
                      </a:solidFill>
                      <a:prstDash val="solid"/>
                      <a:round/>
                      <a:headEnd type="none" w="med" len="med"/>
                      <a:tailEnd type="none" w="med" len="med"/>
                    </a:lnB>
                  </a:tcPr>
                </a:tc>
                <a:tc>
                  <a:txBody>
                    <a:bodyPr/>
                    <a:lstStyle/>
                    <a:p>
                      <a:r>
                        <a:rPr lang="de-DE" sz="1200" b="1" dirty="0">
                          <a:solidFill>
                            <a:srgbClr val="003CB4"/>
                          </a:solidFill>
                          <a:latin typeface="Frutiger for ZKB Light" panose="020B0303030504020204" pitchFamily="34" charset="0"/>
                        </a:rPr>
                        <a:t>Dolor sit</a:t>
                      </a:r>
                    </a:p>
                  </a:txBody>
                  <a:tcPr marL="91451" marR="91451" marT="45700" marB="457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B w="6350" cap="flat" cmpd="sng" algn="ctr">
                      <a:solidFill>
                        <a:schemeClr val="dk1"/>
                      </a:solidFill>
                      <a:prstDash val="solid"/>
                      <a:round/>
                      <a:headEnd type="none" w="med" len="med"/>
                      <a:tailEnd type="none" w="med" len="med"/>
                    </a:lnB>
                  </a:tcPr>
                </a:tc>
                <a:tc>
                  <a:txBody>
                    <a:bodyPr/>
                    <a:lstStyle/>
                    <a:p>
                      <a:r>
                        <a:rPr lang="de-DE" sz="1200" b="1" dirty="0">
                          <a:solidFill>
                            <a:srgbClr val="003CB4"/>
                          </a:solidFill>
                          <a:latin typeface="Frutiger for ZKB Light" panose="020B0303030504020204" pitchFamily="34" charset="0"/>
                        </a:rPr>
                        <a:t>Lorem</a:t>
                      </a:r>
                      <a:r>
                        <a:rPr lang="de-DE" sz="1200" dirty="0">
                          <a:solidFill>
                            <a:srgbClr val="003CB4"/>
                          </a:solidFill>
                          <a:latin typeface="Frutiger for ZKB Light" panose="020B0303030504020204" pitchFamily="34" charset="0"/>
                        </a:rPr>
                        <a:t> </a:t>
                      </a:r>
                      <a:r>
                        <a:rPr lang="de-DE" sz="1200" b="1" dirty="0">
                          <a:solidFill>
                            <a:srgbClr val="003CB4"/>
                          </a:solidFill>
                          <a:latin typeface="Frutiger for ZKB Light" panose="020B0303030504020204" pitchFamily="34" charset="0"/>
                        </a:rPr>
                        <a:t>ipsum</a:t>
                      </a:r>
                    </a:p>
                  </a:txBody>
                  <a:tcPr marL="91451" marR="91451" marT="45700" marB="45700" anchor="ctr">
                    <a:lnL w="3175" cap="flat" cmpd="sng" algn="ctr">
                      <a:solidFill>
                        <a:schemeClr val="tx1">
                          <a:alpha val="0"/>
                        </a:schemeClr>
                      </a:solidFill>
                      <a:prstDash val="solid"/>
                      <a:round/>
                      <a:headEnd type="none" w="med" len="med"/>
                      <a:tailEnd type="none" w="med" len="med"/>
                    </a:lnL>
                    <a:lnB w="6350"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0"/>
                  </a:ext>
                </a:extLst>
              </a:tr>
              <a:tr h="370681">
                <a:tc>
                  <a:txBody>
                    <a:bodyPr/>
                    <a:lstStyle/>
                    <a:p>
                      <a:r>
                        <a:rPr lang="de-DE" sz="1200" dirty="0">
                          <a:latin typeface="Frutiger for ZKB Light" panose="020B0303030504020204" pitchFamily="34" charset="0"/>
                        </a:rPr>
                        <a:t>2025</a:t>
                      </a:r>
                    </a:p>
                  </a:txBody>
                  <a:tcPr marL="91451" marR="91451" marT="45700" marB="45700" anchor="ctr">
                    <a:lnR w="3175" cap="flat" cmpd="sng" algn="ctr">
                      <a:solidFill>
                        <a:schemeClr val="tx1">
                          <a:alpha val="0"/>
                        </a:schemeClr>
                      </a:solidFill>
                      <a:prstDash val="solid"/>
                      <a:round/>
                      <a:headEnd type="none" w="med" len="med"/>
                      <a:tailEnd type="none" w="med" len="med"/>
                    </a:lnR>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200" b="1" dirty="0">
                          <a:latin typeface="Frutiger for ZKB Light" panose="020B0303030504020204" pitchFamily="34" charset="0"/>
                        </a:rPr>
                        <a:t>50‘000 XY</a:t>
                      </a:r>
                    </a:p>
                  </a:txBody>
                  <a:tcPr marL="91451" marR="91451" marT="45700" marB="457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200" dirty="0">
                          <a:latin typeface="Frutiger for ZKB Light" panose="020B0303030504020204" pitchFamily="34" charset="0"/>
                        </a:rPr>
                        <a:t>Inhalt einfügen</a:t>
                      </a:r>
                    </a:p>
                  </a:txBody>
                  <a:tcPr marL="91451" marR="91451" marT="45700" marB="45700" anchor="ctr">
                    <a:lnL w="3175" cap="flat" cmpd="sng" algn="ctr">
                      <a:solidFill>
                        <a:schemeClr val="tx1">
                          <a:alpha val="0"/>
                        </a:schemeClr>
                      </a:solidFill>
                      <a:prstDash val="solid"/>
                      <a:round/>
                      <a:headEnd type="none" w="med" len="med"/>
                      <a:tailEnd type="none" w="med" len="med"/>
                    </a:lnL>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1"/>
                  </a:ext>
                </a:extLst>
              </a:tr>
              <a:tr h="370681">
                <a:tc>
                  <a:txBody>
                    <a:bodyPr/>
                    <a:lstStyle/>
                    <a:p>
                      <a:r>
                        <a:rPr lang="de-DE" sz="1200" dirty="0">
                          <a:latin typeface="Frutiger for ZKB Light" panose="020B0303030504020204" pitchFamily="34" charset="0"/>
                        </a:rPr>
                        <a:t>2026</a:t>
                      </a:r>
                    </a:p>
                  </a:txBody>
                  <a:tcPr marL="91451" marR="91451" marT="45700" marB="45700"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marL="0" marR="0" lvl="0" indent="0" algn="l" defTabSz="964143" rtl="0" eaLnBrk="1" fontAlgn="auto" latinLnBrk="0" hangingPunct="1">
                        <a:lnSpc>
                          <a:spcPct val="100000"/>
                        </a:lnSpc>
                        <a:spcBef>
                          <a:spcPts val="0"/>
                        </a:spcBef>
                        <a:spcAft>
                          <a:spcPts val="0"/>
                        </a:spcAft>
                        <a:buClrTx/>
                        <a:buSzTx/>
                        <a:buFontTx/>
                        <a:buNone/>
                        <a:tabLst/>
                        <a:defRPr/>
                      </a:pPr>
                      <a:r>
                        <a:rPr lang="de-DE" sz="1200" b="1" dirty="0">
                          <a:latin typeface="Frutiger for ZKB Light" panose="020B0303030504020204" pitchFamily="34" charset="0"/>
                        </a:rPr>
                        <a:t>75‘000 XY</a:t>
                      </a:r>
                    </a:p>
                  </a:txBody>
                  <a:tcPr marL="91451" marR="91451" marT="45700" marB="457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200" dirty="0">
                          <a:latin typeface="Frutiger for ZKB Light" panose="020B0303030504020204" pitchFamily="34" charset="0"/>
                        </a:rPr>
                        <a:t>Inhalt einfügen</a:t>
                      </a:r>
                    </a:p>
                  </a:txBody>
                  <a:tcPr marL="91451" marR="91451" marT="45700" marB="45700"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2"/>
                  </a:ext>
                </a:extLst>
              </a:tr>
              <a:tr h="370681">
                <a:tc>
                  <a:txBody>
                    <a:bodyPr/>
                    <a:lstStyle/>
                    <a:p>
                      <a:r>
                        <a:rPr lang="de-DE" sz="1200" dirty="0">
                          <a:solidFill>
                            <a:srgbClr val="003CB4"/>
                          </a:solidFill>
                          <a:latin typeface="Frutiger for ZKB Light" panose="020B0303030504020204" pitchFamily="34" charset="0"/>
                        </a:rPr>
                        <a:t>2027</a:t>
                      </a:r>
                    </a:p>
                  </a:txBody>
                  <a:tcPr marL="91451" marR="91451" marT="45700" marB="45700"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200" b="1" dirty="0">
                          <a:solidFill>
                            <a:srgbClr val="003CB4"/>
                          </a:solidFill>
                          <a:latin typeface="Frutiger for ZKB Light" panose="020B0303030504020204" pitchFamily="34" charset="0"/>
                        </a:rPr>
                        <a:t>100‘000 XY</a:t>
                      </a:r>
                    </a:p>
                  </a:txBody>
                  <a:tcPr marL="91451" marR="91451" marT="45700" marB="457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200" dirty="0">
                          <a:latin typeface="Frutiger for ZKB Light" panose="020B0303030504020204" pitchFamily="34" charset="0"/>
                        </a:rPr>
                        <a:t>Inhalt einfügen</a:t>
                      </a:r>
                    </a:p>
                  </a:txBody>
                  <a:tcPr marL="91451" marR="91451" marT="45700" marB="45700"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16" name="Tabelle 15">
            <a:extLst>
              <a:ext uri="{FF2B5EF4-FFF2-40B4-BE49-F238E27FC236}">
                <a16:creationId xmlns:a16="http://schemas.microsoft.com/office/drawing/2014/main" id="{B72A76F7-1371-99A1-A60D-97401CB54BFF}"/>
              </a:ext>
            </a:extLst>
          </p:cNvPr>
          <p:cNvGraphicFramePr>
            <a:graphicFrameLocks noGrp="1"/>
          </p:cNvGraphicFramePr>
          <p:nvPr/>
        </p:nvGraphicFramePr>
        <p:xfrm>
          <a:off x="8562975" y="4911725"/>
          <a:ext cx="3708400" cy="1482724"/>
        </p:xfrm>
        <a:graphic>
          <a:graphicData uri="http://schemas.openxmlformats.org/drawingml/2006/table">
            <a:tbl>
              <a:tblPr firstRow="1" bandRow="1">
                <a:tableStyleId>{2D5ABB26-0587-4C30-8999-92F81FD0307C}</a:tableStyleId>
              </a:tblPr>
              <a:tblGrid>
                <a:gridCol w="1260136">
                  <a:extLst>
                    <a:ext uri="{9D8B030D-6E8A-4147-A177-3AD203B41FA5}">
                      <a16:colId xmlns:a16="http://schemas.microsoft.com/office/drawing/2014/main" val="20000"/>
                    </a:ext>
                  </a:extLst>
                </a:gridCol>
                <a:gridCol w="1188128">
                  <a:extLst>
                    <a:ext uri="{9D8B030D-6E8A-4147-A177-3AD203B41FA5}">
                      <a16:colId xmlns:a16="http://schemas.microsoft.com/office/drawing/2014/main" val="20001"/>
                    </a:ext>
                  </a:extLst>
                </a:gridCol>
                <a:gridCol w="1260136">
                  <a:extLst>
                    <a:ext uri="{9D8B030D-6E8A-4147-A177-3AD203B41FA5}">
                      <a16:colId xmlns:a16="http://schemas.microsoft.com/office/drawing/2014/main" val="20002"/>
                    </a:ext>
                  </a:extLst>
                </a:gridCol>
              </a:tblGrid>
              <a:tr h="370681">
                <a:tc>
                  <a:txBody>
                    <a:bodyPr/>
                    <a:lstStyle/>
                    <a:p>
                      <a:r>
                        <a:rPr lang="de-DE" sz="1200" b="1" dirty="0">
                          <a:solidFill>
                            <a:srgbClr val="003CB4"/>
                          </a:solidFill>
                          <a:latin typeface="Frutiger for ZKB Light" panose="020B0303030504020204" pitchFamily="34" charset="0"/>
                        </a:rPr>
                        <a:t>Lorem ipsum</a:t>
                      </a:r>
                    </a:p>
                  </a:txBody>
                  <a:tcPr marL="91450" marR="91450" marT="45700" marB="45700" anchor="ctr">
                    <a:lnR w="3175" cap="flat" cmpd="sng" algn="ctr">
                      <a:solidFill>
                        <a:schemeClr val="tx1">
                          <a:alpha val="0"/>
                        </a:schemeClr>
                      </a:solidFill>
                      <a:prstDash val="solid"/>
                      <a:round/>
                      <a:headEnd type="none" w="med" len="med"/>
                      <a:tailEnd type="none" w="med" len="med"/>
                    </a:lnR>
                    <a:lnB w="6350" cap="flat" cmpd="sng" algn="ctr">
                      <a:solidFill>
                        <a:schemeClr val="dk1"/>
                      </a:solidFill>
                      <a:prstDash val="solid"/>
                      <a:round/>
                      <a:headEnd type="none" w="med" len="med"/>
                      <a:tailEnd type="none" w="med" len="med"/>
                    </a:lnB>
                  </a:tcPr>
                </a:tc>
                <a:tc>
                  <a:txBody>
                    <a:bodyPr/>
                    <a:lstStyle/>
                    <a:p>
                      <a:r>
                        <a:rPr lang="de-DE" sz="1200" b="1" dirty="0">
                          <a:solidFill>
                            <a:srgbClr val="003CB4"/>
                          </a:solidFill>
                          <a:latin typeface="Frutiger for ZKB Light" panose="020B0303030504020204" pitchFamily="34" charset="0"/>
                        </a:rPr>
                        <a:t>Dolor sit</a:t>
                      </a:r>
                    </a:p>
                  </a:txBody>
                  <a:tcPr marL="91450" marR="91450" marT="45700" marB="457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B w="6350" cap="flat" cmpd="sng" algn="ctr">
                      <a:solidFill>
                        <a:schemeClr val="dk1"/>
                      </a:solidFill>
                      <a:prstDash val="solid"/>
                      <a:round/>
                      <a:headEnd type="none" w="med" len="med"/>
                      <a:tailEnd type="none" w="med" len="med"/>
                    </a:lnB>
                  </a:tcPr>
                </a:tc>
                <a:tc>
                  <a:txBody>
                    <a:bodyPr/>
                    <a:lstStyle/>
                    <a:p>
                      <a:r>
                        <a:rPr lang="de-DE" sz="1200" b="1" dirty="0">
                          <a:solidFill>
                            <a:srgbClr val="003CB4"/>
                          </a:solidFill>
                          <a:latin typeface="Frutiger for ZKB Light" panose="020B0303030504020204" pitchFamily="34" charset="0"/>
                        </a:rPr>
                        <a:t>Lorem</a:t>
                      </a:r>
                      <a:r>
                        <a:rPr lang="de-DE" sz="1200" dirty="0">
                          <a:solidFill>
                            <a:srgbClr val="003CB4"/>
                          </a:solidFill>
                          <a:latin typeface="Frutiger for ZKB Light" panose="020B0303030504020204" pitchFamily="34" charset="0"/>
                        </a:rPr>
                        <a:t> </a:t>
                      </a:r>
                      <a:r>
                        <a:rPr lang="de-DE" sz="1200" b="1" dirty="0">
                          <a:solidFill>
                            <a:srgbClr val="003CB4"/>
                          </a:solidFill>
                          <a:latin typeface="Frutiger for ZKB Light" panose="020B0303030504020204" pitchFamily="34" charset="0"/>
                        </a:rPr>
                        <a:t>ipsum</a:t>
                      </a:r>
                    </a:p>
                  </a:txBody>
                  <a:tcPr marL="91450" marR="91450" marT="45700" marB="45700" anchor="ctr">
                    <a:lnL w="3175" cap="flat" cmpd="sng" algn="ctr">
                      <a:solidFill>
                        <a:schemeClr val="tx1">
                          <a:alpha val="0"/>
                        </a:schemeClr>
                      </a:solidFill>
                      <a:prstDash val="solid"/>
                      <a:round/>
                      <a:headEnd type="none" w="med" len="med"/>
                      <a:tailEnd type="none" w="med" len="med"/>
                    </a:lnL>
                    <a:lnB w="6350"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0"/>
                  </a:ext>
                </a:extLst>
              </a:tr>
              <a:tr h="370681">
                <a:tc>
                  <a:txBody>
                    <a:bodyPr/>
                    <a:lstStyle/>
                    <a:p>
                      <a:r>
                        <a:rPr lang="de-DE" sz="1200" dirty="0">
                          <a:latin typeface="Frutiger for ZKB Light" panose="020B0303030504020204" pitchFamily="34" charset="0"/>
                        </a:rPr>
                        <a:t>2025</a:t>
                      </a:r>
                    </a:p>
                  </a:txBody>
                  <a:tcPr marL="91450" marR="91450" marT="45700" marB="45700" anchor="ctr">
                    <a:lnR w="3175" cap="flat" cmpd="sng" algn="ctr">
                      <a:solidFill>
                        <a:schemeClr val="tx1">
                          <a:alpha val="0"/>
                        </a:schemeClr>
                      </a:solidFill>
                      <a:prstDash val="solid"/>
                      <a:round/>
                      <a:headEnd type="none" w="med" len="med"/>
                      <a:tailEnd type="none" w="med" len="med"/>
                    </a:lnR>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200" b="1" dirty="0">
                          <a:latin typeface="Frutiger for ZKB Light" panose="020B0303030504020204" pitchFamily="34" charset="0"/>
                        </a:rPr>
                        <a:t>+ 15%</a:t>
                      </a:r>
                    </a:p>
                  </a:txBody>
                  <a:tcPr marL="91450" marR="91450" marT="45700" marB="457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200" dirty="0">
                          <a:latin typeface="Frutiger for ZKB Light" panose="020B0303030504020204" pitchFamily="34" charset="0"/>
                        </a:rPr>
                        <a:t>Inhalt einfügen</a:t>
                      </a:r>
                    </a:p>
                  </a:txBody>
                  <a:tcPr marL="91450" marR="91450" marT="45700" marB="45700" anchor="ctr">
                    <a:lnL w="3175" cap="flat" cmpd="sng" algn="ctr">
                      <a:solidFill>
                        <a:schemeClr val="tx1">
                          <a:alpha val="0"/>
                        </a:schemeClr>
                      </a:solidFill>
                      <a:prstDash val="solid"/>
                      <a:round/>
                      <a:headEnd type="none" w="med" len="med"/>
                      <a:tailEnd type="none" w="med" len="med"/>
                    </a:lnL>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1"/>
                  </a:ext>
                </a:extLst>
              </a:tr>
              <a:tr h="370681">
                <a:tc>
                  <a:txBody>
                    <a:bodyPr/>
                    <a:lstStyle/>
                    <a:p>
                      <a:r>
                        <a:rPr lang="de-DE" sz="1200" dirty="0">
                          <a:latin typeface="Frutiger for ZKB Light" panose="020B0303030504020204" pitchFamily="34" charset="0"/>
                        </a:rPr>
                        <a:t>2026</a:t>
                      </a:r>
                    </a:p>
                  </a:txBody>
                  <a:tcPr marL="91450" marR="91450" marT="45700" marB="45700"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marL="0" marR="0" lvl="0" indent="0" algn="l" defTabSz="964143" rtl="0" eaLnBrk="1" fontAlgn="auto" latinLnBrk="0" hangingPunct="1">
                        <a:lnSpc>
                          <a:spcPct val="100000"/>
                        </a:lnSpc>
                        <a:spcBef>
                          <a:spcPts val="0"/>
                        </a:spcBef>
                        <a:spcAft>
                          <a:spcPts val="0"/>
                        </a:spcAft>
                        <a:buClrTx/>
                        <a:buSzTx/>
                        <a:buFontTx/>
                        <a:buNone/>
                        <a:tabLst/>
                        <a:defRPr/>
                      </a:pPr>
                      <a:r>
                        <a:rPr lang="de-DE" sz="1200" b="1" dirty="0">
                          <a:latin typeface="Frutiger for ZKB Light" panose="020B0303030504020204" pitchFamily="34" charset="0"/>
                        </a:rPr>
                        <a:t>+ 25%</a:t>
                      </a:r>
                    </a:p>
                  </a:txBody>
                  <a:tcPr marL="91450" marR="91450" marT="45700" marB="457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200" dirty="0">
                          <a:latin typeface="Frutiger for ZKB Light" panose="020B0303030504020204" pitchFamily="34" charset="0"/>
                        </a:rPr>
                        <a:t>Inhalt einfügen</a:t>
                      </a:r>
                    </a:p>
                  </a:txBody>
                  <a:tcPr marL="91450" marR="91450" marT="45700" marB="45700"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2"/>
                  </a:ext>
                </a:extLst>
              </a:tr>
              <a:tr h="370681">
                <a:tc>
                  <a:txBody>
                    <a:bodyPr/>
                    <a:lstStyle/>
                    <a:p>
                      <a:r>
                        <a:rPr lang="de-DE" sz="1200" dirty="0">
                          <a:solidFill>
                            <a:srgbClr val="003CB4"/>
                          </a:solidFill>
                          <a:latin typeface="Frutiger for ZKB Light" panose="020B0303030504020204" pitchFamily="34" charset="0"/>
                        </a:rPr>
                        <a:t>2027</a:t>
                      </a:r>
                    </a:p>
                  </a:txBody>
                  <a:tcPr marL="91450" marR="91450" marT="45700" marB="45700"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200" b="1" dirty="0">
                          <a:solidFill>
                            <a:srgbClr val="003CB4"/>
                          </a:solidFill>
                          <a:latin typeface="Frutiger for ZKB Light" panose="020B0303030504020204" pitchFamily="34" charset="0"/>
                        </a:rPr>
                        <a:t>+ 50%</a:t>
                      </a:r>
                    </a:p>
                  </a:txBody>
                  <a:tcPr marL="91450" marR="91450" marT="45700" marB="457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200" dirty="0">
                          <a:latin typeface="Frutiger for ZKB Light" panose="020B0303030504020204" pitchFamily="34" charset="0"/>
                        </a:rPr>
                        <a:t>Inhalt einfügen</a:t>
                      </a:r>
                    </a:p>
                  </a:txBody>
                  <a:tcPr marL="91450" marR="91450" marT="45700" marB="45700"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cxnSp>
        <p:nvCxnSpPr>
          <p:cNvPr id="26" name="Gerader Verbinder 25">
            <a:extLst>
              <a:ext uri="{FF2B5EF4-FFF2-40B4-BE49-F238E27FC236}">
                <a16:creationId xmlns:a16="http://schemas.microsoft.com/office/drawing/2014/main" id="{F1E3A3EE-3C8F-27C4-5FBE-79C7B07A7845}"/>
              </a:ext>
            </a:extLst>
          </p:cNvPr>
          <p:cNvCxnSpPr>
            <a:cxnSpLocks/>
          </p:cNvCxnSpPr>
          <p:nvPr/>
        </p:nvCxnSpPr>
        <p:spPr>
          <a:xfrm>
            <a:off x="306388" y="4268788"/>
            <a:ext cx="3887787" cy="0"/>
          </a:xfrm>
          <a:prstGeom prst="line">
            <a:avLst/>
          </a:prstGeom>
          <a:ln w="9525" cmpd="sng">
            <a:solidFill>
              <a:srgbClr val="003CB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8A614DB7-91CA-50E5-3317-91DF4338B27E}"/>
              </a:ext>
            </a:extLst>
          </p:cNvPr>
          <p:cNvCxnSpPr>
            <a:cxnSpLocks/>
          </p:cNvCxnSpPr>
          <p:nvPr/>
        </p:nvCxnSpPr>
        <p:spPr>
          <a:xfrm>
            <a:off x="306388" y="1771650"/>
            <a:ext cx="3887787" cy="0"/>
          </a:xfrm>
          <a:prstGeom prst="line">
            <a:avLst/>
          </a:prstGeom>
          <a:ln w="9525" cmpd="sng">
            <a:solidFill>
              <a:srgbClr val="003CB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9C020C3B-5F82-E99C-1090-BF0D71298BC2}"/>
              </a:ext>
            </a:extLst>
          </p:cNvPr>
          <p:cNvCxnSpPr>
            <a:cxnSpLocks/>
          </p:cNvCxnSpPr>
          <p:nvPr/>
        </p:nvCxnSpPr>
        <p:spPr>
          <a:xfrm>
            <a:off x="4471988" y="1771650"/>
            <a:ext cx="3887787" cy="0"/>
          </a:xfrm>
          <a:prstGeom prst="line">
            <a:avLst/>
          </a:prstGeom>
          <a:ln w="9525" cmpd="sng">
            <a:solidFill>
              <a:srgbClr val="003CB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Inhaltsplatzhalter 16">
            <a:extLst>
              <a:ext uri="{FF2B5EF4-FFF2-40B4-BE49-F238E27FC236}">
                <a16:creationId xmlns:a16="http://schemas.microsoft.com/office/drawing/2014/main" id="{CBE70D25-012A-CF7C-E155-EF88B9485048}"/>
              </a:ext>
            </a:extLst>
          </p:cNvPr>
          <p:cNvSpPr txBox="1">
            <a:spLocks/>
          </p:cNvSpPr>
          <p:nvPr/>
        </p:nvSpPr>
        <p:spPr>
          <a:xfrm>
            <a:off x="306388" y="1885950"/>
            <a:ext cx="3887787" cy="1943100"/>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sz="1400" b="1" dirty="0"/>
              <a:t>Überschrift</a:t>
            </a:r>
            <a:endParaRPr lang="de-CH" sz="1400" dirty="0"/>
          </a:p>
          <a:p>
            <a:pPr fontAlgn="auto">
              <a:defRPr/>
            </a:pPr>
            <a:r>
              <a:rPr lang="de-CH" sz="1400" dirty="0"/>
              <a:t>Lorem ipsum dolor sit amet, consectetur adipiscing elit, sed do eiusmod tempor incididunt ut labore et dolore magna aliqua. </a:t>
            </a:r>
          </a:p>
          <a:p>
            <a:pPr marL="285750" indent="-285750" fontAlgn="auto">
              <a:buFont typeface="Frutiger for ZKB Light" panose="020B0303030504020204" pitchFamily="34" charset="0"/>
              <a:buChar char="–"/>
              <a:defRPr/>
            </a:pPr>
            <a:r>
              <a:rPr lang="de-CH" sz="1400" b="1" dirty="0"/>
              <a:t>2025: </a:t>
            </a:r>
            <a:r>
              <a:rPr lang="de-CH" sz="1400" dirty="0"/>
              <a:t>Exercitation ullamco laboris nisi ut aliquip ex ea commodo consequat. Duis aute irure dolor in reprehenderit.</a:t>
            </a:r>
          </a:p>
          <a:p>
            <a:pPr marL="285750" indent="-285750" fontAlgn="auto">
              <a:buFont typeface="Frutiger for ZKB Light" panose="020B0303030504020204" pitchFamily="34" charset="0"/>
              <a:buChar char="–"/>
              <a:defRPr/>
            </a:pPr>
            <a:r>
              <a:rPr lang="de-CH" sz="1400" b="1" dirty="0"/>
              <a:t>YTD XY: </a:t>
            </a:r>
            <a:r>
              <a:rPr lang="de-CH" sz="1400" dirty="0"/>
              <a:t>Exercitation ullamco laboris nisi ut aliquip ex ea commodo consequat. Duis aute irure dolor in reprehenderit.</a:t>
            </a:r>
          </a:p>
          <a:p>
            <a:pPr marL="285750" indent="-285750" fontAlgn="auto">
              <a:buFont typeface="Frutiger for ZKB Light" panose="020B0303030504020204" pitchFamily="34" charset="0"/>
              <a:buChar char="–"/>
              <a:defRPr/>
            </a:pPr>
            <a:endParaRPr lang="de-CH" sz="1400" dirty="0"/>
          </a:p>
          <a:p>
            <a:pPr fontAlgn="auto">
              <a:defRPr/>
            </a:pPr>
            <a:endParaRPr lang="de-CH" sz="1400" dirty="0"/>
          </a:p>
          <a:p>
            <a:pPr fontAlgn="auto">
              <a:defRPr/>
            </a:pPr>
            <a:endParaRPr lang="de-CH" sz="1400" dirty="0"/>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498" name="Objekt 4" hidden="1">
            <a:extLst>
              <a:ext uri="{FF2B5EF4-FFF2-40B4-BE49-F238E27FC236}">
                <a16:creationId xmlns:a16="http://schemas.microsoft.com/office/drawing/2014/main" id="{753DB78F-9351-9DDA-5B34-1EB06E25C87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106498" name="Objekt 4" hidden="1">
                        <a:extLst>
                          <a:ext uri="{FF2B5EF4-FFF2-40B4-BE49-F238E27FC236}">
                            <a16:creationId xmlns:a16="http://schemas.microsoft.com/office/drawing/2014/main" id="{753DB78F-9351-9DDA-5B34-1EB06E25C87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EC03F28C-6E44-4368-2AA4-2A1832A615D7}"/>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106500" name="Titel 14">
            <a:extLst>
              <a:ext uri="{FF2B5EF4-FFF2-40B4-BE49-F238E27FC236}">
                <a16:creationId xmlns:a16="http://schemas.microsoft.com/office/drawing/2014/main" id="{26830C89-1A42-9728-2F74-0D7822C5FE48}"/>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Texttabelle – 4 Spalten</a:t>
            </a:r>
          </a:p>
        </p:txBody>
      </p:sp>
      <p:sp>
        <p:nvSpPr>
          <p:cNvPr id="106501" name="Foliennummernplatzhalter 8">
            <a:extLst>
              <a:ext uri="{FF2B5EF4-FFF2-40B4-BE49-F238E27FC236}">
                <a16:creationId xmlns:a16="http://schemas.microsoft.com/office/drawing/2014/main" id="{9F309D6B-42E2-5A9A-C7A3-B2320064F1F3}"/>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B9F94338-98CD-4423-B6CA-750A7057C48A}" type="slidenum">
              <a:rPr lang="de-CH" altLang="de-DE" sz="1100" smtClean="0">
                <a:solidFill>
                  <a:srgbClr val="003CB4"/>
                </a:solidFill>
                <a:latin typeface="Frutiger for ZKB Light" panose="020B0303030504020204" pitchFamily="34" charset="0"/>
              </a:rPr>
              <a:pPr>
                <a:spcBef>
                  <a:spcPct val="0"/>
                </a:spcBef>
                <a:spcAft>
                  <a:spcPct val="0"/>
                </a:spcAft>
              </a:pPr>
              <a:t>75</a:t>
            </a:fld>
            <a:endParaRPr lang="de-CH" altLang="de-DE" sz="1100" dirty="0">
              <a:solidFill>
                <a:srgbClr val="003CB4"/>
              </a:solidFill>
              <a:latin typeface="Frutiger for ZKB Light" panose="020B0303030504020204" pitchFamily="34" charset="0"/>
            </a:endParaRPr>
          </a:p>
        </p:txBody>
      </p:sp>
      <p:sp>
        <p:nvSpPr>
          <p:cNvPr id="106502" name="Fußzeilenplatzhalter 7">
            <a:extLst>
              <a:ext uri="{FF2B5EF4-FFF2-40B4-BE49-F238E27FC236}">
                <a16:creationId xmlns:a16="http://schemas.microsoft.com/office/drawing/2014/main" id="{EB7147C0-19FB-DE59-80CF-7EAE4F106EF3}"/>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graphicFrame>
        <p:nvGraphicFramePr>
          <p:cNvPr id="21" name="Inhaltsplatzhalter 10">
            <a:extLst>
              <a:ext uri="{FF2B5EF4-FFF2-40B4-BE49-F238E27FC236}">
                <a16:creationId xmlns:a16="http://schemas.microsoft.com/office/drawing/2014/main" id="{0A827A4E-8E41-04F6-3D2B-6B85F3746C72}"/>
              </a:ext>
            </a:extLst>
          </p:cNvPr>
          <p:cNvGraphicFramePr>
            <a:graphicFrameLocks/>
          </p:cNvGraphicFramePr>
          <p:nvPr>
            <p:custDataLst>
              <p:tags r:id="rId3"/>
            </p:custDataLst>
          </p:nvPr>
        </p:nvGraphicFramePr>
        <p:xfrm>
          <a:off x="317500" y="1885950"/>
          <a:ext cx="12231690" cy="3455992"/>
        </p:xfrm>
        <a:graphic>
          <a:graphicData uri="http://schemas.openxmlformats.org/drawingml/2006/table">
            <a:tbl>
              <a:tblPr firstRow="1" bandRow="1">
                <a:tableStyleId>{2D5ABB26-0587-4C30-8999-92F81FD0307C}</a:tableStyleId>
              </a:tblPr>
              <a:tblGrid>
                <a:gridCol w="2446338">
                  <a:extLst>
                    <a:ext uri="{9D8B030D-6E8A-4147-A177-3AD203B41FA5}">
                      <a16:colId xmlns:a16="http://schemas.microsoft.com/office/drawing/2014/main" val="20000"/>
                    </a:ext>
                  </a:extLst>
                </a:gridCol>
                <a:gridCol w="2446338">
                  <a:extLst>
                    <a:ext uri="{9D8B030D-6E8A-4147-A177-3AD203B41FA5}">
                      <a16:colId xmlns:a16="http://schemas.microsoft.com/office/drawing/2014/main" val="20001"/>
                    </a:ext>
                  </a:extLst>
                </a:gridCol>
                <a:gridCol w="2446338">
                  <a:extLst>
                    <a:ext uri="{9D8B030D-6E8A-4147-A177-3AD203B41FA5}">
                      <a16:colId xmlns:a16="http://schemas.microsoft.com/office/drawing/2014/main" val="20002"/>
                    </a:ext>
                  </a:extLst>
                </a:gridCol>
                <a:gridCol w="2446338">
                  <a:extLst>
                    <a:ext uri="{9D8B030D-6E8A-4147-A177-3AD203B41FA5}">
                      <a16:colId xmlns:a16="http://schemas.microsoft.com/office/drawing/2014/main" val="20003"/>
                    </a:ext>
                  </a:extLst>
                </a:gridCol>
                <a:gridCol w="2446338">
                  <a:extLst>
                    <a:ext uri="{9D8B030D-6E8A-4147-A177-3AD203B41FA5}">
                      <a16:colId xmlns:a16="http://schemas.microsoft.com/office/drawing/2014/main" val="20004"/>
                    </a:ext>
                  </a:extLst>
                </a:gridCol>
              </a:tblGrid>
              <a:tr h="431999">
                <a:tc>
                  <a:txBody>
                    <a:bodyPr/>
                    <a:lstStyle/>
                    <a:p>
                      <a:pPr algn="l">
                        <a:lnSpc>
                          <a:spcPts val="2000"/>
                        </a:lnSpc>
                      </a:pPr>
                      <a:r>
                        <a:rPr lang="de-CH" sz="1600" b="1" baseline="0" dirty="0">
                          <a:solidFill>
                            <a:schemeClr val="dk1"/>
                          </a:solidFill>
                        </a:rPr>
                        <a:t>Lorem ipsum </a:t>
                      </a:r>
                      <a:endParaRPr lang="de-CH" sz="1600" b="1" baseline="0" dirty="0">
                        <a:solidFill>
                          <a:schemeClr val="dk1"/>
                        </a:solidFill>
                        <a:latin typeface="Frutiger for ZKB Light" panose="020B0303030504020204" pitchFamily="34" charset="0"/>
                      </a:endParaRPr>
                    </a:p>
                  </a:txBody>
                  <a:tcPr marL="89996" marR="89996" marT="46800" marB="46800" anchor="ctr">
                    <a:lnR w="3175" cap="flat" cmpd="sng" algn="ctr">
                      <a:solidFill>
                        <a:schemeClr val="tx1">
                          <a:alpha val="0"/>
                        </a:schemeClr>
                      </a:solidFill>
                      <a:prstDash val="solid"/>
                      <a:round/>
                      <a:headEnd type="none" w="med" len="med"/>
                      <a:tailEnd type="none" w="med" len="med"/>
                    </a:lnR>
                    <a:lnB w="6350" cap="flat" cmpd="sng" algn="ctr">
                      <a:solidFill>
                        <a:schemeClr val="dk1"/>
                      </a:solidFill>
                      <a:prstDash val="solid"/>
                      <a:round/>
                      <a:headEnd type="none" w="med" len="med"/>
                      <a:tailEnd type="none" w="med" len="med"/>
                    </a:lnB>
                  </a:tcPr>
                </a:tc>
                <a:tc>
                  <a:txBody>
                    <a:bodyPr/>
                    <a:lstStyle/>
                    <a:p>
                      <a:pPr algn="l">
                        <a:lnSpc>
                          <a:spcPts val="2000"/>
                        </a:lnSpc>
                      </a:pPr>
                      <a:r>
                        <a:rPr lang="de-CH" sz="1600" b="1" baseline="0" dirty="0">
                          <a:solidFill>
                            <a:schemeClr val="dk1"/>
                          </a:solidFill>
                        </a:rPr>
                        <a:t>Lorem ipsum </a:t>
                      </a:r>
                      <a:endParaRPr lang="de-CH" sz="1600" b="1"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B w="6350" cap="flat" cmpd="sng" algn="ctr">
                      <a:solidFill>
                        <a:schemeClr val="dk1"/>
                      </a:solidFill>
                      <a:prstDash val="solid"/>
                      <a:round/>
                      <a:headEnd type="none" w="med" len="med"/>
                      <a:tailEnd type="none" w="med" len="med"/>
                    </a:lnB>
                  </a:tcPr>
                </a:tc>
                <a:tc>
                  <a:txBody>
                    <a:bodyPr/>
                    <a:lstStyle/>
                    <a:p>
                      <a:pPr algn="l">
                        <a:lnSpc>
                          <a:spcPts val="2000"/>
                        </a:lnSpc>
                      </a:pPr>
                      <a:r>
                        <a:rPr lang="de-CH" sz="1600" b="1" baseline="0" dirty="0">
                          <a:solidFill>
                            <a:schemeClr val="dk1"/>
                          </a:solidFill>
                        </a:rPr>
                        <a:t>Lorem ipsum </a:t>
                      </a:r>
                      <a:endParaRPr lang="de-CH" sz="1600" b="1"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B w="6350" cap="flat" cmpd="sng" algn="ctr">
                      <a:solidFill>
                        <a:schemeClr val="dk1"/>
                      </a:solidFill>
                      <a:prstDash val="solid"/>
                      <a:round/>
                      <a:headEnd type="none" w="med" len="med"/>
                      <a:tailEnd type="none" w="med" len="med"/>
                    </a:lnB>
                  </a:tcPr>
                </a:tc>
                <a:tc>
                  <a:txBody>
                    <a:bodyPr/>
                    <a:lstStyle/>
                    <a:p>
                      <a:pPr algn="l">
                        <a:lnSpc>
                          <a:spcPts val="2000"/>
                        </a:lnSpc>
                      </a:pPr>
                      <a:r>
                        <a:rPr lang="de-CH" sz="1600" b="1" baseline="0" dirty="0">
                          <a:solidFill>
                            <a:schemeClr val="dk1"/>
                          </a:solidFill>
                        </a:rPr>
                        <a:t>Lorem ipsum </a:t>
                      </a:r>
                      <a:endParaRPr lang="de-CH" sz="1600" b="1"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B w="6350" cap="flat" cmpd="sng" algn="ctr">
                      <a:solidFill>
                        <a:schemeClr val="dk1"/>
                      </a:solidFill>
                      <a:prstDash val="solid"/>
                      <a:round/>
                      <a:headEnd type="none" w="med" len="med"/>
                      <a:tailEnd type="none" w="med" len="med"/>
                    </a:lnB>
                  </a:tcPr>
                </a:tc>
                <a:tc>
                  <a:txBody>
                    <a:bodyPr/>
                    <a:lstStyle/>
                    <a:p>
                      <a:pPr algn="l">
                        <a:lnSpc>
                          <a:spcPts val="2000"/>
                        </a:lnSpc>
                      </a:pPr>
                      <a:r>
                        <a:rPr lang="de-CH" sz="1600" b="1" baseline="0" dirty="0">
                          <a:solidFill>
                            <a:schemeClr val="dk1"/>
                          </a:solidFill>
                        </a:rPr>
                        <a:t>Lorem ipsum </a:t>
                      </a:r>
                      <a:endParaRPr lang="de-CH" sz="1600" b="1"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B w="6350"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0"/>
                  </a:ext>
                </a:extLst>
              </a:tr>
              <a:tr h="431999">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R w="3175" cap="flat" cmpd="sng" algn="ctr">
                      <a:solidFill>
                        <a:schemeClr val="tx1">
                          <a:alpha val="0"/>
                        </a:schemeClr>
                      </a:solidFill>
                      <a:prstDash val="solid"/>
                      <a:round/>
                      <a:headEnd type="none" w="med" len="med"/>
                      <a:tailEnd type="none" w="med" len="med"/>
                    </a:lnR>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1"/>
                  </a:ext>
                </a:extLst>
              </a:tr>
              <a:tr h="431999">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2"/>
                  </a:ext>
                </a:extLst>
              </a:tr>
              <a:tr h="431999">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3"/>
                  </a:ext>
                </a:extLst>
              </a:tr>
              <a:tr h="431999">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solidFill>
                      <a:schemeClr val="accent2"/>
                    </a:solidFill>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solidFill>
                      <a:schemeClr val="accent2"/>
                    </a:solidFill>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solidFill>
                      <a:schemeClr val="accent2"/>
                    </a:solidFill>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solidFill>
                      <a:schemeClr val="accent2"/>
                    </a:solidFill>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solidFill>
                      <a:schemeClr val="accent2"/>
                    </a:solidFill>
                  </a:tcPr>
                </a:tc>
                <a:extLst>
                  <a:ext uri="{0D108BD9-81ED-4DB2-BD59-A6C34878D82A}">
                    <a16:rowId xmlns:a16="http://schemas.microsoft.com/office/drawing/2014/main" val="10004"/>
                  </a:ext>
                </a:extLst>
              </a:tr>
              <a:tr h="431999">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5"/>
                  </a:ext>
                </a:extLst>
              </a:tr>
              <a:tr h="431999">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6"/>
                  </a:ext>
                </a:extLst>
              </a:tr>
              <a:tr h="431999">
                <a:tc>
                  <a:txBody>
                    <a:bodyPr/>
                    <a:lstStyle/>
                    <a:p>
                      <a:pPr algn="l">
                        <a:lnSpc>
                          <a:spcPts val="2000"/>
                        </a:lnSpc>
                      </a:pPr>
                      <a:r>
                        <a:rPr lang="de-CH" sz="1600" b="1" baseline="0" dirty="0">
                          <a:solidFill>
                            <a:schemeClr val="dk1"/>
                          </a:solidFill>
                        </a:rPr>
                        <a:t>Totalzeile</a:t>
                      </a:r>
                      <a:endParaRPr lang="de-CH" sz="1600" b="1" baseline="0" dirty="0">
                        <a:solidFill>
                          <a:schemeClr val="dk1"/>
                        </a:solidFill>
                        <a:latin typeface="Frutiger for ZKB Light" panose="020B0303030504020204" pitchFamily="34" charset="0"/>
                      </a:endParaRPr>
                    </a:p>
                  </a:txBody>
                  <a:tcPr marL="89996" marR="89996" marT="46800" marB="46800"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1" baseline="0" dirty="0">
                          <a:solidFill>
                            <a:schemeClr val="dk1"/>
                          </a:solidFill>
                        </a:rPr>
                        <a:t>Summe</a:t>
                      </a:r>
                      <a:endParaRPr lang="de-CH" sz="1600" b="1"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1" baseline="0" dirty="0">
                          <a:solidFill>
                            <a:schemeClr val="dk1"/>
                          </a:solidFill>
                        </a:rPr>
                        <a:t>Summe</a:t>
                      </a:r>
                      <a:endParaRPr lang="de-CH" sz="1600" b="1"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1" baseline="0" dirty="0">
                          <a:solidFill>
                            <a:schemeClr val="dk1"/>
                          </a:solidFill>
                        </a:rPr>
                        <a:t>Summe</a:t>
                      </a:r>
                      <a:endParaRPr lang="de-CH" sz="1600" b="1"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1" baseline="0" dirty="0">
                          <a:solidFill>
                            <a:schemeClr val="dk1"/>
                          </a:solidFill>
                        </a:rPr>
                        <a:t>Summe</a:t>
                      </a:r>
                      <a:endParaRPr lang="de-CH" sz="1600" b="1"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522" name="think-cell data - do not delete" hidden="1">
            <a:extLst>
              <a:ext uri="{FF2B5EF4-FFF2-40B4-BE49-F238E27FC236}">
                <a16:creationId xmlns:a16="http://schemas.microsoft.com/office/drawing/2014/main" id="{ED31FEE1-AC27-E466-2BF8-44508AF88F8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07522" name="think-cell data - do not delete" hidden="1">
                        <a:extLst>
                          <a:ext uri="{FF2B5EF4-FFF2-40B4-BE49-F238E27FC236}">
                            <a16:creationId xmlns:a16="http://schemas.microsoft.com/office/drawing/2014/main" id="{ED31FEE1-AC27-E466-2BF8-44508AF88F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7523" name="Titel 1">
            <a:extLst>
              <a:ext uri="{FF2B5EF4-FFF2-40B4-BE49-F238E27FC236}">
                <a16:creationId xmlns:a16="http://schemas.microsoft.com/office/drawing/2014/main" id="{143F5D6F-23B2-7461-3930-C08A13E4F772}"/>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Texttabelle</a:t>
            </a:r>
          </a:p>
        </p:txBody>
      </p:sp>
      <p:sp>
        <p:nvSpPr>
          <p:cNvPr id="107524" name="Foliennummernplatzhalter 10">
            <a:extLst>
              <a:ext uri="{FF2B5EF4-FFF2-40B4-BE49-F238E27FC236}">
                <a16:creationId xmlns:a16="http://schemas.microsoft.com/office/drawing/2014/main" id="{28F38D93-9987-017E-75EB-99116A68D997}"/>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D765A747-7176-4466-9F1F-B25AB5CCF024}" type="slidenum">
              <a:rPr lang="de-CH" altLang="de-DE" sz="1100" smtClean="0">
                <a:solidFill>
                  <a:srgbClr val="003CB4"/>
                </a:solidFill>
                <a:latin typeface="Frutiger for ZKB Light" panose="020B0303030504020204" pitchFamily="34" charset="0"/>
              </a:rPr>
              <a:pPr>
                <a:spcBef>
                  <a:spcPct val="0"/>
                </a:spcBef>
                <a:spcAft>
                  <a:spcPct val="0"/>
                </a:spcAft>
              </a:pPr>
              <a:t>76</a:t>
            </a:fld>
            <a:endParaRPr lang="de-CH" altLang="de-DE" sz="1100" dirty="0">
              <a:solidFill>
                <a:srgbClr val="003CB4"/>
              </a:solidFill>
              <a:latin typeface="Frutiger for ZKB Light" panose="020B0303030504020204" pitchFamily="34" charset="0"/>
            </a:endParaRPr>
          </a:p>
        </p:txBody>
      </p:sp>
      <p:sp>
        <p:nvSpPr>
          <p:cNvPr id="107525" name="Fußzeilenplatzhalter 8">
            <a:extLst>
              <a:ext uri="{FF2B5EF4-FFF2-40B4-BE49-F238E27FC236}">
                <a16:creationId xmlns:a16="http://schemas.microsoft.com/office/drawing/2014/main" id="{554B177B-9885-9976-8465-CA3B2D0B72A6}"/>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07526" name="Textfeld 5">
            <a:extLst>
              <a:ext uri="{FF2B5EF4-FFF2-40B4-BE49-F238E27FC236}">
                <a16:creationId xmlns:a16="http://schemas.microsoft.com/office/drawing/2014/main" id="{F8CC154C-8360-A641-3F46-0AB272C8202D}"/>
              </a:ext>
            </a:extLst>
          </p:cNvPr>
          <p:cNvSpPr txBox="1">
            <a:spLocks noChangeArrowheads="1"/>
          </p:cNvSpPr>
          <p:nvPr/>
        </p:nvSpPr>
        <p:spPr bwMode="auto">
          <a:xfrm>
            <a:off x="-1366838" y="3048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107527" name="Rechteck 13">
            <a:extLst>
              <a:ext uri="{FF2B5EF4-FFF2-40B4-BE49-F238E27FC236}">
                <a16:creationId xmlns:a16="http://schemas.microsoft.com/office/drawing/2014/main" id="{2F55BC5A-3B05-62A6-0123-2055D4FF4EF0}"/>
              </a:ext>
            </a:extLst>
          </p:cNvPr>
          <p:cNvSpPr>
            <a:spLocks noChangeArrowheads="1"/>
          </p:cNvSpPr>
          <p:nvPr/>
        </p:nvSpPr>
        <p:spPr bwMode="auto">
          <a:xfrm>
            <a:off x="304800" y="5272088"/>
            <a:ext cx="11450638" cy="796925"/>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dirty="0"/>
          </a:p>
        </p:txBody>
      </p:sp>
      <p:graphicFrame>
        <p:nvGraphicFramePr>
          <p:cNvPr id="17" name="Tabelle 16">
            <a:extLst>
              <a:ext uri="{FF2B5EF4-FFF2-40B4-BE49-F238E27FC236}">
                <a16:creationId xmlns:a16="http://schemas.microsoft.com/office/drawing/2014/main" id="{C43A62C9-C6F3-0C8D-D8D5-FF64EFA10692}"/>
              </a:ext>
            </a:extLst>
          </p:cNvPr>
          <p:cNvGraphicFramePr>
            <a:graphicFrameLocks noGrp="1"/>
          </p:cNvGraphicFramePr>
          <p:nvPr/>
        </p:nvGraphicFramePr>
        <p:xfrm>
          <a:off x="306388" y="2813050"/>
          <a:ext cx="11450637" cy="2160589"/>
        </p:xfrm>
        <a:graphic>
          <a:graphicData uri="http://schemas.openxmlformats.org/drawingml/2006/table">
            <a:tbl>
              <a:tblPr/>
              <a:tblGrid>
                <a:gridCol w="2378075">
                  <a:extLst>
                    <a:ext uri="{9D8B030D-6E8A-4147-A177-3AD203B41FA5}">
                      <a16:colId xmlns:a16="http://schemas.microsoft.com/office/drawing/2014/main" val="20000"/>
                    </a:ext>
                  </a:extLst>
                </a:gridCol>
                <a:gridCol w="2686050">
                  <a:extLst>
                    <a:ext uri="{9D8B030D-6E8A-4147-A177-3AD203B41FA5}">
                      <a16:colId xmlns:a16="http://schemas.microsoft.com/office/drawing/2014/main" val="20001"/>
                    </a:ext>
                  </a:extLst>
                </a:gridCol>
                <a:gridCol w="3376612">
                  <a:extLst>
                    <a:ext uri="{9D8B030D-6E8A-4147-A177-3AD203B41FA5}">
                      <a16:colId xmlns:a16="http://schemas.microsoft.com/office/drawing/2014/main" val="20002"/>
                    </a:ext>
                  </a:extLst>
                </a:gridCol>
                <a:gridCol w="3009900">
                  <a:extLst>
                    <a:ext uri="{9D8B030D-6E8A-4147-A177-3AD203B41FA5}">
                      <a16:colId xmlns:a16="http://schemas.microsoft.com/office/drawing/2014/main" val="20003"/>
                    </a:ext>
                  </a:extLst>
                </a:gridCol>
              </a:tblGrid>
              <a:tr h="593725">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1" i="0" u="none" strike="noStrike" cap="none" normalizeH="0" baseline="0" dirty="0">
                          <a:ln>
                            <a:noFill/>
                          </a:ln>
                          <a:solidFill>
                            <a:srgbClr val="003CB4"/>
                          </a:solidFill>
                          <a:effectLst/>
                          <a:latin typeface="Frutiger for ZKB Light" panose="020B0303030504020204" pitchFamily="34" charset="0"/>
                        </a:rPr>
                        <a:t>Lorem ipsum</a:t>
                      </a:r>
                    </a:p>
                  </a:txBody>
                  <a:tcPr anchor="ctr" horzOverflow="overflow">
                    <a:lnL>
                      <a:noFill/>
                    </a:lnL>
                    <a:lnR w="3175" cap="flat" cmpd="sng" algn="ctr">
                      <a:solidFill>
                        <a:schemeClr val="tx1">
                          <a:alpha val="0"/>
                        </a:schemeClr>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lnTlToBr>
                      <a:noFill/>
                    </a:lnTlToBr>
                    <a:lnBlToTr>
                      <a:noFill/>
                    </a:lnBlToTr>
                    <a:noFill/>
                  </a:tcPr>
                </a:tc>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1" i="0" u="none" strike="noStrike" cap="none" normalizeH="0" baseline="0" dirty="0">
                          <a:ln>
                            <a:noFill/>
                          </a:ln>
                          <a:solidFill>
                            <a:srgbClr val="003CB4"/>
                          </a:solidFill>
                          <a:effectLst/>
                          <a:latin typeface="Frutiger for ZKB Light" panose="020B0303030504020204" pitchFamily="34" charset="0"/>
                        </a:rPr>
                        <a:t>Dolor sit</a:t>
                      </a:r>
                    </a:p>
                  </a:txBody>
                  <a:tcPr anchor="ctr" horzOverflow="overflow">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lnTlToBr>
                      <a:noFill/>
                    </a:lnTlToBr>
                    <a:lnBlToTr>
                      <a:noFill/>
                    </a:lnBlToTr>
                    <a:noFill/>
                  </a:tcPr>
                </a:tc>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1" i="0" u="none" strike="noStrike" cap="none" normalizeH="0" baseline="0" dirty="0">
                          <a:ln>
                            <a:noFill/>
                          </a:ln>
                          <a:solidFill>
                            <a:srgbClr val="003CB4"/>
                          </a:solidFill>
                          <a:effectLst/>
                          <a:latin typeface="Frutiger for ZKB Light" panose="020B0303030504020204" pitchFamily="34" charset="0"/>
                        </a:rPr>
                        <a:t>Onsetetur sadipscing </a:t>
                      </a:r>
                    </a:p>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1" i="0" u="none" strike="noStrike" cap="none" normalizeH="0" baseline="0" dirty="0">
                          <a:ln>
                            <a:noFill/>
                          </a:ln>
                          <a:solidFill>
                            <a:srgbClr val="003CB4"/>
                          </a:solidFill>
                          <a:effectLst/>
                          <a:latin typeface="Frutiger for ZKB Light" panose="020B0303030504020204" pitchFamily="34" charset="0"/>
                        </a:rPr>
                        <a:t>elitr sed</a:t>
                      </a:r>
                    </a:p>
                  </a:txBody>
                  <a:tcPr anchor="ctr" horzOverflow="overflow">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lnTlToBr>
                      <a:noFill/>
                    </a:lnTlToBr>
                    <a:lnBlToTr>
                      <a:noFill/>
                    </a:lnBlToTr>
                    <a:noFill/>
                  </a:tcPr>
                </a:tc>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1" i="0" u="none" strike="noStrike" cap="none" normalizeH="0" baseline="0" dirty="0">
                          <a:ln>
                            <a:noFill/>
                          </a:ln>
                          <a:solidFill>
                            <a:srgbClr val="003CB4"/>
                          </a:solidFill>
                          <a:effectLst/>
                          <a:latin typeface="Frutiger for ZKB Light" panose="020B0303030504020204" pitchFamily="34" charset="0"/>
                        </a:rPr>
                        <a:t>Consetetur sadipscing</a:t>
                      </a:r>
                    </a:p>
                  </a:txBody>
                  <a:tcPr anchor="ctr" horzOverflow="overflow">
                    <a:lnL w="3175" cap="flat" cmpd="sng" algn="ctr">
                      <a:solidFill>
                        <a:schemeClr val="tx1">
                          <a:alpha val="0"/>
                        </a:schemeClr>
                      </a:solidFill>
                      <a:prstDash val="solid"/>
                      <a:round/>
                      <a:headEnd type="none" w="med" len="med"/>
                      <a:tailEnd type="none" w="med" len="med"/>
                    </a:lnL>
                    <a:lnR>
                      <a:noFill/>
                    </a:lnR>
                    <a:lnT>
                      <a:noFill/>
                    </a:lnT>
                    <a:lnB w="6350"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r h="522288">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a:noFill/>
                    </a:lnL>
                    <a:lnR w="3175" cap="flat" cmpd="sng" algn="ctr">
                      <a:solidFill>
                        <a:schemeClr val="tx1">
                          <a:alpha val="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w="3175" cap="flat" cmpd="sng" algn="ctr">
                      <a:solidFill>
                        <a:schemeClr val="tx1">
                          <a:alpha val="0"/>
                        </a:schemeClr>
                      </a:solid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1"/>
                  </a:ext>
                </a:extLst>
              </a:tr>
              <a:tr h="522288">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a:noFill/>
                    </a:lnL>
                    <a:lnR w="3175" cap="flat" cmpd="sng" algn="ctr">
                      <a:solidFill>
                        <a:schemeClr val="tx1">
                          <a:alpha val="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defTabSz="963613">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963613">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963613">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963613">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963613">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963613"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963613"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963613"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963613"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963613"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w="3175" cap="flat" cmpd="sng" algn="ctr">
                      <a:solidFill>
                        <a:schemeClr val="tx1">
                          <a:alpha val="0"/>
                        </a:schemeClr>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2"/>
                  </a:ext>
                </a:extLst>
              </a:tr>
              <a:tr h="522288">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a:noFill/>
                    </a:lnL>
                    <a:lnR w="3175" cap="flat" cmpd="sng" algn="ctr">
                      <a:solidFill>
                        <a:schemeClr val="tx1">
                          <a:alpha val="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defTabSz="963613">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963613">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963613">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963613">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963613">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963613"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963613"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963613"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963613"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963613"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w="3175" cap="flat" cmpd="sng" algn="ctr">
                      <a:solidFill>
                        <a:schemeClr val="tx1">
                          <a:alpha val="0"/>
                        </a:schemeClr>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3"/>
                  </a:ext>
                </a:extLst>
              </a:tr>
            </a:tbl>
          </a:graphicData>
        </a:graphic>
      </p:graphicFrame>
      <p:sp>
        <p:nvSpPr>
          <p:cNvPr id="18" name="Textfeld 17">
            <a:extLst>
              <a:ext uri="{FF2B5EF4-FFF2-40B4-BE49-F238E27FC236}">
                <a16:creationId xmlns:a16="http://schemas.microsoft.com/office/drawing/2014/main" id="{4AAE885D-D928-B7FE-AE6E-AD6DE957FED3}"/>
              </a:ext>
            </a:extLst>
          </p:cNvPr>
          <p:cNvSpPr txBox="1"/>
          <p:nvPr/>
        </p:nvSpPr>
        <p:spPr>
          <a:xfrm>
            <a:off x="303213" y="1906588"/>
            <a:ext cx="10182225" cy="554037"/>
          </a:xfrm>
          <a:prstGeom prst="rect">
            <a:avLst/>
          </a:prstGeom>
          <a:noFill/>
          <a:ln cmpd="sng">
            <a:noFill/>
            <a:prstDash val="solid"/>
          </a:ln>
          <a:effectLst/>
        </p:spPr>
        <p:txBody>
          <a:bodyPr lIns="0" tIns="0" rIns="0" bIns="0">
            <a:spAutoFit/>
          </a:bodyPr>
          <a:lstStyle/>
          <a:p>
            <a:pPr eaLnBrk="1" hangingPunct="1">
              <a:spcBef>
                <a:spcPct val="20000"/>
              </a:spcBef>
              <a:defRPr/>
            </a:pPr>
            <a:r>
              <a:rPr lang="de-CH" sz="1800" b="1" dirty="0">
                <a:latin typeface="Frutiger for ZKB Light" panose="020B0303030504020204" pitchFamily="34" charset="0"/>
              </a:rPr>
              <a:t>Lorem ipsum dolor sit amet, consetetur sadipscing elitr, sed diam nonumy eirmod tempor invidunt ut labore et dolore magna aliquyam erat, sed diam voluptua. </a:t>
            </a:r>
            <a:endParaRPr lang="de-CH" sz="6303" dirty="0">
              <a:latin typeface="Frutiger for ZKB Light" panose="020B0303030504020204" pitchFamily="34" charset="0"/>
            </a:endParaRPr>
          </a:p>
        </p:txBody>
      </p:sp>
      <p:sp>
        <p:nvSpPr>
          <p:cNvPr id="107553" name="Textfeld 18">
            <a:extLst>
              <a:ext uri="{FF2B5EF4-FFF2-40B4-BE49-F238E27FC236}">
                <a16:creationId xmlns:a16="http://schemas.microsoft.com/office/drawing/2014/main" id="{DCC57134-6F31-C77C-CAFA-11EE17E7A313}"/>
              </a:ext>
            </a:extLst>
          </p:cNvPr>
          <p:cNvSpPr txBox="1">
            <a:spLocks noChangeArrowheads="1"/>
          </p:cNvSpPr>
          <p:nvPr/>
        </p:nvSpPr>
        <p:spPr bwMode="auto">
          <a:xfrm>
            <a:off x="339725" y="5378450"/>
            <a:ext cx="11380788" cy="584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600" dirty="0">
                <a:latin typeface="Frutiger for ZKB Light" panose="020B0303030504020204" pitchFamily="34" charset="0"/>
              </a:rPr>
              <a:t>Lorem ipsum dolor sit amet, </a:t>
            </a:r>
            <a:r>
              <a:rPr lang="de-CH" altLang="de-DE" sz="1600" b="1" dirty="0">
                <a:solidFill>
                  <a:srgbClr val="003CB4"/>
                </a:solidFill>
                <a:latin typeface="Frutiger for ZKB Light" panose="020B0303030504020204" pitchFamily="34" charset="0"/>
              </a:rPr>
              <a:t>consetetur sadipscing</a:t>
            </a:r>
            <a:r>
              <a:rPr lang="de-CH" altLang="de-DE" sz="1600" b="1" dirty="0">
                <a:solidFill>
                  <a:srgbClr val="2BB3EE"/>
                </a:solidFill>
                <a:latin typeface="Frutiger for ZKB Light" panose="020B0303030504020204" pitchFamily="34" charset="0"/>
              </a:rPr>
              <a:t> </a:t>
            </a:r>
            <a:r>
              <a:rPr lang="de-CH" altLang="de-DE" sz="1600" dirty="0">
                <a:latin typeface="Frutiger for ZKB Light" panose="020B0303030504020204" pitchFamily="34" charset="0"/>
              </a:rPr>
              <a:t>elitr, sed diam nonumy eirmod tempor </a:t>
            </a:r>
            <a:r>
              <a:rPr lang="de-CH" altLang="de-DE" sz="1600" b="1" dirty="0">
                <a:latin typeface="Frutiger for ZKB Light" panose="020B0303030504020204" pitchFamily="34" charset="0"/>
              </a:rPr>
              <a:t>invidunt</a:t>
            </a:r>
            <a:r>
              <a:rPr lang="de-CH" altLang="de-DE" sz="1600" dirty="0">
                <a:latin typeface="Frutiger for ZKB Light" panose="020B0303030504020204" pitchFamily="34" charset="0"/>
              </a:rPr>
              <a:t> ut labore et dolore magna aliquyam erat, sed diam voluptua. </a:t>
            </a:r>
          </a:p>
        </p:txBody>
      </p:sp>
      <p:sp>
        <p:nvSpPr>
          <p:cNvPr id="107554" name="Textfeld 2">
            <a:extLst>
              <a:ext uri="{FF2B5EF4-FFF2-40B4-BE49-F238E27FC236}">
                <a16:creationId xmlns:a16="http://schemas.microsoft.com/office/drawing/2014/main" id="{8F46F9EC-0B4E-F045-0DA8-C372FBEEE34F}"/>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8546" name="Objekt 4" hidden="1">
            <a:extLst>
              <a:ext uri="{FF2B5EF4-FFF2-40B4-BE49-F238E27FC236}">
                <a16:creationId xmlns:a16="http://schemas.microsoft.com/office/drawing/2014/main" id="{87AEE552-A7A7-A959-8C27-326C93BCD36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108546" name="Objekt 4" hidden="1">
                        <a:extLst>
                          <a:ext uri="{FF2B5EF4-FFF2-40B4-BE49-F238E27FC236}">
                            <a16:creationId xmlns:a16="http://schemas.microsoft.com/office/drawing/2014/main" id="{87AEE552-A7A7-A959-8C27-326C93BCD36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1151FCC2-32ED-5BD5-5C28-4D066DA0F104}"/>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108548" name="Titel 14">
            <a:extLst>
              <a:ext uri="{FF2B5EF4-FFF2-40B4-BE49-F238E27FC236}">
                <a16:creationId xmlns:a16="http://schemas.microsoft.com/office/drawing/2014/main" id="{0D86C88F-0793-4AEA-D908-DC0EC59D7607}"/>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Tabelle – 4 Spalten + Kommentar</a:t>
            </a:r>
          </a:p>
        </p:txBody>
      </p:sp>
      <p:sp>
        <p:nvSpPr>
          <p:cNvPr id="108549" name="Foliennummernplatzhalter 11">
            <a:extLst>
              <a:ext uri="{FF2B5EF4-FFF2-40B4-BE49-F238E27FC236}">
                <a16:creationId xmlns:a16="http://schemas.microsoft.com/office/drawing/2014/main" id="{5AD1FDBD-73FE-BC58-97A3-9A830437C473}"/>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77</a:t>
            </a:fld>
            <a:endParaRPr lang="de-CH" altLang="de-DE" sz="1100" dirty="0">
              <a:solidFill>
                <a:srgbClr val="003CB4"/>
              </a:solidFill>
            </a:endParaRPr>
          </a:p>
        </p:txBody>
      </p:sp>
      <p:sp>
        <p:nvSpPr>
          <p:cNvPr id="108550" name="Fußzeilenplatzhalter 8">
            <a:extLst>
              <a:ext uri="{FF2B5EF4-FFF2-40B4-BE49-F238E27FC236}">
                <a16:creationId xmlns:a16="http://schemas.microsoft.com/office/drawing/2014/main" id="{9F9940E9-24AD-1A71-257B-2D10FAA5D258}"/>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08551" name="Inhaltsplatzhalter 5">
            <a:extLst>
              <a:ext uri="{FF2B5EF4-FFF2-40B4-BE49-F238E27FC236}">
                <a16:creationId xmlns:a16="http://schemas.microsoft.com/office/drawing/2014/main" id="{BC70815A-EABE-0399-2E06-682A08BF6B3D}"/>
              </a:ext>
            </a:extLst>
          </p:cNvPr>
          <p:cNvSpPr>
            <a:spLocks noGrp="1" noChangeArrowheads="1"/>
          </p:cNvSpPr>
          <p:nvPr>
            <p:ph sz="quarter" idx="14"/>
          </p:nvPr>
        </p:nvSpPr>
        <p:spPr>
          <a:xfrm>
            <a:off x="8659813" y="1885950"/>
            <a:ext cx="3889375" cy="4748213"/>
          </a:xfrm>
        </p:spPr>
        <p:txBody>
          <a:bodyPr/>
          <a:lstStyle/>
          <a:p>
            <a:pPr defTabSz="284163" eaLnBrk="1" hangingPunct="1">
              <a:spcBef>
                <a:spcPct val="0"/>
              </a:spcBef>
              <a:spcAft>
                <a:spcPct val="0"/>
              </a:spcAft>
            </a:pPr>
            <a:r>
              <a:rPr lang="de-CH" altLang="de-DE" b="1" dirty="0">
                <a:cs typeface="Aharoni" panose="020F0502020204030204" pitchFamily="2" charset="-79"/>
              </a:rPr>
              <a:t>Kommentar</a:t>
            </a:r>
          </a:p>
          <a:p>
            <a:pPr defTabSz="284163" eaLnBrk="1" hangingPunct="1">
              <a:spcBef>
                <a:spcPct val="0"/>
              </a:spcBef>
              <a:spcAft>
                <a:spcPct val="0"/>
              </a:spcAft>
            </a:pPr>
            <a:endParaRPr lang="de-CH" altLang="de-DE" b="1" dirty="0">
              <a:cs typeface="Aharoni" panose="020F0502020204030204" pitchFamily="2" charset="-79"/>
            </a:endParaRPr>
          </a:p>
          <a:p>
            <a:pPr defTabSz="284163" eaLnBrk="1" hangingPunct="1">
              <a:spcBef>
                <a:spcPct val="0"/>
              </a:spcBef>
              <a:spcAft>
                <a:spcPct val="0"/>
              </a:spcAft>
            </a:pPr>
            <a:r>
              <a:rPr lang="de-CH" altLang="de-DE" dirty="0">
                <a:cs typeface="Aharoni" panose="020F0502020204030204" pitchFamily="2" charset="-79"/>
              </a:rPr>
              <a:t>Lorem ipsum …</a:t>
            </a:r>
          </a:p>
        </p:txBody>
      </p:sp>
      <p:graphicFrame>
        <p:nvGraphicFramePr>
          <p:cNvPr id="21" name="Inhaltsplatzhalter 10">
            <a:extLst>
              <a:ext uri="{FF2B5EF4-FFF2-40B4-BE49-F238E27FC236}">
                <a16:creationId xmlns:a16="http://schemas.microsoft.com/office/drawing/2014/main" id="{74E1CBFF-CEFE-D9A3-2670-1F9FB2AEEAE4}"/>
              </a:ext>
            </a:extLst>
          </p:cNvPr>
          <p:cNvGraphicFramePr>
            <a:graphicFrameLocks/>
          </p:cNvGraphicFramePr>
          <p:nvPr>
            <p:custDataLst>
              <p:tags r:id="rId3"/>
            </p:custDataLst>
          </p:nvPr>
        </p:nvGraphicFramePr>
        <p:xfrm>
          <a:off x="306388" y="1885950"/>
          <a:ext cx="8066088" cy="3386136"/>
        </p:xfrm>
        <a:graphic>
          <a:graphicData uri="http://schemas.openxmlformats.org/drawingml/2006/table">
            <a:tbl>
              <a:tblPr firstRow="1" bandRow="1">
                <a:tableStyleId>{2D5ABB26-0587-4C30-8999-92F81FD0307C}</a:tableStyleId>
              </a:tblPr>
              <a:tblGrid>
                <a:gridCol w="2688696">
                  <a:extLst>
                    <a:ext uri="{9D8B030D-6E8A-4147-A177-3AD203B41FA5}">
                      <a16:colId xmlns:a16="http://schemas.microsoft.com/office/drawing/2014/main" val="20000"/>
                    </a:ext>
                  </a:extLst>
                </a:gridCol>
                <a:gridCol w="2688696">
                  <a:extLst>
                    <a:ext uri="{9D8B030D-6E8A-4147-A177-3AD203B41FA5}">
                      <a16:colId xmlns:a16="http://schemas.microsoft.com/office/drawing/2014/main" val="20001"/>
                    </a:ext>
                  </a:extLst>
                </a:gridCol>
                <a:gridCol w="2688696">
                  <a:extLst>
                    <a:ext uri="{9D8B030D-6E8A-4147-A177-3AD203B41FA5}">
                      <a16:colId xmlns:a16="http://schemas.microsoft.com/office/drawing/2014/main" val="20002"/>
                    </a:ext>
                  </a:extLst>
                </a:gridCol>
              </a:tblGrid>
              <a:tr h="423267">
                <a:tc>
                  <a:txBody>
                    <a:bodyPr/>
                    <a:lstStyle/>
                    <a:p>
                      <a:pPr algn="l">
                        <a:lnSpc>
                          <a:spcPct val="100000"/>
                        </a:lnSpc>
                      </a:pPr>
                      <a:r>
                        <a:rPr lang="de-CH" sz="1600" b="1" baseline="0" dirty="0">
                          <a:solidFill>
                            <a:srgbClr val="003CB4"/>
                          </a:solidFill>
                          <a:latin typeface="Frutiger for ZKB Light" panose="020B0303030504020204" pitchFamily="34" charset="0"/>
                        </a:rPr>
                        <a:t>Lorem ipsum </a:t>
                      </a:r>
                    </a:p>
                  </a:txBody>
                  <a:tcPr marL="89993" marR="89993" marT="46795" marB="46795" anchor="ctr">
                    <a:lnR w="3175" cap="flat" cmpd="sng" algn="ctr">
                      <a:solidFill>
                        <a:schemeClr val="tx1">
                          <a:alpha val="0"/>
                        </a:schemeClr>
                      </a:solidFill>
                      <a:prstDash val="solid"/>
                      <a:round/>
                      <a:headEnd type="none" w="med" len="med"/>
                      <a:tailEnd type="none" w="med" len="med"/>
                    </a:lnR>
                    <a:lnB w="6350" cap="flat" cmpd="sng" algn="ctr">
                      <a:solidFill>
                        <a:srgbClr val="003CB4"/>
                      </a:solidFill>
                      <a:prstDash val="solid"/>
                      <a:round/>
                      <a:headEnd type="none" w="med" len="med"/>
                      <a:tailEnd type="none" w="med" len="med"/>
                    </a:lnB>
                  </a:tcPr>
                </a:tc>
                <a:tc>
                  <a:txBody>
                    <a:bodyPr/>
                    <a:lstStyle/>
                    <a:p>
                      <a:pPr algn="l">
                        <a:lnSpc>
                          <a:spcPct val="100000"/>
                        </a:lnSpc>
                      </a:pPr>
                      <a:r>
                        <a:rPr lang="de-CH" sz="1600" b="1" baseline="0" dirty="0">
                          <a:solidFill>
                            <a:srgbClr val="003CB4"/>
                          </a:solidFill>
                          <a:latin typeface="Frutiger for ZKB Light" panose="020B0303030504020204" pitchFamily="34" charset="0"/>
                        </a:rPr>
                        <a:t>Lorem ipsum</a:t>
                      </a:r>
                    </a:p>
                  </a:txBody>
                  <a:tcPr marL="89993" marR="89993" marT="46795" marB="4679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B w="6350" cap="flat" cmpd="sng" algn="ctr">
                      <a:solidFill>
                        <a:srgbClr val="003CB4"/>
                      </a:solidFill>
                      <a:prstDash val="solid"/>
                      <a:round/>
                      <a:headEnd type="none" w="med" len="med"/>
                      <a:tailEnd type="none" w="med" len="med"/>
                    </a:lnB>
                  </a:tcPr>
                </a:tc>
                <a:tc>
                  <a:txBody>
                    <a:bodyPr/>
                    <a:lstStyle/>
                    <a:p>
                      <a:pPr algn="l">
                        <a:lnSpc>
                          <a:spcPct val="100000"/>
                        </a:lnSpc>
                      </a:pPr>
                      <a:r>
                        <a:rPr lang="de-CH" sz="1600" b="1" baseline="0" dirty="0">
                          <a:solidFill>
                            <a:srgbClr val="003CB4"/>
                          </a:solidFill>
                          <a:latin typeface="Frutiger for ZKB Light" panose="020B0303030504020204" pitchFamily="34" charset="0"/>
                        </a:rPr>
                        <a:t>Lorem ipsum </a:t>
                      </a:r>
                    </a:p>
                  </a:txBody>
                  <a:tcPr marL="89993" marR="89993" marT="46795" marB="46795" anchor="ctr">
                    <a:lnL w="3175" cap="flat" cmpd="sng" algn="ctr">
                      <a:solidFill>
                        <a:schemeClr val="tx1">
                          <a:alpha val="0"/>
                        </a:schemeClr>
                      </a:solidFill>
                      <a:prstDash val="solid"/>
                      <a:round/>
                      <a:headEnd type="none" w="med" len="med"/>
                      <a:tailEnd type="none" w="med" len="med"/>
                    </a:lnL>
                    <a:lnB w="6350" cap="flat" cmpd="sng" algn="ctr">
                      <a:solidFill>
                        <a:srgbClr val="003CB4"/>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423267">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R w="3175" cap="flat" cmpd="sng" algn="ctr">
                      <a:solidFill>
                        <a:schemeClr val="tx1">
                          <a:alpha val="0"/>
                        </a:schemeClr>
                      </a:solidFill>
                      <a:prstDash val="solid"/>
                      <a:round/>
                      <a:headEnd type="none" w="med" len="med"/>
                      <a:tailEnd type="none" w="med" len="med"/>
                    </a:lnR>
                    <a:lnT w="6350"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6350"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T w="6350"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solidFill>
                      <a:schemeClr val="accent2"/>
                    </a:solidFill>
                  </a:tcPr>
                </a:tc>
                <a:extLst>
                  <a:ext uri="{0D108BD9-81ED-4DB2-BD59-A6C34878D82A}">
                    <a16:rowId xmlns:a16="http://schemas.microsoft.com/office/drawing/2014/main" val="10001"/>
                  </a:ext>
                </a:extLst>
              </a:tr>
              <a:tr h="423267">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solidFill>
                      <a:schemeClr val="accent2"/>
                    </a:solidFill>
                  </a:tcPr>
                </a:tc>
                <a:extLst>
                  <a:ext uri="{0D108BD9-81ED-4DB2-BD59-A6C34878D82A}">
                    <a16:rowId xmlns:a16="http://schemas.microsoft.com/office/drawing/2014/main" val="10002"/>
                  </a:ext>
                </a:extLst>
              </a:tr>
              <a:tr h="423267">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solidFill>
                      <a:schemeClr val="accent2"/>
                    </a:solidFill>
                  </a:tcPr>
                </a:tc>
                <a:extLst>
                  <a:ext uri="{0D108BD9-81ED-4DB2-BD59-A6C34878D82A}">
                    <a16:rowId xmlns:a16="http://schemas.microsoft.com/office/drawing/2014/main" val="10003"/>
                  </a:ext>
                </a:extLst>
              </a:tr>
              <a:tr h="423267">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solidFill>
                      <a:schemeClr val="accent2"/>
                    </a:solidFill>
                  </a:tcPr>
                </a:tc>
                <a:extLst>
                  <a:ext uri="{0D108BD9-81ED-4DB2-BD59-A6C34878D82A}">
                    <a16:rowId xmlns:a16="http://schemas.microsoft.com/office/drawing/2014/main" val="10004"/>
                  </a:ext>
                </a:extLst>
              </a:tr>
              <a:tr h="423267">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solidFill>
                      <a:schemeClr val="accent2"/>
                    </a:solidFill>
                  </a:tcPr>
                </a:tc>
                <a:extLst>
                  <a:ext uri="{0D108BD9-81ED-4DB2-BD59-A6C34878D82A}">
                    <a16:rowId xmlns:a16="http://schemas.microsoft.com/office/drawing/2014/main" val="10005"/>
                  </a:ext>
                </a:extLst>
              </a:tr>
              <a:tr h="423267">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solidFill>
                      <a:schemeClr val="accent2"/>
                    </a:solidFill>
                  </a:tcPr>
                </a:tc>
                <a:extLst>
                  <a:ext uri="{0D108BD9-81ED-4DB2-BD59-A6C34878D82A}">
                    <a16:rowId xmlns:a16="http://schemas.microsoft.com/office/drawing/2014/main" val="10006"/>
                  </a:ext>
                </a:extLst>
              </a:tr>
              <a:tr h="423267">
                <a:tc>
                  <a:txBody>
                    <a:bodyPr/>
                    <a:lstStyle/>
                    <a:p>
                      <a:pPr algn="l">
                        <a:lnSpc>
                          <a:spcPct val="100000"/>
                        </a:lnSpc>
                      </a:pPr>
                      <a:r>
                        <a:rPr lang="de-CH" sz="1600" b="1" baseline="0" dirty="0">
                          <a:solidFill>
                            <a:srgbClr val="003CB4"/>
                          </a:solidFill>
                          <a:latin typeface="Frutiger for ZKB Light" panose="020B0303030504020204" pitchFamily="34" charset="0"/>
                        </a:rPr>
                        <a:t>Totalzeile</a:t>
                      </a:r>
                    </a:p>
                  </a:txBody>
                  <a:tcPr marL="89993" marR="89993" marT="46795" marB="46795" anchor="ctr">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1" baseline="0" dirty="0">
                          <a:solidFill>
                            <a:srgbClr val="003CB4"/>
                          </a:solidFill>
                          <a:latin typeface="Frutiger for ZKB Light" panose="020B0303030504020204" pitchFamily="34" charset="0"/>
                        </a:rPr>
                        <a:t>Summe</a:t>
                      </a:r>
                    </a:p>
                  </a:txBody>
                  <a:tcPr marL="89993" marR="89993" marT="46795" marB="4679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1" baseline="0" dirty="0">
                          <a:solidFill>
                            <a:srgbClr val="003CB4"/>
                          </a:solidFill>
                          <a:latin typeface="Frutiger for ZKB Light" panose="020B0303030504020204" pitchFamily="34" charset="0"/>
                        </a:rPr>
                        <a:t>Summe</a:t>
                      </a:r>
                    </a:p>
                  </a:txBody>
                  <a:tcPr marL="89993" marR="89993" marT="46795" marB="46795" anchor="ctr">
                    <a:lnL w="3175" cap="flat" cmpd="sng" algn="ctr">
                      <a:solidFill>
                        <a:schemeClr val="tx1">
                          <a:alpha val="0"/>
                        </a:schemeClr>
                      </a:solidFill>
                      <a:prstDash val="solid"/>
                      <a:round/>
                      <a:headEnd type="none" w="med" len="med"/>
                      <a:tailEnd type="none" w="med" len="med"/>
                    </a:lnL>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solidFill>
                      <a:schemeClr val="accent2"/>
                    </a:solidFill>
                  </a:tcPr>
                </a:tc>
                <a:extLst>
                  <a:ext uri="{0D108BD9-81ED-4DB2-BD59-A6C34878D82A}">
                    <a16:rowId xmlns:a16="http://schemas.microsoft.com/office/drawing/2014/main" val="10007"/>
                  </a:ext>
                </a:extLst>
              </a:tr>
            </a:tbl>
          </a:graphicData>
        </a:graphic>
      </p:graphicFrame>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9570" name="think-cell data - do not delete" hidden="1">
            <a:extLst>
              <a:ext uri="{FF2B5EF4-FFF2-40B4-BE49-F238E27FC236}">
                <a16:creationId xmlns:a16="http://schemas.microsoft.com/office/drawing/2014/main" id="{EC4672E4-2961-AD90-8DF6-42997C24064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09570" name="think-cell data - do not delete" hidden="1">
                        <a:extLst>
                          <a:ext uri="{FF2B5EF4-FFF2-40B4-BE49-F238E27FC236}">
                            <a16:creationId xmlns:a16="http://schemas.microsoft.com/office/drawing/2014/main" id="{EC4672E4-2961-AD90-8DF6-42997C2406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9571" name="Titel 1">
            <a:extLst>
              <a:ext uri="{FF2B5EF4-FFF2-40B4-BE49-F238E27FC236}">
                <a16:creationId xmlns:a16="http://schemas.microsoft.com/office/drawing/2014/main" id="{BA2BAA56-D071-AFC8-6EDA-77160095E9C2}"/>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Texttabellen mit Bewertung – unterschiedliche Möglichkeiten</a:t>
            </a:r>
          </a:p>
        </p:txBody>
      </p:sp>
      <p:sp>
        <p:nvSpPr>
          <p:cNvPr id="109572" name="Foliennummernplatzhalter 14">
            <a:extLst>
              <a:ext uri="{FF2B5EF4-FFF2-40B4-BE49-F238E27FC236}">
                <a16:creationId xmlns:a16="http://schemas.microsoft.com/office/drawing/2014/main" id="{8D8C36AF-63FB-9822-76FE-F2B2143A9DBF}"/>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AE1A90D8-3926-4D09-AB5D-D565EF8BE38C}" type="slidenum">
              <a:rPr lang="de-CH" altLang="de-DE" sz="1100" smtClean="0">
                <a:solidFill>
                  <a:srgbClr val="003CB4"/>
                </a:solidFill>
                <a:latin typeface="Frutiger for ZKB Light" panose="020B0303030504020204" pitchFamily="34" charset="0"/>
              </a:rPr>
              <a:pPr>
                <a:spcBef>
                  <a:spcPct val="0"/>
                </a:spcBef>
                <a:spcAft>
                  <a:spcPct val="0"/>
                </a:spcAft>
              </a:pPr>
              <a:t>78</a:t>
            </a:fld>
            <a:endParaRPr lang="de-CH" altLang="de-DE" sz="1100" dirty="0">
              <a:solidFill>
                <a:srgbClr val="003CB4"/>
              </a:solidFill>
              <a:latin typeface="Frutiger for ZKB Light" panose="020B0303030504020204" pitchFamily="34" charset="0"/>
            </a:endParaRPr>
          </a:p>
        </p:txBody>
      </p:sp>
      <p:sp>
        <p:nvSpPr>
          <p:cNvPr id="109573" name="Fußzeilenplatzhalter 13">
            <a:extLst>
              <a:ext uri="{FF2B5EF4-FFF2-40B4-BE49-F238E27FC236}">
                <a16:creationId xmlns:a16="http://schemas.microsoft.com/office/drawing/2014/main" id="{D73F9400-1795-98DA-5A28-A34373FF2E80}"/>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09574" name="Textfeld 5">
            <a:extLst>
              <a:ext uri="{FF2B5EF4-FFF2-40B4-BE49-F238E27FC236}">
                <a16:creationId xmlns:a16="http://schemas.microsoft.com/office/drawing/2014/main" id="{B1FACAA3-88D6-8753-0778-51F492E16C6A}"/>
              </a:ext>
            </a:extLst>
          </p:cNvPr>
          <p:cNvSpPr txBox="1">
            <a:spLocks noChangeArrowheads="1"/>
          </p:cNvSpPr>
          <p:nvPr/>
        </p:nvSpPr>
        <p:spPr bwMode="auto">
          <a:xfrm>
            <a:off x="-1366838" y="3048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graphicFrame>
        <p:nvGraphicFramePr>
          <p:cNvPr id="17" name="Tabelle 16">
            <a:extLst>
              <a:ext uri="{FF2B5EF4-FFF2-40B4-BE49-F238E27FC236}">
                <a16:creationId xmlns:a16="http://schemas.microsoft.com/office/drawing/2014/main" id="{75D7C66E-E6D0-C6F9-BCFE-F6D204FEBB9E}"/>
              </a:ext>
            </a:extLst>
          </p:cNvPr>
          <p:cNvGraphicFramePr>
            <a:graphicFrameLocks noGrp="1"/>
          </p:cNvGraphicFramePr>
          <p:nvPr/>
        </p:nvGraphicFramePr>
        <p:xfrm>
          <a:off x="306388" y="1781175"/>
          <a:ext cx="12168186" cy="3794205"/>
        </p:xfrm>
        <a:graphic>
          <a:graphicData uri="http://schemas.openxmlformats.org/drawingml/2006/table">
            <a:tbl>
              <a:tblPr firstRow="1" bandRow="1">
                <a:tableStyleId>{2D5ABB26-0587-4C30-8999-92F81FD0307C}</a:tableStyleId>
              </a:tblPr>
              <a:tblGrid>
                <a:gridCol w="3283480">
                  <a:extLst>
                    <a:ext uri="{9D8B030D-6E8A-4147-A177-3AD203B41FA5}">
                      <a16:colId xmlns:a16="http://schemas.microsoft.com/office/drawing/2014/main" val="20000"/>
                    </a:ext>
                  </a:extLst>
                </a:gridCol>
                <a:gridCol w="3283480">
                  <a:extLst>
                    <a:ext uri="{9D8B030D-6E8A-4147-A177-3AD203B41FA5}">
                      <a16:colId xmlns:a16="http://schemas.microsoft.com/office/drawing/2014/main" val="20001"/>
                    </a:ext>
                  </a:extLst>
                </a:gridCol>
                <a:gridCol w="3283480">
                  <a:extLst>
                    <a:ext uri="{9D8B030D-6E8A-4147-A177-3AD203B41FA5}">
                      <a16:colId xmlns:a16="http://schemas.microsoft.com/office/drawing/2014/main" val="20002"/>
                    </a:ext>
                  </a:extLst>
                </a:gridCol>
                <a:gridCol w="2317746">
                  <a:extLst>
                    <a:ext uri="{9D8B030D-6E8A-4147-A177-3AD203B41FA5}">
                      <a16:colId xmlns:a16="http://schemas.microsoft.com/office/drawing/2014/main" val="20003"/>
                    </a:ext>
                  </a:extLst>
                </a:gridCol>
              </a:tblGrid>
              <a:tr h="593855">
                <a:tc>
                  <a:txBody>
                    <a:bodyPr/>
                    <a:lstStyle/>
                    <a:p>
                      <a:r>
                        <a:rPr lang="de-DE" sz="1600" b="1" dirty="0">
                          <a:solidFill>
                            <a:schemeClr val="dk1"/>
                          </a:solidFill>
                          <a:latin typeface="Frutiger for ZKB Light" panose="020B0303030504020204" pitchFamily="34" charset="0"/>
                        </a:rPr>
                        <a:t>Lorem ipsum</a:t>
                      </a:r>
                    </a:p>
                  </a:txBody>
                  <a:tcPr marL="91441" marR="91441" marT="45715" marB="45715" anchor="ctr">
                    <a:lnR w="3175" cap="flat" cmpd="sng" algn="ctr">
                      <a:solidFill>
                        <a:schemeClr val="tx1">
                          <a:alpha val="0"/>
                        </a:schemeClr>
                      </a:solidFill>
                      <a:prstDash val="solid"/>
                      <a:round/>
                      <a:headEnd type="none" w="med" len="med"/>
                      <a:tailEnd type="none" w="med" len="med"/>
                    </a:lnR>
                    <a:lnB w="6350" cap="flat" cmpd="sng" algn="ctr">
                      <a:solidFill>
                        <a:schemeClr val="dk1"/>
                      </a:solidFill>
                      <a:prstDash val="solid"/>
                      <a:round/>
                      <a:headEnd type="none" w="med" len="med"/>
                      <a:tailEnd type="none" w="med" len="med"/>
                    </a:lnB>
                  </a:tcPr>
                </a:tc>
                <a:tc>
                  <a:txBody>
                    <a:bodyPr/>
                    <a:lstStyle/>
                    <a:p>
                      <a:r>
                        <a:rPr lang="de-DE" sz="1600" b="1" dirty="0">
                          <a:solidFill>
                            <a:schemeClr val="dk1"/>
                          </a:solidFill>
                          <a:latin typeface="Frutiger for ZKB Light" panose="020B0303030504020204" pitchFamily="34" charset="0"/>
                        </a:rPr>
                        <a:t>Dolor sit</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B w="6350" cap="flat" cmpd="sng" algn="ctr">
                      <a:solidFill>
                        <a:schemeClr val="dk1"/>
                      </a:solidFill>
                      <a:prstDash val="solid"/>
                      <a:round/>
                      <a:headEnd type="none" w="med" len="med"/>
                      <a:tailEnd type="none" w="med" len="med"/>
                    </a:lnB>
                  </a:tcPr>
                </a:tc>
                <a:tc>
                  <a:txBody>
                    <a:bodyPr/>
                    <a:lstStyle/>
                    <a:p>
                      <a:r>
                        <a:rPr lang="de-DE" sz="1600" b="1" dirty="0">
                          <a:solidFill>
                            <a:schemeClr val="dk1"/>
                          </a:solidFill>
                          <a:latin typeface="Frutiger for ZKB Light" panose="020B0303030504020204" pitchFamily="34" charset="0"/>
                        </a:rPr>
                        <a:t>Onsetetur sadipscing </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B w="6350" cap="flat" cmpd="sng" algn="ctr">
                      <a:solidFill>
                        <a:schemeClr val="dk1"/>
                      </a:solidFill>
                      <a:prstDash val="solid"/>
                      <a:round/>
                      <a:headEnd type="none" w="med" len="med"/>
                      <a:tailEnd type="none" w="med" len="med"/>
                    </a:lnB>
                  </a:tcPr>
                </a:tc>
                <a:tc>
                  <a:txBody>
                    <a:bodyPr/>
                    <a:lstStyle/>
                    <a:p>
                      <a:r>
                        <a:rPr kumimoji="0" lang="de-DE" sz="1600" b="1" u="none" strike="noStrike" kern="1200" cap="none" spc="0" normalizeH="0" baseline="0" noProof="0" dirty="0">
                          <a:ln>
                            <a:noFill/>
                          </a:ln>
                          <a:solidFill>
                            <a:schemeClr val="dk1"/>
                          </a:solidFill>
                          <a:effectLst/>
                          <a:uLnTx/>
                          <a:uFillTx/>
                          <a:latin typeface="Frutiger for ZKB Light" panose="020B0303030504020204" pitchFamily="34" charset="0"/>
                        </a:rPr>
                        <a:t>Consetetur sadipscing</a:t>
                      </a:r>
                      <a:endParaRPr lang="de-DE" sz="1600" b="1" dirty="0">
                        <a:solidFill>
                          <a:schemeClr val="dk1"/>
                        </a:solidFill>
                        <a:latin typeface="Frutiger for ZKB Light" panose="020B0303030504020204" pitchFamily="34" charset="0"/>
                      </a:endParaRPr>
                    </a:p>
                  </a:txBody>
                  <a:tcPr marL="91441" marR="91441" marT="45715" marB="45715" anchor="ctr">
                    <a:lnL w="3175" cap="flat" cmpd="sng" algn="ctr">
                      <a:solidFill>
                        <a:schemeClr val="tx1">
                          <a:alpha val="0"/>
                        </a:schemeClr>
                      </a:solidFill>
                      <a:prstDash val="solid"/>
                      <a:round/>
                      <a:headEnd type="none" w="med" len="med"/>
                      <a:tailEnd type="none" w="med" len="med"/>
                    </a:lnL>
                    <a:lnB w="6350"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0"/>
                  </a:ext>
                </a:extLst>
              </a:tr>
              <a:tr h="640054">
                <a:tc>
                  <a:txBody>
                    <a:bodyPr/>
                    <a:lstStyle/>
                    <a:p>
                      <a:r>
                        <a:rPr lang="de-DE" sz="1600" dirty="0">
                          <a:solidFill>
                            <a:schemeClr val="dk1"/>
                          </a:solidFill>
                          <a:latin typeface="Frutiger for ZKB Light" panose="020B0303030504020204" pitchFamily="34" charset="0"/>
                        </a:rPr>
                        <a:t>Inhalt einfügen</a:t>
                      </a:r>
                    </a:p>
                  </a:txBody>
                  <a:tcPr marL="91441" marR="91441" marT="45715" marB="45715" anchor="ctr">
                    <a:lnR w="3175" cap="flat" cmpd="sng" algn="ctr">
                      <a:solidFill>
                        <a:schemeClr val="tx1">
                          <a:alpha val="0"/>
                        </a:schemeClr>
                      </a:solidFill>
                      <a:prstDash val="solid"/>
                      <a:round/>
                      <a:headEnd type="none" w="med" len="med"/>
                      <a:tailEnd type="none" w="med" len="med"/>
                    </a:lnR>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600" dirty="0">
                          <a:solidFill>
                            <a:schemeClr val="dk1"/>
                          </a:solidFill>
                          <a:latin typeface="Frutiger for ZKB Light" panose="020B0303030504020204" pitchFamily="34" charset="0"/>
                        </a:rPr>
                        <a:t>Inhalt einfügen</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600" dirty="0">
                          <a:solidFill>
                            <a:schemeClr val="dk1"/>
                          </a:solidFill>
                          <a:latin typeface="Frutiger for ZKB Light" panose="020B0303030504020204" pitchFamily="34" charset="0"/>
                        </a:rPr>
                        <a:t>Inhalt einfügen</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marL="0" marR="0" lvl="0" indent="0" algn="l" defTabSz="17190" rtl="0" eaLnBrk="1" fontAlgn="auto" latinLnBrk="0" hangingPunct="1">
                        <a:lnSpc>
                          <a:spcPct val="100000"/>
                        </a:lnSpc>
                        <a:spcBef>
                          <a:spcPts val="0"/>
                        </a:spcBef>
                        <a:spcAft>
                          <a:spcPts val="0"/>
                        </a:spcAft>
                        <a:buClrTx/>
                        <a:buSzTx/>
                        <a:buFontTx/>
                        <a:buNone/>
                        <a:tabLst/>
                        <a:defRPr/>
                      </a:pPr>
                      <a:r>
                        <a:rPr kumimoji="0" lang="de-DE" sz="3600" b="0" i="0" u="none" strike="noStrike" kern="1200" cap="none" spc="0" normalizeH="0" baseline="0" noProof="0" dirty="0">
                          <a:ln>
                            <a:noFill/>
                          </a:ln>
                          <a:solidFill>
                            <a:srgbClr val="003CB4"/>
                          </a:solidFill>
                          <a:effectLst/>
                          <a:uLnTx/>
                          <a:uFillTx/>
                          <a:latin typeface="Frutiger for ZKB Light" panose="020B0303030504020204" pitchFamily="34" charset="0"/>
                          <a:ea typeface="+mn-ea"/>
                          <a:cs typeface="+mn-cs"/>
                        </a:rPr>
                        <a:t>•••••</a:t>
                      </a:r>
                    </a:p>
                  </a:txBody>
                  <a:tcPr marL="91441" marR="91441" marT="45715" marB="45715" anchor="ctr">
                    <a:lnL w="3175" cap="flat" cmpd="sng" algn="ctr">
                      <a:solidFill>
                        <a:schemeClr val="tx1">
                          <a:alpha val="0"/>
                        </a:schemeClr>
                      </a:solidFill>
                      <a:prstDash val="solid"/>
                      <a:round/>
                      <a:headEnd type="none" w="med" len="med"/>
                      <a:tailEnd type="none" w="med" len="med"/>
                    </a:lnL>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1"/>
                  </a:ext>
                </a:extLst>
              </a:tr>
              <a:tr h="640054">
                <a:tc>
                  <a:txBody>
                    <a:bodyPr/>
                    <a:lstStyle/>
                    <a:p>
                      <a:r>
                        <a:rPr lang="de-DE" sz="1600" dirty="0">
                          <a:solidFill>
                            <a:schemeClr val="dk1"/>
                          </a:solidFill>
                          <a:latin typeface="Frutiger for ZKB Light" panose="020B0303030504020204" pitchFamily="34" charset="0"/>
                        </a:rPr>
                        <a:t>Inhalt einfügen</a:t>
                      </a:r>
                    </a:p>
                  </a:txBody>
                  <a:tcPr marL="91441" marR="91441" marT="45715" marB="45715"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marL="0" marR="0" lvl="0" indent="0" algn="l" defTabSz="964143" rtl="0" eaLnBrk="1" fontAlgn="auto" latinLnBrk="0" hangingPunct="1">
                        <a:lnSpc>
                          <a:spcPct val="100000"/>
                        </a:lnSpc>
                        <a:spcBef>
                          <a:spcPts val="0"/>
                        </a:spcBef>
                        <a:spcAft>
                          <a:spcPts val="0"/>
                        </a:spcAft>
                        <a:buClrTx/>
                        <a:buSzTx/>
                        <a:buFontTx/>
                        <a:buNone/>
                        <a:tabLst/>
                        <a:defRPr/>
                      </a:pPr>
                      <a:r>
                        <a:rPr lang="de-DE" sz="1600" dirty="0">
                          <a:solidFill>
                            <a:schemeClr val="dk1"/>
                          </a:solidFill>
                          <a:latin typeface="Frutiger for ZKB Light" panose="020B0303030504020204" pitchFamily="34" charset="0"/>
                        </a:rPr>
                        <a:t>Inhalt einfügen</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600" dirty="0">
                          <a:solidFill>
                            <a:schemeClr val="dk1"/>
                          </a:solidFill>
                          <a:latin typeface="Frutiger for ZKB Light" panose="020B0303030504020204" pitchFamily="34" charset="0"/>
                        </a:rPr>
                        <a:t>Inhalt einfügen</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marL="0" marR="0" lvl="0" indent="0" algn="l" defTabSz="17190" rtl="0" eaLnBrk="1" fontAlgn="auto" latinLnBrk="0" hangingPunct="1">
                        <a:lnSpc>
                          <a:spcPct val="100000"/>
                        </a:lnSpc>
                        <a:spcBef>
                          <a:spcPts val="0"/>
                        </a:spcBef>
                        <a:spcAft>
                          <a:spcPts val="0"/>
                        </a:spcAft>
                        <a:buClrTx/>
                        <a:buSzTx/>
                        <a:buFontTx/>
                        <a:buNone/>
                        <a:tabLst/>
                        <a:defRPr/>
                      </a:pPr>
                      <a:r>
                        <a:rPr kumimoji="0" lang="de-DE" sz="3600" b="0" i="0" u="none" strike="noStrike" kern="1200" cap="none" spc="0" normalizeH="0" baseline="0" noProof="0" dirty="0">
                          <a:ln>
                            <a:noFill/>
                          </a:ln>
                          <a:solidFill>
                            <a:srgbClr val="003CB4"/>
                          </a:solidFill>
                          <a:effectLst/>
                          <a:uLnTx/>
                          <a:uFillTx/>
                          <a:latin typeface="Frutiger for ZKB Light" panose="020B0303030504020204" pitchFamily="34" charset="0"/>
                          <a:ea typeface="+mn-ea"/>
                          <a:cs typeface="+mn-cs"/>
                        </a:rPr>
                        <a:t>•••</a:t>
                      </a:r>
                      <a:r>
                        <a:rPr kumimoji="0" lang="de-DE" sz="3600" b="0" i="0" u="none" strike="noStrike" kern="1200" cap="none" spc="0" normalizeH="0" baseline="0" noProof="0" dirty="0">
                          <a:ln>
                            <a:noFill/>
                          </a:ln>
                          <a:solidFill>
                            <a:srgbClr val="A0CAFD"/>
                          </a:solidFill>
                          <a:effectLst/>
                          <a:uLnTx/>
                          <a:uFillTx/>
                          <a:latin typeface="Frutiger for ZKB Light" panose="020B0303030504020204" pitchFamily="34" charset="0"/>
                          <a:ea typeface="+mn-ea"/>
                          <a:cs typeface="+mn-cs"/>
                        </a:rPr>
                        <a:t>••</a:t>
                      </a:r>
                    </a:p>
                  </a:txBody>
                  <a:tcPr marL="91441" marR="91441" marT="45715" marB="45715"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2"/>
                  </a:ext>
                </a:extLst>
              </a:tr>
              <a:tr h="640054">
                <a:tc>
                  <a:txBody>
                    <a:bodyPr/>
                    <a:lstStyle/>
                    <a:p>
                      <a:r>
                        <a:rPr lang="de-DE" sz="1600" dirty="0">
                          <a:solidFill>
                            <a:schemeClr val="dk1"/>
                          </a:solidFill>
                          <a:latin typeface="Frutiger for ZKB Light" panose="020B0303030504020204" pitchFamily="34" charset="0"/>
                        </a:rPr>
                        <a:t>Inhalt einfügen</a:t>
                      </a:r>
                    </a:p>
                  </a:txBody>
                  <a:tcPr marL="91441" marR="91441" marT="45715" marB="45715"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marL="0" marR="0" lvl="0" indent="0" algn="l" defTabSz="964143" rtl="0" eaLnBrk="1" fontAlgn="auto" latinLnBrk="0" hangingPunct="1">
                        <a:lnSpc>
                          <a:spcPct val="100000"/>
                        </a:lnSpc>
                        <a:spcBef>
                          <a:spcPts val="0"/>
                        </a:spcBef>
                        <a:spcAft>
                          <a:spcPts val="0"/>
                        </a:spcAft>
                        <a:buClrTx/>
                        <a:buSzTx/>
                        <a:buFontTx/>
                        <a:buNone/>
                        <a:tabLst/>
                        <a:defRPr/>
                      </a:pPr>
                      <a:r>
                        <a:rPr lang="de-DE" sz="1600" dirty="0">
                          <a:solidFill>
                            <a:schemeClr val="dk1"/>
                          </a:solidFill>
                          <a:latin typeface="Frutiger for ZKB Light" panose="020B0303030504020204" pitchFamily="34" charset="0"/>
                        </a:rPr>
                        <a:t>Inhalt einfügen</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600" dirty="0">
                          <a:solidFill>
                            <a:schemeClr val="dk1"/>
                          </a:solidFill>
                          <a:latin typeface="Frutiger for ZKB Light" panose="020B0303030504020204" pitchFamily="34" charset="0"/>
                        </a:rPr>
                        <a:t>Inhalt einfügen</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marL="0" marR="0" lvl="0" indent="0" algn="l" defTabSz="17190" rtl="0" eaLnBrk="1" fontAlgn="auto" latinLnBrk="0" hangingPunct="1">
                        <a:lnSpc>
                          <a:spcPct val="100000"/>
                        </a:lnSpc>
                        <a:spcBef>
                          <a:spcPts val="0"/>
                        </a:spcBef>
                        <a:spcAft>
                          <a:spcPts val="0"/>
                        </a:spcAft>
                        <a:buClrTx/>
                        <a:buSzTx/>
                        <a:buFontTx/>
                        <a:buNone/>
                        <a:tabLst/>
                        <a:defRPr/>
                      </a:pPr>
                      <a:r>
                        <a:rPr kumimoji="0" lang="de-DE" sz="3600" b="0" i="0" u="none" strike="noStrike" kern="1200" cap="none" spc="0" normalizeH="0" baseline="0" noProof="0" dirty="0">
                          <a:ln>
                            <a:noFill/>
                          </a:ln>
                          <a:solidFill>
                            <a:srgbClr val="003CB4"/>
                          </a:solidFill>
                          <a:effectLst/>
                          <a:uLnTx/>
                          <a:uFillTx/>
                          <a:latin typeface="Frutiger for ZKB Light" panose="020B0303030504020204" pitchFamily="34" charset="0"/>
                          <a:ea typeface="+mn-ea"/>
                          <a:cs typeface="+mn-cs"/>
                        </a:rPr>
                        <a:t>•••</a:t>
                      </a:r>
                      <a:r>
                        <a:rPr kumimoji="0" lang="de-DE" sz="3600" b="0" i="0" u="none" strike="noStrike" kern="1200" cap="none" spc="0" normalizeH="0" baseline="0" noProof="0" dirty="0">
                          <a:ln>
                            <a:noFill/>
                          </a:ln>
                          <a:solidFill>
                            <a:prstClr val="white"/>
                          </a:solidFill>
                          <a:effectLst/>
                          <a:uLnTx/>
                          <a:uFillTx/>
                          <a:latin typeface="Frutiger for ZKB Light" panose="020B0303030504020204" pitchFamily="34" charset="0"/>
                          <a:ea typeface="+mn-ea"/>
                          <a:cs typeface="+mn-cs"/>
                        </a:rPr>
                        <a:t>••</a:t>
                      </a:r>
                    </a:p>
                  </a:txBody>
                  <a:tcPr marL="91441" marR="91441" marT="45715" marB="45715"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solidFill>
                      <a:schemeClr val="accent2"/>
                    </a:solidFill>
                  </a:tcPr>
                </a:tc>
                <a:extLst>
                  <a:ext uri="{0D108BD9-81ED-4DB2-BD59-A6C34878D82A}">
                    <a16:rowId xmlns:a16="http://schemas.microsoft.com/office/drawing/2014/main" val="10003"/>
                  </a:ext>
                </a:extLst>
              </a:tr>
              <a:tr h="640054">
                <a:tc>
                  <a:txBody>
                    <a:bodyPr/>
                    <a:lstStyle/>
                    <a:p>
                      <a:r>
                        <a:rPr lang="de-DE" sz="1600" dirty="0">
                          <a:solidFill>
                            <a:schemeClr val="dk1"/>
                          </a:solidFill>
                          <a:latin typeface="Frutiger for ZKB Light" panose="020B0303030504020204" pitchFamily="34" charset="0"/>
                        </a:rPr>
                        <a:t>Inhalt einfügen</a:t>
                      </a:r>
                    </a:p>
                  </a:txBody>
                  <a:tcPr marL="91441" marR="91441" marT="45715" marB="45715"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marL="0" marR="0" lvl="0" indent="0" algn="l" defTabSz="964143" rtl="0" eaLnBrk="1" fontAlgn="auto" latinLnBrk="0" hangingPunct="1">
                        <a:lnSpc>
                          <a:spcPct val="100000"/>
                        </a:lnSpc>
                        <a:spcBef>
                          <a:spcPts val="0"/>
                        </a:spcBef>
                        <a:spcAft>
                          <a:spcPts val="0"/>
                        </a:spcAft>
                        <a:buClrTx/>
                        <a:buSzTx/>
                        <a:buFontTx/>
                        <a:buNone/>
                        <a:tabLst/>
                        <a:defRPr/>
                      </a:pPr>
                      <a:r>
                        <a:rPr lang="de-DE" sz="1600" dirty="0">
                          <a:solidFill>
                            <a:schemeClr val="dk1"/>
                          </a:solidFill>
                          <a:latin typeface="Frutiger for ZKB Light" panose="020B0303030504020204" pitchFamily="34" charset="0"/>
                        </a:rPr>
                        <a:t>Inhalt einfügen</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600" dirty="0">
                          <a:solidFill>
                            <a:schemeClr val="dk1"/>
                          </a:solidFill>
                          <a:latin typeface="Frutiger for ZKB Light" panose="020B0303030504020204" pitchFamily="34" charset="0"/>
                        </a:rPr>
                        <a:t>Inhalt einfügen</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marL="0" marR="0" lvl="0" indent="0" algn="l" defTabSz="17190" rtl="0" eaLnBrk="1" fontAlgn="auto" latinLnBrk="0" hangingPunct="1">
                        <a:lnSpc>
                          <a:spcPct val="100000"/>
                        </a:lnSpc>
                        <a:spcBef>
                          <a:spcPts val="0"/>
                        </a:spcBef>
                        <a:spcAft>
                          <a:spcPts val="0"/>
                        </a:spcAft>
                        <a:buClrTx/>
                        <a:buSzTx/>
                        <a:buFontTx/>
                        <a:buNone/>
                        <a:tabLst/>
                        <a:defRPr/>
                      </a:pPr>
                      <a:r>
                        <a:rPr kumimoji="0" lang="de-DE" sz="3600" b="0" i="0" u="none" strike="noStrike" kern="1200" cap="none" spc="0" normalizeH="0" baseline="0" noProof="0" dirty="0">
                          <a:ln>
                            <a:noFill/>
                          </a:ln>
                          <a:solidFill>
                            <a:srgbClr val="29BA88"/>
                          </a:solidFill>
                          <a:effectLst/>
                          <a:uLnTx/>
                          <a:uFillTx/>
                          <a:latin typeface="Frutiger for ZKB Light" panose="020B0303030504020204" pitchFamily="34" charset="0"/>
                          <a:ea typeface="+mn-ea"/>
                          <a:cs typeface="+mn-cs"/>
                        </a:rPr>
                        <a:t>• </a:t>
                      </a:r>
                      <a:r>
                        <a:rPr kumimoji="0" lang="de-DE" sz="3600" b="0" i="0" u="none" strike="noStrike" kern="1200" cap="none" spc="0" normalizeH="0" baseline="0" noProof="0" dirty="0">
                          <a:ln>
                            <a:noFill/>
                          </a:ln>
                          <a:solidFill>
                            <a:srgbClr val="FFDE43"/>
                          </a:solidFill>
                          <a:effectLst/>
                          <a:uLnTx/>
                          <a:uFillTx/>
                          <a:latin typeface="Frutiger for ZKB Light" panose="020B0303030504020204" pitchFamily="34" charset="0"/>
                          <a:ea typeface="+mn-ea"/>
                          <a:cs typeface="+mn-cs"/>
                        </a:rPr>
                        <a:t>•</a:t>
                      </a:r>
                      <a:r>
                        <a:rPr kumimoji="0" lang="de-DE" sz="3600" b="0" i="0" u="none" strike="noStrike" kern="1200" cap="none" spc="0" normalizeH="0" baseline="0" noProof="0" dirty="0">
                          <a:ln>
                            <a:noFill/>
                          </a:ln>
                          <a:solidFill>
                            <a:srgbClr val="29BA88"/>
                          </a:solidFill>
                          <a:effectLst/>
                          <a:uLnTx/>
                          <a:uFillTx/>
                          <a:latin typeface="Frutiger for ZKB Light" panose="020B0303030504020204" pitchFamily="34" charset="0"/>
                          <a:ea typeface="+mn-ea"/>
                          <a:cs typeface="+mn-cs"/>
                        </a:rPr>
                        <a:t> </a:t>
                      </a:r>
                      <a:r>
                        <a:rPr kumimoji="0" lang="de-DE" sz="3600" b="0" i="0" u="none" strike="noStrike" kern="1200" cap="none" spc="0" normalizeH="0" baseline="0" noProof="0" dirty="0">
                          <a:ln>
                            <a:noFill/>
                          </a:ln>
                          <a:solidFill>
                            <a:srgbClr val="F88381"/>
                          </a:solidFill>
                          <a:effectLst/>
                          <a:uLnTx/>
                          <a:uFillTx/>
                          <a:latin typeface="Frutiger for ZKB Light" panose="020B0303030504020204" pitchFamily="34" charset="0"/>
                          <a:ea typeface="+mn-ea"/>
                          <a:cs typeface="+mn-cs"/>
                        </a:rPr>
                        <a:t>•</a:t>
                      </a:r>
                    </a:p>
                  </a:txBody>
                  <a:tcPr marL="91441" marR="91441" marT="45715" marB="45715"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4"/>
                  </a:ext>
                </a:extLst>
              </a:tr>
              <a:tr h="640054">
                <a:tc>
                  <a:txBody>
                    <a:bodyPr/>
                    <a:lstStyle/>
                    <a:p>
                      <a:pPr marL="0" marR="0" lvl="0" indent="0" algn="l" defTabSz="17190" rtl="0" eaLnBrk="1" fontAlgn="auto" latinLnBrk="0" hangingPunct="1">
                        <a:lnSpc>
                          <a:spcPct val="100000"/>
                        </a:lnSpc>
                        <a:spcBef>
                          <a:spcPts val="0"/>
                        </a:spcBef>
                        <a:spcAft>
                          <a:spcPts val="0"/>
                        </a:spcAft>
                        <a:buClrTx/>
                        <a:buSzTx/>
                        <a:buFontTx/>
                        <a:buNone/>
                        <a:tabLst/>
                        <a:defRPr/>
                      </a:pPr>
                      <a:r>
                        <a:rPr lang="de-DE" sz="1600" dirty="0">
                          <a:solidFill>
                            <a:schemeClr val="dk1"/>
                          </a:solidFill>
                          <a:latin typeface="Frutiger for ZKB Light" panose="020B0303030504020204" pitchFamily="34" charset="0"/>
                        </a:rPr>
                        <a:t>Inhalt einfügen</a:t>
                      </a:r>
                    </a:p>
                  </a:txBody>
                  <a:tcPr marL="91441" marR="91441" marT="45715" marB="45715"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600" dirty="0">
                          <a:solidFill>
                            <a:schemeClr val="dk1"/>
                          </a:solidFill>
                          <a:latin typeface="Frutiger for ZKB Light" panose="020B0303030504020204" pitchFamily="34" charset="0"/>
                        </a:rPr>
                        <a:t>Inhalt einfügen</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marL="0" marR="0" lvl="0" indent="0" algn="l" defTabSz="964143" rtl="0" eaLnBrk="1" fontAlgn="auto" latinLnBrk="0" hangingPunct="1">
                        <a:lnSpc>
                          <a:spcPct val="100000"/>
                        </a:lnSpc>
                        <a:spcBef>
                          <a:spcPts val="0"/>
                        </a:spcBef>
                        <a:spcAft>
                          <a:spcPts val="0"/>
                        </a:spcAft>
                        <a:buClrTx/>
                        <a:buSzTx/>
                        <a:buFontTx/>
                        <a:buNone/>
                        <a:tabLst/>
                        <a:defRPr/>
                      </a:pPr>
                      <a:r>
                        <a:rPr lang="de-DE" sz="1600" dirty="0">
                          <a:solidFill>
                            <a:schemeClr val="dk1"/>
                          </a:solidFill>
                          <a:latin typeface="Frutiger for ZKB Light" panose="020B0303030504020204" pitchFamily="34" charset="0"/>
                        </a:rPr>
                        <a:t>Inhalt einfügen</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3600" dirty="0">
                          <a:solidFill>
                            <a:schemeClr val="dk1"/>
                          </a:solidFill>
                          <a:latin typeface="Frutiger for ZKB Light" panose="020B0303030504020204" pitchFamily="34" charset="0"/>
                          <a:sym typeface="Wingdings" panose="05000000000000000000" pitchFamily="2" charset="2"/>
                        </a:rPr>
                        <a:t>   </a:t>
                      </a:r>
                      <a:endParaRPr lang="de-DE" sz="3600" dirty="0">
                        <a:solidFill>
                          <a:schemeClr val="dk1"/>
                        </a:solidFill>
                        <a:latin typeface="Frutiger for ZKB Light" panose="020B0303030504020204" pitchFamily="34" charset="0"/>
                      </a:endParaRPr>
                    </a:p>
                  </a:txBody>
                  <a:tcPr marL="91441" marR="91441" marT="45715" marB="45715"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7" name="Ellipse 6">
            <a:extLst>
              <a:ext uri="{FF2B5EF4-FFF2-40B4-BE49-F238E27FC236}">
                <a16:creationId xmlns:a16="http://schemas.microsoft.com/office/drawing/2014/main" id="{575C40A0-567E-4B0A-DDDC-58DA44C9D065}"/>
              </a:ext>
            </a:extLst>
          </p:cNvPr>
          <p:cNvSpPr/>
          <p:nvPr/>
        </p:nvSpPr>
        <p:spPr>
          <a:xfrm rot="-720000">
            <a:off x="9893300" y="5681663"/>
            <a:ext cx="1225550" cy="1223962"/>
          </a:xfrm>
          <a:prstGeom prst="ellipse">
            <a:avLst/>
          </a:prstGeom>
          <a:solidFill>
            <a:schemeClr val="accent6"/>
          </a:solidFill>
          <a:ln w="6350" cap="flat" cmpd="sng" algn="ctr">
            <a:noFill/>
            <a:prstDash val="solid"/>
            <a:round/>
            <a:headEnd type="none" w="med" len="med"/>
            <a:tailEnd type="none" w="med" len="med"/>
          </a:ln>
          <a:effectLst/>
        </p:spPr>
        <p:txBody>
          <a:bodyPr wrap="none" lIns="0" tIns="0" rIns="0" bIns="0" anchor="ctr"/>
          <a:lstStyle/>
          <a:p>
            <a:pPr algn="ctr" defTabSz="284221" eaLnBrk="1" hangingPunct="1">
              <a:lnSpc>
                <a:spcPct val="105000"/>
              </a:lnSpc>
              <a:spcBef>
                <a:spcPts val="0"/>
              </a:spcBef>
              <a:spcAft>
                <a:spcPts val="0"/>
              </a:spcAft>
              <a:buFont typeface="Frutiger for ZKB Light" panose="020B0303030504020204" pitchFamily="34" charset="0"/>
              <a:buNone/>
              <a:defRPr/>
            </a:pPr>
            <a:r>
              <a:rPr lang="de-CH" sz="1200" dirty="0">
                <a:solidFill>
                  <a:schemeClr val="bg1"/>
                </a:solidFill>
                <a:latin typeface="Frutiger for ZKB Light" panose="020B0303030504020204" pitchFamily="34" charset="0"/>
              </a:rPr>
              <a:t> «Störer» mit</a:t>
            </a:r>
          </a:p>
          <a:p>
            <a:pPr algn="ctr" defTabSz="284221" eaLnBrk="1" hangingPunct="1">
              <a:lnSpc>
                <a:spcPct val="105000"/>
              </a:lnSpc>
              <a:spcBef>
                <a:spcPts val="0"/>
              </a:spcBef>
              <a:spcAft>
                <a:spcPts val="0"/>
              </a:spcAft>
              <a:buFont typeface="Frutiger for ZKB Light" panose="020B0303030504020204" pitchFamily="34" charset="0"/>
              <a:buNone/>
              <a:defRPr/>
            </a:pPr>
            <a:r>
              <a:rPr lang="de-CH" sz="1200" dirty="0">
                <a:solidFill>
                  <a:schemeClr val="bg1"/>
                </a:solidFill>
                <a:latin typeface="Frutiger for ZKB Light" panose="020B0303030504020204" pitchFamily="34" charset="0"/>
              </a:rPr>
              <a:t>–12º Neigung</a:t>
            </a:r>
          </a:p>
        </p:txBody>
      </p:sp>
      <p:sp>
        <p:nvSpPr>
          <p:cNvPr id="109610" name="Ellipse 8">
            <a:extLst>
              <a:ext uri="{FF2B5EF4-FFF2-40B4-BE49-F238E27FC236}">
                <a16:creationId xmlns:a16="http://schemas.microsoft.com/office/drawing/2014/main" id="{6F31014C-A9A5-A5BB-6A20-983F8FE4AE01}"/>
              </a:ext>
            </a:extLst>
          </p:cNvPr>
          <p:cNvSpPr>
            <a:spLocks noChangeArrowheads="1"/>
          </p:cNvSpPr>
          <p:nvPr/>
        </p:nvSpPr>
        <p:spPr bwMode="auto">
          <a:xfrm rot="-720000">
            <a:off x="11328400" y="5681663"/>
            <a:ext cx="1225550" cy="1223962"/>
          </a:xfrm>
          <a:prstGeom prst="ellipse">
            <a:avLst/>
          </a:prstGeom>
          <a:solidFill>
            <a:schemeClr val="tx2"/>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lnSpc>
                <a:spcPct val="105000"/>
              </a:lnSpc>
              <a:buClrTx/>
            </a:pPr>
            <a:r>
              <a:rPr lang="de-CH" altLang="de-DE" sz="1200" dirty="0">
                <a:solidFill>
                  <a:schemeClr val="bg1"/>
                </a:solidFill>
              </a:rPr>
              <a:t> «Störer mit</a:t>
            </a:r>
          </a:p>
          <a:p>
            <a:pPr algn="ctr" eaLnBrk="1" hangingPunct="1">
              <a:lnSpc>
                <a:spcPct val="105000"/>
              </a:lnSpc>
              <a:buClrTx/>
            </a:pPr>
            <a:r>
              <a:rPr lang="de-CH" altLang="de-DE" sz="1200" dirty="0">
                <a:solidFill>
                  <a:schemeClr val="bg1"/>
                </a:solidFill>
              </a:rPr>
              <a:t>–12º Neigung</a:t>
            </a:r>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0594" name="think-cell data - do not delete" hidden="1">
            <a:extLst>
              <a:ext uri="{FF2B5EF4-FFF2-40B4-BE49-F238E27FC236}">
                <a16:creationId xmlns:a16="http://schemas.microsoft.com/office/drawing/2014/main" id="{A513BDDB-76AF-BD1F-F9A5-97D09FAE6D7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10594" name="think-cell data - do not delete" hidden="1">
                        <a:extLst>
                          <a:ext uri="{FF2B5EF4-FFF2-40B4-BE49-F238E27FC236}">
                            <a16:creationId xmlns:a16="http://schemas.microsoft.com/office/drawing/2014/main" id="{A513BDDB-76AF-BD1F-F9A5-97D09FAE6D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el 1">
            <a:extLst>
              <a:ext uri="{FF2B5EF4-FFF2-40B4-BE49-F238E27FC236}">
                <a16:creationId xmlns:a16="http://schemas.microsoft.com/office/drawing/2014/main" id="{558B4686-FE74-BC23-6FF7-7EBDA0DC17D4}"/>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Zyklus mit Piktogrammen</a:t>
            </a:r>
          </a:p>
        </p:txBody>
      </p:sp>
      <p:sp>
        <p:nvSpPr>
          <p:cNvPr id="110596" name="Foliennummernplatzhalter 11">
            <a:extLst>
              <a:ext uri="{FF2B5EF4-FFF2-40B4-BE49-F238E27FC236}">
                <a16:creationId xmlns:a16="http://schemas.microsoft.com/office/drawing/2014/main" id="{0EE26777-815C-FB6E-F74B-6E9AFC21EF55}"/>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3958686C-83C3-4ADE-88B7-F5A2BC3AC389}" type="slidenum">
              <a:rPr lang="de-CH" altLang="de-DE" sz="1100" smtClean="0">
                <a:solidFill>
                  <a:srgbClr val="003CB4"/>
                </a:solidFill>
                <a:latin typeface="Frutiger for ZKB Light" panose="020B0303030504020204" pitchFamily="34" charset="0"/>
              </a:rPr>
              <a:pPr>
                <a:spcBef>
                  <a:spcPct val="0"/>
                </a:spcBef>
                <a:spcAft>
                  <a:spcPct val="0"/>
                </a:spcAft>
              </a:pPr>
              <a:t>79</a:t>
            </a:fld>
            <a:endParaRPr lang="de-CH" altLang="de-DE" sz="1100" dirty="0">
              <a:solidFill>
                <a:srgbClr val="003CB4"/>
              </a:solidFill>
              <a:latin typeface="Frutiger for ZKB Light" panose="020B0303030504020204" pitchFamily="34" charset="0"/>
            </a:endParaRPr>
          </a:p>
        </p:txBody>
      </p:sp>
      <p:sp>
        <p:nvSpPr>
          <p:cNvPr id="110597" name="Fußzeilenplatzhalter 10">
            <a:extLst>
              <a:ext uri="{FF2B5EF4-FFF2-40B4-BE49-F238E27FC236}">
                <a16:creationId xmlns:a16="http://schemas.microsoft.com/office/drawing/2014/main" id="{A913B856-97F5-4987-07F8-7C8168C2F4B9}"/>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10598" name="Textfeld 8">
            <a:extLst>
              <a:ext uri="{FF2B5EF4-FFF2-40B4-BE49-F238E27FC236}">
                <a16:creationId xmlns:a16="http://schemas.microsoft.com/office/drawing/2014/main" id="{2B2C6403-0A3B-93C7-6878-DE07FCDC4CAF}"/>
              </a:ext>
            </a:extLst>
          </p:cNvPr>
          <p:cNvSpPr txBox="1">
            <a:spLocks noChangeArrowheads="1"/>
          </p:cNvSpPr>
          <p:nvPr/>
        </p:nvSpPr>
        <p:spPr bwMode="auto">
          <a:xfrm>
            <a:off x="-1511300" y="44069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32" name="Inhaltsplatzhalter 2">
            <a:extLst>
              <a:ext uri="{FF2B5EF4-FFF2-40B4-BE49-F238E27FC236}">
                <a16:creationId xmlns:a16="http://schemas.microsoft.com/office/drawing/2014/main" id="{1E2C6740-0E7C-620B-8216-D4845665499D}"/>
              </a:ext>
            </a:extLst>
          </p:cNvPr>
          <p:cNvSpPr txBox="1">
            <a:spLocks/>
          </p:cNvSpPr>
          <p:nvPr/>
        </p:nvSpPr>
        <p:spPr>
          <a:xfrm>
            <a:off x="306388" y="4625975"/>
            <a:ext cx="2881312" cy="950913"/>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a:t>
            </a:r>
          </a:p>
          <a:p>
            <a:pPr>
              <a:lnSpc>
                <a:spcPct val="100000"/>
              </a:lnSpc>
              <a:defRPr/>
            </a:pPr>
            <a:r>
              <a:rPr lang="de-CH" dirty="0"/>
              <a:t>Lorem ipsum dolor sit amet, consectetur adipiscing elit, sed do eiusmod.</a:t>
            </a:r>
            <a:endParaRPr lang="de-CH" dirty="0">
              <a:solidFill>
                <a:schemeClr val="accent3"/>
              </a:solidFill>
            </a:endParaRPr>
          </a:p>
        </p:txBody>
      </p:sp>
      <p:sp>
        <p:nvSpPr>
          <p:cNvPr id="33" name="Inhaltsplatzhalter 2">
            <a:extLst>
              <a:ext uri="{FF2B5EF4-FFF2-40B4-BE49-F238E27FC236}">
                <a16:creationId xmlns:a16="http://schemas.microsoft.com/office/drawing/2014/main" id="{1323EA3D-E331-9661-B9D4-33870535199A}"/>
              </a:ext>
            </a:extLst>
          </p:cNvPr>
          <p:cNvSpPr txBox="1">
            <a:spLocks/>
          </p:cNvSpPr>
          <p:nvPr/>
        </p:nvSpPr>
        <p:spPr>
          <a:xfrm>
            <a:off x="306388" y="2103438"/>
            <a:ext cx="2881312" cy="949325"/>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a:t>
            </a:r>
          </a:p>
          <a:p>
            <a:pPr>
              <a:lnSpc>
                <a:spcPct val="100000"/>
              </a:lnSpc>
              <a:defRPr/>
            </a:pPr>
            <a:r>
              <a:rPr lang="de-CH" dirty="0"/>
              <a:t>Lorem ipsum dolor sit amet, consectetur adipiscing elit, sed do eiusmod.</a:t>
            </a:r>
            <a:endParaRPr lang="de-CH" dirty="0">
              <a:solidFill>
                <a:schemeClr val="accent3"/>
              </a:solidFill>
            </a:endParaRPr>
          </a:p>
        </p:txBody>
      </p:sp>
      <p:sp>
        <p:nvSpPr>
          <p:cNvPr id="34" name="Inhaltsplatzhalter 2">
            <a:extLst>
              <a:ext uri="{FF2B5EF4-FFF2-40B4-BE49-F238E27FC236}">
                <a16:creationId xmlns:a16="http://schemas.microsoft.com/office/drawing/2014/main" id="{F0E45446-080A-83E1-E8D9-C72C910760FE}"/>
              </a:ext>
            </a:extLst>
          </p:cNvPr>
          <p:cNvSpPr txBox="1">
            <a:spLocks/>
          </p:cNvSpPr>
          <p:nvPr/>
        </p:nvSpPr>
        <p:spPr>
          <a:xfrm>
            <a:off x="9523413" y="2103438"/>
            <a:ext cx="2882900" cy="949325"/>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a:t>
            </a:r>
          </a:p>
          <a:p>
            <a:pPr>
              <a:lnSpc>
                <a:spcPct val="100000"/>
              </a:lnSpc>
              <a:defRPr/>
            </a:pPr>
            <a:r>
              <a:rPr lang="de-CH" dirty="0"/>
              <a:t>Lorem ipsum dolor sit amet, consectetur adipiscing elit, sed do eiusmod.</a:t>
            </a:r>
            <a:endParaRPr lang="de-CH" dirty="0">
              <a:solidFill>
                <a:schemeClr val="accent3"/>
              </a:solidFill>
            </a:endParaRPr>
          </a:p>
        </p:txBody>
      </p:sp>
      <p:sp>
        <p:nvSpPr>
          <p:cNvPr id="35" name="Inhaltsplatzhalter 2">
            <a:extLst>
              <a:ext uri="{FF2B5EF4-FFF2-40B4-BE49-F238E27FC236}">
                <a16:creationId xmlns:a16="http://schemas.microsoft.com/office/drawing/2014/main" id="{AE1D62E4-2729-A718-4343-618D2938693C}"/>
              </a:ext>
            </a:extLst>
          </p:cNvPr>
          <p:cNvSpPr txBox="1">
            <a:spLocks/>
          </p:cNvSpPr>
          <p:nvPr/>
        </p:nvSpPr>
        <p:spPr>
          <a:xfrm>
            <a:off x="9523413" y="4625975"/>
            <a:ext cx="2882900" cy="950913"/>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a:t>
            </a:r>
          </a:p>
          <a:p>
            <a:pPr>
              <a:lnSpc>
                <a:spcPct val="100000"/>
              </a:lnSpc>
              <a:defRPr/>
            </a:pPr>
            <a:r>
              <a:rPr lang="de-CH" dirty="0"/>
              <a:t>Lorem ipsum dolor sit amet, consectetur adipiscing elit, sed do eiusmod.</a:t>
            </a:r>
            <a:endParaRPr lang="de-CH" dirty="0">
              <a:solidFill>
                <a:schemeClr val="accent3"/>
              </a:solidFill>
            </a:endParaRPr>
          </a:p>
        </p:txBody>
      </p:sp>
      <p:sp>
        <p:nvSpPr>
          <p:cNvPr id="2" name="Oval 4">
            <a:extLst>
              <a:ext uri="{FF2B5EF4-FFF2-40B4-BE49-F238E27FC236}">
                <a16:creationId xmlns:a16="http://schemas.microsoft.com/office/drawing/2014/main" id="{3DEFBFFB-9455-2465-1271-07683D5F14C1}"/>
              </a:ext>
            </a:extLst>
          </p:cNvPr>
          <p:cNvSpPr/>
          <p:nvPr/>
        </p:nvSpPr>
        <p:spPr>
          <a:xfrm>
            <a:off x="4339555" y="1901854"/>
            <a:ext cx="4176464" cy="4176464"/>
          </a:xfrm>
          <a:prstGeom prst="ellipse">
            <a:avLst/>
          </a:prstGeom>
          <a:noFill/>
          <a:ln w="38100" cap="flat" cmpd="sng" algn="ctr">
            <a:solidFill>
              <a:srgbClr val="003CB4"/>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noAutofit/>
          </a:bodyPr>
          <a:lstStyle/>
          <a:p>
            <a:pPr marL="0" indent="0" algn="l" defTabSz="284221" rtl="0" eaLnBrk="1" latinLnBrk="0" hangingPunct="1">
              <a:spcBef>
                <a:spcPts val="0"/>
              </a:spcBef>
              <a:spcAft>
                <a:spcPts val="0"/>
              </a:spcAft>
              <a:buFont typeface="Frutiger for ZKB Light" panose="020B0303030504020204" pitchFamily="34" charset="0"/>
              <a:buNone/>
            </a:pPr>
            <a:endParaRPr lang="de-CH" sz="1600" b="0" i="0" u="none" dirty="0">
              <a:solidFill>
                <a:srgbClr val="003CB4"/>
              </a:solidFill>
              <a:latin typeface="Frutiger for ZKB Light" panose="020B0303030504020204" pitchFamily="34" charset="0"/>
            </a:endParaRPr>
          </a:p>
        </p:txBody>
      </p:sp>
      <p:sp>
        <p:nvSpPr>
          <p:cNvPr id="3" name="Oval 12">
            <a:extLst>
              <a:ext uri="{FF2B5EF4-FFF2-40B4-BE49-F238E27FC236}">
                <a16:creationId xmlns:a16="http://schemas.microsoft.com/office/drawing/2014/main" id="{AB09784C-89F9-C262-CE12-56995602BEBC}"/>
              </a:ext>
            </a:extLst>
          </p:cNvPr>
          <p:cNvSpPr/>
          <p:nvPr/>
        </p:nvSpPr>
        <p:spPr>
          <a:xfrm>
            <a:off x="7507907" y="2103362"/>
            <a:ext cx="1296144" cy="1296144"/>
          </a:xfrm>
          <a:prstGeom prst="ellipse">
            <a:avLst/>
          </a:prstGeom>
          <a:solidFill>
            <a:schemeClr val="accent2"/>
          </a:solidFill>
          <a:ln w="63500" cap="flat" cmpd="sng" algn="ctr">
            <a:solidFill>
              <a:schemeClr val="bg1"/>
            </a:solidFill>
            <a:prstDash val="solid"/>
            <a:round/>
            <a:headEnd type="none" w="med" len="med"/>
            <a:tailEnd type="none" w="med" len="med"/>
          </a:ln>
          <a:effectLst/>
        </p:spPr>
        <p:txBody>
          <a:bodyPr vert="horz" wrap="square" lIns="0" tIns="0" rIns="0" bIns="0" rtlCol="0" anchor="t" anchorCtr="0">
            <a:noAutofit/>
          </a:bodyPr>
          <a:lstStyle/>
          <a:p>
            <a:pPr marL="0" indent="0" algn="l" defTabSz="284221" rtl="0" eaLnBrk="1" latinLnBrk="0" hangingPunct="1">
              <a:spcBef>
                <a:spcPts val="0"/>
              </a:spcBef>
              <a:spcAft>
                <a:spcPts val="0"/>
              </a:spcAft>
              <a:buFont typeface="Frutiger for ZKB Light" panose="020B0303030504020204" pitchFamily="34" charset="0"/>
              <a:buNone/>
            </a:pPr>
            <a:endParaRPr lang="de-CH" sz="1600" b="0" i="0" u="none" dirty="0">
              <a:solidFill>
                <a:srgbClr val="003CB4"/>
              </a:solidFill>
              <a:latin typeface="Frutiger for ZKB Light" panose="020B0303030504020204" pitchFamily="34" charset="0"/>
            </a:endParaRPr>
          </a:p>
        </p:txBody>
      </p:sp>
      <p:pic>
        <p:nvPicPr>
          <p:cNvPr id="4" name="Grafik 3">
            <a:extLst>
              <a:ext uri="{FF2B5EF4-FFF2-40B4-BE49-F238E27FC236}">
                <a16:creationId xmlns:a16="http://schemas.microsoft.com/office/drawing/2014/main" id="{92E4DC70-FE4A-110E-A33A-A9B08F53C38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7810322" y="2405777"/>
            <a:ext cx="691315" cy="691315"/>
          </a:xfrm>
          <a:prstGeom prst="rect">
            <a:avLst/>
          </a:prstGeom>
        </p:spPr>
      </p:pic>
      <p:sp>
        <p:nvSpPr>
          <p:cNvPr id="5" name="Oval 16">
            <a:extLst>
              <a:ext uri="{FF2B5EF4-FFF2-40B4-BE49-F238E27FC236}">
                <a16:creationId xmlns:a16="http://schemas.microsoft.com/office/drawing/2014/main" id="{A4AE0A4F-0849-70B9-FFD9-5B95E81DA864}"/>
              </a:ext>
            </a:extLst>
          </p:cNvPr>
          <p:cNvSpPr/>
          <p:nvPr/>
        </p:nvSpPr>
        <p:spPr>
          <a:xfrm>
            <a:off x="7507907" y="4623643"/>
            <a:ext cx="1296144" cy="1296144"/>
          </a:xfrm>
          <a:prstGeom prst="ellipse">
            <a:avLst/>
          </a:prstGeom>
          <a:solidFill>
            <a:schemeClr val="accent2"/>
          </a:solidFill>
          <a:ln w="63500" cap="flat" cmpd="sng" algn="ctr">
            <a:solidFill>
              <a:schemeClr val="bg1"/>
            </a:solidFill>
            <a:prstDash val="solid"/>
            <a:round/>
            <a:headEnd type="none" w="med" len="med"/>
            <a:tailEnd type="none" w="med" len="med"/>
          </a:ln>
          <a:effectLst/>
        </p:spPr>
        <p:txBody>
          <a:bodyPr vert="horz" wrap="square" lIns="0" tIns="0" rIns="0" bIns="0" rtlCol="0" anchor="t" anchorCtr="0">
            <a:noAutofit/>
          </a:bodyPr>
          <a:lstStyle/>
          <a:p>
            <a:pPr marL="0" indent="0" algn="l" defTabSz="284221" rtl="0" eaLnBrk="1" latinLnBrk="0" hangingPunct="1">
              <a:spcBef>
                <a:spcPts val="0"/>
              </a:spcBef>
              <a:spcAft>
                <a:spcPts val="0"/>
              </a:spcAft>
              <a:buFont typeface="Frutiger for ZKB Light" panose="020B0303030504020204" pitchFamily="34" charset="0"/>
              <a:buNone/>
            </a:pPr>
            <a:endParaRPr lang="de-CH" sz="1600" b="0" i="0" u="none" dirty="0">
              <a:solidFill>
                <a:srgbClr val="003CB4"/>
              </a:solidFill>
              <a:latin typeface="Frutiger for ZKB Light" panose="020B0303030504020204" pitchFamily="34" charset="0"/>
            </a:endParaRPr>
          </a:p>
        </p:txBody>
      </p:sp>
      <p:pic>
        <p:nvPicPr>
          <p:cNvPr id="6" name="Grafik 5">
            <a:extLst>
              <a:ext uri="{FF2B5EF4-FFF2-40B4-BE49-F238E27FC236}">
                <a16:creationId xmlns:a16="http://schemas.microsoft.com/office/drawing/2014/main" id="{13F433BB-7C84-2145-87C5-F8A66B5C076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7810323" y="4926058"/>
            <a:ext cx="691314" cy="691314"/>
          </a:xfrm>
          <a:prstGeom prst="rect">
            <a:avLst/>
          </a:prstGeom>
        </p:spPr>
      </p:pic>
      <p:sp>
        <p:nvSpPr>
          <p:cNvPr id="8" name="Oval 19">
            <a:extLst>
              <a:ext uri="{FF2B5EF4-FFF2-40B4-BE49-F238E27FC236}">
                <a16:creationId xmlns:a16="http://schemas.microsoft.com/office/drawing/2014/main" id="{B6B156B5-1AC0-8332-3282-1BDC23AAC565}"/>
              </a:ext>
            </a:extLst>
          </p:cNvPr>
          <p:cNvSpPr/>
          <p:nvPr/>
        </p:nvSpPr>
        <p:spPr>
          <a:xfrm>
            <a:off x="4062958" y="4623643"/>
            <a:ext cx="1296144" cy="1296144"/>
          </a:xfrm>
          <a:prstGeom prst="ellipse">
            <a:avLst/>
          </a:prstGeom>
          <a:solidFill>
            <a:schemeClr val="accent2"/>
          </a:solidFill>
          <a:ln w="63500" cap="flat" cmpd="sng" algn="ctr">
            <a:solidFill>
              <a:schemeClr val="bg1"/>
            </a:solidFill>
            <a:prstDash val="solid"/>
            <a:round/>
            <a:headEnd type="none" w="med" len="med"/>
            <a:tailEnd type="none" w="med" len="med"/>
          </a:ln>
          <a:effectLst/>
        </p:spPr>
        <p:txBody>
          <a:bodyPr vert="horz" wrap="square" lIns="0" tIns="0" rIns="0" bIns="0" rtlCol="0" anchor="t" anchorCtr="0">
            <a:noAutofit/>
          </a:bodyPr>
          <a:lstStyle/>
          <a:p>
            <a:pPr marL="0" indent="0" algn="l" defTabSz="284221" rtl="0" eaLnBrk="1" latinLnBrk="0" hangingPunct="1">
              <a:spcBef>
                <a:spcPts val="0"/>
              </a:spcBef>
              <a:spcAft>
                <a:spcPts val="0"/>
              </a:spcAft>
              <a:buFont typeface="Frutiger for ZKB Light" panose="020B0303030504020204" pitchFamily="34" charset="0"/>
              <a:buNone/>
            </a:pPr>
            <a:endParaRPr lang="de-CH" sz="1600" b="0" i="0" u="none" dirty="0">
              <a:solidFill>
                <a:srgbClr val="003CB4"/>
              </a:solidFill>
              <a:latin typeface="Frutiger for ZKB Light" panose="020B0303030504020204" pitchFamily="34" charset="0"/>
            </a:endParaRPr>
          </a:p>
        </p:txBody>
      </p:sp>
      <p:pic>
        <p:nvPicPr>
          <p:cNvPr id="9" name="Grafik 8">
            <a:extLst>
              <a:ext uri="{FF2B5EF4-FFF2-40B4-BE49-F238E27FC236}">
                <a16:creationId xmlns:a16="http://schemas.microsoft.com/office/drawing/2014/main" id="{6B7159D3-4CA8-1DD3-BBD6-CAC41BFC307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4365373" y="4926058"/>
            <a:ext cx="691314" cy="691314"/>
          </a:xfrm>
          <a:prstGeom prst="rect">
            <a:avLst/>
          </a:prstGeom>
        </p:spPr>
      </p:pic>
      <p:sp>
        <p:nvSpPr>
          <p:cNvPr id="10" name="Oval 21">
            <a:extLst>
              <a:ext uri="{FF2B5EF4-FFF2-40B4-BE49-F238E27FC236}">
                <a16:creationId xmlns:a16="http://schemas.microsoft.com/office/drawing/2014/main" id="{69BA6A52-D3AD-B04C-CB8B-1CEBBAF8C938}"/>
              </a:ext>
            </a:extLst>
          </p:cNvPr>
          <p:cNvSpPr/>
          <p:nvPr/>
        </p:nvSpPr>
        <p:spPr>
          <a:xfrm>
            <a:off x="4062958" y="2103363"/>
            <a:ext cx="1296144" cy="1296144"/>
          </a:xfrm>
          <a:prstGeom prst="ellipse">
            <a:avLst/>
          </a:prstGeom>
          <a:solidFill>
            <a:schemeClr val="accent2"/>
          </a:solidFill>
          <a:ln w="63500" cap="flat" cmpd="sng" algn="ctr">
            <a:solidFill>
              <a:schemeClr val="bg1"/>
            </a:solidFill>
            <a:prstDash val="solid"/>
            <a:round/>
            <a:headEnd type="none" w="med" len="med"/>
            <a:tailEnd type="none" w="med" len="med"/>
          </a:ln>
          <a:effectLst/>
        </p:spPr>
        <p:txBody>
          <a:bodyPr vert="horz" wrap="square" lIns="0" tIns="0" rIns="0" bIns="0" rtlCol="0" anchor="t" anchorCtr="0">
            <a:noAutofit/>
          </a:bodyPr>
          <a:lstStyle/>
          <a:p>
            <a:pPr marL="0" indent="0" algn="l" defTabSz="284221" rtl="0" eaLnBrk="1" latinLnBrk="0" hangingPunct="1">
              <a:spcBef>
                <a:spcPts val="0"/>
              </a:spcBef>
              <a:spcAft>
                <a:spcPts val="0"/>
              </a:spcAft>
              <a:buFont typeface="Frutiger for ZKB Light" panose="020B0303030504020204" pitchFamily="34" charset="0"/>
              <a:buNone/>
            </a:pPr>
            <a:endParaRPr lang="de-CH" sz="1600" b="0" i="0" u="none" dirty="0">
              <a:solidFill>
                <a:srgbClr val="003CB4"/>
              </a:solidFill>
              <a:latin typeface="Frutiger for ZKB Light" panose="020B0303030504020204" pitchFamily="34" charset="0"/>
            </a:endParaRPr>
          </a:p>
        </p:txBody>
      </p:sp>
      <p:pic>
        <p:nvPicPr>
          <p:cNvPr id="11" name="Grafik 10">
            <a:extLst>
              <a:ext uri="{FF2B5EF4-FFF2-40B4-BE49-F238E27FC236}">
                <a16:creationId xmlns:a16="http://schemas.microsoft.com/office/drawing/2014/main" id="{8DF00959-B970-C6F6-A749-45F43DA7234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369002" y="2409407"/>
            <a:ext cx="684056" cy="684056"/>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650" name="Objekt 7" hidden="1">
            <a:extLst>
              <a:ext uri="{FF2B5EF4-FFF2-40B4-BE49-F238E27FC236}">
                <a16:creationId xmlns:a16="http://schemas.microsoft.com/office/drawing/2014/main" id="{754C7C93-D58B-93A5-FDDF-A05F181F103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27650" name="Objekt 7" hidden="1">
                        <a:extLst>
                          <a:ext uri="{FF2B5EF4-FFF2-40B4-BE49-F238E27FC236}">
                            <a16:creationId xmlns:a16="http://schemas.microsoft.com/office/drawing/2014/main" id="{754C7C93-D58B-93A5-FDDF-A05F181F103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hteck 12" hidden="1">
            <a:extLst>
              <a:ext uri="{FF2B5EF4-FFF2-40B4-BE49-F238E27FC236}">
                <a16:creationId xmlns:a16="http://schemas.microsoft.com/office/drawing/2014/main" id="{3F6BBD05-19FA-2099-439E-5FD825A8D9A4}"/>
              </a:ext>
            </a:extLst>
          </p:cNvPr>
          <p:cNvSpPr/>
          <p:nvPr>
            <p:custDataLst>
              <p:tags r:id="rId2"/>
            </p:custDataLst>
          </p:nvPr>
        </p:nvSpPr>
        <p:spPr>
          <a:xfrm>
            <a:off x="0" y="0"/>
            <a:ext cx="158750" cy="158750"/>
          </a:xfrm>
          <a:prstGeom prst="rect">
            <a:avLst/>
          </a:prstGeom>
          <a:noFill/>
          <a:ln w="6350" cap="flat" cmpd="sng" algn="ctr">
            <a:solidFill>
              <a:srgbClr val="000000"/>
            </a:solidFill>
            <a:prstDash val="solid"/>
            <a:round/>
            <a:headEnd type="none" w="med" len="med"/>
            <a:tailEnd type="none" w="med" len="med"/>
          </a:ln>
          <a:effectLst/>
        </p:spPr>
        <p:txBody>
          <a:bodyPr wrap="none" lIns="0" tIns="0" rIns="0" bIns="0"/>
          <a:lstStyle/>
          <a:p>
            <a:pPr defTabSz="197875" eaLnBrk="1" hangingPunct="1">
              <a:lnSpc>
                <a:spcPct val="95000"/>
              </a:lnSpc>
              <a:defRPr/>
            </a:pPr>
            <a:endParaRPr lang="de-CH" sz="2700" b="1" dirty="0">
              <a:solidFill>
                <a:srgbClr val="003CB4"/>
              </a:solidFill>
              <a:latin typeface="Frutiger for ZKB Light" panose="020B0303030504020204" pitchFamily="34" charset="0"/>
              <a:ea typeface="+mj-ea"/>
              <a:cs typeface="+mj-cs"/>
              <a:sym typeface="Frutiger for ZKB Light" panose="020B0303030504020204" pitchFamily="34" charset="0"/>
            </a:endParaRPr>
          </a:p>
        </p:txBody>
      </p:sp>
      <p:sp>
        <p:nvSpPr>
          <p:cNvPr id="27652" name="Titel 5">
            <a:extLst>
              <a:ext uri="{FF2B5EF4-FFF2-40B4-BE49-F238E27FC236}">
                <a16:creationId xmlns:a16="http://schemas.microsoft.com/office/drawing/2014/main" id="{8E1BBA83-817D-5EF4-3678-0193D2419339}"/>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Organigramm</a:t>
            </a:r>
          </a:p>
        </p:txBody>
      </p:sp>
      <p:sp>
        <p:nvSpPr>
          <p:cNvPr id="27653" name="Foliennummernplatzhalter 21">
            <a:extLst>
              <a:ext uri="{FF2B5EF4-FFF2-40B4-BE49-F238E27FC236}">
                <a16:creationId xmlns:a16="http://schemas.microsoft.com/office/drawing/2014/main" id="{E05B4601-D49A-BEF9-AA6D-7854A91B8610}"/>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7F347634-614D-4239-9BE5-80A501EE3048}" type="slidenum">
              <a:rPr lang="de-CH" altLang="de-DE" sz="1100" smtClean="0">
                <a:solidFill>
                  <a:srgbClr val="003CB4"/>
                </a:solidFill>
                <a:latin typeface="Frutiger for ZKB Light" panose="020B0303030504020204" pitchFamily="34" charset="0"/>
              </a:rPr>
              <a:pPr>
                <a:spcBef>
                  <a:spcPct val="0"/>
                </a:spcBef>
                <a:spcAft>
                  <a:spcPct val="0"/>
                </a:spcAft>
              </a:pPr>
              <a:t>8</a:t>
            </a:fld>
            <a:endParaRPr lang="de-CH" altLang="de-DE" sz="1100" dirty="0">
              <a:solidFill>
                <a:srgbClr val="003CB4"/>
              </a:solidFill>
              <a:latin typeface="Frutiger for ZKB Light" panose="020B0303030504020204" pitchFamily="34" charset="0"/>
            </a:endParaRPr>
          </a:p>
        </p:txBody>
      </p:sp>
      <p:sp>
        <p:nvSpPr>
          <p:cNvPr id="27654" name="Fußzeilenplatzhalter 20">
            <a:extLst>
              <a:ext uri="{FF2B5EF4-FFF2-40B4-BE49-F238E27FC236}">
                <a16:creationId xmlns:a16="http://schemas.microsoft.com/office/drawing/2014/main" id="{1B1FA762-FC03-1546-DF3B-3D6EA324D24C}"/>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27655" name="Inhaltsplatzhalter 6">
            <a:extLst>
              <a:ext uri="{FF2B5EF4-FFF2-40B4-BE49-F238E27FC236}">
                <a16:creationId xmlns:a16="http://schemas.microsoft.com/office/drawing/2014/main" id="{CF831D4E-AEBD-5070-FD0D-B1AEBDF57E8E}"/>
              </a:ext>
            </a:extLst>
          </p:cNvPr>
          <p:cNvSpPr txBox="1">
            <a:spLocks noChangeArrowheads="1"/>
          </p:cNvSpPr>
          <p:nvPr/>
        </p:nvSpPr>
        <p:spPr bwMode="auto">
          <a:xfrm>
            <a:off x="5008563" y="1920454"/>
            <a:ext cx="2836862" cy="898525"/>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solidFill>
                  <a:schemeClr val="tx1"/>
                </a:solidFill>
              </a:rPr>
              <a:t>Bereich</a:t>
            </a:r>
            <a:br>
              <a:rPr lang="de-CH" altLang="de-DE" sz="1400" b="1" dirty="0">
                <a:solidFill>
                  <a:schemeClr val="tx1"/>
                </a:solidFill>
              </a:rPr>
            </a:br>
            <a:r>
              <a:rPr lang="de-CH" altLang="de-DE" sz="1400" dirty="0">
                <a:solidFill>
                  <a:schemeClr val="tx1"/>
                </a:solidFill>
              </a:rPr>
              <a:t>Name</a:t>
            </a:r>
          </a:p>
        </p:txBody>
      </p:sp>
      <p:sp>
        <p:nvSpPr>
          <p:cNvPr id="27656" name="Inhaltsplatzhalter 6">
            <a:extLst>
              <a:ext uri="{FF2B5EF4-FFF2-40B4-BE49-F238E27FC236}">
                <a16:creationId xmlns:a16="http://schemas.microsoft.com/office/drawing/2014/main" id="{B29112FA-C9D4-6AF8-3306-940ECD87A397}"/>
              </a:ext>
            </a:extLst>
          </p:cNvPr>
          <p:cNvSpPr txBox="1">
            <a:spLocks noChangeArrowheads="1"/>
          </p:cNvSpPr>
          <p:nvPr/>
        </p:nvSpPr>
        <p:spPr bwMode="auto">
          <a:xfrm>
            <a:off x="306388" y="3193629"/>
            <a:ext cx="2836862" cy="900113"/>
          </a:xfrm>
          <a:prstGeom prst="rect">
            <a:avLst/>
          </a:prstGeom>
          <a:solidFill>
            <a:srgbClr val="D2E6FE"/>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Bereich</a:t>
            </a:r>
          </a:p>
          <a:p>
            <a:pPr eaLnBrk="1" hangingPunct="1">
              <a:lnSpc>
                <a:spcPct val="105000"/>
              </a:lnSpc>
            </a:pPr>
            <a:r>
              <a:rPr lang="de-CH" altLang="de-DE" sz="1400" dirty="0"/>
              <a:t>Name</a:t>
            </a:r>
          </a:p>
        </p:txBody>
      </p:sp>
      <p:cxnSp>
        <p:nvCxnSpPr>
          <p:cNvPr id="19" name="Verbinder: gewinkelt 18">
            <a:extLst>
              <a:ext uri="{FF2B5EF4-FFF2-40B4-BE49-F238E27FC236}">
                <a16:creationId xmlns:a16="http://schemas.microsoft.com/office/drawing/2014/main" id="{534F1613-C0AC-EC43-7E0F-2F76FA022246}"/>
              </a:ext>
            </a:extLst>
          </p:cNvPr>
          <p:cNvCxnSpPr>
            <a:cxnSpLocks/>
            <a:stCxn id="27660" idx="0"/>
            <a:endCxn id="27656" idx="0"/>
          </p:cNvCxnSpPr>
          <p:nvPr/>
        </p:nvCxnSpPr>
        <p:spPr>
          <a:xfrm rot="16200000" flipV="1">
            <a:off x="6427788" y="-1510134"/>
            <a:ext cx="12700" cy="9407525"/>
          </a:xfrm>
          <a:prstGeom prst="bentConnector3">
            <a:avLst>
              <a:gd name="adj1" fmla="val 1800000"/>
            </a:avLst>
          </a:prstGeom>
          <a:ln w="6350"/>
        </p:spPr>
        <p:style>
          <a:lnRef idx="1">
            <a:schemeClr val="accent1"/>
          </a:lnRef>
          <a:fillRef idx="0">
            <a:schemeClr val="accent1"/>
          </a:fillRef>
          <a:effectRef idx="0">
            <a:schemeClr val="accent1"/>
          </a:effectRef>
          <a:fontRef idx="minor">
            <a:schemeClr val="tx1"/>
          </a:fontRef>
        </p:style>
      </p:cxnSp>
      <p:sp>
        <p:nvSpPr>
          <p:cNvPr id="27658" name="Inhaltsplatzhalter 6">
            <a:extLst>
              <a:ext uri="{FF2B5EF4-FFF2-40B4-BE49-F238E27FC236}">
                <a16:creationId xmlns:a16="http://schemas.microsoft.com/office/drawing/2014/main" id="{E542F2FC-9B21-73F6-9A9C-ED56725B0DA0}"/>
              </a:ext>
            </a:extLst>
          </p:cNvPr>
          <p:cNvSpPr txBox="1">
            <a:spLocks noChangeArrowheads="1"/>
          </p:cNvSpPr>
          <p:nvPr/>
        </p:nvSpPr>
        <p:spPr bwMode="auto">
          <a:xfrm>
            <a:off x="3441700" y="3193629"/>
            <a:ext cx="2836863" cy="900113"/>
          </a:xfrm>
          <a:prstGeom prst="rect">
            <a:avLst/>
          </a:prstGeom>
          <a:solidFill>
            <a:srgbClr val="D2E6FE"/>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Bereich</a:t>
            </a:r>
          </a:p>
          <a:p>
            <a:pPr eaLnBrk="1" hangingPunct="1">
              <a:lnSpc>
                <a:spcPct val="105000"/>
              </a:lnSpc>
            </a:pPr>
            <a:r>
              <a:rPr lang="de-CH" altLang="de-DE" sz="1400" dirty="0"/>
              <a:t>Name</a:t>
            </a:r>
          </a:p>
        </p:txBody>
      </p:sp>
      <p:sp>
        <p:nvSpPr>
          <p:cNvPr id="27659" name="Inhaltsplatzhalter 6">
            <a:extLst>
              <a:ext uri="{FF2B5EF4-FFF2-40B4-BE49-F238E27FC236}">
                <a16:creationId xmlns:a16="http://schemas.microsoft.com/office/drawing/2014/main" id="{F40782DC-D0FA-00CC-1F28-60F447F74AA7}"/>
              </a:ext>
            </a:extLst>
          </p:cNvPr>
          <p:cNvSpPr txBox="1">
            <a:spLocks noChangeArrowheads="1"/>
          </p:cNvSpPr>
          <p:nvPr/>
        </p:nvSpPr>
        <p:spPr bwMode="auto">
          <a:xfrm>
            <a:off x="6577013" y="3193629"/>
            <a:ext cx="2836862" cy="900113"/>
          </a:xfrm>
          <a:prstGeom prst="rect">
            <a:avLst/>
          </a:prstGeom>
          <a:solidFill>
            <a:srgbClr val="D2E6FE"/>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Bereich</a:t>
            </a:r>
          </a:p>
          <a:p>
            <a:pPr eaLnBrk="1" hangingPunct="1">
              <a:lnSpc>
                <a:spcPct val="105000"/>
              </a:lnSpc>
            </a:pPr>
            <a:r>
              <a:rPr lang="de-CH" altLang="de-DE" sz="1400" dirty="0"/>
              <a:t>Name</a:t>
            </a:r>
          </a:p>
        </p:txBody>
      </p:sp>
      <p:sp>
        <p:nvSpPr>
          <p:cNvPr id="27660" name="Inhaltsplatzhalter 6">
            <a:extLst>
              <a:ext uri="{FF2B5EF4-FFF2-40B4-BE49-F238E27FC236}">
                <a16:creationId xmlns:a16="http://schemas.microsoft.com/office/drawing/2014/main" id="{BAF6F5AD-AEF5-E7C0-E95D-9A819D99928F}"/>
              </a:ext>
            </a:extLst>
          </p:cNvPr>
          <p:cNvSpPr txBox="1">
            <a:spLocks noChangeArrowheads="1"/>
          </p:cNvSpPr>
          <p:nvPr/>
        </p:nvSpPr>
        <p:spPr bwMode="auto">
          <a:xfrm>
            <a:off x="9712325" y="3193629"/>
            <a:ext cx="2836863" cy="900113"/>
          </a:xfrm>
          <a:prstGeom prst="rect">
            <a:avLst/>
          </a:prstGeom>
          <a:solidFill>
            <a:srgbClr val="D2E6FE"/>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Bereich</a:t>
            </a:r>
          </a:p>
          <a:p>
            <a:pPr eaLnBrk="1" hangingPunct="1">
              <a:lnSpc>
                <a:spcPct val="105000"/>
              </a:lnSpc>
            </a:pPr>
            <a:r>
              <a:rPr lang="de-CH" altLang="de-DE" sz="1400" dirty="0"/>
              <a:t>Name</a:t>
            </a:r>
          </a:p>
        </p:txBody>
      </p:sp>
      <p:cxnSp>
        <p:nvCxnSpPr>
          <p:cNvPr id="37" name="Verbinder: gewinkelt 36">
            <a:extLst>
              <a:ext uri="{FF2B5EF4-FFF2-40B4-BE49-F238E27FC236}">
                <a16:creationId xmlns:a16="http://schemas.microsoft.com/office/drawing/2014/main" id="{CC5AFB75-7CC9-E46A-D50E-969112570B9D}"/>
              </a:ext>
            </a:extLst>
          </p:cNvPr>
          <p:cNvCxnSpPr>
            <a:cxnSpLocks/>
            <a:stCxn id="27658" idx="0"/>
            <a:endCxn id="27659" idx="0"/>
          </p:cNvCxnSpPr>
          <p:nvPr/>
        </p:nvCxnSpPr>
        <p:spPr>
          <a:xfrm rot="5400000" flipH="1" flipV="1">
            <a:off x="6426994" y="1625973"/>
            <a:ext cx="12700" cy="3135312"/>
          </a:xfrm>
          <a:prstGeom prst="bentConnector3">
            <a:avLst>
              <a:gd name="adj1" fmla="val 180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7662" name="Inhaltsplatzhalter 6">
            <a:extLst>
              <a:ext uri="{FF2B5EF4-FFF2-40B4-BE49-F238E27FC236}">
                <a16:creationId xmlns:a16="http://schemas.microsoft.com/office/drawing/2014/main" id="{4563BD45-BCE3-6C13-9B14-BDFC55B60CB8}"/>
              </a:ext>
            </a:extLst>
          </p:cNvPr>
          <p:cNvSpPr txBox="1">
            <a:spLocks noChangeArrowheads="1"/>
          </p:cNvSpPr>
          <p:nvPr/>
        </p:nvSpPr>
        <p:spPr bwMode="auto">
          <a:xfrm>
            <a:off x="3441700" y="5739979"/>
            <a:ext cx="2836863" cy="900113"/>
          </a:xfrm>
          <a:prstGeom prst="rect">
            <a:avLst/>
          </a:prstGeom>
          <a:solidFill>
            <a:srgbClr val="D2E6FE"/>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Bereich</a:t>
            </a:r>
          </a:p>
          <a:p>
            <a:pPr eaLnBrk="1" hangingPunct="1">
              <a:lnSpc>
                <a:spcPct val="105000"/>
              </a:lnSpc>
            </a:pPr>
            <a:r>
              <a:rPr lang="de-CH" altLang="de-DE" sz="1400" dirty="0"/>
              <a:t>Name</a:t>
            </a:r>
          </a:p>
        </p:txBody>
      </p:sp>
      <p:sp>
        <p:nvSpPr>
          <p:cNvPr id="27663" name="Inhaltsplatzhalter 6">
            <a:extLst>
              <a:ext uri="{FF2B5EF4-FFF2-40B4-BE49-F238E27FC236}">
                <a16:creationId xmlns:a16="http://schemas.microsoft.com/office/drawing/2014/main" id="{62ACF27E-755D-1E9F-78F0-6BF67B35B70F}"/>
              </a:ext>
            </a:extLst>
          </p:cNvPr>
          <p:cNvSpPr txBox="1">
            <a:spLocks noChangeArrowheads="1"/>
          </p:cNvSpPr>
          <p:nvPr/>
        </p:nvSpPr>
        <p:spPr bwMode="auto">
          <a:xfrm>
            <a:off x="6577013" y="5739979"/>
            <a:ext cx="2836862" cy="900113"/>
          </a:xfrm>
          <a:prstGeom prst="rect">
            <a:avLst/>
          </a:prstGeom>
          <a:solidFill>
            <a:srgbClr val="D2E6FE"/>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Bereich</a:t>
            </a:r>
          </a:p>
          <a:p>
            <a:pPr eaLnBrk="1" hangingPunct="1">
              <a:lnSpc>
                <a:spcPct val="105000"/>
              </a:lnSpc>
            </a:pPr>
            <a:r>
              <a:rPr lang="de-CH" altLang="de-DE" sz="1400" dirty="0"/>
              <a:t>Name</a:t>
            </a:r>
          </a:p>
        </p:txBody>
      </p:sp>
      <p:cxnSp>
        <p:nvCxnSpPr>
          <p:cNvPr id="51" name="Gerader Verbinder 50">
            <a:extLst>
              <a:ext uri="{FF2B5EF4-FFF2-40B4-BE49-F238E27FC236}">
                <a16:creationId xmlns:a16="http://schemas.microsoft.com/office/drawing/2014/main" id="{7B3FE46B-2CDF-6E32-F8F0-00B6906D0EB1}"/>
              </a:ext>
            </a:extLst>
          </p:cNvPr>
          <p:cNvCxnSpPr>
            <a:cxnSpLocks/>
            <a:stCxn id="27655" idx="2"/>
          </p:cNvCxnSpPr>
          <p:nvPr/>
        </p:nvCxnSpPr>
        <p:spPr>
          <a:xfrm>
            <a:off x="6427788" y="2818979"/>
            <a:ext cx="0" cy="2701925"/>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27665" name="Inhaltsplatzhalter 6">
            <a:extLst>
              <a:ext uri="{FF2B5EF4-FFF2-40B4-BE49-F238E27FC236}">
                <a16:creationId xmlns:a16="http://schemas.microsoft.com/office/drawing/2014/main" id="{68AB680D-B05B-363B-B3B3-96A5E3F054A0}"/>
              </a:ext>
            </a:extLst>
          </p:cNvPr>
          <p:cNvSpPr txBox="1">
            <a:spLocks noChangeArrowheads="1"/>
          </p:cNvSpPr>
          <p:nvPr/>
        </p:nvSpPr>
        <p:spPr bwMode="auto">
          <a:xfrm>
            <a:off x="306388" y="4466804"/>
            <a:ext cx="2836862" cy="900113"/>
          </a:xfrm>
          <a:prstGeom prst="rect">
            <a:avLst/>
          </a:prstGeom>
          <a:solidFill>
            <a:srgbClr val="D2E6FE"/>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Bereich</a:t>
            </a:r>
          </a:p>
          <a:p>
            <a:pPr eaLnBrk="1" hangingPunct="1">
              <a:lnSpc>
                <a:spcPct val="105000"/>
              </a:lnSpc>
            </a:pPr>
            <a:r>
              <a:rPr lang="de-CH" altLang="de-DE" sz="1400" dirty="0"/>
              <a:t>Name</a:t>
            </a:r>
          </a:p>
        </p:txBody>
      </p:sp>
      <p:sp>
        <p:nvSpPr>
          <p:cNvPr id="27666" name="Inhaltsplatzhalter 6">
            <a:extLst>
              <a:ext uri="{FF2B5EF4-FFF2-40B4-BE49-F238E27FC236}">
                <a16:creationId xmlns:a16="http://schemas.microsoft.com/office/drawing/2014/main" id="{FB43AD4D-8174-1FD5-4785-ABE3B9687F65}"/>
              </a:ext>
            </a:extLst>
          </p:cNvPr>
          <p:cNvSpPr txBox="1">
            <a:spLocks noChangeArrowheads="1"/>
          </p:cNvSpPr>
          <p:nvPr/>
        </p:nvSpPr>
        <p:spPr bwMode="auto">
          <a:xfrm>
            <a:off x="3441700" y="4466804"/>
            <a:ext cx="2836863" cy="900113"/>
          </a:xfrm>
          <a:prstGeom prst="rect">
            <a:avLst/>
          </a:prstGeom>
          <a:solidFill>
            <a:srgbClr val="D2E6FE"/>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Bereich</a:t>
            </a:r>
          </a:p>
          <a:p>
            <a:pPr eaLnBrk="1" hangingPunct="1">
              <a:lnSpc>
                <a:spcPct val="105000"/>
              </a:lnSpc>
            </a:pPr>
            <a:r>
              <a:rPr lang="de-CH" altLang="de-DE" sz="1400" dirty="0"/>
              <a:t>Name</a:t>
            </a:r>
          </a:p>
        </p:txBody>
      </p:sp>
      <p:sp>
        <p:nvSpPr>
          <p:cNvPr id="27667" name="Inhaltsplatzhalter 6">
            <a:extLst>
              <a:ext uri="{FF2B5EF4-FFF2-40B4-BE49-F238E27FC236}">
                <a16:creationId xmlns:a16="http://schemas.microsoft.com/office/drawing/2014/main" id="{0C91DBC2-8A81-A5A3-839E-955D81F2F73F}"/>
              </a:ext>
            </a:extLst>
          </p:cNvPr>
          <p:cNvSpPr txBox="1">
            <a:spLocks noChangeArrowheads="1"/>
          </p:cNvSpPr>
          <p:nvPr/>
        </p:nvSpPr>
        <p:spPr bwMode="auto">
          <a:xfrm>
            <a:off x="6577013" y="4466804"/>
            <a:ext cx="2836862" cy="900113"/>
          </a:xfrm>
          <a:prstGeom prst="rect">
            <a:avLst/>
          </a:prstGeom>
          <a:solidFill>
            <a:srgbClr val="D2E6FE"/>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Bereich</a:t>
            </a:r>
          </a:p>
          <a:p>
            <a:pPr eaLnBrk="1" hangingPunct="1">
              <a:lnSpc>
                <a:spcPct val="105000"/>
              </a:lnSpc>
            </a:pPr>
            <a:r>
              <a:rPr lang="de-CH" altLang="de-DE" sz="1400" dirty="0"/>
              <a:t>Name</a:t>
            </a:r>
          </a:p>
        </p:txBody>
      </p:sp>
      <p:sp>
        <p:nvSpPr>
          <p:cNvPr id="27668" name="Inhaltsplatzhalter 6">
            <a:extLst>
              <a:ext uri="{FF2B5EF4-FFF2-40B4-BE49-F238E27FC236}">
                <a16:creationId xmlns:a16="http://schemas.microsoft.com/office/drawing/2014/main" id="{67BA243F-7565-7B8C-34AB-D4561114CB65}"/>
              </a:ext>
            </a:extLst>
          </p:cNvPr>
          <p:cNvSpPr txBox="1">
            <a:spLocks noChangeArrowheads="1"/>
          </p:cNvSpPr>
          <p:nvPr/>
        </p:nvSpPr>
        <p:spPr bwMode="auto">
          <a:xfrm>
            <a:off x="9712325" y="4466804"/>
            <a:ext cx="2836863" cy="900113"/>
          </a:xfrm>
          <a:prstGeom prst="rect">
            <a:avLst/>
          </a:prstGeom>
          <a:solidFill>
            <a:srgbClr val="D2E6FE"/>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Bereich</a:t>
            </a:r>
          </a:p>
          <a:p>
            <a:pPr eaLnBrk="1" hangingPunct="1">
              <a:lnSpc>
                <a:spcPct val="105000"/>
              </a:lnSpc>
            </a:pPr>
            <a:r>
              <a:rPr lang="de-CH" altLang="de-DE" sz="1400" dirty="0"/>
              <a:t>Name</a:t>
            </a:r>
          </a:p>
        </p:txBody>
      </p:sp>
      <p:cxnSp>
        <p:nvCxnSpPr>
          <p:cNvPr id="66" name="Verbinder: gewinkelt 65">
            <a:extLst>
              <a:ext uri="{FF2B5EF4-FFF2-40B4-BE49-F238E27FC236}">
                <a16:creationId xmlns:a16="http://schemas.microsoft.com/office/drawing/2014/main" id="{6E51E263-7E89-297B-CE85-25BA8033043A}"/>
              </a:ext>
            </a:extLst>
          </p:cNvPr>
          <p:cNvCxnSpPr>
            <a:cxnSpLocks/>
            <a:stCxn id="27662" idx="0"/>
            <a:endCxn id="27663" idx="0"/>
          </p:cNvCxnSpPr>
          <p:nvPr/>
        </p:nvCxnSpPr>
        <p:spPr>
          <a:xfrm rot="5400000" flipH="1" flipV="1">
            <a:off x="6426994" y="4172323"/>
            <a:ext cx="12700" cy="3135312"/>
          </a:xfrm>
          <a:prstGeom prst="bentConnector3">
            <a:avLst>
              <a:gd name="adj1" fmla="val 1800000"/>
            </a:avLst>
          </a:prstGeom>
          <a:ln w="6350"/>
        </p:spPr>
        <p:style>
          <a:lnRef idx="1">
            <a:schemeClr val="accent1"/>
          </a:lnRef>
          <a:fillRef idx="0">
            <a:schemeClr val="accent1"/>
          </a:fillRef>
          <a:effectRef idx="0">
            <a:schemeClr val="accent1"/>
          </a:effectRef>
          <a:fontRef idx="minor">
            <a:schemeClr val="tx1"/>
          </a:fontRef>
        </p:style>
      </p:cxnSp>
      <p:cxnSp>
        <p:nvCxnSpPr>
          <p:cNvPr id="69" name="Verbinder: gewinkelt 68">
            <a:extLst>
              <a:ext uri="{FF2B5EF4-FFF2-40B4-BE49-F238E27FC236}">
                <a16:creationId xmlns:a16="http://schemas.microsoft.com/office/drawing/2014/main" id="{4C50C403-1DE1-5311-4E6E-9C17D2B397C2}"/>
              </a:ext>
            </a:extLst>
          </p:cNvPr>
          <p:cNvCxnSpPr>
            <a:stCxn id="27665" idx="0"/>
            <a:endCxn id="27668" idx="0"/>
          </p:cNvCxnSpPr>
          <p:nvPr/>
        </p:nvCxnSpPr>
        <p:spPr>
          <a:xfrm rot="5400000" flipH="1" flipV="1">
            <a:off x="6427788" y="-236959"/>
            <a:ext cx="12700" cy="9407525"/>
          </a:xfrm>
          <a:prstGeom prst="bentConnector3">
            <a:avLst>
              <a:gd name="adj1" fmla="val 1800000"/>
            </a:avLst>
          </a:prstGeom>
          <a:ln w="6350"/>
        </p:spPr>
        <p:style>
          <a:lnRef idx="1">
            <a:schemeClr val="accent1"/>
          </a:lnRef>
          <a:fillRef idx="0">
            <a:schemeClr val="accent1"/>
          </a:fillRef>
          <a:effectRef idx="0">
            <a:schemeClr val="accent1"/>
          </a:effectRef>
          <a:fontRef idx="minor">
            <a:schemeClr val="tx1"/>
          </a:fontRef>
        </p:style>
      </p:cxnSp>
      <p:cxnSp>
        <p:nvCxnSpPr>
          <p:cNvPr id="71" name="Verbinder: gewinkelt 70">
            <a:extLst>
              <a:ext uri="{FF2B5EF4-FFF2-40B4-BE49-F238E27FC236}">
                <a16:creationId xmlns:a16="http://schemas.microsoft.com/office/drawing/2014/main" id="{449463EA-D818-B49B-A0ED-6EA47039D5C8}"/>
              </a:ext>
            </a:extLst>
          </p:cNvPr>
          <p:cNvCxnSpPr>
            <a:stCxn id="27666" idx="0"/>
            <a:endCxn id="27667" idx="0"/>
          </p:cNvCxnSpPr>
          <p:nvPr/>
        </p:nvCxnSpPr>
        <p:spPr>
          <a:xfrm rot="5400000" flipH="1" flipV="1">
            <a:off x="6426994" y="2899148"/>
            <a:ext cx="12700" cy="3135312"/>
          </a:xfrm>
          <a:prstGeom prst="bentConnector3">
            <a:avLst>
              <a:gd name="adj1" fmla="val 1800000"/>
            </a:avLst>
          </a:prstGeom>
          <a:ln w="6350"/>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1618" name="think-cell data - do not delete" hidden="1">
            <a:extLst>
              <a:ext uri="{FF2B5EF4-FFF2-40B4-BE49-F238E27FC236}">
                <a16:creationId xmlns:a16="http://schemas.microsoft.com/office/drawing/2014/main" id="{D6A3EA1B-0277-62B4-537A-FB525820DC3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11618" name="think-cell data - do not delete" hidden="1">
                        <a:extLst>
                          <a:ext uri="{FF2B5EF4-FFF2-40B4-BE49-F238E27FC236}">
                            <a16:creationId xmlns:a16="http://schemas.microsoft.com/office/drawing/2014/main" id="{D6A3EA1B-0277-62B4-537A-FB525820DC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1626" name="Titel 1">
            <a:extLst>
              <a:ext uri="{FF2B5EF4-FFF2-40B4-BE49-F238E27FC236}">
                <a16:creationId xmlns:a16="http://schemas.microsoft.com/office/drawing/2014/main" id="{B6C7322E-71A1-F3EE-05FD-71CF6A5102A4}"/>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Zyklus mit Piktogrammen und Hervorhebung</a:t>
            </a:r>
          </a:p>
        </p:txBody>
      </p:sp>
      <p:sp>
        <p:nvSpPr>
          <p:cNvPr id="111627" name="Foliennummernplatzhalter 20">
            <a:extLst>
              <a:ext uri="{FF2B5EF4-FFF2-40B4-BE49-F238E27FC236}">
                <a16:creationId xmlns:a16="http://schemas.microsoft.com/office/drawing/2014/main" id="{9F39224D-1311-C7C9-82AA-41C0A5E2748E}"/>
              </a:ext>
            </a:extLst>
          </p:cNvPr>
          <p:cNvSpPr>
            <a:spLocks noGrp="1" noChangeArrowheads="1"/>
          </p:cNvSpPr>
          <p:nvPr>
            <p:ph type="sldNum" sz="quarter" idx="13"/>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7D1EFE5-7B74-4DC9-B3A0-DB9AD5FE6CA2}" type="slidenum">
              <a:rPr lang="de-CH" smtClean="0"/>
              <a:pPr>
                <a:spcBef>
                  <a:spcPct val="0"/>
                </a:spcBef>
                <a:spcAft>
                  <a:spcPct val="0"/>
                </a:spcAft>
                <a:defRPr/>
              </a:pPr>
              <a:t>80</a:t>
            </a:fld>
            <a:endParaRPr lang="de-CH" altLang="de-DE" sz="1100" dirty="0">
              <a:solidFill>
                <a:srgbClr val="003CB4"/>
              </a:solidFill>
            </a:endParaRPr>
          </a:p>
        </p:txBody>
      </p:sp>
      <p:sp>
        <p:nvSpPr>
          <p:cNvPr id="111628" name="Fußzeilenplatzhalter 18">
            <a:extLst>
              <a:ext uri="{FF2B5EF4-FFF2-40B4-BE49-F238E27FC236}">
                <a16:creationId xmlns:a16="http://schemas.microsoft.com/office/drawing/2014/main" id="{2BB1FAFA-8659-C11B-3A65-88E760506B2B}"/>
              </a:ext>
            </a:extLst>
          </p:cNvPr>
          <p:cNvSpPr>
            <a:spLocks noGrp="1" noChangeArrowheads="1"/>
          </p:cNvSpPr>
          <p:nvPr>
            <p:ph type="ftr" sz="quarter" idx="14"/>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11629" name="Textplatzhalter 2">
            <a:extLst>
              <a:ext uri="{FF2B5EF4-FFF2-40B4-BE49-F238E27FC236}">
                <a16:creationId xmlns:a16="http://schemas.microsoft.com/office/drawing/2014/main" id="{D6462E3C-FC85-78BB-76BE-62804D1C11EB}"/>
              </a:ext>
            </a:extLst>
          </p:cNvPr>
          <p:cNvSpPr>
            <a:spLocks noGrp="1" noChangeArrowheads="1"/>
          </p:cNvSpPr>
          <p:nvPr>
            <p:ph type="body" idx="12"/>
          </p:nvPr>
        </p:nvSpPr>
        <p:spPr>
          <a:xfrm>
            <a:off x="306388" y="1885950"/>
            <a:ext cx="10180637" cy="4748213"/>
          </a:xfrm>
        </p:spPr>
        <p:txBody>
          <a:bodyPr/>
          <a:lstStyle/>
          <a:p>
            <a:pPr defTabSz="284163" eaLnBrk="1" hangingPunct="1">
              <a:spcBef>
                <a:spcPct val="0"/>
              </a:spcBef>
              <a:spcAft>
                <a:spcPct val="0"/>
              </a:spcAft>
            </a:pPr>
            <a:r>
              <a:rPr lang="de-CH" altLang="de-DE" dirty="0">
                <a:cs typeface="Aharoni" panose="020F0502020204030204" pitchFamily="2" charset="-79"/>
              </a:rPr>
              <a:t>Hervorhebung </a:t>
            </a:r>
          </a:p>
          <a:p>
            <a:pPr defTabSz="284163" eaLnBrk="1" hangingPunct="1">
              <a:spcBef>
                <a:spcPct val="0"/>
              </a:spcBef>
              <a:spcAft>
                <a:spcPct val="0"/>
              </a:spcAft>
            </a:pPr>
            <a:r>
              <a:rPr lang="de-CH" altLang="de-DE" dirty="0">
                <a:cs typeface="Aharoni" panose="020F0502020204030204" pitchFamily="2" charset="-79"/>
              </a:rPr>
              <a:t>z. B. mit Züriblau 600</a:t>
            </a:r>
          </a:p>
        </p:txBody>
      </p:sp>
      <p:sp>
        <p:nvSpPr>
          <p:cNvPr id="111630" name="Textfeld 8">
            <a:extLst>
              <a:ext uri="{FF2B5EF4-FFF2-40B4-BE49-F238E27FC236}">
                <a16:creationId xmlns:a16="http://schemas.microsoft.com/office/drawing/2014/main" id="{1308BC6F-AAEE-7AD7-2AE9-67DD2677E333}"/>
              </a:ext>
            </a:extLst>
          </p:cNvPr>
          <p:cNvSpPr txBox="1">
            <a:spLocks noChangeArrowheads="1"/>
          </p:cNvSpPr>
          <p:nvPr/>
        </p:nvSpPr>
        <p:spPr bwMode="auto">
          <a:xfrm>
            <a:off x="-1511300" y="44069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20" name="Textfeld 19">
            <a:extLst>
              <a:ext uri="{FF2B5EF4-FFF2-40B4-BE49-F238E27FC236}">
                <a16:creationId xmlns:a16="http://schemas.microsoft.com/office/drawing/2014/main" id="{12A235FC-7152-3FD3-C10B-8C1C40DE4089}"/>
              </a:ext>
            </a:extLst>
          </p:cNvPr>
          <p:cNvSpPr txBox="1"/>
          <p:nvPr/>
        </p:nvSpPr>
        <p:spPr>
          <a:xfrm>
            <a:off x="8588375" y="5589588"/>
            <a:ext cx="1592263" cy="395287"/>
          </a:xfrm>
          <a:prstGeom prst="rect">
            <a:avLst/>
          </a:prstGeom>
        </p:spPr>
        <p:style>
          <a:lnRef idx="0">
            <a:scrgbClr r="0" g="0" b="0"/>
          </a:lnRef>
          <a:fillRef idx="0">
            <a:scrgbClr r="0" g="0" b="0"/>
          </a:fillRef>
          <a:effectRef idx="0">
            <a:scrgbClr r="0" g="0" b="0"/>
          </a:effectRef>
          <a:fontRef idx="minor">
            <a:schemeClr val="lt1"/>
          </a:fontRef>
        </p:style>
        <p:txBody>
          <a:bodyPr lIns="0" tIns="0" rIns="0" bIns="0" spcCol="1270"/>
          <a:lstStyle/>
          <a:p>
            <a:pPr marL="0" lvl="1" indent="0" defTabSz="622300" eaLnBrk="1" hangingPunct="1">
              <a:spcAft>
                <a:spcPts val="0"/>
              </a:spcAft>
              <a:defRPr/>
            </a:pPr>
            <a:r>
              <a:rPr lang="de-CH" sz="1600" dirty="0">
                <a:solidFill>
                  <a:srgbClr val="003CB4"/>
                </a:solidFill>
              </a:rPr>
              <a:t>Lorem ipsum dolor sit amet</a:t>
            </a:r>
          </a:p>
        </p:txBody>
      </p:sp>
      <p:sp>
        <p:nvSpPr>
          <p:cNvPr id="6" name="Textfeld 5">
            <a:extLst>
              <a:ext uri="{FF2B5EF4-FFF2-40B4-BE49-F238E27FC236}">
                <a16:creationId xmlns:a16="http://schemas.microsoft.com/office/drawing/2014/main" id="{75653C27-B33F-F1B7-E5FD-5569F38C0746}"/>
              </a:ext>
            </a:extLst>
          </p:cNvPr>
          <p:cNvSpPr txBox="1"/>
          <p:nvPr/>
        </p:nvSpPr>
        <p:spPr>
          <a:xfrm>
            <a:off x="2063750" y="3930650"/>
            <a:ext cx="1241425" cy="395288"/>
          </a:xfrm>
          <a:prstGeom prst="rect">
            <a:avLst/>
          </a:prstGeom>
        </p:spPr>
        <p:style>
          <a:lnRef idx="0">
            <a:scrgbClr r="0" g="0" b="0"/>
          </a:lnRef>
          <a:fillRef idx="0">
            <a:scrgbClr r="0" g="0" b="0"/>
          </a:fillRef>
          <a:effectRef idx="0">
            <a:scrgbClr r="0" g="0" b="0"/>
          </a:effectRef>
          <a:fontRef idx="minor">
            <a:schemeClr val="lt1"/>
          </a:fontRef>
        </p:style>
        <p:txBody>
          <a:bodyPr lIns="0" tIns="0" rIns="0" bIns="0" spcCol="1270"/>
          <a:lstStyle/>
          <a:p>
            <a:pPr marL="0" lvl="1" indent="0" defTabSz="622300" eaLnBrk="1" hangingPunct="1">
              <a:spcAft>
                <a:spcPts val="0"/>
              </a:spcAft>
              <a:defRPr/>
            </a:pPr>
            <a:r>
              <a:rPr lang="de-CH" sz="1600" dirty="0">
                <a:solidFill>
                  <a:srgbClr val="003CB4"/>
                </a:solidFill>
              </a:rPr>
              <a:t>Lorem ipsum dolor sit amet</a:t>
            </a:r>
          </a:p>
        </p:txBody>
      </p:sp>
      <p:sp>
        <p:nvSpPr>
          <p:cNvPr id="8" name="Textfeld 7">
            <a:extLst>
              <a:ext uri="{FF2B5EF4-FFF2-40B4-BE49-F238E27FC236}">
                <a16:creationId xmlns:a16="http://schemas.microsoft.com/office/drawing/2014/main" id="{F6CCFBE4-58A6-FDED-469D-EBD5347704D1}"/>
              </a:ext>
            </a:extLst>
          </p:cNvPr>
          <p:cNvSpPr txBox="1"/>
          <p:nvPr/>
        </p:nvSpPr>
        <p:spPr>
          <a:xfrm>
            <a:off x="8588375" y="1931988"/>
            <a:ext cx="1592263" cy="395287"/>
          </a:xfrm>
          <a:prstGeom prst="rect">
            <a:avLst/>
          </a:prstGeom>
        </p:spPr>
        <p:style>
          <a:lnRef idx="0">
            <a:scrgbClr r="0" g="0" b="0"/>
          </a:lnRef>
          <a:fillRef idx="0">
            <a:scrgbClr r="0" g="0" b="0"/>
          </a:fillRef>
          <a:effectRef idx="0">
            <a:scrgbClr r="0" g="0" b="0"/>
          </a:effectRef>
          <a:fontRef idx="minor">
            <a:schemeClr val="lt1"/>
          </a:fontRef>
        </p:style>
        <p:txBody>
          <a:bodyPr lIns="0" tIns="0" rIns="0" bIns="0" spcCol="1270"/>
          <a:lstStyle/>
          <a:p>
            <a:pPr marL="0" lvl="1" indent="0" defTabSz="622300" eaLnBrk="1" hangingPunct="1">
              <a:spcAft>
                <a:spcPts val="0"/>
              </a:spcAft>
              <a:defRPr/>
            </a:pPr>
            <a:r>
              <a:rPr lang="de-CH" sz="1600" dirty="0">
                <a:solidFill>
                  <a:srgbClr val="003CB4"/>
                </a:solidFill>
              </a:rPr>
              <a:t>Lorem ipsum dolor sit amet</a:t>
            </a:r>
          </a:p>
        </p:txBody>
      </p:sp>
      <p:sp>
        <p:nvSpPr>
          <p:cNvPr id="26" name="Textfeld 25">
            <a:extLst>
              <a:ext uri="{FF2B5EF4-FFF2-40B4-BE49-F238E27FC236}">
                <a16:creationId xmlns:a16="http://schemas.microsoft.com/office/drawing/2014/main" id="{418A09B5-AB5D-A712-ADF8-13757E22116B}"/>
              </a:ext>
            </a:extLst>
          </p:cNvPr>
          <p:cNvSpPr txBox="1"/>
          <p:nvPr/>
        </p:nvSpPr>
        <p:spPr>
          <a:xfrm>
            <a:off x="2987675" y="5589588"/>
            <a:ext cx="1239838" cy="395287"/>
          </a:xfrm>
          <a:prstGeom prst="rect">
            <a:avLst/>
          </a:prstGeom>
        </p:spPr>
        <p:style>
          <a:lnRef idx="0">
            <a:scrgbClr r="0" g="0" b="0"/>
          </a:lnRef>
          <a:fillRef idx="0">
            <a:scrgbClr r="0" g="0" b="0"/>
          </a:fillRef>
          <a:effectRef idx="0">
            <a:scrgbClr r="0" g="0" b="0"/>
          </a:effectRef>
          <a:fontRef idx="minor">
            <a:schemeClr val="lt1"/>
          </a:fontRef>
        </p:style>
        <p:txBody>
          <a:bodyPr lIns="0" tIns="0" rIns="0" bIns="0" spcCol="1270"/>
          <a:lstStyle/>
          <a:p>
            <a:pPr marL="0" lvl="1" indent="0" defTabSz="622300" eaLnBrk="1" hangingPunct="1">
              <a:spcAft>
                <a:spcPts val="0"/>
              </a:spcAft>
              <a:defRPr/>
            </a:pPr>
            <a:r>
              <a:rPr lang="de-CH" sz="1600" dirty="0">
                <a:solidFill>
                  <a:srgbClr val="003CB4"/>
                </a:solidFill>
              </a:rPr>
              <a:t>Lorem ipsum dolor sit amet</a:t>
            </a:r>
          </a:p>
        </p:txBody>
      </p:sp>
      <p:sp>
        <p:nvSpPr>
          <p:cNvPr id="27" name="Textfeld 26">
            <a:extLst>
              <a:ext uri="{FF2B5EF4-FFF2-40B4-BE49-F238E27FC236}">
                <a16:creationId xmlns:a16="http://schemas.microsoft.com/office/drawing/2014/main" id="{02F16B6E-C9DD-755F-1F31-B94AC43D8986}"/>
              </a:ext>
            </a:extLst>
          </p:cNvPr>
          <p:cNvSpPr txBox="1"/>
          <p:nvPr/>
        </p:nvSpPr>
        <p:spPr>
          <a:xfrm>
            <a:off x="2987675" y="1931988"/>
            <a:ext cx="1239838" cy="395287"/>
          </a:xfrm>
          <a:prstGeom prst="rect">
            <a:avLst/>
          </a:prstGeom>
        </p:spPr>
        <p:style>
          <a:lnRef idx="0">
            <a:scrgbClr r="0" g="0" b="0"/>
          </a:lnRef>
          <a:fillRef idx="0">
            <a:scrgbClr r="0" g="0" b="0"/>
          </a:fillRef>
          <a:effectRef idx="0">
            <a:scrgbClr r="0" g="0" b="0"/>
          </a:effectRef>
          <a:fontRef idx="minor">
            <a:schemeClr val="lt1"/>
          </a:fontRef>
        </p:style>
        <p:txBody>
          <a:bodyPr lIns="0" tIns="0" rIns="0" bIns="0" spcCol="1270"/>
          <a:lstStyle/>
          <a:p>
            <a:pPr marL="0" lvl="1" indent="0" defTabSz="622300" eaLnBrk="1" hangingPunct="1">
              <a:spcAft>
                <a:spcPts val="0"/>
              </a:spcAft>
              <a:defRPr/>
            </a:pPr>
            <a:r>
              <a:rPr lang="de-CH" sz="1600" dirty="0">
                <a:solidFill>
                  <a:srgbClr val="003CB4"/>
                </a:solidFill>
              </a:rPr>
              <a:t>Lorem ipsum dolor sit amet</a:t>
            </a:r>
          </a:p>
        </p:txBody>
      </p:sp>
      <p:sp>
        <p:nvSpPr>
          <p:cNvPr id="28" name="Textfeld 27">
            <a:extLst>
              <a:ext uri="{FF2B5EF4-FFF2-40B4-BE49-F238E27FC236}">
                <a16:creationId xmlns:a16="http://schemas.microsoft.com/office/drawing/2014/main" id="{7576558A-E760-E07D-1949-808B22C2D965}"/>
              </a:ext>
            </a:extLst>
          </p:cNvPr>
          <p:cNvSpPr txBox="1"/>
          <p:nvPr/>
        </p:nvSpPr>
        <p:spPr>
          <a:xfrm>
            <a:off x="9566275" y="3930650"/>
            <a:ext cx="1592263" cy="395288"/>
          </a:xfrm>
          <a:prstGeom prst="rect">
            <a:avLst/>
          </a:prstGeom>
        </p:spPr>
        <p:style>
          <a:lnRef idx="0">
            <a:scrgbClr r="0" g="0" b="0"/>
          </a:lnRef>
          <a:fillRef idx="0">
            <a:scrgbClr r="0" g="0" b="0"/>
          </a:fillRef>
          <a:effectRef idx="0">
            <a:scrgbClr r="0" g="0" b="0"/>
          </a:effectRef>
          <a:fontRef idx="minor">
            <a:schemeClr val="lt1"/>
          </a:fontRef>
        </p:style>
        <p:txBody>
          <a:bodyPr lIns="0" tIns="0" rIns="0" bIns="0" spcCol="1270"/>
          <a:lstStyle/>
          <a:p>
            <a:pPr marL="0" lvl="1" indent="0" defTabSz="622300" eaLnBrk="1" hangingPunct="1">
              <a:spcAft>
                <a:spcPts val="0"/>
              </a:spcAft>
              <a:defRPr/>
            </a:pPr>
            <a:r>
              <a:rPr lang="de-CH" sz="1600" dirty="0">
                <a:solidFill>
                  <a:srgbClr val="003CB4"/>
                </a:solidFill>
              </a:rPr>
              <a:t>Lorem ipsum dolor sit amet</a:t>
            </a:r>
          </a:p>
        </p:txBody>
      </p:sp>
      <p:sp>
        <p:nvSpPr>
          <p:cNvPr id="3" name="Freihandform: Form 2">
            <a:extLst>
              <a:ext uri="{FF2B5EF4-FFF2-40B4-BE49-F238E27FC236}">
                <a16:creationId xmlns:a16="http://schemas.microsoft.com/office/drawing/2014/main" id="{8D67FF7E-67C5-B71E-77CA-699FFAD3831B}"/>
              </a:ext>
            </a:extLst>
          </p:cNvPr>
          <p:cNvSpPr/>
          <p:nvPr/>
        </p:nvSpPr>
        <p:spPr>
          <a:xfrm>
            <a:off x="4465113" y="2060927"/>
            <a:ext cx="3925423" cy="3925423"/>
          </a:xfrm>
          <a:custGeom>
            <a:avLst/>
            <a:gdLst>
              <a:gd name="connsiteX0" fmla="*/ 0 w 3169256"/>
              <a:gd name="connsiteY0" fmla="*/ 1584628 h 3169256"/>
              <a:gd name="connsiteX1" fmla="*/ 1584628 w 3169256"/>
              <a:gd name="connsiteY1" fmla="*/ 0 h 3169256"/>
              <a:gd name="connsiteX2" fmla="*/ 3169256 w 3169256"/>
              <a:gd name="connsiteY2" fmla="*/ 1584628 h 3169256"/>
              <a:gd name="connsiteX3" fmla="*/ 1584628 w 3169256"/>
              <a:gd name="connsiteY3" fmla="*/ 3169256 h 3169256"/>
              <a:gd name="connsiteX4" fmla="*/ 0 w 3169256"/>
              <a:gd name="connsiteY4" fmla="*/ 1584628 h 3169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9256" h="3169256">
                <a:moveTo>
                  <a:pt x="0" y="1584628"/>
                </a:moveTo>
                <a:cubicBezTo>
                  <a:pt x="0" y="709462"/>
                  <a:pt x="709462" y="0"/>
                  <a:pt x="1584628" y="0"/>
                </a:cubicBezTo>
                <a:cubicBezTo>
                  <a:pt x="2459794" y="0"/>
                  <a:pt x="3169256" y="709462"/>
                  <a:pt x="3169256" y="1584628"/>
                </a:cubicBezTo>
                <a:cubicBezTo>
                  <a:pt x="3169256" y="2459794"/>
                  <a:pt x="2459794" y="3169256"/>
                  <a:pt x="1584628" y="3169256"/>
                </a:cubicBezTo>
                <a:cubicBezTo>
                  <a:pt x="709462" y="3169256"/>
                  <a:pt x="0" y="2459794"/>
                  <a:pt x="0" y="1584628"/>
                </a:cubicBezTo>
                <a:close/>
              </a:path>
            </a:pathLst>
          </a:custGeom>
          <a:noFill/>
          <a:ln w="38100">
            <a:solidFill>
              <a:srgbClr val="003CB4"/>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596521" tIns="596521" rIns="596521" bIns="596521" numCol="1" spcCol="1270" anchor="ctr" anchorCtr="0">
            <a:noAutofit/>
          </a:bodyPr>
          <a:lstStyle/>
          <a:p>
            <a:pPr algn="ctr" defTabSz="2889250">
              <a:spcBef>
                <a:spcPct val="0"/>
              </a:spcBef>
              <a:spcAft>
                <a:spcPts val="0"/>
              </a:spcAft>
            </a:pPr>
            <a:endParaRPr lang="de-CH" sz="6500" dirty="0">
              <a:latin typeface="Frutiger for ZKB Light" panose="020B0303030504020204" pitchFamily="34" charset="0"/>
            </a:endParaRPr>
          </a:p>
        </p:txBody>
      </p:sp>
      <p:sp>
        <p:nvSpPr>
          <p:cNvPr id="4" name="Freihandform: Form 3">
            <a:extLst>
              <a:ext uri="{FF2B5EF4-FFF2-40B4-BE49-F238E27FC236}">
                <a16:creationId xmlns:a16="http://schemas.microsoft.com/office/drawing/2014/main" id="{3909C083-DA12-B217-26B6-51BC1F25088F}"/>
              </a:ext>
            </a:extLst>
          </p:cNvPr>
          <p:cNvSpPr/>
          <p:nvPr/>
        </p:nvSpPr>
        <p:spPr>
          <a:xfrm>
            <a:off x="3907507" y="3331506"/>
            <a:ext cx="1296144" cy="1296144"/>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07786" tIns="307786" rIns="307786" bIns="307786" numCol="1" spcCol="1270" anchor="ctr" anchorCtr="0">
            <a:noAutofit/>
          </a:bodyPr>
          <a:lstStyle/>
          <a:p>
            <a:pPr algn="ctr" defTabSz="1778000">
              <a:spcBef>
                <a:spcPct val="0"/>
              </a:spcBef>
              <a:spcAft>
                <a:spcPts val="0"/>
              </a:spcAft>
            </a:pPr>
            <a:endParaRPr lang="de-CH" sz="1800" dirty="0">
              <a:latin typeface="Frutiger for ZKB Light" panose="020B0303030504020204" pitchFamily="34" charset="0"/>
            </a:endParaRPr>
          </a:p>
        </p:txBody>
      </p:sp>
      <p:sp>
        <p:nvSpPr>
          <p:cNvPr id="5" name="Freihandform: Form 4">
            <a:extLst>
              <a:ext uri="{FF2B5EF4-FFF2-40B4-BE49-F238E27FC236}">
                <a16:creationId xmlns:a16="http://schemas.microsoft.com/office/drawing/2014/main" id="{C423DDA1-D78E-9013-5AD9-4D7D2F903AE8}"/>
              </a:ext>
            </a:extLst>
          </p:cNvPr>
          <p:cNvSpPr/>
          <p:nvPr/>
        </p:nvSpPr>
        <p:spPr>
          <a:xfrm>
            <a:off x="4771603" y="1599307"/>
            <a:ext cx="1296144" cy="1296144"/>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rgbClr val="003CB4"/>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07786" tIns="307786" rIns="307786" bIns="307786" numCol="1" spcCol="1270" anchor="ctr" anchorCtr="0">
            <a:noAutofit/>
          </a:bodyPr>
          <a:lstStyle/>
          <a:p>
            <a:pPr algn="ctr" defTabSz="1778000">
              <a:spcBef>
                <a:spcPct val="0"/>
              </a:spcBef>
              <a:spcAft>
                <a:spcPts val="0"/>
              </a:spcAft>
            </a:pPr>
            <a:endParaRPr lang="de-CH" sz="1800" dirty="0">
              <a:latin typeface="Frutiger for ZKB Light" panose="020B0303030504020204" pitchFamily="34" charset="0"/>
            </a:endParaRPr>
          </a:p>
        </p:txBody>
      </p:sp>
      <p:sp>
        <p:nvSpPr>
          <p:cNvPr id="7" name="Freihandform: Form 6">
            <a:extLst>
              <a:ext uri="{FF2B5EF4-FFF2-40B4-BE49-F238E27FC236}">
                <a16:creationId xmlns:a16="http://schemas.microsoft.com/office/drawing/2014/main" id="{B9151DF7-B40F-79D3-8A50-35716687987C}"/>
              </a:ext>
            </a:extLst>
          </p:cNvPr>
          <p:cNvSpPr/>
          <p:nvPr/>
        </p:nvSpPr>
        <p:spPr>
          <a:xfrm>
            <a:off x="4843611" y="5127699"/>
            <a:ext cx="1296144" cy="1296144"/>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07786" tIns="307786" rIns="307786" bIns="307786" numCol="1" spcCol="1270" anchor="ctr" anchorCtr="0">
            <a:noAutofit/>
          </a:bodyPr>
          <a:lstStyle/>
          <a:p>
            <a:pPr algn="ctr" defTabSz="1778000">
              <a:spcBef>
                <a:spcPct val="0"/>
              </a:spcBef>
              <a:spcAft>
                <a:spcPts val="0"/>
              </a:spcAft>
            </a:pPr>
            <a:endParaRPr lang="de-CH" sz="1800" dirty="0">
              <a:latin typeface="Frutiger for ZKB Light" panose="020B0303030504020204" pitchFamily="34" charset="0"/>
            </a:endParaRPr>
          </a:p>
        </p:txBody>
      </p:sp>
      <p:sp>
        <p:nvSpPr>
          <p:cNvPr id="9" name="Freihandform: Form 8">
            <a:extLst>
              <a:ext uri="{FF2B5EF4-FFF2-40B4-BE49-F238E27FC236}">
                <a16:creationId xmlns:a16="http://schemas.microsoft.com/office/drawing/2014/main" id="{04536331-2441-25BA-C674-C1FF86BA680A}"/>
              </a:ext>
            </a:extLst>
          </p:cNvPr>
          <p:cNvSpPr/>
          <p:nvPr/>
        </p:nvSpPr>
        <p:spPr>
          <a:xfrm>
            <a:off x="7651923" y="3331506"/>
            <a:ext cx="1296144" cy="1296144"/>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07786" tIns="307786" rIns="307786" bIns="307786" numCol="1" spcCol="1270" anchor="ctr" anchorCtr="0">
            <a:noAutofit/>
          </a:bodyPr>
          <a:lstStyle/>
          <a:p>
            <a:pPr algn="ctr" defTabSz="1778000">
              <a:spcBef>
                <a:spcPct val="0"/>
              </a:spcBef>
              <a:spcAft>
                <a:spcPts val="0"/>
              </a:spcAft>
            </a:pPr>
            <a:endParaRPr lang="de-CH" sz="1800" dirty="0">
              <a:latin typeface="Frutiger for ZKB Light" panose="020B0303030504020204" pitchFamily="34" charset="0"/>
            </a:endParaRPr>
          </a:p>
        </p:txBody>
      </p:sp>
      <p:sp>
        <p:nvSpPr>
          <p:cNvPr id="10" name="Freihandform: Form 9">
            <a:extLst>
              <a:ext uri="{FF2B5EF4-FFF2-40B4-BE49-F238E27FC236}">
                <a16:creationId xmlns:a16="http://schemas.microsoft.com/office/drawing/2014/main" id="{64A33ADF-B47A-33F9-FF40-EBF64EA813E7}"/>
              </a:ext>
            </a:extLst>
          </p:cNvPr>
          <p:cNvSpPr/>
          <p:nvPr/>
        </p:nvSpPr>
        <p:spPr>
          <a:xfrm>
            <a:off x="6730891" y="1596678"/>
            <a:ext cx="1296144" cy="1296144"/>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07786" tIns="307786" rIns="307786" bIns="307786" numCol="1" spcCol="1270" anchor="ctr" anchorCtr="0">
            <a:noAutofit/>
          </a:bodyPr>
          <a:lstStyle/>
          <a:p>
            <a:pPr algn="ctr" defTabSz="1778000">
              <a:spcBef>
                <a:spcPct val="0"/>
              </a:spcBef>
              <a:spcAft>
                <a:spcPts val="0"/>
              </a:spcAft>
            </a:pPr>
            <a:endParaRPr lang="de-CH" sz="1800" dirty="0">
              <a:latin typeface="Frutiger for ZKB Light" panose="020B0303030504020204" pitchFamily="34" charset="0"/>
            </a:endParaRPr>
          </a:p>
        </p:txBody>
      </p:sp>
      <p:sp>
        <p:nvSpPr>
          <p:cNvPr id="17" name="Freihandform: Form 16">
            <a:extLst>
              <a:ext uri="{FF2B5EF4-FFF2-40B4-BE49-F238E27FC236}">
                <a16:creationId xmlns:a16="http://schemas.microsoft.com/office/drawing/2014/main" id="{6DED9E33-805E-02EF-91ED-B8B611183EDB}"/>
              </a:ext>
            </a:extLst>
          </p:cNvPr>
          <p:cNvSpPr/>
          <p:nvPr/>
        </p:nvSpPr>
        <p:spPr>
          <a:xfrm>
            <a:off x="6730891" y="5096890"/>
            <a:ext cx="1296144" cy="1296144"/>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07786" tIns="307786" rIns="307786" bIns="307786" numCol="1" spcCol="1270" anchor="ctr" anchorCtr="0">
            <a:noAutofit/>
          </a:bodyPr>
          <a:lstStyle/>
          <a:p>
            <a:pPr algn="ctr" defTabSz="1778000">
              <a:spcBef>
                <a:spcPct val="0"/>
              </a:spcBef>
              <a:spcAft>
                <a:spcPts val="0"/>
              </a:spcAft>
            </a:pPr>
            <a:endParaRPr lang="de-CH" sz="1800" dirty="0">
              <a:latin typeface="Frutiger for ZKB Light" panose="020B0303030504020204" pitchFamily="34" charset="0"/>
            </a:endParaRPr>
          </a:p>
        </p:txBody>
      </p:sp>
      <p:pic>
        <p:nvPicPr>
          <p:cNvPr id="18" name="Grafik 17">
            <a:extLst>
              <a:ext uri="{FF2B5EF4-FFF2-40B4-BE49-F238E27FC236}">
                <a16:creationId xmlns:a16="http://schemas.microsoft.com/office/drawing/2014/main" id="{84E3836E-A839-8DCD-ABB0-B25B7F9B8DD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7003851" y="1923363"/>
            <a:ext cx="684056" cy="684056"/>
          </a:xfrm>
          <a:prstGeom prst="rect">
            <a:avLst/>
          </a:prstGeom>
        </p:spPr>
      </p:pic>
      <p:pic>
        <p:nvPicPr>
          <p:cNvPr id="19" name="Grafik 18">
            <a:extLst>
              <a:ext uri="{FF2B5EF4-FFF2-40B4-BE49-F238E27FC236}">
                <a16:creationId xmlns:a16="http://schemas.microsoft.com/office/drawing/2014/main" id="{1967720E-D99D-5FE2-D43F-2F6E33A39C6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7957966" y="3636827"/>
            <a:ext cx="684057" cy="684057"/>
          </a:xfrm>
          <a:prstGeom prst="rect">
            <a:avLst/>
          </a:prstGeom>
        </p:spPr>
      </p:pic>
      <p:pic>
        <p:nvPicPr>
          <p:cNvPr id="21" name="Grafik 20">
            <a:extLst>
              <a:ext uri="{FF2B5EF4-FFF2-40B4-BE49-F238E27FC236}">
                <a16:creationId xmlns:a16="http://schemas.microsoft.com/office/drawing/2014/main" id="{A7185686-B9AA-D0E7-285B-A703C3F97B3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4213551" y="3637550"/>
            <a:ext cx="684056" cy="684056"/>
          </a:xfrm>
          <a:prstGeom prst="rect">
            <a:avLst/>
          </a:prstGeom>
        </p:spPr>
      </p:pic>
      <p:pic>
        <p:nvPicPr>
          <p:cNvPr id="22" name="Grafik 21">
            <a:extLst>
              <a:ext uri="{FF2B5EF4-FFF2-40B4-BE49-F238E27FC236}">
                <a16:creationId xmlns:a16="http://schemas.microsoft.com/office/drawing/2014/main" id="{E6BA6141-5AFF-ECCD-8C2D-95B8ED03008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149059" y="5433147"/>
            <a:ext cx="685248" cy="685248"/>
          </a:xfrm>
          <a:prstGeom prst="rect">
            <a:avLst/>
          </a:prstGeom>
        </p:spPr>
      </p:pic>
      <p:pic>
        <p:nvPicPr>
          <p:cNvPr id="23" name="Grafik 22">
            <a:extLst>
              <a:ext uri="{FF2B5EF4-FFF2-40B4-BE49-F238E27FC236}">
                <a16:creationId xmlns:a16="http://schemas.microsoft.com/office/drawing/2014/main" id="{384BEBC1-62B2-6930-A031-BF4F837883F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032131" y="5433743"/>
            <a:ext cx="684056" cy="684056"/>
          </a:xfrm>
          <a:prstGeom prst="rect">
            <a:avLst/>
          </a:prstGeom>
        </p:spPr>
      </p:pic>
      <p:pic>
        <p:nvPicPr>
          <p:cNvPr id="24" name="Grafik 23">
            <a:extLst>
              <a:ext uri="{FF2B5EF4-FFF2-40B4-BE49-F238E27FC236}">
                <a16:creationId xmlns:a16="http://schemas.microsoft.com/office/drawing/2014/main" id="{ACC0F0DA-29A9-6910-1120-C26A950835D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077647" y="1905351"/>
            <a:ext cx="684056" cy="684056"/>
          </a:xfrm>
          <a:prstGeom prst="rect">
            <a:avLst/>
          </a:prstGeom>
        </p:spPr>
      </p:pic>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42" name="think-cell data - do not delete" hidden="1">
            <a:extLst>
              <a:ext uri="{FF2B5EF4-FFF2-40B4-BE49-F238E27FC236}">
                <a16:creationId xmlns:a16="http://schemas.microsoft.com/office/drawing/2014/main" id="{9E9CA404-1EEE-96CC-BBAB-A0D88591208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12642" name="think-cell data - do not delete" hidden="1">
                        <a:extLst>
                          <a:ext uri="{FF2B5EF4-FFF2-40B4-BE49-F238E27FC236}">
                            <a16:creationId xmlns:a16="http://schemas.microsoft.com/office/drawing/2014/main" id="{9E9CA404-1EEE-96CC-BBAB-A0D8859120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643" name="Titel 1">
            <a:extLst>
              <a:ext uri="{FF2B5EF4-FFF2-40B4-BE49-F238E27FC236}">
                <a16:creationId xmlns:a16="http://schemas.microsoft.com/office/drawing/2014/main" id="{39D7BECB-B92B-C57D-DBF9-BB5DA94C4E4A}"/>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Zyklus – einfacher Kreis, 3-teilig</a:t>
            </a:r>
          </a:p>
        </p:txBody>
      </p:sp>
      <p:sp>
        <p:nvSpPr>
          <p:cNvPr id="112644" name="Foliennummernplatzhalter 19">
            <a:extLst>
              <a:ext uri="{FF2B5EF4-FFF2-40B4-BE49-F238E27FC236}">
                <a16:creationId xmlns:a16="http://schemas.microsoft.com/office/drawing/2014/main" id="{82EACDE0-97A1-4E2E-5559-6A30B399ACE1}"/>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6420A9AF-627D-4979-BF35-9B1117DFE7F1}" type="slidenum">
              <a:rPr lang="de-CH" altLang="de-DE" sz="1100" smtClean="0">
                <a:solidFill>
                  <a:srgbClr val="003CB4"/>
                </a:solidFill>
                <a:latin typeface="Frutiger for ZKB Light" panose="020B0303030504020204" pitchFamily="34" charset="0"/>
              </a:rPr>
              <a:pPr>
                <a:spcBef>
                  <a:spcPct val="0"/>
                </a:spcBef>
                <a:spcAft>
                  <a:spcPct val="0"/>
                </a:spcAft>
              </a:pPr>
              <a:t>81</a:t>
            </a:fld>
            <a:endParaRPr lang="de-CH" altLang="de-DE" sz="1100" dirty="0">
              <a:solidFill>
                <a:srgbClr val="003CB4"/>
              </a:solidFill>
              <a:latin typeface="Frutiger for ZKB Light" panose="020B0303030504020204" pitchFamily="34" charset="0"/>
            </a:endParaRPr>
          </a:p>
        </p:txBody>
      </p:sp>
      <p:sp>
        <p:nvSpPr>
          <p:cNvPr id="112645" name="Fußzeilenplatzhalter 18">
            <a:extLst>
              <a:ext uri="{FF2B5EF4-FFF2-40B4-BE49-F238E27FC236}">
                <a16:creationId xmlns:a16="http://schemas.microsoft.com/office/drawing/2014/main" id="{26F2FBB2-F4A0-BD51-7D8F-EDA0714080E6}"/>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7" name="Freihandform: Form 6">
            <a:extLst>
              <a:ext uri="{FF2B5EF4-FFF2-40B4-BE49-F238E27FC236}">
                <a16:creationId xmlns:a16="http://schemas.microsoft.com/office/drawing/2014/main" id="{4E68BAA6-4543-AC5C-AD27-D82CFC0E8FAA}"/>
              </a:ext>
            </a:extLst>
          </p:cNvPr>
          <p:cNvSpPr/>
          <p:nvPr/>
        </p:nvSpPr>
        <p:spPr>
          <a:xfrm>
            <a:off x="4398963" y="2306638"/>
            <a:ext cx="4057650" cy="4059237"/>
          </a:xfrm>
          <a:custGeom>
            <a:avLst/>
            <a:gdLst>
              <a:gd name="connsiteX0" fmla="*/ 0 w 3509616"/>
              <a:gd name="connsiteY0" fmla="*/ 1754808 h 3509616"/>
              <a:gd name="connsiteX1" fmla="*/ 1754808 w 3509616"/>
              <a:gd name="connsiteY1" fmla="*/ 0 h 3509616"/>
              <a:gd name="connsiteX2" fmla="*/ 3509616 w 3509616"/>
              <a:gd name="connsiteY2" fmla="*/ 1754808 h 3509616"/>
              <a:gd name="connsiteX3" fmla="*/ 1754808 w 3509616"/>
              <a:gd name="connsiteY3" fmla="*/ 3509616 h 3509616"/>
              <a:gd name="connsiteX4" fmla="*/ 0 w 3509616"/>
              <a:gd name="connsiteY4" fmla="*/ 1754808 h 3509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9616" h="3509616">
                <a:moveTo>
                  <a:pt x="0" y="1754808"/>
                </a:moveTo>
                <a:cubicBezTo>
                  <a:pt x="0" y="785654"/>
                  <a:pt x="785654" y="0"/>
                  <a:pt x="1754808" y="0"/>
                </a:cubicBezTo>
                <a:cubicBezTo>
                  <a:pt x="2723962" y="0"/>
                  <a:pt x="3509616" y="785654"/>
                  <a:pt x="3509616" y="1754808"/>
                </a:cubicBezTo>
                <a:cubicBezTo>
                  <a:pt x="3509616" y="2723962"/>
                  <a:pt x="2723962" y="3509616"/>
                  <a:pt x="1754808" y="3509616"/>
                </a:cubicBezTo>
                <a:cubicBezTo>
                  <a:pt x="785654" y="3509616"/>
                  <a:pt x="0" y="2723962"/>
                  <a:pt x="0" y="1754808"/>
                </a:cubicBezTo>
                <a:close/>
              </a:path>
            </a:pathLst>
          </a:custGeom>
          <a:noFill/>
          <a:ln w="38100">
            <a:solidFill>
              <a:srgbClr val="003CB4"/>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596521" tIns="596521" rIns="596521" bIns="596521" spcCol="1270" anchor="ctr"/>
          <a:lstStyle/>
          <a:p>
            <a:pPr algn="ctr" defTabSz="2889250" eaLnBrk="1" hangingPunct="1">
              <a:spcBef>
                <a:spcPts val="0"/>
              </a:spcBef>
              <a:spcAft>
                <a:spcPts val="0"/>
              </a:spcAft>
              <a:defRPr/>
            </a:pPr>
            <a:endParaRPr lang="de-CH" sz="6500" dirty="0"/>
          </a:p>
        </p:txBody>
      </p:sp>
      <p:sp>
        <p:nvSpPr>
          <p:cNvPr id="8" name="Freihandform: Form 7">
            <a:extLst>
              <a:ext uri="{FF2B5EF4-FFF2-40B4-BE49-F238E27FC236}">
                <a16:creationId xmlns:a16="http://schemas.microsoft.com/office/drawing/2014/main" id="{EE8BD8CF-E4CA-0205-3C56-5D8EC3A42AD3}"/>
              </a:ext>
            </a:extLst>
          </p:cNvPr>
          <p:cNvSpPr/>
          <p:nvPr/>
        </p:nvSpPr>
        <p:spPr>
          <a:xfrm>
            <a:off x="5618163" y="1382713"/>
            <a:ext cx="1619250" cy="1620837"/>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rgbClr val="D2E6FE"/>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9" name="Freihandform: Form 8">
            <a:extLst>
              <a:ext uri="{FF2B5EF4-FFF2-40B4-BE49-F238E27FC236}">
                <a16:creationId xmlns:a16="http://schemas.microsoft.com/office/drawing/2014/main" id="{107DB8DD-FBCD-21C2-03C9-4169A4E4578C}"/>
              </a:ext>
            </a:extLst>
          </p:cNvPr>
          <p:cNvSpPr/>
          <p:nvPr/>
        </p:nvSpPr>
        <p:spPr>
          <a:xfrm>
            <a:off x="7561263" y="4908550"/>
            <a:ext cx="1620837" cy="1620838"/>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rgbClr val="D2E6FE"/>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0" name="Freihandform: Form 9">
            <a:extLst>
              <a:ext uri="{FF2B5EF4-FFF2-40B4-BE49-F238E27FC236}">
                <a16:creationId xmlns:a16="http://schemas.microsoft.com/office/drawing/2014/main" id="{AFEC1664-4FE7-FE22-9021-4504FC342292}"/>
              </a:ext>
            </a:extLst>
          </p:cNvPr>
          <p:cNvSpPr/>
          <p:nvPr/>
        </p:nvSpPr>
        <p:spPr>
          <a:xfrm>
            <a:off x="3673475" y="4908550"/>
            <a:ext cx="1620838" cy="1620838"/>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rgbClr val="D2E6FE"/>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12650" name="Textfeld 11">
            <a:extLst>
              <a:ext uri="{FF2B5EF4-FFF2-40B4-BE49-F238E27FC236}">
                <a16:creationId xmlns:a16="http://schemas.microsoft.com/office/drawing/2014/main" id="{AFC6CF6A-81DA-17C1-2B4E-4724682798B3}"/>
              </a:ext>
            </a:extLst>
          </p:cNvPr>
          <p:cNvSpPr txBox="1">
            <a:spLocks noChangeArrowheads="1"/>
          </p:cNvSpPr>
          <p:nvPr/>
        </p:nvSpPr>
        <p:spPr bwMode="auto">
          <a:xfrm>
            <a:off x="7580313" y="1671638"/>
            <a:ext cx="2990850" cy="719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2651" name="Textfeld 12">
            <a:extLst>
              <a:ext uri="{FF2B5EF4-FFF2-40B4-BE49-F238E27FC236}">
                <a16:creationId xmlns:a16="http://schemas.microsoft.com/office/drawing/2014/main" id="{B7F4F829-5DB9-44EF-629A-A1CDBE40206F}"/>
              </a:ext>
            </a:extLst>
          </p:cNvPr>
          <p:cNvSpPr txBox="1">
            <a:spLocks noChangeArrowheads="1"/>
          </p:cNvSpPr>
          <p:nvPr/>
        </p:nvSpPr>
        <p:spPr bwMode="auto">
          <a:xfrm>
            <a:off x="9569450" y="5435600"/>
            <a:ext cx="2990850" cy="719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a:t>
            </a:r>
          </a:p>
        </p:txBody>
      </p:sp>
      <p:sp>
        <p:nvSpPr>
          <p:cNvPr id="112652" name="Textfeld 13">
            <a:extLst>
              <a:ext uri="{FF2B5EF4-FFF2-40B4-BE49-F238E27FC236}">
                <a16:creationId xmlns:a16="http://schemas.microsoft.com/office/drawing/2014/main" id="{4F4E73B5-18B8-044D-87A9-E8E293AD48D0}"/>
              </a:ext>
            </a:extLst>
          </p:cNvPr>
          <p:cNvSpPr txBox="1">
            <a:spLocks noChangeArrowheads="1"/>
          </p:cNvSpPr>
          <p:nvPr/>
        </p:nvSpPr>
        <p:spPr bwMode="auto">
          <a:xfrm>
            <a:off x="1404938" y="5435600"/>
            <a:ext cx="2074862" cy="719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a:t>
            </a:r>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3666" name="think-cell data - do not delete" hidden="1">
            <a:extLst>
              <a:ext uri="{FF2B5EF4-FFF2-40B4-BE49-F238E27FC236}">
                <a16:creationId xmlns:a16="http://schemas.microsoft.com/office/drawing/2014/main" id="{FB5CC470-D98B-10B4-3F32-CEFC13A903D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13666" name="think-cell data - do not delete" hidden="1">
                        <a:extLst>
                          <a:ext uri="{FF2B5EF4-FFF2-40B4-BE49-F238E27FC236}">
                            <a16:creationId xmlns:a16="http://schemas.microsoft.com/office/drawing/2014/main" id="{FB5CC470-D98B-10B4-3F32-CEFC13A903D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3667" name="Titel 1">
            <a:extLst>
              <a:ext uri="{FF2B5EF4-FFF2-40B4-BE49-F238E27FC236}">
                <a16:creationId xmlns:a16="http://schemas.microsoft.com/office/drawing/2014/main" id="{B0B9A3A8-D92C-908F-28DC-C8FC3F7456C7}"/>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Zyklus – einfacher Kreis, 4-teilig</a:t>
            </a:r>
          </a:p>
        </p:txBody>
      </p:sp>
      <p:sp>
        <p:nvSpPr>
          <p:cNvPr id="113668" name="Foliennummernplatzhalter 19">
            <a:extLst>
              <a:ext uri="{FF2B5EF4-FFF2-40B4-BE49-F238E27FC236}">
                <a16:creationId xmlns:a16="http://schemas.microsoft.com/office/drawing/2014/main" id="{65693E96-7582-541B-BA2E-AFF40A747C34}"/>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303E4321-232D-4BDB-B9E3-C2D869DEE51A}" type="slidenum">
              <a:rPr lang="de-CH" altLang="de-DE" sz="1100" smtClean="0">
                <a:solidFill>
                  <a:srgbClr val="003CB4"/>
                </a:solidFill>
                <a:latin typeface="Frutiger for ZKB Light" panose="020B0303030504020204" pitchFamily="34" charset="0"/>
              </a:rPr>
              <a:pPr>
                <a:spcBef>
                  <a:spcPct val="0"/>
                </a:spcBef>
                <a:spcAft>
                  <a:spcPct val="0"/>
                </a:spcAft>
              </a:pPr>
              <a:t>82</a:t>
            </a:fld>
            <a:endParaRPr lang="de-CH" altLang="de-DE" sz="1100" dirty="0">
              <a:solidFill>
                <a:srgbClr val="003CB4"/>
              </a:solidFill>
              <a:latin typeface="Frutiger for ZKB Light" panose="020B0303030504020204" pitchFamily="34" charset="0"/>
            </a:endParaRPr>
          </a:p>
        </p:txBody>
      </p:sp>
      <p:sp>
        <p:nvSpPr>
          <p:cNvPr id="113669" name="Fußzeilenplatzhalter 18">
            <a:extLst>
              <a:ext uri="{FF2B5EF4-FFF2-40B4-BE49-F238E27FC236}">
                <a16:creationId xmlns:a16="http://schemas.microsoft.com/office/drawing/2014/main" id="{FA2F26FC-7A1C-6E46-206D-D85016192B6E}"/>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7" name="Freihandform: Form 6">
            <a:extLst>
              <a:ext uri="{FF2B5EF4-FFF2-40B4-BE49-F238E27FC236}">
                <a16:creationId xmlns:a16="http://schemas.microsoft.com/office/drawing/2014/main" id="{67809E28-30BA-04D2-F878-121782D7737D}"/>
              </a:ext>
            </a:extLst>
          </p:cNvPr>
          <p:cNvSpPr/>
          <p:nvPr/>
        </p:nvSpPr>
        <p:spPr>
          <a:xfrm>
            <a:off x="4262438" y="2063750"/>
            <a:ext cx="4059237" cy="4057650"/>
          </a:xfrm>
          <a:custGeom>
            <a:avLst/>
            <a:gdLst>
              <a:gd name="connsiteX0" fmla="*/ 0 w 3509616"/>
              <a:gd name="connsiteY0" fmla="*/ 1754808 h 3509616"/>
              <a:gd name="connsiteX1" fmla="*/ 1754808 w 3509616"/>
              <a:gd name="connsiteY1" fmla="*/ 0 h 3509616"/>
              <a:gd name="connsiteX2" fmla="*/ 3509616 w 3509616"/>
              <a:gd name="connsiteY2" fmla="*/ 1754808 h 3509616"/>
              <a:gd name="connsiteX3" fmla="*/ 1754808 w 3509616"/>
              <a:gd name="connsiteY3" fmla="*/ 3509616 h 3509616"/>
              <a:gd name="connsiteX4" fmla="*/ 0 w 3509616"/>
              <a:gd name="connsiteY4" fmla="*/ 1754808 h 3509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9616" h="3509616">
                <a:moveTo>
                  <a:pt x="0" y="1754808"/>
                </a:moveTo>
                <a:cubicBezTo>
                  <a:pt x="0" y="785654"/>
                  <a:pt x="785654" y="0"/>
                  <a:pt x="1754808" y="0"/>
                </a:cubicBezTo>
                <a:cubicBezTo>
                  <a:pt x="2723962" y="0"/>
                  <a:pt x="3509616" y="785654"/>
                  <a:pt x="3509616" y="1754808"/>
                </a:cubicBezTo>
                <a:cubicBezTo>
                  <a:pt x="3509616" y="2723962"/>
                  <a:pt x="2723962" y="3509616"/>
                  <a:pt x="1754808" y="3509616"/>
                </a:cubicBezTo>
                <a:cubicBezTo>
                  <a:pt x="785654" y="3509616"/>
                  <a:pt x="0" y="2723962"/>
                  <a:pt x="0" y="1754808"/>
                </a:cubicBezTo>
                <a:close/>
              </a:path>
            </a:pathLst>
          </a:custGeom>
          <a:noFill/>
          <a:ln w="38100">
            <a:solidFill>
              <a:srgbClr val="003CB4"/>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596521" tIns="596521" rIns="596521" bIns="596521" spcCol="1270" anchor="ctr"/>
          <a:lstStyle/>
          <a:p>
            <a:pPr algn="ctr" defTabSz="2889250" eaLnBrk="1" hangingPunct="1">
              <a:spcBef>
                <a:spcPts val="0"/>
              </a:spcBef>
              <a:spcAft>
                <a:spcPts val="0"/>
              </a:spcAft>
              <a:defRPr/>
            </a:pPr>
            <a:endParaRPr lang="de-CH" sz="6500" dirty="0"/>
          </a:p>
        </p:txBody>
      </p:sp>
      <p:sp>
        <p:nvSpPr>
          <p:cNvPr id="8" name="Freihandform: Form 7">
            <a:extLst>
              <a:ext uri="{FF2B5EF4-FFF2-40B4-BE49-F238E27FC236}">
                <a16:creationId xmlns:a16="http://schemas.microsoft.com/office/drawing/2014/main" id="{0F0AFEBA-A745-8584-6D6D-3A0A094A3DC6}"/>
              </a:ext>
            </a:extLst>
          </p:cNvPr>
          <p:cNvSpPr/>
          <p:nvPr/>
        </p:nvSpPr>
        <p:spPr>
          <a:xfrm>
            <a:off x="3684588" y="2281238"/>
            <a:ext cx="1620837"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9" name="Freihandform: Form 8">
            <a:extLst>
              <a:ext uri="{FF2B5EF4-FFF2-40B4-BE49-F238E27FC236}">
                <a16:creationId xmlns:a16="http://schemas.microsoft.com/office/drawing/2014/main" id="{A6CC70B9-1372-6A58-8C9B-749E5C6F3A93}"/>
              </a:ext>
            </a:extLst>
          </p:cNvPr>
          <p:cNvSpPr/>
          <p:nvPr/>
        </p:nvSpPr>
        <p:spPr>
          <a:xfrm>
            <a:off x="7270750" y="4659313"/>
            <a:ext cx="1619250"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0" name="Freihandform: Form 9">
            <a:extLst>
              <a:ext uri="{FF2B5EF4-FFF2-40B4-BE49-F238E27FC236}">
                <a16:creationId xmlns:a16="http://schemas.microsoft.com/office/drawing/2014/main" id="{C69F1815-914F-8D37-F26C-FCABBF0FD53B}"/>
              </a:ext>
            </a:extLst>
          </p:cNvPr>
          <p:cNvSpPr/>
          <p:nvPr/>
        </p:nvSpPr>
        <p:spPr>
          <a:xfrm>
            <a:off x="3684588" y="4659313"/>
            <a:ext cx="1620837"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4" name="Freihandform: Form 7">
            <a:extLst>
              <a:ext uri="{FF2B5EF4-FFF2-40B4-BE49-F238E27FC236}">
                <a16:creationId xmlns:a16="http://schemas.microsoft.com/office/drawing/2014/main" id="{C4FDA112-DEC9-2C23-5BCB-75C5182B928C}"/>
              </a:ext>
            </a:extLst>
          </p:cNvPr>
          <p:cNvSpPr/>
          <p:nvPr/>
        </p:nvSpPr>
        <p:spPr>
          <a:xfrm>
            <a:off x="7270750" y="2281238"/>
            <a:ext cx="1619250"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13675" name="Textfeld 2">
            <a:extLst>
              <a:ext uri="{FF2B5EF4-FFF2-40B4-BE49-F238E27FC236}">
                <a16:creationId xmlns:a16="http://schemas.microsoft.com/office/drawing/2014/main" id="{C750B44E-48B5-09EE-7713-CEB22BBF08C9}"/>
              </a:ext>
            </a:extLst>
          </p:cNvPr>
          <p:cNvSpPr txBox="1">
            <a:spLocks noChangeArrowheads="1"/>
          </p:cNvSpPr>
          <p:nvPr/>
        </p:nvSpPr>
        <p:spPr bwMode="auto">
          <a:xfrm>
            <a:off x="9236075" y="2743200"/>
            <a:ext cx="2990850" cy="719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3676" name="Textfeld 5">
            <a:extLst>
              <a:ext uri="{FF2B5EF4-FFF2-40B4-BE49-F238E27FC236}">
                <a16:creationId xmlns:a16="http://schemas.microsoft.com/office/drawing/2014/main" id="{9080C8BD-8F52-556A-4944-6C150E27C4A0}"/>
              </a:ext>
            </a:extLst>
          </p:cNvPr>
          <p:cNvSpPr txBox="1">
            <a:spLocks noChangeArrowheads="1"/>
          </p:cNvSpPr>
          <p:nvPr/>
        </p:nvSpPr>
        <p:spPr bwMode="auto">
          <a:xfrm>
            <a:off x="9236075" y="5108575"/>
            <a:ext cx="2990850" cy="720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3677" name="Textfeld 14">
            <a:extLst>
              <a:ext uri="{FF2B5EF4-FFF2-40B4-BE49-F238E27FC236}">
                <a16:creationId xmlns:a16="http://schemas.microsoft.com/office/drawing/2014/main" id="{18AAD722-1918-3F3D-CADE-804196BB7DC2}"/>
              </a:ext>
            </a:extLst>
          </p:cNvPr>
          <p:cNvSpPr txBox="1">
            <a:spLocks noChangeArrowheads="1"/>
          </p:cNvSpPr>
          <p:nvPr/>
        </p:nvSpPr>
        <p:spPr bwMode="auto">
          <a:xfrm>
            <a:off x="1271588" y="2743200"/>
            <a:ext cx="2413000" cy="719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3678" name="Textfeld 15">
            <a:extLst>
              <a:ext uri="{FF2B5EF4-FFF2-40B4-BE49-F238E27FC236}">
                <a16:creationId xmlns:a16="http://schemas.microsoft.com/office/drawing/2014/main" id="{B9F2AEF7-3638-BFD0-BBFA-C56209D704B8}"/>
              </a:ext>
            </a:extLst>
          </p:cNvPr>
          <p:cNvSpPr txBox="1">
            <a:spLocks noChangeArrowheads="1"/>
          </p:cNvSpPr>
          <p:nvPr/>
        </p:nvSpPr>
        <p:spPr bwMode="auto">
          <a:xfrm>
            <a:off x="1271588" y="5108575"/>
            <a:ext cx="2413000" cy="720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4690" name="think-cell data - do not delete" hidden="1">
            <a:extLst>
              <a:ext uri="{FF2B5EF4-FFF2-40B4-BE49-F238E27FC236}">
                <a16:creationId xmlns:a16="http://schemas.microsoft.com/office/drawing/2014/main" id="{590BD359-AEC8-C576-896F-143DDAAAEEDB}"/>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14690" name="think-cell data - do not delete" hidden="1">
                        <a:extLst>
                          <a:ext uri="{FF2B5EF4-FFF2-40B4-BE49-F238E27FC236}">
                            <a16:creationId xmlns:a16="http://schemas.microsoft.com/office/drawing/2014/main" id="{590BD359-AEC8-C576-896F-143DDAAAEE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 name="Freihandform: Form 6">
            <a:extLst>
              <a:ext uri="{FF2B5EF4-FFF2-40B4-BE49-F238E27FC236}">
                <a16:creationId xmlns:a16="http://schemas.microsoft.com/office/drawing/2014/main" id="{84166ABF-DA72-FDBD-43B6-9D90F7A3C858}"/>
              </a:ext>
            </a:extLst>
          </p:cNvPr>
          <p:cNvSpPr/>
          <p:nvPr/>
        </p:nvSpPr>
        <p:spPr>
          <a:xfrm>
            <a:off x="4364038" y="1985963"/>
            <a:ext cx="4059237" cy="4059237"/>
          </a:xfrm>
          <a:custGeom>
            <a:avLst/>
            <a:gdLst>
              <a:gd name="connsiteX0" fmla="*/ 0 w 3509616"/>
              <a:gd name="connsiteY0" fmla="*/ 1754808 h 3509616"/>
              <a:gd name="connsiteX1" fmla="*/ 1754808 w 3509616"/>
              <a:gd name="connsiteY1" fmla="*/ 0 h 3509616"/>
              <a:gd name="connsiteX2" fmla="*/ 3509616 w 3509616"/>
              <a:gd name="connsiteY2" fmla="*/ 1754808 h 3509616"/>
              <a:gd name="connsiteX3" fmla="*/ 1754808 w 3509616"/>
              <a:gd name="connsiteY3" fmla="*/ 3509616 h 3509616"/>
              <a:gd name="connsiteX4" fmla="*/ 0 w 3509616"/>
              <a:gd name="connsiteY4" fmla="*/ 1754808 h 3509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9616" h="3509616">
                <a:moveTo>
                  <a:pt x="0" y="1754808"/>
                </a:moveTo>
                <a:cubicBezTo>
                  <a:pt x="0" y="785654"/>
                  <a:pt x="785654" y="0"/>
                  <a:pt x="1754808" y="0"/>
                </a:cubicBezTo>
                <a:cubicBezTo>
                  <a:pt x="2723962" y="0"/>
                  <a:pt x="3509616" y="785654"/>
                  <a:pt x="3509616" y="1754808"/>
                </a:cubicBezTo>
                <a:cubicBezTo>
                  <a:pt x="3509616" y="2723962"/>
                  <a:pt x="2723962" y="3509616"/>
                  <a:pt x="1754808" y="3509616"/>
                </a:cubicBezTo>
                <a:cubicBezTo>
                  <a:pt x="785654" y="3509616"/>
                  <a:pt x="0" y="2723962"/>
                  <a:pt x="0" y="1754808"/>
                </a:cubicBezTo>
                <a:close/>
              </a:path>
            </a:pathLst>
          </a:custGeom>
          <a:noFill/>
          <a:ln w="38100">
            <a:solidFill>
              <a:srgbClr val="003CB4"/>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596521" tIns="596521" rIns="596521" bIns="596521" spcCol="1270" anchor="ctr"/>
          <a:lstStyle/>
          <a:p>
            <a:pPr algn="ctr" defTabSz="2889250" eaLnBrk="1" hangingPunct="1">
              <a:spcBef>
                <a:spcPts val="0"/>
              </a:spcBef>
              <a:spcAft>
                <a:spcPts val="0"/>
              </a:spcAft>
              <a:defRPr/>
            </a:pPr>
            <a:endParaRPr lang="de-CH" sz="6500" dirty="0"/>
          </a:p>
        </p:txBody>
      </p:sp>
      <p:sp>
        <p:nvSpPr>
          <p:cNvPr id="24" name="Freihandform: Form 23">
            <a:extLst>
              <a:ext uri="{FF2B5EF4-FFF2-40B4-BE49-F238E27FC236}">
                <a16:creationId xmlns:a16="http://schemas.microsoft.com/office/drawing/2014/main" id="{9E639C0E-E2FA-1855-9A75-D25C705A528F}"/>
              </a:ext>
            </a:extLst>
          </p:cNvPr>
          <p:cNvSpPr/>
          <p:nvPr/>
        </p:nvSpPr>
        <p:spPr>
          <a:xfrm>
            <a:off x="3554413" y="2679700"/>
            <a:ext cx="1620837"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22" name="Freihandform: Form 21">
            <a:extLst>
              <a:ext uri="{FF2B5EF4-FFF2-40B4-BE49-F238E27FC236}">
                <a16:creationId xmlns:a16="http://schemas.microsoft.com/office/drawing/2014/main" id="{74950A20-C14E-D610-CF81-9784E2C984A6}"/>
              </a:ext>
            </a:extLst>
          </p:cNvPr>
          <p:cNvSpPr/>
          <p:nvPr/>
        </p:nvSpPr>
        <p:spPr>
          <a:xfrm>
            <a:off x="4303713" y="4948238"/>
            <a:ext cx="1619250"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8" name="Freihandform: Form 17">
            <a:extLst>
              <a:ext uri="{FF2B5EF4-FFF2-40B4-BE49-F238E27FC236}">
                <a16:creationId xmlns:a16="http://schemas.microsoft.com/office/drawing/2014/main" id="{7E1ADB33-517D-5A0E-2A83-DCE3D79268A5}"/>
              </a:ext>
            </a:extLst>
          </p:cNvPr>
          <p:cNvSpPr/>
          <p:nvPr/>
        </p:nvSpPr>
        <p:spPr>
          <a:xfrm>
            <a:off x="6932613" y="4948238"/>
            <a:ext cx="1619250"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6" name="Freihandform: Form 15">
            <a:extLst>
              <a:ext uri="{FF2B5EF4-FFF2-40B4-BE49-F238E27FC236}">
                <a16:creationId xmlns:a16="http://schemas.microsoft.com/office/drawing/2014/main" id="{DD8BC1FA-75D6-0E6F-AAA0-CED47D028D2A}"/>
              </a:ext>
            </a:extLst>
          </p:cNvPr>
          <p:cNvSpPr/>
          <p:nvPr/>
        </p:nvSpPr>
        <p:spPr>
          <a:xfrm>
            <a:off x="7570788" y="2679700"/>
            <a:ext cx="1620837"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14696" name="Titel 1">
            <a:extLst>
              <a:ext uri="{FF2B5EF4-FFF2-40B4-BE49-F238E27FC236}">
                <a16:creationId xmlns:a16="http://schemas.microsoft.com/office/drawing/2014/main" id="{EAAF1142-5942-FE28-B4F3-4F4C0095106B}"/>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Zyklus – einfacher Kreis, 5-teilig</a:t>
            </a:r>
          </a:p>
        </p:txBody>
      </p:sp>
      <p:sp>
        <p:nvSpPr>
          <p:cNvPr id="114697" name="Foliennummernplatzhalter 10">
            <a:extLst>
              <a:ext uri="{FF2B5EF4-FFF2-40B4-BE49-F238E27FC236}">
                <a16:creationId xmlns:a16="http://schemas.microsoft.com/office/drawing/2014/main" id="{86319735-C5D0-AF12-B44E-137258701DC5}"/>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D187A909-10D5-4420-820F-52E4491A4109}" type="slidenum">
              <a:rPr lang="de-CH" altLang="de-DE" sz="1100" smtClean="0">
                <a:solidFill>
                  <a:srgbClr val="003CB4"/>
                </a:solidFill>
                <a:latin typeface="Frutiger for ZKB Light" panose="020B0303030504020204" pitchFamily="34" charset="0"/>
              </a:rPr>
              <a:pPr>
                <a:spcBef>
                  <a:spcPct val="0"/>
                </a:spcBef>
                <a:spcAft>
                  <a:spcPct val="0"/>
                </a:spcAft>
              </a:pPr>
              <a:t>83</a:t>
            </a:fld>
            <a:endParaRPr lang="de-CH" altLang="de-DE" sz="1100" dirty="0">
              <a:solidFill>
                <a:srgbClr val="003CB4"/>
              </a:solidFill>
              <a:latin typeface="Frutiger for ZKB Light" panose="020B0303030504020204" pitchFamily="34" charset="0"/>
            </a:endParaRPr>
          </a:p>
        </p:txBody>
      </p:sp>
      <p:sp>
        <p:nvSpPr>
          <p:cNvPr id="114698" name="Fußzeilenplatzhalter 9">
            <a:extLst>
              <a:ext uri="{FF2B5EF4-FFF2-40B4-BE49-F238E27FC236}">
                <a16:creationId xmlns:a16="http://schemas.microsoft.com/office/drawing/2014/main" id="{8809A409-63BF-8CFE-E83B-9F93C707AE0A}"/>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2" name="Freihandform: Form 11">
            <a:extLst>
              <a:ext uri="{FF2B5EF4-FFF2-40B4-BE49-F238E27FC236}">
                <a16:creationId xmlns:a16="http://schemas.microsoft.com/office/drawing/2014/main" id="{954E87FE-6BCF-44E0-D815-C36957CA578C}"/>
              </a:ext>
            </a:extLst>
          </p:cNvPr>
          <p:cNvSpPr/>
          <p:nvPr/>
        </p:nvSpPr>
        <p:spPr>
          <a:xfrm>
            <a:off x="5564188" y="1211263"/>
            <a:ext cx="1620837"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14700" name="Textfeld 5">
            <a:extLst>
              <a:ext uri="{FF2B5EF4-FFF2-40B4-BE49-F238E27FC236}">
                <a16:creationId xmlns:a16="http://schemas.microsoft.com/office/drawing/2014/main" id="{88D98757-1BD0-29F7-0426-69D27E78CF3C}"/>
              </a:ext>
            </a:extLst>
          </p:cNvPr>
          <p:cNvSpPr txBox="1">
            <a:spLocks noChangeArrowheads="1"/>
          </p:cNvSpPr>
          <p:nvPr/>
        </p:nvSpPr>
        <p:spPr bwMode="auto">
          <a:xfrm>
            <a:off x="9451975" y="3128963"/>
            <a:ext cx="2424113" cy="720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4701" name="Textfeld 6">
            <a:extLst>
              <a:ext uri="{FF2B5EF4-FFF2-40B4-BE49-F238E27FC236}">
                <a16:creationId xmlns:a16="http://schemas.microsoft.com/office/drawing/2014/main" id="{07938246-F3FA-15E1-EEDA-4EDD3E31D83C}"/>
              </a:ext>
            </a:extLst>
          </p:cNvPr>
          <p:cNvSpPr txBox="1">
            <a:spLocks noChangeArrowheads="1"/>
          </p:cNvSpPr>
          <p:nvPr/>
        </p:nvSpPr>
        <p:spPr bwMode="auto">
          <a:xfrm>
            <a:off x="8804275" y="5397500"/>
            <a:ext cx="2424113" cy="720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4702" name="Textfeld 7">
            <a:extLst>
              <a:ext uri="{FF2B5EF4-FFF2-40B4-BE49-F238E27FC236}">
                <a16:creationId xmlns:a16="http://schemas.microsoft.com/office/drawing/2014/main" id="{D18951F3-C17E-F824-5CCE-FD93B4664B57}"/>
              </a:ext>
            </a:extLst>
          </p:cNvPr>
          <p:cNvSpPr txBox="1">
            <a:spLocks noChangeArrowheads="1"/>
          </p:cNvSpPr>
          <p:nvPr/>
        </p:nvSpPr>
        <p:spPr bwMode="auto">
          <a:xfrm>
            <a:off x="1819275" y="5397500"/>
            <a:ext cx="2424113" cy="720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4703" name="Textfeld 12">
            <a:extLst>
              <a:ext uri="{FF2B5EF4-FFF2-40B4-BE49-F238E27FC236}">
                <a16:creationId xmlns:a16="http://schemas.microsoft.com/office/drawing/2014/main" id="{E3906299-91CB-5413-19E2-CC62277372D9}"/>
              </a:ext>
            </a:extLst>
          </p:cNvPr>
          <p:cNvSpPr txBox="1">
            <a:spLocks noChangeArrowheads="1"/>
          </p:cNvSpPr>
          <p:nvPr/>
        </p:nvSpPr>
        <p:spPr bwMode="auto">
          <a:xfrm>
            <a:off x="1122363" y="3128963"/>
            <a:ext cx="2425700" cy="720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4704" name="Textfeld 2">
            <a:extLst>
              <a:ext uri="{FF2B5EF4-FFF2-40B4-BE49-F238E27FC236}">
                <a16:creationId xmlns:a16="http://schemas.microsoft.com/office/drawing/2014/main" id="{A4930573-476C-6AB6-7C8C-48E1BF937FB1}"/>
              </a:ext>
            </a:extLst>
          </p:cNvPr>
          <p:cNvSpPr txBox="1">
            <a:spLocks noChangeArrowheads="1"/>
          </p:cNvSpPr>
          <p:nvPr/>
        </p:nvSpPr>
        <p:spPr bwMode="auto">
          <a:xfrm>
            <a:off x="7443788" y="1239838"/>
            <a:ext cx="2425700" cy="719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5714" name="think-cell data - do not delete" hidden="1">
            <a:extLst>
              <a:ext uri="{FF2B5EF4-FFF2-40B4-BE49-F238E27FC236}">
                <a16:creationId xmlns:a16="http://schemas.microsoft.com/office/drawing/2014/main" id="{36AB5ABA-662E-41A1-1A9C-204A32E4810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15714" name="think-cell data - do not delete" hidden="1">
                        <a:extLst>
                          <a:ext uri="{FF2B5EF4-FFF2-40B4-BE49-F238E27FC236}">
                            <a16:creationId xmlns:a16="http://schemas.microsoft.com/office/drawing/2014/main" id="{36AB5ABA-662E-41A1-1A9C-204A32E4810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Freihandform: Form 6">
            <a:extLst>
              <a:ext uri="{FF2B5EF4-FFF2-40B4-BE49-F238E27FC236}">
                <a16:creationId xmlns:a16="http://schemas.microsoft.com/office/drawing/2014/main" id="{AAA27C12-DAD6-92C5-B381-CEFA7205312D}"/>
              </a:ext>
            </a:extLst>
          </p:cNvPr>
          <p:cNvSpPr/>
          <p:nvPr/>
        </p:nvSpPr>
        <p:spPr>
          <a:xfrm>
            <a:off x="4364038" y="1985963"/>
            <a:ext cx="4059237" cy="4059237"/>
          </a:xfrm>
          <a:custGeom>
            <a:avLst/>
            <a:gdLst>
              <a:gd name="connsiteX0" fmla="*/ 0 w 3509616"/>
              <a:gd name="connsiteY0" fmla="*/ 1754808 h 3509616"/>
              <a:gd name="connsiteX1" fmla="*/ 1754808 w 3509616"/>
              <a:gd name="connsiteY1" fmla="*/ 0 h 3509616"/>
              <a:gd name="connsiteX2" fmla="*/ 3509616 w 3509616"/>
              <a:gd name="connsiteY2" fmla="*/ 1754808 h 3509616"/>
              <a:gd name="connsiteX3" fmla="*/ 1754808 w 3509616"/>
              <a:gd name="connsiteY3" fmla="*/ 3509616 h 3509616"/>
              <a:gd name="connsiteX4" fmla="*/ 0 w 3509616"/>
              <a:gd name="connsiteY4" fmla="*/ 1754808 h 3509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9616" h="3509616">
                <a:moveTo>
                  <a:pt x="0" y="1754808"/>
                </a:moveTo>
                <a:cubicBezTo>
                  <a:pt x="0" y="785654"/>
                  <a:pt x="785654" y="0"/>
                  <a:pt x="1754808" y="0"/>
                </a:cubicBezTo>
                <a:cubicBezTo>
                  <a:pt x="2723962" y="0"/>
                  <a:pt x="3509616" y="785654"/>
                  <a:pt x="3509616" y="1754808"/>
                </a:cubicBezTo>
                <a:cubicBezTo>
                  <a:pt x="3509616" y="2723962"/>
                  <a:pt x="2723962" y="3509616"/>
                  <a:pt x="1754808" y="3509616"/>
                </a:cubicBezTo>
                <a:cubicBezTo>
                  <a:pt x="785654" y="3509616"/>
                  <a:pt x="0" y="2723962"/>
                  <a:pt x="0" y="1754808"/>
                </a:cubicBezTo>
                <a:close/>
              </a:path>
            </a:pathLst>
          </a:custGeom>
          <a:noFill/>
          <a:ln w="38100">
            <a:solidFill>
              <a:srgbClr val="003CB4"/>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596521" tIns="596521" rIns="596521" bIns="596521" spcCol="1270" anchor="ctr"/>
          <a:lstStyle/>
          <a:p>
            <a:pPr algn="ctr" defTabSz="2889250" eaLnBrk="1" hangingPunct="1">
              <a:spcBef>
                <a:spcPts val="0"/>
              </a:spcBef>
              <a:spcAft>
                <a:spcPts val="0"/>
              </a:spcAft>
              <a:defRPr/>
            </a:pPr>
            <a:endParaRPr lang="de-CH" sz="6500" dirty="0"/>
          </a:p>
        </p:txBody>
      </p:sp>
      <p:sp>
        <p:nvSpPr>
          <p:cNvPr id="23" name="Freihandform: Form 22">
            <a:extLst>
              <a:ext uri="{FF2B5EF4-FFF2-40B4-BE49-F238E27FC236}">
                <a16:creationId xmlns:a16="http://schemas.microsoft.com/office/drawing/2014/main" id="{DF8321D3-EC7B-3098-61CA-34662BC7EF05}"/>
              </a:ext>
            </a:extLst>
          </p:cNvPr>
          <p:cNvSpPr/>
          <p:nvPr/>
        </p:nvSpPr>
        <p:spPr>
          <a:xfrm>
            <a:off x="3687763" y="4187825"/>
            <a:ext cx="1619250" cy="1620838"/>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24" name="Freihandform: Form 23">
            <a:extLst>
              <a:ext uri="{FF2B5EF4-FFF2-40B4-BE49-F238E27FC236}">
                <a16:creationId xmlns:a16="http://schemas.microsoft.com/office/drawing/2014/main" id="{0501F274-628B-1B96-BC62-1DA722C66E25}"/>
              </a:ext>
            </a:extLst>
          </p:cNvPr>
          <p:cNvSpPr/>
          <p:nvPr/>
        </p:nvSpPr>
        <p:spPr>
          <a:xfrm>
            <a:off x="3687763" y="2133600"/>
            <a:ext cx="1619250"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21" name="Freihandform: Form 20">
            <a:extLst>
              <a:ext uri="{FF2B5EF4-FFF2-40B4-BE49-F238E27FC236}">
                <a16:creationId xmlns:a16="http://schemas.microsoft.com/office/drawing/2014/main" id="{84E13F9B-1F24-5C56-2F75-30C601326057}"/>
              </a:ext>
            </a:extLst>
          </p:cNvPr>
          <p:cNvSpPr/>
          <p:nvPr/>
        </p:nvSpPr>
        <p:spPr>
          <a:xfrm>
            <a:off x="5583238" y="5076825"/>
            <a:ext cx="1620837" cy="1620838"/>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9" name="Freihandform: Form 18">
            <a:extLst>
              <a:ext uri="{FF2B5EF4-FFF2-40B4-BE49-F238E27FC236}">
                <a16:creationId xmlns:a16="http://schemas.microsoft.com/office/drawing/2014/main" id="{8FE90E8E-7055-6D3B-618D-2D5E8CB43878}"/>
              </a:ext>
            </a:extLst>
          </p:cNvPr>
          <p:cNvSpPr/>
          <p:nvPr/>
        </p:nvSpPr>
        <p:spPr>
          <a:xfrm>
            <a:off x="7472363" y="4187825"/>
            <a:ext cx="1619250" cy="1620838"/>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7" name="Freihandform: Form 16">
            <a:extLst>
              <a:ext uri="{FF2B5EF4-FFF2-40B4-BE49-F238E27FC236}">
                <a16:creationId xmlns:a16="http://schemas.microsoft.com/office/drawing/2014/main" id="{AA780202-ED8D-623A-8F36-DF1BC05F571D}"/>
              </a:ext>
            </a:extLst>
          </p:cNvPr>
          <p:cNvSpPr/>
          <p:nvPr/>
        </p:nvSpPr>
        <p:spPr>
          <a:xfrm>
            <a:off x="7467600" y="2133600"/>
            <a:ext cx="1619250"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4" name="Freihandform: Form 13">
            <a:extLst>
              <a:ext uri="{FF2B5EF4-FFF2-40B4-BE49-F238E27FC236}">
                <a16:creationId xmlns:a16="http://schemas.microsoft.com/office/drawing/2014/main" id="{8C18240C-6632-495F-6348-87E3031ABB73}"/>
              </a:ext>
            </a:extLst>
          </p:cNvPr>
          <p:cNvSpPr/>
          <p:nvPr/>
        </p:nvSpPr>
        <p:spPr>
          <a:xfrm>
            <a:off x="5564188" y="1211263"/>
            <a:ext cx="1620837"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15722" name="Titel 1">
            <a:extLst>
              <a:ext uri="{FF2B5EF4-FFF2-40B4-BE49-F238E27FC236}">
                <a16:creationId xmlns:a16="http://schemas.microsoft.com/office/drawing/2014/main" id="{0FCE63C3-F388-8F26-1F0E-43FF13E4C227}"/>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Zyklus – einfacher Kreis, 6-teilig</a:t>
            </a:r>
          </a:p>
        </p:txBody>
      </p:sp>
      <p:sp>
        <p:nvSpPr>
          <p:cNvPr id="115723" name="Foliennummernplatzhalter 10">
            <a:extLst>
              <a:ext uri="{FF2B5EF4-FFF2-40B4-BE49-F238E27FC236}">
                <a16:creationId xmlns:a16="http://schemas.microsoft.com/office/drawing/2014/main" id="{6774B1BE-063B-730D-FAFF-16D2A72D78D6}"/>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BC963CC4-F709-452D-A452-C933C7550C95}" type="slidenum">
              <a:rPr lang="de-CH" altLang="de-DE" sz="1100" smtClean="0">
                <a:solidFill>
                  <a:srgbClr val="003CB4"/>
                </a:solidFill>
                <a:latin typeface="Frutiger for ZKB Light" panose="020B0303030504020204" pitchFamily="34" charset="0"/>
              </a:rPr>
              <a:pPr>
                <a:spcBef>
                  <a:spcPct val="0"/>
                </a:spcBef>
                <a:spcAft>
                  <a:spcPct val="0"/>
                </a:spcAft>
              </a:pPr>
              <a:t>84</a:t>
            </a:fld>
            <a:endParaRPr lang="de-CH" altLang="de-DE" sz="1100" dirty="0">
              <a:solidFill>
                <a:srgbClr val="003CB4"/>
              </a:solidFill>
              <a:latin typeface="Frutiger for ZKB Light" panose="020B0303030504020204" pitchFamily="34" charset="0"/>
            </a:endParaRPr>
          </a:p>
        </p:txBody>
      </p:sp>
      <p:sp>
        <p:nvSpPr>
          <p:cNvPr id="115724" name="Fußzeilenplatzhalter 9">
            <a:extLst>
              <a:ext uri="{FF2B5EF4-FFF2-40B4-BE49-F238E27FC236}">
                <a16:creationId xmlns:a16="http://schemas.microsoft.com/office/drawing/2014/main" id="{94DEE296-2928-C7A0-591C-63446AF9F9DC}"/>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15725" name="Textfeld 2">
            <a:extLst>
              <a:ext uri="{FF2B5EF4-FFF2-40B4-BE49-F238E27FC236}">
                <a16:creationId xmlns:a16="http://schemas.microsoft.com/office/drawing/2014/main" id="{5CDD1BD8-4610-757C-E92C-A044C055F866}"/>
              </a:ext>
            </a:extLst>
          </p:cNvPr>
          <p:cNvSpPr txBox="1">
            <a:spLocks noChangeArrowheads="1"/>
          </p:cNvSpPr>
          <p:nvPr/>
        </p:nvSpPr>
        <p:spPr bwMode="auto">
          <a:xfrm>
            <a:off x="7443788" y="1239838"/>
            <a:ext cx="2425700" cy="719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5726" name="Textfeld 3">
            <a:extLst>
              <a:ext uri="{FF2B5EF4-FFF2-40B4-BE49-F238E27FC236}">
                <a16:creationId xmlns:a16="http://schemas.microsoft.com/office/drawing/2014/main" id="{5E7D618F-675F-A08A-38DA-091F5109E62E}"/>
              </a:ext>
            </a:extLst>
          </p:cNvPr>
          <p:cNvSpPr txBox="1">
            <a:spLocks noChangeArrowheads="1"/>
          </p:cNvSpPr>
          <p:nvPr/>
        </p:nvSpPr>
        <p:spPr bwMode="auto">
          <a:xfrm>
            <a:off x="9315450" y="2584450"/>
            <a:ext cx="2424113" cy="719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5727" name="Textfeld 5">
            <a:extLst>
              <a:ext uri="{FF2B5EF4-FFF2-40B4-BE49-F238E27FC236}">
                <a16:creationId xmlns:a16="http://schemas.microsoft.com/office/drawing/2014/main" id="{CB7FC42A-4F1B-D04D-4145-9A860746115D}"/>
              </a:ext>
            </a:extLst>
          </p:cNvPr>
          <p:cNvSpPr txBox="1">
            <a:spLocks noChangeArrowheads="1"/>
          </p:cNvSpPr>
          <p:nvPr/>
        </p:nvSpPr>
        <p:spPr bwMode="auto">
          <a:xfrm>
            <a:off x="9315450" y="4638675"/>
            <a:ext cx="2424113" cy="719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5728" name="Textfeld 6">
            <a:extLst>
              <a:ext uri="{FF2B5EF4-FFF2-40B4-BE49-F238E27FC236}">
                <a16:creationId xmlns:a16="http://schemas.microsoft.com/office/drawing/2014/main" id="{B4FD5BB8-C472-407C-543A-CE7FFAEAA98A}"/>
              </a:ext>
            </a:extLst>
          </p:cNvPr>
          <p:cNvSpPr txBox="1">
            <a:spLocks noChangeArrowheads="1"/>
          </p:cNvSpPr>
          <p:nvPr/>
        </p:nvSpPr>
        <p:spPr bwMode="auto">
          <a:xfrm>
            <a:off x="7443788" y="5927725"/>
            <a:ext cx="2425700" cy="720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5729" name="Textfeld 7">
            <a:extLst>
              <a:ext uri="{FF2B5EF4-FFF2-40B4-BE49-F238E27FC236}">
                <a16:creationId xmlns:a16="http://schemas.microsoft.com/office/drawing/2014/main" id="{95DE39C9-2E42-4EDA-269B-AA21FB5E1D21}"/>
              </a:ext>
            </a:extLst>
          </p:cNvPr>
          <p:cNvSpPr txBox="1">
            <a:spLocks noChangeArrowheads="1"/>
          </p:cNvSpPr>
          <p:nvPr/>
        </p:nvSpPr>
        <p:spPr bwMode="auto">
          <a:xfrm>
            <a:off x="1458913" y="2584450"/>
            <a:ext cx="2424112" cy="719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5730" name="Textfeld 8">
            <a:extLst>
              <a:ext uri="{FF2B5EF4-FFF2-40B4-BE49-F238E27FC236}">
                <a16:creationId xmlns:a16="http://schemas.microsoft.com/office/drawing/2014/main" id="{F63B7CD2-9554-7D13-471A-EB15A0B5D134}"/>
              </a:ext>
            </a:extLst>
          </p:cNvPr>
          <p:cNvSpPr txBox="1">
            <a:spLocks noChangeArrowheads="1"/>
          </p:cNvSpPr>
          <p:nvPr/>
        </p:nvSpPr>
        <p:spPr bwMode="auto">
          <a:xfrm>
            <a:off x="1458913" y="4638675"/>
            <a:ext cx="2424112" cy="719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Gerade Verbindung 13">
            <a:extLst>
              <a:ext uri="{FF2B5EF4-FFF2-40B4-BE49-F238E27FC236}">
                <a16:creationId xmlns:a16="http://schemas.microsoft.com/office/drawing/2014/main" id="{5775D288-2619-8AB4-44E7-F1FE175A1C5A}"/>
              </a:ext>
            </a:extLst>
          </p:cNvPr>
          <p:cNvCxnSpPr>
            <a:cxnSpLocks/>
          </p:cNvCxnSpPr>
          <p:nvPr/>
        </p:nvCxnSpPr>
        <p:spPr>
          <a:xfrm>
            <a:off x="8672513" y="4179888"/>
            <a:ext cx="6969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5">
            <a:extLst>
              <a:ext uri="{FF2B5EF4-FFF2-40B4-BE49-F238E27FC236}">
                <a16:creationId xmlns:a16="http://schemas.microsoft.com/office/drawing/2014/main" id="{FA435B10-15BF-ED2E-A764-4F7F42D59E4B}"/>
              </a:ext>
            </a:extLst>
          </p:cNvPr>
          <p:cNvCxnSpPr>
            <a:cxnSpLocks/>
          </p:cNvCxnSpPr>
          <p:nvPr/>
        </p:nvCxnSpPr>
        <p:spPr>
          <a:xfrm>
            <a:off x="3475038" y="4179888"/>
            <a:ext cx="6969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16740" name="Objekt 4" hidden="1">
            <a:extLst>
              <a:ext uri="{FF2B5EF4-FFF2-40B4-BE49-F238E27FC236}">
                <a16:creationId xmlns:a16="http://schemas.microsoft.com/office/drawing/2014/main" id="{23D7F40B-931F-2C39-137E-EBF61EC70E5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116740" name="Objekt 4" hidden="1">
                        <a:extLst>
                          <a:ext uri="{FF2B5EF4-FFF2-40B4-BE49-F238E27FC236}">
                            <a16:creationId xmlns:a16="http://schemas.microsoft.com/office/drawing/2014/main" id="{23D7F40B-931F-2C39-137E-EBF61EC70E5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B2177EF3-9CBD-A7B2-E64F-A9C07766B11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116742" name="Titel 14">
            <a:extLst>
              <a:ext uri="{FF2B5EF4-FFF2-40B4-BE49-F238E27FC236}">
                <a16:creationId xmlns:a16="http://schemas.microsoft.com/office/drawing/2014/main" id="{8620B041-C574-7612-162E-ABC2E67D4E63}"/>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Kreislauf – 2-teilig</a:t>
            </a:r>
          </a:p>
        </p:txBody>
      </p:sp>
      <p:sp>
        <p:nvSpPr>
          <p:cNvPr id="116743" name="Foliennummernplatzhalter 11">
            <a:extLst>
              <a:ext uri="{FF2B5EF4-FFF2-40B4-BE49-F238E27FC236}">
                <a16:creationId xmlns:a16="http://schemas.microsoft.com/office/drawing/2014/main" id="{D2761381-0E18-5C4F-3D5D-7127E0B78C1E}"/>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63CFA1C3-515F-48E5-BCD5-FAE0F279F58A}" type="slidenum">
              <a:rPr lang="de-CH" altLang="de-DE" sz="1100" smtClean="0">
                <a:solidFill>
                  <a:srgbClr val="003CB4"/>
                </a:solidFill>
                <a:latin typeface="Frutiger for ZKB Light" panose="020B0303030504020204" pitchFamily="34" charset="0"/>
              </a:rPr>
              <a:pPr>
                <a:spcBef>
                  <a:spcPct val="0"/>
                </a:spcBef>
                <a:spcAft>
                  <a:spcPct val="0"/>
                </a:spcAft>
              </a:pPr>
              <a:t>85</a:t>
            </a:fld>
            <a:endParaRPr lang="de-CH" altLang="de-DE" sz="1100" dirty="0">
              <a:solidFill>
                <a:srgbClr val="003CB4"/>
              </a:solidFill>
              <a:latin typeface="Frutiger for ZKB Light" panose="020B0303030504020204" pitchFamily="34" charset="0"/>
            </a:endParaRPr>
          </a:p>
        </p:txBody>
      </p:sp>
      <p:sp>
        <p:nvSpPr>
          <p:cNvPr id="116744" name="Fußzeilenplatzhalter 8">
            <a:extLst>
              <a:ext uri="{FF2B5EF4-FFF2-40B4-BE49-F238E27FC236}">
                <a16:creationId xmlns:a16="http://schemas.microsoft.com/office/drawing/2014/main" id="{6204DF09-F5AD-C16C-0D57-0A71CC835C70}"/>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16745" name="Oval 4">
            <a:extLst>
              <a:ext uri="{FF2B5EF4-FFF2-40B4-BE49-F238E27FC236}">
                <a16:creationId xmlns:a16="http://schemas.microsoft.com/office/drawing/2014/main" id="{FC0FF8EC-FB26-8AC6-3D42-868C8F503DE8}"/>
              </a:ext>
            </a:extLst>
          </p:cNvPr>
          <p:cNvSpPr>
            <a:spLocks noChangeArrowheads="1"/>
          </p:cNvSpPr>
          <p:nvPr>
            <p:custDataLst>
              <p:tags r:id="rId3"/>
            </p:custDataLst>
          </p:nvPr>
        </p:nvSpPr>
        <p:spPr bwMode="gray">
          <a:xfrm>
            <a:off x="4171950" y="1843088"/>
            <a:ext cx="4500563" cy="4491037"/>
          </a:xfrm>
          <a:prstGeom prst="ellipse">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endParaRPr lang="de-CH" altLang="de-DE" sz="1600" dirty="0">
              <a:solidFill>
                <a:schemeClr val="bg1"/>
              </a:solidFill>
              <a:latin typeface="Frutiger for ZKB Light" panose="020B0303030504020204" pitchFamily="34" charset="0"/>
            </a:endParaRPr>
          </a:p>
        </p:txBody>
      </p:sp>
      <p:grpSp>
        <p:nvGrpSpPr>
          <p:cNvPr id="198" name="Group 15">
            <a:extLst>
              <a:ext uri="{FF2B5EF4-FFF2-40B4-BE49-F238E27FC236}">
                <a16:creationId xmlns:a16="http://schemas.microsoft.com/office/drawing/2014/main" id="{696A2DA7-AB07-6C8C-1476-8C226139F551}"/>
              </a:ext>
            </a:extLst>
          </p:cNvPr>
          <p:cNvGrpSpPr>
            <a:grpSpLocks/>
          </p:cNvGrpSpPr>
          <p:nvPr>
            <p:custDataLst>
              <p:tags r:id="rId4"/>
            </p:custDataLst>
          </p:nvPr>
        </p:nvGrpSpPr>
        <p:grpSpPr bwMode="gray">
          <a:xfrm>
            <a:off x="4277602" y="1936528"/>
            <a:ext cx="4299869" cy="4299869"/>
            <a:chOff x="1830" y="981"/>
            <a:chExt cx="2041" cy="2041"/>
          </a:xfrm>
          <a:solidFill>
            <a:srgbClr val="A0CAFD"/>
          </a:solidFill>
        </p:grpSpPr>
        <p:sp>
          <p:nvSpPr>
            <p:cNvPr id="202" name="Freeform 16">
              <a:extLst>
                <a:ext uri="{FF2B5EF4-FFF2-40B4-BE49-F238E27FC236}">
                  <a16:creationId xmlns:a16="http://schemas.microsoft.com/office/drawing/2014/main" id="{67479D0E-0CD7-827A-0E25-2A9DCCFC18FA}"/>
                </a:ext>
              </a:extLst>
            </p:cNvPr>
            <p:cNvSpPr>
              <a:spLocks/>
            </p:cNvSpPr>
            <p:nvPr/>
          </p:nvSpPr>
          <p:spPr bwMode="gray">
            <a:xfrm>
              <a:off x="2802" y="981"/>
              <a:ext cx="1069" cy="2037"/>
            </a:xfrm>
            <a:custGeom>
              <a:avLst/>
              <a:gdLst/>
              <a:ahLst/>
              <a:cxnLst>
                <a:cxn ang="0">
                  <a:pos x="221" y="3"/>
                </a:cxn>
                <a:cxn ang="0">
                  <a:pos x="464" y="32"/>
                </a:cxn>
                <a:cxn ang="0">
                  <a:pos x="697" y="89"/>
                </a:cxn>
                <a:cxn ang="0">
                  <a:pos x="918" y="172"/>
                </a:cxn>
                <a:cxn ang="0">
                  <a:pos x="1127" y="278"/>
                </a:cxn>
                <a:cxn ang="0">
                  <a:pos x="1322" y="407"/>
                </a:cxn>
                <a:cxn ang="0">
                  <a:pos x="1499" y="557"/>
                </a:cxn>
                <a:cxn ang="0">
                  <a:pos x="1658" y="726"/>
                </a:cxn>
                <a:cxn ang="0">
                  <a:pos x="1798" y="912"/>
                </a:cxn>
                <a:cxn ang="0">
                  <a:pos x="1916" y="1113"/>
                </a:cxn>
                <a:cxn ang="0">
                  <a:pos x="2011" y="1329"/>
                </a:cxn>
                <a:cxn ang="0">
                  <a:pos x="2080" y="1556"/>
                </a:cxn>
                <a:cxn ang="0">
                  <a:pos x="2123" y="1794"/>
                </a:cxn>
                <a:cxn ang="0">
                  <a:pos x="2138" y="2041"/>
                </a:cxn>
                <a:cxn ang="0">
                  <a:pos x="2123" y="2293"/>
                </a:cxn>
                <a:cxn ang="0">
                  <a:pos x="2078" y="2535"/>
                </a:cxn>
                <a:cxn ang="0">
                  <a:pos x="2006" y="2768"/>
                </a:cxn>
                <a:cxn ang="0">
                  <a:pos x="1907" y="2986"/>
                </a:cxn>
                <a:cxn ang="0">
                  <a:pos x="1785" y="3190"/>
                </a:cxn>
                <a:cxn ang="0">
                  <a:pos x="1639" y="3378"/>
                </a:cxn>
                <a:cxn ang="0">
                  <a:pos x="1474" y="3547"/>
                </a:cxn>
                <a:cxn ang="0">
                  <a:pos x="1291" y="3697"/>
                </a:cxn>
                <a:cxn ang="0">
                  <a:pos x="1091" y="3824"/>
                </a:cxn>
                <a:cxn ang="0">
                  <a:pos x="875" y="3928"/>
                </a:cxn>
                <a:cxn ang="0">
                  <a:pos x="645" y="4008"/>
                </a:cxn>
                <a:cxn ang="0">
                  <a:pos x="406" y="4058"/>
                </a:cxn>
                <a:cxn ang="0">
                  <a:pos x="0" y="3623"/>
                </a:cxn>
                <a:cxn ang="0">
                  <a:pos x="381" y="3136"/>
                </a:cxn>
                <a:cxn ang="0">
                  <a:pos x="547" y="3079"/>
                </a:cxn>
                <a:cxn ang="0">
                  <a:pos x="701" y="2997"/>
                </a:cxn>
                <a:cxn ang="0">
                  <a:pos x="840" y="2894"/>
                </a:cxn>
                <a:cxn ang="0">
                  <a:pos x="960" y="2773"/>
                </a:cxn>
                <a:cxn ang="0">
                  <a:pos x="1062" y="2632"/>
                </a:cxn>
                <a:cxn ang="0">
                  <a:pos x="1142" y="2477"/>
                </a:cxn>
                <a:cxn ang="0">
                  <a:pos x="1198" y="2311"/>
                </a:cxn>
                <a:cxn ang="0">
                  <a:pos x="1226" y="2132"/>
                </a:cxn>
                <a:cxn ang="0">
                  <a:pos x="1226" y="1947"/>
                </a:cxn>
                <a:cxn ang="0">
                  <a:pos x="1196" y="1768"/>
                </a:cxn>
                <a:cxn ang="0">
                  <a:pos x="1140" y="1600"/>
                </a:cxn>
                <a:cxn ang="0">
                  <a:pos x="1060" y="1443"/>
                </a:cxn>
                <a:cxn ang="0">
                  <a:pos x="957" y="1303"/>
                </a:cxn>
                <a:cxn ang="0">
                  <a:pos x="834" y="1180"/>
                </a:cxn>
                <a:cxn ang="0">
                  <a:pos x="694" y="1078"/>
                </a:cxn>
                <a:cxn ang="0">
                  <a:pos x="537" y="998"/>
                </a:cxn>
                <a:cxn ang="0">
                  <a:pos x="368" y="940"/>
                </a:cxn>
                <a:cxn ang="0">
                  <a:pos x="190" y="912"/>
                </a:cxn>
                <a:cxn ang="0">
                  <a:pos x="23" y="911"/>
                </a:cxn>
                <a:cxn ang="0">
                  <a:pos x="11" y="2"/>
                </a:cxn>
              </a:cxnLst>
              <a:rect l="0" t="0" r="r" b="b"/>
              <a:pathLst>
                <a:path w="2138" h="4073">
                  <a:moveTo>
                    <a:pt x="97" y="0"/>
                  </a:moveTo>
                  <a:lnTo>
                    <a:pt x="221" y="3"/>
                  </a:lnTo>
                  <a:lnTo>
                    <a:pt x="344" y="15"/>
                  </a:lnTo>
                  <a:lnTo>
                    <a:pt x="464" y="32"/>
                  </a:lnTo>
                  <a:lnTo>
                    <a:pt x="582" y="58"/>
                  </a:lnTo>
                  <a:lnTo>
                    <a:pt x="697" y="89"/>
                  </a:lnTo>
                  <a:lnTo>
                    <a:pt x="809" y="127"/>
                  </a:lnTo>
                  <a:lnTo>
                    <a:pt x="918" y="172"/>
                  </a:lnTo>
                  <a:lnTo>
                    <a:pt x="1025" y="222"/>
                  </a:lnTo>
                  <a:lnTo>
                    <a:pt x="1127" y="278"/>
                  </a:lnTo>
                  <a:lnTo>
                    <a:pt x="1226" y="340"/>
                  </a:lnTo>
                  <a:lnTo>
                    <a:pt x="1322" y="407"/>
                  </a:lnTo>
                  <a:lnTo>
                    <a:pt x="1412" y="480"/>
                  </a:lnTo>
                  <a:lnTo>
                    <a:pt x="1499" y="557"/>
                  </a:lnTo>
                  <a:lnTo>
                    <a:pt x="1581" y="639"/>
                  </a:lnTo>
                  <a:lnTo>
                    <a:pt x="1658" y="726"/>
                  </a:lnTo>
                  <a:lnTo>
                    <a:pt x="1731" y="816"/>
                  </a:lnTo>
                  <a:lnTo>
                    <a:pt x="1798" y="912"/>
                  </a:lnTo>
                  <a:lnTo>
                    <a:pt x="1860" y="1011"/>
                  </a:lnTo>
                  <a:lnTo>
                    <a:pt x="1916" y="1113"/>
                  </a:lnTo>
                  <a:lnTo>
                    <a:pt x="1966" y="1220"/>
                  </a:lnTo>
                  <a:lnTo>
                    <a:pt x="2011" y="1329"/>
                  </a:lnTo>
                  <a:lnTo>
                    <a:pt x="2049" y="1441"/>
                  </a:lnTo>
                  <a:lnTo>
                    <a:pt x="2080" y="1556"/>
                  </a:lnTo>
                  <a:lnTo>
                    <a:pt x="2106" y="1674"/>
                  </a:lnTo>
                  <a:lnTo>
                    <a:pt x="2123" y="1794"/>
                  </a:lnTo>
                  <a:lnTo>
                    <a:pt x="2135" y="1917"/>
                  </a:lnTo>
                  <a:lnTo>
                    <a:pt x="2138" y="2041"/>
                  </a:lnTo>
                  <a:lnTo>
                    <a:pt x="2135" y="2168"/>
                  </a:lnTo>
                  <a:lnTo>
                    <a:pt x="2123" y="2293"/>
                  </a:lnTo>
                  <a:lnTo>
                    <a:pt x="2104" y="2415"/>
                  </a:lnTo>
                  <a:lnTo>
                    <a:pt x="2078" y="2535"/>
                  </a:lnTo>
                  <a:lnTo>
                    <a:pt x="2045" y="2653"/>
                  </a:lnTo>
                  <a:lnTo>
                    <a:pt x="2006" y="2768"/>
                  </a:lnTo>
                  <a:lnTo>
                    <a:pt x="1960" y="2878"/>
                  </a:lnTo>
                  <a:lnTo>
                    <a:pt x="1907" y="2986"/>
                  </a:lnTo>
                  <a:lnTo>
                    <a:pt x="1849" y="3090"/>
                  </a:lnTo>
                  <a:lnTo>
                    <a:pt x="1785" y="3190"/>
                  </a:lnTo>
                  <a:lnTo>
                    <a:pt x="1715" y="3286"/>
                  </a:lnTo>
                  <a:lnTo>
                    <a:pt x="1639" y="3378"/>
                  </a:lnTo>
                  <a:lnTo>
                    <a:pt x="1560" y="3465"/>
                  </a:lnTo>
                  <a:lnTo>
                    <a:pt x="1474" y="3547"/>
                  </a:lnTo>
                  <a:lnTo>
                    <a:pt x="1385" y="3624"/>
                  </a:lnTo>
                  <a:lnTo>
                    <a:pt x="1291" y="3697"/>
                  </a:lnTo>
                  <a:lnTo>
                    <a:pt x="1193" y="3763"/>
                  </a:lnTo>
                  <a:lnTo>
                    <a:pt x="1091" y="3824"/>
                  </a:lnTo>
                  <a:lnTo>
                    <a:pt x="984" y="3880"/>
                  </a:lnTo>
                  <a:lnTo>
                    <a:pt x="875" y="3928"/>
                  </a:lnTo>
                  <a:lnTo>
                    <a:pt x="762" y="3972"/>
                  </a:lnTo>
                  <a:lnTo>
                    <a:pt x="645" y="4008"/>
                  </a:lnTo>
                  <a:lnTo>
                    <a:pt x="527" y="4036"/>
                  </a:lnTo>
                  <a:lnTo>
                    <a:pt x="406" y="4058"/>
                  </a:lnTo>
                  <a:lnTo>
                    <a:pt x="281" y="4073"/>
                  </a:lnTo>
                  <a:lnTo>
                    <a:pt x="0" y="3623"/>
                  </a:lnTo>
                  <a:lnTo>
                    <a:pt x="293" y="3155"/>
                  </a:lnTo>
                  <a:lnTo>
                    <a:pt x="381" y="3136"/>
                  </a:lnTo>
                  <a:lnTo>
                    <a:pt x="465" y="3110"/>
                  </a:lnTo>
                  <a:lnTo>
                    <a:pt x="547" y="3079"/>
                  </a:lnTo>
                  <a:lnTo>
                    <a:pt x="625" y="3041"/>
                  </a:lnTo>
                  <a:lnTo>
                    <a:pt x="701" y="2997"/>
                  </a:lnTo>
                  <a:lnTo>
                    <a:pt x="772" y="2949"/>
                  </a:lnTo>
                  <a:lnTo>
                    <a:pt x="840" y="2894"/>
                  </a:lnTo>
                  <a:lnTo>
                    <a:pt x="902" y="2836"/>
                  </a:lnTo>
                  <a:lnTo>
                    <a:pt x="960" y="2773"/>
                  </a:lnTo>
                  <a:lnTo>
                    <a:pt x="1014" y="2704"/>
                  </a:lnTo>
                  <a:lnTo>
                    <a:pt x="1062" y="2632"/>
                  </a:lnTo>
                  <a:lnTo>
                    <a:pt x="1106" y="2557"/>
                  </a:lnTo>
                  <a:lnTo>
                    <a:pt x="1142" y="2477"/>
                  </a:lnTo>
                  <a:lnTo>
                    <a:pt x="1173" y="2395"/>
                  </a:lnTo>
                  <a:lnTo>
                    <a:pt x="1198" y="2311"/>
                  </a:lnTo>
                  <a:lnTo>
                    <a:pt x="1215" y="2223"/>
                  </a:lnTo>
                  <a:lnTo>
                    <a:pt x="1226" y="2132"/>
                  </a:lnTo>
                  <a:lnTo>
                    <a:pt x="1230" y="2040"/>
                  </a:lnTo>
                  <a:lnTo>
                    <a:pt x="1226" y="1947"/>
                  </a:lnTo>
                  <a:lnTo>
                    <a:pt x="1215" y="1857"/>
                  </a:lnTo>
                  <a:lnTo>
                    <a:pt x="1196" y="1768"/>
                  </a:lnTo>
                  <a:lnTo>
                    <a:pt x="1171" y="1683"/>
                  </a:lnTo>
                  <a:lnTo>
                    <a:pt x="1140" y="1600"/>
                  </a:lnTo>
                  <a:lnTo>
                    <a:pt x="1103" y="1520"/>
                  </a:lnTo>
                  <a:lnTo>
                    <a:pt x="1060" y="1443"/>
                  </a:lnTo>
                  <a:lnTo>
                    <a:pt x="1011" y="1371"/>
                  </a:lnTo>
                  <a:lnTo>
                    <a:pt x="957" y="1303"/>
                  </a:lnTo>
                  <a:lnTo>
                    <a:pt x="898" y="1240"/>
                  </a:lnTo>
                  <a:lnTo>
                    <a:pt x="834" y="1180"/>
                  </a:lnTo>
                  <a:lnTo>
                    <a:pt x="766" y="1127"/>
                  </a:lnTo>
                  <a:lnTo>
                    <a:pt x="694" y="1078"/>
                  </a:lnTo>
                  <a:lnTo>
                    <a:pt x="617" y="1035"/>
                  </a:lnTo>
                  <a:lnTo>
                    <a:pt x="537" y="998"/>
                  </a:lnTo>
                  <a:lnTo>
                    <a:pt x="454" y="965"/>
                  </a:lnTo>
                  <a:lnTo>
                    <a:pt x="368" y="940"/>
                  </a:lnTo>
                  <a:lnTo>
                    <a:pt x="280" y="923"/>
                  </a:lnTo>
                  <a:lnTo>
                    <a:pt x="190" y="912"/>
                  </a:lnTo>
                  <a:lnTo>
                    <a:pt x="97" y="908"/>
                  </a:lnTo>
                  <a:lnTo>
                    <a:pt x="23" y="911"/>
                  </a:lnTo>
                  <a:lnTo>
                    <a:pt x="301" y="466"/>
                  </a:lnTo>
                  <a:lnTo>
                    <a:pt x="11" y="2"/>
                  </a:lnTo>
                  <a:lnTo>
                    <a:pt x="97" y="0"/>
                  </a:lnTo>
                  <a:close/>
                </a:path>
              </a:pathLst>
            </a:custGeom>
            <a:solidFill>
              <a:srgbClr val="D2E6FE"/>
            </a:solidFill>
            <a:ln>
              <a:noFill/>
            </a:ln>
            <a:effectLst/>
          </p:spPr>
          <p:txBody>
            <a:bodyPr/>
            <a:lstStyle/>
            <a:p>
              <a:pPr eaLnBrk="1" hangingPunct="1">
                <a:spcBef>
                  <a:spcPts val="0"/>
                </a:spcBef>
                <a:defRPr/>
              </a:pPr>
              <a:endParaRPr lang="de-CH" sz="6303" dirty="0">
                <a:latin typeface="Frutiger for ZKB Light" panose="020B0303030504020204" pitchFamily="34" charset="0"/>
              </a:endParaRPr>
            </a:p>
          </p:txBody>
        </p:sp>
        <p:sp>
          <p:nvSpPr>
            <p:cNvPr id="203" name="Freeform 17">
              <a:extLst>
                <a:ext uri="{FF2B5EF4-FFF2-40B4-BE49-F238E27FC236}">
                  <a16:creationId xmlns:a16="http://schemas.microsoft.com/office/drawing/2014/main" id="{CC394A36-E202-2A56-9F16-32DC21034E4F}"/>
                </a:ext>
              </a:extLst>
            </p:cNvPr>
            <p:cNvSpPr>
              <a:spLocks/>
            </p:cNvSpPr>
            <p:nvPr/>
          </p:nvSpPr>
          <p:spPr bwMode="gray">
            <a:xfrm>
              <a:off x="1830" y="985"/>
              <a:ext cx="1069" cy="2037"/>
            </a:xfrm>
            <a:custGeom>
              <a:avLst/>
              <a:gdLst/>
              <a:ahLst/>
              <a:cxnLst>
                <a:cxn ang="0">
                  <a:pos x="2137" y="458"/>
                </a:cxn>
                <a:cxn ang="0">
                  <a:pos x="1763" y="935"/>
                </a:cxn>
                <a:cxn ang="0">
                  <a:pos x="1595" y="991"/>
                </a:cxn>
                <a:cxn ang="0">
                  <a:pos x="1440" y="1072"/>
                </a:cxn>
                <a:cxn ang="0">
                  <a:pos x="1300" y="1175"/>
                </a:cxn>
                <a:cxn ang="0">
                  <a:pos x="1177" y="1297"/>
                </a:cxn>
                <a:cxn ang="0">
                  <a:pos x="1075" y="1438"/>
                </a:cxn>
                <a:cxn ang="0">
                  <a:pos x="994" y="1593"/>
                </a:cxn>
                <a:cxn ang="0">
                  <a:pos x="938" y="1760"/>
                </a:cxn>
                <a:cxn ang="0">
                  <a:pos x="910" y="1939"/>
                </a:cxn>
                <a:cxn ang="0">
                  <a:pos x="910" y="2125"/>
                </a:cxn>
                <a:cxn ang="0">
                  <a:pos x="940" y="2304"/>
                </a:cxn>
                <a:cxn ang="0">
                  <a:pos x="995" y="2473"/>
                </a:cxn>
                <a:cxn ang="0">
                  <a:pos x="1076" y="2629"/>
                </a:cxn>
                <a:cxn ang="0">
                  <a:pos x="1179" y="2769"/>
                </a:cxn>
                <a:cxn ang="0">
                  <a:pos x="1302" y="2892"/>
                </a:cxn>
                <a:cxn ang="0">
                  <a:pos x="1442" y="2994"/>
                </a:cxn>
                <a:cxn ang="0">
                  <a:pos x="1599" y="3075"/>
                </a:cxn>
                <a:cxn ang="0">
                  <a:pos x="1767" y="3132"/>
                </a:cxn>
                <a:cxn ang="0">
                  <a:pos x="1947" y="3160"/>
                </a:cxn>
                <a:cxn ang="0">
                  <a:pos x="2080" y="3163"/>
                </a:cxn>
                <a:cxn ang="0">
                  <a:pos x="1835" y="3615"/>
                </a:cxn>
                <a:cxn ang="0">
                  <a:pos x="2041" y="4074"/>
                </a:cxn>
                <a:cxn ang="0">
                  <a:pos x="1794" y="4059"/>
                </a:cxn>
                <a:cxn ang="0">
                  <a:pos x="1556" y="4016"/>
                </a:cxn>
                <a:cxn ang="0">
                  <a:pos x="1328" y="3946"/>
                </a:cxn>
                <a:cxn ang="0">
                  <a:pos x="1113" y="3852"/>
                </a:cxn>
                <a:cxn ang="0">
                  <a:pos x="912" y="3734"/>
                </a:cxn>
                <a:cxn ang="0">
                  <a:pos x="726" y="3594"/>
                </a:cxn>
                <a:cxn ang="0">
                  <a:pos x="557" y="3435"/>
                </a:cxn>
                <a:cxn ang="0">
                  <a:pos x="407" y="3257"/>
                </a:cxn>
                <a:cxn ang="0">
                  <a:pos x="278" y="3064"/>
                </a:cxn>
                <a:cxn ang="0">
                  <a:pos x="173" y="2855"/>
                </a:cxn>
                <a:cxn ang="0">
                  <a:pos x="89" y="2633"/>
                </a:cxn>
                <a:cxn ang="0">
                  <a:pos x="32" y="2401"/>
                </a:cxn>
                <a:cxn ang="0">
                  <a:pos x="4" y="2158"/>
                </a:cxn>
                <a:cxn ang="0">
                  <a:pos x="4" y="1907"/>
                </a:cxn>
                <a:cxn ang="0">
                  <a:pos x="34" y="1660"/>
                </a:cxn>
                <a:cxn ang="0">
                  <a:pos x="93" y="1423"/>
                </a:cxn>
                <a:cxn ang="0">
                  <a:pos x="179" y="1198"/>
                </a:cxn>
                <a:cxn ang="0">
                  <a:pos x="289" y="986"/>
                </a:cxn>
                <a:cxn ang="0">
                  <a:pos x="422" y="790"/>
                </a:cxn>
                <a:cxn ang="0">
                  <a:pos x="577" y="611"/>
                </a:cxn>
                <a:cxn ang="0">
                  <a:pos x="751" y="451"/>
                </a:cxn>
                <a:cxn ang="0">
                  <a:pos x="943" y="312"/>
                </a:cxn>
                <a:cxn ang="0">
                  <a:pos x="1151" y="195"/>
                </a:cxn>
                <a:cxn ang="0">
                  <a:pos x="1373" y="103"/>
                </a:cxn>
                <a:cxn ang="0">
                  <a:pos x="1607" y="38"/>
                </a:cxn>
                <a:cxn ang="0">
                  <a:pos x="1852" y="0"/>
                </a:cxn>
              </a:cxnLst>
              <a:rect l="0" t="0" r="r" b="b"/>
              <a:pathLst>
                <a:path w="2137" h="4074">
                  <a:moveTo>
                    <a:pt x="1852" y="0"/>
                  </a:moveTo>
                  <a:lnTo>
                    <a:pt x="2137" y="458"/>
                  </a:lnTo>
                  <a:lnTo>
                    <a:pt x="1851" y="916"/>
                  </a:lnTo>
                  <a:lnTo>
                    <a:pt x="1763" y="935"/>
                  </a:lnTo>
                  <a:lnTo>
                    <a:pt x="1677" y="960"/>
                  </a:lnTo>
                  <a:lnTo>
                    <a:pt x="1595" y="991"/>
                  </a:lnTo>
                  <a:lnTo>
                    <a:pt x="1516" y="1028"/>
                  </a:lnTo>
                  <a:lnTo>
                    <a:pt x="1440" y="1072"/>
                  </a:lnTo>
                  <a:lnTo>
                    <a:pt x="1368" y="1121"/>
                  </a:lnTo>
                  <a:lnTo>
                    <a:pt x="1300" y="1175"/>
                  </a:lnTo>
                  <a:lnTo>
                    <a:pt x="1236" y="1234"/>
                  </a:lnTo>
                  <a:lnTo>
                    <a:pt x="1177" y="1297"/>
                  </a:lnTo>
                  <a:lnTo>
                    <a:pt x="1123" y="1366"/>
                  </a:lnTo>
                  <a:lnTo>
                    <a:pt x="1075" y="1438"/>
                  </a:lnTo>
                  <a:lnTo>
                    <a:pt x="1031" y="1513"/>
                  </a:lnTo>
                  <a:lnTo>
                    <a:pt x="994" y="1593"/>
                  </a:lnTo>
                  <a:lnTo>
                    <a:pt x="963" y="1676"/>
                  </a:lnTo>
                  <a:lnTo>
                    <a:pt x="938" y="1760"/>
                  </a:lnTo>
                  <a:lnTo>
                    <a:pt x="921" y="1849"/>
                  </a:lnTo>
                  <a:lnTo>
                    <a:pt x="910" y="1939"/>
                  </a:lnTo>
                  <a:lnTo>
                    <a:pt x="906" y="2032"/>
                  </a:lnTo>
                  <a:lnTo>
                    <a:pt x="910" y="2125"/>
                  </a:lnTo>
                  <a:lnTo>
                    <a:pt x="921" y="2216"/>
                  </a:lnTo>
                  <a:lnTo>
                    <a:pt x="940" y="2304"/>
                  </a:lnTo>
                  <a:lnTo>
                    <a:pt x="964" y="2390"/>
                  </a:lnTo>
                  <a:lnTo>
                    <a:pt x="995" y="2473"/>
                  </a:lnTo>
                  <a:lnTo>
                    <a:pt x="1033" y="2552"/>
                  </a:lnTo>
                  <a:lnTo>
                    <a:pt x="1076" y="2629"/>
                  </a:lnTo>
                  <a:lnTo>
                    <a:pt x="1125" y="2701"/>
                  </a:lnTo>
                  <a:lnTo>
                    <a:pt x="1179" y="2769"/>
                  </a:lnTo>
                  <a:lnTo>
                    <a:pt x="1239" y="2833"/>
                  </a:lnTo>
                  <a:lnTo>
                    <a:pt x="1302" y="2892"/>
                  </a:lnTo>
                  <a:lnTo>
                    <a:pt x="1370" y="2946"/>
                  </a:lnTo>
                  <a:lnTo>
                    <a:pt x="1442" y="2994"/>
                  </a:lnTo>
                  <a:lnTo>
                    <a:pt x="1519" y="3038"/>
                  </a:lnTo>
                  <a:lnTo>
                    <a:pt x="1599" y="3075"/>
                  </a:lnTo>
                  <a:lnTo>
                    <a:pt x="1682" y="3107"/>
                  </a:lnTo>
                  <a:lnTo>
                    <a:pt x="1767" y="3132"/>
                  </a:lnTo>
                  <a:lnTo>
                    <a:pt x="1857" y="3149"/>
                  </a:lnTo>
                  <a:lnTo>
                    <a:pt x="1947" y="3160"/>
                  </a:lnTo>
                  <a:lnTo>
                    <a:pt x="2041" y="3164"/>
                  </a:lnTo>
                  <a:lnTo>
                    <a:pt x="2080" y="3163"/>
                  </a:lnTo>
                  <a:lnTo>
                    <a:pt x="2120" y="3160"/>
                  </a:lnTo>
                  <a:lnTo>
                    <a:pt x="1835" y="3615"/>
                  </a:lnTo>
                  <a:lnTo>
                    <a:pt x="2122" y="4073"/>
                  </a:lnTo>
                  <a:lnTo>
                    <a:pt x="2041" y="4074"/>
                  </a:lnTo>
                  <a:lnTo>
                    <a:pt x="1916" y="4070"/>
                  </a:lnTo>
                  <a:lnTo>
                    <a:pt x="1794" y="4059"/>
                  </a:lnTo>
                  <a:lnTo>
                    <a:pt x="1673" y="4042"/>
                  </a:lnTo>
                  <a:lnTo>
                    <a:pt x="1556" y="4016"/>
                  </a:lnTo>
                  <a:lnTo>
                    <a:pt x="1441" y="3985"/>
                  </a:lnTo>
                  <a:lnTo>
                    <a:pt x="1328" y="3946"/>
                  </a:lnTo>
                  <a:lnTo>
                    <a:pt x="1219" y="3901"/>
                  </a:lnTo>
                  <a:lnTo>
                    <a:pt x="1113" y="3852"/>
                  </a:lnTo>
                  <a:lnTo>
                    <a:pt x="1010" y="3796"/>
                  </a:lnTo>
                  <a:lnTo>
                    <a:pt x="912" y="3734"/>
                  </a:lnTo>
                  <a:lnTo>
                    <a:pt x="817" y="3667"/>
                  </a:lnTo>
                  <a:lnTo>
                    <a:pt x="726" y="3594"/>
                  </a:lnTo>
                  <a:lnTo>
                    <a:pt x="639" y="3517"/>
                  </a:lnTo>
                  <a:lnTo>
                    <a:pt x="557" y="3435"/>
                  </a:lnTo>
                  <a:lnTo>
                    <a:pt x="480" y="3348"/>
                  </a:lnTo>
                  <a:lnTo>
                    <a:pt x="407" y="3257"/>
                  </a:lnTo>
                  <a:lnTo>
                    <a:pt x="340" y="3162"/>
                  </a:lnTo>
                  <a:lnTo>
                    <a:pt x="278" y="3064"/>
                  </a:lnTo>
                  <a:lnTo>
                    <a:pt x="222" y="2961"/>
                  </a:lnTo>
                  <a:lnTo>
                    <a:pt x="173" y="2855"/>
                  </a:lnTo>
                  <a:lnTo>
                    <a:pt x="128" y="2746"/>
                  </a:lnTo>
                  <a:lnTo>
                    <a:pt x="89" y="2633"/>
                  </a:lnTo>
                  <a:lnTo>
                    <a:pt x="58" y="2518"/>
                  </a:lnTo>
                  <a:lnTo>
                    <a:pt x="32" y="2401"/>
                  </a:lnTo>
                  <a:lnTo>
                    <a:pt x="15" y="2280"/>
                  </a:lnTo>
                  <a:lnTo>
                    <a:pt x="4" y="2158"/>
                  </a:lnTo>
                  <a:lnTo>
                    <a:pt x="0" y="2033"/>
                  </a:lnTo>
                  <a:lnTo>
                    <a:pt x="4" y="1907"/>
                  </a:lnTo>
                  <a:lnTo>
                    <a:pt x="15" y="1783"/>
                  </a:lnTo>
                  <a:lnTo>
                    <a:pt x="34" y="1660"/>
                  </a:lnTo>
                  <a:lnTo>
                    <a:pt x="60" y="1539"/>
                  </a:lnTo>
                  <a:lnTo>
                    <a:pt x="93" y="1423"/>
                  </a:lnTo>
                  <a:lnTo>
                    <a:pt x="133" y="1309"/>
                  </a:lnTo>
                  <a:lnTo>
                    <a:pt x="179" y="1198"/>
                  </a:lnTo>
                  <a:lnTo>
                    <a:pt x="231" y="1090"/>
                  </a:lnTo>
                  <a:lnTo>
                    <a:pt x="289" y="986"/>
                  </a:lnTo>
                  <a:lnTo>
                    <a:pt x="353" y="885"/>
                  </a:lnTo>
                  <a:lnTo>
                    <a:pt x="422" y="790"/>
                  </a:lnTo>
                  <a:lnTo>
                    <a:pt x="496" y="698"/>
                  </a:lnTo>
                  <a:lnTo>
                    <a:pt x="577" y="611"/>
                  </a:lnTo>
                  <a:lnTo>
                    <a:pt x="662" y="528"/>
                  </a:lnTo>
                  <a:lnTo>
                    <a:pt x="751" y="451"/>
                  </a:lnTo>
                  <a:lnTo>
                    <a:pt x="845" y="379"/>
                  </a:lnTo>
                  <a:lnTo>
                    <a:pt x="943" y="312"/>
                  </a:lnTo>
                  <a:lnTo>
                    <a:pt x="1045" y="251"/>
                  </a:lnTo>
                  <a:lnTo>
                    <a:pt x="1151" y="195"/>
                  </a:lnTo>
                  <a:lnTo>
                    <a:pt x="1260" y="147"/>
                  </a:lnTo>
                  <a:lnTo>
                    <a:pt x="1373" y="103"/>
                  </a:lnTo>
                  <a:lnTo>
                    <a:pt x="1488" y="67"/>
                  </a:lnTo>
                  <a:lnTo>
                    <a:pt x="1607" y="38"/>
                  </a:lnTo>
                  <a:lnTo>
                    <a:pt x="1728" y="15"/>
                  </a:lnTo>
                  <a:lnTo>
                    <a:pt x="1852" y="0"/>
                  </a:lnTo>
                  <a:close/>
                </a:path>
              </a:pathLst>
            </a:custGeom>
            <a:solidFill>
              <a:srgbClr val="A0CAFD"/>
            </a:solidFill>
            <a:ln>
              <a:noFill/>
            </a:ln>
            <a:effectLst/>
          </p:spPr>
          <p:txBody>
            <a:bodyPr/>
            <a:lstStyle/>
            <a:p>
              <a:pPr eaLnBrk="1" hangingPunct="1">
                <a:spcBef>
                  <a:spcPts val="0"/>
                </a:spcBef>
                <a:defRPr/>
              </a:pPr>
              <a:endParaRPr lang="de-CH" sz="6303" dirty="0">
                <a:latin typeface="Frutiger for ZKB Light" panose="020B0303030504020204" pitchFamily="34" charset="0"/>
              </a:endParaRPr>
            </a:p>
          </p:txBody>
        </p:sp>
      </p:grpSp>
      <p:sp>
        <p:nvSpPr>
          <p:cNvPr id="116747" name="Inhaltsplatzhalter 5">
            <a:extLst>
              <a:ext uri="{FF2B5EF4-FFF2-40B4-BE49-F238E27FC236}">
                <a16:creationId xmlns:a16="http://schemas.microsoft.com/office/drawing/2014/main" id="{FB697761-96FB-3750-FEF6-8AF445F6457B}"/>
              </a:ext>
            </a:extLst>
          </p:cNvPr>
          <p:cNvSpPr txBox="1">
            <a:spLocks noChangeArrowheads="1"/>
          </p:cNvSpPr>
          <p:nvPr/>
        </p:nvSpPr>
        <p:spPr bwMode="auto">
          <a:xfrm>
            <a:off x="811213" y="3892550"/>
            <a:ext cx="3055937"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sp>
        <p:nvSpPr>
          <p:cNvPr id="116748" name="Inhaltsplatzhalter 5">
            <a:extLst>
              <a:ext uri="{FF2B5EF4-FFF2-40B4-BE49-F238E27FC236}">
                <a16:creationId xmlns:a16="http://schemas.microsoft.com/office/drawing/2014/main" id="{F1450611-9D1B-B25B-1469-739C4042EF37}"/>
              </a:ext>
            </a:extLst>
          </p:cNvPr>
          <p:cNvSpPr txBox="1">
            <a:spLocks noChangeArrowheads="1"/>
          </p:cNvSpPr>
          <p:nvPr/>
        </p:nvSpPr>
        <p:spPr bwMode="auto">
          <a:xfrm>
            <a:off x="9599613" y="3892550"/>
            <a:ext cx="2881312"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sp>
        <p:nvSpPr>
          <p:cNvPr id="116749" name="Inhaltsplatzhalter 5">
            <a:extLst>
              <a:ext uri="{FF2B5EF4-FFF2-40B4-BE49-F238E27FC236}">
                <a16:creationId xmlns:a16="http://schemas.microsoft.com/office/drawing/2014/main" id="{D4CC04E0-3343-4A1D-9433-4DF577A13D7A}"/>
              </a:ext>
            </a:extLst>
          </p:cNvPr>
          <p:cNvSpPr txBox="1">
            <a:spLocks noChangeArrowheads="1"/>
          </p:cNvSpPr>
          <p:nvPr/>
        </p:nvSpPr>
        <p:spPr bwMode="auto">
          <a:xfrm>
            <a:off x="5330825" y="3677676"/>
            <a:ext cx="2152650" cy="818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108000" bIns="0" anchor="ctr">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lnSpc>
                <a:spcPct val="95000"/>
              </a:lnSpc>
              <a:spcBef>
                <a:spcPts val="0"/>
              </a:spcBef>
              <a:buClrTx/>
            </a:pPr>
            <a:r>
              <a:rPr lang="de-CH" altLang="de-DE" sz="2800" dirty="0">
                <a:solidFill>
                  <a:schemeClr val="tx1"/>
                </a:solidFill>
              </a:rPr>
              <a:t>Lorem</a:t>
            </a:r>
          </a:p>
          <a:p>
            <a:pPr algn="ctr" eaLnBrk="1" hangingPunct="1">
              <a:lnSpc>
                <a:spcPct val="95000"/>
              </a:lnSpc>
              <a:spcBef>
                <a:spcPts val="0"/>
              </a:spcBef>
              <a:buClrTx/>
            </a:pPr>
            <a:r>
              <a:rPr lang="de-CH" altLang="de-DE" sz="2800" dirty="0">
                <a:solidFill>
                  <a:schemeClr val="tx1"/>
                </a:solidFill>
              </a:rPr>
              <a:t>ipsum</a:t>
            </a:r>
          </a:p>
        </p:txBody>
      </p:sp>
      <p:sp>
        <p:nvSpPr>
          <p:cNvPr id="116750" name="Inhaltsplatzhalter 5">
            <a:extLst>
              <a:ext uri="{FF2B5EF4-FFF2-40B4-BE49-F238E27FC236}">
                <a16:creationId xmlns:a16="http://schemas.microsoft.com/office/drawing/2014/main" id="{A6B729EB-1BD9-EEB7-B98B-ACB8536BEC09}"/>
              </a:ext>
            </a:extLst>
          </p:cNvPr>
          <p:cNvSpPr txBox="1">
            <a:spLocks noChangeArrowheads="1"/>
          </p:cNvSpPr>
          <p:nvPr/>
        </p:nvSpPr>
        <p:spPr bwMode="auto">
          <a:xfrm>
            <a:off x="4278313" y="3903663"/>
            <a:ext cx="920750"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t>2</a:t>
            </a:r>
          </a:p>
        </p:txBody>
      </p:sp>
      <p:sp>
        <p:nvSpPr>
          <p:cNvPr id="116751" name="Inhaltsplatzhalter 5">
            <a:extLst>
              <a:ext uri="{FF2B5EF4-FFF2-40B4-BE49-F238E27FC236}">
                <a16:creationId xmlns:a16="http://schemas.microsoft.com/office/drawing/2014/main" id="{43C755BD-81A0-ACA0-E397-50F3E5218BBE}"/>
              </a:ext>
            </a:extLst>
          </p:cNvPr>
          <p:cNvSpPr txBox="1">
            <a:spLocks noChangeArrowheads="1"/>
          </p:cNvSpPr>
          <p:nvPr/>
        </p:nvSpPr>
        <p:spPr bwMode="auto">
          <a:xfrm>
            <a:off x="7651750" y="3903663"/>
            <a:ext cx="900113"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t>1</a:t>
            </a:r>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Gerade Verbindung 7">
            <a:extLst>
              <a:ext uri="{FF2B5EF4-FFF2-40B4-BE49-F238E27FC236}">
                <a16:creationId xmlns:a16="http://schemas.microsoft.com/office/drawing/2014/main" id="{33D743CD-32E3-2CE7-A7A9-F7124D84E4C4}"/>
              </a:ext>
            </a:extLst>
          </p:cNvPr>
          <p:cNvCxnSpPr>
            <a:cxnSpLocks/>
          </p:cNvCxnSpPr>
          <p:nvPr/>
        </p:nvCxnSpPr>
        <p:spPr>
          <a:xfrm>
            <a:off x="7602538" y="6072188"/>
            <a:ext cx="6969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6">
            <a:extLst>
              <a:ext uri="{FF2B5EF4-FFF2-40B4-BE49-F238E27FC236}">
                <a16:creationId xmlns:a16="http://schemas.microsoft.com/office/drawing/2014/main" id="{CDFFFC70-2707-1020-7714-AFD0F833514A}"/>
              </a:ext>
            </a:extLst>
          </p:cNvPr>
          <p:cNvCxnSpPr>
            <a:cxnSpLocks/>
          </p:cNvCxnSpPr>
          <p:nvPr/>
        </p:nvCxnSpPr>
        <p:spPr>
          <a:xfrm>
            <a:off x="8612188" y="3454400"/>
            <a:ext cx="6969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5">
            <a:extLst>
              <a:ext uri="{FF2B5EF4-FFF2-40B4-BE49-F238E27FC236}">
                <a16:creationId xmlns:a16="http://schemas.microsoft.com/office/drawing/2014/main" id="{961CAFFF-E212-9FCD-5E4A-9BF84AC2EB32}"/>
              </a:ext>
            </a:extLst>
          </p:cNvPr>
          <p:cNvCxnSpPr>
            <a:cxnSpLocks/>
          </p:cNvCxnSpPr>
          <p:nvPr/>
        </p:nvCxnSpPr>
        <p:spPr>
          <a:xfrm>
            <a:off x="3548063" y="3454400"/>
            <a:ext cx="6969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17765" name="Objekt 4" hidden="1">
            <a:extLst>
              <a:ext uri="{FF2B5EF4-FFF2-40B4-BE49-F238E27FC236}">
                <a16:creationId xmlns:a16="http://schemas.microsoft.com/office/drawing/2014/main" id="{C2E33738-4CE2-1145-DF21-F798864B3E4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117765" name="Objekt 4" hidden="1">
                        <a:extLst>
                          <a:ext uri="{FF2B5EF4-FFF2-40B4-BE49-F238E27FC236}">
                            <a16:creationId xmlns:a16="http://schemas.microsoft.com/office/drawing/2014/main" id="{C2E33738-4CE2-1145-DF21-F798864B3E4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2AB2F542-0A58-18B2-0CD9-DAE9EEC8BE4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117767" name="Titel 14">
            <a:extLst>
              <a:ext uri="{FF2B5EF4-FFF2-40B4-BE49-F238E27FC236}">
                <a16:creationId xmlns:a16="http://schemas.microsoft.com/office/drawing/2014/main" id="{E8D06017-FA97-1DF2-E1B9-C07E45EE7102}"/>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Kreislauf – 3-teilig</a:t>
            </a:r>
          </a:p>
        </p:txBody>
      </p:sp>
      <p:sp>
        <p:nvSpPr>
          <p:cNvPr id="117768" name="Foliennummernplatzhalter 17">
            <a:extLst>
              <a:ext uri="{FF2B5EF4-FFF2-40B4-BE49-F238E27FC236}">
                <a16:creationId xmlns:a16="http://schemas.microsoft.com/office/drawing/2014/main" id="{80692D26-F856-773A-D3DF-C437AA6B64C4}"/>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D60AA908-2240-4F65-ACEA-20350E8C6AFA}" type="slidenum">
              <a:rPr lang="de-CH" altLang="de-DE" sz="1100" smtClean="0">
                <a:solidFill>
                  <a:srgbClr val="003CB4"/>
                </a:solidFill>
                <a:latin typeface="Frutiger for ZKB Light" panose="020B0303030504020204" pitchFamily="34" charset="0"/>
              </a:rPr>
              <a:pPr>
                <a:spcBef>
                  <a:spcPct val="0"/>
                </a:spcBef>
                <a:spcAft>
                  <a:spcPct val="0"/>
                </a:spcAft>
              </a:pPr>
              <a:t>86</a:t>
            </a:fld>
            <a:endParaRPr lang="de-CH" altLang="de-DE" sz="1100" dirty="0">
              <a:solidFill>
                <a:srgbClr val="003CB4"/>
              </a:solidFill>
              <a:latin typeface="Frutiger for ZKB Light" panose="020B0303030504020204" pitchFamily="34" charset="0"/>
            </a:endParaRPr>
          </a:p>
        </p:txBody>
      </p:sp>
      <p:sp>
        <p:nvSpPr>
          <p:cNvPr id="117769" name="Fußzeilenplatzhalter 16">
            <a:extLst>
              <a:ext uri="{FF2B5EF4-FFF2-40B4-BE49-F238E27FC236}">
                <a16:creationId xmlns:a16="http://schemas.microsoft.com/office/drawing/2014/main" id="{7D8AE55E-D13F-F764-3BE4-13975A5420D8}"/>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17770" name="Oval 4">
            <a:extLst>
              <a:ext uri="{FF2B5EF4-FFF2-40B4-BE49-F238E27FC236}">
                <a16:creationId xmlns:a16="http://schemas.microsoft.com/office/drawing/2014/main" id="{93DD4B21-3BEC-6FE5-B80B-1B8F6A62289D}"/>
              </a:ext>
            </a:extLst>
          </p:cNvPr>
          <p:cNvSpPr>
            <a:spLocks noChangeArrowheads="1"/>
          </p:cNvSpPr>
          <p:nvPr>
            <p:custDataLst>
              <p:tags r:id="rId3"/>
            </p:custDataLst>
          </p:nvPr>
        </p:nvSpPr>
        <p:spPr bwMode="gray">
          <a:xfrm>
            <a:off x="4175125" y="1870075"/>
            <a:ext cx="4500563" cy="4491038"/>
          </a:xfrm>
          <a:prstGeom prst="ellipse">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endParaRPr lang="de-CH" altLang="de-DE" sz="1600" dirty="0">
              <a:solidFill>
                <a:srgbClr val="003CB4"/>
              </a:solidFill>
              <a:latin typeface="Frutiger for ZKB Light" panose="020B0303030504020204" pitchFamily="34" charset="0"/>
            </a:endParaRPr>
          </a:p>
        </p:txBody>
      </p:sp>
      <p:sp>
        <p:nvSpPr>
          <p:cNvPr id="244" name="Freeform 30">
            <a:extLst>
              <a:ext uri="{FF2B5EF4-FFF2-40B4-BE49-F238E27FC236}">
                <a16:creationId xmlns:a16="http://schemas.microsoft.com/office/drawing/2014/main" id="{D0CC4341-FF22-5710-F9F5-CA27D1BAC019}"/>
              </a:ext>
            </a:extLst>
          </p:cNvPr>
          <p:cNvSpPr>
            <a:spLocks/>
          </p:cNvSpPr>
          <p:nvPr>
            <p:custDataLst>
              <p:tags r:id="rId4"/>
            </p:custDataLst>
          </p:nvPr>
        </p:nvSpPr>
        <p:spPr bwMode="gray">
          <a:xfrm>
            <a:off x="4675188" y="4618038"/>
            <a:ext cx="3654425" cy="1624012"/>
          </a:xfrm>
          <a:custGeom>
            <a:avLst/>
            <a:gdLst/>
            <a:ahLst/>
            <a:cxnLst>
              <a:cxn ang="0">
                <a:pos x="2928" y="471"/>
              </a:cxn>
              <a:cxn ang="0">
                <a:pos x="3414" y="552"/>
              </a:cxn>
              <a:cxn ang="0">
                <a:pos x="3285" y="743"/>
              </a:cxn>
              <a:cxn ang="0">
                <a:pos x="3134" y="916"/>
              </a:cxn>
              <a:cxn ang="0">
                <a:pos x="2967" y="1073"/>
              </a:cxn>
              <a:cxn ang="0">
                <a:pos x="2782" y="1209"/>
              </a:cxn>
              <a:cxn ang="0">
                <a:pos x="2582" y="1325"/>
              </a:cxn>
              <a:cxn ang="0">
                <a:pos x="2369" y="1417"/>
              </a:cxn>
              <a:cxn ang="0">
                <a:pos x="2143" y="1485"/>
              </a:cxn>
              <a:cxn ang="0">
                <a:pos x="1908" y="1527"/>
              </a:cxn>
              <a:cxn ang="0">
                <a:pos x="1664" y="1542"/>
              </a:cxn>
              <a:cxn ang="0">
                <a:pos x="1410" y="1526"/>
              </a:cxn>
              <a:cxn ang="0">
                <a:pos x="1167" y="1481"/>
              </a:cxn>
              <a:cxn ang="0">
                <a:pos x="934" y="1408"/>
              </a:cxn>
              <a:cxn ang="0">
                <a:pos x="714" y="1307"/>
              </a:cxn>
              <a:cxn ang="0">
                <a:pos x="509" y="1183"/>
              </a:cxn>
              <a:cxn ang="0">
                <a:pos x="321" y="1037"/>
              </a:cxn>
              <a:cxn ang="0">
                <a:pos x="151" y="871"/>
              </a:cxn>
              <a:cxn ang="0">
                <a:pos x="0" y="684"/>
              </a:cxn>
              <a:cxn ang="0">
                <a:pos x="796" y="229"/>
              </a:cxn>
              <a:cxn ang="0">
                <a:pos x="919" y="354"/>
              </a:cxn>
              <a:cxn ang="0">
                <a:pos x="1060" y="460"/>
              </a:cxn>
              <a:cxn ang="0">
                <a:pos x="1217" y="542"/>
              </a:cxn>
              <a:cxn ang="0">
                <a:pos x="1388" y="599"/>
              </a:cxn>
              <a:cxn ang="0">
                <a:pos x="1569" y="628"/>
              </a:cxn>
              <a:cxn ang="0">
                <a:pos x="1758" y="628"/>
              </a:cxn>
              <a:cxn ang="0">
                <a:pos x="1940" y="597"/>
              </a:cxn>
              <a:cxn ang="0">
                <a:pos x="2112" y="540"/>
              </a:cxn>
              <a:cxn ang="0">
                <a:pos x="2269" y="456"/>
              </a:cxn>
              <a:cxn ang="0">
                <a:pos x="2412" y="350"/>
              </a:cxn>
              <a:cxn ang="0">
                <a:pos x="2535" y="224"/>
              </a:cxn>
              <a:cxn ang="0">
                <a:pos x="2638" y="79"/>
              </a:cxn>
            </a:cxnLst>
            <a:rect l="0" t="0" r="r" b="b"/>
            <a:pathLst>
              <a:path w="3471" h="1542">
                <a:moveTo>
                  <a:pt x="2680" y="0"/>
                </a:moveTo>
                <a:lnTo>
                  <a:pt x="2928" y="471"/>
                </a:lnTo>
                <a:lnTo>
                  <a:pt x="3471" y="451"/>
                </a:lnTo>
                <a:lnTo>
                  <a:pt x="3414" y="552"/>
                </a:lnTo>
                <a:lnTo>
                  <a:pt x="3352" y="648"/>
                </a:lnTo>
                <a:lnTo>
                  <a:pt x="3285" y="743"/>
                </a:lnTo>
                <a:lnTo>
                  <a:pt x="3211" y="831"/>
                </a:lnTo>
                <a:lnTo>
                  <a:pt x="3134" y="916"/>
                </a:lnTo>
                <a:lnTo>
                  <a:pt x="3052" y="997"/>
                </a:lnTo>
                <a:lnTo>
                  <a:pt x="2967" y="1073"/>
                </a:lnTo>
                <a:lnTo>
                  <a:pt x="2876" y="1144"/>
                </a:lnTo>
                <a:lnTo>
                  <a:pt x="2782" y="1209"/>
                </a:lnTo>
                <a:lnTo>
                  <a:pt x="2684" y="1269"/>
                </a:lnTo>
                <a:lnTo>
                  <a:pt x="2582" y="1325"/>
                </a:lnTo>
                <a:lnTo>
                  <a:pt x="2477" y="1373"/>
                </a:lnTo>
                <a:lnTo>
                  <a:pt x="2369" y="1417"/>
                </a:lnTo>
                <a:lnTo>
                  <a:pt x="2257" y="1454"/>
                </a:lnTo>
                <a:lnTo>
                  <a:pt x="2143" y="1485"/>
                </a:lnTo>
                <a:lnTo>
                  <a:pt x="2026" y="1510"/>
                </a:lnTo>
                <a:lnTo>
                  <a:pt x="1908" y="1527"/>
                </a:lnTo>
                <a:lnTo>
                  <a:pt x="1786" y="1538"/>
                </a:lnTo>
                <a:lnTo>
                  <a:pt x="1664" y="1542"/>
                </a:lnTo>
                <a:lnTo>
                  <a:pt x="1536" y="1538"/>
                </a:lnTo>
                <a:lnTo>
                  <a:pt x="1410" y="1526"/>
                </a:lnTo>
                <a:lnTo>
                  <a:pt x="1287" y="1507"/>
                </a:lnTo>
                <a:lnTo>
                  <a:pt x="1167" y="1481"/>
                </a:lnTo>
                <a:lnTo>
                  <a:pt x="1049" y="1448"/>
                </a:lnTo>
                <a:lnTo>
                  <a:pt x="934" y="1408"/>
                </a:lnTo>
                <a:lnTo>
                  <a:pt x="822" y="1361"/>
                </a:lnTo>
                <a:lnTo>
                  <a:pt x="714" y="1307"/>
                </a:lnTo>
                <a:lnTo>
                  <a:pt x="610" y="1249"/>
                </a:lnTo>
                <a:lnTo>
                  <a:pt x="509" y="1183"/>
                </a:lnTo>
                <a:lnTo>
                  <a:pt x="412" y="1113"/>
                </a:lnTo>
                <a:lnTo>
                  <a:pt x="321" y="1037"/>
                </a:lnTo>
                <a:lnTo>
                  <a:pt x="232" y="956"/>
                </a:lnTo>
                <a:lnTo>
                  <a:pt x="151" y="871"/>
                </a:lnTo>
                <a:lnTo>
                  <a:pt x="72" y="780"/>
                </a:lnTo>
                <a:lnTo>
                  <a:pt x="0" y="684"/>
                </a:lnTo>
                <a:lnTo>
                  <a:pt x="252" y="210"/>
                </a:lnTo>
                <a:lnTo>
                  <a:pt x="796" y="229"/>
                </a:lnTo>
                <a:lnTo>
                  <a:pt x="856" y="293"/>
                </a:lnTo>
                <a:lnTo>
                  <a:pt x="919" y="354"/>
                </a:lnTo>
                <a:lnTo>
                  <a:pt x="987" y="409"/>
                </a:lnTo>
                <a:lnTo>
                  <a:pt x="1060" y="460"/>
                </a:lnTo>
                <a:lnTo>
                  <a:pt x="1137" y="503"/>
                </a:lnTo>
                <a:lnTo>
                  <a:pt x="1217" y="542"/>
                </a:lnTo>
                <a:lnTo>
                  <a:pt x="1301" y="574"/>
                </a:lnTo>
                <a:lnTo>
                  <a:pt x="1388" y="599"/>
                </a:lnTo>
                <a:lnTo>
                  <a:pt x="1477" y="617"/>
                </a:lnTo>
                <a:lnTo>
                  <a:pt x="1569" y="628"/>
                </a:lnTo>
                <a:lnTo>
                  <a:pt x="1664" y="632"/>
                </a:lnTo>
                <a:lnTo>
                  <a:pt x="1758" y="628"/>
                </a:lnTo>
                <a:lnTo>
                  <a:pt x="1851" y="617"/>
                </a:lnTo>
                <a:lnTo>
                  <a:pt x="1940" y="597"/>
                </a:lnTo>
                <a:lnTo>
                  <a:pt x="2027" y="573"/>
                </a:lnTo>
                <a:lnTo>
                  <a:pt x="2112" y="540"/>
                </a:lnTo>
                <a:lnTo>
                  <a:pt x="2192" y="501"/>
                </a:lnTo>
                <a:lnTo>
                  <a:pt x="2269" y="456"/>
                </a:lnTo>
                <a:lnTo>
                  <a:pt x="2342" y="406"/>
                </a:lnTo>
                <a:lnTo>
                  <a:pt x="2412" y="350"/>
                </a:lnTo>
                <a:lnTo>
                  <a:pt x="2475" y="290"/>
                </a:lnTo>
                <a:lnTo>
                  <a:pt x="2535" y="224"/>
                </a:lnTo>
                <a:lnTo>
                  <a:pt x="2589" y="153"/>
                </a:lnTo>
                <a:lnTo>
                  <a:pt x="2638" y="79"/>
                </a:lnTo>
                <a:lnTo>
                  <a:pt x="2680" y="0"/>
                </a:lnTo>
                <a:close/>
              </a:path>
            </a:pathLst>
          </a:custGeom>
          <a:solidFill>
            <a:srgbClr val="A0CAFD"/>
          </a:solidFill>
          <a:ln>
            <a:noFill/>
          </a:ln>
          <a:effectLst/>
        </p:spPr>
        <p:txBody>
          <a:bodyPr/>
          <a:lstStyle/>
          <a:p>
            <a:pPr eaLnBrk="1" hangingPunct="1">
              <a:spcBef>
                <a:spcPts val="0"/>
              </a:spcBef>
              <a:defRPr/>
            </a:pPr>
            <a:endParaRPr lang="de-CH" sz="6303" dirty="0">
              <a:solidFill>
                <a:srgbClr val="003CB4"/>
              </a:solidFill>
              <a:latin typeface="Frutiger for ZKB Light" panose="020B0303030504020204" pitchFamily="34" charset="0"/>
            </a:endParaRPr>
          </a:p>
        </p:txBody>
      </p:sp>
      <p:sp>
        <p:nvSpPr>
          <p:cNvPr id="245" name="Freeform 31">
            <a:extLst>
              <a:ext uri="{FF2B5EF4-FFF2-40B4-BE49-F238E27FC236}">
                <a16:creationId xmlns:a16="http://schemas.microsoft.com/office/drawing/2014/main" id="{F6C10806-2311-7F32-16A2-45966E0C034A}"/>
              </a:ext>
            </a:extLst>
          </p:cNvPr>
          <p:cNvSpPr>
            <a:spLocks/>
          </p:cNvSpPr>
          <p:nvPr>
            <p:custDataLst>
              <p:tags r:id="rId5"/>
            </p:custDataLst>
          </p:nvPr>
        </p:nvSpPr>
        <p:spPr bwMode="gray">
          <a:xfrm>
            <a:off x="4276725" y="1949450"/>
            <a:ext cx="2252663" cy="3297238"/>
          </a:xfrm>
          <a:custGeom>
            <a:avLst/>
            <a:gdLst/>
            <a:ahLst/>
            <a:cxnLst>
              <a:cxn ang="0">
                <a:pos x="2139" y="452"/>
              </a:cxn>
              <a:cxn ang="0">
                <a:pos x="1760" y="935"/>
              </a:cxn>
              <a:cxn ang="0">
                <a:pos x="1592" y="992"/>
              </a:cxn>
              <a:cxn ang="0">
                <a:pos x="1437" y="1073"/>
              </a:cxn>
              <a:cxn ang="0">
                <a:pos x="1298" y="1176"/>
              </a:cxn>
              <a:cxn ang="0">
                <a:pos x="1177" y="1299"/>
              </a:cxn>
              <a:cxn ang="0">
                <a:pos x="1075" y="1439"/>
              </a:cxn>
              <a:cxn ang="0">
                <a:pos x="994" y="1594"/>
              </a:cxn>
              <a:cxn ang="0">
                <a:pos x="938" y="1762"/>
              </a:cxn>
              <a:cxn ang="0">
                <a:pos x="910" y="1940"/>
              </a:cxn>
              <a:cxn ang="0">
                <a:pos x="910" y="2119"/>
              </a:cxn>
              <a:cxn ang="0">
                <a:pos x="936" y="2289"/>
              </a:cxn>
              <a:cxn ang="0">
                <a:pos x="986" y="2449"/>
              </a:cxn>
              <a:cxn ang="0">
                <a:pos x="1058" y="2598"/>
              </a:cxn>
              <a:cxn ang="0">
                <a:pos x="576" y="2648"/>
              </a:cxn>
              <a:cxn ang="0">
                <a:pos x="262" y="3034"/>
              </a:cxn>
              <a:cxn ang="0">
                <a:pos x="161" y="2830"/>
              </a:cxn>
              <a:cxn ang="0">
                <a:pos x="84" y="2614"/>
              </a:cxn>
              <a:cxn ang="0">
                <a:pos x="31" y="2388"/>
              </a:cxn>
              <a:cxn ang="0">
                <a:pos x="4" y="2154"/>
              </a:cxn>
              <a:cxn ang="0">
                <a:pos x="4" y="1907"/>
              </a:cxn>
              <a:cxn ang="0">
                <a:pos x="35" y="1660"/>
              </a:cxn>
              <a:cxn ang="0">
                <a:pos x="93" y="1422"/>
              </a:cxn>
              <a:cxn ang="0">
                <a:pos x="179" y="1197"/>
              </a:cxn>
              <a:cxn ang="0">
                <a:pos x="289" y="985"/>
              </a:cxn>
              <a:cxn ang="0">
                <a:pos x="423" y="789"/>
              </a:cxn>
              <a:cxn ang="0">
                <a:pos x="578" y="610"/>
              </a:cxn>
              <a:cxn ang="0">
                <a:pos x="753" y="450"/>
              </a:cxn>
              <a:cxn ang="0">
                <a:pos x="946" y="311"/>
              </a:cxn>
              <a:cxn ang="0">
                <a:pos x="1153" y="194"/>
              </a:cxn>
              <a:cxn ang="0">
                <a:pos x="1377" y="102"/>
              </a:cxn>
              <a:cxn ang="0">
                <a:pos x="1611" y="38"/>
              </a:cxn>
              <a:cxn ang="0">
                <a:pos x="1856" y="0"/>
              </a:cxn>
            </a:cxnLst>
            <a:rect l="0" t="0" r="r" b="b"/>
            <a:pathLst>
              <a:path w="2139" h="3131">
                <a:moveTo>
                  <a:pt x="1856" y="0"/>
                </a:moveTo>
                <a:lnTo>
                  <a:pt x="2139" y="452"/>
                </a:lnTo>
                <a:lnTo>
                  <a:pt x="1848" y="916"/>
                </a:lnTo>
                <a:lnTo>
                  <a:pt x="1760" y="935"/>
                </a:lnTo>
                <a:lnTo>
                  <a:pt x="1674" y="960"/>
                </a:lnTo>
                <a:lnTo>
                  <a:pt x="1592" y="992"/>
                </a:lnTo>
                <a:lnTo>
                  <a:pt x="1513" y="1029"/>
                </a:lnTo>
                <a:lnTo>
                  <a:pt x="1437" y="1073"/>
                </a:lnTo>
                <a:lnTo>
                  <a:pt x="1367" y="1122"/>
                </a:lnTo>
                <a:lnTo>
                  <a:pt x="1298" y="1176"/>
                </a:lnTo>
                <a:lnTo>
                  <a:pt x="1235" y="1235"/>
                </a:lnTo>
                <a:lnTo>
                  <a:pt x="1177" y="1299"/>
                </a:lnTo>
                <a:lnTo>
                  <a:pt x="1123" y="1367"/>
                </a:lnTo>
                <a:lnTo>
                  <a:pt x="1075" y="1439"/>
                </a:lnTo>
                <a:lnTo>
                  <a:pt x="1031" y="1515"/>
                </a:lnTo>
                <a:lnTo>
                  <a:pt x="994" y="1594"/>
                </a:lnTo>
                <a:lnTo>
                  <a:pt x="963" y="1676"/>
                </a:lnTo>
                <a:lnTo>
                  <a:pt x="938" y="1762"/>
                </a:lnTo>
                <a:lnTo>
                  <a:pt x="921" y="1850"/>
                </a:lnTo>
                <a:lnTo>
                  <a:pt x="910" y="1940"/>
                </a:lnTo>
                <a:lnTo>
                  <a:pt x="906" y="2032"/>
                </a:lnTo>
                <a:lnTo>
                  <a:pt x="910" y="2119"/>
                </a:lnTo>
                <a:lnTo>
                  <a:pt x="920" y="2205"/>
                </a:lnTo>
                <a:lnTo>
                  <a:pt x="936" y="2289"/>
                </a:lnTo>
                <a:lnTo>
                  <a:pt x="957" y="2370"/>
                </a:lnTo>
                <a:lnTo>
                  <a:pt x="986" y="2449"/>
                </a:lnTo>
                <a:lnTo>
                  <a:pt x="1019" y="2525"/>
                </a:lnTo>
                <a:lnTo>
                  <a:pt x="1058" y="2598"/>
                </a:lnTo>
                <a:lnTo>
                  <a:pt x="1101" y="2668"/>
                </a:lnTo>
                <a:lnTo>
                  <a:pt x="576" y="2648"/>
                </a:lnTo>
                <a:lnTo>
                  <a:pt x="320" y="3131"/>
                </a:lnTo>
                <a:lnTo>
                  <a:pt x="262" y="3034"/>
                </a:lnTo>
                <a:lnTo>
                  <a:pt x="210" y="2933"/>
                </a:lnTo>
                <a:lnTo>
                  <a:pt x="161" y="2830"/>
                </a:lnTo>
                <a:lnTo>
                  <a:pt x="120" y="2724"/>
                </a:lnTo>
                <a:lnTo>
                  <a:pt x="84" y="2614"/>
                </a:lnTo>
                <a:lnTo>
                  <a:pt x="55" y="2503"/>
                </a:lnTo>
                <a:lnTo>
                  <a:pt x="31" y="2388"/>
                </a:lnTo>
                <a:lnTo>
                  <a:pt x="14" y="2272"/>
                </a:lnTo>
                <a:lnTo>
                  <a:pt x="4" y="2154"/>
                </a:lnTo>
                <a:lnTo>
                  <a:pt x="0" y="2033"/>
                </a:lnTo>
                <a:lnTo>
                  <a:pt x="4" y="1907"/>
                </a:lnTo>
                <a:lnTo>
                  <a:pt x="15" y="1781"/>
                </a:lnTo>
                <a:lnTo>
                  <a:pt x="35" y="1660"/>
                </a:lnTo>
                <a:lnTo>
                  <a:pt x="61" y="1539"/>
                </a:lnTo>
                <a:lnTo>
                  <a:pt x="93" y="1422"/>
                </a:lnTo>
                <a:lnTo>
                  <a:pt x="133" y="1307"/>
                </a:lnTo>
                <a:lnTo>
                  <a:pt x="179" y="1197"/>
                </a:lnTo>
                <a:lnTo>
                  <a:pt x="231" y="1089"/>
                </a:lnTo>
                <a:lnTo>
                  <a:pt x="289" y="985"/>
                </a:lnTo>
                <a:lnTo>
                  <a:pt x="354" y="884"/>
                </a:lnTo>
                <a:lnTo>
                  <a:pt x="423" y="789"/>
                </a:lnTo>
                <a:lnTo>
                  <a:pt x="498" y="697"/>
                </a:lnTo>
                <a:lnTo>
                  <a:pt x="578" y="610"/>
                </a:lnTo>
                <a:lnTo>
                  <a:pt x="664" y="527"/>
                </a:lnTo>
                <a:lnTo>
                  <a:pt x="753" y="450"/>
                </a:lnTo>
                <a:lnTo>
                  <a:pt x="848" y="378"/>
                </a:lnTo>
                <a:lnTo>
                  <a:pt x="946" y="311"/>
                </a:lnTo>
                <a:lnTo>
                  <a:pt x="1048" y="250"/>
                </a:lnTo>
                <a:lnTo>
                  <a:pt x="1153" y="194"/>
                </a:lnTo>
                <a:lnTo>
                  <a:pt x="1264" y="146"/>
                </a:lnTo>
                <a:lnTo>
                  <a:pt x="1377" y="102"/>
                </a:lnTo>
                <a:lnTo>
                  <a:pt x="1492" y="66"/>
                </a:lnTo>
                <a:lnTo>
                  <a:pt x="1611" y="38"/>
                </a:lnTo>
                <a:lnTo>
                  <a:pt x="1731" y="15"/>
                </a:lnTo>
                <a:lnTo>
                  <a:pt x="1856" y="0"/>
                </a:lnTo>
                <a:close/>
              </a:path>
            </a:pathLst>
          </a:custGeom>
          <a:solidFill>
            <a:srgbClr val="65A6FB"/>
          </a:solidFill>
          <a:ln>
            <a:noFill/>
          </a:ln>
          <a:effectLst/>
        </p:spPr>
        <p:txBody>
          <a:bodyPr/>
          <a:lstStyle/>
          <a:p>
            <a:pPr eaLnBrk="1" hangingPunct="1">
              <a:spcBef>
                <a:spcPts val="0"/>
              </a:spcBef>
              <a:defRPr/>
            </a:pPr>
            <a:endParaRPr lang="de-CH" sz="6303" dirty="0">
              <a:solidFill>
                <a:srgbClr val="003CB4"/>
              </a:solidFill>
              <a:latin typeface="Frutiger for ZKB Light" panose="020B0303030504020204" pitchFamily="34" charset="0"/>
            </a:endParaRPr>
          </a:p>
        </p:txBody>
      </p:sp>
      <p:sp>
        <p:nvSpPr>
          <p:cNvPr id="246" name="Freeform 32">
            <a:extLst>
              <a:ext uri="{FF2B5EF4-FFF2-40B4-BE49-F238E27FC236}">
                <a16:creationId xmlns:a16="http://schemas.microsoft.com/office/drawing/2014/main" id="{4B49C43F-43A2-AD13-6088-26507DB0AFB9}"/>
              </a:ext>
            </a:extLst>
          </p:cNvPr>
          <p:cNvSpPr>
            <a:spLocks/>
          </p:cNvSpPr>
          <p:nvPr>
            <p:custDataLst>
              <p:tags r:id="rId6"/>
            </p:custDataLst>
          </p:nvPr>
        </p:nvSpPr>
        <p:spPr bwMode="gray">
          <a:xfrm>
            <a:off x="6342063" y="1941513"/>
            <a:ext cx="2235200" cy="3073400"/>
          </a:xfrm>
          <a:custGeom>
            <a:avLst/>
            <a:gdLst/>
            <a:ahLst/>
            <a:cxnLst>
              <a:cxn ang="0">
                <a:pos x="205" y="3"/>
              </a:cxn>
              <a:cxn ang="0">
                <a:pos x="448" y="32"/>
              </a:cxn>
              <a:cxn ang="0">
                <a:pos x="681" y="89"/>
              </a:cxn>
              <a:cxn ang="0">
                <a:pos x="902" y="172"/>
              </a:cxn>
              <a:cxn ang="0">
                <a:pos x="1111" y="278"/>
              </a:cxn>
              <a:cxn ang="0">
                <a:pos x="1306" y="407"/>
              </a:cxn>
              <a:cxn ang="0">
                <a:pos x="1483" y="557"/>
              </a:cxn>
              <a:cxn ang="0">
                <a:pos x="1642" y="726"/>
              </a:cxn>
              <a:cxn ang="0">
                <a:pos x="1782" y="912"/>
              </a:cxn>
              <a:cxn ang="0">
                <a:pos x="1900" y="1113"/>
              </a:cxn>
              <a:cxn ang="0">
                <a:pos x="1995" y="1329"/>
              </a:cxn>
              <a:cxn ang="0">
                <a:pos x="2064" y="1556"/>
              </a:cxn>
              <a:cxn ang="0">
                <a:pos x="2107" y="1794"/>
              </a:cxn>
              <a:cxn ang="0">
                <a:pos x="2122" y="2041"/>
              </a:cxn>
              <a:cxn ang="0">
                <a:pos x="2110" y="2267"/>
              </a:cxn>
              <a:cxn ang="0">
                <a:pos x="2073" y="2487"/>
              </a:cxn>
              <a:cxn ang="0">
                <a:pos x="2014" y="2697"/>
              </a:cxn>
              <a:cxn ang="0">
                <a:pos x="1934" y="2898"/>
              </a:cxn>
              <a:cxn ang="0">
                <a:pos x="1143" y="2434"/>
              </a:cxn>
              <a:cxn ang="0">
                <a:pos x="1188" y="2282"/>
              </a:cxn>
              <a:cxn ang="0">
                <a:pos x="1211" y="2122"/>
              </a:cxn>
              <a:cxn ang="0">
                <a:pos x="1210" y="1947"/>
              </a:cxn>
              <a:cxn ang="0">
                <a:pos x="1180" y="1768"/>
              </a:cxn>
              <a:cxn ang="0">
                <a:pos x="1124" y="1600"/>
              </a:cxn>
              <a:cxn ang="0">
                <a:pos x="1044" y="1443"/>
              </a:cxn>
              <a:cxn ang="0">
                <a:pos x="941" y="1303"/>
              </a:cxn>
              <a:cxn ang="0">
                <a:pos x="818" y="1180"/>
              </a:cxn>
              <a:cxn ang="0">
                <a:pos x="678" y="1078"/>
              </a:cxn>
              <a:cxn ang="0">
                <a:pos x="521" y="998"/>
              </a:cxn>
              <a:cxn ang="0">
                <a:pos x="352" y="940"/>
              </a:cxn>
              <a:cxn ang="0">
                <a:pos x="174" y="912"/>
              </a:cxn>
              <a:cxn ang="0">
                <a:pos x="4" y="911"/>
              </a:cxn>
              <a:cxn ang="0">
                <a:pos x="0" y="2"/>
              </a:cxn>
            </a:cxnLst>
            <a:rect l="0" t="0" r="r" b="b"/>
            <a:pathLst>
              <a:path w="2122" h="2918">
                <a:moveTo>
                  <a:pt x="81" y="0"/>
                </a:moveTo>
                <a:lnTo>
                  <a:pt x="205" y="3"/>
                </a:lnTo>
                <a:lnTo>
                  <a:pt x="328" y="15"/>
                </a:lnTo>
                <a:lnTo>
                  <a:pt x="448" y="32"/>
                </a:lnTo>
                <a:lnTo>
                  <a:pt x="566" y="58"/>
                </a:lnTo>
                <a:lnTo>
                  <a:pt x="681" y="89"/>
                </a:lnTo>
                <a:lnTo>
                  <a:pt x="793" y="127"/>
                </a:lnTo>
                <a:lnTo>
                  <a:pt x="902" y="172"/>
                </a:lnTo>
                <a:lnTo>
                  <a:pt x="1009" y="222"/>
                </a:lnTo>
                <a:lnTo>
                  <a:pt x="1111" y="278"/>
                </a:lnTo>
                <a:lnTo>
                  <a:pt x="1210" y="340"/>
                </a:lnTo>
                <a:lnTo>
                  <a:pt x="1306" y="407"/>
                </a:lnTo>
                <a:lnTo>
                  <a:pt x="1396" y="480"/>
                </a:lnTo>
                <a:lnTo>
                  <a:pt x="1483" y="557"/>
                </a:lnTo>
                <a:lnTo>
                  <a:pt x="1565" y="639"/>
                </a:lnTo>
                <a:lnTo>
                  <a:pt x="1642" y="726"/>
                </a:lnTo>
                <a:lnTo>
                  <a:pt x="1715" y="816"/>
                </a:lnTo>
                <a:lnTo>
                  <a:pt x="1782" y="912"/>
                </a:lnTo>
                <a:lnTo>
                  <a:pt x="1844" y="1011"/>
                </a:lnTo>
                <a:lnTo>
                  <a:pt x="1900" y="1113"/>
                </a:lnTo>
                <a:lnTo>
                  <a:pt x="1950" y="1220"/>
                </a:lnTo>
                <a:lnTo>
                  <a:pt x="1995" y="1329"/>
                </a:lnTo>
                <a:lnTo>
                  <a:pt x="2033" y="1441"/>
                </a:lnTo>
                <a:lnTo>
                  <a:pt x="2064" y="1556"/>
                </a:lnTo>
                <a:lnTo>
                  <a:pt x="2090" y="1674"/>
                </a:lnTo>
                <a:lnTo>
                  <a:pt x="2107" y="1794"/>
                </a:lnTo>
                <a:lnTo>
                  <a:pt x="2119" y="1917"/>
                </a:lnTo>
                <a:lnTo>
                  <a:pt x="2122" y="2041"/>
                </a:lnTo>
                <a:lnTo>
                  <a:pt x="2119" y="2156"/>
                </a:lnTo>
                <a:lnTo>
                  <a:pt x="2110" y="2267"/>
                </a:lnTo>
                <a:lnTo>
                  <a:pt x="2094" y="2378"/>
                </a:lnTo>
                <a:lnTo>
                  <a:pt x="2073" y="2487"/>
                </a:lnTo>
                <a:lnTo>
                  <a:pt x="2047" y="2593"/>
                </a:lnTo>
                <a:lnTo>
                  <a:pt x="2014" y="2697"/>
                </a:lnTo>
                <a:lnTo>
                  <a:pt x="1976" y="2799"/>
                </a:lnTo>
                <a:lnTo>
                  <a:pt x="1934" y="2898"/>
                </a:lnTo>
                <a:lnTo>
                  <a:pt x="1400" y="2918"/>
                </a:lnTo>
                <a:lnTo>
                  <a:pt x="1143" y="2434"/>
                </a:lnTo>
                <a:lnTo>
                  <a:pt x="1168" y="2359"/>
                </a:lnTo>
                <a:lnTo>
                  <a:pt x="1188" y="2282"/>
                </a:lnTo>
                <a:lnTo>
                  <a:pt x="1203" y="2203"/>
                </a:lnTo>
                <a:lnTo>
                  <a:pt x="1211" y="2122"/>
                </a:lnTo>
                <a:lnTo>
                  <a:pt x="1214" y="2040"/>
                </a:lnTo>
                <a:lnTo>
                  <a:pt x="1210" y="1947"/>
                </a:lnTo>
                <a:lnTo>
                  <a:pt x="1199" y="1857"/>
                </a:lnTo>
                <a:lnTo>
                  <a:pt x="1180" y="1768"/>
                </a:lnTo>
                <a:lnTo>
                  <a:pt x="1155" y="1683"/>
                </a:lnTo>
                <a:lnTo>
                  <a:pt x="1124" y="1600"/>
                </a:lnTo>
                <a:lnTo>
                  <a:pt x="1087" y="1520"/>
                </a:lnTo>
                <a:lnTo>
                  <a:pt x="1044" y="1443"/>
                </a:lnTo>
                <a:lnTo>
                  <a:pt x="995" y="1371"/>
                </a:lnTo>
                <a:lnTo>
                  <a:pt x="941" y="1303"/>
                </a:lnTo>
                <a:lnTo>
                  <a:pt x="882" y="1240"/>
                </a:lnTo>
                <a:lnTo>
                  <a:pt x="818" y="1180"/>
                </a:lnTo>
                <a:lnTo>
                  <a:pt x="750" y="1127"/>
                </a:lnTo>
                <a:lnTo>
                  <a:pt x="678" y="1078"/>
                </a:lnTo>
                <a:lnTo>
                  <a:pt x="601" y="1035"/>
                </a:lnTo>
                <a:lnTo>
                  <a:pt x="521" y="998"/>
                </a:lnTo>
                <a:lnTo>
                  <a:pt x="438" y="965"/>
                </a:lnTo>
                <a:lnTo>
                  <a:pt x="352" y="940"/>
                </a:lnTo>
                <a:lnTo>
                  <a:pt x="264" y="923"/>
                </a:lnTo>
                <a:lnTo>
                  <a:pt x="174" y="912"/>
                </a:lnTo>
                <a:lnTo>
                  <a:pt x="81" y="908"/>
                </a:lnTo>
                <a:lnTo>
                  <a:pt x="4" y="911"/>
                </a:lnTo>
                <a:lnTo>
                  <a:pt x="287" y="460"/>
                </a:lnTo>
                <a:lnTo>
                  <a:pt x="0" y="2"/>
                </a:lnTo>
                <a:lnTo>
                  <a:pt x="81" y="0"/>
                </a:lnTo>
                <a:close/>
              </a:path>
            </a:pathLst>
          </a:custGeom>
          <a:solidFill>
            <a:srgbClr val="D2E6FE"/>
          </a:solidFill>
          <a:ln>
            <a:noFill/>
          </a:ln>
          <a:effectLst/>
        </p:spPr>
        <p:txBody>
          <a:bodyPr/>
          <a:lstStyle/>
          <a:p>
            <a:pPr eaLnBrk="1" hangingPunct="1">
              <a:spcBef>
                <a:spcPts val="0"/>
              </a:spcBef>
              <a:defRPr/>
            </a:pPr>
            <a:endParaRPr lang="de-CH" sz="6303" dirty="0">
              <a:solidFill>
                <a:srgbClr val="003CB4"/>
              </a:solidFill>
              <a:latin typeface="Frutiger for ZKB Light" panose="020B0303030504020204" pitchFamily="34" charset="0"/>
            </a:endParaRPr>
          </a:p>
        </p:txBody>
      </p:sp>
      <p:sp>
        <p:nvSpPr>
          <p:cNvPr id="117774" name="Inhaltsplatzhalter 5">
            <a:extLst>
              <a:ext uri="{FF2B5EF4-FFF2-40B4-BE49-F238E27FC236}">
                <a16:creationId xmlns:a16="http://schemas.microsoft.com/office/drawing/2014/main" id="{AC3D7C81-B45B-39B2-616C-9EF536498098}"/>
              </a:ext>
            </a:extLst>
          </p:cNvPr>
          <p:cNvSpPr txBox="1">
            <a:spLocks noChangeArrowheads="1"/>
          </p:cNvSpPr>
          <p:nvPr/>
        </p:nvSpPr>
        <p:spPr bwMode="auto">
          <a:xfrm>
            <a:off x="7323138" y="2797175"/>
            <a:ext cx="900112"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t>1</a:t>
            </a:r>
          </a:p>
        </p:txBody>
      </p:sp>
      <p:sp>
        <p:nvSpPr>
          <p:cNvPr id="117775" name="Inhaltsplatzhalter 5">
            <a:extLst>
              <a:ext uri="{FF2B5EF4-FFF2-40B4-BE49-F238E27FC236}">
                <a16:creationId xmlns:a16="http://schemas.microsoft.com/office/drawing/2014/main" id="{044E1B3B-B44E-9866-54F7-FA071FE4AA28}"/>
              </a:ext>
            </a:extLst>
          </p:cNvPr>
          <p:cNvSpPr txBox="1">
            <a:spLocks noChangeArrowheads="1"/>
          </p:cNvSpPr>
          <p:nvPr/>
        </p:nvSpPr>
        <p:spPr bwMode="auto">
          <a:xfrm>
            <a:off x="5891213" y="5432425"/>
            <a:ext cx="92075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t>2</a:t>
            </a:r>
          </a:p>
        </p:txBody>
      </p:sp>
      <p:sp>
        <p:nvSpPr>
          <p:cNvPr id="117776" name="Inhaltsplatzhalter 5">
            <a:extLst>
              <a:ext uri="{FF2B5EF4-FFF2-40B4-BE49-F238E27FC236}">
                <a16:creationId xmlns:a16="http://schemas.microsoft.com/office/drawing/2014/main" id="{8750AD34-5549-0F91-A414-5FF60792D0A6}"/>
              </a:ext>
            </a:extLst>
          </p:cNvPr>
          <p:cNvSpPr txBox="1">
            <a:spLocks noChangeArrowheads="1"/>
          </p:cNvSpPr>
          <p:nvPr/>
        </p:nvSpPr>
        <p:spPr bwMode="auto">
          <a:xfrm>
            <a:off x="4606925" y="2797175"/>
            <a:ext cx="92075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t>3</a:t>
            </a:r>
          </a:p>
        </p:txBody>
      </p:sp>
      <p:sp>
        <p:nvSpPr>
          <p:cNvPr id="117777" name="Inhaltsplatzhalter 5">
            <a:extLst>
              <a:ext uri="{FF2B5EF4-FFF2-40B4-BE49-F238E27FC236}">
                <a16:creationId xmlns:a16="http://schemas.microsoft.com/office/drawing/2014/main" id="{2CD01595-5056-9DBB-935A-EAE9B00301CF}"/>
              </a:ext>
            </a:extLst>
          </p:cNvPr>
          <p:cNvSpPr txBox="1">
            <a:spLocks noChangeArrowheads="1"/>
          </p:cNvSpPr>
          <p:nvPr/>
        </p:nvSpPr>
        <p:spPr bwMode="auto">
          <a:xfrm>
            <a:off x="858838" y="3219450"/>
            <a:ext cx="2519362"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sp>
        <p:nvSpPr>
          <p:cNvPr id="117778" name="Inhaltsplatzhalter 5">
            <a:extLst>
              <a:ext uri="{FF2B5EF4-FFF2-40B4-BE49-F238E27FC236}">
                <a16:creationId xmlns:a16="http://schemas.microsoft.com/office/drawing/2014/main" id="{2B26E15A-74E2-F45E-55E6-7F4D8137571D}"/>
              </a:ext>
            </a:extLst>
          </p:cNvPr>
          <p:cNvSpPr txBox="1">
            <a:spLocks noChangeArrowheads="1"/>
          </p:cNvSpPr>
          <p:nvPr/>
        </p:nvSpPr>
        <p:spPr bwMode="auto">
          <a:xfrm>
            <a:off x="8558213" y="5786438"/>
            <a:ext cx="2663825"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sp>
        <p:nvSpPr>
          <p:cNvPr id="117779" name="Inhaltsplatzhalter 5">
            <a:extLst>
              <a:ext uri="{FF2B5EF4-FFF2-40B4-BE49-F238E27FC236}">
                <a16:creationId xmlns:a16="http://schemas.microsoft.com/office/drawing/2014/main" id="{0CA39D06-CCA9-BF33-B845-1E297F9138E0}"/>
              </a:ext>
            </a:extLst>
          </p:cNvPr>
          <p:cNvSpPr txBox="1">
            <a:spLocks noChangeArrowheads="1"/>
          </p:cNvSpPr>
          <p:nvPr/>
        </p:nvSpPr>
        <p:spPr bwMode="auto">
          <a:xfrm>
            <a:off x="9509125" y="3219450"/>
            <a:ext cx="266382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sp>
        <p:nvSpPr>
          <p:cNvPr id="117780" name="Inhaltsplatzhalter 5">
            <a:extLst>
              <a:ext uri="{FF2B5EF4-FFF2-40B4-BE49-F238E27FC236}">
                <a16:creationId xmlns:a16="http://schemas.microsoft.com/office/drawing/2014/main" id="{4CE04619-AFD7-CC6A-D340-72767667293F}"/>
              </a:ext>
            </a:extLst>
          </p:cNvPr>
          <p:cNvSpPr txBox="1">
            <a:spLocks noChangeArrowheads="1"/>
          </p:cNvSpPr>
          <p:nvPr/>
        </p:nvSpPr>
        <p:spPr bwMode="auto">
          <a:xfrm>
            <a:off x="5330825" y="3682438"/>
            <a:ext cx="2152650" cy="818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108000" bIns="0" anchor="ctr">
            <a:spAutoFit/>
          </a:bodyPr>
          <a:lstStyle>
            <a:defPPr>
              <a:defRPr lang="de-CH"/>
            </a:defPPr>
            <a:lvl1pPr algn="ctr" defTabSz="963613" eaLnBrk="1" hangingPunct="1">
              <a:lnSpc>
                <a:spcPct val="95000"/>
              </a:lnSpc>
              <a:spcBef>
                <a:spcPts val="0"/>
              </a:spcBef>
              <a:buClrTx/>
              <a:buFont typeface="Frutiger for ZKB Light" panose="020B0303030504020204" pitchFamily="34" charset="0"/>
              <a:defRPr sz="2800">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r>
              <a:rPr lang="de-CH" altLang="de-DE" dirty="0"/>
              <a:t>Lorem</a:t>
            </a:r>
          </a:p>
          <a:p>
            <a:r>
              <a:rPr lang="de-CH" altLang="de-DE" dirty="0"/>
              <a:t>ipsum</a:t>
            </a:r>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Gerade Verbindung 7">
            <a:extLst>
              <a:ext uri="{FF2B5EF4-FFF2-40B4-BE49-F238E27FC236}">
                <a16:creationId xmlns:a16="http://schemas.microsoft.com/office/drawing/2014/main" id="{FABFD8B1-5B9A-71EC-A7EC-9FF791377E18}"/>
              </a:ext>
            </a:extLst>
          </p:cNvPr>
          <p:cNvCxnSpPr>
            <a:cxnSpLocks/>
          </p:cNvCxnSpPr>
          <p:nvPr/>
        </p:nvCxnSpPr>
        <p:spPr>
          <a:xfrm>
            <a:off x="3935413" y="2751138"/>
            <a:ext cx="6969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18787" name="Objekt 4" hidden="1">
            <a:extLst>
              <a:ext uri="{FF2B5EF4-FFF2-40B4-BE49-F238E27FC236}">
                <a16:creationId xmlns:a16="http://schemas.microsoft.com/office/drawing/2014/main" id="{925E80FD-E39E-92FD-FA57-3661AAB43EB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18787" name="Objekt 4" hidden="1">
                        <a:extLst>
                          <a:ext uri="{FF2B5EF4-FFF2-40B4-BE49-F238E27FC236}">
                            <a16:creationId xmlns:a16="http://schemas.microsoft.com/office/drawing/2014/main" id="{925E80FD-E39E-92FD-FA57-3661AAB43EB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736BB6CF-6666-F56D-EC28-F17C0516E77C}"/>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118789" name="Titel 14">
            <a:extLst>
              <a:ext uri="{FF2B5EF4-FFF2-40B4-BE49-F238E27FC236}">
                <a16:creationId xmlns:a16="http://schemas.microsoft.com/office/drawing/2014/main" id="{197BCDFC-975F-7C08-0677-B2DD094F6050}"/>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Kreislauf – 4-teilig</a:t>
            </a:r>
          </a:p>
        </p:txBody>
      </p:sp>
      <p:sp>
        <p:nvSpPr>
          <p:cNvPr id="118790" name="Foliennummernplatzhalter 22">
            <a:extLst>
              <a:ext uri="{FF2B5EF4-FFF2-40B4-BE49-F238E27FC236}">
                <a16:creationId xmlns:a16="http://schemas.microsoft.com/office/drawing/2014/main" id="{BBF7A398-50DF-41BD-F974-BFBA7666DF51}"/>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D15A9593-7A36-4F22-95A4-88636C6F8A15}" type="slidenum">
              <a:rPr lang="de-CH" altLang="de-DE" sz="1100" smtClean="0">
                <a:solidFill>
                  <a:srgbClr val="003CB4"/>
                </a:solidFill>
                <a:latin typeface="Frutiger for ZKB Light" panose="020B0303030504020204" pitchFamily="34" charset="0"/>
              </a:rPr>
              <a:pPr>
                <a:spcBef>
                  <a:spcPct val="0"/>
                </a:spcBef>
                <a:spcAft>
                  <a:spcPct val="0"/>
                </a:spcAft>
              </a:pPr>
              <a:t>87</a:t>
            </a:fld>
            <a:endParaRPr lang="de-CH" altLang="de-DE" sz="1100" dirty="0">
              <a:solidFill>
                <a:srgbClr val="003CB4"/>
              </a:solidFill>
              <a:latin typeface="Frutiger for ZKB Light" panose="020B0303030504020204" pitchFamily="34" charset="0"/>
            </a:endParaRPr>
          </a:p>
        </p:txBody>
      </p:sp>
      <p:sp>
        <p:nvSpPr>
          <p:cNvPr id="118791" name="Fußzeilenplatzhalter 21">
            <a:extLst>
              <a:ext uri="{FF2B5EF4-FFF2-40B4-BE49-F238E27FC236}">
                <a16:creationId xmlns:a16="http://schemas.microsoft.com/office/drawing/2014/main" id="{89DC6D6D-506D-1843-4AF7-3E04ED2F3A6A}"/>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grpSp>
        <p:nvGrpSpPr>
          <p:cNvPr id="118792" name="Gruppieren 6">
            <a:extLst>
              <a:ext uri="{FF2B5EF4-FFF2-40B4-BE49-F238E27FC236}">
                <a16:creationId xmlns:a16="http://schemas.microsoft.com/office/drawing/2014/main" id="{A03BC813-2615-8479-57DA-8C661A3E82A5}"/>
              </a:ext>
            </a:extLst>
          </p:cNvPr>
          <p:cNvGrpSpPr>
            <a:grpSpLocks/>
          </p:cNvGrpSpPr>
          <p:nvPr/>
        </p:nvGrpSpPr>
        <p:grpSpPr bwMode="auto">
          <a:xfrm>
            <a:off x="4283075" y="1944688"/>
            <a:ext cx="4286250" cy="4289425"/>
            <a:chOff x="4283243" y="1944903"/>
            <a:chExt cx="4286196" cy="4288604"/>
          </a:xfrm>
        </p:grpSpPr>
        <p:sp>
          <p:nvSpPr>
            <p:cNvPr id="118805" name="Freihandform 22">
              <a:extLst>
                <a:ext uri="{FF2B5EF4-FFF2-40B4-BE49-F238E27FC236}">
                  <a16:creationId xmlns:a16="http://schemas.microsoft.com/office/drawing/2014/main" id="{DF5F4EFA-048E-9F0E-B031-1DF4EB0FECE2}"/>
                </a:ext>
              </a:extLst>
            </p:cNvPr>
            <p:cNvSpPr>
              <a:spLocks/>
            </p:cNvSpPr>
            <p:nvPr/>
          </p:nvSpPr>
          <p:spPr bwMode="auto">
            <a:xfrm rot="-5400000">
              <a:off x="4293094" y="1938940"/>
              <a:ext cx="2222998" cy="2242699"/>
            </a:xfrm>
            <a:custGeom>
              <a:avLst/>
              <a:gdLst>
                <a:gd name="T0" fmla="*/ 0 w 1675613"/>
                <a:gd name="T1" fmla="*/ 1315 h 1690463"/>
                <a:gd name="T2" fmla="*/ 3912638 w 1675613"/>
                <a:gd name="T3" fmla="*/ 3420940 h 1690463"/>
                <a:gd name="T4" fmla="*/ 3089704 w 1675613"/>
                <a:gd name="T5" fmla="*/ 3947314 h 1690463"/>
                <a:gd name="T6" fmla="*/ 2240823 w 1675613"/>
                <a:gd name="T7" fmla="*/ 3420936 h 1690463"/>
                <a:gd name="T8" fmla="*/ 27791 w 1675613"/>
                <a:gd name="T9" fmla="*/ 1667568 h 1690463"/>
                <a:gd name="T10" fmla="*/ 533791 w 1675613"/>
                <a:gd name="T11" fmla="*/ 853900 h 1690463"/>
                <a:gd name="T12" fmla="*/ 0 w 1675613"/>
                <a:gd name="T13" fmla="*/ 1315 h 169046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75613" h="1690463">
                  <a:moveTo>
                    <a:pt x="0" y="563"/>
                  </a:moveTo>
                  <a:cubicBezTo>
                    <a:pt x="1185863" y="-27219"/>
                    <a:pt x="1652595" y="979265"/>
                    <a:pt x="1675613" y="1465040"/>
                  </a:cubicBezTo>
                  <a:lnTo>
                    <a:pt x="1323186" y="1690463"/>
                  </a:lnTo>
                  <a:lnTo>
                    <a:pt x="959647" y="1465038"/>
                  </a:lnTo>
                  <a:cubicBezTo>
                    <a:pt x="932263" y="1304701"/>
                    <a:pt x="737786" y="697478"/>
                    <a:pt x="11902" y="714147"/>
                  </a:cubicBezTo>
                  <a:lnTo>
                    <a:pt x="228600" y="365688"/>
                  </a:lnTo>
                  <a:lnTo>
                    <a:pt x="0" y="563"/>
                  </a:lnTo>
                  <a:close/>
                </a:path>
              </a:pathLst>
            </a:custGeom>
            <a:solidFill>
              <a:srgbClr val="3D87F5"/>
            </a:solidFill>
            <a:ln>
              <a:noFill/>
            </a:ln>
            <a:extLst>
              <a:ext uri="{91240B29-F687-4F45-9708-019B960494DF}">
                <a14:hiddenLine xmlns:a14="http://schemas.microsoft.com/office/drawing/2010/main" w="6350" cap="flat" cmpd="sng" algn="ctr">
                  <a:solidFill>
                    <a:srgbClr val="000000"/>
                  </a:solidFill>
                  <a:prstDash val="solid"/>
                  <a:round/>
                  <a:headEnd type="none" w="med" len="med"/>
                  <a:tailEnd type="none" w="med" len="med"/>
                </a14:hiddenLine>
              </a:ext>
            </a:extLst>
          </p:spPr>
          <p:txBody>
            <a:bodyPr lIns="0" tIns="0" rIns="0" bIns="0"/>
            <a:lstStyle/>
            <a:p>
              <a:endParaRPr lang="de-CH" dirty="0"/>
            </a:p>
          </p:txBody>
        </p:sp>
        <p:sp>
          <p:nvSpPr>
            <p:cNvPr id="118806" name="Freihandform 23">
              <a:extLst>
                <a:ext uri="{FF2B5EF4-FFF2-40B4-BE49-F238E27FC236}">
                  <a16:creationId xmlns:a16="http://schemas.microsoft.com/office/drawing/2014/main" id="{FB0832C3-C11E-A05B-9BA2-92E739136860}"/>
                </a:ext>
              </a:extLst>
            </p:cNvPr>
            <p:cNvSpPr>
              <a:spLocks/>
            </p:cNvSpPr>
            <p:nvPr/>
          </p:nvSpPr>
          <p:spPr bwMode="auto">
            <a:xfrm rot="10800000">
              <a:off x="4296921" y="3988561"/>
              <a:ext cx="2211694" cy="2244946"/>
            </a:xfrm>
            <a:custGeom>
              <a:avLst/>
              <a:gdLst>
                <a:gd name="T0" fmla="*/ 0 w 1688307"/>
                <a:gd name="T1" fmla="*/ 1245 h 1712672"/>
                <a:gd name="T2" fmla="*/ 3795529 w 1688307"/>
                <a:gd name="T3" fmla="*/ 3347697 h 1712672"/>
                <a:gd name="T4" fmla="*/ 2992524 w 1688307"/>
                <a:gd name="T5" fmla="*/ 3857174 h 1712672"/>
                <a:gd name="T6" fmla="*/ 2194876 w 1688307"/>
                <a:gd name="T7" fmla="*/ 3374514 h 1712672"/>
                <a:gd name="T8" fmla="*/ 16061 w 1688307"/>
                <a:gd name="T9" fmla="*/ 1626203 h 1712672"/>
                <a:gd name="T10" fmla="*/ 535334 w 1688307"/>
                <a:gd name="T11" fmla="*/ 821770 h 1712672"/>
                <a:gd name="T12" fmla="*/ 0 w 1688307"/>
                <a:gd name="T13" fmla="*/ 1245 h 171267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88307" h="1712672">
                  <a:moveTo>
                    <a:pt x="0" y="553"/>
                  </a:moveTo>
                  <a:cubicBezTo>
                    <a:pt x="1185863" y="-27229"/>
                    <a:pt x="1665289" y="1000678"/>
                    <a:pt x="1688307" y="1486453"/>
                  </a:cubicBezTo>
                  <a:lnTo>
                    <a:pt x="1331119" y="1712672"/>
                  </a:lnTo>
                  <a:lnTo>
                    <a:pt x="976313" y="1498360"/>
                  </a:lnTo>
                  <a:cubicBezTo>
                    <a:pt x="948929" y="1338023"/>
                    <a:pt x="733028" y="705402"/>
                    <a:pt x="7144" y="722071"/>
                  </a:cubicBezTo>
                  <a:lnTo>
                    <a:pt x="238125" y="364884"/>
                  </a:lnTo>
                  <a:lnTo>
                    <a:pt x="0" y="553"/>
                  </a:lnTo>
                  <a:close/>
                </a:path>
              </a:pathLst>
            </a:custGeom>
            <a:solidFill>
              <a:srgbClr val="65A6FB"/>
            </a:solidFill>
            <a:ln>
              <a:noFill/>
            </a:ln>
            <a:extLst>
              <a:ext uri="{91240B29-F687-4F45-9708-019B960494DF}">
                <a14:hiddenLine xmlns:a14="http://schemas.microsoft.com/office/drawing/2010/main" w="6350" cap="flat" cmpd="sng" algn="ctr">
                  <a:solidFill>
                    <a:srgbClr val="000000"/>
                  </a:solidFill>
                  <a:prstDash val="solid"/>
                  <a:round/>
                  <a:headEnd type="none" w="med" len="med"/>
                  <a:tailEnd type="none" w="med" len="med"/>
                </a14:hiddenLine>
              </a:ext>
            </a:extLst>
          </p:spPr>
          <p:txBody>
            <a:bodyPr lIns="0" tIns="0" rIns="0" bIns="0"/>
            <a:lstStyle/>
            <a:p>
              <a:endParaRPr lang="de-CH" dirty="0"/>
            </a:p>
          </p:txBody>
        </p:sp>
        <p:grpSp>
          <p:nvGrpSpPr>
            <p:cNvPr id="118807" name="Gruppieren 5">
              <a:extLst>
                <a:ext uri="{FF2B5EF4-FFF2-40B4-BE49-F238E27FC236}">
                  <a16:creationId xmlns:a16="http://schemas.microsoft.com/office/drawing/2014/main" id="{EC62A141-2B63-421A-6589-A814CA93B052}"/>
                </a:ext>
              </a:extLst>
            </p:cNvPr>
            <p:cNvGrpSpPr>
              <a:grpSpLocks/>
            </p:cNvGrpSpPr>
            <p:nvPr/>
          </p:nvGrpSpPr>
          <p:grpSpPr bwMode="auto">
            <a:xfrm>
              <a:off x="6323283" y="1944903"/>
              <a:ext cx="2246156" cy="4283929"/>
              <a:chOff x="6323283" y="1944903"/>
              <a:chExt cx="2246156" cy="4283929"/>
            </a:xfrm>
          </p:grpSpPr>
          <p:sp>
            <p:nvSpPr>
              <p:cNvPr id="118808" name="Freihandform 21">
                <a:extLst>
                  <a:ext uri="{FF2B5EF4-FFF2-40B4-BE49-F238E27FC236}">
                    <a16:creationId xmlns:a16="http://schemas.microsoft.com/office/drawing/2014/main" id="{D1B7C978-25F1-2365-65C3-7C2E092F9CDA}"/>
                  </a:ext>
                </a:extLst>
              </p:cNvPr>
              <p:cNvSpPr>
                <a:spLocks/>
              </p:cNvSpPr>
              <p:nvPr/>
            </p:nvSpPr>
            <p:spPr bwMode="auto">
              <a:xfrm>
                <a:off x="6343501" y="1944903"/>
                <a:ext cx="2225938" cy="2250057"/>
              </a:xfrm>
              <a:custGeom>
                <a:avLst/>
                <a:gdLst>
                  <a:gd name="T0" fmla="*/ 0 w 1683544"/>
                  <a:gd name="T1" fmla="*/ 1272 h 1710296"/>
                  <a:gd name="T2" fmla="*/ 3891260 w 1683544"/>
                  <a:gd name="T3" fmla="*/ 3352163 h 1710296"/>
                  <a:gd name="T4" fmla="*/ 3071176 w 1683544"/>
                  <a:gd name="T5" fmla="*/ 3894377 h 1710296"/>
                  <a:gd name="T6" fmla="*/ 2223577 w 1683544"/>
                  <a:gd name="T7" fmla="*/ 3379274 h 1710296"/>
                  <a:gd name="T8" fmla="*/ 27516 w 1683544"/>
                  <a:gd name="T9" fmla="*/ 1633340 h 1710296"/>
                  <a:gd name="T10" fmla="*/ 528375 w 1683544"/>
                  <a:gd name="T11" fmla="*/ 836283 h 1710296"/>
                  <a:gd name="T12" fmla="*/ 0 w 1683544"/>
                  <a:gd name="T13" fmla="*/ 1272 h 17102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83544" h="1710296">
                    <a:moveTo>
                      <a:pt x="0" y="559"/>
                    </a:moveTo>
                    <a:cubicBezTo>
                      <a:pt x="1185863" y="-27223"/>
                      <a:pt x="1660526" y="986396"/>
                      <a:pt x="1683544" y="1472171"/>
                    </a:cubicBezTo>
                    <a:lnTo>
                      <a:pt x="1328737" y="1710296"/>
                    </a:lnTo>
                    <a:lnTo>
                      <a:pt x="962025" y="1484078"/>
                    </a:lnTo>
                    <a:cubicBezTo>
                      <a:pt x="934641" y="1323741"/>
                      <a:pt x="737789" y="700646"/>
                      <a:pt x="11905" y="717315"/>
                    </a:cubicBezTo>
                    <a:lnTo>
                      <a:pt x="228600" y="367271"/>
                    </a:lnTo>
                    <a:lnTo>
                      <a:pt x="0" y="559"/>
                    </a:lnTo>
                    <a:close/>
                  </a:path>
                </a:pathLst>
              </a:custGeom>
              <a:solidFill>
                <a:srgbClr val="D2E6FE"/>
              </a:solidFill>
              <a:ln>
                <a:noFill/>
              </a:ln>
              <a:extLst>
                <a:ext uri="{91240B29-F687-4F45-9708-019B960494DF}">
                  <a14:hiddenLine xmlns:a14="http://schemas.microsoft.com/office/drawing/2010/main" w="6350" cap="flat" cmpd="sng" algn="ctr">
                    <a:solidFill>
                      <a:srgbClr val="000000"/>
                    </a:solidFill>
                    <a:prstDash val="solid"/>
                    <a:round/>
                    <a:headEnd type="none" w="med" len="med"/>
                    <a:tailEnd type="none" w="med" len="med"/>
                  </a14:hiddenLine>
                </a:ext>
              </a:extLst>
            </p:spPr>
            <p:txBody>
              <a:bodyPr lIns="0" tIns="0" rIns="0" bIns="0"/>
              <a:lstStyle/>
              <a:p>
                <a:endParaRPr lang="de-CH" dirty="0"/>
              </a:p>
            </p:txBody>
          </p:sp>
          <p:sp>
            <p:nvSpPr>
              <p:cNvPr id="118809" name="Freihandform 24">
                <a:extLst>
                  <a:ext uri="{FF2B5EF4-FFF2-40B4-BE49-F238E27FC236}">
                    <a16:creationId xmlns:a16="http://schemas.microsoft.com/office/drawing/2014/main" id="{4CCB4FF0-9AC2-8A37-B575-C8369B15ACBA}"/>
                  </a:ext>
                </a:extLst>
              </p:cNvPr>
              <p:cNvSpPr>
                <a:spLocks/>
              </p:cNvSpPr>
              <p:nvPr/>
            </p:nvSpPr>
            <p:spPr bwMode="auto">
              <a:xfrm rot="5400000">
                <a:off x="6338766" y="3998352"/>
                <a:ext cx="2214997" cy="2245963"/>
              </a:xfrm>
              <a:custGeom>
                <a:avLst/>
                <a:gdLst>
                  <a:gd name="T0" fmla="*/ 0 w 1685927"/>
                  <a:gd name="T1" fmla="*/ 1294 h 1700774"/>
                  <a:gd name="T2" fmla="*/ 3823331 w 1685927"/>
                  <a:gd name="T3" fmla="*/ 3379246 h 1700774"/>
                  <a:gd name="T4" fmla="*/ 3002499 w 1685927"/>
                  <a:gd name="T5" fmla="*/ 3916648 h 1700774"/>
                  <a:gd name="T6" fmla="*/ 2165470 w 1685927"/>
                  <a:gd name="T7" fmla="*/ 3379247 h 1700774"/>
                  <a:gd name="T8" fmla="*/ 26998 w 1685927"/>
                  <a:gd name="T9" fmla="*/ 1651886 h 1700774"/>
                  <a:gd name="T10" fmla="*/ 534623 w 1685927"/>
                  <a:gd name="T11" fmla="*/ 834814 h 1700774"/>
                  <a:gd name="T12" fmla="*/ 0 w 1685927"/>
                  <a:gd name="T13" fmla="*/ 1294 h 170077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85927" h="1700774">
                    <a:moveTo>
                      <a:pt x="0" y="562"/>
                    </a:moveTo>
                    <a:cubicBezTo>
                      <a:pt x="1185863" y="-27220"/>
                      <a:pt x="1662909" y="981636"/>
                      <a:pt x="1685927" y="1467411"/>
                    </a:cubicBezTo>
                    <a:lnTo>
                      <a:pt x="1323975" y="1700774"/>
                    </a:lnTo>
                    <a:lnTo>
                      <a:pt x="954881" y="1467412"/>
                    </a:lnTo>
                    <a:cubicBezTo>
                      <a:pt x="927497" y="1307075"/>
                      <a:pt x="737789" y="700649"/>
                      <a:pt x="11905" y="717318"/>
                    </a:cubicBezTo>
                    <a:lnTo>
                      <a:pt x="235746" y="362512"/>
                    </a:lnTo>
                    <a:lnTo>
                      <a:pt x="0" y="562"/>
                    </a:lnTo>
                    <a:close/>
                  </a:path>
                </a:pathLst>
              </a:custGeom>
              <a:solidFill>
                <a:srgbClr val="A0CAFD"/>
              </a:solidFill>
              <a:ln>
                <a:noFill/>
              </a:ln>
              <a:extLst>
                <a:ext uri="{91240B29-F687-4F45-9708-019B960494DF}">
                  <a14:hiddenLine xmlns:a14="http://schemas.microsoft.com/office/drawing/2010/main" w="6350" cap="flat" cmpd="sng" algn="ctr">
                    <a:solidFill>
                      <a:srgbClr val="000000"/>
                    </a:solidFill>
                    <a:prstDash val="solid"/>
                    <a:round/>
                    <a:headEnd type="none" w="med" len="med"/>
                    <a:tailEnd type="none" w="med" len="med"/>
                  </a14:hiddenLine>
                </a:ext>
              </a:extLst>
            </p:spPr>
            <p:txBody>
              <a:bodyPr lIns="0" tIns="0" rIns="0" bIns="0"/>
              <a:lstStyle/>
              <a:p>
                <a:endParaRPr lang="de-CH" dirty="0"/>
              </a:p>
            </p:txBody>
          </p:sp>
        </p:grpSp>
      </p:grpSp>
      <p:sp>
        <p:nvSpPr>
          <p:cNvPr id="118793" name="Inhaltsplatzhalter 5">
            <a:extLst>
              <a:ext uri="{FF2B5EF4-FFF2-40B4-BE49-F238E27FC236}">
                <a16:creationId xmlns:a16="http://schemas.microsoft.com/office/drawing/2014/main" id="{5D3DDE73-8814-5E95-2360-8C9463FCA2FF}"/>
              </a:ext>
            </a:extLst>
          </p:cNvPr>
          <p:cNvSpPr txBox="1">
            <a:spLocks noChangeArrowheads="1"/>
          </p:cNvSpPr>
          <p:nvPr/>
        </p:nvSpPr>
        <p:spPr bwMode="auto">
          <a:xfrm>
            <a:off x="7131050" y="2527300"/>
            <a:ext cx="900113"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t>1</a:t>
            </a:r>
          </a:p>
        </p:txBody>
      </p:sp>
      <p:sp>
        <p:nvSpPr>
          <p:cNvPr id="118794" name="Inhaltsplatzhalter 5">
            <a:extLst>
              <a:ext uri="{FF2B5EF4-FFF2-40B4-BE49-F238E27FC236}">
                <a16:creationId xmlns:a16="http://schemas.microsoft.com/office/drawing/2014/main" id="{2C8AB3B9-EECD-00D6-143F-A3345A30F951}"/>
              </a:ext>
            </a:extLst>
          </p:cNvPr>
          <p:cNvSpPr txBox="1">
            <a:spLocks noChangeArrowheads="1"/>
          </p:cNvSpPr>
          <p:nvPr/>
        </p:nvSpPr>
        <p:spPr bwMode="auto">
          <a:xfrm>
            <a:off x="4797425" y="2527300"/>
            <a:ext cx="92075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solidFill>
                  <a:schemeClr val="bg1"/>
                </a:solidFill>
              </a:rPr>
              <a:t>4</a:t>
            </a:r>
          </a:p>
        </p:txBody>
      </p:sp>
      <p:sp>
        <p:nvSpPr>
          <p:cNvPr id="118795" name="Inhaltsplatzhalter 5">
            <a:extLst>
              <a:ext uri="{FF2B5EF4-FFF2-40B4-BE49-F238E27FC236}">
                <a16:creationId xmlns:a16="http://schemas.microsoft.com/office/drawing/2014/main" id="{06859953-2B3C-1EA7-9785-F4CBDFA033AF}"/>
              </a:ext>
            </a:extLst>
          </p:cNvPr>
          <p:cNvSpPr txBox="1">
            <a:spLocks noChangeArrowheads="1"/>
          </p:cNvSpPr>
          <p:nvPr/>
        </p:nvSpPr>
        <p:spPr bwMode="auto">
          <a:xfrm>
            <a:off x="4797425" y="5041900"/>
            <a:ext cx="92075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t>3</a:t>
            </a:r>
          </a:p>
        </p:txBody>
      </p:sp>
      <p:sp>
        <p:nvSpPr>
          <p:cNvPr id="118796" name="Inhaltsplatzhalter 5">
            <a:extLst>
              <a:ext uri="{FF2B5EF4-FFF2-40B4-BE49-F238E27FC236}">
                <a16:creationId xmlns:a16="http://schemas.microsoft.com/office/drawing/2014/main" id="{D704E359-9EC7-4247-E16D-668EED9E42BB}"/>
              </a:ext>
            </a:extLst>
          </p:cNvPr>
          <p:cNvSpPr txBox="1">
            <a:spLocks noChangeArrowheads="1"/>
          </p:cNvSpPr>
          <p:nvPr/>
        </p:nvSpPr>
        <p:spPr bwMode="auto">
          <a:xfrm>
            <a:off x="7108825" y="5041900"/>
            <a:ext cx="922338"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t>2</a:t>
            </a:r>
          </a:p>
        </p:txBody>
      </p:sp>
      <p:sp>
        <p:nvSpPr>
          <p:cNvPr id="118797" name="Inhaltsplatzhalter 5">
            <a:extLst>
              <a:ext uri="{FF2B5EF4-FFF2-40B4-BE49-F238E27FC236}">
                <a16:creationId xmlns:a16="http://schemas.microsoft.com/office/drawing/2014/main" id="{9167A202-694D-B391-3AC6-6B32D1CAFAA2}"/>
              </a:ext>
            </a:extLst>
          </p:cNvPr>
          <p:cNvSpPr txBox="1">
            <a:spLocks noChangeArrowheads="1"/>
          </p:cNvSpPr>
          <p:nvPr/>
        </p:nvSpPr>
        <p:spPr bwMode="auto">
          <a:xfrm>
            <a:off x="1316038" y="2505075"/>
            <a:ext cx="2663825"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sp>
        <p:nvSpPr>
          <p:cNvPr id="118798" name="Inhaltsplatzhalter 5">
            <a:extLst>
              <a:ext uri="{FF2B5EF4-FFF2-40B4-BE49-F238E27FC236}">
                <a16:creationId xmlns:a16="http://schemas.microsoft.com/office/drawing/2014/main" id="{2E236477-5E72-B2B2-D4A2-51C15D825857}"/>
              </a:ext>
            </a:extLst>
          </p:cNvPr>
          <p:cNvSpPr txBox="1">
            <a:spLocks noChangeArrowheads="1"/>
          </p:cNvSpPr>
          <p:nvPr/>
        </p:nvSpPr>
        <p:spPr bwMode="auto">
          <a:xfrm>
            <a:off x="9107488" y="2505075"/>
            <a:ext cx="2663825"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sp>
        <p:nvSpPr>
          <p:cNvPr id="118799" name="Inhaltsplatzhalter 5">
            <a:extLst>
              <a:ext uri="{FF2B5EF4-FFF2-40B4-BE49-F238E27FC236}">
                <a16:creationId xmlns:a16="http://schemas.microsoft.com/office/drawing/2014/main" id="{4731691C-B9E2-FFDF-6099-4DA7DB16F02B}"/>
              </a:ext>
            </a:extLst>
          </p:cNvPr>
          <p:cNvSpPr txBox="1">
            <a:spLocks noChangeArrowheads="1"/>
          </p:cNvSpPr>
          <p:nvPr/>
        </p:nvSpPr>
        <p:spPr bwMode="auto">
          <a:xfrm>
            <a:off x="1376363" y="5100638"/>
            <a:ext cx="266382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sp>
        <p:nvSpPr>
          <p:cNvPr id="118800" name="Inhaltsplatzhalter 5">
            <a:extLst>
              <a:ext uri="{FF2B5EF4-FFF2-40B4-BE49-F238E27FC236}">
                <a16:creationId xmlns:a16="http://schemas.microsoft.com/office/drawing/2014/main" id="{D39AA09D-7944-EC44-D2B7-F467F5A09650}"/>
              </a:ext>
            </a:extLst>
          </p:cNvPr>
          <p:cNvSpPr txBox="1">
            <a:spLocks noChangeArrowheads="1"/>
          </p:cNvSpPr>
          <p:nvPr/>
        </p:nvSpPr>
        <p:spPr bwMode="auto">
          <a:xfrm>
            <a:off x="9082088" y="5100638"/>
            <a:ext cx="266382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cxnSp>
        <p:nvCxnSpPr>
          <p:cNvPr id="16" name="Gerade Verbindung 15">
            <a:extLst>
              <a:ext uri="{FF2B5EF4-FFF2-40B4-BE49-F238E27FC236}">
                <a16:creationId xmlns:a16="http://schemas.microsoft.com/office/drawing/2014/main" id="{C5D8EDA0-D2F8-A21E-BF4F-712468B64C7A}"/>
              </a:ext>
            </a:extLst>
          </p:cNvPr>
          <p:cNvCxnSpPr>
            <a:cxnSpLocks/>
          </p:cNvCxnSpPr>
          <p:nvPr/>
        </p:nvCxnSpPr>
        <p:spPr>
          <a:xfrm>
            <a:off x="4002088" y="5453063"/>
            <a:ext cx="6969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a:extLst>
              <a:ext uri="{FF2B5EF4-FFF2-40B4-BE49-F238E27FC236}">
                <a16:creationId xmlns:a16="http://schemas.microsoft.com/office/drawing/2014/main" id="{4A3F2718-3AD9-11F7-4A76-16FE35878509}"/>
              </a:ext>
            </a:extLst>
          </p:cNvPr>
          <p:cNvCxnSpPr>
            <a:cxnSpLocks/>
          </p:cNvCxnSpPr>
          <p:nvPr/>
        </p:nvCxnSpPr>
        <p:spPr>
          <a:xfrm>
            <a:off x="8220075" y="2751138"/>
            <a:ext cx="6969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a:extLst>
              <a:ext uri="{FF2B5EF4-FFF2-40B4-BE49-F238E27FC236}">
                <a16:creationId xmlns:a16="http://schemas.microsoft.com/office/drawing/2014/main" id="{4B836C16-ECCC-D6E3-CD93-0934FD6D099C}"/>
              </a:ext>
            </a:extLst>
          </p:cNvPr>
          <p:cNvCxnSpPr>
            <a:cxnSpLocks/>
          </p:cNvCxnSpPr>
          <p:nvPr/>
        </p:nvCxnSpPr>
        <p:spPr>
          <a:xfrm>
            <a:off x="8220075" y="5453063"/>
            <a:ext cx="6969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8804" name="Inhaltsplatzhalter 5">
            <a:extLst>
              <a:ext uri="{FF2B5EF4-FFF2-40B4-BE49-F238E27FC236}">
                <a16:creationId xmlns:a16="http://schemas.microsoft.com/office/drawing/2014/main" id="{63A6B352-2AEE-B388-AB4F-D7B00A0E008A}"/>
              </a:ext>
            </a:extLst>
          </p:cNvPr>
          <p:cNvSpPr txBox="1">
            <a:spLocks noChangeArrowheads="1"/>
          </p:cNvSpPr>
          <p:nvPr/>
        </p:nvSpPr>
        <p:spPr bwMode="auto">
          <a:xfrm>
            <a:off x="5330825" y="3682438"/>
            <a:ext cx="2152650" cy="818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108000" bIns="0" anchor="ctr">
            <a:spAutoFit/>
          </a:bodyPr>
          <a:lstStyle>
            <a:defPPr>
              <a:defRPr lang="de-CH"/>
            </a:defPPr>
            <a:lvl1pPr algn="ctr" defTabSz="963613" eaLnBrk="1" hangingPunct="1">
              <a:lnSpc>
                <a:spcPct val="95000"/>
              </a:lnSpc>
              <a:spcBef>
                <a:spcPts val="0"/>
              </a:spcBef>
              <a:buClrTx/>
              <a:buFont typeface="Frutiger for ZKB Light" panose="020B0303030504020204" pitchFamily="34" charset="0"/>
              <a:defRPr sz="2800">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r>
              <a:rPr lang="de-CH" altLang="de-DE" dirty="0"/>
              <a:t>Lorem</a:t>
            </a:r>
          </a:p>
          <a:p>
            <a:r>
              <a:rPr lang="de-CH" altLang="de-DE" dirty="0"/>
              <a:t>ipsum</a:t>
            </a:r>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9810" name="Objekt 4" hidden="1">
            <a:extLst>
              <a:ext uri="{FF2B5EF4-FFF2-40B4-BE49-F238E27FC236}">
                <a16:creationId xmlns:a16="http://schemas.microsoft.com/office/drawing/2014/main" id="{69295690-311D-6D68-2576-81113616C69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119810" name="Objekt 4" hidden="1">
                        <a:extLst>
                          <a:ext uri="{FF2B5EF4-FFF2-40B4-BE49-F238E27FC236}">
                            <a16:creationId xmlns:a16="http://schemas.microsoft.com/office/drawing/2014/main" id="{69295690-311D-6D68-2576-81113616C6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EA21BA7A-5449-8055-4E0D-C4A32DE5DF35}"/>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grpSp>
        <p:nvGrpSpPr>
          <p:cNvPr id="264" name="Gruppieren 79">
            <a:extLst>
              <a:ext uri="{FF2B5EF4-FFF2-40B4-BE49-F238E27FC236}">
                <a16:creationId xmlns:a16="http://schemas.microsoft.com/office/drawing/2014/main" id="{9AC3BDBE-0696-B6E0-AD50-BEA012328F10}"/>
              </a:ext>
            </a:extLst>
          </p:cNvPr>
          <p:cNvGrpSpPr/>
          <p:nvPr>
            <p:custDataLst>
              <p:tags r:id="rId3"/>
            </p:custDataLst>
          </p:nvPr>
        </p:nvGrpSpPr>
        <p:grpSpPr bwMode="gray">
          <a:xfrm>
            <a:off x="4280084" y="1938827"/>
            <a:ext cx="4303377" cy="4303377"/>
            <a:chOff x="2955925" y="1773785"/>
            <a:chExt cx="3240088" cy="3240088"/>
          </a:xfrm>
          <a:solidFill>
            <a:srgbClr val="D2E6FE"/>
          </a:solidFill>
        </p:grpSpPr>
        <p:sp>
          <p:nvSpPr>
            <p:cNvPr id="270" name="Freeform 46">
              <a:extLst>
                <a:ext uri="{FF2B5EF4-FFF2-40B4-BE49-F238E27FC236}">
                  <a16:creationId xmlns:a16="http://schemas.microsoft.com/office/drawing/2014/main" id="{7D2FDEEE-65F3-527A-C392-0F2029207DE3}"/>
                </a:ext>
              </a:extLst>
            </p:cNvPr>
            <p:cNvSpPr>
              <a:spLocks/>
            </p:cNvSpPr>
            <p:nvPr/>
          </p:nvSpPr>
          <p:spPr bwMode="gray">
            <a:xfrm>
              <a:off x="5213350" y="2840585"/>
              <a:ext cx="982663" cy="1778000"/>
            </a:xfrm>
            <a:custGeom>
              <a:avLst/>
              <a:gdLst/>
              <a:ahLst/>
              <a:cxnLst>
                <a:cxn ang="0">
                  <a:pos x="1115" y="0"/>
                </a:cxn>
                <a:cxn ang="0">
                  <a:pos x="1153" y="110"/>
                </a:cxn>
                <a:cxn ang="0">
                  <a:pos x="1182" y="222"/>
                </a:cxn>
                <a:cxn ang="0">
                  <a:pos x="1207" y="337"/>
                </a:cxn>
                <a:cxn ang="0">
                  <a:pos x="1225" y="455"/>
                </a:cxn>
                <a:cxn ang="0">
                  <a:pos x="1235" y="576"/>
                </a:cxn>
                <a:cxn ang="0">
                  <a:pos x="1238" y="697"/>
                </a:cxn>
                <a:cxn ang="0">
                  <a:pos x="1235" y="819"/>
                </a:cxn>
                <a:cxn ang="0">
                  <a:pos x="1223" y="939"/>
                </a:cxn>
                <a:cxn ang="0">
                  <a:pos x="1206" y="1059"/>
                </a:cxn>
                <a:cxn ang="0">
                  <a:pos x="1182" y="1174"/>
                </a:cxn>
                <a:cxn ang="0">
                  <a:pos x="1151" y="1287"/>
                </a:cxn>
                <a:cxn ang="0">
                  <a:pos x="1114" y="1397"/>
                </a:cxn>
                <a:cxn ang="0">
                  <a:pos x="1072" y="1505"/>
                </a:cxn>
                <a:cxn ang="0">
                  <a:pos x="1022" y="1611"/>
                </a:cxn>
                <a:cxn ang="0">
                  <a:pos x="968" y="1712"/>
                </a:cxn>
                <a:cxn ang="0">
                  <a:pos x="908" y="1810"/>
                </a:cxn>
                <a:cxn ang="0">
                  <a:pos x="844" y="1904"/>
                </a:cxn>
                <a:cxn ang="0">
                  <a:pos x="773" y="1993"/>
                </a:cxn>
                <a:cxn ang="0">
                  <a:pos x="698" y="2080"/>
                </a:cxn>
                <a:cxn ang="0">
                  <a:pos x="619" y="2162"/>
                </a:cxn>
                <a:cxn ang="0">
                  <a:pos x="535" y="2239"/>
                </a:cxn>
                <a:cxn ang="0">
                  <a:pos x="37" y="2038"/>
                </a:cxn>
                <a:cxn ang="0">
                  <a:pos x="0" y="1494"/>
                </a:cxn>
                <a:cxn ang="0">
                  <a:pos x="58" y="1431"/>
                </a:cxn>
                <a:cxn ang="0">
                  <a:pos x="113" y="1363"/>
                </a:cxn>
                <a:cxn ang="0">
                  <a:pos x="161" y="1291"/>
                </a:cxn>
                <a:cxn ang="0">
                  <a:pos x="203" y="1215"/>
                </a:cxn>
                <a:cxn ang="0">
                  <a:pos x="242" y="1136"/>
                </a:cxn>
                <a:cxn ang="0">
                  <a:pos x="273" y="1052"/>
                </a:cxn>
                <a:cxn ang="0">
                  <a:pos x="298" y="967"/>
                </a:cxn>
                <a:cxn ang="0">
                  <a:pos x="315" y="879"/>
                </a:cxn>
                <a:cxn ang="0">
                  <a:pos x="326" y="789"/>
                </a:cxn>
                <a:cxn ang="0">
                  <a:pos x="330" y="696"/>
                </a:cxn>
                <a:cxn ang="0">
                  <a:pos x="326" y="609"/>
                </a:cxn>
                <a:cxn ang="0">
                  <a:pos x="317" y="524"/>
                </a:cxn>
                <a:cxn ang="0">
                  <a:pos x="301" y="442"/>
                </a:cxn>
                <a:cxn ang="0">
                  <a:pos x="279" y="361"/>
                </a:cxn>
                <a:cxn ang="0">
                  <a:pos x="252" y="283"/>
                </a:cxn>
                <a:cxn ang="0">
                  <a:pos x="770" y="413"/>
                </a:cxn>
                <a:cxn ang="0">
                  <a:pos x="1115" y="0"/>
                </a:cxn>
              </a:cxnLst>
              <a:rect l="0" t="0" r="r" b="b"/>
              <a:pathLst>
                <a:path w="1238" h="2239">
                  <a:moveTo>
                    <a:pt x="1115" y="0"/>
                  </a:moveTo>
                  <a:lnTo>
                    <a:pt x="1153" y="110"/>
                  </a:lnTo>
                  <a:lnTo>
                    <a:pt x="1182" y="222"/>
                  </a:lnTo>
                  <a:lnTo>
                    <a:pt x="1207" y="337"/>
                  </a:lnTo>
                  <a:lnTo>
                    <a:pt x="1225" y="455"/>
                  </a:lnTo>
                  <a:lnTo>
                    <a:pt x="1235" y="576"/>
                  </a:lnTo>
                  <a:lnTo>
                    <a:pt x="1238" y="697"/>
                  </a:lnTo>
                  <a:lnTo>
                    <a:pt x="1235" y="819"/>
                  </a:lnTo>
                  <a:lnTo>
                    <a:pt x="1223" y="939"/>
                  </a:lnTo>
                  <a:lnTo>
                    <a:pt x="1206" y="1059"/>
                  </a:lnTo>
                  <a:lnTo>
                    <a:pt x="1182" y="1174"/>
                  </a:lnTo>
                  <a:lnTo>
                    <a:pt x="1151" y="1287"/>
                  </a:lnTo>
                  <a:lnTo>
                    <a:pt x="1114" y="1397"/>
                  </a:lnTo>
                  <a:lnTo>
                    <a:pt x="1072" y="1505"/>
                  </a:lnTo>
                  <a:lnTo>
                    <a:pt x="1022" y="1611"/>
                  </a:lnTo>
                  <a:lnTo>
                    <a:pt x="968" y="1712"/>
                  </a:lnTo>
                  <a:lnTo>
                    <a:pt x="908" y="1810"/>
                  </a:lnTo>
                  <a:lnTo>
                    <a:pt x="844" y="1904"/>
                  </a:lnTo>
                  <a:lnTo>
                    <a:pt x="773" y="1993"/>
                  </a:lnTo>
                  <a:lnTo>
                    <a:pt x="698" y="2080"/>
                  </a:lnTo>
                  <a:lnTo>
                    <a:pt x="619" y="2162"/>
                  </a:lnTo>
                  <a:lnTo>
                    <a:pt x="535" y="2239"/>
                  </a:lnTo>
                  <a:lnTo>
                    <a:pt x="37" y="2038"/>
                  </a:lnTo>
                  <a:lnTo>
                    <a:pt x="0" y="1494"/>
                  </a:lnTo>
                  <a:lnTo>
                    <a:pt x="58" y="1431"/>
                  </a:lnTo>
                  <a:lnTo>
                    <a:pt x="113" y="1363"/>
                  </a:lnTo>
                  <a:lnTo>
                    <a:pt x="161" y="1291"/>
                  </a:lnTo>
                  <a:lnTo>
                    <a:pt x="203" y="1215"/>
                  </a:lnTo>
                  <a:lnTo>
                    <a:pt x="242" y="1136"/>
                  </a:lnTo>
                  <a:lnTo>
                    <a:pt x="273" y="1052"/>
                  </a:lnTo>
                  <a:lnTo>
                    <a:pt x="298" y="967"/>
                  </a:lnTo>
                  <a:lnTo>
                    <a:pt x="315" y="879"/>
                  </a:lnTo>
                  <a:lnTo>
                    <a:pt x="326" y="789"/>
                  </a:lnTo>
                  <a:lnTo>
                    <a:pt x="330" y="696"/>
                  </a:lnTo>
                  <a:lnTo>
                    <a:pt x="326" y="609"/>
                  </a:lnTo>
                  <a:lnTo>
                    <a:pt x="317" y="524"/>
                  </a:lnTo>
                  <a:lnTo>
                    <a:pt x="301" y="442"/>
                  </a:lnTo>
                  <a:lnTo>
                    <a:pt x="279" y="361"/>
                  </a:lnTo>
                  <a:lnTo>
                    <a:pt x="252" y="283"/>
                  </a:lnTo>
                  <a:lnTo>
                    <a:pt x="770" y="413"/>
                  </a:lnTo>
                  <a:lnTo>
                    <a:pt x="1115" y="0"/>
                  </a:lnTo>
                  <a:close/>
                </a:path>
              </a:pathLst>
            </a:custGeom>
            <a:solidFill>
              <a:srgbClr val="A0CAFD"/>
            </a:solidFill>
            <a:ln w="9525">
              <a:noFill/>
              <a:round/>
              <a:headEnd/>
              <a:tailEnd/>
            </a:ln>
            <a:effectLst/>
          </p:spPr>
          <p:txBody>
            <a:bodyPr/>
            <a:lstStyle/>
            <a:p>
              <a:pPr eaLnBrk="1" hangingPunct="1">
                <a:spcBef>
                  <a:spcPts val="0"/>
                </a:spcBef>
                <a:defRPr/>
              </a:pPr>
              <a:endParaRPr lang="de-CH" sz="6303" dirty="0">
                <a:solidFill>
                  <a:schemeClr val="dk1"/>
                </a:solidFill>
                <a:latin typeface="Frutiger for ZKB Light" panose="020B0303030504020204" pitchFamily="34" charset="0"/>
              </a:endParaRPr>
            </a:p>
          </p:txBody>
        </p:sp>
        <p:sp>
          <p:nvSpPr>
            <p:cNvPr id="271" name="Freeform 47">
              <a:extLst>
                <a:ext uri="{FF2B5EF4-FFF2-40B4-BE49-F238E27FC236}">
                  <a16:creationId xmlns:a16="http://schemas.microsoft.com/office/drawing/2014/main" id="{6D7972D0-5F21-CB63-2E39-57A998602BD5}"/>
                </a:ext>
              </a:extLst>
            </p:cNvPr>
            <p:cNvSpPr>
              <a:spLocks/>
            </p:cNvSpPr>
            <p:nvPr/>
          </p:nvSpPr>
          <p:spPr bwMode="gray">
            <a:xfrm>
              <a:off x="3733800" y="4088360"/>
              <a:ext cx="1841500" cy="925513"/>
            </a:xfrm>
            <a:custGeom>
              <a:avLst/>
              <a:gdLst/>
              <a:ahLst/>
              <a:cxnLst>
                <a:cxn ang="0">
                  <a:pos x="1777" y="0"/>
                </a:cxn>
                <a:cxn ang="0">
                  <a:pos x="1812" y="528"/>
                </a:cxn>
                <a:cxn ang="0">
                  <a:pos x="2318" y="732"/>
                </a:cxn>
                <a:cxn ang="0">
                  <a:pos x="2230" y="798"/>
                </a:cxn>
                <a:cxn ang="0">
                  <a:pos x="2137" y="858"/>
                </a:cxn>
                <a:cxn ang="0">
                  <a:pos x="2041" y="914"/>
                </a:cxn>
                <a:cxn ang="0">
                  <a:pos x="1943" y="965"/>
                </a:cxn>
                <a:cxn ang="0">
                  <a:pos x="1842" y="1010"/>
                </a:cxn>
                <a:cxn ang="0">
                  <a:pos x="1737" y="1051"/>
                </a:cxn>
                <a:cxn ang="0">
                  <a:pos x="1629" y="1084"/>
                </a:cxn>
                <a:cxn ang="0">
                  <a:pos x="1520" y="1113"/>
                </a:cxn>
                <a:cxn ang="0">
                  <a:pos x="1408" y="1135"/>
                </a:cxn>
                <a:cxn ang="0">
                  <a:pos x="1294" y="1151"/>
                </a:cxn>
                <a:cxn ang="0">
                  <a:pos x="1177" y="1161"/>
                </a:cxn>
                <a:cxn ang="0">
                  <a:pos x="1060" y="1165"/>
                </a:cxn>
                <a:cxn ang="0">
                  <a:pos x="944" y="1161"/>
                </a:cxn>
                <a:cxn ang="0">
                  <a:pos x="830" y="1153"/>
                </a:cxn>
                <a:cxn ang="0">
                  <a:pos x="718" y="1136"/>
                </a:cxn>
                <a:cxn ang="0">
                  <a:pos x="608" y="1115"/>
                </a:cxn>
                <a:cxn ang="0">
                  <a:pos x="500" y="1088"/>
                </a:cxn>
                <a:cxn ang="0">
                  <a:pos x="394" y="1055"/>
                </a:cxn>
                <a:cxn ang="0">
                  <a:pos x="291" y="1016"/>
                </a:cxn>
                <a:cxn ang="0">
                  <a:pos x="191" y="971"/>
                </a:cxn>
                <a:cxn ang="0">
                  <a:pos x="94" y="923"/>
                </a:cxn>
                <a:cxn ang="0">
                  <a:pos x="0" y="868"/>
                </a:cxn>
                <a:cxn ang="0">
                  <a:pos x="37" y="330"/>
                </a:cxn>
                <a:cxn ang="0">
                  <a:pos x="539" y="129"/>
                </a:cxn>
                <a:cxn ang="0">
                  <a:pos x="619" y="166"/>
                </a:cxn>
                <a:cxn ang="0">
                  <a:pos x="701" y="197"/>
                </a:cxn>
                <a:cxn ang="0">
                  <a:pos x="786" y="222"/>
                </a:cxn>
                <a:cxn ang="0">
                  <a:pos x="876" y="240"/>
                </a:cxn>
                <a:cxn ang="0">
                  <a:pos x="966" y="251"/>
                </a:cxn>
                <a:cxn ang="0">
                  <a:pos x="1060" y="255"/>
                </a:cxn>
                <a:cxn ang="0">
                  <a:pos x="1149" y="251"/>
                </a:cxn>
                <a:cxn ang="0">
                  <a:pos x="1237" y="242"/>
                </a:cxn>
                <a:cxn ang="0">
                  <a:pos x="1323" y="224"/>
                </a:cxn>
                <a:cxn ang="0">
                  <a:pos x="1406" y="202"/>
                </a:cxn>
                <a:cxn ang="0">
                  <a:pos x="1487" y="172"/>
                </a:cxn>
                <a:cxn ang="0">
                  <a:pos x="1565" y="137"/>
                </a:cxn>
                <a:cxn ang="0">
                  <a:pos x="1639" y="96"/>
                </a:cxn>
                <a:cxn ang="0">
                  <a:pos x="1710" y="50"/>
                </a:cxn>
                <a:cxn ang="0">
                  <a:pos x="1777" y="0"/>
                </a:cxn>
              </a:cxnLst>
              <a:rect l="0" t="0" r="r" b="b"/>
              <a:pathLst>
                <a:path w="2318" h="1165">
                  <a:moveTo>
                    <a:pt x="1777" y="0"/>
                  </a:moveTo>
                  <a:lnTo>
                    <a:pt x="1812" y="528"/>
                  </a:lnTo>
                  <a:lnTo>
                    <a:pt x="2318" y="732"/>
                  </a:lnTo>
                  <a:lnTo>
                    <a:pt x="2230" y="798"/>
                  </a:lnTo>
                  <a:lnTo>
                    <a:pt x="2137" y="858"/>
                  </a:lnTo>
                  <a:lnTo>
                    <a:pt x="2041" y="914"/>
                  </a:lnTo>
                  <a:lnTo>
                    <a:pt x="1943" y="965"/>
                  </a:lnTo>
                  <a:lnTo>
                    <a:pt x="1842" y="1010"/>
                  </a:lnTo>
                  <a:lnTo>
                    <a:pt x="1737" y="1051"/>
                  </a:lnTo>
                  <a:lnTo>
                    <a:pt x="1629" y="1084"/>
                  </a:lnTo>
                  <a:lnTo>
                    <a:pt x="1520" y="1113"/>
                  </a:lnTo>
                  <a:lnTo>
                    <a:pt x="1408" y="1135"/>
                  </a:lnTo>
                  <a:lnTo>
                    <a:pt x="1294" y="1151"/>
                  </a:lnTo>
                  <a:lnTo>
                    <a:pt x="1177" y="1161"/>
                  </a:lnTo>
                  <a:lnTo>
                    <a:pt x="1060" y="1165"/>
                  </a:lnTo>
                  <a:lnTo>
                    <a:pt x="944" y="1161"/>
                  </a:lnTo>
                  <a:lnTo>
                    <a:pt x="830" y="1153"/>
                  </a:lnTo>
                  <a:lnTo>
                    <a:pt x="718" y="1136"/>
                  </a:lnTo>
                  <a:lnTo>
                    <a:pt x="608" y="1115"/>
                  </a:lnTo>
                  <a:lnTo>
                    <a:pt x="500" y="1088"/>
                  </a:lnTo>
                  <a:lnTo>
                    <a:pt x="394" y="1055"/>
                  </a:lnTo>
                  <a:lnTo>
                    <a:pt x="291" y="1016"/>
                  </a:lnTo>
                  <a:lnTo>
                    <a:pt x="191" y="971"/>
                  </a:lnTo>
                  <a:lnTo>
                    <a:pt x="94" y="923"/>
                  </a:lnTo>
                  <a:lnTo>
                    <a:pt x="0" y="868"/>
                  </a:lnTo>
                  <a:lnTo>
                    <a:pt x="37" y="330"/>
                  </a:lnTo>
                  <a:lnTo>
                    <a:pt x="539" y="129"/>
                  </a:lnTo>
                  <a:lnTo>
                    <a:pt x="619" y="166"/>
                  </a:lnTo>
                  <a:lnTo>
                    <a:pt x="701" y="197"/>
                  </a:lnTo>
                  <a:lnTo>
                    <a:pt x="786" y="222"/>
                  </a:lnTo>
                  <a:lnTo>
                    <a:pt x="876" y="240"/>
                  </a:lnTo>
                  <a:lnTo>
                    <a:pt x="966" y="251"/>
                  </a:lnTo>
                  <a:lnTo>
                    <a:pt x="1060" y="255"/>
                  </a:lnTo>
                  <a:lnTo>
                    <a:pt x="1149" y="251"/>
                  </a:lnTo>
                  <a:lnTo>
                    <a:pt x="1237" y="242"/>
                  </a:lnTo>
                  <a:lnTo>
                    <a:pt x="1323" y="224"/>
                  </a:lnTo>
                  <a:lnTo>
                    <a:pt x="1406" y="202"/>
                  </a:lnTo>
                  <a:lnTo>
                    <a:pt x="1487" y="172"/>
                  </a:lnTo>
                  <a:lnTo>
                    <a:pt x="1565" y="137"/>
                  </a:lnTo>
                  <a:lnTo>
                    <a:pt x="1639" y="96"/>
                  </a:lnTo>
                  <a:lnTo>
                    <a:pt x="1710" y="50"/>
                  </a:lnTo>
                  <a:lnTo>
                    <a:pt x="1777" y="0"/>
                  </a:lnTo>
                  <a:close/>
                </a:path>
              </a:pathLst>
            </a:custGeom>
            <a:solidFill>
              <a:srgbClr val="65A6FB"/>
            </a:solidFill>
            <a:ln w="9525">
              <a:noFill/>
              <a:round/>
              <a:headEnd/>
              <a:tailEnd/>
            </a:ln>
            <a:effectLst/>
          </p:spPr>
          <p:txBody>
            <a:bodyPr/>
            <a:lstStyle/>
            <a:p>
              <a:pPr eaLnBrk="1" hangingPunct="1">
                <a:spcBef>
                  <a:spcPts val="0"/>
                </a:spcBef>
                <a:defRPr/>
              </a:pPr>
              <a:endParaRPr lang="de-CH" sz="6303" dirty="0">
                <a:solidFill>
                  <a:schemeClr val="dk1"/>
                </a:solidFill>
                <a:latin typeface="Frutiger for ZKB Light" panose="020B0303030504020204" pitchFamily="34" charset="0"/>
              </a:endParaRPr>
            </a:p>
          </p:txBody>
        </p:sp>
        <p:sp>
          <p:nvSpPr>
            <p:cNvPr id="272" name="Freeform 48">
              <a:extLst>
                <a:ext uri="{FF2B5EF4-FFF2-40B4-BE49-F238E27FC236}">
                  <a16:creationId xmlns:a16="http://schemas.microsoft.com/office/drawing/2014/main" id="{933989AE-BAB4-C6B0-BA26-C98B635D5FEE}"/>
                </a:ext>
              </a:extLst>
            </p:cNvPr>
            <p:cNvSpPr>
              <a:spLocks/>
            </p:cNvSpPr>
            <p:nvPr/>
          </p:nvSpPr>
          <p:spPr bwMode="gray">
            <a:xfrm>
              <a:off x="2955925" y="2924723"/>
              <a:ext cx="1127125" cy="1808163"/>
            </a:xfrm>
            <a:custGeom>
              <a:avLst/>
              <a:gdLst/>
              <a:ahLst/>
              <a:cxnLst>
                <a:cxn ang="0">
                  <a:pos x="566" y="0"/>
                </a:cxn>
                <a:cxn ang="0">
                  <a:pos x="918" y="424"/>
                </a:cxn>
                <a:cxn ang="0">
                  <a:pos x="909" y="507"/>
                </a:cxn>
                <a:cxn ang="0">
                  <a:pos x="906" y="591"/>
                </a:cxn>
                <a:cxn ang="0">
                  <a:pos x="910" y="682"/>
                </a:cxn>
                <a:cxn ang="0">
                  <a:pos x="920" y="770"/>
                </a:cxn>
                <a:cxn ang="0">
                  <a:pos x="937" y="857"/>
                </a:cxn>
                <a:cxn ang="0">
                  <a:pos x="962" y="940"/>
                </a:cxn>
                <a:cxn ang="0">
                  <a:pos x="992" y="1022"/>
                </a:cxn>
                <a:cxn ang="0">
                  <a:pos x="1026" y="1100"/>
                </a:cxn>
                <a:cxn ang="0">
                  <a:pos x="1069" y="1175"/>
                </a:cxn>
                <a:cxn ang="0">
                  <a:pos x="1116" y="1245"/>
                </a:cxn>
                <a:cxn ang="0">
                  <a:pos x="1167" y="1312"/>
                </a:cxn>
                <a:cxn ang="0">
                  <a:pos x="1224" y="1376"/>
                </a:cxn>
                <a:cxn ang="0">
                  <a:pos x="1285" y="1435"/>
                </a:cxn>
                <a:cxn ang="0">
                  <a:pos x="1350" y="1489"/>
                </a:cxn>
                <a:cxn ang="0">
                  <a:pos x="1420" y="1538"/>
                </a:cxn>
                <a:cxn ang="0">
                  <a:pos x="931" y="1734"/>
                </a:cxn>
                <a:cxn ang="0">
                  <a:pos x="892" y="2279"/>
                </a:cxn>
                <a:cxn ang="0">
                  <a:pos x="799" y="2212"/>
                </a:cxn>
                <a:cxn ang="0">
                  <a:pos x="710" y="2139"/>
                </a:cxn>
                <a:cxn ang="0">
                  <a:pos x="626" y="2062"/>
                </a:cxn>
                <a:cxn ang="0">
                  <a:pos x="545" y="1980"/>
                </a:cxn>
                <a:cxn ang="0">
                  <a:pos x="469" y="1894"/>
                </a:cxn>
                <a:cxn ang="0">
                  <a:pos x="398" y="1804"/>
                </a:cxn>
                <a:cxn ang="0">
                  <a:pos x="333" y="1710"/>
                </a:cxn>
                <a:cxn ang="0">
                  <a:pos x="272" y="1611"/>
                </a:cxn>
                <a:cxn ang="0">
                  <a:pos x="217" y="1510"/>
                </a:cxn>
                <a:cxn ang="0">
                  <a:pos x="168" y="1404"/>
                </a:cxn>
                <a:cxn ang="0">
                  <a:pos x="125" y="1296"/>
                </a:cxn>
                <a:cxn ang="0">
                  <a:pos x="88" y="1186"/>
                </a:cxn>
                <a:cxn ang="0">
                  <a:pos x="57" y="1072"/>
                </a:cxn>
                <a:cxn ang="0">
                  <a:pos x="32" y="955"/>
                </a:cxn>
                <a:cxn ang="0">
                  <a:pos x="15" y="836"/>
                </a:cxn>
                <a:cxn ang="0">
                  <a:pos x="4" y="715"/>
                </a:cxn>
                <a:cxn ang="0">
                  <a:pos x="0" y="592"/>
                </a:cxn>
                <a:cxn ang="0">
                  <a:pos x="4" y="473"/>
                </a:cxn>
                <a:cxn ang="0">
                  <a:pos x="14" y="357"/>
                </a:cxn>
                <a:cxn ang="0">
                  <a:pos x="30" y="241"/>
                </a:cxn>
                <a:cxn ang="0">
                  <a:pos x="53" y="128"/>
                </a:cxn>
                <a:cxn ang="0">
                  <a:pos x="566" y="0"/>
                </a:cxn>
              </a:cxnLst>
              <a:rect l="0" t="0" r="r" b="b"/>
              <a:pathLst>
                <a:path w="1420" h="2279">
                  <a:moveTo>
                    <a:pt x="566" y="0"/>
                  </a:moveTo>
                  <a:lnTo>
                    <a:pt x="918" y="424"/>
                  </a:lnTo>
                  <a:lnTo>
                    <a:pt x="909" y="507"/>
                  </a:lnTo>
                  <a:lnTo>
                    <a:pt x="906" y="591"/>
                  </a:lnTo>
                  <a:lnTo>
                    <a:pt x="910" y="682"/>
                  </a:lnTo>
                  <a:lnTo>
                    <a:pt x="920" y="770"/>
                  </a:lnTo>
                  <a:lnTo>
                    <a:pt x="937" y="857"/>
                  </a:lnTo>
                  <a:lnTo>
                    <a:pt x="962" y="940"/>
                  </a:lnTo>
                  <a:lnTo>
                    <a:pt x="992" y="1022"/>
                  </a:lnTo>
                  <a:lnTo>
                    <a:pt x="1026" y="1100"/>
                  </a:lnTo>
                  <a:lnTo>
                    <a:pt x="1069" y="1175"/>
                  </a:lnTo>
                  <a:lnTo>
                    <a:pt x="1116" y="1245"/>
                  </a:lnTo>
                  <a:lnTo>
                    <a:pt x="1167" y="1312"/>
                  </a:lnTo>
                  <a:lnTo>
                    <a:pt x="1224" y="1376"/>
                  </a:lnTo>
                  <a:lnTo>
                    <a:pt x="1285" y="1435"/>
                  </a:lnTo>
                  <a:lnTo>
                    <a:pt x="1350" y="1489"/>
                  </a:lnTo>
                  <a:lnTo>
                    <a:pt x="1420" y="1538"/>
                  </a:lnTo>
                  <a:lnTo>
                    <a:pt x="931" y="1734"/>
                  </a:lnTo>
                  <a:lnTo>
                    <a:pt x="892" y="2279"/>
                  </a:lnTo>
                  <a:lnTo>
                    <a:pt x="799" y="2212"/>
                  </a:lnTo>
                  <a:lnTo>
                    <a:pt x="710" y="2139"/>
                  </a:lnTo>
                  <a:lnTo>
                    <a:pt x="626" y="2062"/>
                  </a:lnTo>
                  <a:lnTo>
                    <a:pt x="545" y="1980"/>
                  </a:lnTo>
                  <a:lnTo>
                    <a:pt x="469" y="1894"/>
                  </a:lnTo>
                  <a:lnTo>
                    <a:pt x="398" y="1804"/>
                  </a:lnTo>
                  <a:lnTo>
                    <a:pt x="333" y="1710"/>
                  </a:lnTo>
                  <a:lnTo>
                    <a:pt x="272" y="1611"/>
                  </a:lnTo>
                  <a:lnTo>
                    <a:pt x="217" y="1510"/>
                  </a:lnTo>
                  <a:lnTo>
                    <a:pt x="168" y="1404"/>
                  </a:lnTo>
                  <a:lnTo>
                    <a:pt x="125" y="1296"/>
                  </a:lnTo>
                  <a:lnTo>
                    <a:pt x="88" y="1186"/>
                  </a:lnTo>
                  <a:lnTo>
                    <a:pt x="57" y="1072"/>
                  </a:lnTo>
                  <a:lnTo>
                    <a:pt x="32" y="955"/>
                  </a:lnTo>
                  <a:lnTo>
                    <a:pt x="15" y="836"/>
                  </a:lnTo>
                  <a:lnTo>
                    <a:pt x="4" y="715"/>
                  </a:lnTo>
                  <a:lnTo>
                    <a:pt x="0" y="592"/>
                  </a:lnTo>
                  <a:lnTo>
                    <a:pt x="4" y="473"/>
                  </a:lnTo>
                  <a:lnTo>
                    <a:pt x="14" y="357"/>
                  </a:lnTo>
                  <a:lnTo>
                    <a:pt x="30" y="241"/>
                  </a:lnTo>
                  <a:lnTo>
                    <a:pt x="53" y="128"/>
                  </a:lnTo>
                  <a:lnTo>
                    <a:pt x="566" y="0"/>
                  </a:lnTo>
                  <a:close/>
                </a:path>
              </a:pathLst>
            </a:custGeom>
            <a:solidFill>
              <a:srgbClr val="3D87F5"/>
            </a:solidFill>
            <a:ln w="9525">
              <a:noFill/>
              <a:round/>
              <a:headEnd/>
              <a:tailEnd/>
            </a:ln>
            <a:effectLst/>
          </p:spPr>
          <p:txBody>
            <a:bodyPr/>
            <a:lstStyle/>
            <a:p>
              <a:pPr eaLnBrk="1" hangingPunct="1">
                <a:spcBef>
                  <a:spcPts val="0"/>
                </a:spcBef>
                <a:defRPr/>
              </a:pPr>
              <a:endParaRPr lang="de-CH" sz="6303" dirty="0">
                <a:solidFill>
                  <a:schemeClr val="dk1"/>
                </a:solidFill>
                <a:latin typeface="Frutiger for ZKB Light" panose="020B0303030504020204" pitchFamily="34" charset="0"/>
              </a:endParaRPr>
            </a:p>
          </p:txBody>
        </p:sp>
        <p:sp>
          <p:nvSpPr>
            <p:cNvPr id="273" name="Freeform 49">
              <a:extLst>
                <a:ext uri="{FF2B5EF4-FFF2-40B4-BE49-F238E27FC236}">
                  <a16:creationId xmlns:a16="http://schemas.microsoft.com/office/drawing/2014/main" id="{DFABA215-EC56-A939-5C86-4920B4F03ACE}"/>
                </a:ext>
              </a:extLst>
            </p:cNvPr>
            <p:cNvSpPr>
              <a:spLocks/>
            </p:cNvSpPr>
            <p:nvPr/>
          </p:nvSpPr>
          <p:spPr bwMode="gray">
            <a:xfrm>
              <a:off x="4506913" y="1773785"/>
              <a:ext cx="1562100" cy="1312863"/>
            </a:xfrm>
            <a:custGeom>
              <a:avLst/>
              <a:gdLst/>
              <a:ahLst/>
              <a:cxnLst>
                <a:cxn ang="0">
                  <a:pos x="86" y="0"/>
                </a:cxn>
                <a:cxn ang="0">
                  <a:pos x="212" y="3"/>
                </a:cxn>
                <a:cxn ang="0">
                  <a:pos x="335" y="15"/>
                </a:cxn>
                <a:cxn ang="0">
                  <a:pos x="457" y="33"/>
                </a:cxn>
                <a:cxn ang="0">
                  <a:pos x="577" y="59"/>
                </a:cxn>
                <a:cxn ang="0">
                  <a:pos x="693" y="92"/>
                </a:cxn>
                <a:cxn ang="0">
                  <a:pos x="807" y="131"/>
                </a:cxn>
                <a:cxn ang="0">
                  <a:pos x="917" y="176"/>
                </a:cxn>
                <a:cxn ang="0">
                  <a:pos x="1024" y="228"/>
                </a:cxn>
                <a:cxn ang="0">
                  <a:pos x="1128" y="285"/>
                </a:cxn>
                <a:cxn ang="0">
                  <a:pos x="1227" y="348"/>
                </a:cxn>
                <a:cxn ang="0">
                  <a:pos x="1323" y="418"/>
                </a:cxn>
                <a:cxn ang="0">
                  <a:pos x="1415" y="491"/>
                </a:cxn>
                <a:cxn ang="0">
                  <a:pos x="1502" y="571"/>
                </a:cxn>
                <a:cxn ang="0">
                  <a:pos x="1584" y="655"/>
                </a:cxn>
                <a:cxn ang="0">
                  <a:pos x="1662" y="743"/>
                </a:cxn>
                <a:cxn ang="0">
                  <a:pos x="1734" y="836"/>
                </a:cxn>
                <a:cxn ang="0">
                  <a:pos x="1801" y="933"/>
                </a:cxn>
                <a:cxn ang="0">
                  <a:pos x="1862" y="1034"/>
                </a:cxn>
                <a:cxn ang="0">
                  <a:pos x="1918" y="1139"/>
                </a:cxn>
                <a:cxn ang="0">
                  <a:pos x="1967" y="1247"/>
                </a:cxn>
                <a:cxn ang="0">
                  <a:pos x="1626" y="1654"/>
                </a:cxn>
                <a:cxn ang="0">
                  <a:pos x="1092" y="1520"/>
                </a:cxn>
                <a:cxn ang="0">
                  <a:pos x="1049" y="1444"/>
                </a:cxn>
                <a:cxn ang="0">
                  <a:pos x="1000" y="1371"/>
                </a:cxn>
                <a:cxn ang="0">
                  <a:pos x="946" y="1304"/>
                </a:cxn>
                <a:cxn ang="0">
                  <a:pos x="886" y="1240"/>
                </a:cxn>
                <a:cxn ang="0">
                  <a:pos x="823" y="1181"/>
                </a:cxn>
                <a:cxn ang="0">
                  <a:pos x="755" y="1127"/>
                </a:cxn>
                <a:cxn ang="0">
                  <a:pos x="683" y="1078"/>
                </a:cxn>
                <a:cxn ang="0">
                  <a:pos x="607" y="1035"/>
                </a:cxn>
                <a:cxn ang="0">
                  <a:pos x="526" y="998"/>
                </a:cxn>
                <a:cxn ang="0">
                  <a:pos x="444" y="965"/>
                </a:cxn>
                <a:cxn ang="0">
                  <a:pos x="357" y="940"/>
                </a:cxn>
                <a:cxn ang="0">
                  <a:pos x="269" y="923"/>
                </a:cxn>
                <a:cxn ang="0">
                  <a:pos x="179" y="912"/>
                </a:cxn>
                <a:cxn ang="0">
                  <a:pos x="86" y="908"/>
                </a:cxn>
                <a:cxn ang="0">
                  <a:pos x="12" y="911"/>
                </a:cxn>
                <a:cxn ang="0">
                  <a:pos x="290" y="466"/>
                </a:cxn>
                <a:cxn ang="0">
                  <a:pos x="0" y="2"/>
                </a:cxn>
                <a:cxn ang="0">
                  <a:pos x="86" y="0"/>
                </a:cxn>
              </a:cxnLst>
              <a:rect l="0" t="0" r="r" b="b"/>
              <a:pathLst>
                <a:path w="1967" h="1654">
                  <a:moveTo>
                    <a:pt x="86" y="0"/>
                  </a:moveTo>
                  <a:lnTo>
                    <a:pt x="212" y="3"/>
                  </a:lnTo>
                  <a:lnTo>
                    <a:pt x="335" y="15"/>
                  </a:lnTo>
                  <a:lnTo>
                    <a:pt x="457" y="33"/>
                  </a:lnTo>
                  <a:lnTo>
                    <a:pt x="577" y="59"/>
                  </a:lnTo>
                  <a:lnTo>
                    <a:pt x="693" y="92"/>
                  </a:lnTo>
                  <a:lnTo>
                    <a:pt x="807" y="131"/>
                  </a:lnTo>
                  <a:lnTo>
                    <a:pt x="917" y="176"/>
                  </a:lnTo>
                  <a:lnTo>
                    <a:pt x="1024" y="228"/>
                  </a:lnTo>
                  <a:lnTo>
                    <a:pt x="1128" y="285"/>
                  </a:lnTo>
                  <a:lnTo>
                    <a:pt x="1227" y="348"/>
                  </a:lnTo>
                  <a:lnTo>
                    <a:pt x="1323" y="418"/>
                  </a:lnTo>
                  <a:lnTo>
                    <a:pt x="1415" y="491"/>
                  </a:lnTo>
                  <a:lnTo>
                    <a:pt x="1502" y="571"/>
                  </a:lnTo>
                  <a:lnTo>
                    <a:pt x="1584" y="655"/>
                  </a:lnTo>
                  <a:lnTo>
                    <a:pt x="1662" y="743"/>
                  </a:lnTo>
                  <a:lnTo>
                    <a:pt x="1734" y="836"/>
                  </a:lnTo>
                  <a:lnTo>
                    <a:pt x="1801" y="933"/>
                  </a:lnTo>
                  <a:lnTo>
                    <a:pt x="1862" y="1034"/>
                  </a:lnTo>
                  <a:lnTo>
                    <a:pt x="1918" y="1139"/>
                  </a:lnTo>
                  <a:lnTo>
                    <a:pt x="1967" y="1247"/>
                  </a:lnTo>
                  <a:lnTo>
                    <a:pt x="1626" y="1654"/>
                  </a:lnTo>
                  <a:lnTo>
                    <a:pt x="1092" y="1520"/>
                  </a:lnTo>
                  <a:lnTo>
                    <a:pt x="1049" y="1444"/>
                  </a:lnTo>
                  <a:lnTo>
                    <a:pt x="1000" y="1371"/>
                  </a:lnTo>
                  <a:lnTo>
                    <a:pt x="946" y="1304"/>
                  </a:lnTo>
                  <a:lnTo>
                    <a:pt x="886" y="1240"/>
                  </a:lnTo>
                  <a:lnTo>
                    <a:pt x="823" y="1181"/>
                  </a:lnTo>
                  <a:lnTo>
                    <a:pt x="755" y="1127"/>
                  </a:lnTo>
                  <a:lnTo>
                    <a:pt x="683" y="1078"/>
                  </a:lnTo>
                  <a:lnTo>
                    <a:pt x="607" y="1035"/>
                  </a:lnTo>
                  <a:lnTo>
                    <a:pt x="526" y="998"/>
                  </a:lnTo>
                  <a:lnTo>
                    <a:pt x="444" y="965"/>
                  </a:lnTo>
                  <a:lnTo>
                    <a:pt x="357" y="940"/>
                  </a:lnTo>
                  <a:lnTo>
                    <a:pt x="269" y="923"/>
                  </a:lnTo>
                  <a:lnTo>
                    <a:pt x="179" y="912"/>
                  </a:lnTo>
                  <a:lnTo>
                    <a:pt x="86" y="908"/>
                  </a:lnTo>
                  <a:lnTo>
                    <a:pt x="12" y="911"/>
                  </a:lnTo>
                  <a:lnTo>
                    <a:pt x="290" y="466"/>
                  </a:lnTo>
                  <a:lnTo>
                    <a:pt x="0" y="2"/>
                  </a:lnTo>
                  <a:lnTo>
                    <a:pt x="86" y="0"/>
                  </a:lnTo>
                  <a:close/>
                </a:path>
              </a:pathLst>
            </a:custGeom>
            <a:solidFill>
              <a:srgbClr val="D2E6FE"/>
            </a:solidFill>
            <a:ln w="9525">
              <a:noFill/>
              <a:round/>
              <a:headEnd/>
              <a:tailEnd/>
            </a:ln>
            <a:effectLst/>
          </p:spPr>
          <p:txBody>
            <a:bodyPr/>
            <a:lstStyle/>
            <a:p>
              <a:pPr eaLnBrk="1" hangingPunct="1">
                <a:spcBef>
                  <a:spcPts val="0"/>
                </a:spcBef>
                <a:defRPr/>
              </a:pPr>
              <a:endParaRPr lang="de-CH" sz="6303" dirty="0">
                <a:solidFill>
                  <a:schemeClr val="dk1"/>
                </a:solidFill>
                <a:latin typeface="Frutiger for ZKB Light" panose="020B0303030504020204" pitchFamily="34" charset="0"/>
              </a:endParaRPr>
            </a:p>
          </p:txBody>
        </p:sp>
        <p:sp>
          <p:nvSpPr>
            <p:cNvPr id="274" name="Freeform 50">
              <a:extLst>
                <a:ext uri="{FF2B5EF4-FFF2-40B4-BE49-F238E27FC236}">
                  <a16:creationId xmlns:a16="http://schemas.microsoft.com/office/drawing/2014/main" id="{8B28F448-D4C9-0552-03F7-1D7ED788A3C1}"/>
                </a:ext>
              </a:extLst>
            </p:cNvPr>
            <p:cNvSpPr>
              <a:spLocks/>
            </p:cNvSpPr>
            <p:nvPr/>
          </p:nvSpPr>
          <p:spPr bwMode="gray">
            <a:xfrm>
              <a:off x="3019425" y="1780135"/>
              <a:ext cx="1633538" cy="1389063"/>
            </a:xfrm>
            <a:custGeom>
              <a:avLst/>
              <a:gdLst/>
              <a:ahLst/>
              <a:cxnLst>
                <a:cxn ang="0">
                  <a:pos x="1773" y="0"/>
                </a:cxn>
                <a:cxn ang="0">
                  <a:pos x="2058" y="458"/>
                </a:cxn>
                <a:cxn ang="0">
                  <a:pos x="1772" y="916"/>
                </a:cxn>
                <a:cxn ang="0">
                  <a:pos x="1685" y="935"/>
                </a:cxn>
                <a:cxn ang="0">
                  <a:pos x="1599" y="960"/>
                </a:cxn>
                <a:cxn ang="0">
                  <a:pos x="1517" y="991"/>
                </a:cxn>
                <a:cxn ang="0">
                  <a:pos x="1439" y="1028"/>
                </a:cxn>
                <a:cxn ang="0">
                  <a:pos x="1363" y="1070"/>
                </a:cxn>
                <a:cxn ang="0">
                  <a:pos x="1293" y="1119"/>
                </a:cxn>
                <a:cxn ang="0">
                  <a:pos x="1224" y="1172"/>
                </a:cxn>
                <a:cxn ang="0">
                  <a:pos x="1162" y="1230"/>
                </a:cxn>
                <a:cxn ang="0">
                  <a:pos x="1103" y="1292"/>
                </a:cxn>
                <a:cxn ang="0">
                  <a:pos x="1049" y="1359"/>
                </a:cxn>
                <a:cxn ang="0">
                  <a:pos x="1001" y="1430"/>
                </a:cxn>
                <a:cxn ang="0">
                  <a:pos x="957" y="1505"/>
                </a:cxn>
                <a:cxn ang="0">
                  <a:pos x="920" y="1584"/>
                </a:cxn>
                <a:cxn ang="0">
                  <a:pos x="888" y="1665"/>
                </a:cxn>
                <a:cxn ang="0">
                  <a:pos x="863" y="1749"/>
                </a:cxn>
                <a:cxn ang="0">
                  <a:pos x="521" y="1340"/>
                </a:cxn>
                <a:cxn ang="0">
                  <a:pos x="0" y="1469"/>
                </a:cxn>
                <a:cxn ang="0">
                  <a:pos x="36" y="1357"/>
                </a:cxn>
                <a:cxn ang="0">
                  <a:pos x="77" y="1248"/>
                </a:cxn>
                <a:cxn ang="0">
                  <a:pos x="126" y="1141"/>
                </a:cxn>
                <a:cxn ang="0">
                  <a:pos x="179" y="1038"/>
                </a:cxn>
                <a:cxn ang="0">
                  <a:pos x="239" y="940"/>
                </a:cxn>
                <a:cxn ang="0">
                  <a:pos x="303" y="844"/>
                </a:cxn>
                <a:cxn ang="0">
                  <a:pos x="373" y="753"/>
                </a:cxn>
                <a:cxn ang="0">
                  <a:pos x="447" y="664"/>
                </a:cxn>
                <a:cxn ang="0">
                  <a:pos x="527" y="582"/>
                </a:cxn>
                <a:cxn ang="0">
                  <a:pos x="610" y="503"/>
                </a:cxn>
                <a:cxn ang="0">
                  <a:pos x="698" y="430"/>
                </a:cxn>
                <a:cxn ang="0">
                  <a:pos x="791" y="362"/>
                </a:cxn>
                <a:cxn ang="0">
                  <a:pos x="887" y="297"/>
                </a:cxn>
                <a:cxn ang="0">
                  <a:pos x="987" y="239"/>
                </a:cxn>
                <a:cxn ang="0">
                  <a:pos x="1090" y="187"/>
                </a:cxn>
                <a:cxn ang="0">
                  <a:pos x="1197" y="139"/>
                </a:cxn>
                <a:cxn ang="0">
                  <a:pos x="1307" y="100"/>
                </a:cxn>
                <a:cxn ang="0">
                  <a:pos x="1419" y="65"/>
                </a:cxn>
                <a:cxn ang="0">
                  <a:pos x="1535" y="36"/>
                </a:cxn>
                <a:cxn ang="0">
                  <a:pos x="1652" y="15"/>
                </a:cxn>
                <a:cxn ang="0">
                  <a:pos x="1773" y="0"/>
                </a:cxn>
              </a:cxnLst>
              <a:rect l="0" t="0" r="r" b="b"/>
              <a:pathLst>
                <a:path w="2058" h="1749">
                  <a:moveTo>
                    <a:pt x="1773" y="0"/>
                  </a:moveTo>
                  <a:lnTo>
                    <a:pt x="2058" y="458"/>
                  </a:lnTo>
                  <a:lnTo>
                    <a:pt x="1772" y="916"/>
                  </a:lnTo>
                  <a:lnTo>
                    <a:pt x="1685" y="935"/>
                  </a:lnTo>
                  <a:lnTo>
                    <a:pt x="1599" y="960"/>
                  </a:lnTo>
                  <a:lnTo>
                    <a:pt x="1517" y="991"/>
                  </a:lnTo>
                  <a:lnTo>
                    <a:pt x="1439" y="1028"/>
                  </a:lnTo>
                  <a:lnTo>
                    <a:pt x="1363" y="1070"/>
                  </a:lnTo>
                  <a:lnTo>
                    <a:pt x="1293" y="1119"/>
                  </a:lnTo>
                  <a:lnTo>
                    <a:pt x="1224" y="1172"/>
                  </a:lnTo>
                  <a:lnTo>
                    <a:pt x="1162" y="1230"/>
                  </a:lnTo>
                  <a:lnTo>
                    <a:pt x="1103" y="1292"/>
                  </a:lnTo>
                  <a:lnTo>
                    <a:pt x="1049" y="1359"/>
                  </a:lnTo>
                  <a:lnTo>
                    <a:pt x="1001" y="1430"/>
                  </a:lnTo>
                  <a:lnTo>
                    <a:pt x="957" y="1505"/>
                  </a:lnTo>
                  <a:lnTo>
                    <a:pt x="920" y="1584"/>
                  </a:lnTo>
                  <a:lnTo>
                    <a:pt x="888" y="1665"/>
                  </a:lnTo>
                  <a:lnTo>
                    <a:pt x="863" y="1749"/>
                  </a:lnTo>
                  <a:lnTo>
                    <a:pt x="521" y="1340"/>
                  </a:lnTo>
                  <a:lnTo>
                    <a:pt x="0" y="1469"/>
                  </a:lnTo>
                  <a:lnTo>
                    <a:pt x="36" y="1357"/>
                  </a:lnTo>
                  <a:lnTo>
                    <a:pt x="77" y="1248"/>
                  </a:lnTo>
                  <a:lnTo>
                    <a:pt x="126" y="1141"/>
                  </a:lnTo>
                  <a:lnTo>
                    <a:pt x="179" y="1038"/>
                  </a:lnTo>
                  <a:lnTo>
                    <a:pt x="239" y="940"/>
                  </a:lnTo>
                  <a:lnTo>
                    <a:pt x="303" y="844"/>
                  </a:lnTo>
                  <a:lnTo>
                    <a:pt x="373" y="753"/>
                  </a:lnTo>
                  <a:lnTo>
                    <a:pt x="447" y="664"/>
                  </a:lnTo>
                  <a:lnTo>
                    <a:pt x="527" y="582"/>
                  </a:lnTo>
                  <a:lnTo>
                    <a:pt x="610" y="503"/>
                  </a:lnTo>
                  <a:lnTo>
                    <a:pt x="698" y="430"/>
                  </a:lnTo>
                  <a:lnTo>
                    <a:pt x="791" y="362"/>
                  </a:lnTo>
                  <a:lnTo>
                    <a:pt x="887" y="297"/>
                  </a:lnTo>
                  <a:lnTo>
                    <a:pt x="987" y="239"/>
                  </a:lnTo>
                  <a:lnTo>
                    <a:pt x="1090" y="187"/>
                  </a:lnTo>
                  <a:lnTo>
                    <a:pt x="1197" y="139"/>
                  </a:lnTo>
                  <a:lnTo>
                    <a:pt x="1307" y="100"/>
                  </a:lnTo>
                  <a:lnTo>
                    <a:pt x="1419" y="65"/>
                  </a:lnTo>
                  <a:lnTo>
                    <a:pt x="1535" y="36"/>
                  </a:lnTo>
                  <a:lnTo>
                    <a:pt x="1652" y="15"/>
                  </a:lnTo>
                  <a:lnTo>
                    <a:pt x="1773" y="0"/>
                  </a:lnTo>
                  <a:close/>
                </a:path>
              </a:pathLst>
            </a:custGeom>
            <a:solidFill>
              <a:srgbClr val="1264F3"/>
            </a:solidFill>
            <a:ln w="9525">
              <a:noFill/>
              <a:round/>
              <a:headEnd/>
              <a:tailEnd/>
            </a:ln>
            <a:effectLst/>
          </p:spPr>
          <p:txBody>
            <a:bodyPr/>
            <a:lstStyle/>
            <a:p>
              <a:pPr eaLnBrk="1" hangingPunct="1">
                <a:spcBef>
                  <a:spcPts val="0"/>
                </a:spcBef>
                <a:defRPr/>
              </a:pPr>
              <a:endParaRPr lang="de-CH" sz="6303" dirty="0">
                <a:solidFill>
                  <a:schemeClr val="dk1"/>
                </a:solidFill>
                <a:latin typeface="Frutiger for ZKB Light" panose="020B0303030504020204" pitchFamily="34" charset="0"/>
              </a:endParaRPr>
            </a:p>
          </p:txBody>
        </p:sp>
      </p:grpSp>
      <p:sp>
        <p:nvSpPr>
          <p:cNvPr id="119813" name="Titel 14">
            <a:extLst>
              <a:ext uri="{FF2B5EF4-FFF2-40B4-BE49-F238E27FC236}">
                <a16:creationId xmlns:a16="http://schemas.microsoft.com/office/drawing/2014/main" id="{2DA19024-5798-ED93-F899-A612F84CF1AF}"/>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Kreislauf – 5-teilig</a:t>
            </a:r>
          </a:p>
        </p:txBody>
      </p:sp>
      <p:sp>
        <p:nvSpPr>
          <p:cNvPr id="119814" name="Foliennummernplatzhalter 22">
            <a:extLst>
              <a:ext uri="{FF2B5EF4-FFF2-40B4-BE49-F238E27FC236}">
                <a16:creationId xmlns:a16="http://schemas.microsoft.com/office/drawing/2014/main" id="{D3EB06E2-AA51-A36C-F3A2-B4E0257C31B8}"/>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3BBAE655-5BCA-4AAB-AEB0-DC8858A68E84}" type="slidenum">
              <a:rPr lang="de-CH" altLang="de-DE" sz="1100" smtClean="0">
                <a:solidFill>
                  <a:srgbClr val="003CB4"/>
                </a:solidFill>
                <a:latin typeface="Frutiger for ZKB Light" panose="020B0303030504020204" pitchFamily="34" charset="0"/>
              </a:rPr>
              <a:pPr>
                <a:spcBef>
                  <a:spcPct val="0"/>
                </a:spcBef>
                <a:spcAft>
                  <a:spcPct val="0"/>
                </a:spcAft>
              </a:pPr>
              <a:t>88</a:t>
            </a:fld>
            <a:endParaRPr lang="de-CH" altLang="de-DE" sz="1100" dirty="0">
              <a:solidFill>
                <a:srgbClr val="003CB4"/>
              </a:solidFill>
              <a:latin typeface="Frutiger for ZKB Light" panose="020B0303030504020204" pitchFamily="34" charset="0"/>
            </a:endParaRPr>
          </a:p>
        </p:txBody>
      </p:sp>
      <p:sp>
        <p:nvSpPr>
          <p:cNvPr id="119815" name="Fußzeilenplatzhalter 21">
            <a:extLst>
              <a:ext uri="{FF2B5EF4-FFF2-40B4-BE49-F238E27FC236}">
                <a16:creationId xmlns:a16="http://schemas.microsoft.com/office/drawing/2014/main" id="{33EF27A6-71D1-4981-2C5F-D1016C06EAB7}"/>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19816" name="Inhaltsplatzhalter 5">
            <a:extLst>
              <a:ext uri="{FF2B5EF4-FFF2-40B4-BE49-F238E27FC236}">
                <a16:creationId xmlns:a16="http://schemas.microsoft.com/office/drawing/2014/main" id="{1BA15CA7-BF64-2B91-C607-3A000D7C2872}"/>
              </a:ext>
            </a:extLst>
          </p:cNvPr>
          <p:cNvSpPr txBox="1">
            <a:spLocks noChangeArrowheads="1"/>
          </p:cNvSpPr>
          <p:nvPr/>
        </p:nvSpPr>
        <p:spPr bwMode="auto">
          <a:xfrm>
            <a:off x="6918325" y="2403475"/>
            <a:ext cx="8985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t>1</a:t>
            </a:r>
          </a:p>
        </p:txBody>
      </p:sp>
      <p:sp>
        <p:nvSpPr>
          <p:cNvPr id="119817" name="Inhaltsplatzhalter 5">
            <a:extLst>
              <a:ext uri="{FF2B5EF4-FFF2-40B4-BE49-F238E27FC236}">
                <a16:creationId xmlns:a16="http://schemas.microsoft.com/office/drawing/2014/main" id="{A548405E-B3D7-D86A-10CB-90B5EA155AD5}"/>
              </a:ext>
            </a:extLst>
          </p:cNvPr>
          <p:cNvSpPr txBox="1">
            <a:spLocks noChangeArrowheads="1"/>
          </p:cNvSpPr>
          <p:nvPr/>
        </p:nvSpPr>
        <p:spPr bwMode="auto">
          <a:xfrm>
            <a:off x="4943475" y="2403475"/>
            <a:ext cx="922338"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solidFill>
                  <a:schemeClr val="bg1"/>
                </a:solidFill>
              </a:rPr>
              <a:t>5</a:t>
            </a:r>
          </a:p>
        </p:txBody>
      </p:sp>
      <p:sp>
        <p:nvSpPr>
          <p:cNvPr id="119818" name="Inhaltsplatzhalter 5">
            <a:extLst>
              <a:ext uri="{FF2B5EF4-FFF2-40B4-BE49-F238E27FC236}">
                <a16:creationId xmlns:a16="http://schemas.microsoft.com/office/drawing/2014/main" id="{16699040-DF2E-E1BE-EB30-6E3CEFF62D8C}"/>
              </a:ext>
            </a:extLst>
          </p:cNvPr>
          <p:cNvSpPr txBox="1">
            <a:spLocks noChangeArrowheads="1"/>
          </p:cNvSpPr>
          <p:nvPr/>
        </p:nvSpPr>
        <p:spPr bwMode="auto">
          <a:xfrm>
            <a:off x="4378325" y="4252913"/>
            <a:ext cx="922338"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solidFill>
                  <a:schemeClr val="bg1"/>
                </a:solidFill>
              </a:rPr>
              <a:t>4</a:t>
            </a:r>
          </a:p>
        </p:txBody>
      </p:sp>
      <p:sp>
        <p:nvSpPr>
          <p:cNvPr id="119819" name="Inhaltsplatzhalter 5">
            <a:extLst>
              <a:ext uri="{FF2B5EF4-FFF2-40B4-BE49-F238E27FC236}">
                <a16:creationId xmlns:a16="http://schemas.microsoft.com/office/drawing/2014/main" id="{F2BCC7D3-1F4F-9754-988E-8FFCF68AF496}"/>
              </a:ext>
            </a:extLst>
          </p:cNvPr>
          <p:cNvSpPr txBox="1">
            <a:spLocks noChangeArrowheads="1"/>
          </p:cNvSpPr>
          <p:nvPr/>
        </p:nvSpPr>
        <p:spPr bwMode="auto">
          <a:xfrm>
            <a:off x="7532688" y="4252913"/>
            <a:ext cx="920750"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solidFill>
                  <a:schemeClr val="tx1"/>
                </a:solidFill>
              </a:rPr>
              <a:t>2</a:t>
            </a:r>
          </a:p>
        </p:txBody>
      </p:sp>
      <p:sp>
        <p:nvSpPr>
          <p:cNvPr id="119820" name="Inhaltsplatzhalter 5">
            <a:extLst>
              <a:ext uri="{FF2B5EF4-FFF2-40B4-BE49-F238E27FC236}">
                <a16:creationId xmlns:a16="http://schemas.microsoft.com/office/drawing/2014/main" id="{1D65FB49-8AD5-CFBB-CA8E-AFED5237F46F}"/>
              </a:ext>
            </a:extLst>
          </p:cNvPr>
          <p:cNvSpPr txBox="1">
            <a:spLocks noChangeArrowheads="1"/>
          </p:cNvSpPr>
          <p:nvPr/>
        </p:nvSpPr>
        <p:spPr bwMode="auto">
          <a:xfrm>
            <a:off x="5959475" y="5402263"/>
            <a:ext cx="922338"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solidFill>
                  <a:schemeClr val="tx1"/>
                </a:solidFill>
              </a:rPr>
              <a:t>3</a:t>
            </a:r>
          </a:p>
        </p:txBody>
      </p:sp>
      <p:sp>
        <p:nvSpPr>
          <p:cNvPr id="119821" name="Inhaltsplatzhalter 5">
            <a:extLst>
              <a:ext uri="{FF2B5EF4-FFF2-40B4-BE49-F238E27FC236}">
                <a16:creationId xmlns:a16="http://schemas.microsoft.com/office/drawing/2014/main" id="{E059DEED-9FB3-2FB1-7614-FF14F64FB8FE}"/>
              </a:ext>
            </a:extLst>
          </p:cNvPr>
          <p:cNvSpPr txBox="1">
            <a:spLocks noChangeArrowheads="1"/>
          </p:cNvSpPr>
          <p:nvPr/>
        </p:nvSpPr>
        <p:spPr bwMode="auto">
          <a:xfrm>
            <a:off x="963613" y="4648200"/>
            <a:ext cx="266382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sp>
        <p:nvSpPr>
          <p:cNvPr id="119822" name="Inhaltsplatzhalter 5">
            <a:extLst>
              <a:ext uri="{FF2B5EF4-FFF2-40B4-BE49-F238E27FC236}">
                <a16:creationId xmlns:a16="http://schemas.microsoft.com/office/drawing/2014/main" id="{1A2B4539-1E34-29E1-85DB-B97EBB55EEAE}"/>
              </a:ext>
            </a:extLst>
          </p:cNvPr>
          <p:cNvSpPr txBox="1">
            <a:spLocks noChangeArrowheads="1"/>
          </p:cNvSpPr>
          <p:nvPr/>
        </p:nvSpPr>
        <p:spPr bwMode="auto">
          <a:xfrm>
            <a:off x="9451975" y="4648200"/>
            <a:ext cx="266382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cxnSp>
        <p:nvCxnSpPr>
          <p:cNvPr id="13" name="Gerade Verbindung 12">
            <a:extLst>
              <a:ext uri="{FF2B5EF4-FFF2-40B4-BE49-F238E27FC236}">
                <a16:creationId xmlns:a16="http://schemas.microsoft.com/office/drawing/2014/main" id="{704A2C19-A32E-0BE3-A4AD-D9D05E3A2FDF}"/>
              </a:ext>
            </a:extLst>
          </p:cNvPr>
          <p:cNvCxnSpPr>
            <a:cxnSpLocks/>
          </p:cNvCxnSpPr>
          <p:nvPr/>
        </p:nvCxnSpPr>
        <p:spPr>
          <a:xfrm>
            <a:off x="3644900" y="4894263"/>
            <a:ext cx="6969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a:extLst>
              <a:ext uri="{FF2B5EF4-FFF2-40B4-BE49-F238E27FC236}">
                <a16:creationId xmlns:a16="http://schemas.microsoft.com/office/drawing/2014/main" id="{DDBAE2A0-BA2F-0877-779C-89764EF785E4}"/>
              </a:ext>
            </a:extLst>
          </p:cNvPr>
          <p:cNvCxnSpPr>
            <a:cxnSpLocks/>
          </p:cNvCxnSpPr>
          <p:nvPr/>
        </p:nvCxnSpPr>
        <p:spPr>
          <a:xfrm>
            <a:off x="8496300" y="4894263"/>
            <a:ext cx="6969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a:extLst>
              <a:ext uri="{FF2B5EF4-FFF2-40B4-BE49-F238E27FC236}">
                <a16:creationId xmlns:a16="http://schemas.microsoft.com/office/drawing/2014/main" id="{A1619B6C-A2C7-E7F6-267A-7022633E6B3F}"/>
              </a:ext>
            </a:extLst>
          </p:cNvPr>
          <p:cNvCxnSpPr>
            <a:cxnSpLocks/>
          </p:cNvCxnSpPr>
          <p:nvPr/>
        </p:nvCxnSpPr>
        <p:spPr>
          <a:xfrm>
            <a:off x="7305675" y="6135688"/>
            <a:ext cx="6969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9826" name="Inhaltsplatzhalter 5">
            <a:extLst>
              <a:ext uri="{FF2B5EF4-FFF2-40B4-BE49-F238E27FC236}">
                <a16:creationId xmlns:a16="http://schemas.microsoft.com/office/drawing/2014/main" id="{277E6EE3-235E-D012-37B0-23E406F92111}"/>
              </a:ext>
            </a:extLst>
          </p:cNvPr>
          <p:cNvSpPr txBox="1">
            <a:spLocks noChangeArrowheads="1"/>
          </p:cNvSpPr>
          <p:nvPr/>
        </p:nvSpPr>
        <p:spPr bwMode="auto">
          <a:xfrm>
            <a:off x="8228013" y="5897563"/>
            <a:ext cx="266382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sp>
        <p:nvSpPr>
          <p:cNvPr id="119827" name="Inhaltsplatzhalter 5">
            <a:extLst>
              <a:ext uri="{FF2B5EF4-FFF2-40B4-BE49-F238E27FC236}">
                <a16:creationId xmlns:a16="http://schemas.microsoft.com/office/drawing/2014/main" id="{ADB16033-328B-6386-AD75-678BE894F3EC}"/>
              </a:ext>
            </a:extLst>
          </p:cNvPr>
          <p:cNvSpPr txBox="1">
            <a:spLocks noChangeArrowheads="1"/>
          </p:cNvSpPr>
          <p:nvPr/>
        </p:nvSpPr>
        <p:spPr bwMode="auto">
          <a:xfrm>
            <a:off x="5330825" y="3682438"/>
            <a:ext cx="2152650" cy="818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108000" bIns="0" anchor="ctr">
            <a:spAutoFit/>
          </a:bodyPr>
          <a:lstStyle>
            <a:defPPr>
              <a:defRPr lang="de-CH"/>
            </a:defPPr>
            <a:lvl1pPr algn="ctr" defTabSz="963613" eaLnBrk="1" hangingPunct="1">
              <a:lnSpc>
                <a:spcPct val="95000"/>
              </a:lnSpc>
              <a:spcBef>
                <a:spcPts val="0"/>
              </a:spcBef>
              <a:buClrTx/>
              <a:buFont typeface="Frutiger for ZKB Light" panose="020B0303030504020204" pitchFamily="34" charset="0"/>
              <a:defRPr sz="2800">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r>
              <a:rPr lang="de-CH" altLang="de-DE" dirty="0"/>
              <a:t>Lorem ipsum</a:t>
            </a:r>
          </a:p>
        </p:txBody>
      </p:sp>
      <p:sp>
        <p:nvSpPr>
          <p:cNvPr id="119828" name="Inhaltsplatzhalter 5">
            <a:extLst>
              <a:ext uri="{FF2B5EF4-FFF2-40B4-BE49-F238E27FC236}">
                <a16:creationId xmlns:a16="http://schemas.microsoft.com/office/drawing/2014/main" id="{A1FD84CE-FA0E-9C16-5881-5C124F0C36CF}"/>
              </a:ext>
            </a:extLst>
          </p:cNvPr>
          <p:cNvSpPr txBox="1">
            <a:spLocks noChangeArrowheads="1"/>
          </p:cNvSpPr>
          <p:nvPr/>
        </p:nvSpPr>
        <p:spPr bwMode="auto">
          <a:xfrm>
            <a:off x="1316038" y="2505075"/>
            <a:ext cx="2663825"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sp>
        <p:nvSpPr>
          <p:cNvPr id="119829" name="Inhaltsplatzhalter 5">
            <a:extLst>
              <a:ext uri="{FF2B5EF4-FFF2-40B4-BE49-F238E27FC236}">
                <a16:creationId xmlns:a16="http://schemas.microsoft.com/office/drawing/2014/main" id="{FE3DA274-BFC9-DDCE-B7B3-CA2002CA5ADA}"/>
              </a:ext>
            </a:extLst>
          </p:cNvPr>
          <p:cNvSpPr txBox="1">
            <a:spLocks noChangeArrowheads="1"/>
          </p:cNvSpPr>
          <p:nvPr/>
        </p:nvSpPr>
        <p:spPr bwMode="auto">
          <a:xfrm>
            <a:off x="9107488" y="2505075"/>
            <a:ext cx="2663825"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cxnSp>
        <p:nvCxnSpPr>
          <p:cNvPr id="19" name="Gerade Verbindung 16">
            <a:extLst>
              <a:ext uri="{FF2B5EF4-FFF2-40B4-BE49-F238E27FC236}">
                <a16:creationId xmlns:a16="http://schemas.microsoft.com/office/drawing/2014/main" id="{BAC1A4CE-4DA0-22FD-A834-C8A575AC3602}"/>
              </a:ext>
            </a:extLst>
          </p:cNvPr>
          <p:cNvCxnSpPr>
            <a:cxnSpLocks/>
          </p:cNvCxnSpPr>
          <p:nvPr/>
        </p:nvCxnSpPr>
        <p:spPr>
          <a:xfrm>
            <a:off x="8220075" y="2751138"/>
            <a:ext cx="6969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7">
            <a:extLst>
              <a:ext uri="{FF2B5EF4-FFF2-40B4-BE49-F238E27FC236}">
                <a16:creationId xmlns:a16="http://schemas.microsoft.com/office/drawing/2014/main" id="{E23E7209-E69C-5E61-5A1C-504E9165862F}"/>
              </a:ext>
            </a:extLst>
          </p:cNvPr>
          <p:cNvCxnSpPr>
            <a:cxnSpLocks/>
          </p:cNvCxnSpPr>
          <p:nvPr/>
        </p:nvCxnSpPr>
        <p:spPr>
          <a:xfrm>
            <a:off x="3935413" y="2751138"/>
            <a:ext cx="6969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0834" name="Objekt 4" hidden="1">
            <a:extLst>
              <a:ext uri="{FF2B5EF4-FFF2-40B4-BE49-F238E27FC236}">
                <a16:creationId xmlns:a16="http://schemas.microsoft.com/office/drawing/2014/main" id="{7D295479-7DE1-2B0C-14E5-42E7C5B7B9F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20834" name="Objekt 4" hidden="1">
                        <a:extLst>
                          <a:ext uri="{FF2B5EF4-FFF2-40B4-BE49-F238E27FC236}">
                            <a16:creationId xmlns:a16="http://schemas.microsoft.com/office/drawing/2014/main" id="{7D295479-7DE1-2B0C-14E5-42E7C5B7B9F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4DFAA5DD-463F-8650-C389-BDA55DD36A6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120836" name="Titel 14">
            <a:extLst>
              <a:ext uri="{FF2B5EF4-FFF2-40B4-BE49-F238E27FC236}">
                <a16:creationId xmlns:a16="http://schemas.microsoft.com/office/drawing/2014/main" id="{DB44EDAB-F19A-4B15-3E1F-037A82C0D6F8}"/>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Pyramide</a:t>
            </a:r>
          </a:p>
        </p:txBody>
      </p:sp>
      <p:sp>
        <p:nvSpPr>
          <p:cNvPr id="120837" name="Foliennummernplatzhalter 9">
            <a:extLst>
              <a:ext uri="{FF2B5EF4-FFF2-40B4-BE49-F238E27FC236}">
                <a16:creationId xmlns:a16="http://schemas.microsoft.com/office/drawing/2014/main" id="{37D68474-57E1-9D62-3583-CE2687648DAC}"/>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89</a:t>
            </a:fld>
            <a:endParaRPr lang="de-CH" altLang="de-DE" sz="1100" dirty="0">
              <a:solidFill>
                <a:srgbClr val="003CB4"/>
              </a:solidFill>
            </a:endParaRPr>
          </a:p>
        </p:txBody>
      </p:sp>
      <p:sp>
        <p:nvSpPr>
          <p:cNvPr id="120838" name="Fußzeilenplatzhalter 8">
            <a:extLst>
              <a:ext uri="{FF2B5EF4-FFF2-40B4-BE49-F238E27FC236}">
                <a16:creationId xmlns:a16="http://schemas.microsoft.com/office/drawing/2014/main" id="{5F2FB2ED-5B9C-BC90-6A88-B790AB8EF8E9}"/>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20839" name="Inhaltsplatzhalter 10">
            <a:extLst>
              <a:ext uri="{FF2B5EF4-FFF2-40B4-BE49-F238E27FC236}">
                <a16:creationId xmlns:a16="http://schemas.microsoft.com/office/drawing/2014/main" id="{0C0E4EF4-7C8B-7ECD-CFD0-50791C97F28F}"/>
              </a:ext>
            </a:extLst>
          </p:cNvPr>
          <p:cNvSpPr>
            <a:spLocks noGrp="1" noChangeArrowheads="1"/>
          </p:cNvSpPr>
          <p:nvPr>
            <p:ph sz="quarter" idx="13"/>
          </p:nvPr>
        </p:nvSpPr>
        <p:spPr>
          <a:xfrm>
            <a:off x="6572250" y="1885950"/>
            <a:ext cx="5976938" cy="4748213"/>
          </a:xfrm>
        </p:spPr>
        <p:txBody>
          <a:bodyPr/>
          <a:lstStyle/>
          <a:p>
            <a:pPr defTabSz="284163" eaLnBrk="1" hangingPunct="1">
              <a:spcBef>
                <a:spcPct val="0"/>
              </a:spcBef>
              <a:spcAft>
                <a:spcPct val="0"/>
              </a:spcAft>
            </a:pPr>
            <a:r>
              <a:rPr lang="de-CH" altLang="de-DE" b="1" dirty="0">
                <a:cs typeface="Aharoni" panose="020F0502020204030204" pitchFamily="2" charset="-79"/>
              </a:rPr>
              <a:t>Überschrift</a:t>
            </a:r>
          </a:p>
          <a:p>
            <a:pPr defTabSz="284163" eaLnBrk="1" hangingPunct="1">
              <a:spcBef>
                <a:spcPct val="0"/>
              </a:spcBef>
              <a:spcAft>
                <a:spcPct val="0"/>
              </a:spcAft>
            </a:pPr>
            <a:endParaRPr lang="de-CH" altLang="de-DE" b="1" dirty="0">
              <a:cs typeface="Aharoni" panose="020F0502020204030204" pitchFamily="2" charset="-79"/>
            </a:endParaRPr>
          </a:p>
          <a:p>
            <a:pPr lvl="1" eaLnBrk="1" hangingPunct="1">
              <a:spcBef>
                <a:spcPct val="0"/>
              </a:spcBef>
              <a:spcAft>
                <a:spcPct val="0"/>
              </a:spcAft>
            </a:pPr>
            <a:r>
              <a:rPr lang="de-CH" altLang="de-DE" dirty="0">
                <a:cs typeface="Aharoni" panose="020F0502020204030204" pitchFamily="2" charset="-79"/>
              </a:rPr>
              <a:t>Lorem ipsum dolor sit amet, consetetur sadipscing elitr</a:t>
            </a: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p:txBody>
      </p:sp>
      <p:sp>
        <p:nvSpPr>
          <p:cNvPr id="399" name="Freihandform 14">
            <a:extLst>
              <a:ext uri="{FF2B5EF4-FFF2-40B4-BE49-F238E27FC236}">
                <a16:creationId xmlns:a16="http://schemas.microsoft.com/office/drawing/2014/main" id="{D095D52C-1F15-7864-257D-63CBA489AE49}"/>
              </a:ext>
            </a:extLst>
          </p:cNvPr>
          <p:cNvSpPr/>
          <p:nvPr/>
        </p:nvSpPr>
        <p:spPr>
          <a:xfrm>
            <a:off x="2695575" y="1863725"/>
            <a:ext cx="1195388" cy="952500"/>
          </a:xfrm>
          <a:custGeom>
            <a:avLst/>
            <a:gdLst>
              <a:gd name="connsiteX0" fmla="*/ 0 w 1714076"/>
              <a:gd name="connsiteY0" fmla="*/ 1142717 h 1142717"/>
              <a:gd name="connsiteX1" fmla="*/ 857038 w 1714076"/>
              <a:gd name="connsiteY1" fmla="*/ 0 h 1142717"/>
              <a:gd name="connsiteX2" fmla="*/ 857038 w 1714076"/>
              <a:gd name="connsiteY2" fmla="*/ 0 h 1142717"/>
              <a:gd name="connsiteX3" fmla="*/ 1714076 w 1714076"/>
              <a:gd name="connsiteY3" fmla="*/ 1142717 h 1142717"/>
              <a:gd name="connsiteX4" fmla="*/ 0 w 1714076"/>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076" h="1142717">
                <a:moveTo>
                  <a:pt x="0" y="1142717"/>
                </a:moveTo>
                <a:lnTo>
                  <a:pt x="857038" y="0"/>
                </a:lnTo>
                <a:lnTo>
                  <a:pt x="857038" y="0"/>
                </a:lnTo>
                <a:lnTo>
                  <a:pt x="1714076" y="1142717"/>
                </a:lnTo>
                <a:lnTo>
                  <a:pt x="0" y="1142717"/>
                </a:lnTo>
                <a:close/>
              </a:path>
            </a:pathLst>
          </a:custGeom>
          <a:solidFill>
            <a:srgbClr val="D2E6FE"/>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82550" tIns="180000" rIns="82550" bIns="144000" spcCol="1270" anchor="b"/>
          <a:lstStyle/>
          <a:p>
            <a:pPr algn="ctr" defTabSz="2889250" eaLnBrk="1" hangingPunct="1">
              <a:spcBef>
                <a:spcPts val="0"/>
              </a:spcBef>
              <a:spcAft>
                <a:spcPts val="0"/>
              </a:spcAft>
              <a:defRPr/>
            </a:pPr>
            <a:r>
              <a:rPr lang="de-CH" sz="1600" dirty="0">
                <a:solidFill>
                  <a:schemeClr val="dk1"/>
                </a:solidFill>
              </a:rPr>
              <a:t>Text</a:t>
            </a:r>
          </a:p>
        </p:txBody>
      </p:sp>
      <p:sp>
        <p:nvSpPr>
          <p:cNvPr id="400" name="Freihandform 15">
            <a:extLst>
              <a:ext uri="{FF2B5EF4-FFF2-40B4-BE49-F238E27FC236}">
                <a16:creationId xmlns:a16="http://schemas.microsoft.com/office/drawing/2014/main" id="{236A0EDF-4133-14A3-CEF3-1AB8B867F806}"/>
              </a:ext>
            </a:extLst>
          </p:cNvPr>
          <p:cNvSpPr/>
          <p:nvPr/>
        </p:nvSpPr>
        <p:spPr>
          <a:xfrm>
            <a:off x="2097088" y="2816225"/>
            <a:ext cx="2392362" cy="954088"/>
          </a:xfrm>
          <a:custGeom>
            <a:avLst/>
            <a:gdLst>
              <a:gd name="connsiteX0" fmla="*/ 0 w 3428153"/>
              <a:gd name="connsiteY0" fmla="*/ 1142717 h 1142717"/>
              <a:gd name="connsiteX1" fmla="*/ 857038 w 3428153"/>
              <a:gd name="connsiteY1" fmla="*/ 0 h 1142717"/>
              <a:gd name="connsiteX2" fmla="*/ 2571115 w 3428153"/>
              <a:gd name="connsiteY2" fmla="*/ 0 h 1142717"/>
              <a:gd name="connsiteX3" fmla="*/ 3428153 w 3428153"/>
              <a:gd name="connsiteY3" fmla="*/ 1142717 h 1142717"/>
              <a:gd name="connsiteX4" fmla="*/ 0 w 3428153"/>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8153" h="1142717">
                <a:moveTo>
                  <a:pt x="0" y="1142717"/>
                </a:moveTo>
                <a:lnTo>
                  <a:pt x="857038" y="0"/>
                </a:lnTo>
                <a:lnTo>
                  <a:pt x="2571115" y="0"/>
                </a:lnTo>
                <a:lnTo>
                  <a:pt x="3428153" y="1142717"/>
                </a:lnTo>
                <a:lnTo>
                  <a:pt x="0" y="1142717"/>
                </a:lnTo>
                <a:close/>
              </a:path>
            </a:pathLst>
          </a:custGeom>
          <a:solidFill>
            <a:srgbClr val="A0CAFD"/>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682477" tIns="82550" rIns="682477" bIns="82550" spcCol="1270" anchor="ctr"/>
          <a:lstStyle/>
          <a:p>
            <a:pPr algn="ctr" defTabSz="2889250" eaLnBrk="1" hangingPunct="1">
              <a:spcBef>
                <a:spcPts val="0"/>
              </a:spcBef>
              <a:spcAft>
                <a:spcPts val="0"/>
              </a:spcAft>
              <a:defRPr/>
            </a:pPr>
            <a:r>
              <a:rPr lang="de-CH" sz="1600" dirty="0">
                <a:solidFill>
                  <a:schemeClr val="dk1"/>
                </a:solidFill>
              </a:rPr>
              <a:t>Text</a:t>
            </a:r>
          </a:p>
        </p:txBody>
      </p:sp>
      <p:sp>
        <p:nvSpPr>
          <p:cNvPr id="401" name="Freihandform 16">
            <a:extLst>
              <a:ext uri="{FF2B5EF4-FFF2-40B4-BE49-F238E27FC236}">
                <a16:creationId xmlns:a16="http://schemas.microsoft.com/office/drawing/2014/main" id="{F9BF0CB6-7369-0729-CAE3-9FB03F44D888}"/>
              </a:ext>
            </a:extLst>
          </p:cNvPr>
          <p:cNvSpPr/>
          <p:nvPr/>
        </p:nvSpPr>
        <p:spPr>
          <a:xfrm>
            <a:off x="1500188" y="3770313"/>
            <a:ext cx="3587750" cy="952500"/>
          </a:xfrm>
          <a:custGeom>
            <a:avLst/>
            <a:gdLst>
              <a:gd name="connsiteX0" fmla="*/ 0 w 5142229"/>
              <a:gd name="connsiteY0" fmla="*/ 1142717 h 1142717"/>
              <a:gd name="connsiteX1" fmla="*/ 857038 w 5142229"/>
              <a:gd name="connsiteY1" fmla="*/ 0 h 1142717"/>
              <a:gd name="connsiteX2" fmla="*/ 4285191 w 5142229"/>
              <a:gd name="connsiteY2" fmla="*/ 0 h 1142717"/>
              <a:gd name="connsiteX3" fmla="*/ 5142229 w 5142229"/>
              <a:gd name="connsiteY3" fmla="*/ 1142717 h 1142717"/>
              <a:gd name="connsiteX4" fmla="*/ 0 w 5142229"/>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2229" h="1142717">
                <a:moveTo>
                  <a:pt x="0" y="1142717"/>
                </a:moveTo>
                <a:lnTo>
                  <a:pt x="857038" y="0"/>
                </a:lnTo>
                <a:lnTo>
                  <a:pt x="4285191" y="0"/>
                </a:lnTo>
                <a:lnTo>
                  <a:pt x="5142229" y="1142717"/>
                </a:lnTo>
                <a:lnTo>
                  <a:pt x="0" y="1142717"/>
                </a:lnTo>
                <a:close/>
              </a:path>
            </a:pathLst>
          </a:custGeom>
          <a:solidFill>
            <a:srgbClr val="65A6FB"/>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82440" tIns="82550" rIns="982440" bIns="82550" spcCol="1270" anchor="ctr"/>
          <a:lstStyle/>
          <a:p>
            <a:pPr algn="ctr" defTabSz="2889250" eaLnBrk="1" hangingPunct="1">
              <a:spcBef>
                <a:spcPts val="0"/>
              </a:spcBef>
              <a:spcAft>
                <a:spcPts val="0"/>
              </a:spcAft>
              <a:defRPr/>
            </a:pPr>
            <a:r>
              <a:rPr lang="de-CH" sz="1600" dirty="0">
                <a:solidFill>
                  <a:schemeClr val="tx2"/>
                </a:solidFill>
              </a:rPr>
              <a:t>Text</a:t>
            </a:r>
          </a:p>
        </p:txBody>
      </p:sp>
      <p:sp>
        <p:nvSpPr>
          <p:cNvPr id="402" name="Freihandform 17">
            <a:extLst>
              <a:ext uri="{FF2B5EF4-FFF2-40B4-BE49-F238E27FC236}">
                <a16:creationId xmlns:a16="http://schemas.microsoft.com/office/drawing/2014/main" id="{597EB494-4242-2F78-8623-CBE2A9D5A75B}"/>
              </a:ext>
            </a:extLst>
          </p:cNvPr>
          <p:cNvSpPr/>
          <p:nvPr/>
        </p:nvSpPr>
        <p:spPr>
          <a:xfrm>
            <a:off x="901700" y="4722813"/>
            <a:ext cx="4783138" cy="954087"/>
          </a:xfrm>
          <a:custGeom>
            <a:avLst/>
            <a:gdLst>
              <a:gd name="connsiteX0" fmla="*/ 0 w 6856306"/>
              <a:gd name="connsiteY0" fmla="*/ 1142717 h 1142717"/>
              <a:gd name="connsiteX1" fmla="*/ 857038 w 6856306"/>
              <a:gd name="connsiteY1" fmla="*/ 0 h 1142717"/>
              <a:gd name="connsiteX2" fmla="*/ 5999268 w 6856306"/>
              <a:gd name="connsiteY2" fmla="*/ 0 h 1142717"/>
              <a:gd name="connsiteX3" fmla="*/ 6856306 w 6856306"/>
              <a:gd name="connsiteY3" fmla="*/ 1142717 h 1142717"/>
              <a:gd name="connsiteX4" fmla="*/ 0 w 6856306"/>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6306" h="1142717">
                <a:moveTo>
                  <a:pt x="0" y="1142717"/>
                </a:moveTo>
                <a:lnTo>
                  <a:pt x="857038" y="0"/>
                </a:lnTo>
                <a:lnTo>
                  <a:pt x="5999268" y="0"/>
                </a:lnTo>
                <a:lnTo>
                  <a:pt x="6856306" y="1142717"/>
                </a:lnTo>
                <a:lnTo>
                  <a:pt x="0" y="1142717"/>
                </a:lnTo>
                <a:close/>
              </a:path>
            </a:pathLst>
          </a:custGeom>
          <a:solidFill>
            <a:srgbClr val="3D87F5"/>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282403" tIns="82550" rIns="1282404" bIns="82550" spcCol="1270" anchor="ctr"/>
          <a:lstStyle/>
          <a:p>
            <a:pPr algn="ctr" defTabSz="2889250" eaLnBrk="1" hangingPunct="1">
              <a:spcBef>
                <a:spcPts val="0"/>
              </a:spcBef>
              <a:spcAft>
                <a:spcPts val="0"/>
              </a:spcAft>
              <a:defRPr/>
            </a:pPr>
            <a:r>
              <a:rPr lang="de-CH" sz="1600" dirty="0"/>
              <a:t>Text</a:t>
            </a:r>
          </a:p>
        </p:txBody>
      </p:sp>
      <p:sp>
        <p:nvSpPr>
          <p:cNvPr id="403" name="Freihandform 18">
            <a:extLst>
              <a:ext uri="{FF2B5EF4-FFF2-40B4-BE49-F238E27FC236}">
                <a16:creationId xmlns:a16="http://schemas.microsoft.com/office/drawing/2014/main" id="{0C9CE7B7-0704-C84A-282A-0E9B3B363978}"/>
              </a:ext>
            </a:extLst>
          </p:cNvPr>
          <p:cNvSpPr/>
          <p:nvPr/>
        </p:nvSpPr>
        <p:spPr>
          <a:xfrm>
            <a:off x="304800" y="5676900"/>
            <a:ext cx="5978525" cy="952500"/>
          </a:xfrm>
          <a:custGeom>
            <a:avLst/>
            <a:gdLst>
              <a:gd name="connsiteX0" fmla="*/ 0 w 8570383"/>
              <a:gd name="connsiteY0" fmla="*/ 1142717 h 1142717"/>
              <a:gd name="connsiteX1" fmla="*/ 857038 w 8570383"/>
              <a:gd name="connsiteY1" fmla="*/ 0 h 1142717"/>
              <a:gd name="connsiteX2" fmla="*/ 7713345 w 8570383"/>
              <a:gd name="connsiteY2" fmla="*/ 0 h 1142717"/>
              <a:gd name="connsiteX3" fmla="*/ 8570383 w 8570383"/>
              <a:gd name="connsiteY3" fmla="*/ 1142717 h 1142717"/>
              <a:gd name="connsiteX4" fmla="*/ 0 w 8570383"/>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0383" h="1142717">
                <a:moveTo>
                  <a:pt x="0" y="1142717"/>
                </a:moveTo>
                <a:lnTo>
                  <a:pt x="857038" y="0"/>
                </a:lnTo>
                <a:lnTo>
                  <a:pt x="7713345" y="0"/>
                </a:lnTo>
                <a:lnTo>
                  <a:pt x="8570383" y="1142717"/>
                </a:lnTo>
                <a:lnTo>
                  <a:pt x="0" y="1142717"/>
                </a:lnTo>
                <a:close/>
              </a:path>
            </a:pathLst>
          </a:custGeom>
          <a:solidFill>
            <a:srgbClr val="1264F3"/>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582367" tIns="82550" rIns="1582368" bIns="82550" spcCol="1270" anchor="ctr"/>
          <a:lstStyle/>
          <a:p>
            <a:pPr algn="ctr" defTabSz="2889250" eaLnBrk="1" hangingPunct="1">
              <a:spcBef>
                <a:spcPts val="0"/>
              </a:spcBef>
              <a:spcAft>
                <a:spcPts val="0"/>
              </a:spcAft>
              <a:defRPr/>
            </a:pPr>
            <a:r>
              <a:rPr lang="de-CH" sz="1600" dirty="0"/>
              <a:t>Text</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674" name="Objekt 4" hidden="1">
            <a:extLst>
              <a:ext uri="{FF2B5EF4-FFF2-40B4-BE49-F238E27FC236}">
                <a16:creationId xmlns:a16="http://schemas.microsoft.com/office/drawing/2014/main" id="{AA908A46-2EA2-7797-EAF4-49023B14E14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360" imgH="360" progId="TCLayout.ActiveDocument.1">
                  <p:embed/>
                </p:oleObj>
              </mc:Choice>
              <mc:Fallback>
                <p:oleObj name="think-cell Folie" r:id="rId7" imgW="360" imgH="360" progId="TCLayout.ActiveDocument.1">
                  <p:embed/>
                  <p:pic>
                    <p:nvPicPr>
                      <p:cNvPr id="28674" name="Objekt 4" hidden="1">
                        <a:extLst>
                          <a:ext uri="{FF2B5EF4-FFF2-40B4-BE49-F238E27FC236}">
                            <a16:creationId xmlns:a16="http://schemas.microsoft.com/office/drawing/2014/main" id="{AA908A46-2EA2-7797-EAF4-49023B14E14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BE3B88CA-D9A7-BDF9-45FF-D55F7A970565}"/>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28676" name="Titel 14">
            <a:extLst>
              <a:ext uri="{FF2B5EF4-FFF2-40B4-BE49-F238E27FC236}">
                <a16:creationId xmlns:a16="http://schemas.microsoft.com/office/drawing/2014/main" id="{14EB0925-5A41-6788-714D-0D75A2E43BA2}"/>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Organigramm mit Hervorhebung</a:t>
            </a:r>
          </a:p>
        </p:txBody>
      </p:sp>
      <p:sp>
        <p:nvSpPr>
          <p:cNvPr id="28677" name="Foliennummernplatzhalter 25">
            <a:extLst>
              <a:ext uri="{FF2B5EF4-FFF2-40B4-BE49-F238E27FC236}">
                <a16:creationId xmlns:a16="http://schemas.microsoft.com/office/drawing/2014/main" id="{C12149A6-4219-3194-10E6-D0325CDA7EDE}"/>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2F6727A0-6F90-4DEB-8A41-404304E488BE}" type="slidenum">
              <a:rPr lang="de-CH" altLang="de-DE" sz="1100" smtClean="0">
                <a:solidFill>
                  <a:srgbClr val="003CB4"/>
                </a:solidFill>
                <a:latin typeface="Frutiger for ZKB Light" panose="020B0303030504020204" pitchFamily="34" charset="0"/>
              </a:rPr>
              <a:pPr>
                <a:spcBef>
                  <a:spcPct val="0"/>
                </a:spcBef>
                <a:spcAft>
                  <a:spcPct val="0"/>
                </a:spcAft>
              </a:pPr>
              <a:t>9</a:t>
            </a:fld>
            <a:endParaRPr lang="de-CH" altLang="de-DE" sz="1100" dirty="0">
              <a:solidFill>
                <a:srgbClr val="003CB4"/>
              </a:solidFill>
              <a:latin typeface="Frutiger for ZKB Light" panose="020B0303030504020204" pitchFamily="34" charset="0"/>
            </a:endParaRPr>
          </a:p>
        </p:txBody>
      </p:sp>
      <p:sp>
        <p:nvSpPr>
          <p:cNvPr id="28678" name="Fußzeilenplatzhalter 24">
            <a:extLst>
              <a:ext uri="{FF2B5EF4-FFF2-40B4-BE49-F238E27FC236}">
                <a16:creationId xmlns:a16="http://schemas.microsoft.com/office/drawing/2014/main" id="{37F98F3C-D14B-37CE-3986-D7A880F3ACAF}"/>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57" name="Rectangle 47">
            <a:extLst>
              <a:ext uri="{FF2B5EF4-FFF2-40B4-BE49-F238E27FC236}">
                <a16:creationId xmlns:a16="http://schemas.microsoft.com/office/drawing/2014/main" id="{E1A3B0AE-64EC-70CB-F75F-405B205BE46A}"/>
              </a:ext>
            </a:extLst>
          </p:cNvPr>
          <p:cNvSpPr>
            <a:spLocks noChangeArrowheads="1"/>
          </p:cNvSpPr>
          <p:nvPr/>
        </p:nvSpPr>
        <p:spPr bwMode="gray">
          <a:xfrm>
            <a:off x="9107488" y="4286250"/>
            <a:ext cx="381000" cy="163513"/>
          </a:xfrm>
          <a:prstGeom prst="rect">
            <a:avLst/>
          </a:prstGeom>
          <a:no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bIns="46800" anchor="ctr"/>
          <a:lstStyle/>
          <a:p>
            <a:pPr algn="ctr" eaLnBrk="1" hangingPunct="1">
              <a:spcBef>
                <a:spcPct val="20000"/>
              </a:spcBef>
              <a:defRPr/>
            </a:pPr>
            <a:endParaRPr lang="de-CH" sz="1400" dirty="0"/>
          </a:p>
        </p:txBody>
      </p:sp>
      <p:sp>
        <p:nvSpPr>
          <p:cNvPr id="58" name="Rectangle 47">
            <a:extLst>
              <a:ext uri="{FF2B5EF4-FFF2-40B4-BE49-F238E27FC236}">
                <a16:creationId xmlns:a16="http://schemas.microsoft.com/office/drawing/2014/main" id="{5908F3D1-3A3C-2D37-F065-F0082E448041}"/>
              </a:ext>
            </a:extLst>
          </p:cNvPr>
          <p:cNvSpPr>
            <a:spLocks noChangeArrowheads="1"/>
          </p:cNvSpPr>
          <p:nvPr/>
        </p:nvSpPr>
        <p:spPr bwMode="gray">
          <a:xfrm>
            <a:off x="4897438" y="4286250"/>
            <a:ext cx="381000" cy="163513"/>
          </a:xfrm>
          <a:prstGeom prst="rect">
            <a:avLst/>
          </a:prstGeom>
          <a:no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bIns="46800" anchor="ctr"/>
          <a:lstStyle/>
          <a:p>
            <a:pPr algn="ctr" eaLnBrk="1" hangingPunct="1">
              <a:spcBef>
                <a:spcPct val="20000"/>
              </a:spcBef>
              <a:defRPr/>
            </a:pPr>
            <a:endParaRPr lang="de-CH" sz="1400" dirty="0"/>
          </a:p>
        </p:txBody>
      </p:sp>
      <p:sp>
        <p:nvSpPr>
          <p:cNvPr id="59" name="Rectangle 47">
            <a:extLst>
              <a:ext uri="{FF2B5EF4-FFF2-40B4-BE49-F238E27FC236}">
                <a16:creationId xmlns:a16="http://schemas.microsoft.com/office/drawing/2014/main" id="{9DDBD063-567B-03BA-5739-1E3F54735CF3}"/>
              </a:ext>
            </a:extLst>
          </p:cNvPr>
          <p:cNvSpPr>
            <a:spLocks noChangeArrowheads="1"/>
          </p:cNvSpPr>
          <p:nvPr/>
        </p:nvSpPr>
        <p:spPr bwMode="gray">
          <a:xfrm>
            <a:off x="688975" y="4260850"/>
            <a:ext cx="381000" cy="165100"/>
          </a:xfrm>
          <a:prstGeom prst="rect">
            <a:avLst/>
          </a:prstGeom>
          <a:no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bIns="46800" anchor="ctr"/>
          <a:lstStyle/>
          <a:p>
            <a:pPr algn="ctr" eaLnBrk="1" hangingPunct="1">
              <a:spcBef>
                <a:spcPct val="20000"/>
              </a:spcBef>
              <a:defRPr/>
            </a:pPr>
            <a:endParaRPr lang="de-CH" sz="1400" dirty="0"/>
          </a:p>
        </p:txBody>
      </p:sp>
      <p:cxnSp>
        <p:nvCxnSpPr>
          <p:cNvPr id="60" name="AutoShape 22">
            <a:extLst>
              <a:ext uri="{FF2B5EF4-FFF2-40B4-BE49-F238E27FC236}">
                <a16:creationId xmlns:a16="http://schemas.microsoft.com/office/drawing/2014/main" id="{9AE0F4C8-FD36-118A-2E01-55D5D8B62139}"/>
              </a:ext>
            </a:extLst>
          </p:cNvPr>
          <p:cNvCxnSpPr>
            <a:cxnSpLocks noChangeShapeType="1"/>
            <a:endCxn id="28704" idx="0"/>
          </p:cNvCxnSpPr>
          <p:nvPr>
            <p:custDataLst>
              <p:tags r:id="rId3"/>
            </p:custDataLst>
          </p:nvPr>
        </p:nvCxnSpPr>
        <p:spPr bwMode="gray">
          <a:xfrm rot="10800000" flipV="1">
            <a:off x="2219325" y="3074988"/>
            <a:ext cx="4206875" cy="185737"/>
          </a:xfrm>
          <a:prstGeom prst="bentConnector2">
            <a:avLst/>
          </a:prstGeom>
          <a:ln w="6350"/>
        </p:spPr>
        <p:style>
          <a:lnRef idx="1">
            <a:schemeClr val="accent1"/>
          </a:lnRef>
          <a:fillRef idx="0">
            <a:schemeClr val="accent1"/>
          </a:fillRef>
          <a:effectRef idx="0">
            <a:schemeClr val="accent1"/>
          </a:effectRef>
          <a:fontRef idx="minor">
            <a:schemeClr val="tx1"/>
          </a:fontRef>
        </p:style>
      </p:cxnSp>
      <p:cxnSp>
        <p:nvCxnSpPr>
          <p:cNvPr id="61" name="AutoShape 23">
            <a:extLst>
              <a:ext uri="{FF2B5EF4-FFF2-40B4-BE49-F238E27FC236}">
                <a16:creationId xmlns:a16="http://schemas.microsoft.com/office/drawing/2014/main" id="{C6DE1956-C26C-2611-2B3B-D5921FA8DA5D}"/>
              </a:ext>
            </a:extLst>
          </p:cNvPr>
          <p:cNvCxnSpPr>
            <a:cxnSpLocks noChangeShapeType="1"/>
            <a:endCxn id="28714" idx="0"/>
          </p:cNvCxnSpPr>
          <p:nvPr>
            <p:custDataLst>
              <p:tags r:id="rId4"/>
            </p:custDataLst>
          </p:nvPr>
        </p:nvCxnSpPr>
        <p:spPr bwMode="gray">
          <a:xfrm>
            <a:off x="6713538" y="3074988"/>
            <a:ext cx="3922712" cy="185737"/>
          </a:xfrm>
          <a:prstGeom prst="bentConnector2">
            <a:avLst/>
          </a:prstGeom>
          <a:ln w="6350"/>
        </p:spPr>
        <p:style>
          <a:lnRef idx="1">
            <a:schemeClr val="accent1"/>
          </a:lnRef>
          <a:fillRef idx="0">
            <a:schemeClr val="accent1"/>
          </a:fillRef>
          <a:effectRef idx="0">
            <a:schemeClr val="accent1"/>
          </a:effectRef>
          <a:fontRef idx="minor">
            <a:schemeClr val="tx1"/>
          </a:fontRef>
        </p:style>
      </p:cxnSp>
      <p:sp>
        <p:nvSpPr>
          <p:cNvPr id="62" name="Rectangle 47">
            <a:extLst>
              <a:ext uri="{FF2B5EF4-FFF2-40B4-BE49-F238E27FC236}">
                <a16:creationId xmlns:a16="http://schemas.microsoft.com/office/drawing/2014/main" id="{B15CC2C3-6E9F-65D5-B009-FD5B55D83F32}"/>
              </a:ext>
            </a:extLst>
          </p:cNvPr>
          <p:cNvSpPr>
            <a:spLocks noChangeArrowheads="1"/>
          </p:cNvSpPr>
          <p:nvPr/>
        </p:nvSpPr>
        <p:spPr bwMode="gray">
          <a:xfrm>
            <a:off x="4514850" y="3484563"/>
            <a:ext cx="381000" cy="165100"/>
          </a:xfrm>
          <a:prstGeom prst="rect">
            <a:avLst/>
          </a:prstGeom>
          <a:solidFill>
            <a:schemeClr val="accent3"/>
          </a:solidFill>
          <a:ln w="9525">
            <a:noFill/>
            <a:miter lim="800000"/>
            <a:headEnd/>
            <a:tailEnd/>
          </a:ln>
          <a:effectLst/>
        </p:spPr>
        <p:txBody>
          <a:bodyPr bIns="46800" anchor="ctr"/>
          <a:lstStyle/>
          <a:p>
            <a:pPr algn="ctr" eaLnBrk="1" hangingPunct="1">
              <a:spcBef>
                <a:spcPct val="20000"/>
              </a:spcBef>
              <a:defRPr/>
            </a:pPr>
            <a:endParaRPr lang="de-CH" sz="1400" dirty="0">
              <a:latin typeface="Frutiger for ZKB Light" panose="020B0303030504020204" pitchFamily="34" charset="0"/>
            </a:endParaRPr>
          </a:p>
        </p:txBody>
      </p:sp>
      <p:cxnSp>
        <p:nvCxnSpPr>
          <p:cNvPr id="63" name="AutoShape 48">
            <a:extLst>
              <a:ext uri="{FF2B5EF4-FFF2-40B4-BE49-F238E27FC236}">
                <a16:creationId xmlns:a16="http://schemas.microsoft.com/office/drawing/2014/main" id="{88A08971-AB83-9F67-8FE2-2EBF1A2F82D3}"/>
              </a:ext>
            </a:extLst>
          </p:cNvPr>
          <p:cNvCxnSpPr>
            <a:cxnSpLocks noChangeShapeType="1"/>
            <a:stCxn id="62" idx="2"/>
            <a:endCxn id="28691" idx="1"/>
          </p:cNvCxnSpPr>
          <p:nvPr/>
        </p:nvCxnSpPr>
        <p:spPr bwMode="gray">
          <a:xfrm rot="16200000" flipH="1">
            <a:off x="4513263" y="3841750"/>
            <a:ext cx="576262" cy="192088"/>
          </a:xfrm>
          <a:prstGeom prst="bentConnector2">
            <a:avLst/>
          </a:prstGeom>
          <a:ln w="6350"/>
        </p:spPr>
        <p:style>
          <a:lnRef idx="1">
            <a:schemeClr val="accent1"/>
          </a:lnRef>
          <a:fillRef idx="0">
            <a:schemeClr val="accent1"/>
          </a:fillRef>
          <a:effectRef idx="0">
            <a:schemeClr val="accent1"/>
          </a:effectRef>
          <a:fontRef idx="minor">
            <a:schemeClr val="tx1"/>
          </a:fontRef>
        </p:style>
      </p:cxnSp>
      <p:cxnSp>
        <p:nvCxnSpPr>
          <p:cNvPr id="64" name="AutoShape 52">
            <a:extLst>
              <a:ext uri="{FF2B5EF4-FFF2-40B4-BE49-F238E27FC236}">
                <a16:creationId xmlns:a16="http://schemas.microsoft.com/office/drawing/2014/main" id="{BCA8F636-D4D2-1ACB-BD1C-572B1D9D18BB}"/>
              </a:ext>
            </a:extLst>
          </p:cNvPr>
          <p:cNvCxnSpPr>
            <a:cxnSpLocks noChangeShapeType="1"/>
            <a:stCxn id="58" idx="2"/>
            <a:endCxn id="28692" idx="1"/>
          </p:cNvCxnSpPr>
          <p:nvPr/>
        </p:nvCxnSpPr>
        <p:spPr bwMode="gray">
          <a:xfrm rot="16200000" flipH="1">
            <a:off x="4967288" y="4570413"/>
            <a:ext cx="433387" cy="192087"/>
          </a:xfrm>
          <a:prstGeom prst="bentConnector2">
            <a:avLst/>
          </a:prstGeom>
          <a:ln w="6350"/>
        </p:spPr>
        <p:style>
          <a:lnRef idx="1">
            <a:schemeClr val="accent1"/>
          </a:lnRef>
          <a:fillRef idx="0">
            <a:schemeClr val="accent1"/>
          </a:fillRef>
          <a:effectRef idx="0">
            <a:schemeClr val="accent1"/>
          </a:effectRef>
          <a:fontRef idx="minor">
            <a:schemeClr val="tx1"/>
          </a:fontRef>
        </p:style>
      </p:cxnSp>
      <p:cxnSp>
        <p:nvCxnSpPr>
          <p:cNvPr id="65" name="AutoShape 53">
            <a:extLst>
              <a:ext uri="{FF2B5EF4-FFF2-40B4-BE49-F238E27FC236}">
                <a16:creationId xmlns:a16="http://schemas.microsoft.com/office/drawing/2014/main" id="{44F511F7-8AA8-64DA-D5EA-7260442620A1}"/>
              </a:ext>
            </a:extLst>
          </p:cNvPr>
          <p:cNvCxnSpPr>
            <a:cxnSpLocks noChangeShapeType="1"/>
            <a:stCxn id="58" idx="2"/>
            <a:endCxn id="28693" idx="1"/>
          </p:cNvCxnSpPr>
          <p:nvPr/>
        </p:nvCxnSpPr>
        <p:spPr bwMode="gray">
          <a:xfrm rot="16200000" flipH="1">
            <a:off x="4638676" y="4899025"/>
            <a:ext cx="1090612" cy="192087"/>
          </a:xfrm>
          <a:prstGeom prst="bentConnector2">
            <a:avLst/>
          </a:prstGeom>
          <a:ln w="6350"/>
        </p:spPr>
        <p:style>
          <a:lnRef idx="1">
            <a:schemeClr val="accent1"/>
          </a:lnRef>
          <a:fillRef idx="0">
            <a:schemeClr val="accent1"/>
          </a:fillRef>
          <a:effectRef idx="0">
            <a:schemeClr val="accent1"/>
          </a:effectRef>
          <a:fontRef idx="minor">
            <a:schemeClr val="tx1"/>
          </a:fontRef>
        </p:style>
      </p:cxnSp>
      <p:cxnSp>
        <p:nvCxnSpPr>
          <p:cNvPr id="66" name="AutoShape 54">
            <a:extLst>
              <a:ext uri="{FF2B5EF4-FFF2-40B4-BE49-F238E27FC236}">
                <a16:creationId xmlns:a16="http://schemas.microsoft.com/office/drawing/2014/main" id="{C084E2DB-9122-C937-79D7-A7BB158FF082}"/>
              </a:ext>
            </a:extLst>
          </p:cNvPr>
          <p:cNvCxnSpPr>
            <a:cxnSpLocks noChangeShapeType="1"/>
            <a:stCxn id="62" idx="2"/>
            <a:endCxn id="28694" idx="1"/>
          </p:cNvCxnSpPr>
          <p:nvPr/>
        </p:nvCxnSpPr>
        <p:spPr bwMode="gray">
          <a:xfrm rot="16200000" flipH="1">
            <a:off x="3528219" y="4826794"/>
            <a:ext cx="2546350" cy="192088"/>
          </a:xfrm>
          <a:prstGeom prst="bentConnector2">
            <a:avLst/>
          </a:prstGeom>
          <a:ln w="6350"/>
        </p:spPr>
        <p:style>
          <a:lnRef idx="1">
            <a:schemeClr val="accent1"/>
          </a:lnRef>
          <a:fillRef idx="0">
            <a:schemeClr val="accent1"/>
          </a:fillRef>
          <a:effectRef idx="0">
            <a:schemeClr val="accent1"/>
          </a:effectRef>
          <a:fontRef idx="minor">
            <a:schemeClr val="tx1"/>
          </a:fontRef>
        </p:style>
      </p:cxnSp>
      <p:sp>
        <p:nvSpPr>
          <p:cNvPr id="28689" name="Rectangle 15">
            <a:extLst>
              <a:ext uri="{FF2B5EF4-FFF2-40B4-BE49-F238E27FC236}">
                <a16:creationId xmlns:a16="http://schemas.microsoft.com/office/drawing/2014/main" id="{1AC5DC71-4CA2-EA98-C7BE-4220C87F9485}"/>
              </a:ext>
            </a:extLst>
          </p:cNvPr>
          <p:cNvSpPr>
            <a:spLocks noChangeArrowheads="1"/>
          </p:cNvSpPr>
          <p:nvPr/>
        </p:nvSpPr>
        <p:spPr bwMode="gray">
          <a:xfrm>
            <a:off x="4513263" y="1924050"/>
            <a:ext cx="3825875"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690" name="Rectangle 31">
            <a:extLst>
              <a:ext uri="{FF2B5EF4-FFF2-40B4-BE49-F238E27FC236}">
                <a16:creationId xmlns:a16="http://schemas.microsoft.com/office/drawing/2014/main" id="{8D9AA4B3-1D7C-F64F-0C15-77614A8F21EE}"/>
              </a:ext>
            </a:extLst>
          </p:cNvPr>
          <p:cNvSpPr>
            <a:spLocks noChangeArrowheads="1"/>
          </p:cNvSpPr>
          <p:nvPr/>
        </p:nvSpPr>
        <p:spPr bwMode="gray">
          <a:xfrm>
            <a:off x="4513263" y="3260725"/>
            <a:ext cx="3825875" cy="450850"/>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691" name="Rectangle 46">
            <a:extLst>
              <a:ext uri="{FF2B5EF4-FFF2-40B4-BE49-F238E27FC236}">
                <a16:creationId xmlns:a16="http://schemas.microsoft.com/office/drawing/2014/main" id="{E7706DD9-7CDA-83D4-4D95-8E17CC2B92A9}"/>
              </a:ext>
            </a:extLst>
          </p:cNvPr>
          <p:cNvSpPr>
            <a:spLocks noChangeArrowheads="1"/>
          </p:cNvSpPr>
          <p:nvPr/>
        </p:nvSpPr>
        <p:spPr bwMode="gray">
          <a:xfrm>
            <a:off x="4897438" y="4000500"/>
            <a:ext cx="3441700"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692" name="Rectangle 49">
            <a:extLst>
              <a:ext uri="{FF2B5EF4-FFF2-40B4-BE49-F238E27FC236}">
                <a16:creationId xmlns:a16="http://schemas.microsoft.com/office/drawing/2014/main" id="{3F7B3D12-4682-C886-C2A8-A9D080A695E4}"/>
              </a:ext>
            </a:extLst>
          </p:cNvPr>
          <p:cNvSpPr>
            <a:spLocks noChangeArrowheads="1"/>
          </p:cNvSpPr>
          <p:nvPr/>
        </p:nvSpPr>
        <p:spPr bwMode="gray">
          <a:xfrm>
            <a:off x="5280025" y="4657725"/>
            <a:ext cx="3057525"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693" name="Rectangle 50">
            <a:extLst>
              <a:ext uri="{FF2B5EF4-FFF2-40B4-BE49-F238E27FC236}">
                <a16:creationId xmlns:a16="http://schemas.microsoft.com/office/drawing/2014/main" id="{0EBCEA68-F8F2-63CB-9E76-22327234931A}"/>
              </a:ext>
            </a:extLst>
          </p:cNvPr>
          <p:cNvSpPr>
            <a:spLocks noChangeArrowheads="1"/>
          </p:cNvSpPr>
          <p:nvPr/>
        </p:nvSpPr>
        <p:spPr bwMode="gray">
          <a:xfrm>
            <a:off x="5280025" y="5314950"/>
            <a:ext cx="3057525"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694" name="Rectangle 51">
            <a:extLst>
              <a:ext uri="{FF2B5EF4-FFF2-40B4-BE49-F238E27FC236}">
                <a16:creationId xmlns:a16="http://schemas.microsoft.com/office/drawing/2014/main" id="{DEE26E89-39DB-DC06-0306-04AB4133DF8E}"/>
              </a:ext>
            </a:extLst>
          </p:cNvPr>
          <p:cNvSpPr>
            <a:spLocks noChangeArrowheads="1"/>
          </p:cNvSpPr>
          <p:nvPr/>
        </p:nvSpPr>
        <p:spPr bwMode="gray">
          <a:xfrm>
            <a:off x="4897438" y="5972175"/>
            <a:ext cx="3441700"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695" name="Rectangle 18">
            <a:extLst>
              <a:ext uri="{FF2B5EF4-FFF2-40B4-BE49-F238E27FC236}">
                <a16:creationId xmlns:a16="http://schemas.microsoft.com/office/drawing/2014/main" id="{E72532A5-D679-B01F-8558-ED602B732091}"/>
              </a:ext>
            </a:extLst>
          </p:cNvPr>
          <p:cNvSpPr>
            <a:spLocks noChangeArrowheads="1"/>
          </p:cNvSpPr>
          <p:nvPr/>
        </p:nvSpPr>
        <p:spPr bwMode="gray">
          <a:xfrm>
            <a:off x="8724900" y="2498725"/>
            <a:ext cx="3822700"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cxnSp>
        <p:nvCxnSpPr>
          <p:cNvPr id="74" name="AutoShape 23">
            <a:extLst>
              <a:ext uri="{FF2B5EF4-FFF2-40B4-BE49-F238E27FC236}">
                <a16:creationId xmlns:a16="http://schemas.microsoft.com/office/drawing/2014/main" id="{3509CD32-86B8-9F55-A441-6A33DCB0E93A}"/>
              </a:ext>
            </a:extLst>
          </p:cNvPr>
          <p:cNvCxnSpPr>
            <a:cxnSpLocks noChangeShapeType="1"/>
            <a:stCxn id="28689" idx="2"/>
            <a:endCxn id="28695" idx="1"/>
          </p:cNvCxnSpPr>
          <p:nvPr>
            <p:custDataLst>
              <p:tags r:id="rId5"/>
            </p:custDataLst>
          </p:nvPr>
        </p:nvCxnSpPr>
        <p:spPr bwMode="gray">
          <a:xfrm rot="16200000" flipH="1">
            <a:off x="7400925" y="1398588"/>
            <a:ext cx="349250" cy="2298700"/>
          </a:xfrm>
          <a:prstGeom prst="bentConnector2">
            <a:avLst/>
          </a:prstGeom>
          <a:ln w="6350"/>
        </p:spPr>
        <p:style>
          <a:lnRef idx="1">
            <a:schemeClr val="accent1"/>
          </a:lnRef>
          <a:fillRef idx="0">
            <a:schemeClr val="accent1"/>
          </a:fillRef>
          <a:effectRef idx="0">
            <a:schemeClr val="accent1"/>
          </a:effectRef>
          <a:fontRef idx="minor">
            <a:schemeClr val="tx1"/>
          </a:fontRef>
        </p:style>
      </p:cxnSp>
      <p:cxnSp>
        <p:nvCxnSpPr>
          <p:cNvPr id="76" name="Gerade Verbindung 24">
            <a:extLst>
              <a:ext uri="{FF2B5EF4-FFF2-40B4-BE49-F238E27FC236}">
                <a16:creationId xmlns:a16="http://schemas.microsoft.com/office/drawing/2014/main" id="{EDBA8ABA-2FA5-CB42-57C2-E952BE18E46F}"/>
              </a:ext>
            </a:extLst>
          </p:cNvPr>
          <p:cNvCxnSpPr>
            <a:stCxn id="28689" idx="2"/>
            <a:endCxn id="28690" idx="0"/>
          </p:cNvCxnSpPr>
          <p:nvPr/>
        </p:nvCxnSpPr>
        <p:spPr>
          <a:xfrm>
            <a:off x="6426200" y="2373313"/>
            <a:ext cx="0" cy="887412"/>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77" name="Gerade Verbindung 25">
            <a:extLst>
              <a:ext uri="{FF2B5EF4-FFF2-40B4-BE49-F238E27FC236}">
                <a16:creationId xmlns:a16="http://schemas.microsoft.com/office/drawing/2014/main" id="{40ACB45C-4AB5-3E00-26AA-776F154747D5}"/>
              </a:ext>
            </a:extLst>
          </p:cNvPr>
          <p:cNvCxnSpPr>
            <a:cxnSpLocks/>
          </p:cNvCxnSpPr>
          <p:nvPr/>
        </p:nvCxnSpPr>
        <p:spPr>
          <a:xfrm>
            <a:off x="6426200" y="3074988"/>
            <a:ext cx="287338" cy="0"/>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78" name="Rectangle 47">
            <a:extLst>
              <a:ext uri="{FF2B5EF4-FFF2-40B4-BE49-F238E27FC236}">
                <a16:creationId xmlns:a16="http://schemas.microsoft.com/office/drawing/2014/main" id="{78CAA19D-A1BA-50FD-2229-C2D28AA6B4C7}"/>
              </a:ext>
            </a:extLst>
          </p:cNvPr>
          <p:cNvSpPr>
            <a:spLocks noChangeArrowheads="1"/>
          </p:cNvSpPr>
          <p:nvPr/>
        </p:nvSpPr>
        <p:spPr bwMode="gray">
          <a:xfrm>
            <a:off x="306388" y="3484563"/>
            <a:ext cx="381000" cy="165100"/>
          </a:xfrm>
          <a:prstGeom prst="rect">
            <a:avLst/>
          </a:prstGeom>
          <a:solidFill>
            <a:schemeClr val="accent3"/>
          </a:solidFill>
          <a:ln w="9525">
            <a:noFill/>
            <a:miter lim="800000"/>
            <a:headEnd/>
            <a:tailEnd/>
          </a:ln>
          <a:effectLst/>
        </p:spPr>
        <p:txBody>
          <a:bodyPr bIns="46800" anchor="ctr"/>
          <a:lstStyle/>
          <a:p>
            <a:pPr algn="ctr" eaLnBrk="1" hangingPunct="1">
              <a:spcBef>
                <a:spcPct val="20000"/>
              </a:spcBef>
              <a:defRPr/>
            </a:pPr>
            <a:endParaRPr lang="de-CH" sz="1400" dirty="0">
              <a:latin typeface="Frutiger for ZKB Light" panose="020B0303030504020204" pitchFamily="34" charset="0"/>
            </a:endParaRPr>
          </a:p>
        </p:txBody>
      </p:sp>
      <p:cxnSp>
        <p:nvCxnSpPr>
          <p:cNvPr id="79" name="AutoShape 48">
            <a:extLst>
              <a:ext uri="{FF2B5EF4-FFF2-40B4-BE49-F238E27FC236}">
                <a16:creationId xmlns:a16="http://schemas.microsoft.com/office/drawing/2014/main" id="{D7F26B5E-1B5C-CDF2-523F-21D487284D58}"/>
              </a:ext>
            </a:extLst>
          </p:cNvPr>
          <p:cNvCxnSpPr>
            <a:cxnSpLocks noChangeShapeType="1"/>
            <a:stCxn id="78" idx="2"/>
            <a:endCxn id="28705" idx="1"/>
          </p:cNvCxnSpPr>
          <p:nvPr/>
        </p:nvCxnSpPr>
        <p:spPr bwMode="gray">
          <a:xfrm rot="16200000" flipH="1">
            <a:off x="317501" y="3829050"/>
            <a:ext cx="550862" cy="192087"/>
          </a:xfrm>
          <a:prstGeom prst="bentConnector2">
            <a:avLst/>
          </a:prstGeom>
          <a:ln w="6350"/>
        </p:spPr>
        <p:style>
          <a:lnRef idx="1">
            <a:schemeClr val="accent1"/>
          </a:lnRef>
          <a:fillRef idx="0">
            <a:schemeClr val="accent1"/>
          </a:fillRef>
          <a:effectRef idx="0">
            <a:schemeClr val="accent1"/>
          </a:effectRef>
          <a:fontRef idx="minor">
            <a:schemeClr val="tx1"/>
          </a:fontRef>
        </p:style>
      </p:cxnSp>
      <p:cxnSp>
        <p:nvCxnSpPr>
          <p:cNvPr id="80" name="AutoShape 52">
            <a:extLst>
              <a:ext uri="{FF2B5EF4-FFF2-40B4-BE49-F238E27FC236}">
                <a16:creationId xmlns:a16="http://schemas.microsoft.com/office/drawing/2014/main" id="{2972179E-9000-3901-719D-1BD53D471F36}"/>
              </a:ext>
            </a:extLst>
          </p:cNvPr>
          <p:cNvCxnSpPr>
            <a:cxnSpLocks noChangeShapeType="1"/>
            <a:stCxn id="59" idx="2"/>
            <a:endCxn id="28706" idx="1"/>
          </p:cNvCxnSpPr>
          <p:nvPr/>
        </p:nvCxnSpPr>
        <p:spPr bwMode="gray">
          <a:xfrm rot="16200000" flipH="1">
            <a:off x="746919" y="4558506"/>
            <a:ext cx="457200" cy="192088"/>
          </a:xfrm>
          <a:prstGeom prst="bentConnector2">
            <a:avLst/>
          </a:prstGeom>
          <a:ln w="6350"/>
        </p:spPr>
        <p:style>
          <a:lnRef idx="1">
            <a:schemeClr val="accent1"/>
          </a:lnRef>
          <a:fillRef idx="0">
            <a:schemeClr val="accent1"/>
          </a:fillRef>
          <a:effectRef idx="0">
            <a:schemeClr val="accent1"/>
          </a:effectRef>
          <a:fontRef idx="minor">
            <a:schemeClr val="tx1"/>
          </a:fontRef>
        </p:style>
      </p:cxnSp>
      <p:cxnSp>
        <p:nvCxnSpPr>
          <p:cNvPr id="81" name="AutoShape 53">
            <a:extLst>
              <a:ext uri="{FF2B5EF4-FFF2-40B4-BE49-F238E27FC236}">
                <a16:creationId xmlns:a16="http://schemas.microsoft.com/office/drawing/2014/main" id="{97DE7334-F771-1661-4E14-6FF66284A7AE}"/>
              </a:ext>
            </a:extLst>
          </p:cNvPr>
          <p:cNvCxnSpPr>
            <a:cxnSpLocks noChangeShapeType="1"/>
            <a:stCxn id="59" idx="2"/>
            <a:endCxn id="28707" idx="1"/>
          </p:cNvCxnSpPr>
          <p:nvPr/>
        </p:nvCxnSpPr>
        <p:spPr bwMode="gray">
          <a:xfrm rot="16200000" flipH="1">
            <a:off x="418306" y="4887119"/>
            <a:ext cx="1114425" cy="192088"/>
          </a:xfrm>
          <a:prstGeom prst="bentConnector2">
            <a:avLst/>
          </a:prstGeom>
          <a:ln w="6350"/>
        </p:spPr>
        <p:style>
          <a:lnRef idx="1">
            <a:schemeClr val="accent1"/>
          </a:lnRef>
          <a:fillRef idx="0">
            <a:schemeClr val="accent1"/>
          </a:fillRef>
          <a:effectRef idx="0">
            <a:schemeClr val="accent1"/>
          </a:effectRef>
          <a:fontRef idx="minor">
            <a:schemeClr val="tx1"/>
          </a:fontRef>
        </p:style>
      </p:cxnSp>
      <p:cxnSp>
        <p:nvCxnSpPr>
          <p:cNvPr id="82" name="AutoShape 54">
            <a:extLst>
              <a:ext uri="{FF2B5EF4-FFF2-40B4-BE49-F238E27FC236}">
                <a16:creationId xmlns:a16="http://schemas.microsoft.com/office/drawing/2014/main" id="{52DEF21C-FFD3-C5F9-CD6D-52D44B8F98D0}"/>
              </a:ext>
            </a:extLst>
          </p:cNvPr>
          <p:cNvCxnSpPr>
            <a:cxnSpLocks noChangeShapeType="1"/>
            <a:stCxn id="78" idx="2"/>
            <a:endCxn id="28708" idx="1"/>
          </p:cNvCxnSpPr>
          <p:nvPr/>
        </p:nvCxnSpPr>
        <p:spPr bwMode="gray">
          <a:xfrm rot="16200000" flipH="1">
            <a:off x="-680243" y="4826794"/>
            <a:ext cx="2546350" cy="192087"/>
          </a:xfrm>
          <a:prstGeom prst="bentConnector2">
            <a:avLst/>
          </a:prstGeom>
          <a:ln w="6350"/>
        </p:spPr>
        <p:style>
          <a:lnRef idx="1">
            <a:schemeClr val="accent1"/>
          </a:lnRef>
          <a:fillRef idx="0">
            <a:schemeClr val="accent1"/>
          </a:fillRef>
          <a:effectRef idx="0">
            <a:schemeClr val="accent1"/>
          </a:effectRef>
          <a:fontRef idx="minor">
            <a:schemeClr val="tx1"/>
          </a:fontRef>
        </p:style>
      </p:cxnSp>
      <p:sp>
        <p:nvSpPr>
          <p:cNvPr id="28704" name="Rectangle 31">
            <a:extLst>
              <a:ext uri="{FF2B5EF4-FFF2-40B4-BE49-F238E27FC236}">
                <a16:creationId xmlns:a16="http://schemas.microsoft.com/office/drawing/2014/main" id="{7E0FC7EA-9506-D5C6-6301-44BFEA6FAD06}"/>
              </a:ext>
            </a:extLst>
          </p:cNvPr>
          <p:cNvSpPr>
            <a:spLocks noChangeArrowheads="1"/>
          </p:cNvSpPr>
          <p:nvPr/>
        </p:nvSpPr>
        <p:spPr bwMode="gray">
          <a:xfrm>
            <a:off x="306388" y="3260725"/>
            <a:ext cx="3825875" cy="450850"/>
          </a:xfrm>
          <a:prstGeom prst="rect">
            <a:avLst/>
          </a:prstGeom>
          <a:solidFill>
            <a:srgbClr val="3D87F5"/>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solidFill>
                  <a:schemeClr val="bg1"/>
                </a:solidFill>
                <a:latin typeface="Frutiger for ZKB Light" panose="020B0303030504020204" pitchFamily="34" charset="0"/>
              </a:rPr>
              <a:t>V. Nachname (Position) </a:t>
            </a:r>
          </a:p>
        </p:txBody>
      </p:sp>
      <p:sp>
        <p:nvSpPr>
          <p:cNvPr id="28705" name="Rectangle 46">
            <a:extLst>
              <a:ext uri="{FF2B5EF4-FFF2-40B4-BE49-F238E27FC236}">
                <a16:creationId xmlns:a16="http://schemas.microsoft.com/office/drawing/2014/main" id="{3FD15769-A99E-4041-BFAE-D252B55E1461}"/>
              </a:ext>
            </a:extLst>
          </p:cNvPr>
          <p:cNvSpPr>
            <a:spLocks noChangeArrowheads="1"/>
          </p:cNvSpPr>
          <p:nvPr/>
        </p:nvSpPr>
        <p:spPr bwMode="gray">
          <a:xfrm>
            <a:off x="688975" y="3975100"/>
            <a:ext cx="3443288" cy="450850"/>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706" name="Rectangle 49">
            <a:extLst>
              <a:ext uri="{FF2B5EF4-FFF2-40B4-BE49-F238E27FC236}">
                <a16:creationId xmlns:a16="http://schemas.microsoft.com/office/drawing/2014/main" id="{9BDEBA9A-7BFB-1AF0-57D6-9467E0F1C00B}"/>
              </a:ext>
            </a:extLst>
          </p:cNvPr>
          <p:cNvSpPr>
            <a:spLocks noChangeArrowheads="1"/>
          </p:cNvSpPr>
          <p:nvPr/>
        </p:nvSpPr>
        <p:spPr bwMode="gray">
          <a:xfrm>
            <a:off x="1071563" y="4657725"/>
            <a:ext cx="3059112"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707" name="Rectangle 50">
            <a:extLst>
              <a:ext uri="{FF2B5EF4-FFF2-40B4-BE49-F238E27FC236}">
                <a16:creationId xmlns:a16="http://schemas.microsoft.com/office/drawing/2014/main" id="{9546215F-1D54-C18F-1116-1FCBDFC0C5BA}"/>
              </a:ext>
            </a:extLst>
          </p:cNvPr>
          <p:cNvSpPr>
            <a:spLocks noChangeArrowheads="1"/>
          </p:cNvSpPr>
          <p:nvPr/>
        </p:nvSpPr>
        <p:spPr bwMode="gray">
          <a:xfrm>
            <a:off x="1071563" y="5314950"/>
            <a:ext cx="3059112"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708" name="Rectangle 51">
            <a:extLst>
              <a:ext uri="{FF2B5EF4-FFF2-40B4-BE49-F238E27FC236}">
                <a16:creationId xmlns:a16="http://schemas.microsoft.com/office/drawing/2014/main" id="{9D11D16D-760B-1DAC-7FC5-082DB7C4D9E3}"/>
              </a:ext>
            </a:extLst>
          </p:cNvPr>
          <p:cNvSpPr>
            <a:spLocks noChangeArrowheads="1"/>
          </p:cNvSpPr>
          <p:nvPr/>
        </p:nvSpPr>
        <p:spPr bwMode="gray">
          <a:xfrm>
            <a:off x="688975" y="5972175"/>
            <a:ext cx="3443288"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88" name="Rectangle 47">
            <a:extLst>
              <a:ext uri="{FF2B5EF4-FFF2-40B4-BE49-F238E27FC236}">
                <a16:creationId xmlns:a16="http://schemas.microsoft.com/office/drawing/2014/main" id="{9F908E4A-9DCD-47E6-E69C-C13197A58E13}"/>
              </a:ext>
            </a:extLst>
          </p:cNvPr>
          <p:cNvSpPr>
            <a:spLocks noChangeArrowheads="1"/>
          </p:cNvSpPr>
          <p:nvPr/>
        </p:nvSpPr>
        <p:spPr bwMode="gray">
          <a:xfrm>
            <a:off x="8724900" y="3484563"/>
            <a:ext cx="381000" cy="165100"/>
          </a:xfrm>
          <a:prstGeom prst="rect">
            <a:avLst/>
          </a:prstGeom>
          <a:solidFill>
            <a:schemeClr val="accent3"/>
          </a:solidFill>
          <a:ln w="9525">
            <a:noFill/>
            <a:miter lim="800000"/>
            <a:headEnd/>
            <a:tailEnd/>
          </a:ln>
          <a:effectLst/>
        </p:spPr>
        <p:txBody>
          <a:bodyPr bIns="46800" anchor="ctr"/>
          <a:lstStyle/>
          <a:p>
            <a:pPr algn="ctr" eaLnBrk="1" hangingPunct="1">
              <a:spcBef>
                <a:spcPct val="20000"/>
              </a:spcBef>
              <a:defRPr/>
            </a:pPr>
            <a:endParaRPr lang="de-CH" sz="1400" dirty="0">
              <a:latin typeface="Frutiger for ZKB Light" panose="020B0303030504020204" pitchFamily="34" charset="0"/>
            </a:endParaRPr>
          </a:p>
        </p:txBody>
      </p:sp>
      <p:cxnSp>
        <p:nvCxnSpPr>
          <p:cNvPr id="89" name="AutoShape 48">
            <a:extLst>
              <a:ext uri="{FF2B5EF4-FFF2-40B4-BE49-F238E27FC236}">
                <a16:creationId xmlns:a16="http://schemas.microsoft.com/office/drawing/2014/main" id="{0D6803F6-84EE-72F3-2F9D-88A245D4BFA8}"/>
              </a:ext>
            </a:extLst>
          </p:cNvPr>
          <p:cNvCxnSpPr>
            <a:cxnSpLocks noChangeShapeType="1"/>
            <a:stCxn id="88" idx="2"/>
            <a:endCxn id="28715" idx="1"/>
          </p:cNvCxnSpPr>
          <p:nvPr/>
        </p:nvCxnSpPr>
        <p:spPr bwMode="gray">
          <a:xfrm rot="16200000" flipH="1">
            <a:off x="8723313" y="3841750"/>
            <a:ext cx="576262" cy="192088"/>
          </a:xfrm>
          <a:prstGeom prst="bentConnector2">
            <a:avLst/>
          </a:prstGeom>
          <a:ln w="6350"/>
        </p:spPr>
        <p:style>
          <a:lnRef idx="1">
            <a:schemeClr val="accent1"/>
          </a:lnRef>
          <a:fillRef idx="0">
            <a:schemeClr val="accent1"/>
          </a:fillRef>
          <a:effectRef idx="0">
            <a:schemeClr val="accent1"/>
          </a:effectRef>
          <a:fontRef idx="minor">
            <a:schemeClr val="tx1"/>
          </a:fontRef>
        </p:style>
      </p:cxnSp>
      <p:cxnSp>
        <p:nvCxnSpPr>
          <p:cNvPr id="90" name="AutoShape 52">
            <a:extLst>
              <a:ext uri="{FF2B5EF4-FFF2-40B4-BE49-F238E27FC236}">
                <a16:creationId xmlns:a16="http://schemas.microsoft.com/office/drawing/2014/main" id="{AF1F7FC7-C486-A0BA-9091-F29505F505F2}"/>
              </a:ext>
            </a:extLst>
          </p:cNvPr>
          <p:cNvCxnSpPr>
            <a:cxnSpLocks noChangeShapeType="1"/>
            <a:stCxn id="57" idx="2"/>
            <a:endCxn id="28716" idx="1"/>
          </p:cNvCxnSpPr>
          <p:nvPr/>
        </p:nvCxnSpPr>
        <p:spPr bwMode="gray">
          <a:xfrm rot="16200000" flipH="1">
            <a:off x="9177338" y="4570413"/>
            <a:ext cx="433387" cy="192087"/>
          </a:xfrm>
          <a:prstGeom prst="bentConnector2">
            <a:avLst/>
          </a:prstGeom>
          <a:ln w="6350"/>
        </p:spPr>
        <p:style>
          <a:lnRef idx="1">
            <a:schemeClr val="accent1"/>
          </a:lnRef>
          <a:fillRef idx="0">
            <a:schemeClr val="accent1"/>
          </a:fillRef>
          <a:effectRef idx="0">
            <a:schemeClr val="accent1"/>
          </a:effectRef>
          <a:fontRef idx="minor">
            <a:schemeClr val="tx1"/>
          </a:fontRef>
        </p:style>
      </p:cxnSp>
      <p:cxnSp>
        <p:nvCxnSpPr>
          <p:cNvPr id="91" name="AutoShape 53">
            <a:extLst>
              <a:ext uri="{FF2B5EF4-FFF2-40B4-BE49-F238E27FC236}">
                <a16:creationId xmlns:a16="http://schemas.microsoft.com/office/drawing/2014/main" id="{492F8955-7D0C-EDF7-D761-B3F687680032}"/>
              </a:ext>
            </a:extLst>
          </p:cNvPr>
          <p:cNvCxnSpPr>
            <a:cxnSpLocks noChangeShapeType="1"/>
            <a:stCxn id="57" idx="2"/>
            <a:endCxn id="28717" idx="1"/>
          </p:cNvCxnSpPr>
          <p:nvPr/>
        </p:nvCxnSpPr>
        <p:spPr bwMode="gray">
          <a:xfrm rot="16200000" flipH="1">
            <a:off x="8848726" y="4899025"/>
            <a:ext cx="1090612" cy="192087"/>
          </a:xfrm>
          <a:prstGeom prst="bentConnector2">
            <a:avLst/>
          </a:prstGeom>
          <a:ln w="6350"/>
        </p:spPr>
        <p:style>
          <a:lnRef idx="1">
            <a:schemeClr val="accent1"/>
          </a:lnRef>
          <a:fillRef idx="0">
            <a:schemeClr val="accent1"/>
          </a:fillRef>
          <a:effectRef idx="0">
            <a:schemeClr val="accent1"/>
          </a:effectRef>
          <a:fontRef idx="minor">
            <a:schemeClr val="tx1"/>
          </a:fontRef>
        </p:style>
      </p:cxnSp>
      <p:cxnSp>
        <p:nvCxnSpPr>
          <p:cNvPr id="92" name="AutoShape 54">
            <a:extLst>
              <a:ext uri="{FF2B5EF4-FFF2-40B4-BE49-F238E27FC236}">
                <a16:creationId xmlns:a16="http://schemas.microsoft.com/office/drawing/2014/main" id="{28140555-A81A-0C94-35E7-91A1882EF037}"/>
              </a:ext>
            </a:extLst>
          </p:cNvPr>
          <p:cNvCxnSpPr>
            <a:cxnSpLocks noChangeShapeType="1"/>
            <a:stCxn id="88" idx="2"/>
            <a:endCxn id="28718" idx="1"/>
          </p:cNvCxnSpPr>
          <p:nvPr/>
        </p:nvCxnSpPr>
        <p:spPr bwMode="gray">
          <a:xfrm rot="16200000" flipH="1">
            <a:off x="7749381" y="4815682"/>
            <a:ext cx="2524125" cy="192088"/>
          </a:xfrm>
          <a:prstGeom prst="bentConnector2">
            <a:avLst/>
          </a:prstGeom>
          <a:ln w="6350"/>
        </p:spPr>
        <p:style>
          <a:lnRef idx="1">
            <a:schemeClr val="accent1"/>
          </a:lnRef>
          <a:fillRef idx="0">
            <a:schemeClr val="accent1"/>
          </a:fillRef>
          <a:effectRef idx="0">
            <a:schemeClr val="accent1"/>
          </a:effectRef>
          <a:fontRef idx="minor">
            <a:schemeClr val="tx1"/>
          </a:fontRef>
        </p:style>
      </p:cxnSp>
      <p:sp>
        <p:nvSpPr>
          <p:cNvPr id="28714" name="Rectangle 31">
            <a:extLst>
              <a:ext uri="{FF2B5EF4-FFF2-40B4-BE49-F238E27FC236}">
                <a16:creationId xmlns:a16="http://schemas.microsoft.com/office/drawing/2014/main" id="{5D43F51E-75C2-9DD0-EB97-443E966E651D}"/>
              </a:ext>
            </a:extLst>
          </p:cNvPr>
          <p:cNvSpPr>
            <a:spLocks noChangeArrowheads="1"/>
          </p:cNvSpPr>
          <p:nvPr/>
        </p:nvSpPr>
        <p:spPr bwMode="gray">
          <a:xfrm>
            <a:off x="8723313" y="3260725"/>
            <a:ext cx="3825875" cy="450850"/>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715" name="Rectangle 46">
            <a:extLst>
              <a:ext uri="{FF2B5EF4-FFF2-40B4-BE49-F238E27FC236}">
                <a16:creationId xmlns:a16="http://schemas.microsoft.com/office/drawing/2014/main" id="{8DF8D906-3F54-6AEF-5823-3BB248BDD334}"/>
              </a:ext>
            </a:extLst>
          </p:cNvPr>
          <p:cNvSpPr>
            <a:spLocks noChangeArrowheads="1"/>
          </p:cNvSpPr>
          <p:nvPr/>
        </p:nvSpPr>
        <p:spPr bwMode="gray">
          <a:xfrm>
            <a:off x="9107488" y="4000500"/>
            <a:ext cx="3441700"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716" name="Rectangle 49">
            <a:extLst>
              <a:ext uri="{FF2B5EF4-FFF2-40B4-BE49-F238E27FC236}">
                <a16:creationId xmlns:a16="http://schemas.microsoft.com/office/drawing/2014/main" id="{181EC874-96AD-7338-6E19-883F951528BB}"/>
              </a:ext>
            </a:extLst>
          </p:cNvPr>
          <p:cNvSpPr>
            <a:spLocks noChangeArrowheads="1"/>
          </p:cNvSpPr>
          <p:nvPr/>
        </p:nvSpPr>
        <p:spPr bwMode="gray">
          <a:xfrm>
            <a:off x="9490075" y="4657725"/>
            <a:ext cx="3057525"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717" name="Rectangle 50">
            <a:extLst>
              <a:ext uri="{FF2B5EF4-FFF2-40B4-BE49-F238E27FC236}">
                <a16:creationId xmlns:a16="http://schemas.microsoft.com/office/drawing/2014/main" id="{0A464E02-C7CE-9391-7A4C-F7464E273A06}"/>
              </a:ext>
            </a:extLst>
          </p:cNvPr>
          <p:cNvSpPr>
            <a:spLocks noChangeArrowheads="1"/>
          </p:cNvSpPr>
          <p:nvPr/>
        </p:nvSpPr>
        <p:spPr bwMode="gray">
          <a:xfrm>
            <a:off x="9490075" y="5314950"/>
            <a:ext cx="3057525"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718" name="Rectangle 51">
            <a:extLst>
              <a:ext uri="{FF2B5EF4-FFF2-40B4-BE49-F238E27FC236}">
                <a16:creationId xmlns:a16="http://schemas.microsoft.com/office/drawing/2014/main" id="{3695DBE3-E82D-1D2E-FB12-D855DC3E8FFE}"/>
              </a:ext>
            </a:extLst>
          </p:cNvPr>
          <p:cNvSpPr>
            <a:spLocks noChangeArrowheads="1"/>
          </p:cNvSpPr>
          <p:nvPr/>
        </p:nvSpPr>
        <p:spPr bwMode="gray">
          <a:xfrm>
            <a:off x="9107488" y="5948363"/>
            <a:ext cx="3441700" cy="450850"/>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1858" name="Objekt 4" hidden="1">
            <a:extLst>
              <a:ext uri="{FF2B5EF4-FFF2-40B4-BE49-F238E27FC236}">
                <a16:creationId xmlns:a16="http://schemas.microsoft.com/office/drawing/2014/main" id="{22BBDA4E-5B63-3332-7DCD-FECCF9D8FCF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21858" name="Objekt 4" hidden="1">
                        <a:extLst>
                          <a:ext uri="{FF2B5EF4-FFF2-40B4-BE49-F238E27FC236}">
                            <a16:creationId xmlns:a16="http://schemas.microsoft.com/office/drawing/2014/main" id="{22BBDA4E-5B63-3332-7DCD-FECCF9D8FCF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C3B19EDB-BECC-72F8-43D9-91B90B1F639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121860" name="Titel 14">
            <a:extLst>
              <a:ext uri="{FF2B5EF4-FFF2-40B4-BE49-F238E27FC236}">
                <a16:creationId xmlns:a16="http://schemas.microsoft.com/office/drawing/2014/main" id="{CA1875FA-F720-0435-E196-D19C76E318A6}"/>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Pyramide</a:t>
            </a:r>
          </a:p>
        </p:txBody>
      </p:sp>
      <p:sp>
        <p:nvSpPr>
          <p:cNvPr id="121861" name="Foliennummernplatzhalter 16">
            <a:extLst>
              <a:ext uri="{FF2B5EF4-FFF2-40B4-BE49-F238E27FC236}">
                <a16:creationId xmlns:a16="http://schemas.microsoft.com/office/drawing/2014/main" id="{0AEDFFA4-8AE7-25FE-A4AE-B8306EC98CBF}"/>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90</a:t>
            </a:fld>
            <a:endParaRPr lang="de-CH" altLang="de-DE" sz="1100" dirty="0">
              <a:solidFill>
                <a:srgbClr val="003CB4"/>
              </a:solidFill>
            </a:endParaRPr>
          </a:p>
        </p:txBody>
      </p:sp>
      <p:sp>
        <p:nvSpPr>
          <p:cNvPr id="121862" name="Fußzeilenplatzhalter 9">
            <a:extLst>
              <a:ext uri="{FF2B5EF4-FFF2-40B4-BE49-F238E27FC236}">
                <a16:creationId xmlns:a16="http://schemas.microsoft.com/office/drawing/2014/main" id="{63145D6C-AE46-05B3-928D-5B14431A5AC4}"/>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21863" name="Inhaltsplatzhalter 1">
            <a:extLst>
              <a:ext uri="{FF2B5EF4-FFF2-40B4-BE49-F238E27FC236}">
                <a16:creationId xmlns:a16="http://schemas.microsoft.com/office/drawing/2014/main" id="{D34D484C-8746-E5A9-CBF6-2CEE174BFA1A}"/>
              </a:ext>
            </a:extLst>
          </p:cNvPr>
          <p:cNvSpPr>
            <a:spLocks noGrp="1" noChangeArrowheads="1"/>
          </p:cNvSpPr>
          <p:nvPr>
            <p:ph idx="12"/>
          </p:nvPr>
        </p:nvSpPr>
        <p:spPr>
          <a:xfrm>
            <a:off x="306388" y="1885950"/>
            <a:ext cx="5976937" cy="4748213"/>
          </a:xfrm>
        </p:spPr>
        <p:txBody>
          <a:bodyPr/>
          <a:lstStyle/>
          <a:p>
            <a:pPr defTabSz="284163" eaLnBrk="1" hangingPunct="1">
              <a:spcBef>
                <a:spcPct val="0"/>
              </a:spcBef>
              <a:spcAft>
                <a:spcPct val="0"/>
              </a:spcAft>
            </a:pPr>
            <a:r>
              <a:rPr lang="de-CH" altLang="de-DE" b="1" dirty="0">
                <a:cs typeface="Aharoni" panose="020F0502020204030204" pitchFamily="2" charset="-79"/>
              </a:rPr>
              <a:t>Überschrift</a:t>
            </a:r>
          </a:p>
          <a:p>
            <a:pPr defTabSz="284163" eaLnBrk="1" hangingPunct="1">
              <a:spcBef>
                <a:spcPct val="0"/>
              </a:spcBef>
              <a:spcAft>
                <a:spcPct val="0"/>
              </a:spcAft>
            </a:pPr>
            <a:endParaRPr lang="de-CH" altLang="de-DE" b="1" dirty="0">
              <a:cs typeface="Aharoni" panose="020F0502020204030204" pitchFamily="2" charset="-79"/>
            </a:endParaRPr>
          </a:p>
          <a:p>
            <a:pPr lvl="1" eaLnBrk="1" hangingPunct="1">
              <a:spcBef>
                <a:spcPct val="0"/>
              </a:spcBef>
              <a:spcAft>
                <a:spcPct val="0"/>
              </a:spcAft>
            </a:pPr>
            <a:r>
              <a:rPr lang="de-CH" altLang="de-DE" dirty="0">
                <a:cs typeface="Aharoni" panose="020F0502020204030204" pitchFamily="2" charset="-79"/>
              </a:rPr>
              <a:t>Lorem ipsum dolor sit amet, consetetur sadipscing elitr</a:t>
            </a: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p:txBody>
      </p:sp>
      <p:sp>
        <p:nvSpPr>
          <p:cNvPr id="399" name="Freihandform 14">
            <a:extLst>
              <a:ext uri="{FF2B5EF4-FFF2-40B4-BE49-F238E27FC236}">
                <a16:creationId xmlns:a16="http://schemas.microsoft.com/office/drawing/2014/main" id="{060C9391-1DF2-0A03-B955-303FC320EB17}"/>
              </a:ext>
            </a:extLst>
          </p:cNvPr>
          <p:cNvSpPr/>
          <p:nvPr/>
        </p:nvSpPr>
        <p:spPr>
          <a:xfrm>
            <a:off x="8010525" y="1863725"/>
            <a:ext cx="712788" cy="952500"/>
          </a:xfrm>
          <a:custGeom>
            <a:avLst/>
            <a:gdLst>
              <a:gd name="connsiteX0" fmla="*/ 0 w 1714076"/>
              <a:gd name="connsiteY0" fmla="*/ 1142717 h 1142717"/>
              <a:gd name="connsiteX1" fmla="*/ 857038 w 1714076"/>
              <a:gd name="connsiteY1" fmla="*/ 0 h 1142717"/>
              <a:gd name="connsiteX2" fmla="*/ 857038 w 1714076"/>
              <a:gd name="connsiteY2" fmla="*/ 0 h 1142717"/>
              <a:gd name="connsiteX3" fmla="*/ 1714076 w 1714076"/>
              <a:gd name="connsiteY3" fmla="*/ 1142717 h 1142717"/>
              <a:gd name="connsiteX4" fmla="*/ 0 w 1714076"/>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076" h="1142717">
                <a:moveTo>
                  <a:pt x="0" y="1142717"/>
                </a:moveTo>
                <a:lnTo>
                  <a:pt x="857038" y="0"/>
                </a:lnTo>
                <a:lnTo>
                  <a:pt x="857038" y="0"/>
                </a:lnTo>
                <a:lnTo>
                  <a:pt x="1714076" y="1142717"/>
                </a:lnTo>
                <a:lnTo>
                  <a:pt x="0" y="1142717"/>
                </a:lnTo>
                <a:close/>
              </a:path>
            </a:pathLst>
          </a:custGeom>
          <a:solidFill>
            <a:srgbClr val="D2E6FE"/>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82550" tIns="180000" rIns="82550" bIns="144000" spcCol="1270" anchor="b"/>
          <a:lstStyle/>
          <a:p>
            <a:pPr algn="ctr" defTabSz="2889250" eaLnBrk="1" hangingPunct="1">
              <a:spcBef>
                <a:spcPts val="0"/>
              </a:spcBef>
              <a:spcAft>
                <a:spcPts val="0"/>
              </a:spcAft>
              <a:defRPr/>
            </a:pPr>
            <a:endParaRPr lang="de-CH" sz="1600" dirty="0">
              <a:solidFill>
                <a:schemeClr val="dk1"/>
              </a:solidFill>
            </a:endParaRPr>
          </a:p>
        </p:txBody>
      </p:sp>
      <p:sp>
        <p:nvSpPr>
          <p:cNvPr id="400" name="Freihandform 15">
            <a:extLst>
              <a:ext uri="{FF2B5EF4-FFF2-40B4-BE49-F238E27FC236}">
                <a16:creationId xmlns:a16="http://schemas.microsoft.com/office/drawing/2014/main" id="{656AECDD-E7BB-5CE2-4A6F-B2C9D92A7EB2}"/>
              </a:ext>
            </a:extLst>
          </p:cNvPr>
          <p:cNvSpPr/>
          <p:nvPr/>
        </p:nvSpPr>
        <p:spPr>
          <a:xfrm>
            <a:off x="7653338" y="2816225"/>
            <a:ext cx="1425575" cy="954088"/>
          </a:xfrm>
          <a:custGeom>
            <a:avLst/>
            <a:gdLst>
              <a:gd name="connsiteX0" fmla="*/ 0 w 3428153"/>
              <a:gd name="connsiteY0" fmla="*/ 1142717 h 1142717"/>
              <a:gd name="connsiteX1" fmla="*/ 857038 w 3428153"/>
              <a:gd name="connsiteY1" fmla="*/ 0 h 1142717"/>
              <a:gd name="connsiteX2" fmla="*/ 2571115 w 3428153"/>
              <a:gd name="connsiteY2" fmla="*/ 0 h 1142717"/>
              <a:gd name="connsiteX3" fmla="*/ 3428153 w 3428153"/>
              <a:gd name="connsiteY3" fmla="*/ 1142717 h 1142717"/>
              <a:gd name="connsiteX4" fmla="*/ 0 w 3428153"/>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8153" h="1142717">
                <a:moveTo>
                  <a:pt x="0" y="1142717"/>
                </a:moveTo>
                <a:lnTo>
                  <a:pt x="857038" y="0"/>
                </a:lnTo>
                <a:lnTo>
                  <a:pt x="2571115" y="0"/>
                </a:lnTo>
                <a:lnTo>
                  <a:pt x="3428153" y="1142717"/>
                </a:lnTo>
                <a:lnTo>
                  <a:pt x="0" y="1142717"/>
                </a:lnTo>
                <a:close/>
              </a:path>
            </a:pathLst>
          </a:custGeom>
          <a:solidFill>
            <a:srgbClr val="A0CAFD"/>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682477" tIns="82550" rIns="682477" bIns="82550" spcCol="1270" anchor="ctr"/>
          <a:lstStyle/>
          <a:p>
            <a:pPr algn="ctr" defTabSz="2889250" eaLnBrk="1" hangingPunct="1">
              <a:spcBef>
                <a:spcPts val="0"/>
              </a:spcBef>
              <a:spcAft>
                <a:spcPts val="0"/>
              </a:spcAft>
              <a:defRPr/>
            </a:pPr>
            <a:endParaRPr lang="de-CH" sz="1600" dirty="0">
              <a:solidFill>
                <a:schemeClr val="dk1"/>
              </a:solidFill>
            </a:endParaRPr>
          </a:p>
        </p:txBody>
      </p:sp>
      <p:sp>
        <p:nvSpPr>
          <p:cNvPr id="401" name="Freihandform 16">
            <a:extLst>
              <a:ext uri="{FF2B5EF4-FFF2-40B4-BE49-F238E27FC236}">
                <a16:creationId xmlns:a16="http://schemas.microsoft.com/office/drawing/2014/main" id="{6537ADAF-8160-6D0E-615E-6CC66F9440D2}"/>
              </a:ext>
            </a:extLst>
          </p:cNvPr>
          <p:cNvSpPr/>
          <p:nvPr/>
        </p:nvSpPr>
        <p:spPr>
          <a:xfrm>
            <a:off x="7297738" y="3770313"/>
            <a:ext cx="2138362" cy="952500"/>
          </a:xfrm>
          <a:custGeom>
            <a:avLst/>
            <a:gdLst>
              <a:gd name="connsiteX0" fmla="*/ 0 w 5142229"/>
              <a:gd name="connsiteY0" fmla="*/ 1142717 h 1142717"/>
              <a:gd name="connsiteX1" fmla="*/ 857038 w 5142229"/>
              <a:gd name="connsiteY1" fmla="*/ 0 h 1142717"/>
              <a:gd name="connsiteX2" fmla="*/ 4285191 w 5142229"/>
              <a:gd name="connsiteY2" fmla="*/ 0 h 1142717"/>
              <a:gd name="connsiteX3" fmla="*/ 5142229 w 5142229"/>
              <a:gd name="connsiteY3" fmla="*/ 1142717 h 1142717"/>
              <a:gd name="connsiteX4" fmla="*/ 0 w 5142229"/>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2229" h="1142717">
                <a:moveTo>
                  <a:pt x="0" y="1142717"/>
                </a:moveTo>
                <a:lnTo>
                  <a:pt x="857038" y="0"/>
                </a:lnTo>
                <a:lnTo>
                  <a:pt x="4285191" y="0"/>
                </a:lnTo>
                <a:lnTo>
                  <a:pt x="5142229" y="1142717"/>
                </a:lnTo>
                <a:lnTo>
                  <a:pt x="0" y="1142717"/>
                </a:lnTo>
                <a:close/>
              </a:path>
            </a:pathLst>
          </a:custGeom>
          <a:solidFill>
            <a:srgbClr val="65A6FB"/>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82440" tIns="82550" rIns="982440" bIns="82550" spcCol="1270" anchor="ctr"/>
          <a:lstStyle/>
          <a:p>
            <a:pPr algn="ctr" defTabSz="2889250" eaLnBrk="1" hangingPunct="1">
              <a:spcBef>
                <a:spcPts val="0"/>
              </a:spcBef>
              <a:spcAft>
                <a:spcPts val="0"/>
              </a:spcAft>
              <a:defRPr/>
            </a:pPr>
            <a:endParaRPr lang="de-CH" sz="1600" dirty="0">
              <a:solidFill>
                <a:schemeClr val="dk1"/>
              </a:solidFill>
            </a:endParaRPr>
          </a:p>
        </p:txBody>
      </p:sp>
      <p:sp>
        <p:nvSpPr>
          <p:cNvPr id="402" name="Freihandform 17">
            <a:extLst>
              <a:ext uri="{FF2B5EF4-FFF2-40B4-BE49-F238E27FC236}">
                <a16:creationId xmlns:a16="http://schemas.microsoft.com/office/drawing/2014/main" id="{5E8BEA7E-94A2-A949-01A2-67599BEB33B5}"/>
              </a:ext>
            </a:extLst>
          </p:cNvPr>
          <p:cNvSpPr/>
          <p:nvPr/>
        </p:nvSpPr>
        <p:spPr>
          <a:xfrm>
            <a:off x="6940550" y="4722813"/>
            <a:ext cx="2851150" cy="954087"/>
          </a:xfrm>
          <a:custGeom>
            <a:avLst/>
            <a:gdLst>
              <a:gd name="connsiteX0" fmla="*/ 0 w 6856306"/>
              <a:gd name="connsiteY0" fmla="*/ 1142717 h 1142717"/>
              <a:gd name="connsiteX1" fmla="*/ 857038 w 6856306"/>
              <a:gd name="connsiteY1" fmla="*/ 0 h 1142717"/>
              <a:gd name="connsiteX2" fmla="*/ 5999268 w 6856306"/>
              <a:gd name="connsiteY2" fmla="*/ 0 h 1142717"/>
              <a:gd name="connsiteX3" fmla="*/ 6856306 w 6856306"/>
              <a:gd name="connsiteY3" fmla="*/ 1142717 h 1142717"/>
              <a:gd name="connsiteX4" fmla="*/ 0 w 6856306"/>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6306" h="1142717">
                <a:moveTo>
                  <a:pt x="0" y="1142717"/>
                </a:moveTo>
                <a:lnTo>
                  <a:pt x="857038" y="0"/>
                </a:lnTo>
                <a:lnTo>
                  <a:pt x="5999268" y="0"/>
                </a:lnTo>
                <a:lnTo>
                  <a:pt x="6856306" y="1142717"/>
                </a:lnTo>
                <a:lnTo>
                  <a:pt x="0" y="1142717"/>
                </a:lnTo>
                <a:close/>
              </a:path>
            </a:pathLst>
          </a:custGeom>
          <a:solidFill>
            <a:srgbClr val="3D87F5"/>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282403" tIns="82550" rIns="1282404" bIns="82550" spcCol="1270" anchor="ctr"/>
          <a:lstStyle/>
          <a:p>
            <a:pPr algn="ctr" defTabSz="2889250" eaLnBrk="1" hangingPunct="1">
              <a:spcBef>
                <a:spcPts val="0"/>
              </a:spcBef>
              <a:spcAft>
                <a:spcPts val="0"/>
              </a:spcAft>
              <a:defRPr/>
            </a:pPr>
            <a:endParaRPr lang="de-CH" sz="1600" dirty="0"/>
          </a:p>
        </p:txBody>
      </p:sp>
      <p:sp>
        <p:nvSpPr>
          <p:cNvPr id="403" name="Freihandform 18">
            <a:extLst>
              <a:ext uri="{FF2B5EF4-FFF2-40B4-BE49-F238E27FC236}">
                <a16:creationId xmlns:a16="http://schemas.microsoft.com/office/drawing/2014/main" id="{605245EC-4719-9CC6-D8A6-E8E949B35CDC}"/>
              </a:ext>
            </a:extLst>
          </p:cNvPr>
          <p:cNvSpPr/>
          <p:nvPr/>
        </p:nvSpPr>
        <p:spPr>
          <a:xfrm>
            <a:off x="6584950" y="5676900"/>
            <a:ext cx="3563938" cy="952500"/>
          </a:xfrm>
          <a:custGeom>
            <a:avLst/>
            <a:gdLst>
              <a:gd name="connsiteX0" fmla="*/ 0 w 8570383"/>
              <a:gd name="connsiteY0" fmla="*/ 1142717 h 1142717"/>
              <a:gd name="connsiteX1" fmla="*/ 857038 w 8570383"/>
              <a:gd name="connsiteY1" fmla="*/ 0 h 1142717"/>
              <a:gd name="connsiteX2" fmla="*/ 7713345 w 8570383"/>
              <a:gd name="connsiteY2" fmla="*/ 0 h 1142717"/>
              <a:gd name="connsiteX3" fmla="*/ 8570383 w 8570383"/>
              <a:gd name="connsiteY3" fmla="*/ 1142717 h 1142717"/>
              <a:gd name="connsiteX4" fmla="*/ 0 w 8570383"/>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0383" h="1142717">
                <a:moveTo>
                  <a:pt x="0" y="1142717"/>
                </a:moveTo>
                <a:lnTo>
                  <a:pt x="857038" y="0"/>
                </a:lnTo>
                <a:lnTo>
                  <a:pt x="7713345" y="0"/>
                </a:lnTo>
                <a:lnTo>
                  <a:pt x="8570383" y="1142717"/>
                </a:lnTo>
                <a:lnTo>
                  <a:pt x="0" y="1142717"/>
                </a:lnTo>
                <a:close/>
              </a:path>
            </a:pathLst>
          </a:custGeom>
          <a:solidFill>
            <a:srgbClr val="1264F3"/>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582367" tIns="82550" rIns="1582368" bIns="82550" spcCol="1270" anchor="ctr"/>
          <a:lstStyle/>
          <a:p>
            <a:pPr algn="ctr" defTabSz="2889250" eaLnBrk="1" hangingPunct="1">
              <a:spcBef>
                <a:spcPts val="0"/>
              </a:spcBef>
              <a:spcAft>
                <a:spcPts val="0"/>
              </a:spcAft>
              <a:defRPr/>
            </a:pPr>
            <a:endParaRPr lang="de-CH" sz="1600" dirty="0"/>
          </a:p>
        </p:txBody>
      </p:sp>
      <p:cxnSp>
        <p:nvCxnSpPr>
          <p:cNvPr id="8" name="Gerade Verbindung 7">
            <a:extLst>
              <a:ext uri="{FF2B5EF4-FFF2-40B4-BE49-F238E27FC236}">
                <a16:creationId xmlns:a16="http://schemas.microsoft.com/office/drawing/2014/main" id="{F7086523-C21B-C269-6EB9-1CD9E4BE9670}"/>
              </a:ext>
            </a:extLst>
          </p:cNvPr>
          <p:cNvCxnSpPr>
            <a:cxnSpLocks/>
          </p:cNvCxnSpPr>
          <p:nvPr/>
        </p:nvCxnSpPr>
        <p:spPr>
          <a:xfrm>
            <a:off x="8604250" y="2319338"/>
            <a:ext cx="4492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a:extLst>
              <a:ext uri="{FF2B5EF4-FFF2-40B4-BE49-F238E27FC236}">
                <a16:creationId xmlns:a16="http://schemas.microsoft.com/office/drawing/2014/main" id="{47E5AA6E-2EE0-55F4-BBC0-20174091117B}"/>
              </a:ext>
            </a:extLst>
          </p:cNvPr>
          <p:cNvCxnSpPr>
            <a:cxnSpLocks/>
          </p:cNvCxnSpPr>
          <p:nvPr/>
        </p:nvCxnSpPr>
        <p:spPr>
          <a:xfrm>
            <a:off x="8963025" y="3308350"/>
            <a:ext cx="4492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1871" name="Inhaltsplatzhalter 5">
            <a:extLst>
              <a:ext uri="{FF2B5EF4-FFF2-40B4-BE49-F238E27FC236}">
                <a16:creationId xmlns:a16="http://schemas.microsoft.com/office/drawing/2014/main" id="{6ADB91C8-2F0F-0BDF-802F-6303C03C3D3E}"/>
              </a:ext>
            </a:extLst>
          </p:cNvPr>
          <p:cNvSpPr txBox="1">
            <a:spLocks noChangeArrowheads="1"/>
          </p:cNvSpPr>
          <p:nvPr/>
        </p:nvSpPr>
        <p:spPr bwMode="auto">
          <a:xfrm>
            <a:off x="9923463" y="3873500"/>
            <a:ext cx="1890712"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sz="1400" dirty="0">
                <a:solidFill>
                  <a:schemeClr val="tx1"/>
                </a:solidFill>
              </a:rPr>
              <a:t>Lorem ipsum dolor sit amet, consetetur sadipscing elitr</a:t>
            </a:r>
          </a:p>
        </p:txBody>
      </p:sp>
      <p:cxnSp>
        <p:nvCxnSpPr>
          <p:cNvPr id="16" name="Gerade Verbindung 15">
            <a:extLst>
              <a:ext uri="{FF2B5EF4-FFF2-40B4-BE49-F238E27FC236}">
                <a16:creationId xmlns:a16="http://schemas.microsoft.com/office/drawing/2014/main" id="{8DDE2452-C031-D3DE-2833-A6846BC8F2E8}"/>
              </a:ext>
            </a:extLst>
          </p:cNvPr>
          <p:cNvCxnSpPr>
            <a:cxnSpLocks/>
          </p:cNvCxnSpPr>
          <p:nvPr/>
        </p:nvCxnSpPr>
        <p:spPr>
          <a:xfrm>
            <a:off x="9324975" y="4238625"/>
            <a:ext cx="4492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1873" name="Inhaltsplatzhalter 5">
            <a:extLst>
              <a:ext uri="{FF2B5EF4-FFF2-40B4-BE49-F238E27FC236}">
                <a16:creationId xmlns:a16="http://schemas.microsoft.com/office/drawing/2014/main" id="{E6AA736B-7A7B-423D-B35D-CEBFC2EA3C15}"/>
              </a:ext>
            </a:extLst>
          </p:cNvPr>
          <p:cNvSpPr txBox="1">
            <a:spLocks noChangeArrowheads="1"/>
          </p:cNvSpPr>
          <p:nvPr/>
        </p:nvSpPr>
        <p:spPr bwMode="auto">
          <a:xfrm>
            <a:off x="10266363" y="4832350"/>
            <a:ext cx="189071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sz="1400" dirty="0">
                <a:solidFill>
                  <a:schemeClr val="tx1"/>
                </a:solidFill>
              </a:rPr>
              <a:t>Lorem ipsum dolor sit amet, consetetur sadipscing elitr</a:t>
            </a:r>
          </a:p>
        </p:txBody>
      </p:sp>
      <p:cxnSp>
        <p:nvCxnSpPr>
          <p:cNvPr id="19" name="Gerade Verbindung 18">
            <a:extLst>
              <a:ext uri="{FF2B5EF4-FFF2-40B4-BE49-F238E27FC236}">
                <a16:creationId xmlns:a16="http://schemas.microsoft.com/office/drawing/2014/main" id="{4D38C3B1-6FE3-F785-7E59-2396929F4149}"/>
              </a:ext>
            </a:extLst>
          </p:cNvPr>
          <p:cNvCxnSpPr>
            <a:cxnSpLocks/>
          </p:cNvCxnSpPr>
          <p:nvPr/>
        </p:nvCxnSpPr>
        <p:spPr>
          <a:xfrm>
            <a:off x="9699625" y="5191125"/>
            <a:ext cx="4492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1875" name="Inhaltsplatzhalter 5">
            <a:extLst>
              <a:ext uri="{FF2B5EF4-FFF2-40B4-BE49-F238E27FC236}">
                <a16:creationId xmlns:a16="http://schemas.microsoft.com/office/drawing/2014/main" id="{1F818EBD-79D7-A2B2-2AB4-CC52DBA4161C}"/>
              </a:ext>
            </a:extLst>
          </p:cNvPr>
          <p:cNvSpPr txBox="1">
            <a:spLocks noChangeArrowheads="1"/>
          </p:cNvSpPr>
          <p:nvPr/>
        </p:nvSpPr>
        <p:spPr bwMode="auto">
          <a:xfrm>
            <a:off x="10606088" y="5788025"/>
            <a:ext cx="189071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sz="1400" dirty="0">
                <a:solidFill>
                  <a:schemeClr val="tx1"/>
                </a:solidFill>
              </a:rPr>
              <a:t>Lorem ipsum dolor sit amet, consetetur sadipscing elitr</a:t>
            </a:r>
          </a:p>
        </p:txBody>
      </p:sp>
      <p:cxnSp>
        <p:nvCxnSpPr>
          <p:cNvPr id="21" name="Gerade Verbindung 20">
            <a:extLst>
              <a:ext uri="{FF2B5EF4-FFF2-40B4-BE49-F238E27FC236}">
                <a16:creationId xmlns:a16="http://schemas.microsoft.com/office/drawing/2014/main" id="{02877129-4139-161C-BD84-1C896815A607}"/>
              </a:ext>
            </a:extLst>
          </p:cNvPr>
          <p:cNvCxnSpPr>
            <a:cxnSpLocks/>
          </p:cNvCxnSpPr>
          <p:nvPr/>
        </p:nvCxnSpPr>
        <p:spPr>
          <a:xfrm>
            <a:off x="10040938" y="6148388"/>
            <a:ext cx="4492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1877" name="Inhaltsplatzhalter 5">
            <a:extLst>
              <a:ext uri="{FF2B5EF4-FFF2-40B4-BE49-F238E27FC236}">
                <a16:creationId xmlns:a16="http://schemas.microsoft.com/office/drawing/2014/main" id="{21256845-D2CB-09F7-2C04-89E2D96C2618}"/>
              </a:ext>
            </a:extLst>
          </p:cNvPr>
          <p:cNvSpPr txBox="1">
            <a:spLocks noChangeArrowheads="1"/>
          </p:cNvSpPr>
          <p:nvPr/>
        </p:nvSpPr>
        <p:spPr bwMode="auto">
          <a:xfrm>
            <a:off x="9540875" y="2949575"/>
            <a:ext cx="1990725"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sz="1400" dirty="0">
                <a:solidFill>
                  <a:schemeClr val="tx1"/>
                </a:solidFill>
              </a:rPr>
              <a:t>Lorem ipsum dolor sit amet, consetetur sadipscing elitr</a:t>
            </a:r>
          </a:p>
        </p:txBody>
      </p:sp>
      <p:sp>
        <p:nvSpPr>
          <p:cNvPr id="121878" name="Inhaltsplatzhalter 5">
            <a:extLst>
              <a:ext uri="{FF2B5EF4-FFF2-40B4-BE49-F238E27FC236}">
                <a16:creationId xmlns:a16="http://schemas.microsoft.com/office/drawing/2014/main" id="{6EF40B8F-4864-C3CB-F1C0-8DDF60500B37}"/>
              </a:ext>
            </a:extLst>
          </p:cNvPr>
          <p:cNvSpPr txBox="1">
            <a:spLocks noChangeArrowheads="1"/>
          </p:cNvSpPr>
          <p:nvPr/>
        </p:nvSpPr>
        <p:spPr bwMode="auto">
          <a:xfrm>
            <a:off x="9186863" y="1951038"/>
            <a:ext cx="1990725"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sz="1400" dirty="0">
                <a:solidFill>
                  <a:schemeClr val="tx1"/>
                </a:solidFill>
              </a:rPr>
              <a:t>Lorem ipsum dolor sit amet, consetetur sadipscing elitr</a:t>
            </a: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882" name="Objekt 4" hidden="1">
            <a:extLst>
              <a:ext uri="{FF2B5EF4-FFF2-40B4-BE49-F238E27FC236}">
                <a16:creationId xmlns:a16="http://schemas.microsoft.com/office/drawing/2014/main" id="{FA89F9D2-C46A-ADA8-7A8B-6D06B13F263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22882" name="Objekt 4" hidden="1">
                        <a:extLst>
                          <a:ext uri="{FF2B5EF4-FFF2-40B4-BE49-F238E27FC236}">
                            <a16:creationId xmlns:a16="http://schemas.microsoft.com/office/drawing/2014/main" id="{FA89F9D2-C46A-ADA8-7A8B-6D06B13F263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FACD9E08-17CD-56AE-596E-FAD8F3C794A8}"/>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122884" name="Titel 14">
            <a:extLst>
              <a:ext uri="{FF2B5EF4-FFF2-40B4-BE49-F238E27FC236}">
                <a16:creationId xmlns:a16="http://schemas.microsoft.com/office/drawing/2014/main" id="{007F9781-B5DD-4F61-9625-284D6DC0F142}"/>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Pyramide verkehrt</a:t>
            </a:r>
          </a:p>
        </p:txBody>
      </p:sp>
      <p:sp>
        <p:nvSpPr>
          <p:cNvPr id="122885" name="Inhaltsplatzhalter 5">
            <a:extLst>
              <a:ext uri="{FF2B5EF4-FFF2-40B4-BE49-F238E27FC236}">
                <a16:creationId xmlns:a16="http://schemas.microsoft.com/office/drawing/2014/main" id="{CB61CA6F-A7AF-1F1F-BBBD-35C26BE3C46C}"/>
              </a:ext>
            </a:extLst>
          </p:cNvPr>
          <p:cNvSpPr>
            <a:spLocks noGrp="1" noChangeArrowheads="1"/>
          </p:cNvSpPr>
          <p:nvPr>
            <p:ph sz="quarter" idx="13"/>
          </p:nvPr>
        </p:nvSpPr>
        <p:spPr>
          <a:xfrm>
            <a:off x="6572250" y="1885950"/>
            <a:ext cx="5976938" cy="4748213"/>
          </a:xfrm>
        </p:spPr>
        <p:txBody>
          <a:bodyPr/>
          <a:lstStyle/>
          <a:p>
            <a:pPr defTabSz="284163" eaLnBrk="1" hangingPunct="1">
              <a:spcBef>
                <a:spcPct val="0"/>
              </a:spcBef>
              <a:spcAft>
                <a:spcPct val="0"/>
              </a:spcAft>
            </a:pPr>
            <a:r>
              <a:rPr lang="de-CH" altLang="de-DE" b="1" dirty="0">
                <a:cs typeface="Aharoni" panose="020F0502020204030204" pitchFamily="2" charset="-79"/>
              </a:rPr>
              <a:t>Überschrift</a:t>
            </a:r>
          </a:p>
          <a:p>
            <a:pPr lvl="1" eaLnBrk="1" hangingPunct="1">
              <a:spcBef>
                <a:spcPct val="0"/>
              </a:spcBef>
              <a:spcAft>
                <a:spcPct val="0"/>
              </a:spcAft>
            </a:pPr>
            <a:r>
              <a:rPr lang="de-CH" altLang="de-DE" dirty="0">
                <a:cs typeface="Aharoni" panose="020F0502020204030204" pitchFamily="2" charset="-79"/>
              </a:rPr>
              <a:t>Lorem ipsum dolor sit amet, consetetur sadipscing elitr</a:t>
            </a: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p:txBody>
      </p:sp>
      <p:sp>
        <p:nvSpPr>
          <p:cNvPr id="122886" name="Foliennummernplatzhalter 2">
            <a:extLst>
              <a:ext uri="{FF2B5EF4-FFF2-40B4-BE49-F238E27FC236}">
                <a16:creationId xmlns:a16="http://schemas.microsoft.com/office/drawing/2014/main" id="{FB7E9550-A16E-857C-A7A1-F69E32124311}"/>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buClrTx/>
              <a:buFontTx/>
              <a:buNone/>
              <a:defRPr/>
            </a:pPr>
            <a:fld id="{E27750A0-D544-4C69-B9E8-50FBC5312155}" type="slidenum">
              <a:rPr lang="de-CH" smtClean="0"/>
              <a:pPr>
                <a:spcBef>
                  <a:spcPct val="0"/>
                </a:spcBef>
                <a:spcAft>
                  <a:spcPct val="0"/>
                </a:spcAft>
                <a:buClrTx/>
                <a:buFontTx/>
                <a:buNone/>
                <a:defRPr/>
              </a:pPr>
              <a:t>91</a:t>
            </a:fld>
            <a:endParaRPr lang="de-CH" altLang="de-DE" sz="1100" dirty="0"/>
          </a:p>
        </p:txBody>
      </p:sp>
      <p:sp>
        <p:nvSpPr>
          <p:cNvPr id="122887" name="Fußzeilenplatzhalter 1">
            <a:extLst>
              <a:ext uri="{FF2B5EF4-FFF2-40B4-BE49-F238E27FC236}">
                <a16:creationId xmlns:a16="http://schemas.microsoft.com/office/drawing/2014/main" id="{D44785DF-C670-300C-6BB5-2A7E552F18A2}"/>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buClrTx/>
              <a:buFontTx/>
              <a:buNone/>
            </a:pPr>
            <a:r>
              <a:rPr lang="de-CH" dirty="0"/>
              <a:t>Lorem ipsum dolor sit amet, consetetur | xx. Monat Jahr</a:t>
            </a:r>
            <a:endParaRPr lang="de-CH" altLang="de-DE" sz="1100" dirty="0"/>
          </a:p>
        </p:txBody>
      </p:sp>
      <p:sp>
        <p:nvSpPr>
          <p:cNvPr id="399" name="Freihandform 14">
            <a:extLst>
              <a:ext uri="{FF2B5EF4-FFF2-40B4-BE49-F238E27FC236}">
                <a16:creationId xmlns:a16="http://schemas.microsoft.com/office/drawing/2014/main" id="{CBC659C3-D4AE-189B-6169-F63D37A10731}"/>
              </a:ext>
            </a:extLst>
          </p:cNvPr>
          <p:cNvSpPr/>
          <p:nvPr/>
        </p:nvSpPr>
        <p:spPr>
          <a:xfrm flipV="1">
            <a:off x="2695575" y="5697538"/>
            <a:ext cx="1195388" cy="954087"/>
          </a:xfrm>
          <a:custGeom>
            <a:avLst/>
            <a:gdLst>
              <a:gd name="connsiteX0" fmla="*/ 0 w 1714076"/>
              <a:gd name="connsiteY0" fmla="*/ 1142717 h 1142717"/>
              <a:gd name="connsiteX1" fmla="*/ 857038 w 1714076"/>
              <a:gd name="connsiteY1" fmla="*/ 0 h 1142717"/>
              <a:gd name="connsiteX2" fmla="*/ 857038 w 1714076"/>
              <a:gd name="connsiteY2" fmla="*/ 0 h 1142717"/>
              <a:gd name="connsiteX3" fmla="*/ 1714076 w 1714076"/>
              <a:gd name="connsiteY3" fmla="*/ 1142717 h 1142717"/>
              <a:gd name="connsiteX4" fmla="*/ 0 w 1714076"/>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076" h="1142717">
                <a:moveTo>
                  <a:pt x="0" y="1142717"/>
                </a:moveTo>
                <a:lnTo>
                  <a:pt x="857038" y="0"/>
                </a:lnTo>
                <a:lnTo>
                  <a:pt x="857038" y="0"/>
                </a:lnTo>
                <a:lnTo>
                  <a:pt x="1714076" y="1142717"/>
                </a:lnTo>
                <a:lnTo>
                  <a:pt x="0" y="1142717"/>
                </a:lnTo>
                <a:close/>
              </a:path>
            </a:pathLst>
          </a:custGeom>
          <a:solidFill>
            <a:schemeClr val="accent2"/>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82550" tIns="180000" rIns="82550" bIns="144000" spcCol="1270" anchor="b"/>
          <a:lstStyle/>
          <a:p>
            <a:pPr algn="ctr" defTabSz="2889250" eaLnBrk="1" hangingPunct="1">
              <a:defRPr/>
            </a:pPr>
            <a:endParaRPr lang="de-CH" sz="1600" dirty="0"/>
          </a:p>
        </p:txBody>
      </p:sp>
      <p:sp>
        <p:nvSpPr>
          <p:cNvPr id="400" name="Freihandform 15">
            <a:extLst>
              <a:ext uri="{FF2B5EF4-FFF2-40B4-BE49-F238E27FC236}">
                <a16:creationId xmlns:a16="http://schemas.microsoft.com/office/drawing/2014/main" id="{86AB4244-C910-F0F5-71AC-36C5A4401F77}"/>
              </a:ext>
            </a:extLst>
          </p:cNvPr>
          <p:cNvSpPr/>
          <p:nvPr/>
        </p:nvSpPr>
        <p:spPr>
          <a:xfrm flipV="1">
            <a:off x="2097088" y="4745038"/>
            <a:ext cx="2392362" cy="952500"/>
          </a:xfrm>
          <a:custGeom>
            <a:avLst/>
            <a:gdLst>
              <a:gd name="connsiteX0" fmla="*/ 0 w 3428153"/>
              <a:gd name="connsiteY0" fmla="*/ 1142717 h 1142717"/>
              <a:gd name="connsiteX1" fmla="*/ 857038 w 3428153"/>
              <a:gd name="connsiteY1" fmla="*/ 0 h 1142717"/>
              <a:gd name="connsiteX2" fmla="*/ 2571115 w 3428153"/>
              <a:gd name="connsiteY2" fmla="*/ 0 h 1142717"/>
              <a:gd name="connsiteX3" fmla="*/ 3428153 w 3428153"/>
              <a:gd name="connsiteY3" fmla="*/ 1142717 h 1142717"/>
              <a:gd name="connsiteX4" fmla="*/ 0 w 3428153"/>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8153" h="1142717">
                <a:moveTo>
                  <a:pt x="0" y="1142717"/>
                </a:moveTo>
                <a:lnTo>
                  <a:pt x="857038" y="0"/>
                </a:lnTo>
                <a:lnTo>
                  <a:pt x="2571115" y="0"/>
                </a:lnTo>
                <a:lnTo>
                  <a:pt x="3428153" y="1142717"/>
                </a:lnTo>
                <a:lnTo>
                  <a:pt x="0" y="1142717"/>
                </a:lnTo>
                <a:close/>
              </a:path>
            </a:pathLst>
          </a:custGeom>
          <a:solidFill>
            <a:schemeClr val="accent3"/>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682477" tIns="82550" rIns="682477" bIns="82550" spcCol="1270" anchor="ctr"/>
          <a:lstStyle/>
          <a:p>
            <a:pPr algn="ctr" defTabSz="2889250" eaLnBrk="1" hangingPunct="1">
              <a:defRPr/>
            </a:pPr>
            <a:endParaRPr lang="de-CH" sz="1600" dirty="0"/>
          </a:p>
        </p:txBody>
      </p:sp>
      <p:sp>
        <p:nvSpPr>
          <p:cNvPr id="401" name="Freihandform 16">
            <a:extLst>
              <a:ext uri="{FF2B5EF4-FFF2-40B4-BE49-F238E27FC236}">
                <a16:creationId xmlns:a16="http://schemas.microsoft.com/office/drawing/2014/main" id="{7A9B677F-8944-9FD9-1BFC-37FDD6DB4E55}"/>
              </a:ext>
            </a:extLst>
          </p:cNvPr>
          <p:cNvSpPr/>
          <p:nvPr/>
        </p:nvSpPr>
        <p:spPr>
          <a:xfrm flipV="1">
            <a:off x="1500188" y="3790950"/>
            <a:ext cx="3587750" cy="954088"/>
          </a:xfrm>
          <a:custGeom>
            <a:avLst/>
            <a:gdLst>
              <a:gd name="connsiteX0" fmla="*/ 0 w 5142229"/>
              <a:gd name="connsiteY0" fmla="*/ 1142717 h 1142717"/>
              <a:gd name="connsiteX1" fmla="*/ 857038 w 5142229"/>
              <a:gd name="connsiteY1" fmla="*/ 0 h 1142717"/>
              <a:gd name="connsiteX2" fmla="*/ 4285191 w 5142229"/>
              <a:gd name="connsiteY2" fmla="*/ 0 h 1142717"/>
              <a:gd name="connsiteX3" fmla="*/ 5142229 w 5142229"/>
              <a:gd name="connsiteY3" fmla="*/ 1142717 h 1142717"/>
              <a:gd name="connsiteX4" fmla="*/ 0 w 5142229"/>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2229" h="1142717">
                <a:moveTo>
                  <a:pt x="0" y="1142717"/>
                </a:moveTo>
                <a:lnTo>
                  <a:pt x="857038" y="0"/>
                </a:lnTo>
                <a:lnTo>
                  <a:pt x="4285191" y="0"/>
                </a:lnTo>
                <a:lnTo>
                  <a:pt x="5142229" y="1142717"/>
                </a:lnTo>
                <a:lnTo>
                  <a:pt x="0" y="1142717"/>
                </a:lnTo>
                <a:close/>
              </a:path>
            </a:pathLst>
          </a:custGeom>
          <a:solidFill>
            <a:srgbClr val="65A6FB"/>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82440" tIns="82550" rIns="982440" bIns="82550" spcCol="1270" anchor="ctr"/>
          <a:lstStyle/>
          <a:p>
            <a:pPr algn="ctr" defTabSz="2889250" eaLnBrk="1" hangingPunct="1">
              <a:defRPr/>
            </a:pPr>
            <a:endParaRPr lang="de-CH" sz="1600" dirty="0"/>
          </a:p>
        </p:txBody>
      </p:sp>
      <p:sp>
        <p:nvSpPr>
          <p:cNvPr id="402" name="Freihandform 17">
            <a:extLst>
              <a:ext uri="{FF2B5EF4-FFF2-40B4-BE49-F238E27FC236}">
                <a16:creationId xmlns:a16="http://schemas.microsoft.com/office/drawing/2014/main" id="{9C44EF13-3B4E-8ABA-4FBE-36C08BFD20FE}"/>
              </a:ext>
            </a:extLst>
          </p:cNvPr>
          <p:cNvSpPr/>
          <p:nvPr/>
        </p:nvSpPr>
        <p:spPr>
          <a:xfrm flipV="1">
            <a:off x="901700" y="2838450"/>
            <a:ext cx="4783138" cy="952500"/>
          </a:xfrm>
          <a:custGeom>
            <a:avLst/>
            <a:gdLst>
              <a:gd name="connsiteX0" fmla="*/ 0 w 6856306"/>
              <a:gd name="connsiteY0" fmla="*/ 1142717 h 1142717"/>
              <a:gd name="connsiteX1" fmla="*/ 857038 w 6856306"/>
              <a:gd name="connsiteY1" fmla="*/ 0 h 1142717"/>
              <a:gd name="connsiteX2" fmla="*/ 5999268 w 6856306"/>
              <a:gd name="connsiteY2" fmla="*/ 0 h 1142717"/>
              <a:gd name="connsiteX3" fmla="*/ 6856306 w 6856306"/>
              <a:gd name="connsiteY3" fmla="*/ 1142717 h 1142717"/>
              <a:gd name="connsiteX4" fmla="*/ 0 w 6856306"/>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6306" h="1142717">
                <a:moveTo>
                  <a:pt x="0" y="1142717"/>
                </a:moveTo>
                <a:lnTo>
                  <a:pt x="857038" y="0"/>
                </a:lnTo>
                <a:lnTo>
                  <a:pt x="5999268" y="0"/>
                </a:lnTo>
                <a:lnTo>
                  <a:pt x="6856306" y="1142717"/>
                </a:lnTo>
                <a:lnTo>
                  <a:pt x="0" y="1142717"/>
                </a:lnTo>
                <a:close/>
              </a:path>
            </a:pathLst>
          </a:custGeom>
          <a:solidFill>
            <a:srgbClr val="3D87F5"/>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282403" tIns="82550" rIns="1282404" bIns="82550" spcCol="1270" anchor="ctr"/>
          <a:lstStyle/>
          <a:p>
            <a:pPr algn="ctr" defTabSz="2889250" eaLnBrk="1" hangingPunct="1">
              <a:defRPr/>
            </a:pPr>
            <a:endParaRPr lang="de-CH" sz="1600" dirty="0"/>
          </a:p>
        </p:txBody>
      </p:sp>
      <p:sp>
        <p:nvSpPr>
          <p:cNvPr id="403" name="Freihandform 18">
            <a:extLst>
              <a:ext uri="{FF2B5EF4-FFF2-40B4-BE49-F238E27FC236}">
                <a16:creationId xmlns:a16="http://schemas.microsoft.com/office/drawing/2014/main" id="{777581A8-0FCC-05A7-C413-478A7482A033}"/>
              </a:ext>
            </a:extLst>
          </p:cNvPr>
          <p:cNvSpPr/>
          <p:nvPr/>
        </p:nvSpPr>
        <p:spPr>
          <a:xfrm flipV="1">
            <a:off x="304800" y="1885950"/>
            <a:ext cx="5978525" cy="952500"/>
          </a:xfrm>
          <a:custGeom>
            <a:avLst/>
            <a:gdLst>
              <a:gd name="connsiteX0" fmla="*/ 0 w 8570383"/>
              <a:gd name="connsiteY0" fmla="*/ 1142717 h 1142717"/>
              <a:gd name="connsiteX1" fmla="*/ 857038 w 8570383"/>
              <a:gd name="connsiteY1" fmla="*/ 0 h 1142717"/>
              <a:gd name="connsiteX2" fmla="*/ 7713345 w 8570383"/>
              <a:gd name="connsiteY2" fmla="*/ 0 h 1142717"/>
              <a:gd name="connsiteX3" fmla="*/ 8570383 w 8570383"/>
              <a:gd name="connsiteY3" fmla="*/ 1142717 h 1142717"/>
              <a:gd name="connsiteX4" fmla="*/ 0 w 8570383"/>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0383" h="1142717">
                <a:moveTo>
                  <a:pt x="0" y="1142717"/>
                </a:moveTo>
                <a:lnTo>
                  <a:pt x="857038" y="0"/>
                </a:lnTo>
                <a:lnTo>
                  <a:pt x="7713345" y="0"/>
                </a:lnTo>
                <a:lnTo>
                  <a:pt x="8570383" y="1142717"/>
                </a:lnTo>
                <a:lnTo>
                  <a:pt x="0" y="1142717"/>
                </a:lnTo>
                <a:close/>
              </a:path>
            </a:pathLst>
          </a:custGeom>
          <a:solidFill>
            <a:srgbClr val="1264F3"/>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582367" tIns="82550" rIns="1582368" bIns="82550" spcCol="1270" anchor="ctr"/>
          <a:lstStyle/>
          <a:p>
            <a:pPr algn="ctr" defTabSz="2889250" eaLnBrk="1" hangingPunct="1">
              <a:defRPr/>
            </a:pPr>
            <a:endParaRPr lang="de-CH" sz="1600" dirty="0"/>
          </a:p>
        </p:txBody>
      </p:sp>
      <p:sp>
        <p:nvSpPr>
          <p:cNvPr id="122893" name="Textfeld 26">
            <a:extLst>
              <a:ext uri="{FF2B5EF4-FFF2-40B4-BE49-F238E27FC236}">
                <a16:creationId xmlns:a16="http://schemas.microsoft.com/office/drawing/2014/main" id="{9643A48A-D4F4-58C0-A035-475E21CACA81}"/>
              </a:ext>
            </a:extLst>
          </p:cNvPr>
          <p:cNvSpPr txBox="1">
            <a:spLocks noChangeArrowheads="1"/>
          </p:cNvSpPr>
          <p:nvPr/>
        </p:nvSpPr>
        <p:spPr bwMode="auto">
          <a:xfrm>
            <a:off x="901700" y="1885950"/>
            <a:ext cx="4783138" cy="952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lnSpc>
                <a:spcPct val="105000"/>
              </a:lnSpc>
            </a:pPr>
            <a:r>
              <a:rPr lang="de-CH" altLang="de-DE" dirty="0">
                <a:solidFill>
                  <a:srgbClr val="FFFFFF"/>
                </a:solidFill>
              </a:rPr>
              <a:t>Text</a:t>
            </a:r>
          </a:p>
        </p:txBody>
      </p:sp>
      <p:sp>
        <p:nvSpPr>
          <p:cNvPr id="122894" name="Textfeld 27">
            <a:extLst>
              <a:ext uri="{FF2B5EF4-FFF2-40B4-BE49-F238E27FC236}">
                <a16:creationId xmlns:a16="http://schemas.microsoft.com/office/drawing/2014/main" id="{AD56C2A4-5251-2992-FFF6-822AD6547A05}"/>
              </a:ext>
            </a:extLst>
          </p:cNvPr>
          <p:cNvSpPr txBox="1">
            <a:spLocks noChangeArrowheads="1"/>
          </p:cNvSpPr>
          <p:nvPr/>
        </p:nvSpPr>
        <p:spPr bwMode="auto">
          <a:xfrm>
            <a:off x="1500188" y="2835275"/>
            <a:ext cx="3587750" cy="952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lnSpc>
                <a:spcPct val="105000"/>
              </a:lnSpc>
            </a:pPr>
            <a:r>
              <a:rPr lang="de-CH" altLang="de-DE" dirty="0">
                <a:solidFill>
                  <a:srgbClr val="FFFFFF"/>
                </a:solidFill>
              </a:rPr>
              <a:t>Text</a:t>
            </a:r>
          </a:p>
        </p:txBody>
      </p:sp>
      <p:sp>
        <p:nvSpPr>
          <p:cNvPr id="122895" name="Textfeld 28">
            <a:extLst>
              <a:ext uri="{FF2B5EF4-FFF2-40B4-BE49-F238E27FC236}">
                <a16:creationId xmlns:a16="http://schemas.microsoft.com/office/drawing/2014/main" id="{30AE303E-3CC5-A0D2-AFD5-D92B59471092}"/>
              </a:ext>
            </a:extLst>
          </p:cNvPr>
          <p:cNvSpPr txBox="1">
            <a:spLocks noChangeArrowheads="1"/>
          </p:cNvSpPr>
          <p:nvPr/>
        </p:nvSpPr>
        <p:spPr bwMode="auto">
          <a:xfrm>
            <a:off x="2097088" y="3784600"/>
            <a:ext cx="2392362" cy="954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lnSpc>
                <a:spcPct val="105000"/>
              </a:lnSpc>
            </a:pPr>
            <a:r>
              <a:rPr lang="de-CH" altLang="de-DE" dirty="0"/>
              <a:t>Text</a:t>
            </a:r>
          </a:p>
        </p:txBody>
      </p:sp>
      <p:sp>
        <p:nvSpPr>
          <p:cNvPr id="122896" name="Textfeld 29">
            <a:extLst>
              <a:ext uri="{FF2B5EF4-FFF2-40B4-BE49-F238E27FC236}">
                <a16:creationId xmlns:a16="http://schemas.microsoft.com/office/drawing/2014/main" id="{D11BFDE4-105F-C20D-C180-AA51C6BDEE7D}"/>
              </a:ext>
            </a:extLst>
          </p:cNvPr>
          <p:cNvSpPr txBox="1">
            <a:spLocks noChangeArrowheads="1"/>
          </p:cNvSpPr>
          <p:nvPr/>
        </p:nvSpPr>
        <p:spPr bwMode="auto">
          <a:xfrm>
            <a:off x="2695575" y="5697538"/>
            <a:ext cx="1195388" cy="9540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lnSpc>
                <a:spcPct val="105000"/>
              </a:lnSpc>
            </a:pPr>
            <a:r>
              <a:rPr lang="de-CH" altLang="de-DE" dirty="0"/>
              <a:t>Text</a:t>
            </a:r>
          </a:p>
          <a:p>
            <a:pPr algn="ctr" eaLnBrk="1" hangingPunct="1">
              <a:lnSpc>
                <a:spcPct val="105000"/>
              </a:lnSpc>
            </a:pPr>
            <a:endParaRPr lang="de-CH" altLang="de-DE" dirty="0"/>
          </a:p>
        </p:txBody>
      </p:sp>
      <p:sp>
        <p:nvSpPr>
          <p:cNvPr id="122897" name="Textfeld 30">
            <a:extLst>
              <a:ext uri="{FF2B5EF4-FFF2-40B4-BE49-F238E27FC236}">
                <a16:creationId xmlns:a16="http://schemas.microsoft.com/office/drawing/2014/main" id="{5117A15E-54CD-8D95-56B1-BB23D02FD3E7}"/>
              </a:ext>
            </a:extLst>
          </p:cNvPr>
          <p:cNvSpPr txBox="1">
            <a:spLocks noChangeArrowheads="1"/>
          </p:cNvSpPr>
          <p:nvPr/>
        </p:nvSpPr>
        <p:spPr bwMode="auto">
          <a:xfrm>
            <a:off x="2097088" y="4733925"/>
            <a:ext cx="2390775" cy="954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lnSpc>
                <a:spcPct val="105000"/>
              </a:lnSpc>
            </a:pPr>
            <a:r>
              <a:rPr lang="de-CH" altLang="de-DE" dirty="0"/>
              <a:t>Text</a:t>
            </a: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3906" name="Objekt 4" hidden="1">
            <a:extLst>
              <a:ext uri="{FF2B5EF4-FFF2-40B4-BE49-F238E27FC236}">
                <a16:creationId xmlns:a16="http://schemas.microsoft.com/office/drawing/2014/main" id="{0188F359-96AE-0942-BC26-AFCB5F4ACAC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23906" name="Objekt 4" hidden="1">
                        <a:extLst>
                          <a:ext uri="{FF2B5EF4-FFF2-40B4-BE49-F238E27FC236}">
                            <a16:creationId xmlns:a16="http://schemas.microsoft.com/office/drawing/2014/main" id="{0188F359-96AE-0942-BC26-AFCB5F4ACAC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FE040E37-8A21-D8EE-2BCF-39E2B33FDAA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123908" name="Titel 14">
            <a:extLst>
              <a:ext uri="{FF2B5EF4-FFF2-40B4-BE49-F238E27FC236}">
                <a16:creationId xmlns:a16="http://schemas.microsoft.com/office/drawing/2014/main" id="{97B6F65E-D4D8-8FAF-EE96-728BF480F04F}"/>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Trichter</a:t>
            </a:r>
          </a:p>
        </p:txBody>
      </p:sp>
      <p:sp>
        <p:nvSpPr>
          <p:cNvPr id="123909" name="Foliennummernplatzhalter 9">
            <a:extLst>
              <a:ext uri="{FF2B5EF4-FFF2-40B4-BE49-F238E27FC236}">
                <a16:creationId xmlns:a16="http://schemas.microsoft.com/office/drawing/2014/main" id="{B9DC2CE1-1F67-F180-527B-8A021F17BC22}"/>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92</a:t>
            </a:fld>
            <a:endParaRPr lang="de-CH" altLang="de-DE" sz="1100" dirty="0">
              <a:solidFill>
                <a:srgbClr val="003CB4"/>
              </a:solidFill>
            </a:endParaRPr>
          </a:p>
        </p:txBody>
      </p:sp>
      <p:sp>
        <p:nvSpPr>
          <p:cNvPr id="123910" name="Fußzeilenplatzhalter 8">
            <a:extLst>
              <a:ext uri="{FF2B5EF4-FFF2-40B4-BE49-F238E27FC236}">
                <a16:creationId xmlns:a16="http://schemas.microsoft.com/office/drawing/2014/main" id="{29D075E3-403C-43C8-CCD9-4AC50241B2BC}"/>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23911" name="Inhaltsplatzhalter 5">
            <a:extLst>
              <a:ext uri="{FF2B5EF4-FFF2-40B4-BE49-F238E27FC236}">
                <a16:creationId xmlns:a16="http://schemas.microsoft.com/office/drawing/2014/main" id="{D97F11BC-225D-2847-845C-210E209DD220}"/>
              </a:ext>
            </a:extLst>
          </p:cNvPr>
          <p:cNvSpPr>
            <a:spLocks noGrp="1" noChangeArrowheads="1"/>
          </p:cNvSpPr>
          <p:nvPr>
            <p:ph sz="quarter" idx="13"/>
          </p:nvPr>
        </p:nvSpPr>
        <p:spPr>
          <a:xfrm>
            <a:off x="6572250" y="1885950"/>
            <a:ext cx="5976938" cy="4748213"/>
          </a:xfrm>
        </p:spPr>
        <p:txBody>
          <a:bodyPr/>
          <a:lstStyle/>
          <a:p>
            <a:pPr defTabSz="284163" eaLnBrk="1" hangingPunct="1">
              <a:spcBef>
                <a:spcPct val="0"/>
              </a:spcBef>
              <a:spcAft>
                <a:spcPct val="0"/>
              </a:spcAft>
            </a:pPr>
            <a:r>
              <a:rPr lang="de-CH" altLang="de-DE" b="1" dirty="0">
                <a:cs typeface="Aharoni" panose="020F0502020204030204" pitchFamily="2" charset="-79"/>
              </a:rPr>
              <a:t>Überschrift</a:t>
            </a:r>
          </a:p>
          <a:p>
            <a:pPr lvl="1" eaLnBrk="1" hangingPunct="1">
              <a:spcBef>
                <a:spcPct val="0"/>
              </a:spcBef>
              <a:spcAft>
                <a:spcPct val="0"/>
              </a:spcAft>
            </a:pPr>
            <a:r>
              <a:rPr lang="de-CH" altLang="de-DE" dirty="0">
                <a:cs typeface="Aharoni" panose="020F0502020204030204" pitchFamily="2" charset="-79"/>
              </a:rPr>
              <a:t>Lorem ipsum dolor sit amet, consetetur sadipscing elitr</a:t>
            </a:r>
          </a:p>
          <a:p>
            <a:pPr lvl="1" eaLnBrk="1" hangingPunct="1">
              <a:spcBef>
                <a:spcPct val="0"/>
              </a:spcBef>
              <a:spcAft>
                <a:spcPct val="0"/>
              </a:spcAft>
            </a:pPr>
            <a:r>
              <a:rPr lang="de-CH" altLang="de-DE" dirty="0">
                <a:cs typeface="Aharoni" panose="020F0502020204030204" pitchFamily="2" charset="-79"/>
              </a:rPr>
              <a:t>Lorem ipsum dolor sit amet, consetetur sadipscing elitr.</a:t>
            </a:r>
          </a:p>
          <a:p>
            <a:pPr lvl="1" eaLnBrk="1" hangingPunct="1">
              <a:spcBef>
                <a:spcPct val="0"/>
              </a:spcBef>
              <a:spcAft>
                <a:spcPct val="0"/>
              </a:spcAft>
            </a:pPr>
            <a:endParaRPr lang="de-CH" altLang="de-DE" dirty="0">
              <a:cs typeface="Aharoni" panose="020F0502020204030204" pitchFamily="2" charset="-79"/>
            </a:endParaRPr>
          </a:p>
          <a:p>
            <a:pPr lvl="1"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r>
              <a:rPr lang="de-CH" altLang="de-DE" b="1" dirty="0">
                <a:cs typeface="Aharoni" panose="020F0502020204030204" pitchFamily="2" charset="-79"/>
              </a:rPr>
              <a:t>Überschrift</a:t>
            </a:r>
          </a:p>
          <a:p>
            <a:pPr lvl="1" eaLnBrk="1" hangingPunct="1">
              <a:spcBef>
                <a:spcPct val="0"/>
              </a:spcBef>
              <a:spcAft>
                <a:spcPct val="0"/>
              </a:spcAft>
            </a:pPr>
            <a:r>
              <a:rPr lang="de-CH" altLang="de-DE" dirty="0">
                <a:cs typeface="Aharoni" panose="020F0502020204030204" pitchFamily="2" charset="-79"/>
              </a:rPr>
              <a:t>Lorem ipsum dolor sit amet, consetetur sadipscing elitr</a:t>
            </a:r>
          </a:p>
          <a:p>
            <a:pPr lvl="1" eaLnBrk="1" hangingPunct="1">
              <a:spcBef>
                <a:spcPct val="0"/>
              </a:spcBef>
              <a:spcAft>
                <a:spcPct val="0"/>
              </a:spcAft>
            </a:pPr>
            <a:r>
              <a:rPr lang="de-CH" altLang="de-DE" dirty="0">
                <a:cs typeface="Aharoni" panose="020F0502020204030204" pitchFamily="2" charset="-79"/>
              </a:rPr>
              <a:t>Lorem ipsum dolor sit amet, consetetur sadipscing elitr.</a:t>
            </a:r>
          </a:p>
          <a:p>
            <a:pPr defTabSz="284163" eaLnBrk="1" hangingPunct="1">
              <a:spcBef>
                <a:spcPct val="0"/>
              </a:spcBef>
              <a:spcAft>
                <a:spcPct val="0"/>
              </a:spcAft>
            </a:pPr>
            <a:endParaRPr lang="de-CH" altLang="de-DE" dirty="0">
              <a:cs typeface="Aharoni" panose="020F0502020204030204" pitchFamily="2" charset="-79"/>
            </a:endParaRPr>
          </a:p>
        </p:txBody>
      </p:sp>
      <p:cxnSp>
        <p:nvCxnSpPr>
          <p:cNvPr id="18" name="Gerade Verbindung 9">
            <a:extLst>
              <a:ext uri="{FF2B5EF4-FFF2-40B4-BE49-F238E27FC236}">
                <a16:creationId xmlns:a16="http://schemas.microsoft.com/office/drawing/2014/main" id="{100F6962-179E-678D-417C-2A610DA8C73F}"/>
              </a:ext>
            </a:extLst>
          </p:cNvPr>
          <p:cNvCxnSpPr/>
          <p:nvPr/>
        </p:nvCxnSpPr>
        <p:spPr bwMode="gray">
          <a:xfrm>
            <a:off x="306388" y="1924050"/>
            <a:ext cx="244316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1">
            <a:extLst>
              <a:ext uri="{FF2B5EF4-FFF2-40B4-BE49-F238E27FC236}">
                <a16:creationId xmlns:a16="http://schemas.microsoft.com/office/drawing/2014/main" id="{722A6114-972D-110E-34AB-04945ACB5703}"/>
              </a:ext>
            </a:extLst>
          </p:cNvPr>
          <p:cNvCxnSpPr/>
          <p:nvPr/>
        </p:nvCxnSpPr>
        <p:spPr bwMode="gray">
          <a:xfrm>
            <a:off x="306388" y="2760663"/>
            <a:ext cx="26558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3">
            <a:extLst>
              <a:ext uri="{FF2B5EF4-FFF2-40B4-BE49-F238E27FC236}">
                <a16:creationId xmlns:a16="http://schemas.microsoft.com/office/drawing/2014/main" id="{15998DE5-569E-01E7-AC9A-3AA5E6F48397}"/>
              </a:ext>
            </a:extLst>
          </p:cNvPr>
          <p:cNvCxnSpPr/>
          <p:nvPr/>
        </p:nvCxnSpPr>
        <p:spPr bwMode="gray">
          <a:xfrm>
            <a:off x="306388" y="3597275"/>
            <a:ext cx="28321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5">
            <a:extLst>
              <a:ext uri="{FF2B5EF4-FFF2-40B4-BE49-F238E27FC236}">
                <a16:creationId xmlns:a16="http://schemas.microsoft.com/office/drawing/2014/main" id="{00742668-C351-C97D-27D2-8D1E2BD0DCCC}"/>
              </a:ext>
            </a:extLst>
          </p:cNvPr>
          <p:cNvCxnSpPr/>
          <p:nvPr/>
        </p:nvCxnSpPr>
        <p:spPr bwMode="gray">
          <a:xfrm>
            <a:off x="306388" y="4435475"/>
            <a:ext cx="304641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7">
            <a:extLst>
              <a:ext uri="{FF2B5EF4-FFF2-40B4-BE49-F238E27FC236}">
                <a16:creationId xmlns:a16="http://schemas.microsoft.com/office/drawing/2014/main" id="{3285138C-CBA7-C2DC-B3F9-CCAF4DCD5795}"/>
              </a:ext>
            </a:extLst>
          </p:cNvPr>
          <p:cNvCxnSpPr/>
          <p:nvPr/>
        </p:nvCxnSpPr>
        <p:spPr bwMode="gray">
          <a:xfrm>
            <a:off x="306388" y="5272088"/>
            <a:ext cx="325755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3917" name="Inhaltsplatzhalter 36">
            <a:extLst>
              <a:ext uri="{FF2B5EF4-FFF2-40B4-BE49-F238E27FC236}">
                <a16:creationId xmlns:a16="http://schemas.microsoft.com/office/drawing/2014/main" id="{0A46E17E-7B00-DC1F-9F39-FC2DC4FA3F05}"/>
              </a:ext>
            </a:extLst>
          </p:cNvPr>
          <p:cNvSpPr txBox="1">
            <a:spLocks noChangeArrowheads="1"/>
          </p:cNvSpPr>
          <p:nvPr/>
        </p:nvSpPr>
        <p:spPr bwMode="auto">
          <a:xfrm>
            <a:off x="306388" y="1924050"/>
            <a:ext cx="2406650" cy="31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a:t>
            </a:r>
          </a:p>
        </p:txBody>
      </p:sp>
      <p:sp>
        <p:nvSpPr>
          <p:cNvPr id="123918" name="Inhaltsplatzhalter 36">
            <a:extLst>
              <a:ext uri="{FF2B5EF4-FFF2-40B4-BE49-F238E27FC236}">
                <a16:creationId xmlns:a16="http://schemas.microsoft.com/office/drawing/2014/main" id="{D0CD159A-50BB-03B0-F780-5420F0FD70F0}"/>
              </a:ext>
            </a:extLst>
          </p:cNvPr>
          <p:cNvSpPr txBox="1">
            <a:spLocks noChangeArrowheads="1"/>
          </p:cNvSpPr>
          <p:nvPr/>
        </p:nvSpPr>
        <p:spPr bwMode="auto">
          <a:xfrm>
            <a:off x="306388" y="2760663"/>
            <a:ext cx="2406650" cy="31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a:t>
            </a:r>
          </a:p>
        </p:txBody>
      </p:sp>
      <p:sp>
        <p:nvSpPr>
          <p:cNvPr id="123919" name="Inhaltsplatzhalter 36">
            <a:extLst>
              <a:ext uri="{FF2B5EF4-FFF2-40B4-BE49-F238E27FC236}">
                <a16:creationId xmlns:a16="http://schemas.microsoft.com/office/drawing/2014/main" id="{9309CA88-244F-1840-649A-C06060224C59}"/>
              </a:ext>
            </a:extLst>
          </p:cNvPr>
          <p:cNvSpPr txBox="1">
            <a:spLocks noChangeArrowheads="1"/>
          </p:cNvSpPr>
          <p:nvPr/>
        </p:nvSpPr>
        <p:spPr bwMode="auto">
          <a:xfrm>
            <a:off x="306388" y="3597275"/>
            <a:ext cx="2406650" cy="31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a:t>
            </a:r>
          </a:p>
        </p:txBody>
      </p:sp>
      <p:sp>
        <p:nvSpPr>
          <p:cNvPr id="123920" name="Inhaltsplatzhalter 36">
            <a:extLst>
              <a:ext uri="{FF2B5EF4-FFF2-40B4-BE49-F238E27FC236}">
                <a16:creationId xmlns:a16="http://schemas.microsoft.com/office/drawing/2014/main" id="{152E26B7-7C64-D521-FD7C-95BA5FC52BB0}"/>
              </a:ext>
            </a:extLst>
          </p:cNvPr>
          <p:cNvSpPr txBox="1">
            <a:spLocks noChangeArrowheads="1"/>
          </p:cNvSpPr>
          <p:nvPr/>
        </p:nvSpPr>
        <p:spPr bwMode="auto">
          <a:xfrm>
            <a:off x="306388" y="4435475"/>
            <a:ext cx="2406650"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a:t>
            </a:r>
          </a:p>
        </p:txBody>
      </p:sp>
      <p:sp>
        <p:nvSpPr>
          <p:cNvPr id="123921" name="Inhaltsplatzhalter 36">
            <a:extLst>
              <a:ext uri="{FF2B5EF4-FFF2-40B4-BE49-F238E27FC236}">
                <a16:creationId xmlns:a16="http://schemas.microsoft.com/office/drawing/2014/main" id="{34573ACC-EA91-5C86-E27D-47337F24FE99}"/>
              </a:ext>
            </a:extLst>
          </p:cNvPr>
          <p:cNvSpPr txBox="1">
            <a:spLocks noChangeArrowheads="1"/>
          </p:cNvSpPr>
          <p:nvPr/>
        </p:nvSpPr>
        <p:spPr bwMode="auto">
          <a:xfrm>
            <a:off x="306388" y="5272088"/>
            <a:ext cx="2406650"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a:t>
            </a:r>
          </a:p>
        </p:txBody>
      </p:sp>
      <p:sp>
        <p:nvSpPr>
          <p:cNvPr id="41" name="Trapezoid 40">
            <a:extLst>
              <a:ext uri="{FF2B5EF4-FFF2-40B4-BE49-F238E27FC236}">
                <a16:creationId xmlns:a16="http://schemas.microsoft.com/office/drawing/2014/main" id="{C2021E3B-EF7E-C56D-41FD-01C6F68CABFA}"/>
              </a:ext>
            </a:extLst>
          </p:cNvPr>
          <p:cNvSpPr/>
          <p:nvPr/>
        </p:nvSpPr>
        <p:spPr>
          <a:xfrm flipV="1">
            <a:off x="3659188" y="5272088"/>
            <a:ext cx="1633537" cy="792162"/>
          </a:xfrm>
          <a:prstGeom prst="trapezoid">
            <a:avLst>
              <a:gd name="adj" fmla="val 26341"/>
            </a:avLst>
          </a:prstGeom>
          <a:solidFill>
            <a:srgbClr val="D2E6FE"/>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chemeClr val="dk1"/>
              </a:solidFill>
              <a:latin typeface="Frutiger for ZKB Light" panose="020B0303030504020204" pitchFamily="34" charset="0"/>
            </a:endParaRPr>
          </a:p>
        </p:txBody>
      </p:sp>
      <p:sp>
        <p:nvSpPr>
          <p:cNvPr id="42" name="Trapezoid 41">
            <a:extLst>
              <a:ext uri="{FF2B5EF4-FFF2-40B4-BE49-F238E27FC236}">
                <a16:creationId xmlns:a16="http://schemas.microsoft.com/office/drawing/2014/main" id="{374862C3-487E-2D26-4CD2-EEDC7D55A44B}"/>
              </a:ext>
            </a:extLst>
          </p:cNvPr>
          <p:cNvSpPr/>
          <p:nvPr/>
        </p:nvSpPr>
        <p:spPr>
          <a:xfrm flipV="1">
            <a:off x="3235325" y="3597275"/>
            <a:ext cx="2479675" cy="793750"/>
          </a:xfrm>
          <a:prstGeom prst="trapezoid">
            <a:avLst>
              <a:gd name="adj" fmla="val 25379"/>
            </a:avLst>
          </a:prstGeom>
          <a:solidFill>
            <a:srgbClr val="65A6FB"/>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43" name="Trapezoid 42">
            <a:extLst>
              <a:ext uri="{FF2B5EF4-FFF2-40B4-BE49-F238E27FC236}">
                <a16:creationId xmlns:a16="http://schemas.microsoft.com/office/drawing/2014/main" id="{7BDC9579-B1F8-7307-CDB8-03C1C1358755}"/>
              </a:ext>
            </a:extLst>
          </p:cNvPr>
          <p:cNvSpPr/>
          <p:nvPr/>
        </p:nvSpPr>
        <p:spPr>
          <a:xfrm flipV="1">
            <a:off x="3022600" y="2760663"/>
            <a:ext cx="2906713" cy="793750"/>
          </a:xfrm>
          <a:prstGeom prst="trapezoid">
            <a:avLst>
              <a:gd name="adj" fmla="val 26341"/>
            </a:avLst>
          </a:prstGeom>
          <a:solidFill>
            <a:srgbClr val="3D87F5"/>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44" name="Trapezoid 43">
            <a:extLst>
              <a:ext uri="{FF2B5EF4-FFF2-40B4-BE49-F238E27FC236}">
                <a16:creationId xmlns:a16="http://schemas.microsoft.com/office/drawing/2014/main" id="{6B53E11D-4235-5FFB-0DE5-F1FB78E3CD90}"/>
              </a:ext>
            </a:extLst>
          </p:cNvPr>
          <p:cNvSpPr/>
          <p:nvPr/>
        </p:nvSpPr>
        <p:spPr>
          <a:xfrm flipH="1" flipV="1">
            <a:off x="2811463" y="1924050"/>
            <a:ext cx="3328987" cy="793750"/>
          </a:xfrm>
          <a:prstGeom prst="trapezoid">
            <a:avLst>
              <a:gd name="adj" fmla="val 25540"/>
            </a:avLst>
          </a:prstGeom>
          <a:solidFill>
            <a:srgbClr val="1264F3"/>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defRPr/>
            </a:pPr>
            <a:endParaRPr lang="de-CH" sz="1600" dirty="0">
              <a:solidFill>
                <a:srgbClr val="003CB4"/>
              </a:solidFill>
              <a:latin typeface="Frutiger for ZKB Light" panose="020B0303030504020204" pitchFamily="34" charset="0"/>
            </a:endParaRPr>
          </a:p>
        </p:txBody>
      </p:sp>
      <p:sp>
        <p:nvSpPr>
          <p:cNvPr id="45" name="Trapezoid 44">
            <a:extLst>
              <a:ext uri="{FF2B5EF4-FFF2-40B4-BE49-F238E27FC236}">
                <a16:creationId xmlns:a16="http://schemas.microsoft.com/office/drawing/2014/main" id="{3095EB17-18FE-296E-0879-691EB75CC6CB}"/>
              </a:ext>
            </a:extLst>
          </p:cNvPr>
          <p:cNvSpPr/>
          <p:nvPr/>
        </p:nvSpPr>
        <p:spPr>
          <a:xfrm flipV="1">
            <a:off x="3441700" y="4435475"/>
            <a:ext cx="2068513" cy="792163"/>
          </a:xfrm>
          <a:prstGeom prst="trapezoid">
            <a:avLst>
              <a:gd name="adj" fmla="val 26341"/>
            </a:avLst>
          </a:prstGeom>
          <a:solidFill>
            <a:srgbClr val="A0CAFD"/>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chemeClr val="dk1"/>
              </a:solidFill>
              <a:latin typeface="Frutiger for ZKB Light" panose="020B0303030504020204" pitchFamily="34" charset="0"/>
            </a:endParaRPr>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4930" name="Objekt 4" hidden="1">
            <a:extLst>
              <a:ext uri="{FF2B5EF4-FFF2-40B4-BE49-F238E27FC236}">
                <a16:creationId xmlns:a16="http://schemas.microsoft.com/office/drawing/2014/main" id="{E2DA66E2-F883-310B-179C-2145E6B3BFD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24930" name="Objekt 4" hidden="1">
                        <a:extLst>
                          <a:ext uri="{FF2B5EF4-FFF2-40B4-BE49-F238E27FC236}">
                            <a16:creationId xmlns:a16="http://schemas.microsoft.com/office/drawing/2014/main" id="{E2DA66E2-F883-310B-179C-2145E6B3BFD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2A36C737-5B14-5CD8-390D-68F1BEFEAC6C}"/>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124932" name="Titel 14">
            <a:extLst>
              <a:ext uri="{FF2B5EF4-FFF2-40B4-BE49-F238E27FC236}">
                <a16:creationId xmlns:a16="http://schemas.microsoft.com/office/drawing/2014/main" id="{83A47479-047F-178E-2E3E-B9855855396E}"/>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Trichter-Varianten mit Hervorhebung</a:t>
            </a:r>
          </a:p>
        </p:txBody>
      </p:sp>
      <p:sp>
        <p:nvSpPr>
          <p:cNvPr id="124933" name="Foliennummernplatzhalter 9">
            <a:extLst>
              <a:ext uri="{FF2B5EF4-FFF2-40B4-BE49-F238E27FC236}">
                <a16:creationId xmlns:a16="http://schemas.microsoft.com/office/drawing/2014/main" id="{FBBA8A67-5D69-DFE4-0680-6836C4F92A2E}"/>
              </a:ext>
            </a:extLst>
          </p:cNvPr>
          <p:cNvSpPr>
            <a:spLocks noGrp="1" noChangeArrowheads="1"/>
          </p:cNvSpPr>
          <p:nvPr>
            <p:ph type="sldNum" sz="quarter" idx="13"/>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7D1EFE5-7B74-4DC9-B3A0-DB9AD5FE6CA2}" type="slidenum">
              <a:rPr lang="de-CH" smtClean="0"/>
              <a:pPr>
                <a:spcBef>
                  <a:spcPct val="0"/>
                </a:spcBef>
                <a:spcAft>
                  <a:spcPct val="0"/>
                </a:spcAft>
                <a:defRPr/>
              </a:pPr>
              <a:t>93</a:t>
            </a:fld>
            <a:endParaRPr lang="de-CH" altLang="de-DE" sz="1100" dirty="0">
              <a:solidFill>
                <a:srgbClr val="003CB4"/>
              </a:solidFill>
            </a:endParaRPr>
          </a:p>
        </p:txBody>
      </p:sp>
      <p:sp>
        <p:nvSpPr>
          <p:cNvPr id="124934" name="Fußzeilenplatzhalter 8">
            <a:extLst>
              <a:ext uri="{FF2B5EF4-FFF2-40B4-BE49-F238E27FC236}">
                <a16:creationId xmlns:a16="http://schemas.microsoft.com/office/drawing/2014/main" id="{80F74486-1719-FBE3-A8FF-04546838EB0B}"/>
              </a:ext>
            </a:extLst>
          </p:cNvPr>
          <p:cNvSpPr>
            <a:spLocks noGrp="1" noChangeArrowheads="1"/>
          </p:cNvSpPr>
          <p:nvPr>
            <p:ph type="ftr" sz="quarter" idx="14"/>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24935" name="Textplatzhalter 19">
            <a:extLst>
              <a:ext uri="{FF2B5EF4-FFF2-40B4-BE49-F238E27FC236}">
                <a16:creationId xmlns:a16="http://schemas.microsoft.com/office/drawing/2014/main" id="{563A0A9E-4540-857E-8433-5695D59B5BD6}"/>
              </a:ext>
            </a:extLst>
          </p:cNvPr>
          <p:cNvSpPr>
            <a:spLocks noGrp="1" noChangeArrowheads="1"/>
          </p:cNvSpPr>
          <p:nvPr>
            <p:ph type="body" idx="12"/>
          </p:nvPr>
        </p:nvSpPr>
        <p:spPr>
          <a:xfrm>
            <a:off x="306388" y="1885950"/>
            <a:ext cx="10180637" cy="4748213"/>
          </a:xfrm>
        </p:spPr>
        <p:txBody>
          <a:bodyPr/>
          <a:lstStyle/>
          <a:p>
            <a:pPr defTabSz="284163" eaLnBrk="1" hangingPunct="1">
              <a:spcBef>
                <a:spcPct val="0"/>
              </a:spcBef>
              <a:spcAft>
                <a:spcPct val="0"/>
              </a:spcAft>
            </a:pPr>
            <a:r>
              <a:rPr lang="de-CH" altLang="de-DE" dirty="0">
                <a:cs typeface="Aharoni" panose="020F0502020204030204" pitchFamily="2" charset="-79"/>
              </a:rPr>
              <a:t>Hervorhebung </a:t>
            </a:r>
            <a:br>
              <a:rPr lang="de-CH" altLang="de-DE" dirty="0">
                <a:cs typeface="Aharoni" panose="020F0502020204030204" pitchFamily="2" charset="-79"/>
              </a:rPr>
            </a:br>
            <a:r>
              <a:rPr lang="de-CH" altLang="de-DE" dirty="0">
                <a:cs typeface="Aharoni" panose="020F0502020204030204" pitchFamily="2" charset="-79"/>
              </a:rPr>
              <a:t>z. B. mit Züriblau 400</a:t>
            </a:r>
          </a:p>
          <a:p>
            <a:pPr defTabSz="284163" eaLnBrk="1" hangingPunct="1">
              <a:spcBef>
                <a:spcPct val="0"/>
              </a:spcBef>
              <a:spcAft>
                <a:spcPct val="0"/>
              </a:spcAft>
            </a:pPr>
            <a:endParaRPr lang="de-CH" altLang="de-DE" dirty="0">
              <a:cs typeface="Aharoni" panose="020F0502020204030204" pitchFamily="2" charset="-79"/>
            </a:endParaRPr>
          </a:p>
        </p:txBody>
      </p:sp>
      <p:sp>
        <p:nvSpPr>
          <p:cNvPr id="57" name="Trapezoid 56">
            <a:extLst>
              <a:ext uri="{FF2B5EF4-FFF2-40B4-BE49-F238E27FC236}">
                <a16:creationId xmlns:a16="http://schemas.microsoft.com/office/drawing/2014/main" id="{6482C205-2C05-4B4C-6AB6-B2BDB48CDE9B}"/>
              </a:ext>
            </a:extLst>
          </p:cNvPr>
          <p:cNvSpPr/>
          <p:nvPr/>
        </p:nvSpPr>
        <p:spPr>
          <a:xfrm flipV="1">
            <a:off x="10225088" y="4367213"/>
            <a:ext cx="1882775" cy="1552575"/>
          </a:xfrm>
          <a:prstGeom prst="trapezoid">
            <a:avLst>
              <a:gd name="adj" fmla="val 25577"/>
            </a:avLst>
          </a:prstGeom>
          <a:solidFill>
            <a:srgbClr val="D2E6FE"/>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59" name="Trapezoid 58">
            <a:extLst>
              <a:ext uri="{FF2B5EF4-FFF2-40B4-BE49-F238E27FC236}">
                <a16:creationId xmlns:a16="http://schemas.microsoft.com/office/drawing/2014/main" id="{B08F2DB6-AC28-C918-5FC0-A76B0E8E3BCD}"/>
              </a:ext>
            </a:extLst>
          </p:cNvPr>
          <p:cNvSpPr/>
          <p:nvPr/>
        </p:nvSpPr>
        <p:spPr>
          <a:xfrm flipV="1">
            <a:off x="9769475" y="2625725"/>
            <a:ext cx="2790825" cy="1690688"/>
          </a:xfrm>
          <a:prstGeom prst="trapezoid">
            <a:avLst>
              <a:gd name="adj" fmla="val 26341"/>
            </a:avLst>
          </a:prstGeom>
          <a:solidFill>
            <a:srgbClr val="D2E6FE"/>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8" name="Trapezoid 7">
            <a:extLst>
              <a:ext uri="{FF2B5EF4-FFF2-40B4-BE49-F238E27FC236}">
                <a16:creationId xmlns:a16="http://schemas.microsoft.com/office/drawing/2014/main" id="{B5BC7E8C-C778-0C6E-43C5-CA1FEFB6496D}"/>
              </a:ext>
            </a:extLst>
          </p:cNvPr>
          <p:cNvSpPr/>
          <p:nvPr/>
        </p:nvSpPr>
        <p:spPr>
          <a:xfrm flipV="1">
            <a:off x="4146550" y="5133975"/>
            <a:ext cx="1465263" cy="785813"/>
          </a:xfrm>
          <a:prstGeom prst="trapezoid">
            <a:avLst>
              <a:gd name="adj" fmla="val 26341"/>
            </a:avLst>
          </a:prstGeom>
          <a:solidFill>
            <a:srgbClr val="D2E6FE"/>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41" name="Trapezoid 40">
            <a:extLst>
              <a:ext uri="{FF2B5EF4-FFF2-40B4-BE49-F238E27FC236}">
                <a16:creationId xmlns:a16="http://schemas.microsoft.com/office/drawing/2014/main" id="{0AACE807-B0FB-9407-D879-FEF2297FB800}"/>
              </a:ext>
            </a:extLst>
          </p:cNvPr>
          <p:cNvSpPr/>
          <p:nvPr/>
        </p:nvSpPr>
        <p:spPr>
          <a:xfrm flipV="1">
            <a:off x="3924300" y="4297363"/>
            <a:ext cx="1911350" cy="785812"/>
          </a:xfrm>
          <a:prstGeom prst="trapezoid">
            <a:avLst>
              <a:gd name="adj" fmla="val 26341"/>
            </a:avLst>
          </a:prstGeom>
          <a:solidFill>
            <a:srgbClr val="D2E6FE"/>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42" name="Trapezoid 41">
            <a:extLst>
              <a:ext uri="{FF2B5EF4-FFF2-40B4-BE49-F238E27FC236}">
                <a16:creationId xmlns:a16="http://schemas.microsoft.com/office/drawing/2014/main" id="{CF67D00D-25E2-48AD-A54C-279D56D3C6F9}"/>
              </a:ext>
            </a:extLst>
          </p:cNvPr>
          <p:cNvSpPr/>
          <p:nvPr/>
        </p:nvSpPr>
        <p:spPr>
          <a:xfrm flipV="1">
            <a:off x="3698875" y="3462338"/>
            <a:ext cx="2360613" cy="785812"/>
          </a:xfrm>
          <a:prstGeom prst="trapezoid">
            <a:avLst>
              <a:gd name="adj" fmla="val 26341"/>
            </a:avLst>
          </a:prstGeom>
          <a:solidFill>
            <a:srgbClr val="D2E6FE"/>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43" name="Trapezoid 42">
            <a:extLst>
              <a:ext uri="{FF2B5EF4-FFF2-40B4-BE49-F238E27FC236}">
                <a16:creationId xmlns:a16="http://schemas.microsoft.com/office/drawing/2014/main" id="{C4209DB9-E935-200D-3485-9954B36B1476}"/>
              </a:ext>
            </a:extLst>
          </p:cNvPr>
          <p:cNvSpPr/>
          <p:nvPr/>
        </p:nvSpPr>
        <p:spPr>
          <a:xfrm flipV="1">
            <a:off x="3479800" y="2625725"/>
            <a:ext cx="2798763" cy="785813"/>
          </a:xfrm>
          <a:prstGeom prst="trapezoid">
            <a:avLst>
              <a:gd name="adj" fmla="val 26341"/>
            </a:avLst>
          </a:prstGeom>
          <a:solidFill>
            <a:srgbClr val="D2E6FE"/>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45" name="Trapezoid 44">
            <a:extLst>
              <a:ext uri="{FF2B5EF4-FFF2-40B4-BE49-F238E27FC236}">
                <a16:creationId xmlns:a16="http://schemas.microsoft.com/office/drawing/2014/main" id="{B5F43215-9951-B5EA-1371-13E2E12DF0C6}"/>
              </a:ext>
            </a:extLst>
          </p:cNvPr>
          <p:cNvSpPr/>
          <p:nvPr/>
        </p:nvSpPr>
        <p:spPr>
          <a:xfrm flipV="1">
            <a:off x="996950" y="5310188"/>
            <a:ext cx="1373188" cy="609600"/>
          </a:xfrm>
          <a:prstGeom prst="trapezoid">
            <a:avLst>
              <a:gd name="adj" fmla="val 26341"/>
            </a:avLst>
          </a:prstGeom>
          <a:solidFill>
            <a:schemeClr val="accent2"/>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chemeClr val="dk1"/>
              </a:solidFill>
              <a:latin typeface="Frutiger for ZKB Light" panose="020B0303030504020204" pitchFamily="34" charset="0"/>
            </a:endParaRPr>
          </a:p>
        </p:txBody>
      </p:sp>
      <p:sp>
        <p:nvSpPr>
          <p:cNvPr id="46" name="Trapezoid 45">
            <a:extLst>
              <a:ext uri="{FF2B5EF4-FFF2-40B4-BE49-F238E27FC236}">
                <a16:creationId xmlns:a16="http://schemas.microsoft.com/office/drawing/2014/main" id="{EF5ED940-EA9D-E318-F4AE-0BAA6CA9A9D8}"/>
              </a:ext>
            </a:extLst>
          </p:cNvPr>
          <p:cNvSpPr/>
          <p:nvPr/>
        </p:nvSpPr>
        <p:spPr>
          <a:xfrm flipV="1">
            <a:off x="638175" y="3967163"/>
            <a:ext cx="2089150" cy="611187"/>
          </a:xfrm>
          <a:prstGeom prst="trapezoid">
            <a:avLst>
              <a:gd name="adj" fmla="val 26341"/>
            </a:avLst>
          </a:prstGeom>
          <a:solidFill>
            <a:schemeClr val="accent2"/>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chemeClr val="dk1"/>
              </a:solidFill>
              <a:latin typeface="Frutiger for ZKB Light" panose="020B0303030504020204" pitchFamily="34" charset="0"/>
            </a:endParaRPr>
          </a:p>
        </p:txBody>
      </p:sp>
      <p:sp>
        <p:nvSpPr>
          <p:cNvPr id="47" name="Trapezoid 46">
            <a:extLst>
              <a:ext uri="{FF2B5EF4-FFF2-40B4-BE49-F238E27FC236}">
                <a16:creationId xmlns:a16="http://schemas.microsoft.com/office/drawing/2014/main" id="{6EC6AC3F-F48D-4F66-7495-9DD694E96858}"/>
              </a:ext>
            </a:extLst>
          </p:cNvPr>
          <p:cNvSpPr/>
          <p:nvPr/>
        </p:nvSpPr>
        <p:spPr>
          <a:xfrm flipV="1">
            <a:off x="460375" y="3297238"/>
            <a:ext cx="2446338" cy="609600"/>
          </a:xfrm>
          <a:prstGeom prst="trapezoid">
            <a:avLst>
              <a:gd name="adj" fmla="val 26341"/>
            </a:avLst>
          </a:prstGeom>
          <a:solidFill>
            <a:srgbClr val="3D87F5"/>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chemeClr val="dk1"/>
              </a:solidFill>
              <a:latin typeface="Frutiger for ZKB Light" panose="020B0303030504020204" pitchFamily="34" charset="0"/>
            </a:endParaRPr>
          </a:p>
        </p:txBody>
      </p:sp>
      <p:sp>
        <p:nvSpPr>
          <p:cNvPr id="48" name="Trapezoid 47">
            <a:extLst>
              <a:ext uri="{FF2B5EF4-FFF2-40B4-BE49-F238E27FC236}">
                <a16:creationId xmlns:a16="http://schemas.microsoft.com/office/drawing/2014/main" id="{1EECAD13-DCBB-579F-FBB4-6371AAF4119D}"/>
              </a:ext>
            </a:extLst>
          </p:cNvPr>
          <p:cNvSpPr/>
          <p:nvPr/>
        </p:nvSpPr>
        <p:spPr>
          <a:xfrm flipV="1">
            <a:off x="284163" y="2625725"/>
            <a:ext cx="2798762" cy="611188"/>
          </a:xfrm>
          <a:prstGeom prst="trapezoid">
            <a:avLst>
              <a:gd name="adj" fmla="val 26341"/>
            </a:avLst>
          </a:prstGeom>
          <a:solidFill>
            <a:schemeClr val="accent2"/>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chemeClr val="dk1"/>
              </a:solidFill>
              <a:latin typeface="Frutiger for ZKB Light" panose="020B0303030504020204" pitchFamily="34" charset="0"/>
            </a:endParaRPr>
          </a:p>
        </p:txBody>
      </p:sp>
      <p:sp>
        <p:nvSpPr>
          <p:cNvPr id="49" name="Trapezoid 48">
            <a:extLst>
              <a:ext uri="{FF2B5EF4-FFF2-40B4-BE49-F238E27FC236}">
                <a16:creationId xmlns:a16="http://schemas.microsoft.com/office/drawing/2014/main" id="{6C7B748B-AC46-2E75-5124-5890046DBDE3}"/>
              </a:ext>
            </a:extLst>
          </p:cNvPr>
          <p:cNvSpPr/>
          <p:nvPr/>
        </p:nvSpPr>
        <p:spPr>
          <a:xfrm flipV="1">
            <a:off x="812800" y="4638675"/>
            <a:ext cx="1739900" cy="609600"/>
          </a:xfrm>
          <a:prstGeom prst="trapezoid">
            <a:avLst>
              <a:gd name="adj" fmla="val 26341"/>
            </a:avLst>
          </a:prstGeom>
          <a:solidFill>
            <a:schemeClr val="accent2"/>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chemeClr val="dk1"/>
              </a:solidFill>
              <a:latin typeface="Frutiger for ZKB Light" panose="020B0303030504020204" pitchFamily="34" charset="0"/>
            </a:endParaRPr>
          </a:p>
        </p:txBody>
      </p:sp>
      <p:sp>
        <p:nvSpPr>
          <p:cNvPr id="52" name="Trapezoid 51">
            <a:extLst>
              <a:ext uri="{FF2B5EF4-FFF2-40B4-BE49-F238E27FC236}">
                <a16:creationId xmlns:a16="http://schemas.microsoft.com/office/drawing/2014/main" id="{8ABAEA3C-A606-DBCD-476E-75AE7A85A0E0}"/>
              </a:ext>
            </a:extLst>
          </p:cNvPr>
          <p:cNvSpPr/>
          <p:nvPr/>
        </p:nvSpPr>
        <p:spPr>
          <a:xfrm flipV="1">
            <a:off x="7331075" y="5143500"/>
            <a:ext cx="1465263" cy="776288"/>
          </a:xfrm>
          <a:prstGeom prst="trapezoid">
            <a:avLst>
              <a:gd name="adj" fmla="val 26341"/>
            </a:avLst>
          </a:prstGeom>
          <a:solidFill>
            <a:srgbClr val="D2E6FE"/>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54" name="Trapezoid 53">
            <a:extLst>
              <a:ext uri="{FF2B5EF4-FFF2-40B4-BE49-F238E27FC236}">
                <a16:creationId xmlns:a16="http://schemas.microsoft.com/office/drawing/2014/main" id="{BA2A1A49-132A-E664-5815-9A515F8CFBE8}"/>
              </a:ext>
            </a:extLst>
          </p:cNvPr>
          <p:cNvSpPr/>
          <p:nvPr/>
        </p:nvSpPr>
        <p:spPr>
          <a:xfrm flipV="1">
            <a:off x="6981825" y="3881438"/>
            <a:ext cx="2163763" cy="1211262"/>
          </a:xfrm>
          <a:prstGeom prst="trapezoid">
            <a:avLst>
              <a:gd name="adj" fmla="val 28018"/>
            </a:avLst>
          </a:prstGeom>
          <a:solidFill>
            <a:srgbClr val="D2E6FE"/>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55" name="Trapezoid 54">
            <a:extLst>
              <a:ext uri="{FF2B5EF4-FFF2-40B4-BE49-F238E27FC236}">
                <a16:creationId xmlns:a16="http://schemas.microsoft.com/office/drawing/2014/main" id="{72A91F90-E667-848D-8598-966DB87AC621}"/>
              </a:ext>
            </a:extLst>
          </p:cNvPr>
          <p:cNvSpPr/>
          <p:nvPr/>
        </p:nvSpPr>
        <p:spPr>
          <a:xfrm flipV="1">
            <a:off x="6653213" y="2625725"/>
            <a:ext cx="2820987" cy="1204913"/>
          </a:xfrm>
          <a:prstGeom prst="trapezoid">
            <a:avLst>
              <a:gd name="adj" fmla="val 26341"/>
            </a:avLst>
          </a:prstGeom>
          <a:solidFill>
            <a:srgbClr val="D2E6FE"/>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124950" name="Textfeld 24">
            <a:extLst>
              <a:ext uri="{FF2B5EF4-FFF2-40B4-BE49-F238E27FC236}">
                <a16:creationId xmlns:a16="http://schemas.microsoft.com/office/drawing/2014/main" id="{8E897D8D-562C-B45D-D39D-03098C23191F}"/>
              </a:ext>
            </a:extLst>
          </p:cNvPr>
          <p:cNvSpPr txBox="1">
            <a:spLocks noChangeArrowheads="1"/>
          </p:cNvSpPr>
          <p:nvPr/>
        </p:nvSpPr>
        <p:spPr bwMode="auto">
          <a:xfrm>
            <a:off x="517525" y="2819400"/>
            <a:ext cx="2332038" cy="223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 ipsum</a:t>
            </a:r>
          </a:p>
        </p:txBody>
      </p:sp>
      <p:sp>
        <p:nvSpPr>
          <p:cNvPr id="124951" name="Textfeld 25">
            <a:extLst>
              <a:ext uri="{FF2B5EF4-FFF2-40B4-BE49-F238E27FC236}">
                <a16:creationId xmlns:a16="http://schemas.microsoft.com/office/drawing/2014/main" id="{B5099CED-FD1B-D55E-8616-DEB882682A73}"/>
              </a:ext>
            </a:extLst>
          </p:cNvPr>
          <p:cNvSpPr txBox="1">
            <a:spLocks noChangeArrowheads="1"/>
          </p:cNvSpPr>
          <p:nvPr/>
        </p:nvSpPr>
        <p:spPr bwMode="auto">
          <a:xfrm>
            <a:off x="647700" y="3490913"/>
            <a:ext cx="2070100" cy="222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FFFFFF"/>
                </a:solidFill>
                <a:latin typeface="Frutiger for ZKB Light" panose="020B0303030504020204" pitchFamily="34" charset="0"/>
              </a:rPr>
              <a:t>Lorem ipsum</a:t>
            </a:r>
          </a:p>
        </p:txBody>
      </p:sp>
      <p:sp>
        <p:nvSpPr>
          <p:cNvPr id="124952" name="Textfeld 26">
            <a:extLst>
              <a:ext uri="{FF2B5EF4-FFF2-40B4-BE49-F238E27FC236}">
                <a16:creationId xmlns:a16="http://schemas.microsoft.com/office/drawing/2014/main" id="{2E70F1B0-A0C1-664A-DAE5-2A70A0DD0E88}"/>
              </a:ext>
            </a:extLst>
          </p:cNvPr>
          <p:cNvSpPr txBox="1">
            <a:spLocks noChangeArrowheads="1"/>
          </p:cNvSpPr>
          <p:nvPr/>
        </p:nvSpPr>
        <p:spPr bwMode="auto">
          <a:xfrm>
            <a:off x="904875" y="4160838"/>
            <a:ext cx="1557338" cy="223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 ipsum</a:t>
            </a:r>
          </a:p>
        </p:txBody>
      </p:sp>
      <p:sp>
        <p:nvSpPr>
          <p:cNvPr id="124953" name="Textfeld 27">
            <a:extLst>
              <a:ext uri="{FF2B5EF4-FFF2-40B4-BE49-F238E27FC236}">
                <a16:creationId xmlns:a16="http://schemas.microsoft.com/office/drawing/2014/main" id="{0E8A0373-5571-5F6F-9BF4-16E398AD83A9}"/>
              </a:ext>
            </a:extLst>
          </p:cNvPr>
          <p:cNvSpPr txBox="1">
            <a:spLocks noChangeArrowheads="1"/>
          </p:cNvSpPr>
          <p:nvPr/>
        </p:nvSpPr>
        <p:spPr bwMode="auto">
          <a:xfrm>
            <a:off x="1039813" y="4832350"/>
            <a:ext cx="1285875" cy="222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 ipsum</a:t>
            </a:r>
          </a:p>
        </p:txBody>
      </p:sp>
      <p:sp>
        <p:nvSpPr>
          <p:cNvPr id="124954" name="Textfeld 28">
            <a:extLst>
              <a:ext uri="{FF2B5EF4-FFF2-40B4-BE49-F238E27FC236}">
                <a16:creationId xmlns:a16="http://schemas.microsoft.com/office/drawing/2014/main" id="{6A329ADC-713E-51F3-73FD-71CBBFD29000}"/>
              </a:ext>
            </a:extLst>
          </p:cNvPr>
          <p:cNvSpPr txBox="1">
            <a:spLocks noChangeArrowheads="1"/>
          </p:cNvSpPr>
          <p:nvPr/>
        </p:nvSpPr>
        <p:spPr bwMode="auto">
          <a:xfrm>
            <a:off x="1208088" y="5503863"/>
            <a:ext cx="950912" cy="222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a:t>
            </a:r>
          </a:p>
        </p:txBody>
      </p:sp>
      <p:sp>
        <p:nvSpPr>
          <p:cNvPr id="124955" name="Textfeld 30">
            <a:extLst>
              <a:ext uri="{FF2B5EF4-FFF2-40B4-BE49-F238E27FC236}">
                <a16:creationId xmlns:a16="http://schemas.microsoft.com/office/drawing/2014/main" id="{3D6360CF-4F37-DC6F-DD16-AD5573D36D75}"/>
              </a:ext>
            </a:extLst>
          </p:cNvPr>
          <p:cNvSpPr txBox="1">
            <a:spLocks noChangeArrowheads="1"/>
          </p:cNvSpPr>
          <p:nvPr/>
        </p:nvSpPr>
        <p:spPr bwMode="auto">
          <a:xfrm>
            <a:off x="3713163" y="2906713"/>
            <a:ext cx="2332037" cy="223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 ipsum</a:t>
            </a:r>
          </a:p>
        </p:txBody>
      </p:sp>
      <p:sp>
        <p:nvSpPr>
          <p:cNvPr id="124956" name="Textfeld 31">
            <a:extLst>
              <a:ext uri="{FF2B5EF4-FFF2-40B4-BE49-F238E27FC236}">
                <a16:creationId xmlns:a16="http://schemas.microsoft.com/office/drawing/2014/main" id="{5C7E9E00-7339-F5CC-C0B9-46D499CFBD54}"/>
              </a:ext>
            </a:extLst>
          </p:cNvPr>
          <p:cNvSpPr txBox="1">
            <a:spLocks noChangeArrowheads="1"/>
          </p:cNvSpPr>
          <p:nvPr/>
        </p:nvSpPr>
        <p:spPr bwMode="auto">
          <a:xfrm>
            <a:off x="3844925" y="3743325"/>
            <a:ext cx="2070100" cy="223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 ipsum</a:t>
            </a:r>
          </a:p>
        </p:txBody>
      </p:sp>
      <p:sp>
        <p:nvSpPr>
          <p:cNvPr id="124957" name="Textfeld 32">
            <a:extLst>
              <a:ext uri="{FF2B5EF4-FFF2-40B4-BE49-F238E27FC236}">
                <a16:creationId xmlns:a16="http://schemas.microsoft.com/office/drawing/2014/main" id="{DBC0AA9D-4A6D-3F1D-3690-24892009072E}"/>
              </a:ext>
            </a:extLst>
          </p:cNvPr>
          <p:cNvSpPr txBox="1">
            <a:spLocks noChangeArrowheads="1"/>
          </p:cNvSpPr>
          <p:nvPr/>
        </p:nvSpPr>
        <p:spPr bwMode="auto">
          <a:xfrm>
            <a:off x="4100513" y="4579938"/>
            <a:ext cx="1557337" cy="222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 ipsum</a:t>
            </a:r>
          </a:p>
        </p:txBody>
      </p:sp>
      <p:sp>
        <p:nvSpPr>
          <p:cNvPr id="124958" name="Textfeld 33">
            <a:extLst>
              <a:ext uri="{FF2B5EF4-FFF2-40B4-BE49-F238E27FC236}">
                <a16:creationId xmlns:a16="http://schemas.microsoft.com/office/drawing/2014/main" id="{8DB18184-EF08-8B7F-6BD5-5D690490EE68}"/>
              </a:ext>
            </a:extLst>
          </p:cNvPr>
          <p:cNvSpPr txBox="1">
            <a:spLocks noChangeArrowheads="1"/>
          </p:cNvSpPr>
          <p:nvPr/>
        </p:nvSpPr>
        <p:spPr bwMode="auto">
          <a:xfrm>
            <a:off x="4237038" y="5414963"/>
            <a:ext cx="1285875" cy="223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a:t>
            </a:r>
          </a:p>
        </p:txBody>
      </p:sp>
      <p:sp>
        <p:nvSpPr>
          <p:cNvPr id="124959" name="Textfeld 34">
            <a:extLst>
              <a:ext uri="{FF2B5EF4-FFF2-40B4-BE49-F238E27FC236}">
                <a16:creationId xmlns:a16="http://schemas.microsoft.com/office/drawing/2014/main" id="{B27D7BBC-743F-1B0A-23FA-7C1BCFBBE5CB}"/>
              </a:ext>
            </a:extLst>
          </p:cNvPr>
          <p:cNvSpPr txBox="1">
            <a:spLocks noChangeArrowheads="1"/>
          </p:cNvSpPr>
          <p:nvPr/>
        </p:nvSpPr>
        <p:spPr bwMode="auto">
          <a:xfrm>
            <a:off x="6897688" y="3116263"/>
            <a:ext cx="2332037" cy="223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 ipsum</a:t>
            </a:r>
          </a:p>
        </p:txBody>
      </p:sp>
      <p:sp>
        <p:nvSpPr>
          <p:cNvPr id="124960" name="Textfeld 35">
            <a:extLst>
              <a:ext uri="{FF2B5EF4-FFF2-40B4-BE49-F238E27FC236}">
                <a16:creationId xmlns:a16="http://schemas.microsoft.com/office/drawing/2014/main" id="{79219F7A-6464-5813-8744-3D52DCCCB15F}"/>
              </a:ext>
            </a:extLst>
          </p:cNvPr>
          <p:cNvSpPr txBox="1">
            <a:spLocks noChangeArrowheads="1"/>
          </p:cNvSpPr>
          <p:nvPr/>
        </p:nvSpPr>
        <p:spPr bwMode="auto">
          <a:xfrm>
            <a:off x="7029450" y="4375150"/>
            <a:ext cx="2070100" cy="222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 ipsum</a:t>
            </a:r>
          </a:p>
        </p:txBody>
      </p:sp>
      <p:sp>
        <p:nvSpPr>
          <p:cNvPr id="124961" name="Textfeld 36">
            <a:extLst>
              <a:ext uri="{FF2B5EF4-FFF2-40B4-BE49-F238E27FC236}">
                <a16:creationId xmlns:a16="http://schemas.microsoft.com/office/drawing/2014/main" id="{FF164344-A4AF-E8E7-A8E3-EC8B41B41525}"/>
              </a:ext>
            </a:extLst>
          </p:cNvPr>
          <p:cNvSpPr txBox="1">
            <a:spLocks noChangeArrowheads="1"/>
          </p:cNvSpPr>
          <p:nvPr/>
        </p:nvSpPr>
        <p:spPr bwMode="auto">
          <a:xfrm>
            <a:off x="7488238" y="5419725"/>
            <a:ext cx="1150937" cy="223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a:t>
            </a:r>
          </a:p>
        </p:txBody>
      </p:sp>
      <p:sp>
        <p:nvSpPr>
          <p:cNvPr id="124962" name="Textfeld 37">
            <a:extLst>
              <a:ext uri="{FF2B5EF4-FFF2-40B4-BE49-F238E27FC236}">
                <a16:creationId xmlns:a16="http://schemas.microsoft.com/office/drawing/2014/main" id="{CFD5E42D-A083-52BE-9A20-31CFFCD25C10}"/>
              </a:ext>
            </a:extLst>
          </p:cNvPr>
          <p:cNvSpPr txBox="1">
            <a:spLocks noChangeArrowheads="1"/>
          </p:cNvSpPr>
          <p:nvPr/>
        </p:nvSpPr>
        <p:spPr bwMode="auto">
          <a:xfrm>
            <a:off x="9999663" y="3359150"/>
            <a:ext cx="2330450" cy="223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 ipsum</a:t>
            </a:r>
          </a:p>
        </p:txBody>
      </p:sp>
      <p:sp>
        <p:nvSpPr>
          <p:cNvPr id="124963" name="Textfeld 38">
            <a:extLst>
              <a:ext uri="{FF2B5EF4-FFF2-40B4-BE49-F238E27FC236}">
                <a16:creationId xmlns:a16="http://schemas.microsoft.com/office/drawing/2014/main" id="{C767F0EF-92EB-A804-F50C-ED53C254DB43}"/>
              </a:ext>
            </a:extLst>
          </p:cNvPr>
          <p:cNvSpPr txBox="1">
            <a:spLocks noChangeArrowheads="1"/>
          </p:cNvSpPr>
          <p:nvPr/>
        </p:nvSpPr>
        <p:spPr bwMode="auto">
          <a:xfrm>
            <a:off x="10507663" y="4981575"/>
            <a:ext cx="1349375" cy="222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 ipsum</a:t>
            </a:r>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954" name="think-cell data - do not delete" hidden="1">
            <a:extLst>
              <a:ext uri="{FF2B5EF4-FFF2-40B4-BE49-F238E27FC236}">
                <a16:creationId xmlns:a16="http://schemas.microsoft.com/office/drawing/2014/main" id="{02A870A4-DF9C-2D00-82CE-D65A6E411A1E}"/>
              </a:ext>
            </a:extLst>
          </p:cNvPr>
          <p:cNvGraphicFramePr>
            <a:graphicFrameLocks noChangeAspect="1"/>
          </p:cNvGraphicFramePr>
          <p:nvPr>
            <p:custDataLst>
              <p:tags r:id="rId1"/>
            </p:custDataLst>
            <p:extLst>
              <p:ext uri="{D42A27DB-BD31-4B8C-83A1-F6EECF244321}">
                <p14:modId xmlns:p14="http://schemas.microsoft.com/office/powerpoint/2010/main" val="37248333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25954" name="think-cell data - do not delete" hidden="1">
                        <a:extLst>
                          <a:ext uri="{FF2B5EF4-FFF2-40B4-BE49-F238E27FC236}">
                            <a16:creationId xmlns:a16="http://schemas.microsoft.com/office/drawing/2014/main" id="{02A870A4-DF9C-2D00-82CE-D65A6E411A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Grafik 4">
            <a:extLst>
              <a:ext uri="{FF2B5EF4-FFF2-40B4-BE49-F238E27FC236}">
                <a16:creationId xmlns:a16="http://schemas.microsoft.com/office/drawing/2014/main" id="{26A9BFA3-39B8-84B2-CD8C-26E9EE42200D}"/>
              </a:ext>
            </a:extLst>
          </p:cNvPr>
          <p:cNvPicPr>
            <a:picLocks noChangeAspect="1"/>
          </p:cNvPicPr>
          <p:nvPr/>
        </p:nvPicPr>
        <p:blipFill>
          <a:blip r:embed="rId5"/>
          <a:stretch>
            <a:fillRect/>
          </a:stretch>
        </p:blipFill>
        <p:spPr>
          <a:xfrm>
            <a:off x="7942582" y="1733093"/>
            <a:ext cx="3667431" cy="4570413"/>
          </a:xfrm>
          <a:prstGeom prst="rect">
            <a:avLst/>
          </a:prstGeom>
        </p:spPr>
      </p:pic>
      <p:sp>
        <p:nvSpPr>
          <p:cNvPr id="125955" name="Titel 48">
            <a:extLst>
              <a:ext uri="{FF2B5EF4-FFF2-40B4-BE49-F238E27FC236}">
                <a16:creationId xmlns:a16="http://schemas.microsoft.com/office/drawing/2014/main" id="{431B6C3B-21C7-B1BB-C449-D7412236FE4A}"/>
              </a:ext>
            </a:extLst>
          </p:cNvPr>
          <p:cNvSpPr>
            <a:spLocks noGrp="1" noChangeArrowheads="1"/>
          </p:cNvSpPr>
          <p:nvPr>
            <p:ph type="title"/>
          </p:nvPr>
        </p:nvSpPr>
        <p:spPr/>
        <p:txBody>
          <a:bodyPr vert="horz"/>
          <a:lstStyle/>
          <a:p>
            <a:pPr eaLnBrk="1" hangingPunct="1">
              <a:spcBef>
                <a:spcPct val="0"/>
              </a:spcBef>
              <a:spcAft>
                <a:spcPct val="0"/>
              </a:spcAft>
            </a:pPr>
            <a:r>
              <a:rPr lang="de-CH" altLang="de-DE" dirty="0"/>
              <a:t>Kanton Zürich</a:t>
            </a:r>
          </a:p>
        </p:txBody>
      </p:sp>
      <p:sp>
        <p:nvSpPr>
          <p:cNvPr id="125956" name="Foliennummernplatzhalter 2">
            <a:extLst>
              <a:ext uri="{FF2B5EF4-FFF2-40B4-BE49-F238E27FC236}">
                <a16:creationId xmlns:a16="http://schemas.microsoft.com/office/drawing/2014/main" id="{6A14132E-F6C4-6ED6-53C0-C9F9ACF7D468}"/>
              </a:ext>
            </a:extLst>
          </p:cNvPr>
          <p:cNvSpPr>
            <a:spLocks noGrp="1" noChangeArrowheads="1"/>
          </p:cNvSpPr>
          <p:nvPr>
            <p:ph type="sldNum" sz="quarter" idx="10"/>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1B41B96-C24D-47CE-B205-C22431F12D8E}" type="slidenum">
              <a:rPr lang="de-CH" smtClean="0"/>
              <a:pPr>
                <a:spcBef>
                  <a:spcPct val="0"/>
                </a:spcBef>
                <a:spcAft>
                  <a:spcPct val="0"/>
                </a:spcAft>
                <a:defRPr/>
              </a:pPr>
              <a:t>94</a:t>
            </a:fld>
            <a:endParaRPr lang="de-CH" altLang="de-DE" sz="1100" dirty="0">
              <a:solidFill>
                <a:srgbClr val="003CB4"/>
              </a:solidFill>
            </a:endParaRPr>
          </a:p>
        </p:txBody>
      </p:sp>
      <p:sp>
        <p:nvSpPr>
          <p:cNvPr id="125957" name="Fußzeilenplatzhalter 3">
            <a:extLst>
              <a:ext uri="{FF2B5EF4-FFF2-40B4-BE49-F238E27FC236}">
                <a16:creationId xmlns:a16="http://schemas.microsoft.com/office/drawing/2014/main" id="{DBFD7A71-A017-1935-221D-A9E9D81B01A5}"/>
              </a:ext>
            </a:extLst>
          </p:cNvPr>
          <p:cNvSpPr>
            <a:spLocks noGrp="1" noChangeArrowheads="1"/>
          </p:cNvSpPr>
          <p:nvPr>
            <p:ph type="ftr" sz="quarter" idx="11"/>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55" name="Inhaltsplatzhalter 154">
            <a:extLst>
              <a:ext uri="{FF2B5EF4-FFF2-40B4-BE49-F238E27FC236}">
                <a16:creationId xmlns:a16="http://schemas.microsoft.com/office/drawing/2014/main" id="{47C4BDAC-BC3A-0D1C-3897-B0661699904A}"/>
              </a:ext>
            </a:extLst>
          </p:cNvPr>
          <p:cNvSpPr>
            <a:spLocks noGrp="1"/>
          </p:cNvSpPr>
          <p:nvPr>
            <p:ph idx="12"/>
          </p:nvPr>
        </p:nvSpPr>
        <p:spPr/>
        <p:txBody>
          <a:bodyPr/>
          <a:lstStyle/>
          <a:p>
            <a:pPr defTabSz="284163" eaLnBrk="1" hangingPunct="1">
              <a:spcBef>
                <a:spcPct val="0"/>
              </a:spcBef>
              <a:spcAft>
                <a:spcPct val="0"/>
              </a:spcAft>
            </a:pPr>
            <a:r>
              <a:rPr lang="de-CH" altLang="de-DE" dirty="0">
                <a:cs typeface="Aharoni" panose="020F0502020204030204" pitchFamily="2" charset="-79"/>
              </a:rPr>
              <a:t>bearbeitbar</a:t>
            </a:r>
          </a:p>
        </p:txBody>
      </p:sp>
      <p:sp>
        <p:nvSpPr>
          <p:cNvPr id="125959" name="Inhaltsplatzhalter 50">
            <a:extLst>
              <a:ext uri="{FF2B5EF4-FFF2-40B4-BE49-F238E27FC236}">
                <a16:creationId xmlns:a16="http://schemas.microsoft.com/office/drawing/2014/main" id="{A87160FB-C83F-8402-F7C6-3E83695DCA51}"/>
              </a:ext>
            </a:extLst>
          </p:cNvPr>
          <p:cNvSpPr>
            <a:spLocks noGrp="1" noChangeArrowheads="1"/>
          </p:cNvSpPr>
          <p:nvPr>
            <p:ph sz="quarter" idx="13"/>
          </p:nvPr>
        </p:nvSpPr>
        <p:spPr/>
        <p:txBody>
          <a:bodyPr/>
          <a:lstStyle/>
          <a:p>
            <a:r>
              <a:rPr lang="de-CH" dirty="0"/>
              <a:t>Kann nicht </a:t>
            </a:r>
            <a:br>
              <a:rPr lang="de-CH" dirty="0"/>
            </a:br>
            <a:r>
              <a:rPr lang="de-CH" dirty="0"/>
              <a:t>bearbeitet </a:t>
            </a:r>
            <a:br>
              <a:rPr lang="de-CH" dirty="0"/>
            </a:br>
            <a:r>
              <a:rPr lang="de-CH" dirty="0"/>
              <a:t>werden</a:t>
            </a:r>
          </a:p>
        </p:txBody>
      </p:sp>
      <p:sp>
        <p:nvSpPr>
          <p:cNvPr id="125960" name="Textplatzhalter 51">
            <a:extLst>
              <a:ext uri="{FF2B5EF4-FFF2-40B4-BE49-F238E27FC236}">
                <a16:creationId xmlns:a16="http://schemas.microsoft.com/office/drawing/2014/main" id="{E597F639-AC65-E872-E206-A3563AF39B5D}"/>
              </a:ext>
            </a:extLst>
          </p:cNvPr>
          <p:cNvSpPr>
            <a:spLocks noGrp="1" noChangeArrowheads="1"/>
          </p:cNvSpPr>
          <p:nvPr>
            <p:ph type="body" sz="quarter" idx="14"/>
          </p:nvPr>
        </p:nvSpPr>
        <p:spPr/>
        <p:txBody>
          <a:bodyPr/>
          <a:lstStyle/>
          <a:p>
            <a:pPr eaLnBrk="1" hangingPunct="1">
              <a:spcBef>
                <a:spcPct val="0"/>
              </a:spcBef>
              <a:spcAft>
                <a:spcPct val="0"/>
              </a:spcAft>
            </a:pPr>
            <a:r>
              <a:rPr lang="de-CH" altLang="de-DE" dirty="0">
                <a:cs typeface="Aharoni" panose="020F0502020204030204" pitchFamily="2" charset="-79"/>
              </a:rPr>
              <a:t>Marktgebiete</a:t>
            </a:r>
          </a:p>
        </p:txBody>
      </p:sp>
      <p:sp>
        <p:nvSpPr>
          <p:cNvPr id="125961" name="Textplatzhalter 52">
            <a:extLst>
              <a:ext uri="{FF2B5EF4-FFF2-40B4-BE49-F238E27FC236}">
                <a16:creationId xmlns:a16="http://schemas.microsoft.com/office/drawing/2014/main" id="{E3FC4984-EEC5-525A-BBA2-DD470730FAD9}"/>
              </a:ext>
            </a:extLst>
          </p:cNvPr>
          <p:cNvSpPr>
            <a:spLocks noGrp="1" noChangeArrowheads="1"/>
          </p:cNvSpPr>
          <p:nvPr>
            <p:ph type="body" sz="quarter" idx="15"/>
          </p:nvPr>
        </p:nvSpPr>
        <p:spPr/>
        <p:txBody>
          <a:bodyPr/>
          <a:lstStyle/>
          <a:p>
            <a:pPr eaLnBrk="1" hangingPunct="1">
              <a:spcBef>
                <a:spcPct val="0"/>
              </a:spcBef>
              <a:spcAft>
                <a:spcPct val="0"/>
              </a:spcAft>
            </a:pPr>
            <a:r>
              <a:rPr lang="de-CH" altLang="de-DE" dirty="0">
                <a:cs typeface="Aharoni" panose="020F0502020204030204" pitchFamily="2" charset="-79"/>
              </a:rPr>
              <a:t>Kanton</a:t>
            </a:r>
          </a:p>
        </p:txBody>
      </p:sp>
      <p:grpSp>
        <p:nvGrpSpPr>
          <p:cNvPr id="125963" name="Gruppieren 186">
            <a:extLst>
              <a:ext uri="{FF2B5EF4-FFF2-40B4-BE49-F238E27FC236}">
                <a16:creationId xmlns:a16="http://schemas.microsoft.com/office/drawing/2014/main" id="{EBF06D50-4475-087B-DE71-8F847404A6AE}"/>
              </a:ext>
            </a:extLst>
          </p:cNvPr>
          <p:cNvGrpSpPr>
            <a:grpSpLocks/>
          </p:cNvGrpSpPr>
          <p:nvPr/>
        </p:nvGrpSpPr>
        <p:grpSpPr bwMode="auto">
          <a:xfrm>
            <a:off x="1249911" y="1986300"/>
            <a:ext cx="3663950" cy="4570413"/>
            <a:chOff x="7803759" y="2069484"/>
            <a:chExt cx="3664589" cy="4570383"/>
          </a:xfrm>
        </p:grpSpPr>
        <p:grpSp>
          <p:nvGrpSpPr>
            <p:cNvPr id="125964" name="Gruppieren 173">
              <a:extLst>
                <a:ext uri="{FF2B5EF4-FFF2-40B4-BE49-F238E27FC236}">
                  <a16:creationId xmlns:a16="http://schemas.microsoft.com/office/drawing/2014/main" id="{D95B36A6-39BC-1E9F-CAC6-AA3FFFE72F7A}"/>
                </a:ext>
              </a:extLst>
            </p:cNvPr>
            <p:cNvGrpSpPr>
              <a:grpSpLocks/>
            </p:cNvGrpSpPr>
            <p:nvPr/>
          </p:nvGrpSpPr>
          <p:grpSpPr bwMode="auto">
            <a:xfrm>
              <a:off x="7803759" y="2069484"/>
              <a:ext cx="3664589" cy="4570383"/>
              <a:chOff x="1315219" y="54011"/>
              <a:chExt cx="5722315" cy="7137552"/>
            </a:xfrm>
          </p:grpSpPr>
          <p:sp>
            <p:nvSpPr>
              <p:cNvPr id="175" name="Freihandform: Form 174">
                <a:extLst>
                  <a:ext uri="{FF2B5EF4-FFF2-40B4-BE49-F238E27FC236}">
                    <a16:creationId xmlns:a16="http://schemas.microsoft.com/office/drawing/2014/main" id="{FDFB0614-4E2F-9D9B-986E-5A75B13610A7}"/>
                  </a:ext>
                </a:extLst>
              </p:cNvPr>
              <p:cNvSpPr/>
              <p:nvPr/>
            </p:nvSpPr>
            <p:spPr>
              <a:xfrm>
                <a:off x="3390427" y="3227358"/>
                <a:ext cx="3647107" cy="2808909"/>
              </a:xfrm>
              <a:custGeom>
                <a:avLst/>
                <a:gdLst>
                  <a:gd name="connsiteX0" fmla="*/ 11001 w 3647500"/>
                  <a:gd name="connsiteY0" fmla="*/ 907766 h 2808220"/>
                  <a:gd name="connsiteX1" fmla="*/ 8001 w 3647500"/>
                  <a:gd name="connsiteY1" fmla="*/ 898759 h 2808220"/>
                  <a:gd name="connsiteX2" fmla="*/ 0 w 3647500"/>
                  <a:gd name="connsiteY2" fmla="*/ 882763 h 2808220"/>
                  <a:gd name="connsiteX3" fmla="*/ 4000 w 3647500"/>
                  <a:gd name="connsiteY3" fmla="*/ 866750 h 2808220"/>
                  <a:gd name="connsiteX4" fmla="*/ 33987 w 3647500"/>
                  <a:gd name="connsiteY4" fmla="*/ 841759 h 2808220"/>
                  <a:gd name="connsiteX5" fmla="*/ 35987 w 3647500"/>
                  <a:gd name="connsiteY5" fmla="*/ 816767 h 2808220"/>
                  <a:gd name="connsiteX6" fmla="*/ 61978 w 3647500"/>
                  <a:gd name="connsiteY6" fmla="*/ 805772 h 2808220"/>
                  <a:gd name="connsiteX7" fmla="*/ 92964 w 3647500"/>
                  <a:gd name="connsiteY7" fmla="*/ 808767 h 2808220"/>
                  <a:gd name="connsiteX8" fmla="*/ 102954 w 3647500"/>
                  <a:gd name="connsiteY8" fmla="*/ 790759 h 2808220"/>
                  <a:gd name="connsiteX9" fmla="*/ 94953 w 3647500"/>
                  <a:gd name="connsiteY9" fmla="*/ 756773 h 2808220"/>
                  <a:gd name="connsiteX10" fmla="*/ 85964 w 3647500"/>
                  <a:gd name="connsiteY10" fmla="*/ 720775 h 2808220"/>
                  <a:gd name="connsiteX11" fmla="*/ 98959 w 3647500"/>
                  <a:gd name="connsiteY11" fmla="*/ 688794 h 2808220"/>
                  <a:gd name="connsiteX12" fmla="*/ 115950 w 3647500"/>
                  <a:gd name="connsiteY12" fmla="*/ 681793 h 2808220"/>
                  <a:gd name="connsiteX13" fmla="*/ 139941 w 3647500"/>
                  <a:gd name="connsiteY13" fmla="*/ 694789 h 2808220"/>
                  <a:gd name="connsiteX14" fmla="*/ 159932 w 3647500"/>
                  <a:gd name="connsiteY14" fmla="*/ 709779 h 2808220"/>
                  <a:gd name="connsiteX15" fmla="*/ 187912 w 3647500"/>
                  <a:gd name="connsiteY15" fmla="*/ 703784 h 2808220"/>
                  <a:gd name="connsiteX16" fmla="*/ 202908 w 3647500"/>
                  <a:gd name="connsiteY16" fmla="*/ 682799 h 2808220"/>
                  <a:gd name="connsiteX17" fmla="*/ 223905 w 3647500"/>
                  <a:gd name="connsiteY17" fmla="*/ 672792 h 2808220"/>
                  <a:gd name="connsiteX18" fmla="*/ 249885 w 3647500"/>
                  <a:gd name="connsiteY18" fmla="*/ 659797 h 2808220"/>
                  <a:gd name="connsiteX19" fmla="*/ 283877 w 3647500"/>
                  <a:gd name="connsiteY19" fmla="*/ 654802 h 2808220"/>
                  <a:gd name="connsiteX20" fmla="*/ 312857 w 3647500"/>
                  <a:gd name="connsiteY20" fmla="*/ 674798 h 2808220"/>
                  <a:gd name="connsiteX21" fmla="*/ 349844 w 3647500"/>
                  <a:gd name="connsiteY21" fmla="*/ 667798 h 2808220"/>
                  <a:gd name="connsiteX22" fmla="*/ 390831 w 3647500"/>
                  <a:gd name="connsiteY22" fmla="*/ 648807 h 2808220"/>
                  <a:gd name="connsiteX23" fmla="*/ 389831 w 3647500"/>
                  <a:gd name="connsiteY23" fmla="*/ 601819 h 2808220"/>
                  <a:gd name="connsiteX24" fmla="*/ 377841 w 3647500"/>
                  <a:gd name="connsiteY24" fmla="*/ 573833 h 2808220"/>
                  <a:gd name="connsiteX25" fmla="*/ 356845 w 3647500"/>
                  <a:gd name="connsiteY25" fmla="*/ 528845 h 2808220"/>
                  <a:gd name="connsiteX26" fmla="*/ 352850 w 3647500"/>
                  <a:gd name="connsiteY26" fmla="*/ 481869 h 2808220"/>
                  <a:gd name="connsiteX27" fmla="*/ 340860 w 3647500"/>
                  <a:gd name="connsiteY27" fmla="*/ 457878 h 2808220"/>
                  <a:gd name="connsiteX28" fmla="*/ 339860 w 3647500"/>
                  <a:gd name="connsiteY28" fmla="*/ 429880 h 2808220"/>
                  <a:gd name="connsiteX29" fmla="*/ 350850 w 3647500"/>
                  <a:gd name="connsiteY29" fmla="*/ 389888 h 2808220"/>
                  <a:gd name="connsiteX30" fmla="*/ 370846 w 3647500"/>
                  <a:gd name="connsiteY30" fmla="*/ 365896 h 2808220"/>
                  <a:gd name="connsiteX31" fmla="*/ 396073 w 3647500"/>
                  <a:gd name="connsiteY31" fmla="*/ 354052 h 2808220"/>
                  <a:gd name="connsiteX32" fmla="*/ 402833 w 3647500"/>
                  <a:gd name="connsiteY32" fmla="*/ 350901 h 2808220"/>
                  <a:gd name="connsiteX33" fmla="*/ 418823 w 3647500"/>
                  <a:gd name="connsiteY33" fmla="*/ 369902 h 2808220"/>
                  <a:gd name="connsiteX34" fmla="*/ 444814 w 3647500"/>
                  <a:gd name="connsiteY34" fmla="*/ 380898 h 2808220"/>
                  <a:gd name="connsiteX35" fmla="*/ 467811 w 3647500"/>
                  <a:gd name="connsiteY35" fmla="*/ 401894 h 2808220"/>
                  <a:gd name="connsiteX36" fmla="*/ 505787 w 3647500"/>
                  <a:gd name="connsiteY36" fmla="*/ 406889 h 2808220"/>
                  <a:gd name="connsiteX37" fmla="*/ 552769 w 3647500"/>
                  <a:gd name="connsiteY37" fmla="*/ 425880 h 2808220"/>
                  <a:gd name="connsiteX38" fmla="*/ 603752 w 3647500"/>
                  <a:gd name="connsiteY38" fmla="*/ 468867 h 2808220"/>
                  <a:gd name="connsiteX39" fmla="*/ 631732 w 3647500"/>
                  <a:gd name="connsiteY39" fmla="*/ 470868 h 2808220"/>
                  <a:gd name="connsiteX40" fmla="*/ 663718 w 3647500"/>
                  <a:gd name="connsiteY40" fmla="*/ 482863 h 2808220"/>
                  <a:gd name="connsiteX41" fmla="*/ 683715 w 3647500"/>
                  <a:gd name="connsiteY41" fmla="*/ 507855 h 2808220"/>
                  <a:gd name="connsiteX42" fmla="*/ 712712 w 3647500"/>
                  <a:gd name="connsiteY42" fmla="*/ 519844 h 2808220"/>
                  <a:gd name="connsiteX43" fmla="*/ 741704 w 3647500"/>
                  <a:gd name="connsiteY43" fmla="*/ 530840 h 2808220"/>
                  <a:gd name="connsiteX44" fmla="*/ 764689 w 3647500"/>
                  <a:gd name="connsiteY44" fmla="*/ 550842 h 2808220"/>
                  <a:gd name="connsiteX45" fmla="*/ 790675 w 3647500"/>
                  <a:gd name="connsiteY45" fmla="*/ 545841 h 2808220"/>
                  <a:gd name="connsiteX46" fmla="*/ 810666 w 3647500"/>
                  <a:gd name="connsiteY46" fmla="*/ 564821 h 2808220"/>
                  <a:gd name="connsiteX47" fmla="*/ 836646 w 3647500"/>
                  <a:gd name="connsiteY47" fmla="*/ 608814 h 2808220"/>
                  <a:gd name="connsiteX48" fmla="*/ 850642 w 3647500"/>
                  <a:gd name="connsiteY48" fmla="*/ 591823 h 2808220"/>
                  <a:gd name="connsiteX49" fmla="*/ 875633 w 3647500"/>
                  <a:gd name="connsiteY49" fmla="*/ 580828 h 2808220"/>
                  <a:gd name="connsiteX50" fmla="*/ 906613 w 3647500"/>
                  <a:gd name="connsiteY50" fmla="*/ 609814 h 2808220"/>
                  <a:gd name="connsiteX51" fmla="*/ 935605 w 3647500"/>
                  <a:gd name="connsiteY51" fmla="*/ 655802 h 2808220"/>
                  <a:gd name="connsiteX52" fmla="*/ 973586 w 3647500"/>
                  <a:gd name="connsiteY52" fmla="*/ 651802 h 2808220"/>
                  <a:gd name="connsiteX53" fmla="*/ 1005573 w 3647500"/>
                  <a:gd name="connsiteY53" fmla="*/ 671792 h 2808220"/>
                  <a:gd name="connsiteX54" fmla="*/ 1030564 w 3647500"/>
                  <a:gd name="connsiteY54" fmla="*/ 713797 h 2808220"/>
                  <a:gd name="connsiteX55" fmla="*/ 1059550 w 3647500"/>
                  <a:gd name="connsiteY55" fmla="*/ 719791 h 2808220"/>
                  <a:gd name="connsiteX56" fmla="*/ 1095537 w 3647500"/>
                  <a:gd name="connsiteY56" fmla="*/ 758773 h 2808220"/>
                  <a:gd name="connsiteX57" fmla="*/ 1126529 w 3647500"/>
                  <a:gd name="connsiteY57" fmla="*/ 767779 h 2808220"/>
                  <a:gd name="connsiteX58" fmla="*/ 1146520 w 3647500"/>
                  <a:gd name="connsiteY58" fmla="*/ 786781 h 2808220"/>
                  <a:gd name="connsiteX59" fmla="*/ 1147525 w 3647500"/>
                  <a:gd name="connsiteY59" fmla="*/ 813784 h 2808220"/>
                  <a:gd name="connsiteX60" fmla="*/ 1160515 w 3647500"/>
                  <a:gd name="connsiteY60" fmla="*/ 824780 h 2808220"/>
                  <a:gd name="connsiteX61" fmla="*/ 1192502 w 3647500"/>
                  <a:gd name="connsiteY61" fmla="*/ 826769 h 2808220"/>
                  <a:gd name="connsiteX62" fmla="*/ 1192502 w 3647500"/>
                  <a:gd name="connsiteY62" fmla="*/ 785776 h 2808220"/>
                  <a:gd name="connsiteX63" fmla="*/ 1212492 w 3647500"/>
                  <a:gd name="connsiteY63" fmla="*/ 782787 h 2808220"/>
                  <a:gd name="connsiteX64" fmla="*/ 1252485 w 3647500"/>
                  <a:gd name="connsiteY64" fmla="*/ 805783 h 2808220"/>
                  <a:gd name="connsiteX65" fmla="*/ 1296462 w 3647500"/>
                  <a:gd name="connsiteY65" fmla="*/ 814778 h 2808220"/>
                  <a:gd name="connsiteX66" fmla="*/ 1328454 w 3647500"/>
                  <a:gd name="connsiteY66" fmla="*/ 818779 h 2808220"/>
                  <a:gd name="connsiteX67" fmla="*/ 1329454 w 3647500"/>
                  <a:gd name="connsiteY67" fmla="*/ 802777 h 2808220"/>
                  <a:gd name="connsiteX68" fmla="*/ 1352445 w 3647500"/>
                  <a:gd name="connsiteY68" fmla="*/ 772785 h 2808220"/>
                  <a:gd name="connsiteX69" fmla="*/ 1344444 w 3647500"/>
                  <a:gd name="connsiteY69" fmla="*/ 753778 h 2808220"/>
                  <a:gd name="connsiteX70" fmla="*/ 1329454 w 3647500"/>
                  <a:gd name="connsiteY70" fmla="*/ 714791 h 2808220"/>
                  <a:gd name="connsiteX71" fmla="*/ 1354445 w 3647500"/>
                  <a:gd name="connsiteY71" fmla="*/ 707796 h 2808220"/>
                  <a:gd name="connsiteX72" fmla="*/ 1377430 w 3647500"/>
                  <a:gd name="connsiteY72" fmla="*/ 694800 h 2808220"/>
                  <a:gd name="connsiteX73" fmla="*/ 1410411 w 3647500"/>
                  <a:gd name="connsiteY73" fmla="*/ 671792 h 2808220"/>
                  <a:gd name="connsiteX74" fmla="*/ 1452404 w 3647500"/>
                  <a:gd name="connsiteY74" fmla="*/ 660797 h 2808220"/>
                  <a:gd name="connsiteX75" fmla="*/ 1481385 w 3647500"/>
                  <a:gd name="connsiteY75" fmla="*/ 668803 h 2808220"/>
                  <a:gd name="connsiteX76" fmla="*/ 1504376 w 3647500"/>
                  <a:gd name="connsiteY76" fmla="*/ 677798 h 2808220"/>
                  <a:gd name="connsiteX77" fmla="*/ 1519377 w 3647500"/>
                  <a:gd name="connsiteY77" fmla="*/ 664803 h 2808220"/>
                  <a:gd name="connsiteX78" fmla="*/ 1515383 w 3647500"/>
                  <a:gd name="connsiteY78" fmla="*/ 635817 h 2808220"/>
                  <a:gd name="connsiteX79" fmla="*/ 1518377 w 3647500"/>
                  <a:gd name="connsiteY79" fmla="*/ 595835 h 2808220"/>
                  <a:gd name="connsiteX80" fmla="*/ 1524361 w 3647500"/>
                  <a:gd name="connsiteY80" fmla="*/ 541847 h 2808220"/>
                  <a:gd name="connsiteX81" fmla="*/ 1511371 w 3647500"/>
                  <a:gd name="connsiteY81" fmla="*/ 501854 h 2808220"/>
                  <a:gd name="connsiteX82" fmla="*/ 1495375 w 3647500"/>
                  <a:gd name="connsiteY82" fmla="*/ 466862 h 2808220"/>
                  <a:gd name="connsiteX83" fmla="*/ 1474384 w 3647500"/>
                  <a:gd name="connsiteY83" fmla="*/ 437876 h 2808220"/>
                  <a:gd name="connsiteX84" fmla="*/ 1467383 w 3647500"/>
                  <a:gd name="connsiteY84" fmla="*/ 390887 h 2808220"/>
                  <a:gd name="connsiteX85" fmla="*/ 1478384 w 3647500"/>
                  <a:gd name="connsiteY85" fmla="*/ 343911 h 2808220"/>
                  <a:gd name="connsiteX86" fmla="*/ 1492375 w 3647500"/>
                  <a:gd name="connsiteY86" fmla="*/ 288928 h 2808220"/>
                  <a:gd name="connsiteX87" fmla="*/ 1483379 w 3647500"/>
                  <a:gd name="connsiteY87" fmla="*/ 254930 h 2808220"/>
                  <a:gd name="connsiteX88" fmla="*/ 1467378 w 3647500"/>
                  <a:gd name="connsiteY88" fmla="*/ 223938 h 2808220"/>
                  <a:gd name="connsiteX89" fmla="*/ 1470378 w 3647500"/>
                  <a:gd name="connsiteY89" fmla="*/ 215937 h 2808220"/>
                  <a:gd name="connsiteX90" fmla="*/ 1488374 w 3647500"/>
                  <a:gd name="connsiteY90" fmla="*/ 184945 h 2808220"/>
                  <a:gd name="connsiteX91" fmla="*/ 1529350 w 3647500"/>
                  <a:gd name="connsiteY91" fmla="*/ 163960 h 2808220"/>
                  <a:gd name="connsiteX92" fmla="*/ 1573338 w 3647500"/>
                  <a:gd name="connsiteY92" fmla="*/ 156960 h 2808220"/>
                  <a:gd name="connsiteX93" fmla="*/ 1629310 w 3647500"/>
                  <a:gd name="connsiteY93" fmla="*/ 169955 h 2808220"/>
                  <a:gd name="connsiteX94" fmla="*/ 1659307 w 3647500"/>
                  <a:gd name="connsiteY94" fmla="*/ 142958 h 2808220"/>
                  <a:gd name="connsiteX95" fmla="*/ 1703289 w 3647500"/>
                  <a:gd name="connsiteY95" fmla="*/ 107971 h 2808220"/>
                  <a:gd name="connsiteX96" fmla="*/ 1704284 w 3647500"/>
                  <a:gd name="connsiteY96" fmla="*/ 54983 h 2808220"/>
                  <a:gd name="connsiteX97" fmla="*/ 1701289 w 3647500"/>
                  <a:gd name="connsiteY97" fmla="*/ 0 h 2808220"/>
                  <a:gd name="connsiteX98" fmla="*/ 1743276 w 3647500"/>
                  <a:gd name="connsiteY98" fmla="*/ 16990 h 2808220"/>
                  <a:gd name="connsiteX99" fmla="*/ 1781258 w 3647500"/>
                  <a:gd name="connsiteY99" fmla="*/ 32992 h 2808220"/>
                  <a:gd name="connsiteX100" fmla="*/ 1823245 w 3647500"/>
                  <a:gd name="connsiteY100" fmla="*/ 37987 h 2808220"/>
                  <a:gd name="connsiteX101" fmla="*/ 1853242 w 3647500"/>
                  <a:gd name="connsiteY101" fmla="*/ 62984 h 2808220"/>
                  <a:gd name="connsiteX102" fmla="*/ 1843236 w 3647500"/>
                  <a:gd name="connsiteY102" fmla="*/ 83980 h 2808220"/>
                  <a:gd name="connsiteX103" fmla="*/ 1817250 w 3647500"/>
                  <a:gd name="connsiteY103" fmla="*/ 119967 h 2808220"/>
                  <a:gd name="connsiteX104" fmla="*/ 1805254 w 3647500"/>
                  <a:gd name="connsiteY104" fmla="*/ 164949 h 2808220"/>
                  <a:gd name="connsiteX105" fmla="*/ 1803260 w 3647500"/>
                  <a:gd name="connsiteY105" fmla="*/ 181951 h 2808220"/>
                  <a:gd name="connsiteX106" fmla="*/ 1827257 w 3647500"/>
                  <a:gd name="connsiteY106" fmla="*/ 198941 h 2808220"/>
                  <a:gd name="connsiteX107" fmla="*/ 1879228 w 3647500"/>
                  <a:gd name="connsiteY107" fmla="*/ 203936 h 2808220"/>
                  <a:gd name="connsiteX108" fmla="*/ 1900219 w 3647500"/>
                  <a:gd name="connsiteY108" fmla="*/ 235928 h 2808220"/>
                  <a:gd name="connsiteX109" fmla="*/ 1903225 w 3647500"/>
                  <a:gd name="connsiteY109" fmla="*/ 263925 h 2808220"/>
                  <a:gd name="connsiteX110" fmla="*/ 1919215 w 3647500"/>
                  <a:gd name="connsiteY110" fmla="*/ 266914 h 2808220"/>
                  <a:gd name="connsiteX111" fmla="*/ 1931205 w 3647500"/>
                  <a:gd name="connsiteY111" fmla="*/ 284916 h 2808220"/>
                  <a:gd name="connsiteX112" fmla="*/ 1966192 w 3647500"/>
                  <a:gd name="connsiteY112" fmla="*/ 318908 h 2808220"/>
                  <a:gd name="connsiteX113" fmla="*/ 1990189 w 3647500"/>
                  <a:gd name="connsiteY113" fmla="*/ 351895 h 2808220"/>
                  <a:gd name="connsiteX114" fmla="*/ 1982188 w 3647500"/>
                  <a:gd name="connsiteY114" fmla="*/ 385881 h 2808220"/>
                  <a:gd name="connsiteX115" fmla="*/ 1992183 w 3647500"/>
                  <a:gd name="connsiteY115" fmla="*/ 428869 h 2808220"/>
                  <a:gd name="connsiteX116" fmla="*/ 1994183 w 3647500"/>
                  <a:gd name="connsiteY116" fmla="*/ 492853 h 2808220"/>
                  <a:gd name="connsiteX117" fmla="*/ 2009162 w 3647500"/>
                  <a:gd name="connsiteY117" fmla="*/ 523839 h 2808220"/>
                  <a:gd name="connsiteX118" fmla="*/ 2007173 w 3647500"/>
                  <a:gd name="connsiteY118" fmla="*/ 566832 h 2808220"/>
                  <a:gd name="connsiteX119" fmla="*/ 2019169 w 3647500"/>
                  <a:gd name="connsiteY119" fmla="*/ 585823 h 2808220"/>
                  <a:gd name="connsiteX120" fmla="*/ 2043166 w 3647500"/>
                  <a:gd name="connsiteY120" fmla="*/ 620821 h 2808220"/>
                  <a:gd name="connsiteX121" fmla="*/ 2064157 w 3647500"/>
                  <a:gd name="connsiteY121" fmla="*/ 635811 h 2808220"/>
                  <a:gd name="connsiteX122" fmla="*/ 2091137 w 3647500"/>
                  <a:gd name="connsiteY122" fmla="*/ 640806 h 2808220"/>
                  <a:gd name="connsiteX123" fmla="*/ 2099138 w 3647500"/>
                  <a:gd name="connsiteY123" fmla="*/ 660802 h 2808220"/>
                  <a:gd name="connsiteX124" fmla="*/ 2102138 w 3647500"/>
                  <a:gd name="connsiteY124" fmla="*/ 719797 h 2808220"/>
                  <a:gd name="connsiteX125" fmla="*/ 2127129 w 3647500"/>
                  <a:gd name="connsiteY125" fmla="*/ 726786 h 2808220"/>
                  <a:gd name="connsiteX126" fmla="*/ 2149120 w 3647500"/>
                  <a:gd name="connsiteY126" fmla="*/ 753784 h 2808220"/>
                  <a:gd name="connsiteX127" fmla="*/ 2155115 w 3647500"/>
                  <a:gd name="connsiteY127" fmla="*/ 739788 h 2808220"/>
                  <a:gd name="connsiteX128" fmla="*/ 2174106 w 3647500"/>
                  <a:gd name="connsiteY128" fmla="*/ 721792 h 2808220"/>
                  <a:gd name="connsiteX129" fmla="*/ 2190108 w 3647500"/>
                  <a:gd name="connsiteY129" fmla="*/ 731793 h 2808220"/>
                  <a:gd name="connsiteX130" fmla="*/ 2208098 w 3647500"/>
                  <a:gd name="connsiteY130" fmla="*/ 728792 h 2808220"/>
                  <a:gd name="connsiteX131" fmla="*/ 2222088 w 3647500"/>
                  <a:gd name="connsiteY131" fmla="*/ 708791 h 2808220"/>
                  <a:gd name="connsiteX132" fmla="*/ 2254069 w 3647500"/>
                  <a:gd name="connsiteY132" fmla="*/ 715791 h 2808220"/>
                  <a:gd name="connsiteX133" fmla="*/ 2260064 w 3647500"/>
                  <a:gd name="connsiteY133" fmla="*/ 737793 h 2808220"/>
                  <a:gd name="connsiteX134" fmla="*/ 2282061 w 3647500"/>
                  <a:gd name="connsiteY134" fmla="*/ 772791 h 2808220"/>
                  <a:gd name="connsiteX135" fmla="*/ 2307277 w 3647500"/>
                  <a:gd name="connsiteY135" fmla="*/ 772791 h 2808220"/>
                  <a:gd name="connsiteX136" fmla="*/ 2311047 w 3647500"/>
                  <a:gd name="connsiteY136" fmla="*/ 772791 h 2808220"/>
                  <a:gd name="connsiteX137" fmla="*/ 2334032 w 3647500"/>
                  <a:gd name="connsiteY137" fmla="*/ 779792 h 2808220"/>
                  <a:gd name="connsiteX138" fmla="*/ 2380026 w 3647500"/>
                  <a:gd name="connsiteY138" fmla="*/ 778786 h 2808220"/>
                  <a:gd name="connsiteX139" fmla="*/ 2419007 w 3647500"/>
                  <a:gd name="connsiteY139" fmla="*/ 768785 h 2808220"/>
                  <a:gd name="connsiteX140" fmla="*/ 2437003 w 3647500"/>
                  <a:gd name="connsiteY140" fmla="*/ 756790 h 2808220"/>
                  <a:gd name="connsiteX141" fmla="*/ 2479985 w 3647500"/>
                  <a:gd name="connsiteY141" fmla="*/ 825780 h 2808220"/>
                  <a:gd name="connsiteX142" fmla="*/ 2525967 w 3647500"/>
                  <a:gd name="connsiteY142" fmla="*/ 818779 h 2808220"/>
                  <a:gd name="connsiteX143" fmla="*/ 2541963 w 3647500"/>
                  <a:gd name="connsiteY143" fmla="*/ 838781 h 2808220"/>
                  <a:gd name="connsiteX144" fmla="*/ 2566943 w 3647500"/>
                  <a:gd name="connsiteY144" fmla="*/ 825785 h 2808220"/>
                  <a:gd name="connsiteX145" fmla="*/ 2610931 w 3647500"/>
                  <a:gd name="connsiteY145" fmla="*/ 813790 h 2808220"/>
                  <a:gd name="connsiteX146" fmla="*/ 2661908 w 3647500"/>
                  <a:gd name="connsiteY146" fmla="*/ 816784 h 2808220"/>
                  <a:gd name="connsiteX147" fmla="*/ 2727875 w 3647500"/>
                  <a:gd name="connsiteY147" fmla="*/ 816784 h 2808220"/>
                  <a:gd name="connsiteX148" fmla="*/ 2730876 w 3647500"/>
                  <a:gd name="connsiteY148" fmla="*/ 793788 h 2808220"/>
                  <a:gd name="connsiteX149" fmla="*/ 2735876 w 3647500"/>
                  <a:gd name="connsiteY149" fmla="*/ 747783 h 2808220"/>
                  <a:gd name="connsiteX150" fmla="*/ 2760867 w 3647500"/>
                  <a:gd name="connsiteY150" fmla="*/ 715791 h 2808220"/>
                  <a:gd name="connsiteX151" fmla="*/ 2788859 w 3647500"/>
                  <a:gd name="connsiteY151" fmla="*/ 706796 h 2808220"/>
                  <a:gd name="connsiteX152" fmla="*/ 2817839 w 3647500"/>
                  <a:gd name="connsiteY152" fmla="*/ 714791 h 2808220"/>
                  <a:gd name="connsiteX153" fmla="*/ 2849826 w 3647500"/>
                  <a:gd name="connsiteY153" fmla="*/ 735788 h 2808220"/>
                  <a:gd name="connsiteX154" fmla="*/ 2891807 w 3647500"/>
                  <a:gd name="connsiteY154" fmla="*/ 729787 h 2808220"/>
                  <a:gd name="connsiteX155" fmla="*/ 2915360 w 3647500"/>
                  <a:gd name="connsiteY155" fmla="*/ 707807 h 2808220"/>
                  <a:gd name="connsiteX156" fmla="*/ 2921799 w 3647500"/>
                  <a:gd name="connsiteY156" fmla="*/ 701790 h 2808220"/>
                  <a:gd name="connsiteX157" fmla="*/ 2960786 w 3647500"/>
                  <a:gd name="connsiteY157" fmla="*/ 699801 h 2808220"/>
                  <a:gd name="connsiteX158" fmla="*/ 2996762 w 3647500"/>
                  <a:gd name="connsiteY158" fmla="*/ 710790 h 2808220"/>
                  <a:gd name="connsiteX159" fmla="*/ 3045739 w 3647500"/>
                  <a:gd name="connsiteY159" fmla="*/ 717791 h 2808220"/>
                  <a:gd name="connsiteX160" fmla="*/ 3070730 w 3647500"/>
                  <a:gd name="connsiteY160" fmla="*/ 731787 h 2808220"/>
                  <a:gd name="connsiteX161" fmla="*/ 3106722 w 3647500"/>
                  <a:gd name="connsiteY161" fmla="*/ 767779 h 2808220"/>
                  <a:gd name="connsiteX162" fmla="*/ 3146698 w 3647500"/>
                  <a:gd name="connsiteY162" fmla="*/ 815773 h 2808220"/>
                  <a:gd name="connsiteX163" fmla="*/ 3180690 w 3647500"/>
                  <a:gd name="connsiteY163" fmla="*/ 835775 h 2808220"/>
                  <a:gd name="connsiteX164" fmla="*/ 3227661 w 3647500"/>
                  <a:gd name="connsiteY164" fmla="*/ 866767 h 2808220"/>
                  <a:gd name="connsiteX165" fmla="*/ 3258659 w 3647500"/>
                  <a:gd name="connsiteY165" fmla="*/ 898770 h 2808220"/>
                  <a:gd name="connsiteX166" fmla="*/ 3258659 w 3647500"/>
                  <a:gd name="connsiteY166" fmla="*/ 934757 h 2808220"/>
                  <a:gd name="connsiteX167" fmla="*/ 3238668 w 3647500"/>
                  <a:gd name="connsiteY167" fmla="*/ 963749 h 2808220"/>
                  <a:gd name="connsiteX168" fmla="*/ 3237662 w 3647500"/>
                  <a:gd name="connsiteY168" fmla="*/ 992746 h 2808220"/>
                  <a:gd name="connsiteX169" fmla="*/ 3248416 w 3647500"/>
                  <a:gd name="connsiteY169" fmla="*/ 1005101 h 2808220"/>
                  <a:gd name="connsiteX170" fmla="*/ 3278649 w 3647500"/>
                  <a:gd name="connsiteY170" fmla="*/ 1039734 h 2808220"/>
                  <a:gd name="connsiteX171" fmla="*/ 3302635 w 3647500"/>
                  <a:gd name="connsiteY171" fmla="*/ 1044745 h 2808220"/>
                  <a:gd name="connsiteX172" fmla="*/ 3329632 w 3647500"/>
                  <a:gd name="connsiteY172" fmla="*/ 1071731 h 2808220"/>
                  <a:gd name="connsiteX173" fmla="*/ 3340628 w 3647500"/>
                  <a:gd name="connsiteY173" fmla="*/ 1126709 h 2808220"/>
                  <a:gd name="connsiteX174" fmla="*/ 3365608 w 3647500"/>
                  <a:gd name="connsiteY174" fmla="*/ 1183703 h 2808220"/>
                  <a:gd name="connsiteX175" fmla="*/ 3407595 w 3647500"/>
                  <a:gd name="connsiteY175" fmla="*/ 1269684 h 2808220"/>
                  <a:gd name="connsiteX176" fmla="*/ 3425597 w 3647500"/>
                  <a:gd name="connsiteY176" fmla="*/ 1313660 h 2808220"/>
                  <a:gd name="connsiteX177" fmla="*/ 3474574 w 3647500"/>
                  <a:gd name="connsiteY177" fmla="*/ 1316660 h 2808220"/>
                  <a:gd name="connsiteX178" fmla="*/ 3500565 w 3647500"/>
                  <a:gd name="connsiteY178" fmla="*/ 1327656 h 2808220"/>
                  <a:gd name="connsiteX179" fmla="*/ 3535524 w 3647500"/>
                  <a:gd name="connsiteY179" fmla="*/ 1367649 h 2808220"/>
                  <a:gd name="connsiteX180" fmla="*/ 3545525 w 3647500"/>
                  <a:gd name="connsiteY180" fmla="*/ 1430633 h 2808220"/>
                  <a:gd name="connsiteX181" fmla="*/ 3553559 w 3647500"/>
                  <a:gd name="connsiteY181" fmla="*/ 1506606 h 2808220"/>
                  <a:gd name="connsiteX182" fmla="*/ 3595530 w 3647500"/>
                  <a:gd name="connsiteY182" fmla="*/ 1527586 h 2808220"/>
                  <a:gd name="connsiteX183" fmla="*/ 3596541 w 3647500"/>
                  <a:gd name="connsiteY183" fmla="*/ 1563578 h 2808220"/>
                  <a:gd name="connsiteX184" fmla="*/ 3583562 w 3647500"/>
                  <a:gd name="connsiteY184" fmla="*/ 1610561 h 2808220"/>
                  <a:gd name="connsiteX185" fmla="*/ 3585529 w 3647500"/>
                  <a:gd name="connsiteY185" fmla="*/ 1668550 h 2808220"/>
                  <a:gd name="connsiteX186" fmla="*/ 3604519 w 3647500"/>
                  <a:gd name="connsiteY186" fmla="*/ 1692541 h 2808220"/>
                  <a:gd name="connsiteX187" fmla="*/ 3615532 w 3647500"/>
                  <a:gd name="connsiteY187" fmla="*/ 1730533 h 2808220"/>
                  <a:gd name="connsiteX188" fmla="*/ 3647501 w 3647500"/>
                  <a:gd name="connsiteY188" fmla="*/ 1770509 h 2808220"/>
                  <a:gd name="connsiteX189" fmla="*/ 3647501 w 3647500"/>
                  <a:gd name="connsiteY189" fmla="*/ 1787505 h 2808220"/>
                  <a:gd name="connsiteX190" fmla="*/ 3622499 w 3647500"/>
                  <a:gd name="connsiteY190" fmla="*/ 1836505 h 2808220"/>
                  <a:gd name="connsiteX191" fmla="*/ 3597552 w 3647500"/>
                  <a:gd name="connsiteY191" fmla="*/ 1881487 h 2808220"/>
                  <a:gd name="connsiteX192" fmla="*/ 3571539 w 3647500"/>
                  <a:gd name="connsiteY192" fmla="*/ 1934470 h 2808220"/>
                  <a:gd name="connsiteX193" fmla="*/ 3558560 w 3647500"/>
                  <a:gd name="connsiteY193" fmla="*/ 1946465 h 2808220"/>
                  <a:gd name="connsiteX194" fmla="*/ 3523556 w 3647500"/>
                  <a:gd name="connsiteY194" fmla="*/ 1958466 h 2808220"/>
                  <a:gd name="connsiteX195" fmla="*/ 3487581 w 3647500"/>
                  <a:gd name="connsiteY195" fmla="*/ 1959466 h 2808220"/>
                  <a:gd name="connsiteX196" fmla="*/ 3452583 w 3647500"/>
                  <a:gd name="connsiteY196" fmla="*/ 1961467 h 2808220"/>
                  <a:gd name="connsiteX197" fmla="*/ 3417602 w 3647500"/>
                  <a:gd name="connsiteY197" fmla="*/ 1973462 h 2808220"/>
                  <a:gd name="connsiteX198" fmla="*/ 3390605 w 3647500"/>
                  <a:gd name="connsiteY198" fmla="*/ 2001443 h 2808220"/>
                  <a:gd name="connsiteX199" fmla="*/ 3363624 w 3647500"/>
                  <a:gd name="connsiteY199" fmla="*/ 2058437 h 2808220"/>
                  <a:gd name="connsiteX200" fmla="*/ 3352623 w 3647500"/>
                  <a:gd name="connsiteY200" fmla="*/ 2099430 h 2808220"/>
                  <a:gd name="connsiteX201" fmla="*/ 3329632 w 3647500"/>
                  <a:gd name="connsiteY201" fmla="*/ 2134417 h 2808220"/>
                  <a:gd name="connsiteX202" fmla="*/ 3312642 w 3647500"/>
                  <a:gd name="connsiteY202" fmla="*/ 2155413 h 2808220"/>
                  <a:gd name="connsiteX203" fmla="*/ 3276650 w 3647500"/>
                  <a:gd name="connsiteY203" fmla="*/ 2167414 h 2808220"/>
                  <a:gd name="connsiteX204" fmla="*/ 3200692 w 3647500"/>
                  <a:gd name="connsiteY204" fmla="*/ 2199395 h 2808220"/>
                  <a:gd name="connsiteX205" fmla="*/ 3219672 w 3647500"/>
                  <a:gd name="connsiteY205" fmla="*/ 2216391 h 2808220"/>
                  <a:gd name="connsiteX206" fmla="*/ 3260659 w 3647500"/>
                  <a:gd name="connsiteY206" fmla="*/ 2256367 h 2808220"/>
                  <a:gd name="connsiteX207" fmla="*/ 3270654 w 3647500"/>
                  <a:gd name="connsiteY207" fmla="*/ 2281358 h 2808220"/>
                  <a:gd name="connsiteX208" fmla="*/ 3270654 w 3647500"/>
                  <a:gd name="connsiteY208" fmla="*/ 2309355 h 2808220"/>
                  <a:gd name="connsiteX209" fmla="*/ 3284645 w 3647500"/>
                  <a:gd name="connsiteY209" fmla="*/ 2318362 h 2808220"/>
                  <a:gd name="connsiteX210" fmla="*/ 3292645 w 3647500"/>
                  <a:gd name="connsiteY210" fmla="*/ 2299355 h 2808220"/>
                  <a:gd name="connsiteX211" fmla="*/ 3310636 w 3647500"/>
                  <a:gd name="connsiteY211" fmla="*/ 2285365 h 2808220"/>
                  <a:gd name="connsiteX212" fmla="*/ 3326626 w 3647500"/>
                  <a:gd name="connsiteY212" fmla="*/ 2295360 h 2808220"/>
                  <a:gd name="connsiteX213" fmla="*/ 3326626 w 3647500"/>
                  <a:gd name="connsiteY213" fmla="*/ 2335347 h 2808220"/>
                  <a:gd name="connsiteX214" fmla="*/ 3318637 w 3647500"/>
                  <a:gd name="connsiteY214" fmla="*/ 2380340 h 2808220"/>
                  <a:gd name="connsiteX215" fmla="*/ 3269643 w 3647500"/>
                  <a:gd name="connsiteY215" fmla="*/ 2418294 h 2808220"/>
                  <a:gd name="connsiteX216" fmla="*/ 3290640 w 3647500"/>
                  <a:gd name="connsiteY216" fmla="*/ 2446330 h 2808220"/>
                  <a:gd name="connsiteX217" fmla="*/ 3287650 w 3647500"/>
                  <a:gd name="connsiteY217" fmla="*/ 2469310 h 2808220"/>
                  <a:gd name="connsiteX218" fmla="*/ 3256658 w 3647500"/>
                  <a:gd name="connsiteY218" fmla="*/ 2506280 h 2808220"/>
                  <a:gd name="connsiteX219" fmla="*/ 3229661 w 3647500"/>
                  <a:gd name="connsiteY219" fmla="*/ 2552296 h 2808220"/>
                  <a:gd name="connsiteX220" fmla="*/ 3213935 w 3647500"/>
                  <a:gd name="connsiteY220" fmla="*/ 2572129 h 2808220"/>
                  <a:gd name="connsiteX221" fmla="*/ 3202670 w 3647500"/>
                  <a:gd name="connsiteY221" fmla="*/ 2586288 h 2808220"/>
                  <a:gd name="connsiteX222" fmla="*/ 3168689 w 3647500"/>
                  <a:gd name="connsiteY222" fmla="*/ 2587243 h 2808220"/>
                  <a:gd name="connsiteX223" fmla="*/ 3145692 w 3647500"/>
                  <a:gd name="connsiteY223" fmla="*/ 2592243 h 2808220"/>
                  <a:gd name="connsiteX224" fmla="*/ 3082714 w 3647500"/>
                  <a:gd name="connsiteY224" fmla="*/ 2623258 h 2808220"/>
                  <a:gd name="connsiteX225" fmla="*/ 3011752 w 3647500"/>
                  <a:gd name="connsiteY225" fmla="*/ 2652250 h 2808220"/>
                  <a:gd name="connsiteX226" fmla="*/ 2982755 w 3647500"/>
                  <a:gd name="connsiteY226" fmla="*/ 2654272 h 2808220"/>
                  <a:gd name="connsiteX227" fmla="*/ 2969770 w 3647500"/>
                  <a:gd name="connsiteY227" fmla="*/ 2637248 h 2808220"/>
                  <a:gd name="connsiteX228" fmla="*/ 2913787 w 3647500"/>
                  <a:gd name="connsiteY228" fmla="*/ 2645283 h 2808220"/>
                  <a:gd name="connsiteX229" fmla="*/ 2816817 w 3647500"/>
                  <a:gd name="connsiteY229" fmla="*/ 2675229 h 2808220"/>
                  <a:gd name="connsiteX230" fmla="*/ 2785572 w 3647500"/>
                  <a:gd name="connsiteY230" fmla="*/ 2680230 h 2808220"/>
                  <a:gd name="connsiteX231" fmla="*/ 2728847 w 3647500"/>
                  <a:gd name="connsiteY231" fmla="*/ 2689220 h 2808220"/>
                  <a:gd name="connsiteX232" fmla="*/ 2661880 w 3647500"/>
                  <a:gd name="connsiteY232" fmla="*/ 2692254 h 2808220"/>
                  <a:gd name="connsiteX233" fmla="*/ 2659879 w 3647500"/>
                  <a:gd name="connsiteY233" fmla="*/ 2740236 h 2808220"/>
                  <a:gd name="connsiteX234" fmla="*/ 2650890 w 3647500"/>
                  <a:gd name="connsiteY234" fmla="*/ 2757204 h 2808220"/>
                  <a:gd name="connsiteX235" fmla="*/ 2635894 w 3647500"/>
                  <a:gd name="connsiteY235" fmla="*/ 2778217 h 2808220"/>
                  <a:gd name="connsiteX236" fmla="*/ 2617903 w 3647500"/>
                  <a:gd name="connsiteY236" fmla="*/ 2794230 h 2808220"/>
                  <a:gd name="connsiteX237" fmla="*/ 2585911 w 3647500"/>
                  <a:gd name="connsiteY237" fmla="*/ 2796197 h 2808220"/>
                  <a:gd name="connsiteX238" fmla="*/ 2540930 w 3647500"/>
                  <a:gd name="connsiteY238" fmla="*/ 2808221 h 2808220"/>
                  <a:gd name="connsiteX239" fmla="*/ 2507949 w 3647500"/>
                  <a:gd name="connsiteY239" fmla="*/ 2799175 h 2808220"/>
                  <a:gd name="connsiteX240" fmla="*/ 2474962 w 3647500"/>
                  <a:gd name="connsiteY240" fmla="*/ 2778217 h 2808220"/>
                  <a:gd name="connsiteX241" fmla="*/ 2471956 w 3647500"/>
                  <a:gd name="connsiteY241" fmla="*/ 2749226 h 2808220"/>
                  <a:gd name="connsiteX242" fmla="*/ 2457972 w 3647500"/>
                  <a:gd name="connsiteY242" fmla="*/ 2716245 h 2808220"/>
                  <a:gd name="connsiteX243" fmla="*/ 2438975 w 3647500"/>
                  <a:gd name="connsiteY243" fmla="*/ 2723212 h 2808220"/>
                  <a:gd name="connsiteX244" fmla="*/ 2402000 w 3647500"/>
                  <a:gd name="connsiteY244" fmla="*/ 2740236 h 2808220"/>
                  <a:gd name="connsiteX245" fmla="*/ 2393999 w 3647500"/>
                  <a:gd name="connsiteY245" fmla="*/ 2764227 h 2808220"/>
                  <a:gd name="connsiteX246" fmla="*/ 2341005 w 3647500"/>
                  <a:gd name="connsiteY246" fmla="*/ 2770239 h 2808220"/>
                  <a:gd name="connsiteX247" fmla="*/ 2309024 w 3647500"/>
                  <a:gd name="connsiteY247" fmla="*/ 2750237 h 2808220"/>
                  <a:gd name="connsiteX248" fmla="*/ 2281044 w 3647500"/>
                  <a:gd name="connsiteY248" fmla="*/ 2733212 h 2808220"/>
                  <a:gd name="connsiteX249" fmla="*/ 2239062 w 3647500"/>
                  <a:gd name="connsiteY249" fmla="*/ 2717256 h 2808220"/>
                  <a:gd name="connsiteX250" fmla="*/ 2214071 w 3647500"/>
                  <a:gd name="connsiteY250" fmla="*/ 2713211 h 2808220"/>
                  <a:gd name="connsiteX251" fmla="*/ 2173078 w 3647500"/>
                  <a:gd name="connsiteY251" fmla="*/ 2724223 h 2808220"/>
                  <a:gd name="connsiteX252" fmla="*/ 2130102 w 3647500"/>
                  <a:gd name="connsiteY252" fmla="*/ 2742203 h 2808220"/>
                  <a:gd name="connsiteX253" fmla="*/ 2085114 w 3647500"/>
                  <a:gd name="connsiteY253" fmla="*/ 2760182 h 2808220"/>
                  <a:gd name="connsiteX254" fmla="*/ 2038143 w 3647500"/>
                  <a:gd name="connsiteY254" fmla="*/ 2759226 h 2808220"/>
                  <a:gd name="connsiteX255" fmla="*/ 2015158 w 3647500"/>
                  <a:gd name="connsiteY255" fmla="*/ 2751192 h 2808220"/>
                  <a:gd name="connsiteX256" fmla="*/ 1976170 w 3647500"/>
                  <a:gd name="connsiteY256" fmla="*/ 2753215 h 2808220"/>
                  <a:gd name="connsiteX257" fmla="*/ 1945179 w 3647500"/>
                  <a:gd name="connsiteY257" fmla="*/ 2750181 h 2808220"/>
                  <a:gd name="connsiteX258" fmla="*/ 1933189 w 3647500"/>
                  <a:gd name="connsiteY258" fmla="*/ 2727201 h 2808220"/>
                  <a:gd name="connsiteX259" fmla="*/ 1924177 w 3647500"/>
                  <a:gd name="connsiteY259" fmla="*/ 2716245 h 2808220"/>
                  <a:gd name="connsiteX260" fmla="*/ 1903202 w 3647500"/>
                  <a:gd name="connsiteY260" fmla="*/ 2704221 h 2808220"/>
                  <a:gd name="connsiteX261" fmla="*/ 1900197 w 3647500"/>
                  <a:gd name="connsiteY261" fmla="*/ 2674218 h 2808220"/>
                  <a:gd name="connsiteX262" fmla="*/ 1871211 w 3647500"/>
                  <a:gd name="connsiteY262" fmla="*/ 2647249 h 2808220"/>
                  <a:gd name="connsiteX263" fmla="*/ 1846225 w 3647500"/>
                  <a:gd name="connsiteY263" fmla="*/ 2633259 h 2808220"/>
                  <a:gd name="connsiteX264" fmla="*/ 1843219 w 3647500"/>
                  <a:gd name="connsiteY264" fmla="*/ 2591232 h 2808220"/>
                  <a:gd name="connsiteX265" fmla="*/ 1835224 w 3647500"/>
                  <a:gd name="connsiteY265" fmla="*/ 2565275 h 2808220"/>
                  <a:gd name="connsiteX266" fmla="*/ 1807238 w 3647500"/>
                  <a:gd name="connsiteY266" fmla="*/ 2531282 h 2808220"/>
                  <a:gd name="connsiteX267" fmla="*/ 1732270 w 3647500"/>
                  <a:gd name="connsiteY267" fmla="*/ 2494256 h 2808220"/>
                  <a:gd name="connsiteX268" fmla="*/ 1682293 w 3647500"/>
                  <a:gd name="connsiteY268" fmla="*/ 2471276 h 2808220"/>
                  <a:gd name="connsiteX269" fmla="*/ 1664296 w 3647500"/>
                  <a:gd name="connsiteY269" fmla="*/ 2474254 h 2808220"/>
                  <a:gd name="connsiteX270" fmla="*/ 1592317 w 3647500"/>
                  <a:gd name="connsiteY270" fmla="*/ 2492290 h 2808220"/>
                  <a:gd name="connsiteX271" fmla="*/ 1500359 w 3647500"/>
                  <a:gd name="connsiteY271" fmla="*/ 2504257 h 2808220"/>
                  <a:gd name="connsiteX272" fmla="*/ 1480362 w 3647500"/>
                  <a:gd name="connsiteY272" fmla="*/ 2486278 h 2808220"/>
                  <a:gd name="connsiteX273" fmla="*/ 1444376 w 3647500"/>
                  <a:gd name="connsiteY273" fmla="*/ 2447285 h 2808220"/>
                  <a:gd name="connsiteX274" fmla="*/ 1448370 w 3647500"/>
                  <a:gd name="connsiteY274" fmla="*/ 2431272 h 2808220"/>
                  <a:gd name="connsiteX275" fmla="*/ 1449376 w 3647500"/>
                  <a:gd name="connsiteY275" fmla="*/ 2404303 h 2808220"/>
                  <a:gd name="connsiteX276" fmla="*/ 1436380 w 3647500"/>
                  <a:gd name="connsiteY276" fmla="*/ 2383318 h 2808220"/>
                  <a:gd name="connsiteX277" fmla="*/ 1417390 w 3647500"/>
                  <a:gd name="connsiteY277" fmla="*/ 2383318 h 2808220"/>
                  <a:gd name="connsiteX278" fmla="*/ 1391404 w 3647500"/>
                  <a:gd name="connsiteY278" fmla="*/ 2359321 h 2808220"/>
                  <a:gd name="connsiteX279" fmla="*/ 1375402 w 3647500"/>
                  <a:gd name="connsiteY279" fmla="*/ 2328324 h 2808220"/>
                  <a:gd name="connsiteX280" fmla="*/ 1405388 w 3647500"/>
                  <a:gd name="connsiteY280" fmla="*/ 2320329 h 2808220"/>
                  <a:gd name="connsiteX281" fmla="*/ 1414395 w 3647500"/>
                  <a:gd name="connsiteY281" fmla="*/ 2296332 h 2808220"/>
                  <a:gd name="connsiteX282" fmla="*/ 1404394 w 3647500"/>
                  <a:gd name="connsiteY282" fmla="*/ 2275335 h 2808220"/>
                  <a:gd name="connsiteX283" fmla="*/ 1401410 w 3647500"/>
                  <a:gd name="connsiteY283" fmla="*/ 2273498 h 2808220"/>
                  <a:gd name="connsiteX284" fmla="*/ 1378408 w 3647500"/>
                  <a:gd name="connsiteY284" fmla="*/ 2259339 h 2808220"/>
                  <a:gd name="connsiteX285" fmla="*/ 1331426 w 3647500"/>
                  <a:gd name="connsiteY285" fmla="*/ 2257345 h 2808220"/>
                  <a:gd name="connsiteX286" fmla="*/ 1303446 w 3647500"/>
                  <a:gd name="connsiteY286" fmla="*/ 2255350 h 2808220"/>
                  <a:gd name="connsiteX287" fmla="*/ 1278460 w 3647500"/>
                  <a:gd name="connsiteY287" fmla="*/ 2247355 h 2808220"/>
                  <a:gd name="connsiteX288" fmla="*/ 1235467 w 3647500"/>
                  <a:gd name="connsiteY288" fmla="*/ 2285342 h 2808220"/>
                  <a:gd name="connsiteX289" fmla="*/ 1197491 w 3647500"/>
                  <a:gd name="connsiteY289" fmla="*/ 2293343 h 2808220"/>
                  <a:gd name="connsiteX290" fmla="*/ 1173494 w 3647500"/>
                  <a:gd name="connsiteY290" fmla="*/ 2319323 h 2808220"/>
                  <a:gd name="connsiteX291" fmla="*/ 1163504 w 3647500"/>
                  <a:gd name="connsiteY291" fmla="*/ 2369311 h 2808220"/>
                  <a:gd name="connsiteX292" fmla="*/ 1134518 w 3647500"/>
                  <a:gd name="connsiteY292" fmla="*/ 2398292 h 2808220"/>
                  <a:gd name="connsiteX293" fmla="*/ 1106533 w 3647500"/>
                  <a:gd name="connsiteY293" fmla="*/ 2383312 h 2808220"/>
                  <a:gd name="connsiteX294" fmla="*/ 1080541 w 3647500"/>
                  <a:gd name="connsiteY294" fmla="*/ 2378312 h 2808220"/>
                  <a:gd name="connsiteX295" fmla="*/ 1029570 w 3647500"/>
                  <a:gd name="connsiteY295" fmla="*/ 2407281 h 2808220"/>
                  <a:gd name="connsiteX296" fmla="*/ 1012574 w 3647500"/>
                  <a:gd name="connsiteY296" fmla="*/ 2399303 h 2808220"/>
                  <a:gd name="connsiteX297" fmla="*/ 974581 w 3647500"/>
                  <a:gd name="connsiteY297" fmla="*/ 2365311 h 2808220"/>
                  <a:gd name="connsiteX298" fmla="*/ 973581 w 3647500"/>
                  <a:gd name="connsiteY298" fmla="*/ 2338314 h 2808220"/>
                  <a:gd name="connsiteX299" fmla="*/ 960585 w 3647500"/>
                  <a:gd name="connsiteY299" fmla="*/ 2327318 h 2808220"/>
                  <a:gd name="connsiteX300" fmla="*/ 930605 w 3647500"/>
                  <a:gd name="connsiteY300" fmla="*/ 2322323 h 2808220"/>
                  <a:gd name="connsiteX301" fmla="*/ 923149 w 3647500"/>
                  <a:gd name="connsiteY301" fmla="*/ 2312603 h 2808220"/>
                  <a:gd name="connsiteX302" fmla="*/ 920609 w 3647500"/>
                  <a:gd name="connsiteY302" fmla="*/ 2309327 h 2808220"/>
                  <a:gd name="connsiteX303" fmla="*/ 914614 w 3647500"/>
                  <a:gd name="connsiteY303" fmla="*/ 2261340 h 2808220"/>
                  <a:gd name="connsiteX304" fmla="*/ 891634 w 3647500"/>
                  <a:gd name="connsiteY304" fmla="*/ 2254350 h 2808220"/>
                  <a:gd name="connsiteX305" fmla="*/ 851642 w 3647500"/>
                  <a:gd name="connsiteY305" fmla="*/ 2233354 h 2808220"/>
                  <a:gd name="connsiteX306" fmla="*/ 812654 w 3647500"/>
                  <a:gd name="connsiteY306" fmla="*/ 2192366 h 2808220"/>
                  <a:gd name="connsiteX307" fmla="*/ 789675 w 3647500"/>
                  <a:gd name="connsiteY307" fmla="*/ 2149384 h 2808220"/>
                  <a:gd name="connsiteX308" fmla="*/ 768684 w 3647500"/>
                  <a:gd name="connsiteY308" fmla="*/ 2102391 h 2808220"/>
                  <a:gd name="connsiteX309" fmla="*/ 739698 w 3647500"/>
                  <a:gd name="connsiteY309" fmla="*/ 2089395 h 2808220"/>
                  <a:gd name="connsiteX310" fmla="*/ 722707 w 3647500"/>
                  <a:gd name="connsiteY310" fmla="*/ 2071410 h 2808220"/>
                  <a:gd name="connsiteX311" fmla="*/ 697722 w 3647500"/>
                  <a:gd name="connsiteY311" fmla="*/ 2034418 h 2808220"/>
                  <a:gd name="connsiteX312" fmla="*/ 690721 w 3647500"/>
                  <a:gd name="connsiteY312" fmla="*/ 2011421 h 2808220"/>
                  <a:gd name="connsiteX313" fmla="*/ 670725 w 3647500"/>
                  <a:gd name="connsiteY313" fmla="*/ 1980435 h 2808220"/>
                  <a:gd name="connsiteX314" fmla="*/ 683720 w 3647500"/>
                  <a:gd name="connsiteY314" fmla="*/ 1965433 h 2808220"/>
                  <a:gd name="connsiteX315" fmla="*/ 713707 w 3647500"/>
                  <a:gd name="connsiteY315" fmla="*/ 1957433 h 2808220"/>
                  <a:gd name="connsiteX316" fmla="*/ 775679 w 3647500"/>
                  <a:gd name="connsiteY316" fmla="*/ 1940442 h 2808220"/>
                  <a:gd name="connsiteX317" fmla="*/ 796670 w 3647500"/>
                  <a:gd name="connsiteY317" fmla="*/ 1915456 h 2808220"/>
                  <a:gd name="connsiteX318" fmla="*/ 815649 w 3647500"/>
                  <a:gd name="connsiteY318" fmla="*/ 1890460 h 2808220"/>
                  <a:gd name="connsiteX319" fmla="*/ 852642 w 3647500"/>
                  <a:gd name="connsiteY319" fmla="*/ 1884465 h 2808220"/>
                  <a:gd name="connsiteX320" fmla="*/ 867818 w 3647500"/>
                  <a:gd name="connsiteY320" fmla="*/ 1879032 h 2808220"/>
                  <a:gd name="connsiteX321" fmla="*/ 880616 w 3647500"/>
                  <a:gd name="connsiteY321" fmla="*/ 1874469 h 2808220"/>
                  <a:gd name="connsiteX322" fmla="*/ 888617 w 3647500"/>
                  <a:gd name="connsiteY322" fmla="*/ 1835482 h 2808220"/>
                  <a:gd name="connsiteX323" fmla="*/ 893618 w 3647500"/>
                  <a:gd name="connsiteY323" fmla="*/ 1796489 h 2808220"/>
                  <a:gd name="connsiteX324" fmla="*/ 875633 w 3647500"/>
                  <a:gd name="connsiteY324" fmla="*/ 1767503 h 2808220"/>
                  <a:gd name="connsiteX325" fmla="*/ 815649 w 3647500"/>
                  <a:gd name="connsiteY325" fmla="*/ 1694518 h 2808220"/>
                  <a:gd name="connsiteX326" fmla="*/ 748688 w 3647500"/>
                  <a:gd name="connsiteY326" fmla="*/ 1636546 h 2808220"/>
                  <a:gd name="connsiteX327" fmla="*/ 711701 w 3647500"/>
                  <a:gd name="connsiteY327" fmla="*/ 1603554 h 2808220"/>
                  <a:gd name="connsiteX328" fmla="*/ 632738 w 3647500"/>
                  <a:gd name="connsiteY328" fmla="*/ 1605560 h 2808220"/>
                  <a:gd name="connsiteX329" fmla="*/ 586750 w 3647500"/>
                  <a:gd name="connsiteY329" fmla="*/ 1571562 h 2808220"/>
                  <a:gd name="connsiteX330" fmla="*/ 549763 w 3647500"/>
                  <a:gd name="connsiteY330" fmla="*/ 1544565 h 2808220"/>
                  <a:gd name="connsiteX331" fmla="*/ 518777 w 3647500"/>
                  <a:gd name="connsiteY331" fmla="*/ 1576557 h 2808220"/>
                  <a:gd name="connsiteX332" fmla="*/ 489791 w 3647500"/>
                  <a:gd name="connsiteY332" fmla="*/ 1553560 h 2808220"/>
                  <a:gd name="connsiteX333" fmla="*/ 468794 w 3647500"/>
                  <a:gd name="connsiteY333" fmla="*/ 1521569 h 2808220"/>
                  <a:gd name="connsiteX334" fmla="*/ 457799 w 3647500"/>
                  <a:gd name="connsiteY334" fmla="*/ 1490582 h 2808220"/>
                  <a:gd name="connsiteX335" fmla="*/ 425807 w 3647500"/>
                  <a:gd name="connsiteY335" fmla="*/ 1491583 h 2808220"/>
                  <a:gd name="connsiteX336" fmla="*/ 426807 w 3647500"/>
                  <a:gd name="connsiteY336" fmla="*/ 1462591 h 2808220"/>
                  <a:gd name="connsiteX337" fmla="*/ 413811 w 3647500"/>
                  <a:gd name="connsiteY337" fmla="*/ 1439588 h 2808220"/>
                  <a:gd name="connsiteX338" fmla="*/ 392826 w 3647500"/>
                  <a:gd name="connsiteY338" fmla="*/ 1435605 h 2808220"/>
                  <a:gd name="connsiteX339" fmla="*/ 387814 w 3647500"/>
                  <a:gd name="connsiteY339" fmla="*/ 1418609 h 2808220"/>
                  <a:gd name="connsiteX340" fmla="*/ 378825 w 3647500"/>
                  <a:gd name="connsiteY340" fmla="*/ 1384611 h 2808220"/>
                  <a:gd name="connsiteX341" fmla="*/ 368621 w 3647500"/>
                  <a:gd name="connsiteY341" fmla="*/ 1368542 h 2808220"/>
                  <a:gd name="connsiteX342" fmla="*/ 352828 w 3647500"/>
                  <a:gd name="connsiteY342" fmla="*/ 1343635 h 2808220"/>
                  <a:gd name="connsiteX343" fmla="*/ 342838 w 3647500"/>
                  <a:gd name="connsiteY343" fmla="*/ 1311637 h 2808220"/>
                  <a:gd name="connsiteX344" fmla="*/ 340433 w 3647500"/>
                  <a:gd name="connsiteY344" fmla="*/ 1291765 h 2808220"/>
                  <a:gd name="connsiteX345" fmla="*/ 339832 w 3647500"/>
                  <a:gd name="connsiteY345" fmla="*/ 1286646 h 2808220"/>
                  <a:gd name="connsiteX346" fmla="*/ 318835 w 3647500"/>
                  <a:gd name="connsiteY346" fmla="*/ 1279657 h 2808220"/>
                  <a:gd name="connsiteX347" fmla="*/ 282854 w 3647500"/>
                  <a:gd name="connsiteY347" fmla="*/ 1276645 h 2808220"/>
                  <a:gd name="connsiteX348" fmla="*/ 279860 w 3647500"/>
                  <a:gd name="connsiteY348" fmla="*/ 1256660 h 2808220"/>
                  <a:gd name="connsiteX349" fmla="*/ 285854 w 3647500"/>
                  <a:gd name="connsiteY349" fmla="*/ 1235664 h 2808220"/>
                  <a:gd name="connsiteX350" fmla="*/ 295850 w 3647500"/>
                  <a:gd name="connsiteY350" fmla="*/ 1211667 h 2808220"/>
                  <a:gd name="connsiteX351" fmla="*/ 291855 w 3647500"/>
                  <a:gd name="connsiteY351" fmla="*/ 1187676 h 2808220"/>
                  <a:gd name="connsiteX352" fmla="*/ 263858 w 3647500"/>
                  <a:gd name="connsiteY352" fmla="*/ 1193676 h 2808220"/>
                  <a:gd name="connsiteX353" fmla="*/ 231872 w 3647500"/>
                  <a:gd name="connsiteY353" fmla="*/ 1195665 h 2808220"/>
                  <a:gd name="connsiteX354" fmla="*/ 194885 w 3647500"/>
                  <a:gd name="connsiteY354" fmla="*/ 1176674 h 2808220"/>
                  <a:gd name="connsiteX355" fmla="*/ 152903 w 3647500"/>
                  <a:gd name="connsiteY355" fmla="*/ 1129692 h 2808220"/>
                  <a:gd name="connsiteX356" fmla="*/ 118916 w 3647500"/>
                  <a:gd name="connsiteY356" fmla="*/ 1081710 h 2808220"/>
                  <a:gd name="connsiteX357" fmla="*/ 108921 w 3647500"/>
                  <a:gd name="connsiteY357" fmla="*/ 1045712 h 2808220"/>
                  <a:gd name="connsiteX358" fmla="*/ 72940 w 3647500"/>
                  <a:gd name="connsiteY358" fmla="*/ 1009731 h 2808220"/>
                  <a:gd name="connsiteX359" fmla="*/ 65945 w 3647500"/>
                  <a:gd name="connsiteY359" fmla="*/ 971727 h 2808220"/>
                  <a:gd name="connsiteX360" fmla="*/ 64939 w 3647500"/>
                  <a:gd name="connsiteY360" fmla="*/ 945730 h 2808220"/>
                  <a:gd name="connsiteX361" fmla="*/ 34953 w 3647500"/>
                  <a:gd name="connsiteY361" fmla="*/ 928739 h 2808220"/>
                  <a:gd name="connsiteX362" fmla="*/ 15962 w 3647500"/>
                  <a:gd name="connsiteY362" fmla="*/ 909743 h 2808220"/>
                  <a:gd name="connsiteX363" fmla="*/ 5647 w 3647500"/>
                  <a:gd name="connsiteY363" fmla="*/ 910086 h 2808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Lst>
                <a:rect l="l" t="t" r="r" b="b"/>
                <a:pathLst>
                  <a:path w="3647500" h="2808220">
                    <a:moveTo>
                      <a:pt x="11001" y="907766"/>
                    </a:moveTo>
                    <a:cubicBezTo>
                      <a:pt x="10001" y="904759"/>
                      <a:pt x="8001" y="898759"/>
                      <a:pt x="8001" y="898759"/>
                    </a:cubicBezTo>
                    <a:lnTo>
                      <a:pt x="0" y="882763"/>
                    </a:lnTo>
                    <a:lnTo>
                      <a:pt x="4000" y="866750"/>
                    </a:lnTo>
                    <a:lnTo>
                      <a:pt x="33987" y="841759"/>
                    </a:lnTo>
                    <a:lnTo>
                      <a:pt x="35987" y="816767"/>
                    </a:lnTo>
                    <a:lnTo>
                      <a:pt x="61978" y="805772"/>
                    </a:lnTo>
                    <a:lnTo>
                      <a:pt x="92964" y="808767"/>
                    </a:lnTo>
                    <a:lnTo>
                      <a:pt x="102954" y="790759"/>
                    </a:lnTo>
                    <a:lnTo>
                      <a:pt x="94953" y="756773"/>
                    </a:lnTo>
                    <a:lnTo>
                      <a:pt x="85964" y="720775"/>
                    </a:lnTo>
                    <a:lnTo>
                      <a:pt x="98959" y="688794"/>
                    </a:lnTo>
                    <a:lnTo>
                      <a:pt x="115950" y="681793"/>
                    </a:lnTo>
                    <a:lnTo>
                      <a:pt x="139941" y="694789"/>
                    </a:lnTo>
                    <a:lnTo>
                      <a:pt x="159932" y="709779"/>
                    </a:lnTo>
                    <a:lnTo>
                      <a:pt x="187912" y="703784"/>
                    </a:lnTo>
                    <a:lnTo>
                      <a:pt x="202908" y="682799"/>
                    </a:lnTo>
                    <a:lnTo>
                      <a:pt x="223905" y="672792"/>
                    </a:lnTo>
                    <a:lnTo>
                      <a:pt x="249885" y="659797"/>
                    </a:lnTo>
                    <a:lnTo>
                      <a:pt x="283877" y="654802"/>
                    </a:lnTo>
                    <a:lnTo>
                      <a:pt x="312857" y="674798"/>
                    </a:lnTo>
                    <a:lnTo>
                      <a:pt x="349844" y="667798"/>
                    </a:lnTo>
                    <a:lnTo>
                      <a:pt x="390831" y="648807"/>
                    </a:lnTo>
                    <a:lnTo>
                      <a:pt x="389831" y="601819"/>
                    </a:lnTo>
                    <a:lnTo>
                      <a:pt x="377841" y="573833"/>
                    </a:lnTo>
                    <a:lnTo>
                      <a:pt x="356845" y="528845"/>
                    </a:lnTo>
                    <a:lnTo>
                      <a:pt x="352850" y="481869"/>
                    </a:lnTo>
                    <a:lnTo>
                      <a:pt x="340860" y="457878"/>
                    </a:lnTo>
                    <a:lnTo>
                      <a:pt x="339860" y="429880"/>
                    </a:lnTo>
                    <a:lnTo>
                      <a:pt x="350850" y="389888"/>
                    </a:lnTo>
                    <a:lnTo>
                      <a:pt x="370846" y="365896"/>
                    </a:lnTo>
                    <a:lnTo>
                      <a:pt x="396073" y="354052"/>
                    </a:lnTo>
                    <a:lnTo>
                      <a:pt x="402833" y="350901"/>
                    </a:lnTo>
                    <a:lnTo>
                      <a:pt x="418823" y="369902"/>
                    </a:lnTo>
                    <a:cubicBezTo>
                      <a:pt x="418823" y="369902"/>
                      <a:pt x="441820" y="379898"/>
                      <a:pt x="444814" y="380898"/>
                    </a:cubicBezTo>
                    <a:cubicBezTo>
                      <a:pt x="447820" y="381898"/>
                      <a:pt x="467811" y="401894"/>
                      <a:pt x="467811" y="401894"/>
                    </a:cubicBezTo>
                    <a:lnTo>
                      <a:pt x="505787" y="406889"/>
                    </a:lnTo>
                    <a:lnTo>
                      <a:pt x="552769" y="425880"/>
                    </a:lnTo>
                    <a:lnTo>
                      <a:pt x="603752" y="468867"/>
                    </a:lnTo>
                    <a:lnTo>
                      <a:pt x="631732" y="470868"/>
                    </a:lnTo>
                    <a:lnTo>
                      <a:pt x="663718" y="482863"/>
                    </a:lnTo>
                    <a:lnTo>
                      <a:pt x="683715" y="507855"/>
                    </a:lnTo>
                    <a:lnTo>
                      <a:pt x="712712" y="519844"/>
                    </a:lnTo>
                    <a:lnTo>
                      <a:pt x="741704" y="530840"/>
                    </a:lnTo>
                    <a:lnTo>
                      <a:pt x="764689" y="550842"/>
                    </a:lnTo>
                    <a:lnTo>
                      <a:pt x="790675" y="545841"/>
                    </a:lnTo>
                    <a:lnTo>
                      <a:pt x="810666" y="564821"/>
                    </a:lnTo>
                    <a:lnTo>
                      <a:pt x="836646" y="608814"/>
                    </a:lnTo>
                    <a:lnTo>
                      <a:pt x="850642" y="591823"/>
                    </a:lnTo>
                    <a:lnTo>
                      <a:pt x="875633" y="580828"/>
                    </a:lnTo>
                    <a:lnTo>
                      <a:pt x="906613" y="609814"/>
                    </a:lnTo>
                    <a:lnTo>
                      <a:pt x="935605" y="655802"/>
                    </a:lnTo>
                    <a:lnTo>
                      <a:pt x="973586" y="651802"/>
                    </a:lnTo>
                    <a:lnTo>
                      <a:pt x="1005573" y="671792"/>
                    </a:lnTo>
                    <a:lnTo>
                      <a:pt x="1030564" y="713797"/>
                    </a:lnTo>
                    <a:lnTo>
                      <a:pt x="1059550" y="719791"/>
                    </a:lnTo>
                    <a:lnTo>
                      <a:pt x="1095537" y="758773"/>
                    </a:lnTo>
                    <a:lnTo>
                      <a:pt x="1126529" y="767779"/>
                    </a:lnTo>
                    <a:lnTo>
                      <a:pt x="1146520" y="786781"/>
                    </a:lnTo>
                    <a:lnTo>
                      <a:pt x="1147525" y="813784"/>
                    </a:lnTo>
                    <a:lnTo>
                      <a:pt x="1160515" y="824780"/>
                    </a:lnTo>
                    <a:lnTo>
                      <a:pt x="1192502" y="826769"/>
                    </a:lnTo>
                    <a:lnTo>
                      <a:pt x="1192502" y="785776"/>
                    </a:lnTo>
                    <a:lnTo>
                      <a:pt x="1212492" y="782787"/>
                    </a:lnTo>
                    <a:lnTo>
                      <a:pt x="1252485" y="805783"/>
                    </a:lnTo>
                    <a:lnTo>
                      <a:pt x="1296462" y="814778"/>
                    </a:lnTo>
                    <a:lnTo>
                      <a:pt x="1328454" y="818779"/>
                    </a:lnTo>
                    <a:lnTo>
                      <a:pt x="1329454" y="802777"/>
                    </a:lnTo>
                    <a:lnTo>
                      <a:pt x="1352445" y="772785"/>
                    </a:lnTo>
                    <a:lnTo>
                      <a:pt x="1344444" y="753778"/>
                    </a:lnTo>
                    <a:lnTo>
                      <a:pt x="1329454" y="714791"/>
                    </a:lnTo>
                    <a:lnTo>
                      <a:pt x="1354445" y="707796"/>
                    </a:lnTo>
                    <a:lnTo>
                      <a:pt x="1377430" y="694800"/>
                    </a:lnTo>
                    <a:lnTo>
                      <a:pt x="1410411" y="671792"/>
                    </a:lnTo>
                    <a:lnTo>
                      <a:pt x="1452404" y="660797"/>
                    </a:lnTo>
                    <a:lnTo>
                      <a:pt x="1481385" y="668803"/>
                    </a:lnTo>
                    <a:lnTo>
                      <a:pt x="1504376" y="677798"/>
                    </a:lnTo>
                    <a:lnTo>
                      <a:pt x="1519377" y="664803"/>
                    </a:lnTo>
                    <a:lnTo>
                      <a:pt x="1515383" y="635817"/>
                    </a:lnTo>
                    <a:lnTo>
                      <a:pt x="1518377" y="595835"/>
                    </a:lnTo>
                    <a:lnTo>
                      <a:pt x="1524361" y="541847"/>
                    </a:lnTo>
                    <a:lnTo>
                      <a:pt x="1511371" y="501854"/>
                    </a:lnTo>
                    <a:lnTo>
                      <a:pt x="1495375" y="466862"/>
                    </a:lnTo>
                    <a:lnTo>
                      <a:pt x="1474384" y="437876"/>
                    </a:lnTo>
                    <a:lnTo>
                      <a:pt x="1467383" y="390887"/>
                    </a:lnTo>
                    <a:lnTo>
                      <a:pt x="1478384" y="343911"/>
                    </a:lnTo>
                    <a:lnTo>
                      <a:pt x="1492375" y="288928"/>
                    </a:lnTo>
                    <a:lnTo>
                      <a:pt x="1483379" y="254930"/>
                    </a:lnTo>
                    <a:lnTo>
                      <a:pt x="1467378" y="223938"/>
                    </a:lnTo>
                    <a:lnTo>
                      <a:pt x="1470378" y="215937"/>
                    </a:lnTo>
                    <a:lnTo>
                      <a:pt x="1488374" y="184945"/>
                    </a:lnTo>
                    <a:lnTo>
                      <a:pt x="1529350" y="163960"/>
                    </a:lnTo>
                    <a:lnTo>
                      <a:pt x="1573338" y="156960"/>
                    </a:lnTo>
                    <a:lnTo>
                      <a:pt x="1629310" y="169955"/>
                    </a:lnTo>
                    <a:lnTo>
                      <a:pt x="1659307" y="142958"/>
                    </a:lnTo>
                    <a:lnTo>
                      <a:pt x="1703289" y="107971"/>
                    </a:lnTo>
                    <a:lnTo>
                      <a:pt x="1704284" y="54983"/>
                    </a:lnTo>
                    <a:lnTo>
                      <a:pt x="1701289" y="0"/>
                    </a:lnTo>
                    <a:lnTo>
                      <a:pt x="1743276" y="16990"/>
                    </a:lnTo>
                    <a:lnTo>
                      <a:pt x="1781258" y="32992"/>
                    </a:lnTo>
                    <a:lnTo>
                      <a:pt x="1823245" y="37987"/>
                    </a:lnTo>
                    <a:lnTo>
                      <a:pt x="1853242" y="62984"/>
                    </a:lnTo>
                    <a:lnTo>
                      <a:pt x="1843236" y="83980"/>
                    </a:lnTo>
                    <a:lnTo>
                      <a:pt x="1817250" y="119967"/>
                    </a:lnTo>
                    <a:lnTo>
                      <a:pt x="1805254" y="164949"/>
                    </a:lnTo>
                    <a:lnTo>
                      <a:pt x="1803260" y="181951"/>
                    </a:lnTo>
                    <a:lnTo>
                      <a:pt x="1827257" y="198941"/>
                    </a:lnTo>
                    <a:lnTo>
                      <a:pt x="1879228" y="203936"/>
                    </a:lnTo>
                    <a:lnTo>
                      <a:pt x="1900219" y="235928"/>
                    </a:lnTo>
                    <a:lnTo>
                      <a:pt x="1903225" y="263925"/>
                    </a:lnTo>
                    <a:lnTo>
                      <a:pt x="1919215" y="266914"/>
                    </a:lnTo>
                    <a:lnTo>
                      <a:pt x="1931205" y="284916"/>
                    </a:lnTo>
                    <a:lnTo>
                      <a:pt x="1966192" y="318908"/>
                    </a:lnTo>
                    <a:lnTo>
                      <a:pt x="1990189" y="351895"/>
                    </a:lnTo>
                    <a:lnTo>
                      <a:pt x="1982188" y="385881"/>
                    </a:lnTo>
                    <a:lnTo>
                      <a:pt x="1992183" y="428869"/>
                    </a:lnTo>
                    <a:lnTo>
                      <a:pt x="1994183" y="492853"/>
                    </a:lnTo>
                    <a:lnTo>
                      <a:pt x="2009162" y="523839"/>
                    </a:lnTo>
                    <a:lnTo>
                      <a:pt x="2007173" y="566832"/>
                    </a:lnTo>
                    <a:lnTo>
                      <a:pt x="2019169" y="585823"/>
                    </a:lnTo>
                    <a:lnTo>
                      <a:pt x="2043166" y="620821"/>
                    </a:lnTo>
                    <a:lnTo>
                      <a:pt x="2064157" y="635811"/>
                    </a:lnTo>
                    <a:lnTo>
                      <a:pt x="2091137" y="640806"/>
                    </a:lnTo>
                    <a:lnTo>
                      <a:pt x="2099138" y="660802"/>
                    </a:lnTo>
                    <a:lnTo>
                      <a:pt x="2102138" y="719797"/>
                    </a:lnTo>
                    <a:lnTo>
                      <a:pt x="2127129" y="726786"/>
                    </a:lnTo>
                    <a:lnTo>
                      <a:pt x="2149120" y="753784"/>
                    </a:lnTo>
                    <a:lnTo>
                      <a:pt x="2155115" y="739788"/>
                    </a:lnTo>
                    <a:lnTo>
                      <a:pt x="2174106" y="721792"/>
                    </a:lnTo>
                    <a:lnTo>
                      <a:pt x="2190108" y="731793"/>
                    </a:lnTo>
                    <a:lnTo>
                      <a:pt x="2208098" y="728792"/>
                    </a:lnTo>
                    <a:lnTo>
                      <a:pt x="2222088" y="708791"/>
                    </a:lnTo>
                    <a:lnTo>
                      <a:pt x="2254069" y="715791"/>
                    </a:lnTo>
                    <a:lnTo>
                      <a:pt x="2260064" y="737793"/>
                    </a:lnTo>
                    <a:lnTo>
                      <a:pt x="2282061" y="772791"/>
                    </a:lnTo>
                    <a:lnTo>
                      <a:pt x="2307277" y="772791"/>
                    </a:lnTo>
                    <a:lnTo>
                      <a:pt x="2311047" y="772791"/>
                    </a:lnTo>
                    <a:lnTo>
                      <a:pt x="2334032" y="779792"/>
                    </a:lnTo>
                    <a:lnTo>
                      <a:pt x="2380026" y="778786"/>
                    </a:lnTo>
                    <a:lnTo>
                      <a:pt x="2419007" y="768785"/>
                    </a:lnTo>
                    <a:lnTo>
                      <a:pt x="2437003" y="756790"/>
                    </a:lnTo>
                    <a:lnTo>
                      <a:pt x="2479985" y="825780"/>
                    </a:lnTo>
                    <a:lnTo>
                      <a:pt x="2525967" y="818779"/>
                    </a:lnTo>
                    <a:lnTo>
                      <a:pt x="2541963" y="838781"/>
                    </a:lnTo>
                    <a:lnTo>
                      <a:pt x="2566943" y="825785"/>
                    </a:lnTo>
                    <a:lnTo>
                      <a:pt x="2610931" y="813790"/>
                    </a:lnTo>
                    <a:lnTo>
                      <a:pt x="2661908" y="816784"/>
                    </a:lnTo>
                    <a:lnTo>
                      <a:pt x="2727875" y="816784"/>
                    </a:lnTo>
                    <a:lnTo>
                      <a:pt x="2730876" y="793788"/>
                    </a:lnTo>
                    <a:lnTo>
                      <a:pt x="2735876" y="747783"/>
                    </a:lnTo>
                    <a:lnTo>
                      <a:pt x="2760867" y="715791"/>
                    </a:lnTo>
                    <a:lnTo>
                      <a:pt x="2788859" y="706796"/>
                    </a:lnTo>
                    <a:lnTo>
                      <a:pt x="2817839" y="714791"/>
                    </a:lnTo>
                    <a:lnTo>
                      <a:pt x="2849826" y="735788"/>
                    </a:lnTo>
                    <a:lnTo>
                      <a:pt x="2891807" y="729787"/>
                    </a:lnTo>
                    <a:lnTo>
                      <a:pt x="2915360" y="707807"/>
                    </a:lnTo>
                    <a:lnTo>
                      <a:pt x="2921799" y="701790"/>
                    </a:lnTo>
                    <a:lnTo>
                      <a:pt x="2960786" y="699801"/>
                    </a:lnTo>
                    <a:lnTo>
                      <a:pt x="2996762" y="710790"/>
                    </a:lnTo>
                    <a:lnTo>
                      <a:pt x="3045739" y="717791"/>
                    </a:lnTo>
                    <a:lnTo>
                      <a:pt x="3070730" y="731787"/>
                    </a:lnTo>
                    <a:lnTo>
                      <a:pt x="3106722" y="767779"/>
                    </a:lnTo>
                    <a:lnTo>
                      <a:pt x="3146698" y="815773"/>
                    </a:lnTo>
                    <a:lnTo>
                      <a:pt x="3180690" y="835775"/>
                    </a:lnTo>
                    <a:lnTo>
                      <a:pt x="3227661" y="866767"/>
                    </a:lnTo>
                    <a:lnTo>
                      <a:pt x="3258659" y="898770"/>
                    </a:lnTo>
                    <a:lnTo>
                      <a:pt x="3258659" y="934757"/>
                    </a:lnTo>
                    <a:lnTo>
                      <a:pt x="3238668" y="963749"/>
                    </a:lnTo>
                    <a:lnTo>
                      <a:pt x="3237662" y="992746"/>
                    </a:lnTo>
                    <a:lnTo>
                      <a:pt x="3248416" y="1005101"/>
                    </a:lnTo>
                    <a:lnTo>
                      <a:pt x="3278649" y="1039734"/>
                    </a:lnTo>
                    <a:lnTo>
                      <a:pt x="3302635" y="1044745"/>
                    </a:lnTo>
                    <a:lnTo>
                      <a:pt x="3329632" y="1071731"/>
                    </a:lnTo>
                    <a:lnTo>
                      <a:pt x="3340628" y="1126709"/>
                    </a:lnTo>
                    <a:lnTo>
                      <a:pt x="3365608" y="1183703"/>
                    </a:lnTo>
                    <a:lnTo>
                      <a:pt x="3407595" y="1269684"/>
                    </a:lnTo>
                    <a:lnTo>
                      <a:pt x="3425597" y="1313660"/>
                    </a:lnTo>
                    <a:lnTo>
                      <a:pt x="3474574" y="1316660"/>
                    </a:lnTo>
                    <a:lnTo>
                      <a:pt x="3500565" y="1327656"/>
                    </a:lnTo>
                    <a:lnTo>
                      <a:pt x="3535524" y="1367649"/>
                    </a:lnTo>
                    <a:lnTo>
                      <a:pt x="3545525" y="1430633"/>
                    </a:lnTo>
                    <a:lnTo>
                      <a:pt x="3553559" y="1506606"/>
                    </a:lnTo>
                    <a:lnTo>
                      <a:pt x="3595530" y="1527586"/>
                    </a:lnTo>
                    <a:lnTo>
                      <a:pt x="3596541" y="1563578"/>
                    </a:lnTo>
                    <a:lnTo>
                      <a:pt x="3583562" y="1610561"/>
                    </a:lnTo>
                    <a:lnTo>
                      <a:pt x="3585529" y="1668550"/>
                    </a:lnTo>
                    <a:lnTo>
                      <a:pt x="3604519" y="1692541"/>
                    </a:lnTo>
                    <a:lnTo>
                      <a:pt x="3615532" y="1730533"/>
                    </a:lnTo>
                    <a:lnTo>
                      <a:pt x="3647501" y="1770509"/>
                    </a:lnTo>
                    <a:lnTo>
                      <a:pt x="3647501" y="1787505"/>
                    </a:lnTo>
                    <a:lnTo>
                      <a:pt x="3622499" y="1836505"/>
                    </a:lnTo>
                    <a:lnTo>
                      <a:pt x="3597552" y="1881487"/>
                    </a:lnTo>
                    <a:lnTo>
                      <a:pt x="3571539" y="1934470"/>
                    </a:lnTo>
                    <a:lnTo>
                      <a:pt x="3558560" y="1946465"/>
                    </a:lnTo>
                    <a:lnTo>
                      <a:pt x="3523556" y="1958466"/>
                    </a:lnTo>
                    <a:lnTo>
                      <a:pt x="3487581" y="1959466"/>
                    </a:lnTo>
                    <a:lnTo>
                      <a:pt x="3452583" y="1961467"/>
                    </a:lnTo>
                    <a:lnTo>
                      <a:pt x="3417602" y="1973462"/>
                    </a:lnTo>
                    <a:lnTo>
                      <a:pt x="3390605" y="2001443"/>
                    </a:lnTo>
                    <a:lnTo>
                      <a:pt x="3363624" y="2058437"/>
                    </a:lnTo>
                    <a:lnTo>
                      <a:pt x="3352623" y="2099430"/>
                    </a:lnTo>
                    <a:lnTo>
                      <a:pt x="3329632" y="2134417"/>
                    </a:lnTo>
                    <a:lnTo>
                      <a:pt x="3312642" y="2155413"/>
                    </a:lnTo>
                    <a:lnTo>
                      <a:pt x="3276650" y="2167414"/>
                    </a:lnTo>
                    <a:lnTo>
                      <a:pt x="3200692" y="2199395"/>
                    </a:lnTo>
                    <a:lnTo>
                      <a:pt x="3219672" y="2216391"/>
                    </a:lnTo>
                    <a:lnTo>
                      <a:pt x="3260659" y="2256367"/>
                    </a:lnTo>
                    <a:lnTo>
                      <a:pt x="3270654" y="2281358"/>
                    </a:lnTo>
                    <a:lnTo>
                      <a:pt x="3270654" y="2309355"/>
                    </a:lnTo>
                    <a:lnTo>
                      <a:pt x="3284645" y="2318362"/>
                    </a:lnTo>
                    <a:lnTo>
                      <a:pt x="3292645" y="2299355"/>
                    </a:lnTo>
                    <a:lnTo>
                      <a:pt x="3310636" y="2285365"/>
                    </a:lnTo>
                    <a:lnTo>
                      <a:pt x="3326626" y="2295360"/>
                    </a:lnTo>
                    <a:lnTo>
                      <a:pt x="3326626" y="2335347"/>
                    </a:lnTo>
                    <a:lnTo>
                      <a:pt x="3318637" y="2380340"/>
                    </a:lnTo>
                    <a:lnTo>
                      <a:pt x="3269643" y="2418294"/>
                    </a:lnTo>
                    <a:lnTo>
                      <a:pt x="3290640" y="2446330"/>
                    </a:lnTo>
                    <a:lnTo>
                      <a:pt x="3287650" y="2469310"/>
                    </a:lnTo>
                    <a:lnTo>
                      <a:pt x="3256658" y="2506280"/>
                    </a:lnTo>
                    <a:lnTo>
                      <a:pt x="3229661" y="2552296"/>
                    </a:lnTo>
                    <a:lnTo>
                      <a:pt x="3213935" y="2572129"/>
                    </a:lnTo>
                    <a:lnTo>
                      <a:pt x="3202670" y="2586288"/>
                    </a:lnTo>
                    <a:lnTo>
                      <a:pt x="3168689" y="2587243"/>
                    </a:lnTo>
                    <a:lnTo>
                      <a:pt x="3145692" y="2592243"/>
                    </a:lnTo>
                    <a:lnTo>
                      <a:pt x="3082714" y="2623258"/>
                    </a:lnTo>
                    <a:lnTo>
                      <a:pt x="3011752" y="2652250"/>
                    </a:lnTo>
                    <a:lnTo>
                      <a:pt x="2982755" y="2654272"/>
                    </a:lnTo>
                    <a:lnTo>
                      <a:pt x="2969770" y="2637248"/>
                    </a:lnTo>
                    <a:lnTo>
                      <a:pt x="2913787" y="2645283"/>
                    </a:lnTo>
                    <a:lnTo>
                      <a:pt x="2816817" y="2675229"/>
                    </a:lnTo>
                    <a:lnTo>
                      <a:pt x="2785572" y="2680230"/>
                    </a:lnTo>
                    <a:lnTo>
                      <a:pt x="2728847" y="2689220"/>
                    </a:lnTo>
                    <a:lnTo>
                      <a:pt x="2661880" y="2692254"/>
                    </a:lnTo>
                    <a:lnTo>
                      <a:pt x="2659879" y="2740236"/>
                    </a:lnTo>
                    <a:lnTo>
                      <a:pt x="2650890" y="2757204"/>
                    </a:lnTo>
                    <a:lnTo>
                      <a:pt x="2635894" y="2778217"/>
                    </a:lnTo>
                    <a:lnTo>
                      <a:pt x="2617903" y="2794230"/>
                    </a:lnTo>
                    <a:lnTo>
                      <a:pt x="2585911" y="2796197"/>
                    </a:lnTo>
                    <a:lnTo>
                      <a:pt x="2540930" y="2808221"/>
                    </a:lnTo>
                    <a:lnTo>
                      <a:pt x="2507949" y="2799175"/>
                    </a:lnTo>
                    <a:lnTo>
                      <a:pt x="2474962" y="2778217"/>
                    </a:lnTo>
                    <a:lnTo>
                      <a:pt x="2471956" y="2749226"/>
                    </a:lnTo>
                    <a:lnTo>
                      <a:pt x="2457972" y="2716245"/>
                    </a:lnTo>
                    <a:lnTo>
                      <a:pt x="2438975" y="2723212"/>
                    </a:lnTo>
                    <a:lnTo>
                      <a:pt x="2402000" y="2740236"/>
                    </a:lnTo>
                    <a:lnTo>
                      <a:pt x="2393999" y="2764227"/>
                    </a:lnTo>
                    <a:lnTo>
                      <a:pt x="2341005" y="2770239"/>
                    </a:lnTo>
                    <a:lnTo>
                      <a:pt x="2309024" y="2750237"/>
                    </a:lnTo>
                    <a:lnTo>
                      <a:pt x="2281044" y="2733212"/>
                    </a:lnTo>
                    <a:lnTo>
                      <a:pt x="2239062" y="2717256"/>
                    </a:lnTo>
                    <a:lnTo>
                      <a:pt x="2214071" y="2713211"/>
                    </a:lnTo>
                    <a:lnTo>
                      <a:pt x="2173078" y="2724223"/>
                    </a:lnTo>
                    <a:lnTo>
                      <a:pt x="2130102" y="2742203"/>
                    </a:lnTo>
                    <a:lnTo>
                      <a:pt x="2085114" y="2760182"/>
                    </a:lnTo>
                    <a:lnTo>
                      <a:pt x="2038143" y="2759226"/>
                    </a:lnTo>
                    <a:lnTo>
                      <a:pt x="2015158" y="2751192"/>
                    </a:lnTo>
                    <a:lnTo>
                      <a:pt x="1976170" y="2753215"/>
                    </a:lnTo>
                    <a:lnTo>
                      <a:pt x="1945179" y="2750181"/>
                    </a:lnTo>
                    <a:lnTo>
                      <a:pt x="1933189" y="2727201"/>
                    </a:lnTo>
                    <a:lnTo>
                      <a:pt x="1924177" y="2716245"/>
                    </a:lnTo>
                    <a:lnTo>
                      <a:pt x="1903202" y="2704221"/>
                    </a:lnTo>
                    <a:lnTo>
                      <a:pt x="1900197" y="2674218"/>
                    </a:lnTo>
                    <a:lnTo>
                      <a:pt x="1871211" y="2647249"/>
                    </a:lnTo>
                    <a:lnTo>
                      <a:pt x="1846225" y="2633259"/>
                    </a:lnTo>
                    <a:lnTo>
                      <a:pt x="1843219" y="2591232"/>
                    </a:lnTo>
                    <a:lnTo>
                      <a:pt x="1835224" y="2565275"/>
                    </a:lnTo>
                    <a:lnTo>
                      <a:pt x="1807238" y="2531282"/>
                    </a:lnTo>
                    <a:lnTo>
                      <a:pt x="1732270" y="2494256"/>
                    </a:lnTo>
                    <a:lnTo>
                      <a:pt x="1682293" y="2471276"/>
                    </a:lnTo>
                    <a:lnTo>
                      <a:pt x="1664296" y="2474254"/>
                    </a:lnTo>
                    <a:lnTo>
                      <a:pt x="1592317" y="2492290"/>
                    </a:lnTo>
                    <a:lnTo>
                      <a:pt x="1500359" y="2504257"/>
                    </a:lnTo>
                    <a:lnTo>
                      <a:pt x="1480362" y="2486278"/>
                    </a:lnTo>
                    <a:lnTo>
                      <a:pt x="1444376" y="2447285"/>
                    </a:lnTo>
                    <a:lnTo>
                      <a:pt x="1448370" y="2431272"/>
                    </a:lnTo>
                    <a:lnTo>
                      <a:pt x="1449376" y="2404303"/>
                    </a:lnTo>
                    <a:lnTo>
                      <a:pt x="1436380" y="2383318"/>
                    </a:lnTo>
                    <a:lnTo>
                      <a:pt x="1417390" y="2383318"/>
                    </a:lnTo>
                    <a:lnTo>
                      <a:pt x="1391404" y="2359321"/>
                    </a:lnTo>
                    <a:lnTo>
                      <a:pt x="1375402" y="2328324"/>
                    </a:lnTo>
                    <a:lnTo>
                      <a:pt x="1405388" y="2320329"/>
                    </a:lnTo>
                    <a:lnTo>
                      <a:pt x="1414395" y="2296332"/>
                    </a:lnTo>
                    <a:lnTo>
                      <a:pt x="1404394" y="2275335"/>
                    </a:lnTo>
                    <a:lnTo>
                      <a:pt x="1401410" y="2273498"/>
                    </a:lnTo>
                    <a:lnTo>
                      <a:pt x="1378408" y="2259339"/>
                    </a:lnTo>
                    <a:lnTo>
                      <a:pt x="1331426" y="2257345"/>
                    </a:lnTo>
                    <a:lnTo>
                      <a:pt x="1303446" y="2255350"/>
                    </a:lnTo>
                    <a:lnTo>
                      <a:pt x="1278460" y="2247355"/>
                    </a:lnTo>
                    <a:lnTo>
                      <a:pt x="1235467" y="2285342"/>
                    </a:lnTo>
                    <a:lnTo>
                      <a:pt x="1197491" y="2293343"/>
                    </a:lnTo>
                    <a:lnTo>
                      <a:pt x="1173494" y="2319323"/>
                    </a:lnTo>
                    <a:lnTo>
                      <a:pt x="1163504" y="2369311"/>
                    </a:lnTo>
                    <a:lnTo>
                      <a:pt x="1134518" y="2398292"/>
                    </a:lnTo>
                    <a:lnTo>
                      <a:pt x="1106533" y="2383312"/>
                    </a:lnTo>
                    <a:lnTo>
                      <a:pt x="1080541" y="2378312"/>
                    </a:lnTo>
                    <a:lnTo>
                      <a:pt x="1029570" y="2407281"/>
                    </a:lnTo>
                    <a:lnTo>
                      <a:pt x="1012574" y="2399303"/>
                    </a:lnTo>
                    <a:lnTo>
                      <a:pt x="974581" y="2365311"/>
                    </a:lnTo>
                    <a:lnTo>
                      <a:pt x="973581" y="2338314"/>
                    </a:lnTo>
                    <a:lnTo>
                      <a:pt x="960585" y="2327318"/>
                    </a:lnTo>
                    <a:lnTo>
                      <a:pt x="930605" y="2322323"/>
                    </a:lnTo>
                    <a:lnTo>
                      <a:pt x="923149" y="2312603"/>
                    </a:lnTo>
                    <a:lnTo>
                      <a:pt x="920609" y="2309327"/>
                    </a:lnTo>
                    <a:lnTo>
                      <a:pt x="914614" y="2261340"/>
                    </a:lnTo>
                    <a:lnTo>
                      <a:pt x="891634" y="2254350"/>
                    </a:lnTo>
                    <a:lnTo>
                      <a:pt x="851642" y="2233354"/>
                    </a:lnTo>
                    <a:lnTo>
                      <a:pt x="812654" y="2192366"/>
                    </a:lnTo>
                    <a:lnTo>
                      <a:pt x="789675" y="2149384"/>
                    </a:lnTo>
                    <a:lnTo>
                      <a:pt x="768684" y="2102391"/>
                    </a:lnTo>
                    <a:lnTo>
                      <a:pt x="739698" y="2089395"/>
                    </a:lnTo>
                    <a:lnTo>
                      <a:pt x="722707" y="2071410"/>
                    </a:lnTo>
                    <a:lnTo>
                      <a:pt x="697722" y="2034418"/>
                    </a:lnTo>
                    <a:lnTo>
                      <a:pt x="690721" y="2011421"/>
                    </a:lnTo>
                    <a:lnTo>
                      <a:pt x="670725" y="1980435"/>
                    </a:lnTo>
                    <a:lnTo>
                      <a:pt x="683720" y="1965433"/>
                    </a:lnTo>
                    <a:lnTo>
                      <a:pt x="713707" y="1957433"/>
                    </a:lnTo>
                    <a:lnTo>
                      <a:pt x="775679" y="1940442"/>
                    </a:lnTo>
                    <a:lnTo>
                      <a:pt x="796670" y="1915456"/>
                    </a:lnTo>
                    <a:lnTo>
                      <a:pt x="815649" y="1890460"/>
                    </a:lnTo>
                    <a:lnTo>
                      <a:pt x="852642" y="1884465"/>
                    </a:lnTo>
                    <a:lnTo>
                      <a:pt x="867818" y="1879032"/>
                    </a:lnTo>
                    <a:lnTo>
                      <a:pt x="880616" y="1874469"/>
                    </a:lnTo>
                    <a:lnTo>
                      <a:pt x="888617" y="1835482"/>
                    </a:lnTo>
                    <a:lnTo>
                      <a:pt x="893618" y="1796489"/>
                    </a:lnTo>
                    <a:lnTo>
                      <a:pt x="875633" y="1767503"/>
                    </a:lnTo>
                    <a:lnTo>
                      <a:pt x="815649" y="1694518"/>
                    </a:lnTo>
                    <a:lnTo>
                      <a:pt x="748688" y="1636546"/>
                    </a:lnTo>
                    <a:lnTo>
                      <a:pt x="711701" y="1603554"/>
                    </a:lnTo>
                    <a:lnTo>
                      <a:pt x="632738" y="1605560"/>
                    </a:lnTo>
                    <a:lnTo>
                      <a:pt x="586750" y="1571562"/>
                    </a:lnTo>
                    <a:lnTo>
                      <a:pt x="549763" y="1544565"/>
                    </a:lnTo>
                    <a:lnTo>
                      <a:pt x="518777" y="1576557"/>
                    </a:lnTo>
                    <a:lnTo>
                      <a:pt x="489791" y="1553560"/>
                    </a:lnTo>
                    <a:lnTo>
                      <a:pt x="468794" y="1521569"/>
                    </a:lnTo>
                    <a:lnTo>
                      <a:pt x="457799" y="1490582"/>
                    </a:lnTo>
                    <a:lnTo>
                      <a:pt x="425807" y="1491583"/>
                    </a:lnTo>
                    <a:lnTo>
                      <a:pt x="426807" y="1462591"/>
                    </a:lnTo>
                    <a:lnTo>
                      <a:pt x="413811" y="1439588"/>
                    </a:lnTo>
                    <a:lnTo>
                      <a:pt x="392826" y="1435605"/>
                    </a:lnTo>
                    <a:lnTo>
                      <a:pt x="387814" y="1418609"/>
                    </a:lnTo>
                    <a:lnTo>
                      <a:pt x="378825" y="1384611"/>
                    </a:lnTo>
                    <a:lnTo>
                      <a:pt x="368621" y="1368542"/>
                    </a:lnTo>
                    <a:lnTo>
                      <a:pt x="352828" y="1343635"/>
                    </a:lnTo>
                    <a:lnTo>
                      <a:pt x="342838" y="1311637"/>
                    </a:lnTo>
                    <a:lnTo>
                      <a:pt x="340433" y="1291765"/>
                    </a:lnTo>
                    <a:lnTo>
                      <a:pt x="339832" y="1286646"/>
                    </a:lnTo>
                    <a:lnTo>
                      <a:pt x="318835" y="1279657"/>
                    </a:lnTo>
                    <a:lnTo>
                      <a:pt x="282854" y="1276645"/>
                    </a:lnTo>
                    <a:lnTo>
                      <a:pt x="279860" y="1256660"/>
                    </a:lnTo>
                    <a:lnTo>
                      <a:pt x="285854" y="1235664"/>
                    </a:lnTo>
                    <a:lnTo>
                      <a:pt x="295850" y="1211667"/>
                    </a:lnTo>
                    <a:lnTo>
                      <a:pt x="291855" y="1187676"/>
                    </a:lnTo>
                    <a:lnTo>
                      <a:pt x="263858" y="1193676"/>
                    </a:lnTo>
                    <a:lnTo>
                      <a:pt x="231872" y="1195665"/>
                    </a:lnTo>
                    <a:lnTo>
                      <a:pt x="194885" y="1176674"/>
                    </a:lnTo>
                    <a:lnTo>
                      <a:pt x="152903" y="1129692"/>
                    </a:lnTo>
                    <a:lnTo>
                      <a:pt x="118916" y="1081710"/>
                    </a:lnTo>
                    <a:lnTo>
                      <a:pt x="108921" y="1045712"/>
                    </a:lnTo>
                    <a:lnTo>
                      <a:pt x="72940" y="1009731"/>
                    </a:lnTo>
                    <a:lnTo>
                      <a:pt x="65945" y="971727"/>
                    </a:lnTo>
                    <a:lnTo>
                      <a:pt x="64939" y="945730"/>
                    </a:lnTo>
                    <a:lnTo>
                      <a:pt x="34953" y="928739"/>
                    </a:lnTo>
                    <a:lnTo>
                      <a:pt x="15962" y="909743"/>
                    </a:lnTo>
                    <a:lnTo>
                      <a:pt x="5647" y="910086"/>
                    </a:lnTo>
                  </a:path>
                </a:pathLst>
              </a:custGeom>
              <a:solidFill>
                <a:srgbClr val="D2E6FE"/>
              </a:solidFill>
              <a:ln w="19050" cap="rnd">
                <a:solidFill>
                  <a:schemeClr val="lt1"/>
                </a:solidFill>
                <a:prstDash val="solid"/>
                <a:round/>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6" name="Freihandform: Form 175">
                <a:extLst>
                  <a:ext uri="{FF2B5EF4-FFF2-40B4-BE49-F238E27FC236}">
                    <a16:creationId xmlns:a16="http://schemas.microsoft.com/office/drawing/2014/main" id="{8BC6458B-D21E-981D-CBE1-360D7B35FC4A}"/>
                  </a:ext>
                </a:extLst>
              </p:cNvPr>
              <p:cNvSpPr/>
              <p:nvPr/>
            </p:nvSpPr>
            <p:spPr>
              <a:xfrm>
                <a:off x="1315219" y="864703"/>
                <a:ext cx="2910744" cy="3274992"/>
              </a:xfrm>
              <a:custGeom>
                <a:avLst/>
                <a:gdLst>
                  <a:gd name="connsiteX0" fmla="*/ 251890 w 2910814"/>
                  <a:gd name="connsiteY0" fmla="*/ 2664520 h 3272705"/>
                  <a:gd name="connsiteX1" fmla="*/ 242564 w 2910814"/>
                  <a:gd name="connsiteY1" fmla="*/ 2628528 h 3272705"/>
                  <a:gd name="connsiteX2" fmla="*/ 223905 w 2910814"/>
                  <a:gd name="connsiteY2" fmla="*/ 2596542 h 3272705"/>
                  <a:gd name="connsiteX3" fmla="*/ 221241 w 2910814"/>
                  <a:gd name="connsiteY3" fmla="*/ 2533889 h 3272705"/>
                  <a:gd name="connsiteX4" fmla="*/ 231900 w 2910814"/>
                  <a:gd name="connsiteY4" fmla="*/ 2503246 h 3272705"/>
                  <a:gd name="connsiteX5" fmla="*/ 257222 w 2910814"/>
                  <a:gd name="connsiteY5" fmla="*/ 2481912 h 3272705"/>
                  <a:gd name="connsiteX6" fmla="*/ 251885 w 2910814"/>
                  <a:gd name="connsiteY6" fmla="*/ 2448589 h 3272705"/>
                  <a:gd name="connsiteX7" fmla="*/ 237232 w 2910814"/>
                  <a:gd name="connsiteY7" fmla="*/ 2412602 h 3272705"/>
                  <a:gd name="connsiteX8" fmla="*/ 202582 w 2910814"/>
                  <a:gd name="connsiteY8" fmla="*/ 2393937 h 3272705"/>
                  <a:gd name="connsiteX9" fmla="*/ 190581 w 2910814"/>
                  <a:gd name="connsiteY9" fmla="*/ 2361945 h 3272705"/>
                  <a:gd name="connsiteX10" fmla="*/ 167921 w 2910814"/>
                  <a:gd name="connsiteY10" fmla="*/ 2357945 h 3272705"/>
                  <a:gd name="connsiteX11" fmla="*/ 135935 w 2910814"/>
                  <a:gd name="connsiteY11" fmla="*/ 2357945 h 3272705"/>
                  <a:gd name="connsiteX12" fmla="*/ 115950 w 2910814"/>
                  <a:gd name="connsiteY12" fmla="*/ 2315294 h 3272705"/>
                  <a:gd name="connsiteX13" fmla="*/ 105291 w 2910814"/>
                  <a:gd name="connsiteY13" fmla="*/ 2281971 h 3272705"/>
                  <a:gd name="connsiteX14" fmla="*/ 77306 w 2910814"/>
                  <a:gd name="connsiteY14" fmla="*/ 2264638 h 3272705"/>
                  <a:gd name="connsiteX15" fmla="*/ 79969 w 2910814"/>
                  <a:gd name="connsiteY15" fmla="*/ 2243315 h 3272705"/>
                  <a:gd name="connsiteX16" fmla="*/ 95959 w 2910814"/>
                  <a:gd name="connsiteY16" fmla="*/ 2213992 h 3272705"/>
                  <a:gd name="connsiteX17" fmla="*/ 131946 w 2910814"/>
                  <a:gd name="connsiteY17" fmla="*/ 2216655 h 3272705"/>
                  <a:gd name="connsiteX18" fmla="*/ 155937 w 2910814"/>
                  <a:gd name="connsiteY18" fmla="*/ 2196659 h 3272705"/>
                  <a:gd name="connsiteX19" fmla="*/ 145279 w 2910814"/>
                  <a:gd name="connsiteY19" fmla="*/ 2163341 h 3272705"/>
                  <a:gd name="connsiteX20" fmla="*/ 143941 w 2910814"/>
                  <a:gd name="connsiteY20" fmla="*/ 2128680 h 3272705"/>
                  <a:gd name="connsiteX21" fmla="*/ 140598 w 2910814"/>
                  <a:gd name="connsiteY21" fmla="*/ 2068033 h 3272705"/>
                  <a:gd name="connsiteX22" fmla="*/ 103960 w 2910814"/>
                  <a:gd name="connsiteY22" fmla="*/ 2062039 h 3272705"/>
                  <a:gd name="connsiteX23" fmla="*/ 63978 w 2910814"/>
                  <a:gd name="connsiteY23" fmla="*/ 2070039 h 3272705"/>
                  <a:gd name="connsiteX24" fmla="*/ 47078 w 2910814"/>
                  <a:gd name="connsiteY24" fmla="*/ 2064758 h 3272705"/>
                  <a:gd name="connsiteX25" fmla="*/ 42645 w 2910814"/>
                  <a:gd name="connsiteY25" fmla="*/ 2063376 h 3272705"/>
                  <a:gd name="connsiteX26" fmla="*/ 35981 w 2910814"/>
                  <a:gd name="connsiteY26" fmla="*/ 1955410 h 3272705"/>
                  <a:gd name="connsiteX27" fmla="*/ 27986 w 2910814"/>
                  <a:gd name="connsiteY27" fmla="*/ 1900747 h 3272705"/>
                  <a:gd name="connsiteX28" fmla="*/ 6658 w 2910814"/>
                  <a:gd name="connsiteY28" fmla="*/ 1846101 h 3272705"/>
                  <a:gd name="connsiteX29" fmla="*/ 33312 w 2910814"/>
                  <a:gd name="connsiteY29" fmla="*/ 1811452 h 3272705"/>
                  <a:gd name="connsiteX30" fmla="*/ 2663 w 2910814"/>
                  <a:gd name="connsiteY30" fmla="*/ 1802114 h 3272705"/>
                  <a:gd name="connsiteX31" fmla="*/ 0 w 2910814"/>
                  <a:gd name="connsiteY31" fmla="*/ 1744804 h 3272705"/>
                  <a:gd name="connsiteX32" fmla="*/ 22654 w 2910814"/>
                  <a:gd name="connsiteY32" fmla="*/ 1716813 h 3272705"/>
                  <a:gd name="connsiteX33" fmla="*/ 25323 w 2910814"/>
                  <a:gd name="connsiteY33" fmla="*/ 1678152 h 3272705"/>
                  <a:gd name="connsiteX34" fmla="*/ 79969 w 2910814"/>
                  <a:gd name="connsiteY34" fmla="*/ 1659498 h 3272705"/>
                  <a:gd name="connsiteX35" fmla="*/ 138609 w 2910814"/>
                  <a:gd name="connsiteY35" fmla="*/ 1660830 h 3272705"/>
                  <a:gd name="connsiteX36" fmla="*/ 186592 w 2910814"/>
                  <a:gd name="connsiteY36" fmla="*/ 1628843 h 3272705"/>
                  <a:gd name="connsiteX37" fmla="*/ 197250 w 2910814"/>
                  <a:gd name="connsiteY37" fmla="*/ 1578187 h 3272705"/>
                  <a:gd name="connsiteX38" fmla="*/ 201245 w 2910814"/>
                  <a:gd name="connsiteY38" fmla="*/ 1504881 h 3272705"/>
                  <a:gd name="connsiteX39" fmla="*/ 210583 w 2910814"/>
                  <a:gd name="connsiteY39" fmla="*/ 1463557 h 3272705"/>
                  <a:gd name="connsiteX40" fmla="*/ 237237 w 2910814"/>
                  <a:gd name="connsiteY40" fmla="*/ 1431565 h 3272705"/>
                  <a:gd name="connsiteX41" fmla="*/ 262560 w 2910814"/>
                  <a:gd name="connsiteY41" fmla="*/ 1432908 h 3272705"/>
                  <a:gd name="connsiteX42" fmla="*/ 275898 w 2910814"/>
                  <a:gd name="connsiteY42" fmla="*/ 1456899 h 3272705"/>
                  <a:gd name="connsiteX43" fmla="*/ 301210 w 2910814"/>
                  <a:gd name="connsiteY43" fmla="*/ 1471558 h 3272705"/>
                  <a:gd name="connsiteX44" fmla="*/ 323875 w 2910814"/>
                  <a:gd name="connsiteY44" fmla="*/ 1443566 h 3272705"/>
                  <a:gd name="connsiteX45" fmla="*/ 329202 w 2910814"/>
                  <a:gd name="connsiteY45" fmla="*/ 1387589 h 3272705"/>
                  <a:gd name="connsiteX46" fmla="*/ 395843 w 2910814"/>
                  <a:gd name="connsiteY46" fmla="*/ 1367592 h 3272705"/>
                  <a:gd name="connsiteX47" fmla="*/ 409165 w 2910814"/>
                  <a:gd name="connsiteY47" fmla="*/ 1351591 h 3272705"/>
                  <a:gd name="connsiteX48" fmla="*/ 398512 w 2910814"/>
                  <a:gd name="connsiteY48" fmla="*/ 1323605 h 3272705"/>
                  <a:gd name="connsiteX49" fmla="*/ 385179 w 2910814"/>
                  <a:gd name="connsiteY49" fmla="*/ 1291613 h 3272705"/>
                  <a:gd name="connsiteX50" fmla="*/ 410502 w 2910814"/>
                  <a:gd name="connsiteY50" fmla="*/ 1295613 h 3272705"/>
                  <a:gd name="connsiteX51" fmla="*/ 418497 w 2910814"/>
                  <a:gd name="connsiteY51" fmla="*/ 1264959 h 3272705"/>
                  <a:gd name="connsiteX52" fmla="*/ 473149 w 2910814"/>
                  <a:gd name="connsiteY52" fmla="*/ 1200975 h 3272705"/>
                  <a:gd name="connsiteX53" fmla="*/ 522457 w 2910814"/>
                  <a:gd name="connsiteY53" fmla="*/ 1195643 h 3272705"/>
                  <a:gd name="connsiteX54" fmla="*/ 510467 w 2910814"/>
                  <a:gd name="connsiteY54" fmla="*/ 1166319 h 3272705"/>
                  <a:gd name="connsiteX55" fmla="*/ 517136 w 2910814"/>
                  <a:gd name="connsiteY55" fmla="*/ 1138328 h 3272705"/>
                  <a:gd name="connsiteX56" fmla="*/ 503798 w 2910814"/>
                  <a:gd name="connsiteY56" fmla="*/ 1115668 h 3272705"/>
                  <a:gd name="connsiteX57" fmla="*/ 503798 w 2910814"/>
                  <a:gd name="connsiteY57" fmla="*/ 1075681 h 3272705"/>
                  <a:gd name="connsiteX58" fmla="*/ 526457 w 2910814"/>
                  <a:gd name="connsiteY58" fmla="*/ 1025030 h 3272705"/>
                  <a:gd name="connsiteX59" fmla="*/ 525131 w 2910814"/>
                  <a:gd name="connsiteY59" fmla="*/ 990375 h 3272705"/>
                  <a:gd name="connsiteX60" fmla="*/ 537121 w 2910814"/>
                  <a:gd name="connsiteY60" fmla="*/ 939724 h 3272705"/>
                  <a:gd name="connsiteX61" fmla="*/ 571771 w 2910814"/>
                  <a:gd name="connsiteY61" fmla="*/ 931728 h 3272705"/>
                  <a:gd name="connsiteX62" fmla="*/ 599762 w 2910814"/>
                  <a:gd name="connsiteY62" fmla="*/ 907732 h 3272705"/>
                  <a:gd name="connsiteX63" fmla="*/ 637081 w 2910814"/>
                  <a:gd name="connsiteY63" fmla="*/ 918396 h 3272705"/>
                  <a:gd name="connsiteX64" fmla="*/ 691721 w 2910814"/>
                  <a:gd name="connsiteY64" fmla="*/ 919733 h 3272705"/>
                  <a:gd name="connsiteX65" fmla="*/ 754362 w 2910814"/>
                  <a:gd name="connsiteY65" fmla="*/ 891741 h 3272705"/>
                  <a:gd name="connsiteX66" fmla="*/ 876976 w 2910814"/>
                  <a:gd name="connsiteY66" fmla="*/ 837095 h 3272705"/>
                  <a:gd name="connsiteX67" fmla="*/ 924952 w 2910814"/>
                  <a:gd name="connsiteY67" fmla="*/ 842422 h 3272705"/>
                  <a:gd name="connsiteX68" fmla="*/ 940909 w 2910814"/>
                  <a:gd name="connsiteY68" fmla="*/ 839438 h 3272705"/>
                  <a:gd name="connsiteX69" fmla="*/ 967608 w 2910814"/>
                  <a:gd name="connsiteY69" fmla="*/ 834421 h 3272705"/>
                  <a:gd name="connsiteX70" fmla="*/ 998263 w 2910814"/>
                  <a:gd name="connsiteY70" fmla="*/ 814430 h 3272705"/>
                  <a:gd name="connsiteX71" fmla="*/ 1036907 w 2910814"/>
                  <a:gd name="connsiteY71" fmla="*/ 778438 h 3272705"/>
                  <a:gd name="connsiteX72" fmla="*/ 1072889 w 2910814"/>
                  <a:gd name="connsiteY72" fmla="*/ 762442 h 3272705"/>
                  <a:gd name="connsiteX73" fmla="*/ 1104948 w 2910814"/>
                  <a:gd name="connsiteY73" fmla="*/ 772746 h 3272705"/>
                  <a:gd name="connsiteX74" fmla="*/ 1110218 w 2910814"/>
                  <a:gd name="connsiteY74" fmla="*/ 774443 h 3272705"/>
                  <a:gd name="connsiteX75" fmla="*/ 1138204 w 2910814"/>
                  <a:gd name="connsiteY75" fmla="*/ 775780 h 3272705"/>
                  <a:gd name="connsiteX76" fmla="*/ 1166190 w 2910814"/>
                  <a:gd name="connsiteY76" fmla="*/ 754447 h 3272705"/>
                  <a:gd name="connsiteX77" fmla="*/ 1214173 w 2910814"/>
                  <a:gd name="connsiteY77" fmla="*/ 717128 h 3272705"/>
                  <a:gd name="connsiteX78" fmla="*/ 1210178 w 2910814"/>
                  <a:gd name="connsiteY78" fmla="*/ 693137 h 3272705"/>
                  <a:gd name="connsiteX79" fmla="*/ 1182192 w 2910814"/>
                  <a:gd name="connsiteY79" fmla="*/ 649149 h 3272705"/>
                  <a:gd name="connsiteX80" fmla="*/ 1160864 w 2910814"/>
                  <a:gd name="connsiteY80" fmla="*/ 634485 h 3272705"/>
                  <a:gd name="connsiteX81" fmla="*/ 1120882 w 2910814"/>
                  <a:gd name="connsiteY81" fmla="*/ 641154 h 3272705"/>
                  <a:gd name="connsiteX82" fmla="*/ 1096891 w 2910814"/>
                  <a:gd name="connsiteY82" fmla="*/ 665151 h 3272705"/>
                  <a:gd name="connsiteX83" fmla="*/ 1043588 w 2910814"/>
                  <a:gd name="connsiteY83" fmla="*/ 677147 h 3272705"/>
                  <a:gd name="connsiteX84" fmla="*/ 982273 w 2910814"/>
                  <a:gd name="connsiteY84" fmla="*/ 687805 h 3272705"/>
                  <a:gd name="connsiteX85" fmla="*/ 963614 w 2910814"/>
                  <a:gd name="connsiteY85" fmla="*/ 669146 h 3272705"/>
                  <a:gd name="connsiteX86" fmla="*/ 939622 w 2910814"/>
                  <a:gd name="connsiteY86" fmla="*/ 635822 h 3272705"/>
                  <a:gd name="connsiteX87" fmla="*/ 912957 w 2910814"/>
                  <a:gd name="connsiteY87" fmla="*/ 613163 h 3272705"/>
                  <a:gd name="connsiteX88" fmla="*/ 911637 w 2910814"/>
                  <a:gd name="connsiteY88" fmla="*/ 577176 h 3272705"/>
                  <a:gd name="connsiteX89" fmla="*/ 899641 w 2910814"/>
                  <a:gd name="connsiteY89" fmla="*/ 533188 h 3272705"/>
                  <a:gd name="connsiteX90" fmla="*/ 875650 w 2910814"/>
                  <a:gd name="connsiteY90" fmla="*/ 487869 h 3272705"/>
                  <a:gd name="connsiteX91" fmla="*/ 876976 w 2910814"/>
                  <a:gd name="connsiteY91" fmla="*/ 443882 h 3272705"/>
                  <a:gd name="connsiteX92" fmla="*/ 914294 w 2910814"/>
                  <a:gd name="connsiteY92" fmla="*/ 443882 h 3272705"/>
                  <a:gd name="connsiteX93" fmla="*/ 963614 w 2910814"/>
                  <a:gd name="connsiteY93" fmla="*/ 430549 h 3272705"/>
                  <a:gd name="connsiteX94" fmla="*/ 991605 w 2910814"/>
                  <a:gd name="connsiteY94" fmla="*/ 395894 h 3272705"/>
                  <a:gd name="connsiteX95" fmla="*/ 1003595 w 2910814"/>
                  <a:gd name="connsiteY95" fmla="*/ 358570 h 3272705"/>
                  <a:gd name="connsiteX96" fmla="*/ 1036913 w 2910814"/>
                  <a:gd name="connsiteY96" fmla="*/ 359907 h 3272705"/>
                  <a:gd name="connsiteX97" fmla="*/ 1063573 w 2910814"/>
                  <a:gd name="connsiteY97" fmla="*/ 318583 h 3272705"/>
                  <a:gd name="connsiteX98" fmla="*/ 1074232 w 2910814"/>
                  <a:gd name="connsiteY98" fmla="*/ 270595 h 3272705"/>
                  <a:gd name="connsiteX99" fmla="*/ 1108881 w 2910814"/>
                  <a:gd name="connsiteY99" fmla="*/ 282590 h 3272705"/>
                  <a:gd name="connsiteX100" fmla="*/ 1156858 w 2910814"/>
                  <a:gd name="connsiteY100" fmla="*/ 271926 h 3272705"/>
                  <a:gd name="connsiteX101" fmla="*/ 1208841 w 2910814"/>
                  <a:gd name="connsiteY101" fmla="*/ 271926 h 3272705"/>
                  <a:gd name="connsiteX102" fmla="*/ 1271482 w 2910814"/>
                  <a:gd name="connsiteY102" fmla="*/ 246603 h 3272705"/>
                  <a:gd name="connsiteX103" fmla="*/ 1323464 w 2910814"/>
                  <a:gd name="connsiteY103" fmla="*/ 233276 h 3272705"/>
                  <a:gd name="connsiteX104" fmla="*/ 1336786 w 2910814"/>
                  <a:gd name="connsiteY104" fmla="*/ 209279 h 3272705"/>
                  <a:gd name="connsiteX105" fmla="*/ 1330122 w 2910814"/>
                  <a:gd name="connsiteY105" fmla="*/ 143964 h 3272705"/>
                  <a:gd name="connsiteX106" fmla="*/ 1363446 w 2910814"/>
                  <a:gd name="connsiteY106" fmla="*/ 149302 h 3272705"/>
                  <a:gd name="connsiteX107" fmla="*/ 1398096 w 2910814"/>
                  <a:gd name="connsiteY107" fmla="*/ 147964 h 3272705"/>
                  <a:gd name="connsiteX108" fmla="*/ 1382105 w 2910814"/>
                  <a:gd name="connsiteY108" fmla="*/ 121304 h 3272705"/>
                  <a:gd name="connsiteX109" fmla="*/ 1395438 w 2910814"/>
                  <a:gd name="connsiteY109" fmla="*/ 97313 h 3272705"/>
                  <a:gd name="connsiteX110" fmla="*/ 1394106 w 2910814"/>
                  <a:gd name="connsiteY110" fmla="*/ 57326 h 3272705"/>
                  <a:gd name="connsiteX111" fmla="*/ 1406096 w 2910814"/>
                  <a:gd name="connsiteY111" fmla="*/ 18665 h 3272705"/>
                  <a:gd name="connsiteX112" fmla="*/ 1434088 w 2910814"/>
                  <a:gd name="connsiteY112" fmla="*/ 0 h 3272705"/>
                  <a:gd name="connsiteX113" fmla="*/ 1492729 w 2910814"/>
                  <a:gd name="connsiteY113" fmla="*/ 34655 h 3272705"/>
                  <a:gd name="connsiteX114" fmla="*/ 1563370 w 2910814"/>
                  <a:gd name="connsiteY114" fmla="*/ 43988 h 3272705"/>
                  <a:gd name="connsiteX115" fmla="*/ 1614010 w 2910814"/>
                  <a:gd name="connsiteY115" fmla="*/ 50657 h 3272705"/>
                  <a:gd name="connsiteX116" fmla="*/ 1618011 w 2910814"/>
                  <a:gd name="connsiteY116" fmla="*/ 106634 h 3272705"/>
                  <a:gd name="connsiteX117" fmla="*/ 1648666 w 2910814"/>
                  <a:gd name="connsiteY117" fmla="*/ 105308 h 3272705"/>
                  <a:gd name="connsiteX118" fmla="*/ 1671325 w 2910814"/>
                  <a:gd name="connsiteY118" fmla="*/ 121304 h 3272705"/>
                  <a:gd name="connsiteX119" fmla="*/ 1716639 w 2910814"/>
                  <a:gd name="connsiteY119" fmla="*/ 127968 h 3272705"/>
                  <a:gd name="connsiteX120" fmla="*/ 1788612 w 2910814"/>
                  <a:gd name="connsiteY120" fmla="*/ 134637 h 3272705"/>
                  <a:gd name="connsiteX121" fmla="*/ 1807277 w 2910814"/>
                  <a:gd name="connsiteY121" fmla="*/ 174624 h 3272705"/>
                  <a:gd name="connsiteX122" fmla="*/ 1835263 w 2910814"/>
                  <a:gd name="connsiteY122" fmla="*/ 233276 h 3272705"/>
                  <a:gd name="connsiteX123" fmla="*/ 1892561 w 2910814"/>
                  <a:gd name="connsiteY123" fmla="*/ 235939 h 3272705"/>
                  <a:gd name="connsiteX124" fmla="*/ 1900562 w 2910814"/>
                  <a:gd name="connsiteY124" fmla="*/ 249261 h 3272705"/>
                  <a:gd name="connsiteX125" fmla="*/ 1924553 w 2910814"/>
                  <a:gd name="connsiteY125" fmla="*/ 303918 h 3272705"/>
                  <a:gd name="connsiteX126" fmla="*/ 1904562 w 2910814"/>
                  <a:gd name="connsiteY126" fmla="*/ 313245 h 3272705"/>
                  <a:gd name="connsiteX127" fmla="*/ 1868581 w 2910814"/>
                  <a:gd name="connsiteY127" fmla="*/ 329241 h 3272705"/>
                  <a:gd name="connsiteX128" fmla="*/ 1857923 w 2910814"/>
                  <a:gd name="connsiteY128" fmla="*/ 399888 h 3272705"/>
                  <a:gd name="connsiteX129" fmla="*/ 1828594 w 2910814"/>
                  <a:gd name="connsiteY129" fmla="*/ 433212 h 3272705"/>
                  <a:gd name="connsiteX130" fmla="*/ 1828594 w 2910814"/>
                  <a:gd name="connsiteY130" fmla="*/ 463878 h 3272705"/>
                  <a:gd name="connsiteX131" fmla="*/ 1776622 w 2910814"/>
                  <a:gd name="connsiteY131" fmla="*/ 489201 h 3272705"/>
                  <a:gd name="connsiteX132" fmla="*/ 1768621 w 2910814"/>
                  <a:gd name="connsiteY132" fmla="*/ 529188 h 3272705"/>
                  <a:gd name="connsiteX133" fmla="*/ 1747305 w 2910814"/>
                  <a:gd name="connsiteY133" fmla="*/ 554511 h 3272705"/>
                  <a:gd name="connsiteX134" fmla="*/ 1703323 w 2910814"/>
                  <a:gd name="connsiteY134" fmla="*/ 558511 h 3272705"/>
                  <a:gd name="connsiteX135" fmla="*/ 1660672 w 2910814"/>
                  <a:gd name="connsiteY135" fmla="*/ 577165 h 3272705"/>
                  <a:gd name="connsiteX136" fmla="*/ 1594036 w 2910814"/>
                  <a:gd name="connsiteY136" fmla="*/ 631827 h 3272705"/>
                  <a:gd name="connsiteX137" fmla="*/ 1599363 w 2910814"/>
                  <a:gd name="connsiteY137" fmla="*/ 673141 h 3272705"/>
                  <a:gd name="connsiteX138" fmla="*/ 1590036 w 2910814"/>
                  <a:gd name="connsiteY138" fmla="*/ 711796 h 3272705"/>
                  <a:gd name="connsiteX139" fmla="*/ 1622023 w 2910814"/>
                  <a:gd name="connsiteY139" fmla="*/ 753115 h 3272705"/>
                  <a:gd name="connsiteX140" fmla="*/ 1603369 w 2910814"/>
                  <a:gd name="connsiteY140" fmla="*/ 771780 h 3272705"/>
                  <a:gd name="connsiteX141" fmla="*/ 1594036 w 2910814"/>
                  <a:gd name="connsiteY141" fmla="*/ 794434 h 3272705"/>
                  <a:gd name="connsiteX142" fmla="*/ 1643350 w 2910814"/>
                  <a:gd name="connsiteY142" fmla="*/ 802435 h 3272705"/>
                  <a:gd name="connsiteX143" fmla="*/ 1684664 w 2910814"/>
                  <a:gd name="connsiteY143" fmla="*/ 802435 h 3272705"/>
                  <a:gd name="connsiteX144" fmla="*/ 1685995 w 2910814"/>
                  <a:gd name="connsiteY144" fmla="*/ 841085 h 3272705"/>
                  <a:gd name="connsiteX145" fmla="*/ 1655340 w 2910814"/>
                  <a:gd name="connsiteY145" fmla="*/ 865076 h 3272705"/>
                  <a:gd name="connsiteX146" fmla="*/ 1687327 w 2910814"/>
                  <a:gd name="connsiteY146" fmla="*/ 898405 h 3272705"/>
                  <a:gd name="connsiteX147" fmla="*/ 1728640 w 2910814"/>
                  <a:gd name="connsiteY147" fmla="*/ 971716 h 3272705"/>
                  <a:gd name="connsiteX148" fmla="*/ 1733972 w 2910814"/>
                  <a:gd name="connsiteY148" fmla="*/ 1035694 h 3272705"/>
                  <a:gd name="connsiteX149" fmla="*/ 1749968 w 2910814"/>
                  <a:gd name="connsiteY149" fmla="*/ 1067680 h 3272705"/>
                  <a:gd name="connsiteX150" fmla="*/ 1769408 w 2910814"/>
                  <a:gd name="connsiteY150" fmla="*/ 1085497 h 3272705"/>
                  <a:gd name="connsiteX151" fmla="*/ 1781949 w 2910814"/>
                  <a:gd name="connsiteY151" fmla="*/ 1097003 h 3272705"/>
                  <a:gd name="connsiteX152" fmla="*/ 1811272 w 2910814"/>
                  <a:gd name="connsiteY152" fmla="*/ 1087677 h 3272705"/>
                  <a:gd name="connsiteX153" fmla="*/ 1832600 w 2910814"/>
                  <a:gd name="connsiteY153" fmla="*/ 1053016 h 3272705"/>
                  <a:gd name="connsiteX154" fmla="*/ 1853922 w 2910814"/>
                  <a:gd name="connsiteY154" fmla="*/ 1007697 h 3272705"/>
                  <a:gd name="connsiteX155" fmla="*/ 1889903 w 2910814"/>
                  <a:gd name="connsiteY155" fmla="*/ 955714 h 3272705"/>
                  <a:gd name="connsiteX156" fmla="*/ 1920564 w 2910814"/>
                  <a:gd name="connsiteY156" fmla="*/ 967710 h 3272705"/>
                  <a:gd name="connsiteX157" fmla="*/ 1965877 w 2910814"/>
                  <a:gd name="connsiteY157" fmla="*/ 989043 h 3272705"/>
                  <a:gd name="connsiteX158" fmla="*/ 1984525 w 2910814"/>
                  <a:gd name="connsiteY158" fmla="*/ 1014366 h 3272705"/>
                  <a:gd name="connsiteX159" fmla="*/ 1981868 w 2910814"/>
                  <a:gd name="connsiteY159" fmla="*/ 1054353 h 3272705"/>
                  <a:gd name="connsiteX160" fmla="*/ 2075164 w 2910814"/>
                  <a:gd name="connsiteY160" fmla="*/ 1061022 h 3272705"/>
                  <a:gd name="connsiteX161" fmla="*/ 2131135 w 2910814"/>
                  <a:gd name="connsiteY161" fmla="*/ 1113005 h 3272705"/>
                  <a:gd name="connsiteX162" fmla="*/ 2151132 w 2910814"/>
                  <a:gd name="connsiteY162" fmla="*/ 1143660 h 3272705"/>
                  <a:gd name="connsiteX163" fmla="*/ 2163122 w 2910814"/>
                  <a:gd name="connsiteY163" fmla="*/ 1191648 h 3272705"/>
                  <a:gd name="connsiteX164" fmla="*/ 2189782 w 2910814"/>
                  <a:gd name="connsiteY164" fmla="*/ 1255626 h 3272705"/>
                  <a:gd name="connsiteX165" fmla="*/ 2227100 w 2910814"/>
                  <a:gd name="connsiteY165" fmla="*/ 1263616 h 3272705"/>
                  <a:gd name="connsiteX166" fmla="*/ 2257755 w 2910814"/>
                  <a:gd name="connsiteY166" fmla="*/ 1271616 h 3272705"/>
                  <a:gd name="connsiteX167" fmla="*/ 2291078 w 2910814"/>
                  <a:gd name="connsiteY167" fmla="*/ 1320936 h 3272705"/>
                  <a:gd name="connsiteX168" fmla="*/ 2291078 w 2910814"/>
                  <a:gd name="connsiteY168" fmla="*/ 1342264 h 3272705"/>
                  <a:gd name="connsiteX169" fmla="*/ 2275077 w 2910814"/>
                  <a:gd name="connsiteY169" fmla="*/ 1370256 h 3272705"/>
                  <a:gd name="connsiteX170" fmla="*/ 2260418 w 2910814"/>
                  <a:gd name="connsiteY170" fmla="*/ 1415580 h 3272705"/>
                  <a:gd name="connsiteX171" fmla="*/ 2287078 w 2910814"/>
                  <a:gd name="connsiteY171" fmla="*/ 1427576 h 3272705"/>
                  <a:gd name="connsiteX172" fmla="*/ 2260418 w 2910814"/>
                  <a:gd name="connsiteY172" fmla="*/ 1447567 h 3272705"/>
                  <a:gd name="connsiteX173" fmla="*/ 2248422 w 2910814"/>
                  <a:gd name="connsiteY173" fmla="*/ 1484891 h 3272705"/>
                  <a:gd name="connsiteX174" fmla="*/ 2276414 w 2910814"/>
                  <a:gd name="connsiteY174" fmla="*/ 1496886 h 3272705"/>
                  <a:gd name="connsiteX175" fmla="*/ 2301737 w 2910814"/>
                  <a:gd name="connsiteY175" fmla="*/ 1475558 h 3272705"/>
                  <a:gd name="connsiteX176" fmla="*/ 2336386 w 2910814"/>
                  <a:gd name="connsiteY176" fmla="*/ 1494218 h 3272705"/>
                  <a:gd name="connsiteX177" fmla="*/ 2381700 w 2910814"/>
                  <a:gd name="connsiteY177" fmla="*/ 1527547 h 3272705"/>
                  <a:gd name="connsiteX178" fmla="*/ 2411034 w 2910814"/>
                  <a:gd name="connsiteY178" fmla="*/ 1548875 h 3272705"/>
                  <a:gd name="connsiteX179" fmla="*/ 2384357 w 2910814"/>
                  <a:gd name="connsiteY179" fmla="*/ 1575529 h 3272705"/>
                  <a:gd name="connsiteX180" fmla="*/ 2376374 w 2910814"/>
                  <a:gd name="connsiteY180" fmla="*/ 1603521 h 3272705"/>
                  <a:gd name="connsiteX181" fmla="*/ 2429677 w 2910814"/>
                  <a:gd name="connsiteY181" fmla="*/ 1642170 h 3272705"/>
                  <a:gd name="connsiteX182" fmla="*/ 2439015 w 2910814"/>
                  <a:gd name="connsiteY182" fmla="*/ 1675494 h 3272705"/>
                  <a:gd name="connsiteX183" fmla="*/ 2476333 w 2910814"/>
                  <a:gd name="connsiteY183" fmla="*/ 1703486 h 3272705"/>
                  <a:gd name="connsiteX184" fmla="*/ 2486991 w 2910814"/>
                  <a:gd name="connsiteY184" fmla="*/ 1675494 h 3272705"/>
                  <a:gd name="connsiteX185" fmla="*/ 2504313 w 2910814"/>
                  <a:gd name="connsiteY185" fmla="*/ 1666167 h 3272705"/>
                  <a:gd name="connsiteX186" fmla="*/ 2528305 w 2910814"/>
                  <a:gd name="connsiteY186" fmla="*/ 1683495 h 3272705"/>
                  <a:gd name="connsiteX187" fmla="*/ 2525641 w 2910814"/>
                  <a:gd name="connsiteY187" fmla="*/ 1723482 h 3272705"/>
                  <a:gd name="connsiteX188" fmla="*/ 2524321 w 2910814"/>
                  <a:gd name="connsiteY188" fmla="*/ 1758132 h 3272705"/>
                  <a:gd name="connsiteX189" fmla="*/ 2553638 w 2910814"/>
                  <a:gd name="connsiteY189" fmla="*/ 1774128 h 3272705"/>
                  <a:gd name="connsiteX190" fmla="*/ 2592294 w 2910814"/>
                  <a:gd name="connsiteY190" fmla="*/ 1770133 h 3272705"/>
                  <a:gd name="connsiteX191" fmla="*/ 2620274 w 2910814"/>
                  <a:gd name="connsiteY191" fmla="*/ 1784797 h 3272705"/>
                  <a:gd name="connsiteX192" fmla="*/ 2640271 w 2910814"/>
                  <a:gd name="connsiteY192" fmla="*/ 1791455 h 3272705"/>
                  <a:gd name="connsiteX193" fmla="*/ 2665594 w 2910814"/>
                  <a:gd name="connsiteY193" fmla="*/ 1771465 h 3272705"/>
                  <a:gd name="connsiteX194" fmla="*/ 2692254 w 2910814"/>
                  <a:gd name="connsiteY194" fmla="*/ 1788798 h 3272705"/>
                  <a:gd name="connsiteX195" fmla="*/ 2714907 w 2910814"/>
                  <a:gd name="connsiteY195" fmla="*/ 1815452 h 3272705"/>
                  <a:gd name="connsiteX196" fmla="*/ 2732229 w 2910814"/>
                  <a:gd name="connsiteY196" fmla="*/ 1850102 h 3272705"/>
                  <a:gd name="connsiteX197" fmla="*/ 2746894 w 2910814"/>
                  <a:gd name="connsiteY197" fmla="*/ 1888757 h 3272705"/>
                  <a:gd name="connsiteX198" fmla="*/ 2734904 w 2910814"/>
                  <a:gd name="connsiteY198" fmla="*/ 1922081 h 3272705"/>
                  <a:gd name="connsiteX199" fmla="*/ 2712250 w 2910814"/>
                  <a:gd name="connsiteY199" fmla="*/ 1932745 h 3272705"/>
                  <a:gd name="connsiteX200" fmla="*/ 2700254 w 2910814"/>
                  <a:gd name="connsiteY200" fmla="*/ 1959399 h 3272705"/>
                  <a:gd name="connsiteX201" fmla="*/ 2669588 w 2910814"/>
                  <a:gd name="connsiteY201" fmla="*/ 1964737 h 3272705"/>
                  <a:gd name="connsiteX202" fmla="*/ 2672257 w 2910814"/>
                  <a:gd name="connsiteY202" fmla="*/ 1991391 h 3272705"/>
                  <a:gd name="connsiteX203" fmla="*/ 2686910 w 2910814"/>
                  <a:gd name="connsiteY203" fmla="*/ 2024715 h 3272705"/>
                  <a:gd name="connsiteX204" fmla="*/ 2674915 w 2910814"/>
                  <a:gd name="connsiteY204" fmla="*/ 2047374 h 3272705"/>
                  <a:gd name="connsiteX205" fmla="*/ 2684253 w 2910814"/>
                  <a:gd name="connsiteY205" fmla="*/ 2062033 h 3272705"/>
                  <a:gd name="connsiteX206" fmla="*/ 2692254 w 2910814"/>
                  <a:gd name="connsiteY206" fmla="*/ 2094025 h 3272705"/>
                  <a:gd name="connsiteX207" fmla="*/ 2689579 w 2910814"/>
                  <a:gd name="connsiteY207" fmla="*/ 2134012 h 3272705"/>
                  <a:gd name="connsiteX208" fmla="*/ 2677589 w 2910814"/>
                  <a:gd name="connsiteY208" fmla="*/ 2155340 h 3272705"/>
                  <a:gd name="connsiteX209" fmla="*/ 2679758 w 2910814"/>
                  <a:gd name="connsiteY209" fmla="*/ 2164762 h 3272705"/>
                  <a:gd name="connsiteX210" fmla="*/ 2685579 w 2910814"/>
                  <a:gd name="connsiteY210" fmla="*/ 2189990 h 3272705"/>
                  <a:gd name="connsiteX211" fmla="*/ 2720240 w 2910814"/>
                  <a:gd name="connsiteY211" fmla="*/ 2207323 h 3272705"/>
                  <a:gd name="connsiteX212" fmla="*/ 2774880 w 2910814"/>
                  <a:gd name="connsiteY212" fmla="*/ 2248642 h 3272705"/>
                  <a:gd name="connsiteX213" fmla="*/ 2798877 w 2910814"/>
                  <a:gd name="connsiteY213" fmla="*/ 2281971 h 3272705"/>
                  <a:gd name="connsiteX214" fmla="*/ 2828183 w 2910814"/>
                  <a:gd name="connsiteY214" fmla="*/ 2277971 h 3272705"/>
                  <a:gd name="connsiteX215" fmla="*/ 2868164 w 2910814"/>
                  <a:gd name="connsiteY215" fmla="*/ 2309957 h 3272705"/>
                  <a:gd name="connsiteX216" fmla="*/ 2882823 w 2910814"/>
                  <a:gd name="connsiteY216" fmla="*/ 2353944 h 3272705"/>
                  <a:gd name="connsiteX217" fmla="*/ 2897471 w 2910814"/>
                  <a:gd name="connsiteY217" fmla="*/ 2371278 h 3272705"/>
                  <a:gd name="connsiteX218" fmla="*/ 2910815 w 2910814"/>
                  <a:gd name="connsiteY218" fmla="*/ 2399263 h 3272705"/>
                  <a:gd name="connsiteX219" fmla="*/ 2905460 w 2910814"/>
                  <a:gd name="connsiteY219" fmla="*/ 2412596 h 3272705"/>
                  <a:gd name="connsiteX220" fmla="*/ 2856169 w 2910814"/>
                  <a:gd name="connsiteY220" fmla="*/ 2453915 h 3272705"/>
                  <a:gd name="connsiteX221" fmla="*/ 2821514 w 2910814"/>
                  <a:gd name="connsiteY221" fmla="*/ 2459253 h 3272705"/>
                  <a:gd name="connsiteX222" fmla="*/ 2786870 w 2910814"/>
                  <a:gd name="connsiteY222" fmla="*/ 2483244 h 3272705"/>
                  <a:gd name="connsiteX223" fmla="*/ 2770879 w 2910814"/>
                  <a:gd name="connsiteY223" fmla="*/ 2528557 h 3272705"/>
                  <a:gd name="connsiteX224" fmla="*/ 2754889 w 2910814"/>
                  <a:gd name="connsiteY224" fmla="*/ 2604537 h 3272705"/>
                  <a:gd name="connsiteX225" fmla="*/ 2740213 w 2910814"/>
                  <a:gd name="connsiteY225" fmla="*/ 2647204 h 3272705"/>
                  <a:gd name="connsiteX226" fmla="*/ 2745545 w 2910814"/>
                  <a:gd name="connsiteY226" fmla="*/ 2665852 h 3272705"/>
                  <a:gd name="connsiteX227" fmla="*/ 2726903 w 2910814"/>
                  <a:gd name="connsiteY227" fmla="*/ 2677848 h 3272705"/>
                  <a:gd name="connsiteX228" fmla="*/ 2721560 w 2910814"/>
                  <a:gd name="connsiteY228" fmla="*/ 2691175 h 3272705"/>
                  <a:gd name="connsiteX229" fmla="*/ 2720240 w 2910814"/>
                  <a:gd name="connsiteY229" fmla="*/ 2772486 h 3272705"/>
                  <a:gd name="connsiteX230" fmla="*/ 2748214 w 2910814"/>
                  <a:gd name="connsiteY230" fmla="*/ 2791151 h 3272705"/>
                  <a:gd name="connsiteX231" fmla="*/ 2760210 w 2910814"/>
                  <a:gd name="connsiteY231" fmla="*/ 2821800 h 3272705"/>
                  <a:gd name="connsiteX232" fmla="*/ 2738545 w 2910814"/>
                  <a:gd name="connsiteY232" fmla="*/ 2844808 h 3272705"/>
                  <a:gd name="connsiteX233" fmla="*/ 2706558 w 2910814"/>
                  <a:gd name="connsiteY233" fmla="*/ 2832813 h 3272705"/>
                  <a:gd name="connsiteX234" fmla="*/ 2678578 w 2910814"/>
                  <a:gd name="connsiteY234" fmla="*/ 2830813 h 3272705"/>
                  <a:gd name="connsiteX235" fmla="*/ 2627595 w 2910814"/>
                  <a:gd name="connsiteY235" fmla="*/ 2787825 h 3272705"/>
                  <a:gd name="connsiteX236" fmla="*/ 2580613 w 2910814"/>
                  <a:gd name="connsiteY236" fmla="*/ 2768834 h 3272705"/>
                  <a:gd name="connsiteX237" fmla="*/ 2542637 w 2910814"/>
                  <a:gd name="connsiteY237" fmla="*/ 2763839 h 3272705"/>
                  <a:gd name="connsiteX238" fmla="*/ 2519641 w 2910814"/>
                  <a:gd name="connsiteY238" fmla="*/ 2742843 h 3272705"/>
                  <a:gd name="connsiteX239" fmla="*/ 2493649 w 2910814"/>
                  <a:gd name="connsiteY239" fmla="*/ 2731847 h 3272705"/>
                  <a:gd name="connsiteX240" fmla="*/ 2477659 w 2910814"/>
                  <a:gd name="connsiteY240" fmla="*/ 2712845 h 3272705"/>
                  <a:gd name="connsiteX241" fmla="*/ 2470900 w 2910814"/>
                  <a:gd name="connsiteY241" fmla="*/ 2715998 h 3272705"/>
                  <a:gd name="connsiteX242" fmla="*/ 2445673 w 2910814"/>
                  <a:gd name="connsiteY242" fmla="*/ 2727841 h 3272705"/>
                  <a:gd name="connsiteX243" fmla="*/ 2425676 w 2910814"/>
                  <a:gd name="connsiteY243" fmla="*/ 2751833 h 3272705"/>
                  <a:gd name="connsiteX244" fmla="*/ 2414686 w 2910814"/>
                  <a:gd name="connsiteY244" fmla="*/ 2791825 h 3272705"/>
                  <a:gd name="connsiteX245" fmla="*/ 2415687 w 2910814"/>
                  <a:gd name="connsiteY245" fmla="*/ 2819822 h 3272705"/>
                  <a:gd name="connsiteX246" fmla="*/ 2427677 w 2910814"/>
                  <a:gd name="connsiteY246" fmla="*/ 2843814 h 3272705"/>
                  <a:gd name="connsiteX247" fmla="*/ 2431671 w 2910814"/>
                  <a:gd name="connsiteY247" fmla="*/ 2890790 h 3272705"/>
                  <a:gd name="connsiteX248" fmla="*/ 2452668 w 2910814"/>
                  <a:gd name="connsiteY248" fmla="*/ 2935778 h 3272705"/>
                  <a:gd name="connsiteX249" fmla="*/ 2464658 w 2910814"/>
                  <a:gd name="connsiteY249" fmla="*/ 2963764 h 3272705"/>
                  <a:gd name="connsiteX250" fmla="*/ 2465658 w 2910814"/>
                  <a:gd name="connsiteY250" fmla="*/ 3010752 h 3272705"/>
                  <a:gd name="connsiteX251" fmla="*/ 2424671 w 2910814"/>
                  <a:gd name="connsiteY251" fmla="*/ 3029742 h 3272705"/>
                  <a:gd name="connsiteX252" fmla="*/ 2387684 w 2910814"/>
                  <a:gd name="connsiteY252" fmla="*/ 3036743 h 3272705"/>
                  <a:gd name="connsiteX253" fmla="*/ 2358703 w 2910814"/>
                  <a:gd name="connsiteY253" fmla="*/ 3016747 h 3272705"/>
                  <a:gd name="connsiteX254" fmla="*/ 2324711 w 2910814"/>
                  <a:gd name="connsiteY254" fmla="*/ 3021742 h 3272705"/>
                  <a:gd name="connsiteX255" fmla="*/ 2298731 w 2910814"/>
                  <a:gd name="connsiteY255" fmla="*/ 3034737 h 3272705"/>
                  <a:gd name="connsiteX256" fmla="*/ 2277734 w 2910814"/>
                  <a:gd name="connsiteY256" fmla="*/ 3044744 h 3272705"/>
                  <a:gd name="connsiteX257" fmla="*/ 2262739 w 2910814"/>
                  <a:gd name="connsiteY257" fmla="*/ 3065729 h 3272705"/>
                  <a:gd name="connsiteX258" fmla="*/ 2234758 w 2910814"/>
                  <a:gd name="connsiteY258" fmla="*/ 3071724 h 3272705"/>
                  <a:gd name="connsiteX259" fmla="*/ 2214767 w 2910814"/>
                  <a:gd name="connsiteY259" fmla="*/ 3056734 h 3272705"/>
                  <a:gd name="connsiteX260" fmla="*/ 2190776 w 2910814"/>
                  <a:gd name="connsiteY260" fmla="*/ 3043738 h 3272705"/>
                  <a:gd name="connsiteX261" fmla="*/ 2173786 w 2910814"/>
                  <a:gd name="connsiteY261" fmla="*/ 3050739 h 3272705"/>
                  <a:gd name="connsiteX262" fmla="*/ 2160790 w 2910814"/>
                  <a:gd name="connsiteY262" fmla="*/ 3082720 h 3272705"/>
                  <a:gd name="connsiteX263" fmla="*/ 2169780 w 2910814"/>
                  <a:gd name="connsiteY263" fmla="*/ 3118718 h 3272705"/>
                  <a:gd name="connsiteX264" fmla="*/ 2177781 w 2910814"/>
                  <a:gd name="connsiteY264" fmla="*/ 3152704 h 3272705"/>
                  <a:gd name="connsiteX265" fmla="*/ 2167791 w 2910814"/>
                  <a:gd name="connsiteY265" fmla="*/ 3170712 h 3272705"/>
                  <a:gd name="connsiteX266" fmla="*/ 2136805 w 2910814"/>
                  <a:gd name="connsiteY266" fmla="*/ 3167717 h 3272705"/>
                  <a:gd name="connsiteX267" fmla="*/ 2110813 w 2910814"/>
                  <a:gd name="connsiteY267" fmla="*/ 3178713 h 3272705"/>
                  <a:gd name="connsiteX268" fmla="*/ 2108813 w 2910814"/>
                  <a:gd name="connsiteY268" fmla="*/ 3203704 h 3272705"/>
                  <a:gd name="connsiteX269" fmla="*/ 2078827 w 2910814"/>
                  <a:gd name="connsiteY269" fmla="*/ 3228695 h 3272705"/>
                  <a:gd name="connsiteX270" fmla="*/ 2074826 w 2910814"/>
                  <a:gd name="connsiteY270" fmla="*/ 3244708 h 3272705"/>
                  <a:gd name="connsiteX271" fmla="*/ 2082827 w 2910814"/>
                  <a:gd name="connsiteY271" fmla="*/ 3260704 h 3272705"/>
                  <a:gd name="connsiteX272" fmla="*/ 2085827 w 2910814"/>
                  <a:gd name="connsiteY272" fmla="*/ 3269710 h 3272705"/>
                  <a:gd name="connsiteX273" fmla="*/ 2080507 w 2910814"/>
                  <a:gd name="connsiteY273" fmla="*/ 3272042 h 3272705"/>
                  <a:gd name="connsiteX274" fmla="*/ 2060842 w 2910814"/>
                  <a:gd name="connsiteY274" fmla="*/ 3272705 h 3272705"/>
                  <a:gd name="connsiteX275" fmla="*/ 2043840 w 2910814"/>
                  <a:gd name="connsiteY275" fmla="*/ 3266705 h 3272705"/>
                  <a:gd name="connsiteX276" fmla="*/ 2023855 w 2910814"/>
                  <a:gd name="connsiteY276" fmla="*/ 3242708 h 3272705"/>
                  <a:gd name="connsiteX277" fmla="*/ 1992863 w 2910814"/>
                  <a:gd name="connsiteY277" fmla="*/ 3252709 h 3272705"/>
                  <a:gd name="connsiteX278" fmla="*/ 1965872 w 2910814"/>
                  <a:gd name="connsiteY278" fmla="*/ 3250714 h 3272705"/>
                  <a:gd name="connsiteX279" fmla="*/ 1931879 w 2910814"/>
                  <a:gd name="connsiteY279" fmla="*/ 3233707 h 3272705"/>
                  <a:gd name="connsiteX280" fmla="*/ 1879908 w 2910814"/>
                  <a:gd name="connsiteY280" fmla="*/ 3184719 h 3272705"/>
                  <a:gd name="connsiteX281" fmla="*/ 1852917 w 2910814"/>
                  <a:gd name="connsiteY281" fmla="*/ 3154727 h 3272705"/>
                  <a:gd name="connsiteX282" fmla="*/ 1824930 w 2910814"/>
                  <a:gd name="connsiteY282" fmla="*/ 3146715 h 3272705"/>
                  <a:gd name="connsiteX283" fmla="*/ 1792607 w 2910814"/>
                  <a:gd name="connsiteY283" fmla="*/ 3137821 h 3272705"/>
                  <a:gd name="connsiteX284" fmla="*/ 1788938 w 2910814"/>
                  <a:gd name="connsiteY284" fmla="*/ 3136731 h 3272705"/>
                  <a:gd name="connsiteX285" fmla="*/ 1750951 w 2910814"/>
                  <a:gd name="connsiteY285" fmla="*/ 3131730 h 3272705"/>
                  <a:gd name="connsiteX286" fmla="*/ 1707969 w 2910814"/>
                  <a:gd name="connsiteY286" fmla="*/ 3129725 h 3272705"/>
                  <a:gd name="connsiteX287" fmla="*/ 1704969 w 2910814"/>
                  <a:gd name="connsiteY287" fmla="*/ 3119729 h 3272705"/>
                  <a:gd name="connsiteX288" fmla="*/ 1693974 w 2910814"/>
                  <a:gd name="connsiteY288" fmla="*/ 3103727 h 3272705"/>
                  <a:gd name="connsiteX289" fmla="*/ 1671983 w 2910814"/>
                  <a:gd name="connsiteY289" fmla="*/ 3077730 h 3272705"/>
                  <a:gd name="connsiteX290" fmla="*/ 1649992 w 2910814"/>
                  <a:gd name="connsiteY290" fmla="*/ 3046739 h 3272705"/>
                  <a:gd name="connsiteX291" fmla="*/ 1633001 w 2910814"/>
                  <a:gd name="connsiteY291" fmla="*/ 3042744 h 3272705"/>
                  <a:gd name="connsiteX292" fmla="*/ 1604015 w 2910814"/>
                  <a:gd name="connsiteY292" fmla="*/ 3030743 h 3272705"/>
                  <a:gd name="connsiteX293" fmla="*/ 1577029 w 2910814"/>
                  <a:gd name="connsiteY293" fmla="*/ 3012752 h 3272705"/>
                  <a:gd name="connsiteX294" fmla="*/ 1556033 w 2910814"/>
                  <a:gd name="connsiteY294" fmla="*/ 3000751 h 3272705"/>
                  <a:gd name="connsiteX295" fmla="*/ 1547032 w 2910814"/>
                  <a:gd name="connsiteY295" fmla="*/ 3014741 h 3272705"/>
                  <a:gd name="connsiteX296" fmla="*/ 1537036 w 2910814"/>
                  <a:gd name="connsiteY296" fmla="*/ 3029737 h 3272705"/>
                  <a:gd name="connsiteX297" fmla="*/ 1532716 w 2910814"/>
                  <a:gd name="connsiteY297" fmla="*/ 3028405 h 3272705"/>
                  <a:gd name="connsiteX298" fmla="*/ 1520726 w 2910814"/>
                  <a:gd name="connsiteY298" fmla="*/ 3019084 h 3272705"/>
                  <a:gd name="connsiteX299" fmla="*/ 1500729 w 2910814"/>
                  <a:gd name="connsiteY299" fmla="*/ 3008415 h 3272705"/>
                  <a:gd name="connsiteX300" fmla="*/ 1468737 w 2910814"/>
                  <a:gd name="connsiteY300" fmla="*/ 2993761 h 3272705"/>
                  <a:gd name="connsiteX301" fmla="*/ 1420761 w 2910814"/>
                  <a:gd name="connsiteY301" fmla="*/ 2985761 h 3272705"/>
                  <a:gd name="connsiteX302" fmla="*/ 1362109 w 2910814"/>
                  <a:gd name="connsiteY302" fmla="*/ 2973765 h 3272705"/>
                  <a:gd name="connsiteX303" fmla="*/ 1311463 w 2910814"/>
                  <a:gd name="connsiteY303" fmla="*/ 2959112 h 3272705"/>
                  <a:gd name="connsiteX304" fmla="*/ 1308806 w 2910814"/>
                  <a:gd name="connsiteY304" fmla="*/ 2940436 h 3272705"/>
                  <a:gd name="connsiteX305" fmla="*/ 1302136 w 2910814"/>
                  <a:gd name="connsiteY305" fmla="*/ 2924445 h 3272705"/>
                  <a:gd name="connsiteX306" fmla="*/ 1262144 w 2910814"/>
                  <a:gd name="connsiteY306" fmla="*/ 2900449 h 3272705"/>
                  <a:gd name="connsiteX307" fmla="*/ 1252822 w 2910814"/>
                  <a:gd name="connsiteY307" fmla="*/ 2884458 h 3272705"/>
                  <a:gd name="connsiteX308" fmla="*/ 1236832 w 2910814"/>
                  <a:gd name="connsiteY308" fmla="*/ 2871137 h 3272705"/>
                  <a:gd name="connsiteX309" fmla="*/ 1212835 w 2910814"/>
                  <a:gd name="connsiteY309" fmla="*/ 2853804 h 3272705"/>
                  <a:gd name="connsiteX310" fmla="*/ 1207503 w 2910814"/>
                  <a:gd name="connsiteY310" fmla="*/ 2852461 h 3272705"/>
                  <a:gd name="connsiteX311" fmla="*/ 1163521 w 2910814"/>
                  <a:gd name="connsiteY311" fmla="*/ 2848471 h 3272705"/>
                  <a:gd name="connsiteX312" fmla="*/ 1122871 w 2910814"/>
                  <a:gd name="connsiteY312" fmla="*/ 2849140 h 3272705"/>
                  <a:gd name="connsiteX313" fmla="*/ 1083553 w 2910814"/>
                  <a:gd name="connsiteY313" fmla="*/ 2863793 h 3272705"/>
                  <a:gd name="connsiteX314" fmla="*/ 1032913 w 2910814"/>
                  <a:gd name="connsiteY314" fmla="*/ 2888453 h 3272705"/>
                  <a:gd name="connsiteX315" fmla="*/ 1029570 w 2910814"/>
                  <a:gd name="connsiteY315" fmla="*/ 2887790 h 3272705"/>
                  <a:gd name="connsiteX316" fmla="*/ 1004247 w 2910814"/>
                  <a:gd name="connsiteY316" fmla="*/ 2885121 h 3272705"/>
                  <a:gd name="connsiteX317" fmla="*/ 958939 w 2910814"/>
                  <a:gd name="connsiteY317" fmla="*/ 2889785 h 3272705"/>
                  <a:gd name="connsiteX318" fmla="*/ 954264 w 2910814"/>
                  <a:gd name="connsiteY318" fmla="*/ 2886459 h 3272705"/>
                  <a:gd name="connsiteX319" fmla="*/ 936937 w 2910814"/>
                  <a:gd name="connsiteY319" fmla="*/ 2876469 h 3272705"/>
                  <a:gd name="connsiteX320" fmla="*/ 911614 w 2910814"/>
                  <a:gd name="connsiteY320" fmla="*/ 2867131 h 3272705"/>
                  <a:gd name="connsiteX321" fmla="*/ 876965 w 2910814"/>
                  <a:gd name="connsiteY321" fmla="*/ 2860473 h 3272705"/>
                  <a:gd name="connsiteX322" fmla="*/ 859637 w 2910814"/>
                  <a:gd name="connsiteY322" fmla="*/ 2819148 h 3272705"/>
                  <a:gd name="connsiteX323" fmla="*/ 838320 w 2910814"/>
                  <a:gd name="connsiteY323" fmla="*/ 2789814 h 3272705"/>
                  <a:gd name="connsiteX324" fmla="*/ 787669 w 2910814"/>
                  <a:gd name="connsiteY324" fmla="*/ 2760502 h 3272705"/>
                  <a:gd name="connsiteX325" fmla="*/ 747687 w 2910814"/>
                  <a:gd name="connsiteY325" fmla="*/ 2755164 h 3272705"/>
                  <a:gd name="connsiteX326" fmla="*/ 679714 w 2910814"/>
                  <a:gd name="connsiteY326" fmla="*/ 2731173 h 3272705"/>
                  <a:gd name="connsiteX327" fmla="*/ 570428 w 2910814"/>
                  <a:gd name="connsiteY327" fmla="*/ 2696518 h 3272705"/>
                  <a:gd name="connsiteX328" fmla="*/ 506455 w 2910814"/>
                  <a:gd name="connsiteY328" fmla="*/ 2672527 h 3272705"/>
                  <a:gd name="connsiteX329" fmla="*/ 449146 w 2910814"/>
                  <a:gd name="connsiteY329" fmla="*/ 2664526 h 3272705"/>
                  <a:gd name="connsiteX330" fmla="*/ 395838 w 2910814"/>
                  <a:gd name="connsiteY330" fmla="*/ 2657862 h 3272705"/>
                  <a:gd name="connsiteX331" fmla="*/ 374515 w 2910814"/>
                  <a:gd name="connsiteY331" fmla="*/ 2677848 h 3272705"/>
                  <a:gd name="connsiteX332" fmla="*/ 341186 w 2910814"/>
                  <a:gd name="connsiteY332" fmla="*/ 2677848 h 3272705"/>
                  <a:gd name="connsiteX333" fmla="*/ 285214 w 2910814"/>
                  <a:gd name="connsiteY333" fmla="*/ 2680517 h 3272705"/>
                  <a:gd name="connsiteX334" fmla="*/ 254559 w 2910814"/>
                  <a:gd name="connsiteY334" fmla="*/ 2669858 h 327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Lst>
                <a:rect l="l" t="t" r="r" b="b"/>
                <a:pathLst>
                  <a:path w="2910814" h="3272705">
                    <a:moveTo>
                      <a:pt x="251890" y="2664520"/>
                    </a:moveTo>
                    <a:lnTo>
                      <a:pt x="242564" y="2628528"/>
                    </a:lnTo>
                    <a:lnTo>
                      <a:pt x="223905" y="2596542"/>
                    </a:lnTo>
                    <a:lnTo>
                      <a:pt x="221241" y="2533889"/>
                    </a:lnTo>
                    <a:lnTo>
                      <a:pt x="231900" y="2503246"/>
                    </a:lnTo>
                    <a:lnTo>
                      <a:pt x="257222" y="2481912"/>
                    </a:lnTo>
                    <a:lnTo>
                      <a:pt x="251885" y="2448589"/>
                    </a:lnTo>
                    <a:lnTo>
                      <a:pt x="237232" y="2412602"/>
                    </a:lnTo>
                    <a:lnTo>
                      <a:pt x="202582" y="2393937"/>
                    </a:lnTo>
                    <a:lnTo>
                      <a:pt x="190581" y="2361945"/>
                    </a:lnTo>
                    <a:lnTo>
                      <a:pt x="167921" y="2357945"/>
                    </a:lnTo>
                    <a:lnTo>
                      <a:pt x="135935" y="2357945"/>
                    </a:lnTo>
                    <a:lnTo>
                      <a:pt x="115950" y="2315294"/>
                    </a:lnTo>
                    <a:lnTo>
                      <a:pt x="105291" y="2281971"/>
                    </a:lnTo>
                    <a:lnTo>
                      <a:pt x="77306" y="2264638"/>
                    </a:lnTo>
                    <a:lnTo>
                      <a:pt x="79969" y="2243315"/>
                    </a:lnTo>
                    <a:lnTo>
                      <a:pt x="95959" y="2213992"/>
                    </a:lnTo>
                    <a:lnTo>
                      <a:pt x="131946" y="2216655"/>
                    </a:lnTo>
                    <a:lnTo>
                      <a:pt x="155937" y="2196659"/>
                    </a:lnTo>
                    <a:lnTo>
                      <a:pt x="145279" y="2163341"/>
                    </a:lnTo>
                    <a:lnTo>
                      <a:pt x="143941" y="2128680"/>
                    </a:lnTo>
                    <a:lnTo>
                      <a:pt x="140598" y="2068033"/>
                    </a:lnTo>
                    <a:lnTo>
                      <a:pt x="103960" y="2062039"/>
                    </a:lnTo>
                    <a:lnTo>
                      <a:pt x="63978" y="2070039"/>
                    </a:lnTo>
                    <a:lnTo>
                      <a:pt x="47078" y="2064758"/>
                    </a:lnTo>
                    <a:lnTo>
                      <a:pt x="42645" y="2063376"/>
                    </a:lnTo>
                    <a:lnTo>
                      <a:pt x="35981" y="1955410"/>
                    </a:lnTo>
                    <a:lnTo>
                      <a:pt x="27986" y="1900747"/>
                    </a:lnTo>
                    <a:lnTo>
                      <a:pt x="6658" y="1846101"/>
                    </a:lnTo>
                    <a:lnTo>
                      <a:pt x="33312" y="1811452"/>
                    </a:lnTo>
                    <a:lnTo>
                      <a:pt x="2663" y="1802114"/>
                    </a:lnTo>
                    <a:lnTo>
                      <a:pt x="0" y="1744804"/>
                    </a:lnTo>
                    <a:lnTo>
                      <a:pt x="22654" y="1716813"/>
                    </a:lnTo>
                    <a:lnTo>
                      <a:pt x="25323" y="1678152"/>
                    </a:lnTo>
                    <a:lnTo>
                      <a:pt x="79969" y="1659498"/>
                    </a:lnTo>
                    <a:lnTo>
                      <a:pt x="138609" y="1660830"/>
                    </a:lnTo>
                    <a:lnTo>
                      <a:pt x="186592" y="1628843"/>
                    </a:lnTo>
                    <a:lnTo>
                      <a:pt x="197250" y="1578187"/>
                    </a:lnTo>
                    <a:lnTo>
                      <a:pt x="201245" y="1504881"/>
                    </a:lnTo>
                    <a:lnTo>
                      <a:pt x="210583" y="1463557"/>
                    </a:lnTo>
                    <a:lnTo>
                      <a:pt x="237237" y="1431565"/>
                    </a:lnTo>
                    <a:lnTo>
                      <a:pt x="262560" y="1432908"/>
                    </a:lnTo>
                    <a:lnTo>
                      <a:pt x="275898" y="1456899"/>
                    </a:lnTo>
                    <a:lnTo>
                      <a:pt x="301210" y="1471558"/>
                    </a:lnTo>
                    <a:lnTo>
                      <a:pt x="323875" y="1443566"/>
                    </a:lnTo>
                    <a:lnTo>
                      <a:pt x="329202" y="1387589"/>
                    </a:lnTo>
                    <a:lnTo>
                      <a:pt x="395843" y="1367592"/>
                    </a:lnTo>
                    <a:lnTo>
                      <a:pt x="409165" y="1351591"/>
                    </a:lnTo>
                    <a:lnTo>
                      <a:pt x="398512" y="1323605"/>
                    </a:lnTo>
                    <a:lnTo>
                      <a:pt x="385179" y="1291613"/>
                    </a:lnTo>
                    <a:lnTo>
                      <a:pt x="410502" y="1295613"/>
                    </a:lnTo>
                    <a:lnTo>
                      <a:pt x="418497" y="1264959"/>
                    </a:lnTo>
                    <a:lnTo>
                      <a:pt x="473149" y="1200975"/>
                    </a:lnTo>
                    <a:lnTo>
                      <a:pt x="522457" y="1195643"/>
                    </a:lnTo>
                    <a:lnTo>
                      <a:pt x="510467" y="1166319"/>
                    </a:lnTo>
                    <a:lnTo>
                      <a:pt x="517136" y="1138328"/>
                    </a:lnTo>
                    <a:lnTo>
                      <a:pt x="503798" y="1115668"/>
                    </a:lnTo>
                    <a:lnTo>
                      <a:pt x="503798" y="1075681"/>
                    </a:lnTo>
                    <a:lnTo>
                      <a:pt x="526457" y="1025030"/>
                    </a:lnTo>
                    <a:lnTo>
                      <a:pt x="525131" y="990375"/>
                    </a:lnTo>
                    <a:lnTo>
                      <a:pt x="537121" y="939724"/>
                    </a:lnTo>
                    <a:lnTo>
                      <a:pt x="571771" y="931728"/>
                    </a:lnTo>
                    <a:lnTo>
                      <a:pt x="599762" y="907732"/>
                    </a:lnTo>
                    <a:lnTo>
                      <a:pt x="637081" y="918396"/>
                    </a:lnTo>
                    <a:lnTo>
                      <a:pt x="691721" y="919733"/>
                    </a:lnTo>
                    <a:lnTo>
                      <a:pt x="754362" y="891741"/>
                    </a:lnTo>
                    <a:lnTo>
                      <a:pt x="876976" y="837095"/>
                    </a:lnTo>
                    <a:lnTo>
                      <a:pt x="924952" y="842422"/>
                    </a:lnTo>
                    <a:lnTo>
                      <a:pt x="940909" y="839438"/>
                    </a:lnTo>
                    <a:lnTo>
                      <a:pt x="967608" y="834421"/>
                    </a:lnTo>
                    <a:lnTo>
                      <a:pt x="998263" y="814430"/>
                    </a:lnTo>
                    <a:lnTo>
                      <a:pt x="1036907" y="778438"/>
                    </a:lnTo>
                    <a:lnTo>
                      <a:pt x="1072889" y="762442"/>
                    </a:lnTo>
                    <a:lnTo>
                      <a:pt x="1104948" y="772746"/>
                    </a:lnTo>
                    <a:lnTo>
                      <a:pt x="1110218" y="774443"/>
                    </a:lnTo>
                    <a:lnTo>
                      <a:pt x="1138204" y="775780"/>
                    </a:lnTo>
                    <a:lnTo>
                      <a:pt x="1166190" y="754447"/>
                    </a:lnTo>
                    <a:lnTo>
                      <a:pt x="1214173" y="717128"/>
                    </a:lnTo>
                    <a:lnTo>
                      <a:pt x="1210178" y="693137"/>
                    </a:lnTo>
                    <a:lnTo>
                      <a:pt x="1182192" y="649149"/>
                    </a:lnTo>
                    <a:lnTo>
                      <a:pt x="1160864" y="634485"/>
                    </a:lnTo>
                    <a:lnTo>
                      <a:pt x="1120882" y="641154"/>
                    </a:lnTo>
                    <a:lnTo>
                      <a:pt x="1096891" y="665151"/>
                    </a:lnTo>
                    <a:lnTo>
                      <a:pt x="1043588" y="677147"/>
                    </a:lnTo>
                    <a:lnTo>
                      <a:pt x="982273" y="687805"/>
                    </a:lnTo>
                    <a:lnTo>
                      <a:pt x="963614" y="669146"/>
                    </a:lnTo>
                    <a:lnTo>
                      <a:pt x="939622" y="635822"/>
                    </a:lnTo>
                    <a:lnTo>
                      <a:pt x="912957" y="613163"/>
                    </a:lnTo>
                    <a:lnTo>
                      <a:pt x="911637" y="577176"/>
                    </a:lnTo>
                    <a:lnTo>
                      <a:pt x="899641" y="533188"/>
                    </a:lnTo>
                    <a:lnTo>
                      <a:pt x="875650" y="487869"/>
                    </a:lnTo>
                    <a:lnTo>
                      <a:pt x="876976" y="443882"/>
                    </a:lnTo>
                    <a:lnTo>
                      <a:pt x="914294" y="443882"/>
                    </a:lnTo>
                    <a:lnTo>
                      <a:pt x="963614" y="430549"/>
                    </a:lnTo>
                    <a:lnTo>
                      <a:pt x="991605" y="395894"/>
                    </a:lnTo>
                    <a:lnTo>
                      <a:pt x="1003595" y="358570"/>
                    </a:lnTo>
                    <a:lnTo>
                      <a:pt x="1036913" y="359907"/>
                    </a:lnTo>
                    <a:lnTo>
                      <a:pt x="1063573" y="318583"/>
                    </a:lnTo>
                    <a:lnTo>
                      <a:pt x="1074232" y="270595"/>
                    </a:lnTo>
                    <a:lnTo>
                      <a:pt x="1108881" y="282590"/>
                    </a:lnTo>
                    <a:lnTo>
                      <a:pt x="1156858" y="271926"/>
                    </a:lnTo>
                    <a:lnTo>
                      <a:pt x="1208841" y="271926"/>
                    </a:lnTo>
                    <a:lnTo>
                      <a:pt x="1271482" y="246603"/>
                    </a:lnTo>
                    <a:lnTo>
                      <a:pt x="1323464" y="233276"/>
                    </a:lnTo>
                    <a:lnTo>
                      <a:pt x="1336786" y="209279"/>
                    </a:lnTo>
                    <a:lnTo>
                      <a:pt x="1330122" y="143964"/>
                    </a:lnTo>
                    <a:lnTo>
                      <a:pt x="1363446" y="149302"/>
                    </a:lnTo>
                    <a:lnTo>
                      <a:pt x="1398096" y="147964"/>
                    </a:lnTo>
                    <a:lnTo>
                      <a:pt x="1382105" y="121304"/>
                    </a:lnTo>
                    <a:lnTo>
                      <a:pt x="1395438" y="97313"/>
                    </a:lnTo>
                    <a:lnTo>
                      <a:pt x="1394106" y="57326"/>
                    </a:lnTo>
                    <a:lnTo>
                      <a:pt x="1406096" y="18665"/>
                    </a:lnTo>
                    <a:lnTo>
                      <a:pt x="1434088" y="0"/>
                    </a:lnTo>
                    <a:lnTo>
                      <a:pt x="1492729" y="34655"/>
                    </a:lnTo>
                    <a:lnTo>
                      <a:pt x="1563370" y="43988"/>
                    </a:lnTo>
                    <a:lnTo>
                      <a:pt x="1614010" y="50657"/>
                    </a:lnTo>
                    <a:lnTo>
                      <a:pt x="1618011" y="106634"/>
                    </a:lnTo>
                    <a:lnTo>
                      <a:pt x="1648666" y="105308"/>
                    </a:lnTo>
                    <a:lnTo>
                      <a:pt x="1671325" y="121304"/>
                    </a:lnTo>
                    <a:lnTo>
                      <a:pt x="1716639" y="127968"/>
                    </a:lnTo>
                    <a:lnTo>
                      <a:pt x="1788612" y="134637"/>
                    </a:lnTo>
                    <a:lnTo>
                      <a:pt x="1807277" y="174624"/>
                    </a:lnTo>
                    <a:lnTo>
                      <a:pt x="1835263" y="233276"/>
                    </a:lnTo>
                    <a:lnTo>
                      <a:pt x="1892561" y="235939"/>
                    </a:lnTo>
                    <a:lnTo>
                      <a:pt x="1900562" y="249261"/>
                    </a:lnTo>
                    <a:lnTo>
                      <a:pt x="1924553" y="303918"/>
                    </a:lnTo>
                    <a:lnTo>
                      <a:pt x="1904562" y="313245"/>
                    </a:lnTo>
                    <a:lnTo>
                      <a:pt x="1868581" y="329241"/>
                    </a:lnTo>
                    <a:lnTo>
                      <a:pt x="1857923" y="399888"/>
                    </a:lnTo>
                    <a:lnTo>
                      <a:pt x="1828594" y="433212"/>
                    </a:lnTo>
                    <a:lnTo>
                      <a:pt x="1828594" y="463878"/>
                    </a:lnTo>
                    <a:lnTo>
                      <a:pt x="1776622" y="489201"/>
                    </a:lnTo>
                    <a:lnTo>
                      <a:pt x="1768621" y="529188"/>
                    </a:lnTo>
                    <a:lnTo>
                      <a:pt x="1747305" y="554511"/>
                    </a:lnTo>
                    <a:lnTo>
                      <a:pt x="1703323" y="558511"/>
                    </a:lnTo>
                    <a:lnTo>
                      <a:pt x="1660672" y="577165"/>
                    </a:lnTo>
                    <a:lnTo>
                      <a:pt x="1594036" y="631827"/>
                    </a:lnTo>
                    <a:lnTo>
                      <a:pt x="1599363" y="673141"/>
                    </a:lnTo>
                    <a:lnTo>
                      <a:pt x="1590036" y="711796"/>
                    </a:lnTo>
                    <a:lnTo>
                      <a:pt x="1622023" y="753115"/>
                    </a:lnTo>
                    <a:lnTo>
                      <a:pt x="1603369" y="771780"/>
                    </a:lnTo>
                    <a:lnTo>
                      <a:pt x="1594036" y="794434"/>
                    </a:lnTo>
                    <a:lnTo>
                      <a:pt x="1643350" y="802435"/>
                    </a:lnTo>
                    <a:lnTo>
                      <a:pt x="1684664" y="802435"/>
                    </a:lnTo>
                    <a:lnTo>
                      <a:pt x="1685995" y="841085"/>
                    </a:lnTo>
                    <a:lnTo>
                      <a:pt x="1655340" y="865076"/>
                    </a:lnTo>
                    <a:lnTo>
                      <a:pt x="1687327" y="898405"/>
                    </a:lnTo>
                    <a:lnTo>
                      <a:pt x="1728640" y="971716"/>
                    </a:lnTo>
                    <a:lnTo>
                      <a:pt x="1733972" y="1035694"/>
                    </a:lnTo>
                    <a:lnTo>
                      <a:pt x="1749968" y="1067680"/>
                    </a:lnTo>
                    <a:lnTo>
                      <a:pt x="1769408" y="1085497"/>
                    </a:lnTo>
                    <a:lnTo>
                      <a:pt x="1781949" y="1097003"/>
                    </a:lnTo>
                    <a:lnTo>
                      <a:pt x="1811272" y="1087677"/>
                    </a:lnTo>
                    <a:lnTo>
                      <a:pt x="1832600" y="1053016"/>
                    </a:lnTo>
                    <a:lnTo>
                      <a:pt x="1853922" y="1007697"/>
                    </a:lnTo>
                    <a:lnTo>
                      <a:pt x="1889903" y="955714"/>
                    </a:lnTo>
                    <a:lnTo>
                      <a:pt x="1920564" y="967710"/>
                    </a:lnTo>
                    <a:lnTo>
                      <a:pt x="1965877" y="989043"/>
                    </a:lnTo>
                    <a:lnTo>
                      <a:pt x="1984525" y="1014366"/>
                    </a:lnTo>
                    <a:lnTo>
                      <a:pt x="1981868" y="1054353"/>
                    </a:lnTo>
                    <a:lnTo>
                      <a:pt x="2075164" y="1061022"/>
                    </a:lnTo>
                    <a:lnTo>
                      <a:pt x="2131135" y="1113005"/>
                    </a:lnTo>
                    <a:lnTo>
                      <a:pt x="2151132" y="1143660"/>
                    </a:lnTo>
                    <a:lnTo>
                      <a:pt x="2163122" y="1191648"/>
                    </a:lnTo>
                    <a:lnTo>
                      <a:pt x="2189782" y="1255626"/>
                    </a:lnTo>
                    <a:lnTo>
                      <a:pt x="2227100" y="1263616"/>
                    </a:lnTo>
                    <a:lnTo>
                      <a:pt x="2257755" y="1271616"/>
                    </a:lnTo>
                    <a:lnTo>
                      <a:pt x="2291078" y="1320936"/>
                    </a:lnTo>
                    <a:lnTo>
                      <a:pt x="2291078" y="1342264"/>
                    </a:lnTo>
                    <a:lnTo>
                      <a:pt x="2275077" y="1370256"/>
                    </a:lnTo>
                    <a:lnTo>
                      <a:pt x="2260418" y="1415580"/>
                    </a:lnTo>
                    <a:lnTo>
                      <a:pt x="2287078" y="1427576"/>
                    </a:lnTo>
                    <a:lnTo>
                      <a:pt x="2260418" y="1447567"/>
                    </a:lnTo>
                    <a:lnTo>
                      <a:pt x="2248422" y="1484891"/>
                    </a:lnTo>
                    <a:lnTo>
                      <a:pt x="2276414" y="1496886"/>
                    </a:lnTo>
                    <a:lnTo>
                      <a:pt x="2301737" y="1475558"/>
                    </a:lnTo>
                    <a:lnTo>
                      <a:pt x="2336386" y="1494218"/>
                    </a:lnTo>
                    <a:lnTo>
                      <a:pt x="2381700" y="1527547"/>
                    </a:lnTo>
                    <a:lnTo>
                      <a:pt x="2411034" y="1548875"/>
                    </a:lnTo>
                    <a:lnTo>
                      <a:pt x="2384357" y="1575529"/>
                    </a:lnTo>
                    <a:lnTo>
                      <a:pt x="2376374" y="1603521"/>
                    </a:lnTo>
                    <a:lnTo>
                      <a:pt x="2429677" y="1642170"/>
                    </a:lnTo>
                    <a:lnTo>
                      <a:pt x="2439015" y="1675494"/>
                    </a:lnTo>
                    <a:lnTo>
                      <a:pt x="2476333" y="1703486"/>
                    </a:lnTo>
                    <a:lnTo>
                      <a:pt x="2486991" y="1675494"/>
                    </a:lnTo>
                    <a:lnTo>
                      <a:pt x="2504313" y="1666167"/>
                    </a:lnTo>
                    <a:lnTo>
                      <a:pt x="2528305" y="1683495"/>
                    </a:lnTo>
                    <a:lnTo>
                      <a:pt x="2525641" y="1723482"/>
                    </a:lnTo>
                    <a:lnTo>
                      <a:pt x="2524321" y="1758132"/>
                    </a:lnTo>
                    <a:lnTo>
                      <a:pt x="2553638" y="1774128"/>
                    </a:lnTo>
                    <a:lnTo>
                      <a:pt x="2592294" y="1770133"/>
                    </a:lnTo>
                    <a:lnTo>
                      <a:pt x="2620274" y="1784797"/>
                    </a:lnTo>
                    <a:lnTo>
                      <a:pt x="2640271" y="1791455"/>
                    </a:lnTo>
                    <a:lnTo>
                      <a:pt x="2665594" y="1771465"/>
                    </a:lnTo>
                    <a:lnTo>
                      <a:pt x="2692254" y="1788798"/>
                    </a:lnTo>
                    <a:lnTo>
                      <a:pt x="2714907" y="1815452"/>
                    </a:lnTo>
                    <a:lnTo>
                      <a:pt x="2732229" y="1850102"/>
                    </a:lnTo>
                    <a:lnTo>
                      <a:pt x="2746894" y="1888757"/>
                    </a:lnTo>
                    <a:lnTo>
                      <a:pt x="2734904" y="1922081"/>
                    </a:lnTo>
                    <a:lnTo>
                      <a:pt x="2712250" y="1932745"/>
                    </a:lnTo>
                    <a:lnTo>
                      <a:pt x="2700254" y="1959399"/>
                    </a:lnTo>
                    <a:lnTo>
                      <a:pt x="2669588" y="1964737"/>
                    </a:lnTo>
                    <a:lnTo>
                      <a:pt x="2672257" y="1991391"/>
                    </a:lnTo>
                    <a:lnTo>
                      <a:pt x="2686910" y="2024715"/>
                    </a:lnTo>
                    <a:lnTo>
                      <a:pt x="2674915" y="2047374"/>
                    </a:lnTo>
                    <a:lnTo>
                      <a:pt x="2684253" y="2062033"/>
                    </a:lnTo>
                    <a:lnTo>
                      <a:pt x="2692254" y="2094025"/>
                    </a:lnTo>
                    <a:lnTo>
                      <a:pt x="2689579" y="2134012"/>
                    </a:lnTo>
                    <a:lnTo>
                      <a:pt x="2677589" y="2155340"/>
                    </a:lnTo>
                    <a:lnTo>
                      <a:pt x="2679758" y="2164762"/>
                    </a:lnTo>
                    <a:lnTo>
                      <a:pt x="2685579" y="2189990"/>
                    </a:lnTo>
                    <a:lnTo>
                      <a:pt x="2720240" y="2207323"/>
                    </a:lnTo>
                    <a:lnTo>
                      <a:pt x="2774880" y="2248642"/>
                    </a:lnTo>
                    <a:lnTo>
                      <a:pt x="2798877" y="2281971"/>
                    </a:lnTo>
                    <a:lnTo>
                      <a:pt x="2828183" y="2277971"/>
                    </a:lnTo>
                    <a:lnTo>
                      <a:pt x="2868164" y="2309957"/>
                    </a:lnTo>
                    <a:lnTo>
                      <a:pt x="2882823" y="2353944"/>
                    </a:lnTo>
                    <a:lnTo>
                      <a:pt x="2897471" y="2371278"/>
                    </a:lnTo>
                    <a:lnTo>
                      <a:pt x="2910815" y="2399263"/>
                    </a:lnTo>
                    <a:lnTo>
                      <a:pt x="2905460" y="2412596"/>
                    </a:lnTo>
                    <a:lnTo>
                      <a:pt x="2856169" y="2453915"/>
                    </a:lnTo>
                    <a:lnTo>
                      <a:pt x="2821514" y="2459253"/>
                    </a:lnTo>
                    <a:lnTo>
                      <a:pt x="2786870" y="2483244"/>
                    </a:lnTo>
                    <a:lnTo>
                      <a:pt x="2770879" y="2528557"/>
                    </a:lnTo>
                    <a:lnTo>
                      <a:pt x="2754889" y="2604537"/>
                    </a:lnTo>
                    <a:lnTo>
                      <a:pt x="2740213" y="2647204"/>
                    </a:lnTo>
                    <a:lnTo>
                      <a:pt x="2745545" y="2665852"/>
                    </a:lnTo>
                    <a:lnTo>
                      <a:pt x="2726903" y="2677848"/>
                    </a:lnTo>
                    <a:lnTo>
                      <a:pt x="2721560" y="2691175"/>
                    </a:lnTo>
                    <a:lnTo>
                      <a:pt x="2720240" y="2772486"/>
                    </a:lnTo>
                    <a:lnTo>
                      <a:pt x="2748214" y="2791151"/>
                    </a:lnTo>
                    <a:lnTo>
                      <a:pt x="2760210" y="2821800"/>
                    </a:lnTo>
                    <a:lnTo>
                      <a:pt x="2738545" y="2844808"/>
                    </a:lnTo>
                    <a:lnTo>
                      <a:pt x="2706558" y="2832813"/>
                    </a:lnTo>
                    <a:lnTo>
                      <a:pt x="2678578" y="2830813"/>
                    </a:lnTo>
                    <a:lnTo>
                      <a:pt x="2627595" y="2787825"/>
                    </a:lnTo>
                    <a:lnTo>
                      <a:pt x="2580613" y="2768834"/>
                    </a:lnTo>
                    <a:lnTo>
                      <a:pt x="2542637" y="2763839"/>
                    </a:lnTo>
                    <a:cubicBezTo>
                      <a:pt x="2542637" y="2763839"/>
                      <a:pt x="2522641" y="2743843"/>
                      <a:pt x="2519641" y="2742843"/>
                    </a:cubicBezTo>
                    <a:cubicBezTo>
                      <a:pt x="2516646" y="2741843"/>
                      <a:pt x="2493649" y="2731847"/>
                      <a:pt x="2493649" y="2731847"/>
                    </a:cubicBezTo>
                    <a:lnTo>
                      <a:pt x="2477659" y="2712845"/>
                    </a:lnTo>
                    <a:lnTo>
                      <a:pt x="2470900" y="2715998"/>
                    </a:lnTo>
                    <a:lnTo>
                      <a:pt x="2445673" y="2727841"/>
                    </a:lnTo>
                    <a:lnTo>
                      <a:pt x="2425676" y="2751833"/>
                    </a:lnTo>
                    <a:lnTo>
                      <a:pt x="2414686" y="2791825"/>
                    </a:lnTo>
                    <a:lnTo>
                      <a:pt x="2415687" y="2819822"/>
                    </a:lnTo>
                    <a:lnTo>
                      <a:pt x="2427677" y="2843814"/>
                    </a:lnTo>
                    <a:lnTo>
                      <a:pt x="2431671" y="2890790"/>
                    </a:lnTo>
                    <a:lnTo>
                      <a:pt x="2452668" y="2935778"/>
                    </a:lnTo>
                    <a:lnTo>
                      <a:pt x="2464658" y="2963764"/>
                    </a:lnTo>
                    <a:lnTo>
                      <a:pt x="2465658" y="3010752"/>
                    </a:lnTo>
                    <a:lnTo>
                      <a:pt x="2424671" y="3029742"/>
                    </a:lnTo>
                    <a:lnTo>
                      <a:pt x="2387684" y="3036743"/>
                    </a:lnTo>
                    <a:lnTo>
                      <a:pt x="2358703" y="3016747"/>
                    </a:lnTo>
                    <a:lnTo>
                      <a:pt x="2324711" y="3021742"/>
                    </a:lnTo>
                    <a:lnTo>
                      <a:pt x="2298731" y="3034737"/>
                    </a:lnTo>
                    <a:lnTo>
                      <a:pt x="2277734" y="3044744"/>
                    </a:lnTo>
                    <a:lnTo>
                      <a:pt x="2262739" y="3065729"/>
                    </a:lnTo>
                    <a:lnTo>
                      <a:pt x="2234758" y="3071724"/>
                    </a:lnTo>
                    <a:lnTo>
                      <a:pt x="2214767" y="3056734"/>
                    </a:lnTo>
                    <a:lnTo>
                      <a:pt x="2190776" y="3043738"/>
                    </a:lnTo>
                    <a:lnTo>
                      <a:pt x="2173786" y="3050739"/>
                    </a:lnTo>
                    <a:lnTo>
                      <a:pt x="2160790" y="3082720"/>
                    </a:lnTo>
                    <a:lnTo>
                      <a:pt x="2169780" y="3118718"/>
                    </a:lnTo>
                    <a:lnTo>
                      <a:pt x="2177781" y="3152704"/>
                    </a:lnTo>
                    <a:lnTo>
                      <a:pt x="2167791" y="3170712"/>
                    </a:lnTo>
                    <a:lnTo>
                      <a:pt x="2136805" y="3167717"/>
                    </a:lnTo>
                    <a:lnTo>
                      <a:pt x="2110813" y="3178713"/>
                    </a:lnTo>
                    <a:lnTo>
                      <a:pt x="2108813" y="3203704"/>
                    </a:lnTo>
                    <a:lnTo>
                      <a:pt x="2078827" y="3228695"/>
                    </a:lnTo>
                    <a:lnTo>
                      <a:pt x="2074826" y="3244708"/>
                    </a:lnTo>
                    <a:lnTo>
                      <a:pt x="2082827" y="3260704"/>
                    </a:lnTo>
                    <a:cubicBezTo>
                      <a:pt x="2082827" y="3260704"/>
                      <a:pt x="2084827" y="3266699"/>
                      <a:pt x="2085827" y="3269710"/>
                    </a:cubicBezTo>
                    <a:lnTo>
                      <a:pt x="2080507" y="3272042"/>
                    </a:lnTo>
                    <a:lnTo>
                      <a:pt x="2060842" y="3272705"/>
                    </a:lnTo>
                    <a:lnTo>
                      <a:pt x="2043840" y="3266705"/>
                    </a:lnTo>
                    <a:lnTo>
                      <a:pt x="2023855" y="3242708"/>
                    </a:lnTo>
                    <a:lnTo>
                      <a:pt x="1992863" y="3252709"/>
                    </a:lnTo>
                    <a:lnTo>
                      <a:pt x="1965872" y="3250714"/>
                    </a:lnTo>
                    <a:lnTo>
                      <a:pt x="1931879" y="3233707"/>
                    </a:lnTo>
                    <a:lnTo>
                      <a:pt x="1879908" y="3184719"/>
                    </a:lnTo>
                    <a:lnTo>
                      <a:pt x="1852917" y="3154727"/>
                    </a:lnTo>
                    <a:cubicBezTo>
                      <a:pt x="1852917" y="3154727"/>
                      <a:pt x="1827925" y="3146715"/>
                      <a:pt x="1824930" y="3146715"/>
                    </a:cubicBezTo>
                    <a:cubicBezTo>
                      <a:pt x="1822554" y="3146715"/>
                      <a:pt x="1801310" y="3140434"/>
                      <a:pt x="1792607" y="3137821"/>
                    </a:cubicBezTo>
                    <a:cubicBezTo>
                      <a:pt x="1790343" y="3137141"/>
                      <a:pt x="1788938" y="3136731"/>
                      <a:pt x="1788938" y="3136731"/>
                    </a:cubicBezTo>
                    <a:lnTo>
                      <a:pt x="1750951" y="3131730"/>
                    </a:lnTo>
                    <a:lnTo>
                      <a:pt x="1707969" y="3129725"/>
                    </a:lnTo>
                    <a:lnTo>
                      <a:pt x="1704969" y="3119729"/>
                    </a:lnTo>
                    <a:lnTo>
                      <a:pt x="1693974" y="3103727"/>
                    </a:lnTo>
                    <a:lnTo>
                      <a:pt x="1671983" y="3077730"/>
                    </a:lnTo>
                    <a:lnTo>
                      <a:pt x="1649992" y="3046739"/>
                    </a:lnTo>
                    <a:lnTo>
                      <a:pt x="1633001" y="3042744"/>
                    </a:lnTo>
                    <a:lnTo>
                      <a:pt x="1604015" y="3030743"/>
                    </a:lnTo>
                    <a:lnTo>
                      <a:pt x="1577029" y="3012752"/>
                    </a:lnTo>
                    <a:lnTo>
                      <a:pt x="1556033" y="3000751"/>
                    </a:lnTo>
                    <a:lnTo>
                      <a:pt x="1547032" y="3014741"/>
                    </a:lnTo>
                    <a:lnTo>
                      <a:pt x="1537036" y="3029737"/>
                    </a:lnTo>
                    <a:lnTo>
                      <a:pt x="1532716" y="3028405"/>
                    </a:lnTo>
                    <a:lnTo>
                      <a:pt x="1520726" y="3019084"/>
                    </a:lnTo>
                    <a:lnTo>
                      <a:pt x="1500729" y="3008415"/>
                    </a:lnTo>
                    <a:lnTo>
                      <a:pt x="1468737" y="2993761"/>
                    </a:lnTo>
                    <a:cubicBezTo>
                      <a:pt x="1468737" y="2993761"/>
                      <a:pt x="1424755" y="2985761"/>
                      <a:pt x="1420761" y="2985761"/>
                    </a:cubicBezTo>
                    <a:cubicBezTo>
                      <a:pt x="1416760" y="2985761"/>
                      <a:pt x="1362109" y="2973765"/>
                      <a:pt x="1362109" y="2973765"/>
                    </a:cubicBezTo>
                    <a:lnTo>
                      <a:pt x="1311463" y="2959112"/>
                    </a:lnTo>
                    <a:lnTo>
                      <a:pt x="1308806" y="2940436"/>
                    </a:lnTo>
                    <a:lnTo>
                      <a:pt x="1302136" y="2924445"/>
                    </a:lnTo>
                    <a:lnTo>
                      <a:pt x="1262144" y="2900449"/>
                    </a:lnTo>
                    <a:lnTo>
                      <a:pt x="1252822" y="2884458"/>
                    </a:lnTo>
                    <a:lnTo>
                      <a:pt x="1236832" y="2871137"/>
                    </a:lnTo>
                    <a:lnTo>
                      <a:pt x="1212835" y="2853804"/>
                    </a:lnTo>
                    <a:lnTo>
                      <a:pt x="1207503" y="2852461"/>
                    </a:lnTo>
                    <a:lnTo>
                      <a:pt x="1163521" y="2848471"/>
                    </a:lnTo>
                    <a:lnTo>
                      <a:pt x="1122871" y="2849140"/>
                    </a:lnTo>
                    <a:lnTo>
                      <a:pt x="1083553" y="2863793"/>
                    </a:lnTo>
                    <a:lnTo>
                      <a:pt x="1032913" y="2888453"/>
                    </a:lnTo>
                    <a:lnTo>
                      <a:pt x="1029570" y="2887790"/>
                    </a:lnTo>
                    <a:lnTo>
                      <a:pt x="1004247" y="2885121"/>
                    </a:lnTo>
                    <a:lnTo>
                      <a:pt x="958939" y="2889785"/>
                    </a:lnTo>
                    <a:lnTo>
                      <a:pt x="954264" y="2886459"/>
                    </a:lnTo>
                    <a:lnTo>
                      <a:pt x="936937" y="2876469"/>
                    </a:lnTo>
                    <a:lnTo>
                      <a:pt x="911614" y="2867131"/>
                    </a:lnTo>
                    <a:lnTo>
                      <a:pt x="876965" y="2860473"/>
                    </a:lnTo>
                    <a:lnTo>
                      <a:pt x="859637" y="2819148"/>
                    </a:lnTo>
                    <a:lnTo>
                      <a:pt x="838320" y="2789814"/>
                    </a:lnTo>
                    <a:lnTo>
                      <a:pt x="787669" y="2760502"/>
                    </a:lnTo>
                    <a:lnTo>
                      <a:pt x="747687" y="2755164"/>
                    </a:lnTo>
                    <a:lnTo>
                      <a:pt x="679714" y="2731173"/>
                    </a:lnTo>
                    <a:lnTo>
                      <a:pt x="570428" y="2696518"/>
                    </a:lnTo>
                    <a:lnTo>
                      <a:pt x="506455" y="2672527"/>
                    </a:lnTo>
                    <a:lnTo>
                      <a:pt x="449146" y="2664526"/>
                    </a:lnTo>
                    <a:lnTo>
                      <a:pt x="395838" y="2657862"/>
                    </a:lnTo>
                    <a:lnTo>
                      <a:pt x="374515" y="2677848"/>
                    </a:lnTo>
                    <a:lnTo>
                      <a:pt x="341186" y="2677848"/>
                    </a:lnTo>
                    <a:lnTo>
                      <a:pt x="285214" y="2680517"/>
                    </a:lnTo>
                    <a:lnTo>
                      <a:pt x="254559" y="2669858"/>
                    </a:lnTo>
                  </a:path>
                </a:pathLst>
              </a:custGeom>
              <a:solidFill>
                <a:srgbClr val="D2E6FE"/>
              </a:solidFill>
              <a:ln w="19050" cap="rnd">
                <a:solidFill>
                  <a:schemeClr val="lt1"/>
                </a:solidFill>
                <a:prstDash val="solid"/>
                <a:round/>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7" name="Freihandform: Form 176">
                <a:extLst>
                  <a:ext uri="{FF2B5EF4-FFF2-40B4-BE49-F238E27FC236}">
                    <a16:creationId xmlns:a16="http://schemas.microsoft.com/office/drawing/2014/main" id="{97F45639-8ADD-DDFD-622D-2E9BE44FB842}"/>
                  </a:ext>
                </a:extLst>
              </p:cNvPr>
              <p:cNvSpPr/>
              <p:nvPr/>
            </p:nvSpPr>
            <p:spPr>
              <a:xfrm>
                <a:off x="3204476" y="54011"/>
                <a:ext cx="3334712" cy="4011309"/>
              </a:xfrm>
              <a:custGeom>
                <a:avLst/>
                <a:gdLst>
                  <a:gd name="connsiteX0" fmla="*/ 3100283 w 3334638"/>
                  <a:gd name="connsiteY0" fmla="*/ 3881508 h 4012481"/>
                  <a:gd name="connsiteX1" fmla="*/ 3076730 w 3334638"/>
                  <a:gd name="connsiteY1" fmla="*/ 3903488 h 4012481"/>
                  <a:gd name="connsiteX2" fmla="*/ 3034749 w 3334638"/>
                  <a:gd name="connsiteY2" fmla="*/ 3909488 h 4012481"/>
                  <a:gd name="connsiteX3" fmla="*/ 3002762 w 3334638"/>
                  <a:gd name="connsiteY3" fmla="*/ 3888492 h 4012481"/>
                  <a:gd name="connsiteX4" fmla="*/ 2973782 w 3334638"/>
                  <a:gd name="connsiteY4" fmla="*/ 3880496 h 4012481"/>
                  <a:gd name="connsiteX5" fmla="*/ 2945790 w 3334638"/>
                  <a:gd name="connsiteY5" fmla="*/ 3889492 h 4012481"/>
                  <a:gd name="connsiteX6" fmla="*/ 2920799 w 3334638"/>
                  <a:gd name="connsiteY6" fmla="*/ 3921484 h 4012481"/>
                  <a:gd name="connsiteX7" fmla="*/ 2915798 w 3334638"/>
                  <a:gd name="connsiteY7" fmla="*/ 3967488 h 4012481"/>
                  <a:gd name="connsiteX8" fmla="*/ 2912798 w 3334638"/>
                  <a:gd name="connsiteY8" fmla="*/ 3990485 h 4012481"/>
                  <a:gd name="connsiteX9" fmla="*/ 2846831 w 3334638"/>
                  <a:gd name="connsiteY9" fmla="*/ 3990485 h 4012481"/>
                  <a:gd name="connsiteX10" fmla="*/ 2795854 w 3334638"/>
                  <a:gd name="connsiteY10" fmla="*/ 3987490 h 4012481"/>
                  <a:gd name="connsiteX11" fmla="*/ 2751866 w 3334638"/>
                  <a:gd name="connsiteY11" fmla="*/ 3999486 h 4012481"/>
                  <a:gd name="connsiteX12" fmla="*/ 2726886 w 3334638"/>
                  <a:gd name="connsiteY12" fmla="*/ 4012482 h 4012481"/>
                  <a:gd name="connsiteX13" fmla="*/ 2710890 w 3334638"/>
                  <a:gd name="connsiteY13" fmla="*/ 3992480 h 4012481"/>
                  <a:gd name="connsiteX14" fmla="*/ 2664908 w 3334638"/>
                  <a:gd name="connsiteY14" fmla="*/ 3999480 h 4012481"/>
                  <a:gd name="connsiteX15" fmla="*/ 2621927 w 3334638"/>
                  <a:gd name="connsiteY15" fmla="*/ 3930490 h 4012481"/>
                  <a:gd name="connsiteX16" fmla="*/ 2603930 w 3334638"/>
                  <a:gd name="connsiteY16" fmla="*/ 3942486 h 4012481"/>
                  <a:gd name="connsiteX17" fmla="*/ 2564949 w 3334638"/>
                  <a:gd name="connsiteY17" fmla="*/ 3952487 h 4012481"/>
                  <a:gd name="connsiteX18" fmla="*/ 2518955 w 3334638"/>
                  <a:gd name="connsiteY18" fmla="*/ 3953492 h 4012481"/>
                  <a:gd name="connsiteX19" fmla="*/ 2495970 w 3334638"/>
                  <a:gd name="connsiteY19" fmla="*/ 3946492 h 4012481"/>
                  <a:gd name="connsiteX20" fmla="*/ 2492200 w 3334638"/>
                  <a:gd name="connsiteY20" fmla="*/ 3946492 h 4012481"/>
                  <a:gd name="connsiteX21" fmla="*/ 2466984 w 3334638"/>
                  <a:gd name="connsiteY21" fmla="*/ 3946492 h 4012481"/>
                  <a:gd name="connsiteX22" fmla="*/ 2444987 w 3334638"/>
                  <a:gd name="connsiteY22" fmla="*/ 3911494 h 4012481"/>
                  <a:gd name="connsiteX23" fmla="*/ 2438992 w 3334638"/>
                  <a:gd name="connsiteY23" fmla="*/ 3889492 h 4012481"/>
                  <a:gd name="connsiteX24" fmla="*/ 2407011 w 3334638"/>
                  <a:gd name="connsiteY24" fmla="*/ 3882491 h 4012481"/>
                  <a:gd name="connsiteX25" fmla="*/ 2393021 w 3334638"/>
                  <a:gd name="connsiteY25" fmla="*/ 3902493 h 4012481"/>
                  <a:gd name="connsiteX26" fmla="*/ 2375031 w 3334638"/>
                  <a:gd name="connsiteY26" fmla="*/ 3905493 h 4012481"/>
                  <a:gd name="connsiteX27" fmla="*/ 2359029 w 3334638"/>
                  <a:gd name="connsiteY27" fmla="*/ 3895492 h 4012481"/>
                  <a:gd name="connsiteX28" fmla="*/ 2340039 w 3334638"/>
                  <a:gd name="connsiteY28" fmla="*/ 3913488 h 4012481"/>
                  <a:gd name="connsiteX29" fmla="*/ 2334043 w 3334638"/>
                  <a:gd name="connsiteY29" fmla="*/ 3927484 h 4012481"/>
                  <a:gd name="connsiteX30" fmla="*/ 2312052 w 3334638"/>
                  <a:gd name="connsiteY30" fmla="*/ 3900487 h 4012481"/>
                  <a:gd name="connsiteX31" fmla="*/ 2287061 w 3334638"/>
                  <a:gd name="connsiteY31" fmla="*/ 3893498 h 4012481"/>
                  <a:gd name="connsiteX32" fmla="*/ 2284061 w 3334638"/>
                  <a:gd name="connsiteY32" fmla="*/ 3834503 h 4012481"/>
                  <a:gd name="connsiteX33" fmla="*/ 2276060 w 3334638"/>
                  <a:gd name="connsiteY33" fmla="*/ 3814507 h 4012481"/>
                  <a:gd name="connsiteX34" fmla="*/ 2249080 w 3334638"/>
                  <a:gd name="connsiteY34" fmla="*/ 3809512 h 4012481"/>
                  <a:gd name="connsiteX35" fmla="*/ 2228089 w 3334638"/>
                  <a:gd name="connsiteY35" fmla="*/ 3794521 h 4012481"/>
                  <a:gd name="connsiteX36" fmla="*/ 2204092 w 3334638"/>
                  <a:gd name="connsiteY36" fmla="*/ 3759524 h 4012481"/>
                  <a:gd name="connsiteX37" fmla="*/ 2192097 w 3334638"/>
                  <a:gd name="connsiteY37" fmla="*/ 3740533 h 4012481"/>
                  <a:gd name="connsiteX38" fmla="*/ 2194086 w 3334638"/>
                  <a:gd name="connsiteY38" fmla="*/ 3697540 h 4012481"/>
                  <a:gd name="connsiteX39" fmla="*/ 2179107 w 3334638"/>
                  <a:gd name="connsiteY39" fmla="*/ 3666553 h 4012481"/>
                  <a:gd name="connsiteX40" fmla="*/ 2177106 w 3334638"/>
                  <a:gd name="connsiteY40" fmla="*/ 3602570 h 4012481"/>
                  <a:gd name="connsiteX41" fmla="*/ 2167111 w 3334638"/>
                  <a:gd name="connsiteY41" fmla="*/ 3559582 h 4012481"/>
                  <a:gd name="connsiteX42" fmla="*/ 2175112 w 3334638"/>
                  <a:gd name="connsiteY42" fmla="*/ 3525596 h 4012481"/>
                  <a:gd name="connsiteX43" fmla="*/ 2151115 w 3334638"/>
                  <a:gd name="connsiteY43" fmla="*/ 3492609 h 4012481"/>
                  <a:gd name="connsiteX44" fmla="*/ 2116128 w 3334638"/>
                  <a:gd name="connsiteY44" fmla="*/ 3458617 h 4012481"/>
                  <a:gd name="connsiteX45" fmla="*/ 2104138 w 3334638"/>
                  <a:gd name="connsiteY45" fmla="*/ 3440615 h 4012481"/>
                  <a:gd name="connsiteX46" fmla="*/ 2088148 w 3334638"/>
                  <a:gd name="connsiteY46" fmla="*/ 3437626 h 4012481"/>
                  <a:gd name="connsiteX47" fmla="*/ 2085142 w 3334638"/>
                  <a:gd name="connsiteY47" fmla="*/ 3409629 h 4012481"/>
                  <a:gd name="connsiteX48" fmla="*/ 2064151 w 3334638"/>
                  <a:gd name="connsiteY48" fmla="*/ 3377637 h 4012481"/>
                  <a:gd name="connsiteX49" fmla="*/ 2012180 w 3334638"/>
                  <a:gd name="connsiteY49" fmla="*/ 3372642 h 4012481"/>
                  <a:gd name="connsiteX50" fmla="*/ 1988183 w 3334638"/>
                  <a:gd name="connsiteY50" fmla="*/ 3355652 h 4012481"/>
                  <a:gd name="connsiteX51" fmla="*/ 1990178 w 3334638"/>
                  <a:gd name="connsiteY51" fmla="*/ 3338650 h 4012481"/>
                  <a:gd name="connsiteX52" fmla="*/ 2002173 w 3334638"/>
                  <a:gd name="connsiteY52" fmla="*/ 3293668 h 4012481"/>
                  <a:gd name="connsiteX53" fmla="*/ 2028159 w 3334638"/>
                  <a:gd name="connsiteY53" fmla="*/ 3257681 h 4012481"/>
                  <a:gd name="connsiteX54" fmla="*/ 2038165 w 3334638"/>
                  <a:gd name="connsiteY54" fmla="*/ 3236685 h 4012481"/>
                  <a:gd name="connsiteX55" fmla="*/ 2008168 w 3334638"/>
                  <a:gd name="connsiteY55" fmla="*/ 3211688 h 4012481"/>
                  <a:gd name="connsiteX56" fmla="*/ 1966181 w 3334638"/>
                  <a:gd name="connsiteY56" fmla="*/ 3206693 h 4012481"/>
                  <a:gd name="connsiteX57" fmla="*/ 1928199 w 3334638"/>
                  <a:gd name="connsiteY57" fmla="*/ 3190691 h 4012481"/>
                  <a:gd name="connsiteX58" fmla="*/ 1886212 w 3334638"/>
                  <a:gd name="connsiteY58" fmla="*/ 3173701 h 4012481"/>
                  <a:gd name="connsiteX59" fmla="*/ 1889207 w 3334638"/>
                  <a:gd name="connsiteY59" fmla="*/ 3228684 h 4012481"/>
                  <a:gd name="connsiteX60" fmla="*/ 1888212 w 3334638"/>
                  <a:gd name="connsiteY60" fmla="*/ 3281672 h 4012481"/>
                  <a:gd name="connsiteX61" fmla="*/ 1844230 w 3334638"/>
                  <a:gd name="connsiteY61" fmla="*/ 3316659 h 4012481"/>
                  <a:gd name="connsiteX62" fmla="*/ 1814233 w 3334638"/>
                  <a:gd name="connsiteY62" fmla="*/ 3343656 h 4012481"/>
                  <a:gd name="connsiteX63" fmla="*/ 1758261 w 3334638"/>
                  <a:gd name="connsiteY63" fmla="*/ 3330660 h 4012481"/>
                  <a:gd name="connsiteX64" fmla="*/ 1714273 w 3334638"/>
                  <a:gd name="connsiteY64" fmla="*/ 3337661 h 4012481"/>
                  <a:gd name="connsiteX65" fmla="*/ 1673297 w 3334638"/>
                  <a:gd name="connsiteY65" fmla="*/ 3358646 h 4012481"/>
                  <a:gd name="connsiteX66" fmla="*/ 1655301 w 3334638"/>
                  <a:gd name="connsiteY66" fmla="*/ 3389638 h 4012481"/>
                  <a:gd name="connsiteX67" fmla="*/ 1652301 w 3334638"/>
                  <a:gd name="connsiteY67" fmla="*/ 3397639 h 4012481"/>
                  <a:gd name="connsiteX68" fmla="*/ 1668302 w 3334638"/>
                  <a:gd name="connsiteY68" fmla="*/ 3428631 h 4012481"/>
                  <a:gd name="connsiteX69" fmla="*/ 1677298 w 3334638"/>
                  <a:gd name="connsiteY69" fmla="*/ 3462629 h 4012481"/>
                  <a:gd name="connsiteX70" fmla="*/ 1663308 w 3334638"/>
                  <a:gd name="connsiteY70" fmla="*/ 3517612 h 4012481"/>
                  <a:gd name="connsiteX71" fmla="*/ 1652307 w 3334638"/>
                  <a:gd name="connsiteY71" fmla="*/ 3564588 h 4012481"/>
                  <a:gd name="connsiteX72" fmla="*/ 1659307 w 3334638"/>
                  <a:gd name="connsiteY72" fmla="*/ 3611576 h 4012481"/>
                  <a:gd name="connsiteX73" fmla="*/ 1680298 w 3334638"/>
                  <a:gd name="connsiteY73" fmla="*/ 3640562 h 4012481"/>
                  <a:gd name="connsiteX74" fmla="*/ 1696294 w 3334638"/>
                  <a:gd name="connsiteY74" fmla="*/ 3675555 h 4012481"/>
                  <a:gd name="connsiteX75" fmla="*/ 1709284 w 3334638"/>
                  <a:gd name="connsiteY75" fmla="*/ 3715547 h 4012481"/>
                  <a:gd name="connsiteX76" fmla="*/ 1703300 w 3334638"/>
                  <a:gd name="connsiteY76" fmla="*/ 3769536 h 4012481"/>
                  <a:gd name="connsiteX77" fmla="*/ 1700306 w 3334638"/>
                  <a:gd name="connsiteY77" fmla="*/ 3809517 h 4012481"/>
                  <a:gd name="connsiteX78" fmla="*/ 1704300 w 3334638"/>
                  <a:gd name="connsiteY78" fmla="*/ 3838503 h 4012481"/>
                  <a:gd name="connsiteX79" fmla="*/ 1689299 w 3334638"/>
                  <a:gd name="connsiteY79" fmla="*/ 3851499 h 4012481"/>
                  <a:gd name="connsiteX80" fmla="*/ 1666308 w 3334638"/>
                  <a:gd name="connsiteY80" fmla="*/ 3842504 h 4012481"/>
                  <a:gd name="connsiteX81" fmla="*/ 1637327 w 3334638"/>
                  <a:gd name="connsiteY81" fmla="*/ 3834498 h 4012481"/>
                  <a:gd name="connsiteX82" fmla="*/ 1595334 w 3334638"/>
                  <a:gd name="connsiteY82" fmla="*/ 3845493 h 4012481"/>
                  <a:gd name="connsiteX83" fmla="*/ 1562354 w 3334638"/>
                  <a:gd name="connsiteY83" fmla="*/ 3868501 h 4012481"/>
                  <a:gd name="connsiteX84" fmla="*/ 1539368 w 3334638"/>
                  <a:gd name="connsiteY84" fmla="*/ 3881497 h 4012481"/>
                  <a:gd name="connsiteX85" fmla="*/ 1514377 w 3334638"/>
                  <a:gd name="connsiteY85" fmla="*/ 3888492 h 4012481"/>
                  <a:gd name="connsiteX86" fmla="*/ 1529367 w 3334638"/>
                  <a:gd name="connsiteY86" fmla="*/ 3927479 h 4012481"/>
                  <a:gd name="connsiteX87" fmla="*/ 1537368 w 3334638"/>
                  <a:gd name="connsiteY87" fmla="*/ 3946486 h 4012481"/>
                  <a:gd name="connsiteX88" fmla="*/ 1514377 w 3334638"/>
                  <a:gd name="connsiteY88" fmla="*/ 3976478 h 4012481"/>
                  <a:gd name="connsiteX89" fmla="*/ 1513377 w 3334638"/>
                  <a:gd name="connsiteY89" fmla="*/ 3992480 h 4012481"/>
                  <a:gd name="connsiteX90" fmla="*/ 1481385 w 3334638"/>
                  <a:gd name="connsiteY90" fmla="*/ 3988479 h 4012481"/>
                  <a:gd name="connsiteX91" fmla="*/ 1437409 w 3334638"/>
                  <a:gd name="connsiteY91" fmla="*/ 3979484 h 4012481"/>
                  <a:gd name="connsiteX92" fmla="*/ 1397416 w 3334638"/>
                  <a:gd name="connsiteY92" fmla="*/ 3956487 h 4012481"/>
                  <a:gd name="connsiteX93" fmla="*/ 1377425 w 3334638"/>
                  <a:gd name="connsiteY93" fmla="*/ 3959476 h 4012481"/>
                  <a:gd name="connsiteX94" fmla="*/ 1377425 w 3334638"/>
                  <a:gd name="connsiteY94" fmla="*/ 4000469 h 4012481"/>
                  <a:gd name="connsiteX95" fmla="*/ 1345439 w 3334638"/>
                  <a:gd name="connsiteY95" fmla="*/ 3998480 h 4012481"/>
                  <a:gd name="connsiteX96" fmla="*/ 1332449 w 3334638"/>
                  <a:gd name="connsiteY96" fmla="*/ 3987485 h 4012481"/>
                  <a:gd name="connsiteX97" fmla="*/ 1331443 w 3334638"/>
                  <a:gd name="connsiteY97" fmla="*/ 3960482 h 4012481"/>
                  <a:gd name="connsiteX98" fmla="*/ 1311452 w 3334638"/>
                  <a:gd name="connsiteY98" fmla="*/ 3941480 h 4012481"/>
                  <a:gd name="connsiteX99" fmla="*/ 1280460 w 3334638"/>
                  <a:gd name="connsiteY99" fmla="*/ 3932474 h 4012481"/>
                  <a:gd name="connsiteX100" fmla="*/ 1244473 w 3334638"/>
                  <a:gd name="connsiteY100" fmla="*/ 3893492 h 4012481"/>
                  <a:gd name="connsiteX101" fmla="*/ 1215487 w 3334638"/>
                  <a:gd name="connsiteY101" fmla="*/ 3887497 h 4012481"/>
                  <a:gd name="connsiteX102" fmla="*/ 1190496 w 3334638"/>
                  <a:gd name="connsiteY102" fmla="*/ 3845493 h 4012481"/>
                  <a:gd name="connsiteX103" fmla="*/ 1158510 w 3334638"/>
                  <a:gd name="connsiteY103" fmla="*/ 3825502 h 4012481"/>
                  <a:gd name="connsiteX104" fmla="*/ 1120528 w 3334638"/>
                  <a:gd name="connsiteY104" fmla="*/ 3829502 h 4012481"/>
                  <a:gd name="connsiteX105" fmla="*/ 1091537 w 3334638"/>
                  <a:gd name="connsiteY105" fmla="*/ 3783515 h 4012481"/>
                  <a:gd name="connsiteX106" fmla="*/ 1060556 w 3334638"/>
                  <a:gd name="connsiteY106" fmla="*/ 3754529 h 4012481"/>
                  <a:gd name="connsiteX107" fmla="*/ 1035565 w 3334638"/>
                  <a:gd name="connsiteY107" fmla="*/ 3765524 h 4012481"/>
                  <a:gd name="connsiteX108" fmla="*/ 1021569 w 3334638"/>
                  <a:gd name="connsiteY108" fmla="*/ 3782515 h 4012481"/>
                  <a:gd name="connsiteX109" fmla="*/ 995589 w 3334638"/>
                  <a:gd name="connsiteY109" fmla="*/ 3738521 h 4012481"/>
                  <a:gd name="connsiteX110" fmla="*/ 975598 w 3334638"/>
                  <a:gd name="connsiteY110" fmla="*/ 3719542 h 4012481"/>
                  <a:gd name="connsiteX111" fmla="*/ 949612 w 3334638"/>
                  <a:gd name="connsiteY111" fmla="*/ 3724543 h 4012481"/>
                  <a:gd name="connsiteX112" fmla="*/ 926627 w 3334638"/>
                  <a:gd name="connsiteY112" fmla="*/ 3704541 h 4012481"/>
                  <a:gd name="connsiteX113" fmla="*/ 897624 w 3334638"/>
                  <a:gd name="connsiteY113" fmla="*/ 3693556 h 4012481"/>
                  <a:gd name="connsiteX114" fmla="*/ 868638 w 3334638"/>
                  <a:gd name="connsiteY114" fmla="*/ 3681561 h 4012481"/>
                  <a:gd name="connsiteX115" fmla="*/ 848641 w 3334638"/>
                  <a:gd name="connsiteY115" fmla="*/ 3656569 h 4012481"/>
                  <a:gd name="connsiteX116" fmla="*/ 870307 w 3334638"/>
                  <a:gd name="connsiteY116" fmla="*/ 3633562 h 4012481"/>
                  <a:gd name="connsiteX117" fmla="*/ 858311 w 3334638"/>
                  <a:gd name="connsiteY117" fmla="*/ 3602912 h 4012481"/>
                  <a:gd name="connsiteX118" fmla="*/ 830336 w 3334638"/>
                  <a:gd name="connsiteY118" fmla="*/ 3584247 h 4012481"/>
                  <a:gd name="connsiteX119" fmla="*/ 831657 w 3334638"/>
                  <a:gd name="connsiteY119" fmla="*/ 3502936 h 4012481"/>
                  <a:gd name="connsiteX120" fmla="*/ 837000 w 3334638"/>
                  <a:gd name="connsiteY120" fmla="*/ 3489609 h 4012481"/>
                  <a:gd name="connsiteX121" fmla="*/ 855642 w 3334638"/>
                  <a:gd name="connsiteY121" fmla="*/ 3477613 h 4012481"/>
                  <a:gd name="connsiteX122" fmla="*/ 850310 w 3334638"/>
                  <a:gd name="connsiteY122" fmla="*/ 3458965 h 4012481"/>
                  <a:gd name="connsiteX123" fmla="*/ 864986 w 3334638"/>
                  <a:gd name="connsiteY123" fmla="*/ 3416298 h 4012481"/>
                  <a:gd name="connsiteX124" fmla="*/ 880976 w 3334638"/>
                  <a:gd name="connsiteY124" fmla="*/ 3340319 h 4012481"/>
                  <a:gd name="connsiteX125" fmla="*/ 896967 w 3334638"/>
                  <a:gd name="connsiteY125" fmla="*/ 3295005 h 4012481"/>
                  <a:gd name="connsiteX126" fmla="*/ 931610 w 3334638"/>
                  <a:gd name="connsiteY126" fmla="*/ 3271014 h 4012481"/>
                  <a:gd name="connsiteX127" fmla="*/ 966266 w 3334638"/>
                  <a:gd name="connsiteY127" fmla="*/ 3265676 h 4012481"/>
                  <a:gd name="connsiteX128" fmla="*/ 1015557 w 3334638"/>
                  <a:gd name="connsiteY128" fmla="*/ 3224358 h 4012481"/>
                  <a:gd name="connsiteX129" fmla="*/ 1020912 w 3334638"/>
                  <a:gd name="connsiteY129" fmla="*/ 3211025 h 4012481"/>
                  <a:gd name="connsiteX130" fmla="*/ 1007568 w 3334638"/>
                  <a:gd name="connsiteY130" fmla="*/ 3183039 h 4012481"/>
                  <a:gd name="connsiteX131" fmla="*/ 992920 w 3334638"/>
                  <a:gd name="connsiteY131" fmla="*/ 3165706 h 4012481"/>
                  <a:gd name="connsiteX132" fmla="*/ 978261 w 3334638"/>
                  <a:gd name="connsiteY132" fmla="*/ 3121718 h 4012481"/>
                  <a:gd name="connsiteX133" fmla="*/ 938280 w 3334638"/>
                  <a:gd name="connsiteY133" fmla="*/ 3089732 h 4012481"/>
                  <a:gd name="connsiteX134" fmla="*/ 908973 w 3334638"/>
                  <a:gd name="connsiteY134" fmla="*/ 3093732 h 4012481"/>
                  <a:gd name="connsiteX135" fmla="*/ 884977 w 3334638"/>
                  <a:gd name="connsiteY135" fmla="*/ 3060403 h 4012481"/>
                  <a:gd name="connsiteX136" fmla="*/ 830336 w 3334638"/>
                  <a:gd name="connsiteY136" fmla="*/ 3019084 h 4012481"/>
                  <a:gd name="connsiteX137" fmla="*/ 795675 w 3334638"/>
                  <a:gd name="connsiteY137" fmla="*/ 3001751 h 4012481"/>
                  <a:gd name="connsiteX138" fmla="*/ 789855 w 3334638"/>
                  <a:gd name="connsiteY138" fmla="*/ 2976524 h 4012481"/>
                  <a:gd name="connsiteX139" fmla="*/ 787686 w 3334638"/>
                  <a:gd name="connsiteY139" fmla="*/ 2967101 h 4012481"/>
                  <a:gd name="connsiteX140" fmla="*/ 799676 w 3334638"/>
                  <a:gd name="connsiteY140" fmla="*/ 2945773 h 4012481"/>
                  <a:gd name="connsiteX141" fmla="*/ 802350 w 3334638"/>
                  <a:gd name="connsiteY141" fmla="*/ 2905786 h 4012481"/>
                  <a:gd name="connsiteX142" fmla="*/ 794349 w 3334638"/>
                  <a:gd name="connsiteY142" fmla="*/ 2873794 h 4012481"/>
                  <a:gd name="connsiteX143" fmla="*/ 785012 w 3334638"/>
                  <a:gd name="connsiteY143" fmla="*/ 2859135 h 4012481"/>
                  <a:gd name="connsiteX144" fmla="*/ 797007 w 3334638"/>
                  <a:gd name="connsiteY144" fmla="*/ 2836476 h 4012481"/>
                  <a:gd name="connsiteX145" fmla="*/ 782354 w 3334638"/>
                  <a:gd name="connsiteY145" fmla="*/ 2803152 h 4012481"/>
                  <a:gd name="connsiteX146" fmla="*/ 779685 w 3334638"/>
                  <a:gd name="connsiteY146" fmla="*/ 2776498 h 4012481"/>
                  <a:gd name="connsiteX147" fmla="*/ 810351 w 3334638"/>
                  <a:gd name="connsiteY147" fmla="*/ 2771160 h 4012481"/>
                  <a:gd name="connsiteX148" fmla="*/ 822347 w 3334638"/>
                  <a:gd name="connsiteY148" fmla="*/ 2744506 h 4012481"/>
                  <a:gd name="connsiteX149" fmla="*/ 845001 w 3334638"/>
                  <a:gd name="connsiteY149" fmla="*/ 2733842 h 4012481"/>
                  <a:gd name="connsiteX150" fmla="*/ 856991 w 3334638"/>
                  <a:gd name="connsiteY150" fmla="*/ 2700518 h 4012481"/>
                  <a:gd name="connsiteX151" fmla="*/ 842326 w 3334638"/>
                  <a:gd name="connsiteY151" fmla="*/ 2661863 h 4012481"/>
                  <a:gd name="connsiteX152" fmla="*/ 825004 w 3334638"/>
                  <a:gd name="connsiteY152" fmla="*/ 2627213 h 4012481"/>
                  <a:gd name="connsiteX153" fmla="*/ 802350 w 3334638"/>
                  <a:gd name="connsiteY153" fmla="*/ 2600559 h 4012481"/>
                  <a:gd name="connsiteX154" fmla="*/ 775690 w 3334638"/>
                  <a:gd name="connsiteY154" fmla="*/ 2583226 h 4012481"/>
                  <a:gd name="connsiteX155" fmla="*/ 750368 w 3334638"/>
                  <a:gd name="connsiteY155" fmla="*/ 2603216 h 4012481"/>
                  <a:gd name="connsiteX156" fmla="*/ 730371 w 3334638"/>
                  <a:gd name="connsiteY156" fmla="*/ 2596559 h 4012481"/>
                  <a:gd name="connsiteX157" fmla="*/ 702391 w 3334638"/>
                  <a:gd name="connsiteY157" fmla="*/ 2581894 h 4012481"/>
                  <a:gd name="connsiteX158" fmla="*/ 663735 w 3334638"/>
                  <a:gd name="connsiteY158" fmla="*/ 2585889 h 4012481"/>
                  <a:gd name="connsiteX159" fmla="*/ 634418 w 3334638"/>
                  <a:gd name="connsiteY159" fmla="*/ 2569893 h 4012481"/>
                  <a:gd name="connsiteX160" fmla="*/ 635738 w 3334638"/>
                  <a:gd name="connsiteY160" fmla="*/ 2535243 h 4012481"/>
                  <a:gd name="connsiteX161" fmla="*/ 638401 w 3334638"/>
                  <a:gd name="connsiteY161" fmla="*/ 2495256 h 4012481"/>
                  <a:gd name="connsiteX162" fmla="*/ 614410 w 3334638"/>
                  <a:gd name="connsiteY162" fmla="*/ 2477929 h 4012481"/>
                  <a:gd name="connsiteX163" fmla="*/ 597088 w 3334638"/>
                  <a:gd name="connsiteY163" fmla="*/ 2487255 h 4012481"/>
                  <a:gd name="connsiteX164" fmla="*/ 586430 w 3334638"/>
                  <a:gd name="connsiteY164" fmla="*/ 2515247 h 4012481"/>
                  <a:gd name="connsiteX165" fmla="*/ 549111 w 3334638"/>
                  <a:gd name="connsiteY165" fmla="*/ 2487255 h 4012481"/>
                  <a:gd name="connsiteX166" fmla="*/ 539773 w 3334638"/>
                  <a:gd name="connsiteY166" fmla="*/ 2453932 h 4012481"/>
                  <a:gd name="connsiteX167" fmla="*/ 486470 w 3334638"/>
                  <a:gd name="connsiteY167" fmla="*/ 2415282 h 4012481"/>
                  <a:gd name="connsiteX168" fmla="*/ 494454 w 3334638"/>
                  <a:gd name="connsiteY168" fmla="*/ 2387290 h 4012481"/>
                  <a:gd name="connsiteX169" fmla="*/ 521131 w 3334638"/>
                  <a:gd name="connsiteY169" fmla="*/ 2360636 h 4012481"/>
                  <a:gd name="connsiteX170" fmla="*/ 491797 w 3334638"/>
                  <a:gd name="connsiteY170" fmla="*/ 2339308 h 4012481"/>
                  <a:gd name="connsiteX171" fmla="*/ 446483 w 3334638"/>
                  <a:gd name="connsiteY171" fmla="*/ 2305979 h 4012481"/>
                  <a:gd name="connsiteX172" fmla="*/ 411834 w 3334638"/>
                  <a:gd name="connsiteY172" fmla="*/ 2287320 h 4012481"/>
                  <a:gd name="connsiteX173" fmla="*/ 386511 w 3334638"/>
                  <a:gd name="connsiteY173" fmla="*/ 2308648 h 4012481"/>
                  <a:gd name="connsiteX174" fmla="*/ 358519 w 3334638"/>
                  <a:gd name="connsiteY174" fmla="*/ 2296652 h 4012481"/>
                  <a:gd name="connsiteX175" fmla="*/ 370515 w 3334638"/>
                  <a:gd name="connsiteY175" fmla="*/ 2259328 h 4012481"/>
                  <a:gd name="connsiteX176" fmla="*/ 397175 w 3334638"/>
                  <a:gd name="connsiteY176" fmla="*/ 2239337 h 4012481"/>
                  <a:gd name="connsiteX177" fmla="*/ 370515 w 3334638"/>
                  <a:gd name="connsiteY177" fmla="*/ 2227342 h 4012481"/>
                  <a:gd name="connsiteX178" fmla="*/ 385174 w 3334638"/>
                  <a:gd name="connsiteY178" fmla="*/ 2182017 h 4012481"/>
                  <a:gd name="connsiteX179" fmla="*/ 401175 w 3334638"/>
                  <a:gd name="connsiteY179" fmla="*/ 2154025 h 4012481"/>
                  <a:gd name="connsiteX180" fmla="*/ 401175 w 3334638"/>
                  <a:gd name="connsiteY180" fmla="*/ 2132697 h 4012481"/>
                  <a:gd name="connsiteX181" fmla="*/ 367852 w 3334638"/>
                  <a:gd name="connsiteY181" fmla="*/ 2083378 h 4012481"/>
                  <a:gd name="connsiteX182" fmla="*/ 337197 w 3334638"/>
                  <a:gd name="connsiteY182" fmla="*/ 2075377 h 4012481"/>
                  <a:gd name="connsiteX183" fmla="*/ 299879 w 3334638"/>
                  <a:gd name="connsiteY183" fmla="*/ 2067387 h 4012481"/>
                  <a:gd name="connsiteX184" fmla="*/ 273219 w 3334638"/>
                  <a:gd name="connsiteY184" fmla="*/ 2003409 h 4012481"/>
                  <a:gd name="connsiteX185" fmla="*/ 261229 w 3334638"/>
                  <a:gd name="connsiteY185" fmla="*/ 1955421 h 4012481"/>
                  <a:gd name="connsiteX186" fmla="*/ 241232 w 3334638"/>
                  <a:gd name="connsiteY186" fmla="*/ 1924766 h 4012481"/>
                  <a:gd name="connsiteX187" fmla="*/ 185260 w 3334638"/>
                  <a:gd name="connsiteY187" fmla="*/ 1872784 h 4012481"/>
                  <a:gd name="connsiteX188" fmla="*/ 91964 w 3334638"/>
                  <a:gd name="connsiteY188" fmla="*/ 1866114 h 4012481"/>
                  <a:gd name="connsiteX189" fmla="*/ 94622 w 3334638"/>
                  <a:gd name="connsiteY189" fmla="*/ 1826127 h 4012481"/>
                  <a:gd name="connsiteX190" fmla="*/ 75974 w 3334638"/>
                  <a:gd name="connsiteY190" fmla="*/ 1800804 h 4012481"/>
                  <a:gd name="connsiteX191" fmla="*/ 30660 w 3334638"/>
                  <a:gd name="connsiteY191" fmla="*/ 1779471 h 4012481"/>
                  <a:gd name="connsiteX192" fmla="*/ 0 w 3334638"/>
                  <a:gd name="connsiteY192" fmla="*/ 1767475 h 4012481"/>
                  <a:gd name="connsiteX193" fmla="*/ 7990 w 3334638"/>
                  <a:gd name="connsiteY193" fmla="*/ 1712824 h 4012481"/>
                  <a:gd name="connsiteX194" fmla="*/ 22643 w 3334638"/>
                  <a:gd name="connsiteY194" fmla="*/ 1635512 h 4012481"/>
                  <a:gd name="connsiteX195" fmla="*/ 46628 w 3334638"/>
                  <a:gd name="connsiteY195" fmla="*/ 1594194 h 4012481"/>
                  <a:gd name="connsiteX196" fmla="*/ 91948 w 3334638"/>
                  <a:gd name="connsiteY196" fmla="*/ 1587536 h 4012481"/>
                  <a:gd name="connsiteX197" fmla="*/ 105292 w 3334638"/>
                  <a:gd name="connsiteY197" fmla="*/ 1568871 h 4012481"/>
                  <a:gd name="connsiteX198" fmla="*/ 91948 w 3334638"/>
                  <a:gd name="connsiteY198" fmla="*/ 1524884 h 4012481"/>
                  <a:gd name="connsiteX199" fmla="*/ 75957 w 3334638"/>
                  <a:gd name="connsiteY199" fmla="*/ 1467574 h 4012481"/>
                  <a:gd name="connsiteX200" fmla="*/ 87953 w 3334638"/>
                  <a:gd name="connsiteY200" fmla="*/ 1406254 h 4012481"/>
                  <a:gd name="connsiteX201" fmla="*/ 113275 w 3334638"/>
                  <a:gd name="connsiteY201" fmla="*/ 1375599 h 4012481"/>
                  <a:gd name="connsiteX202" fmla="*/ 159926 w 3334638"/>
                  <a:gd name="connsiteY202" fmla="*/ 1346276 h 4012481"/>
                  <a:gd name="connsiteX203" fmla="*/ 211898 w 3334638"/>
                  <a:gd name="connsiteY203" fmla="*/ 1328948 h 4012481"/>
                  <a:gd name="connsiteX204" fmla="*/ 233226 w 3334638"/>
                  <a:gd name="connsiteY204" fmla="*/ 1300957 h 4012481"/>
                  <a:gd name="connsiteX205" fmla="*/ 230557 w 3334638"/>
                  <a:gd name="connsiteY205" fmla="*/ 1250300 h 4012481"/>
                  <a:gd name="connsiteX206" fmla="*/ 241227 w 3334638"/>
                  <a:gd name="connsiteY206" fmla="*/ 1186321 h 4012481"/>
                  <a:gd name="connsiteX207" fmla="*/ 299862 w 3334638"/>
                  <a:gd name="connsiteY207" fmla="*/ 1133001 h 4012481"/>
                  <a:gd name="connsiteX208" fmla="*/ 322516 w 3334638"/>
                  <a:gd name="connsiteY208" fmla="*/ 1077018 h 4012481"/>
                  <a:gd name="connsiteX209" fmla="*/ 321195 w 3334638"/>
                  <a:gd name="connsiteY209" fmla="*/ 1034362 h 4012481"/>
                  <a:gd name="connsiteX210" fmla="*/ 279871 w 3334638"/>
                  <a:gd name="connsiteY210" fmla="*/ 965058 h 4012481"/>
                  <a:gd name="connsiteX211" fmla="*/ 253222 w 3334638"/>
                  <a:gd name="connsiteY211" fmla="*/ 887746 h 4012481"/>
                  <a:gd name="connsiteX212" fmla="*/ 242553 w 3334638"/>
                  <a:gd name="connsiteY212" fmla="*/ 815762 h 4012481"/>
                  <a:gd name="connsiteX213" fmla="*/ 229231 w 3334638"/>
                  <a:gd name="connsiteY213" fmla="*/ 697137 h 4012481"/>
                  <a:gd name="connsiteX214" fmla="*/ 291861 w 3334638"/>
                  <a:gd name="connsiteY214" fmla="*/ 650481 h 4012481"/>
                  <a:gd name="connsiteX215" fmla="*/ 302519 w 3334638"/>
                  <a:gd name="connsiteY215" fmla="*/ 603830 h 4012481"/>
                  <a:gd name="connsiteX216" fmla="*/ 325184 w 3334638"/>
                  <a:gd name="connsiteY216" fmla="*/ 566506 h 4012481"/>
                  <a:gd name="connsiteX217" fmla="*/ 354502 w 3334638"/>
                  <a:gd name="connsiteY217" fmla="*/ 567838 h 4012481"/>
                  <a:gd name="connsiteX218" fmla="*/ 386488 w 3334638"/>
                  <a:gd name="connsiteY218" fmla="*/ 603825 h 4012481"/>
                  <a:gd name="connsiteX219" fmla="*/ 398484 w 3334638"/>
                  <a:gd name="connsiteY219" fmla="*/ 645149 h 4012481"/>
                  <a:gd name="connsiteX220" fmla="*/ 395821 w 3334638"/>
                  <a:gd name="connsiteY220" fmla="*/ 686468 h 4012481"/>
                  <a:gd name="connsiteX221" fmla="*/ 370498 w 3334638"/>
                  <a:gd name="connsiteY221" fmla="*/ 710459 h 4012481"/>
                  <a:gd name="connsiteX222" fmla="*/ 321184 w 3334638"/>
                  <a:gd name="connsiteY222" fmla="*/ 710459 h 4012481"/>
                  <a:gd name="connsiteX223" fmla="*/ 294524 w 3334638"/>
                  <a:gd name="connsiteY223" fmla="*/ 729124 h 4012481"/>
                  <a:gd name="connsiteX224" fmla="*/ 313183 w 3334638"/>
                  <a:gd name="connsiteY224" fmla="*/ 757110 h 4012481"/>
                  <a:gd name="connsiteX225" fmla="*/ 347833 w 3334638"/>
                  <a:gd name="connsiteY225" fmla="*/ 770437 h 4012481"/>
                  <a:gd name="connsiteX226" fmla="*/ 398478 w 3334638"/>
                  <a:gd name="connsiteY226" fmla="*/ 759773 h 4012481"/>
                  <a:gd name="connsiteX227" fmla="*/ 450455 w 3334638"/>
                  <a:gd name="connsiteY227" fmla="*/ 751778 h 4012481"/>
                  <a:gd name="connsiteX228" fmla="*/ 499769 w 3334638"/>
                  <a:gd name="connsiteY228" fmla="*/ 698463 h 4012481"/>
                  <a:gd name="connsiteX229" fmla="*/ 522423 w 3334638"/>
                  <a:gd name="connsiteY229" fmla="*/ 634479 h 4012481"/>
                  <a:gd name="connsiteX230" fmla="*/ 526053 w 3334638"/>
                  <a:gd name="connsiteY230" fmla="*/ 625040 h 4012481"/>
                  <a:gd name="connsiteX231" fmla="*/ 535750 w 3334638"/>
                  <a:gd name="connsiteY231" fmla="*/ 599830 h 4012481"/>
                  <a:gd name="connsiteX232" fmla="*/ 522418 w 3334638"/>
                  <a:gd name="connsiteY232" fmla="*/ 542510 h 4012481"/>
                  <a:gd name="connsiteX233" fmla="*/ 451793 w 3334638"/>
                  <a:gd name="connsiteY233" fmla="*/ 479863 h 4012481"/>
                  <a:gd name="connsiteX234" fmla="*/ 407811 w 3334638"/>
                  <a:gd name="connsiteY234" fmla="*/ 447871 h 4012481"/>
                  <a:gd name="connsiteX235" fmla="*/ 377150 w 3334638"/>
                  <a:gd name="connsiteY235" fmla="*/ 442539 h 4012481"/>
                  <a:gd name="connsiteX236" fmla="*/ 337163 w 3334638"/>
                  <a:gd name="connsiteY236" fmla="*/ 399883 h 4012481"/>
                  <a:gd name="connsiteX237" fmla="*/ 325173 w 3334638"/>
                  <a:gd name="connsiteY237" fmla="*/ 331904 h 4012481"/>
                  <a:gd name="connsiteX238" fmla="*/ 341692 w 3334638"/>
                  <a:gd name="connsiteY238" fmla="*/ 308582 h 4012481"/>
                  <a:gd name="connsiteX239" fmla="*/ 347827 w 3334638"/>
                  <a:gd name="connsiteY239" fmla="*/ 299912 h 4012481"/>
                  <a:gd name="connsiteX240" fmla="*/ 369149 w 3334638"/>
                  <a:gd name="connsiteY240" fmla="*/ 243929 h 4012481"/>
                  <a:gd name="connsiteX241" fmla="*/ 391809 w 3334638"/>
                  <a:gd name="connsiteY241" fmla="*/ 214600 h 4012481"/>
                  <a:gd name="connsiteX242" fmla="*/ 417143 w 3334638"/>
                  <a:gd name="connsiteY242" fmla="*/ 231928 h 4012481"/>
                  <a:gd name="connsiteX243" fmla="*/ 437128 w 3334638"/>
                  <a:gd name="connsiteY243" fmla="*/ 262577 h 4012481"/>
                  <a:gd name="connsiteX244" fmla="*/ 477115 w 3334638"/>
                  <a:gd name="connsiteY244" fmla="*/ 246587 h 4012481"/>
                  <a:gd name="connsiteX245" fmla="*/ 502438 w 3334638"/>
                  <a:gd name="connsiteY245" fmla="*/ 217258 h 4012481"/>
                  <a:gd name="connsiteX246" fmla="*/ 503764 w 3334638"/>
                  <a:gd name="connsiteY246" fmla="*/ 174613 h 4012481"/>
                  <a:gd name="connsiteX247" fmla="*/ 486448 w 3334638"/>
                  <a:gd name="connsiteY247" fmla="*/ 94633 h 4012481"/>
                  <a:gd name="connsiteX248" fmla="*/ 482442 w 3334638"/>
                  <a:gd name="connsiteY248" fmla="*/ 41319 h 4012481"/>
                  <a:gd name="connsiteX249" fmla="*/ 561073 w 3334638"/>
                  <a:gd name="connsiteY249" fmla="*/ 25323 h 4012481"/>
                  <a:gd name="connsiteX250" fmla="*/ 631715 w 3334638"/>
                  <a:gd name="connsiteY250" fmla="*/ 1332 h 4012481"/>
                  <a:gd name="connsiteX251" fmla="*/ 655701 w 3334638"/>
                  <a:gd name="connsiteY251" fmla="*/ 0 h 4012481"/>
                  <a:gd name="connsiteX252" fmla="*/ 705015 w 3334638"/>
                  <a:gd name="connsiteY252" fmla="*/ 19996 h 4012481"/>
                  <a:gd name="connsiteX253" fmla="*/ 750328 w 3334638"/>
                  <a:gd name="connsiteY253" fmla="*/ 69310 h 4012481"/>
                  <a:gd name="connsiteX254" fmla="*/ 807643 w 3334638"/>
                  <a:gd name="connsiteY254" fmla="*/ 109297 h 4012481"/>
                  <a:gd name="connsiteX255" fmla="*/ 834303 w 3334638"/>
                  <a:gd name="connsiteY255" fmla="*/ 114635 h 4012481"/>
                  <a:gd name="connsiteX256" fmla="*/ 880954 w 3334638"/>
                  <a:gd name="connsiteY256" fmla="*/ 118630 h 4012481"/>
                  <a:gd name="connsiteX257" fmla="*/ 882392 w 3334638"/>
                  <a:gd name="connsiteY257" fmla="*/ 121872 h 4012481"/>
                  <a:gd name="connsiteX258" fmla="*/ 891601 w 3334638"/>
                  <a:gd name="connsiteY258" fmla="*/ 142621 h 4012481"/>
                  <a:gd name="connsiteX259" fmla="*/ 894275 w 3334638"/>
                  <a:gd name="connsiteY259" fmla="*/ 182608 h 4012481"/>
                  <a:gd name="connsiteX260" fmla="*/ 883606 w 3334638"/>
                  <a:gd name="connsiteY260" fmla="*/ 227927 h 4012481"/>
                  <a:gd name="connsiteX261" fmla="*/ 898281 w 3334638"/>
                  <a:gd name="connsiteY261" fmla="*/ 255925 h 4012481"/>
                  <a:gd name="connsiteX262" fmla="*/ 928930 w 3334638"/>
                  <a:gd name="connsiteY262" fmla="*/ 279916 h 4012481"/>
                  <a:gd name="connsiteX263" fmla="*/ 962243 w 3334638"/>
                  <a:gd name="connsiteY263" fmla="*/ 297238 h 4012481"/>
                  <a:gd name="connsiteX264" fmla="*/ 967575 w 3334638"/>
                  <a:gd name="connsiteY264" fmla="*/ 330567 h 4012481"/>
                  <a:gd name="connsiteX265" fmla="*/ 979571 w 3334638"/>
                  <a:gd name="connsiteY265" fmla="*/ 361216 h 4012481"/>
                  <a:gd name="connsiteX266" fmla="*/ 976615 w 3334638"/>
                  <a:gd name="connsiteY266" fmla="*/ 374785 h 4012481"/>
                  <a:gd name="connsiteX267" fmla="*/ 972912 w 3334638"/>
                  <a:gd name="connsiteY267" fmla="*/ 391876 h 4012481"/>
                  <a:gd name="connsiteX268" fmla="*/ 982239 w 3334638"/>
                  <a:gd name="connsiteY268" fmla="*/ 431869 h 4012481"/>
                  <a:gd name="connsiteX269" fmla="*/ 994224 w 3334638"/>
                  <a:gd name="connsiteY269" fmla="*/ 478520 h 4012481"/>
                  <a:gd name="connsiteX270" fmla="*/ 1020900 w 3334638"/>
                  <a:gd name="connsiteY270" fmla="*/ 501174 h 4012481"/>
                  <a:gd name="connsiteX271" fmla="*/ 1039543 w 3334638"/>
                  <a:gd name="connsiteY271" fmla="*/ 535835 h 4012481"/>
                  <a:gd name="connsiteX272" fmla="*/ 1063539 w 3334638"/>
                  <a:gd name="connsiteY272" fmla="*/ 545161 h 4012481"/>
                  <a:gd name="connsiteX273" fmla="*/ 1071523 w 3334638"/>
                  <a:gd name="connsiteY273" fmla="*/ 585149 h 4012481"/>
                  <a:gd name="connsiteX274" fmla="*/ 1114185 w 3334638"/>
                  <a:gd name="connsiteY274" fmla="*/ 606477 h 4012481"/>
                  <a:gd name="connsiteX275" fmla="*/ 1166173 w 3334638"/>
                  <a:gd name="connsiteY275" fmla="*/ 617135 h 4012481"/>
                  <a:gd name="connsiteX276" fmla="*/ 1203481 w 3334638"/>
                  <a:gd name="connsiteY276" fmla="*/ 651801 h 4012481"/>
                  <a:gd name="connsiteX277" fmla="*/ 1254132 w 3334638"/>
                  <a:gd name="connsiteY277" fmla="*/ 687794 h 4012481"/>
                  <a:gd name="connsiteX278" fmla="*/ 1279454 w 3334638"/>
                  <a:gd name="connsiteY278" fmla="*/ 666460 h 4012481"/>
                  <a:gd name="connsiteX279" fmla="*/ 1314115 w 3334638"/>
                  <a:gd name="connsiteY279" fmla="*/ 659791 h 4012481"/>
                  <a:gd name="connsiteX280" fmla="*/ 1336769 w 3334638"/>
                  <a:gd name="connsiteY280" fmla="*/ 690451 h 4012481"/>
                  <a:gd name="connsiteX281" fmla="*/ 1364755 w 3334638"/>
                  <a:gd name="connsiteY281" fmla="*/ 698452 h 4012481"/>
                  <a:gd name="connsiteX282" fmla="*/ 1407400 w 3334638"/>
                  <a:gd name="connsiteY282" fmla="*/ 677119 h 4012481"/>
                  <a:gd name="connsiteX283" fmla="*/ 1442060 w 3334638"/>
                  <a:gd name="connsiteY283" fmla="*/ 675787 h 4012481"/>
                  <a:gd name="connsiteX284" fmla="*/ 1479368 w 3334638"/>
                  <a:gd name="connsiteY284" fmla="*/ 690451 h 4012481"/>
                  <a:gd name="connsiteX285" fmla="*/ 1524698 w 3334638"/>
                  <a:gd name="connsiteY285" fmla="*/ 686457 h 4012481"/>
                  <a:gd name="connsiteX286" fmla="*/ 1570001 w 3334638"/>
                  <a:gd name="connsiteY286" fmla="*/ 677119 h 4012481"/>
                  <a:gd name="connsiteX287" fmla="*/ 1570001 w 3334638"/>
                  <a:gd name="connsiteY287" fmla="*/ 713105 h 4012481"/>
                  <a:gd name="connsiteX288" fmla="*/ 1592666 w 3334638"/>
                  <a:gd name="connsiteY288" fmla="*/ 717106 h 4012481"/>
                  <a:gd name="connsiteX289" fmla="*/ 1604661 w 3334638"/>
                  <a:gd name="connsiteY289" fmla="*/ 729096 h 4012481"/>
                  <a:gd name="connsiteX290" fmla="*/ 1617983 w 3334638"/>
                  <a:gd name="connsiteY290" fmla="*/ 691783 h 4012481"/>
                  <a:gd name="connsiteX291" fmla="*/ 1664633 w 3334638"/>
                  <a:gd name="connsiteY291" fmla="*/ 681119 h 4012481"/>
                  <a:gd name="connsiteX292" fmla="*/ 1703284 w 3334638"/>
                  <a:gd name="connsiteY292" fmla="*/ 657122 h 4012481"/>
                  <a:gd name="connsiteX293" fmla="*/ 1721948 w 3334638"/>
                  <a:gd name="connsiteY293" fmla="*/ 630468 h 4012481"/>
                  <a:gd name="connsiteX294" fmla="*/ 1752597 w 3334638"/>
                  <a:gd name="connsiteY294" fmla="*/ 611814 h 4012481"/>
                  <a:gd name="connsiteX295" fmla="*/ 1783235 w 3334638"/>
                  <a:gd name="connsiteY295" fmla="*/ 578485 h 4012481"/>
                  <a:gd name="connsiteX296" fmla="*/ 1829892 w 3334638"/>
                  <a:gd name="connsiteY296" fmla="*/ 573153 h 4012481"/>
                  <a:gd name="connsiteX297" fmla="*/ 1853889 w 3334638"/>
                  <a:gd name="connsiteY297" fmla="*/ 587823 h 4012481"/>
                  <a:gd name="connsiteX298" fmla="*/ 1877885 w 3334638"/>
                  <a:gd name="connsiteY298" fmla="*/ 571827 h 4012481"/>
                  <a:gd name="connsiteX299" fmla="*/ 1897865 w 3334638"/>
                  <a:gd name="connsiteY299" fmla="*/ 550499 h 4012481"/>
                  <a:gd name="connsiteX300" fmla="*/ 1936532 w 3334638"/>
                  <a:gd name="connsiteY300" fmla="*/ 518507 h 4012481"/>
                  <a:gd name="connsiteX301" fmla="*/ 1952527 w 3334638"/>
                  <a:gd name="connsiteY301" fmla="*/ 474520 h 4012481"/>
                  <a:gd name="connsiteX302" fmla="*/ 1959174 w 3334638"/>
                  <a:gd name="connsiteY302" fmla="*/ 429200 h 4012481"/>
                  <a:gd name="connsiteX303" fmla="*/ 1976513 w 3334638"/>
                  <a:gd name="connsiteY303" fmla="*/ 370554 h 4012481"/>
                  <a:gd name="connsiteX304" fmla="*/ 2036497 w 3334638"/>
                  <a:gd name="connsiteY304" fmla="*/ 369222 h 4012481"/>
                  <a:gd name="connsiteX305" fmla="*/ 2115111 w 3334638"/>
                  <a:gd name="connsiteY305" fmla="*/ 369222 h 4012481"/>
                  <a:gd name="connsiteX306" fmla="*/ 2120460 w 3334638"/>
                  <a:gd name="connsiteY306" fmla="*/ 405215 h 4012481"/>
                  <a:gd name="connsiteX307" fmla="*/ 2111128 w 3334638"/>
                  <a:gd name="connsiteY307" fmla="*/ 422537 h 4012481"/>
                  <a:gd name="connsiteX308" fmla="*/ 2121792 w 3334638"/>
                  <a:gd name="connsiteY308" fmla="*/ 445208 h 4012481"/>
                  <a:gd name="connsiteX309" fmla="*/ 2123107 w 3334638"/>
                  <a:gd name="connsiteY309" fmla="*/ 537178 h 4012481"/>
                  <a:gd name="connsiteX310" fmla="*/ 2165768 w 3334638"/>
                  <a:gd name="connsiteY310" fmla="*/ 542504 h 4012481"/>
                  <a:gd name="connsiteX311" fmla="*/ 2212430 w 3334638"/>
                  <a:gd name="connsiteY311" fmla="*/ 570496 h 4012481"/>
                  <a:gd name="connsiteX312" fmla="*/ 2264402 w 3334638"/>
                  <a:gd name="connsiteY312" fmla="*/ 581160 h 4012481"/>
                  <a:gd name="connsiteX313" fmla="*/ 2303040 w 3334638"/>
                  <a:gd name="connsiteY313" fmla="*/ 591818 h 4012481"/>
                  <a:gd name="connsiteX314" fmla="*/ 2319037 w 3334638"/>
                  <a:gd name="connsiteY314" fmla="*/ 613151 h 4012481"/>
                  <a:gd name="connsiteX315" fmla="*/ 2321711 w 3334638"/>
                  <a:gd name="connsiteY315" fmla="*/ 643806 h 4012481"/>
                  <a:gd name="connsiteX316" fmla="*/ 2332369 w 3334638"/>
                  <a:gd name="connsiteY316" fmla="*/ 683793 h 4012481"/>
                  <a:gd name="connsiteX317" fmla="*/ 2319037 w 3334638"/>
                  <a:gd name="connsiteY317" fmla="*/ 727781 h 4012481"/>
                  <a:gd name="connsiteX318" fmla="*/ 2313800 w 3334638"/>
                  <a:gd name="connsiteY318" fmla="*/ 746103 h 4012481"/>
                  <a:gd name="connsiteX319" fmla="*/ 2303040 w 3334638"/>
                  <a:gd name="connsiteY319" fmla="*/ 783770 h 4012481"/>
                  <a:gd name="connsiteX320" fmla="*/ 2276397 w 3334638"/>
                  <a:gd name="connsiteY320" fmla="*/ 809093 h 4012481"/>
                  <a:gd name="connsiteX321" fmla="*/ 2263064 w 3334638"/>
                  <a:gd name="connsiteY321" fmla="*/ 839747 h 4012481"/>
                  <a:gd name="connsiteX322" fmla="*/ 2215076 w 3334638"/>
                  <a:gd name="connsiteY322" fmla="*/ 863738 h 4012481"/>
                  <a:gd name="connsiteX323" fmla="*/ 2203081 w 3334638"/>
                  <a:gd name="connsiteY323" fmla="*/ 890398 h 4012481"/>
                  <a:gd name="connsiteX324" fmla="*/ 2200418 w 3334638"/>
                  <a:gd name="connsiteY324" fmla="*/ 923728 h 4012481"/>
                  <a:gd name="connsiteX325" fmla="*/ 2204429 w 3334638"/>
                  <a:gd name="connsiteY325" fmla="*/ 955714 h 4012481"/>
                  <a:gd name="connsiteX326" fmla="*/ 2200418 w 3334638"/>
                  <a:gd name="connsiteY326" fmla="*/ 986369 h 4012481"/>
                  <a:gd name="connsiteX327" fmla="*/ 2200418 w 3334638"/>
                  <a:gd name="connsiteY327" fmla="*/ 1009040 h 4012481"/>
                  <a:gd name="connsiteX328" fmla="*/ 2132433 w 3334638"/>
                  <a:gd name="connsiteY328" fmla="*/ 1053021 h 4012481"/>
                  <a:gd name="connsiteX329" fmla="*/ 2115106 w 3334638"/>
                  <a:gd name="connsiteY329" fmla="*/ 1150323 h 4012481"/>
                  <a:gd name="connsiteX330" fmla="*/ 2109785 w 3334638"/>
                  <a:gd name="connsiteY330" fmla="*/ 1212964 h 4012481"/>
                  <a:gd name="connsiteX331" fmla="*/ 2069804 w 3334638"/>
                  <a:gd name="connsiteY331" fmla="*/ 1204975 h 4012481"/>
                  <a:gd name="connsiteX332" fmla="*/ 2009825 w 3334638"/>
                  <a:gd name="connsiteY332" fmla="*/ 1199649 h 4012481"/>
                  <a:gd name="connsiteX333" fmla="*/ 1985829 w 3334638"/>
                  <a:gd name="connsiteY333" fmla="*/ 1180978 h 4012481"/>
                  <a:gd name="connsiteX334" fmla="*/ 1996487 w 3334638"/>
                  <a:gd name="connsiteY334" fmla="*/ 1121000 h 4012481"/>
                  <a:gd name="connsiteX335" fmla="*/ 1937852 w 3334638"/>
                  <a:gd name="connsiteY335" fmla="*/ 1087677 h 4012481"/>
                  <a:gd name="connsiteX336" fmla="*/ 1867216 w 3334638"/>
                  <a:gd name="connsiteY336" fmla="*/ 1050353 h 4012481"/>
                  <a:gd name="connsiteX337" fmla="*/ 1820554 w 3334638"/>
                  <a:gd name="connsiteY337" fmla="*/ 1045021 h 4012481"/>
                  <a:gd name="connsiteX338" fmla="*/ 1759250 w 3334638"/>
                  <a:gd name="connsiteY338" fmla="*/ 1005033 h 4012481"/>
                  <a:gd name="connsiteX339" fmla="*/ 1713948 w 3334638"/>
                  <a:gd name="connsiteY339" fmla="*/ 998370 h 4012481"/>
                  <a:gd name="connsiteX340" fmla="*/ 1691282 w 3334638"/>
                  <a:gd name="connsiteY340" fmla="*/ 1014360 h 4012481"/>
                  <a:gd name="connsiteX341" fmla="*/ 1643300 w 3334638"/>
                  <a:gd name="connsiteY341" fmla="*/ 978374 h 4012481"/>
                  <a:gd name="connsiteX342" fmla="*/ 1619314 w 3334638"/>
                  <a:gd name="connsiteY342" fmla="*/ 943724 h 4012481"/>
                  <a:gd name="connsiteX343" fmla="*/ 1596649 w 3334638"/>
                  <a:gd name="connsiteY343" fmla="*/ 966378 h 4012481"/>
                  <a:gd name="connsiteX344" fmla="*/ 1597986 w 3334638"/>
                  <a:gd name="connsiteY344" fmla="*/ 1037020 h 4012481"/>
                  <a:gd name="connsiteX345" fmla="*/ 1592649 w 3334638"/>
                  <a:gd name="connsiteY345" fmla="*/ 1066343 h 4012481"/>
                  <a:gd name="connsiteX346" fmla="*/ 1550010 w 3334638"/>
                  <a:gd name="connsiteY346" fmla="*/ 1094335 h 4012481"/>
                  <a:gd name="connsiteX347" fmla="*/ 1544666 w 3334638"/>
                  <a:gd name="connsiteY347" fmla="*/ 1126321 h 4012481"/>
                  <a:gd name="connsiteX348" fmla="*/ 1563331 w 3334638"/>
                  <a:gd name="connsiteY348" fmla="*/ 1155650 h 4012481"/>
                  <a:gd name="connsiteX349" fmla="*/ 1576653 w 3334638"/>
                  <a:gd name="connsiteY349" fmla="*/ 1199637 h 4012481"/>
                  <a:gd name="connsiteX350" fmla="*/ 1612634 w 3334638"/>
                  <a:gd name="connsiteY350" fmla="*/ 1239625 h 4012481"/>
                  <a:gd name="connsiteX351" fmla="*/ 1620629 w 3334638"/>
                  <a:gd name="connsiteY351" fmla="*/ 1250283 h 4012481"/>
                  <a:gd name="connsiteX352" fmla="*/ 1607307 w 3334638"/>
                  <a:gd name="connsiteY352" fmla="*/ 1283606 h 4012481"/>
                  <a:gd name="connsiteX353" fmla="*/ 1624629 w 3334638"/>
                  <a:gd name="connsiteY353" fmla="*/ 1343584 h 4012481"/>
                  <a:gd name="connsiteX354" fmla="*/ 1724589 w 3334638"/>
                  <a:gd name="connsiteY354" fmla="*/ 1338258 h 4012481"/>
                  <a:gd name="connsiteX355" fmla="*/ 1743259 w 3334638"/>
                  <a:gd name="connsiteY355" fmla="*/ 1338977 h 4012481"/>
                  <a:gd name="connsiteX356" fmla="*/ 1793911 w 3334638"/>
                  <a:gd name="connsiteY356" fmla="*/ 1340910 h 4012481"/>
                  <a:gd name="connsiteX357" fmla="*/ 1947196 w 3334638"/>
                  <a:gd name="connsiteY357" fmla="*/ 1395573 h 4012481"/>
                  <a:gd name="connsiteX358" fmla="*/ 2139108 w 3334638"/>
                  <a:gd name="connsiteY358" fmla="*/ 1459557 h 4012481"/>
                  <a:gd name="connsiteX359" fmla="*/ 2113797 w 3334638"/>
                  <a:gd name="connsiteY359" fmla="*/ 1482211 h 4012481"/>
                  <a:gd name="connsiteX360" fmla="*/ 2124444 w 3334638"/>
                  <a:gd name="connsiteY360" fmla="*/ 1498207 h 4012481"/>
                  <a:gd name="connsiteX361" fmla="*/ 2148441 w 3334638"/>
                  <a:gd name="connsiteY361" fmla="*/ 1511545 h 4012481"/>
                  <a:gd name="connsiteX362" fmla="*/ 2145783 w 3334638"/>
                  <a:gd name="connsiteY362" fmla="*/ 1562196 h 4012481"/>
                  <a:gd name="connsiteX363" fmla="*/ 2172437 w 3334638"/>
                  <a:gd name="connsiteY363" fmla="*/ 1583519 h 4012481"/>
                  <a:gd name="connsiteX364" fmla="*/ 2168431 w 3334638"/>
                  <a:gd name="connsiteY364" fmla="*/ 1611516 h 4012481"/>
                  <a:gd name="connsiteX365" fmla="*/ 2228404 w 3334638"/>
                  <a:gd name="connsiteY365" fmla="*/ 1628838 h 4012481"/>
                  <a:gd name="connsiteX366" fmla="*/ 2265744 w 3334638"/>
                  <a:gd name="connsiteY366" fmla="*/ 1610184 h 4012481"/>
                  <a:gd name="connsiteX367" fmla="*/ 2304378 w 3334638"/>
                  <a:gd name="connsiteY367" fmla="*/ 1596846 h 4012481"/>
                  <a:gd name="connsiteX368" fmla="*/ 2349702 w 3334638"/>
                  <a:gd name="connsiteY368" fmla="*/ 1611516 h 4012481"/>
                  <a:gd name="connsiteX369" fmla="*/ 2369693 w 3334638"/>
                  <a:gd name="connsiteY369" fmla="*/ 1614179 h 4012481"/>
                  <a:gd name="connsiteX370" fmla="*/ 2383015 w 3334638"/>
                  <a:gd name="connsiteY370" fmla="*/ 1586187 h 4012481"/>
                  <a:gd name="connsiteX371" fmla="*/ 2432323 w 3334638"/>
                  <a:gd name="connsiteY371" fmla="*/ 1608841 h 4012481"/>
                  <a:gd name="connsiteX372" fmla="*/ 2444319 w 3334638"/>
                  <a:gd name="connsiteY372" fmla="*/ 1623517 h 4012481"/>
                  <a:gd name="connsiteX373" fmla="*/ 2456320 w 3334638"/>
                  <a:gd name="connsiteY373" fmla="*/ 1684826 h 4012481"/>
                  <a:gd name="connsiteX374" fmla="*/ 2496307 w 3334638"/>
                  <a:gd name="connsiteY374" fmla="*/ 1679500 h 4012481"/>
                  <a:gd name="connsiteX375" fmla="*/ 2501645 w 3334638"/>
                  <a:gd name="connsiteY375" fmla="*/ 1712818 h 4012481"/>
                  <a:gd name="connsiteX376" fmla="*/ 2556279 w 3334638"/>
                  <a:gd name="connsiteY376" fmla="*/ 1712818 h 4012481"/>
                  <a:gd name="connsiteX377" fmla="*/ 2558948 w 3334638"/>
                  <a:gd name="connsiteY377" fmla="*/ 1746142 h 4012481"/>
                  <a:gd name="connsiteX378" fmla="*/ 2525630 w 3334638"/>
                  <a:gd name="connsiteY378" fmla="*/ 1756811 h 4012481"/>
                  <a:gd name="connsiteX379" fmla="*/ 2481654 w 3334638"/>
                  <a:gd name="connsiteY379" fmla="*/ 1763475 h 4012481"/>
                  <a:gd name="connsiteX380" fmla="*/ 2464321 w 3334638"/>
                  <a:gd name="connsiteY380" fmla="*/ 1796798 h 4012481"/>
                  <a:gd name="connsiteX381" fmla="*/ 2404337 w 3334638"/>
                  <a:gd name="connsiteY381" fmla="*/ 1798124 h 4012481"/>
                  <a:gd name="connsiteX382" fmla="*/ 2371019 w 3334638"/>
                  <a:gd name="connsiteY382" fmla="*/ 1800793 h 4012481"/>
                  <a:gd name="connsiteX383" fmla="*/ 2360350 w 3334638"/>
                  <a:gd name="connsiteY383" fmla="*/ 1822116 h 4012481"/>
                  <a:gd name="connsiteX384" fmla="*/ 2369266 w 3334638"/>
                  <a:gd name="connsiteY384" fmla="*/ 1855153 h 4012481"/>
                  <a:gd name="connsiteX385" fmla="*/ 2373688 w 3334638"/>
                  <a:gd name="connsiteY385" fmla="*/ 1871435 h 4012481"/>
                  <a:gd name="connsiteX386" fmla="*/ 2409675 w 3334638"/>
                  <a:gd name="connsiteY386" fmla="*/ 1968743 h 4012481"/>
                  <a:gd name="connsiteX387" fmla="*/ 2441655 w 3334638"/>
                  <a:gd name="connsiteY387" fmla="*/ 2014056 h 4012481"/>
                  <a:gd name="connsiteX388" fmla="*/ 2470979 w 3334638"/>
                  <a:gd name="connsiteY388" fmla="*/ 2052717 h 4012481"/>
                  <a:gd name="connsiteX389" fmla="*/ 2485643 w 3334638"/>
                  <a:gd name="connsiteY389" fmla="*/ 2110021 h 4012481"/>
                  <a:gd name="connsiteX390" fmla="*/ 2481648 w 3334638"/>
                  <a:gd name="connsiteY390" fmla="*/ 2131355 h 4012481"/>
                  <a:gd name="connsiteX391" fmla="*/ 2540278 w 3334638"/>
                  <a:gd name="connsiteY391" fmla="*/ 2147351 h 4012481"/>
                  <a:gd name="connsiteX392" fmla="*/ 2605593 w 3334638"/>
                  <a:gd name="connsiteY392" fmla="*/ 2142013 h 4012481"/>
                  <a:gd name="connsiteX393" fmla="*/ 2626916 w 3334638"/>
                  <a:gd name="connsiteY393" fmla="*/ 2155346 h 4012481"/>
                  <a:gd name="connsiteX394" fmla="*/ 2752198 w 3334638"/>
                  <a:gd name="connsiteY394" fmla="*/ 2155346 h 4012481"/>
                  <a:gd name="connsiteX395" fmla="*/ 2765542 w 3334638"/>
                  <a:gd name="connsiteY395" fmla="*/ 2162015 h 4012481"/>
                  <a:gd name="connsiteX396" fmla="*/ 2766435 w 3334638"/>
                  <a:gd name="connsiteY396" fmla="*/ 2162470 h 4012481"/>
                  <a:gd name="connsiteX397" fmla="*/ 2829515 w 3334638"/>
                  <a:gd name="connsiteY397" fmla="*/ 2194001 h 4012481"/>
                  <a:gd name="connsiteX398" fmla="*/ 2860152 w 3334638"/>
                  <a:gd name="connsiteY398" fmla="*/ 2168684 h 4012481"/>
                  <a:gd name="connsiteX399" fmla="*/ 2886818 w 3334638"/>
                  <a:gd name="connsiteY399" fmla="*/ 2176679 h 4012481"/>
                  <a:gd name="connsiteX400" fmla="*/ 2929469 w 3334638"/>
                  <a:gd name="connsiteY400" fmla="*/ 2199333 h 4012481"/>
                  <a:gd name="connsiteX401" fmla="*/ 2988104 w 3334638"/>
                  <a:gd name="connsiteY401" fmla="*/ 2208666 h 4012481"/>
                  <a:gd name="connsiteX402" fmla="*/ 2996104 w 3334638"/>
                  <a:gd name="connsiteY402" fmla="*/ 2253974 h 4012481"/>
                  <a:gd name="connsiteX403" fmla="*/ 2984097 w 3334638"/>
                  <a:gd name="connsiteY403" fmla="*/ 2291303 h 4012481"/>
                  <a:gd name="connsiteX404" fmla="*/ 2988104 w 3334638"/>
                  <a:gd name="connsiteY404" fmla="*/ 2364614 h 4012481"/>
                  <a:gd name="connsiteX405" fmla="*/ 2997436 w 3334638"/>
                  <a:gd name="connsiteY405" fmla="*/ 2421923 h 4012481"/>
                  <a:gd name="connsiteX406" fmla="*/ 2993453 w 3334638"/>
                  <a:gd name="connsiteY406" fmla="*/ 2473911 h 4012481"/>
                  <a:gd name="connsiteX407" fmla="*/ 2980103 w 3334638"/>
                  <a:gd name="connsiteY407" fmla="*/ 2513899 h 4012481"/>
                  <a:gd name="connsiteX408" fmla="*/ 2960112 w 3334638"/>
                  <a:gd name="connsiteY408" fmla="*/ 2556555 h 4012481"/>
                  <a:gd name="connsiteX409" fmla="*/ 2961455 w 3334638"/>
                  <a:gd name="connsiteY409" fmla="*/ 2623196 h 4012481"/>
                  <a:gd name="connsiteX410" fmla="*/ 2961455 w 3334638"/>
                  <a:gd name="connsiteY410" fmla="*/ 2676522 h 4012481"/>
                  <a:gd name="connsiteX411" fmla="*/ 2961455 w 3334638"/>
                  <a:gd name="connsiteY411" fmla="*/ 2709839 h 4012481"/>
                  <a:gd name="connsiteX412" fmla="*/ 2990778 w 3334638"/>
                  <a:gd name="connsiteY412" fmla="*/ 2712508 h 4012481"/>
                  <a:gd name="connsiteX413" fmla="*/ 2998773 w 3334638"/>
                  <a:gd name="connsiteY413" fmla="*/ 2745832 h 4012481"/>
                  <a:gd name="connsiteX414" fmla="*/ 2988104 w 3334638"/>
                  <a:gd name="connsiteY414" fmla="*/ 2765828 h 4012481"/>
                  <a:gd name="connsiteX415" fmla="*/ 2938795 w 3334638"/>
                  <a:gd name="connsiteY415" fmla="*/ 2783156 h 4012481"/>
                  <a:gd name="connsiteX416" fmla="*/ 2916136 w 3334638"/>
                  <a:gd name="connsiteY416" fmla="*/ 2793820 h 4012481"/>
                  <a:gd name="connsiteX417" fmla="*/ 2889498 w 3334638"/>
                  <a:gd name="connsiteY417" fmla="*/ 2796489 h 4012481"/>
                  <a:gd name="connsiteX418" fmla="*/ 2889498 w 3334638"/>
                  <a:gd name="connsiteY418" fmla="*/ 2848477 h 4012481"/>
                  <a:gd name="connsiteX419" fmla="*/ 2861507 w 3334638"/>
                  <a:gd name="connsiteY419" fmla="*/ 2888464 h 4012481"/>
                  <a:gd name="connsiteX420" fmla="*/ 2876160 w 3334638"/>
                  <a:gd name="connsiteY420" fmla="*/ 2904460 h 4012481"/>
                  <a:gd name="connsiteX421" fmla="*/ 2893493 w 3334638"/>
                  <a:gd name="connsiteY421" fmla="*/ 2917782 h 4012481"/>
                  <a:gd name="connsiteX422" fmla="*/ 2885492 w 3334638"/>
                  <a:gd name="connsiteY422" fmla="*/ 2947111 h 4012481"/>
                  <a:gd name="connsiteX423" fmla="*/ 2893493 w 3334638"/>
                  <a:gd name="connsiteY423" fmla="*/ 2956443 h 4012481"/>
                  <a:gd name="connsiteX424" fmla="*/ 2938795 w 3334638"/>
                  <a:gd name="connsiteY424" fmla="*/ 2963106 h 4012481"/>
                  <a:gd name="connsiteX425" fmla="*/ 2958797 w 3334638"/>
                  <a:gd name="connsiteY425" fmla="*/ 3028417 h 4012481"/>
                  <a:gd name="connsiteX426" fmla="*/ 2994773 w 3334638"/>
                  <a:gd name="connsiteY426" fmla="*/ 3059083 h 4012481"/>
                  <a:gd name="connsiteX427" fmla="*/ 3017438 w 3334638"/>
                  <a:gd name="connsiteY427" fmla="*/ 3128382 h 4012481"/>
                  <a:gd name="connsiteX428" fmla="*/ 3032091 w 3334638"/>
                  <a:gd name="connsiteY428" fmla="*/ 3163048 h 4012481"/>
                  <a:gd name="connsiteX429" fmla="*/ 3074736 w 3334638"/>
                  <a:gd name="connsiteY429" fmla="*/ 3181707 h 4012481"/>
                  <a:gd name="connsiteX430" fmla="*/ 3104059 w 3334638"/>
                  <a:gd name="connsiteY430" fmla="*/ 3224358 h 4012481"/>
                  <a:gd name="connsiteX431" fmla="*/ 3106734 w 3334638"/>
                  <a:gd name="connsiteY431" fmla="*/ 3251023 h 4012481"/>
                  <a:gd name="connsiteX432" fmla="*/ 3060072 w 3334638"/>
                  <a:gd name="connsiteY432" fmla="*/ 3300337 h 4012481"/>
                  <a:gd name="connsiteX433" fmla="*/ 3078742 w 3334638"/>
                  <a:gd name="connsiteY433" fmla="*/ 3325665 h 4012481"/>
                  <a:gd name="connsiteX434" fmla="*/ 3100064 w 3334638"/>
                  <a:gd name="connsiteY434" fmla="*/ 3362989 h 4012481"/>
                  <a:gd name="connsiteX435" fmla="*/ 3120061 w 3334638"/>
                  <a:gd name="connsiteY435" fmla="*/ 3388312 h 4012481"/>
                  <a:gd name="connsiteX436" fmla="*/ 3141394 w 3334638"/>
                  <a:gd name="connsiteY436" fmla="*/ 3401645 h 4012481"/>
                  <a:gd name="connsiteX437" fmla="*/ 3202698 w 3334638"/>
                  <a:gd name="connsiteY437" fmla="*/ 3400313 h 4012481"/>
                  <a:gd name="connsiteX438" fmla="*/ 3226684 w 3334638"/>
                  <a:gd name="connsiteY438" fmla="*/ 3409634 h 4012481"/>
                  <a:gd name="connsiteX439" fmla="*/ 3262670 w 3334638"/>
                  <a:gd name="connsiteY439" fmla="*/ 3414978 h 4012481"/>
                  <a:gd name="connsiteX440" fmla="*/ 3307978 w 3334638"/>
                  <a:gd name="connsiteY440" fmla="*/ 3406977 h 4012481"/>
                  <a:gd name="connsiteX441" fmla="*/ 3334638 w 3334638"/>
                  <a:gd name="connsiteY441" fmla="*/ 3413646 h 4012481"/>
                  <a:gd name="connsiteX442" fmla="*/ 3333307 w 3334638"/>
                  <a:gd name="connsiteY442" fmla="*/ 3436300 h 4012481"/>
                  <a:gd name="connsiteX443" fmla="*/ 3322598 w 3334638"/>
                  <a:gd name="connsiteY443" fmla="*/ 3447689 h 4012481"/>
                  <a:gd name="connsiteX444" fmla="*/ 3311973 w 3334638"/>
                  <a:gd name="connsiteY444" fmla="*/ 3458971 h 4012481"/>
                  <a:gd name="connsiteX445" fmla="*/ 3271992 w 3334638"/>
                  <a:gd name="connsiteY445" fmla="*/ 3456302 h 4012481"/>
                  <a:gd name="connsiteX446" fmla="*/ 3237359 w 3334638"/>
                  <a:gd name="connsiteY446" fmla="*/ 3440295 h 4012481"/>
                  <a:gd name="connsiteX447" fmla="*/ 3202698 w 3334638"/>
                  <a:gd name="connsiteY447" fmla="*/ 3448296 h 4012481"/>
                  <a:gd name="connsiteX448" fmla="*/ 3184028 w 3334638"/>
                  <a:gd name="connsiteY448" fmla="*/ 3449633 h 4012481"/>
                  <a:gd name="connsiteX449" fmla="*/ 3165380 w 3334638"/>
                  <a:gd name="connsiteY449" fmla="*/ 3462954 h 4012481"/>
                  <a:gd name="connsiteX450" fmla="*/ 3146726 w 3334638"/>
                  <a:gd name="connsiteY450" fmla="*/ 3434969 h 4012481"/>
                  <a:gd name="connsiteX451" fmla="*/ 3125404 w 3334638"/>
                  <a:gd name="connsiteY451" fmla="*/ 3450965 h 4012481"/>
                  <a:gd name="connsiteX452" fmla="*/ 3109402 w 3334638"/>
                  <a:gd name="connsiteY452" fmla="*/ 3476276 h 4012481"/>
                  <a:gd name="connsiteX453" fmla="*/ 3132056 w 3334638"/>
                  <a:gd name="connsiteY453" fmla="*/ 3498947 h 4012481"/>
                  <a:gd name="connsiteX454" fmla="*/ 3149395 w 3334638"/>
                  <a:gd name="connsiteY454" fmla="*/ 3509605 h 4012481"/>
                  <a:gd name="connsiteX455" fmla="*/ 3148041 w 3334638"/>
                  <a:gd name="connsiteY455" fmla="*/ 3568263 h 4012481"/>
                  <a:gd name="connsiteX456" fmla="*/ 3152041 w 3334638"/>
                  <a:gd name="connsiteY456" fmla="*/ 3597581 h 4012481"/>
                  <a:gd name="connsiteX457" fmla="*/ 3165368 w 3334638"/>
                  <a:gd name="connsiteY457" fmla="*/ 3642894 h 4012481"/>
                  <a:gd name="connsiteX458" fmla="*/ 3157368 w 3334638"/>
                  <a:gd name="connsiteY458" fmla="*/ 3674886 h 4012481"/>
                  <a:gd name="connsiteX459" fmla="*/ 3156042 w 3334638"/>
                  <a:gd name="connsiteY459" fmla="*/ 3712210 h 4012481"/>
                  <a:gd name="connsiteX460" fmla="*/ 3129387 w 3334638"/>
                  <a:gd name="connsiteY460" fmla="*/ 3761524 h 4012481"/>
                  <a:gd name="connsiteX461" fmla="*/ 3101401 w 3334638"/>
                  <a:gd name="connsiteY461" fmla="*/ 3802854 h 4012481"/>
                  <a:gd name="connsiteX462" fmla="*/ 3086754 w 3334638"/>
                  <a:gd name="connsiteY462" fmla="*/ 3833497 h 4012481"/>
                  <a:gd name="connsiteX463" fmla="*/ 3081405 w 3334638"/>
                  <a:gd name="connsiteY463" fmla="*/ 3857500 h 4012481"/>
                  <a:gd name="connsiteX464" fmla="*/ 3094743 w 3334638"/>
                  <a:gd name="connsiteY464" fmla="*/ 3885480 h 401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Lst>
                <a:rect l="l" t="t" r="r" b="b"/>
                <a:pathLst>
                  <a:path w="3334638" h="4012481">
                    <a:moveTo>
                      <a:pt x="3100283" y="3881508"/>
                    </a:moveTo>
                    <a:lnTo>
                      <a:pt x="3076730" y="3903488"/>
                    </a:lnTo>
                    <a:lnTo>
                      <a:pt x="3034749" y="3909488"/>
                    </a:lnTo>
                    <a:lnTo>
                      <a:pt x="3002762" y="3888492"/>
                    </a:lnTo>
                    <a:lnTo>
                      <a:pt x="2973782" y="3880496"/>
                    </a:lnTo>
                    <a:lnTo>
                      <a:pt x="2945790" y="3889492"/>
                    </a:lnTo>
                    <a:lnTo>
                      <a:pt x="2920799" y="3921484"/>
                    </a:lnTo>
                    <a:lnTo>
                      <a:pt x="2915798" y="3967488"/>
                    </a:lnTo>
                    <a:lnTo>
                      <a:pt x="2912798" y="3990485"/>
                    </a:lnTo>
                    <a:lnTo>
                      <a:pt x="2846831" y="3990485"/>
                    </a:lnTo>
                    <a:lnTo>
                      <a:pt x="2795854" y="3987490"/>
                    </a:lnTo>
                    <a:lnTo>
                      <a:pt x="2751866" y="3999486"/>
                    </a:lnTo>
                    <a:lnTo>
                      <a:pt x="2726886" y="4012482"/>
                    </a:lnTo>
                    <a:lnTo>
                      <a:pt x="2710890" y="3992480"/>
                    </a:lnTo>
                    <a:lnTo>
                      <a:pt x="2664908" y="3999480"/>
                    </a:lnTo>
                    <a:lnTo>
                      <a:pt x="2621927" y="3930490"/>
                    </a:lnTo>
                    <a:lnTo>
                      <a:pt x="2603930" y="3942486"/>
                    </a:lnTo>
                    <a:lnTo>
                      <a:pt x="2564949" y="3952487"/>
                    </a:lnTo>
                    <a:lnTo>
                      <a:pt x="2518955" y="3953492"/>
                    </a:lnTo>
                    <a:lnTo>
                      <a:pt x="2495970" y="3946492"/>
                    </a:lnTo>
                    <a:lnTo>
                      <a:pt x="2492200" y="3946492"/>
                    </a:lnTo>
                    <a:lnTo>
                      <a:pt x="2466984" y="3946492"/>
                    </a:lnTo>
                    <a:lnTo>
                      <a:pt x="2444987" y="3911494"/>
                    </a:lnTo>
                    <a:lnTo>
                      <a:pt x="2438992" y="3889492"/>
                    </a:lnTo>
                    <a:lnTo>
                      <a:pt x="2407011" y="3882491"/>
                    </a:lnTo>
                    <a:lnTo>
                      <a:pt x="2393021" y="3902493"/>
                    </a:lnTo>
                    <a:lnTo>
                      <a:pt x="2375031" y="3905493"/>
                    </a:lnTo>
                    <a:lnTo>
                      <a:pt x="2359029" y="3895492"/>
                    </a:lnTo>
                    <a:lnTo>
                      <a:pt x="2340039" y="3913488"/>
                    </a:lnTo>
                    <a:lnTo>
                      <a:pt x="2334043" y="3927484"/>
                    </a:lnTo>
                    <a:lnTo>
                      <a:pt x="2312052" y="3900487"/>
                    </a:lnTo>
                    <a:lnTo>
                      <a:pt x="2287061" y="3893498"/>
                    </a:lnTo>
                    <a:lnTo>
                      <a:pt x="2284061" y="3834503"/>
                    </a:lnTo>
                    <a:lnTo>
                      <a:pt x="2276060" y="3814507"/>
                    </a:lnTo>
                    <a:lnTo>
                      <a:pt x="2249080" y="3809512"/>
                    </a:lnTo>
                    <a:lnTo>
                      <a:pt x="2228089" y="3794521"/>
                    </a:lnTo>
                    <a:lnTo>
                      <a:pt x="2204092" y="3759524"/>
                    </a:lnTo>
                    <a:lnTo>
                      <a:pt x="2192097" y="3740533"/>
                    </a:lnTo>
                    <a:lnTo>
                      <a:pt x="2194086" y="3697540"/>
                    </a:lnTo>
                    <a:lnTo>
                      <a:pt x="2179107" y="3666553"/>
                    </a:lnTo>
                    <a:lnTo>
                      <a:pt x="2177106" y="3602570"/>
                    </a:lnTo>
                    <a:lnTo>
                      <a:pt x="2167111" y="3559582"/>
                    </a:lnTo>
                    <a:lnTo>
                      <a:pt x="2175112" y="3525596"/>
                    </a:lnTo>
                    <a:lnTo>
                      <a:pt x="2151115" y="3492609"/>
                    </a:lnTo>
                    <a:lnTo>
                      <a:pt x="2116128" y="3458617"/>
                    </a:lnTo>
                    <a:lnTo>
                      <a:pt x="2104138" y="3440615"/>
                    </a:lnTo>
                    <a:lnTo>
                      <a:pt x="2088148" y="3437626"/>
                    </a:lnTo>
                    <a:lnTo>
                      <a:pt x="2085142" y="3409629"/>
                    </a:lnTo>
                    <a:lnTo>
                      <a:pt x="2064151" y="3377637"/>
                    </a:lnTo>
                    <a:lnTo>
                      <a:pt x="2012180" y="3372642"/>
                    </a:lnTo>
                    <a:lnTo>
                      <a:pt x="1988183" y="3355652"/>
                    </a:lnTo>
                    <a:lnTo>
                      <a:pt x="1990178" y="3338650"/>
                    </a:lnTo>
                    <a:lnTo>
                      <a:pt x="2002173" y="3293668"/>
                    </a:lnTo>
                    <a:lnTo>
                      <a:pt x="2028159" y="3257681"/>
                    </a:lnTo>
                    <a:lnTo>
                      <a:pt x="2038165" y="3236685"/>
                    </a:lnTo>
                    <a:lnTo>
                      <a:pt x="2008168" y="3211688"/>
                    </a:lnTo>
                    <a:lnTo>
                      <a:pt x="1966181" y="3206693"/>
                    </a:lnTo>
                    <a:lnTo>
                      <a:pt x="1928199" y="3190691"/>
                    </a:lnTo>
                    <a:lnTo>
                      <a:pt x="1886212" y="3173701"/>
                    </a:lnTo>
                    <a:lnTo>
                      <a:pt x="1889207" y="3228684"/>
                    </a:lnTo>
                    <a:lnTo>
                      <a:pt x="1888212" y="3281672"/>
                    </a:lnTo>
                    <a:lnTo>
                      <a:pt x="1844230" y="3316659"/>
                    </a:lnTo>
                    <a:lnTo>
                      <a:pt x="1814233" y="3343656"/>
                    </a:lnTo>
                    <a:lnTo>
                      <a:pt x="1758261" y="3330660"/>
                    </a:lnTo>
                    <a:lnTo>
                      <a:pt x="1714273" y="3337661"/>
                    </a:lnTo>
                    <a:lnTo>
                      <a:pt x="1673297" y="3358646"/>
                    </a:lnTo>
                    <a:lnTo>
                      <a:pt x="1655301" y="3389638"/>
                    </a:lnTo>
                    <a:lnTo>
                      <a:pt x="1652301" y="3397639"/>
                    </a:lnTo>
                    <a:lnTo>
                      <a:pt x="1668302" y="3428631"/>
                    </a:lnTo>
                    <a:lnTo>
                      <a:pt x="1677298" y="3462629"/>
                    </a:lnTo>
                    <a:lnTo>
                      <a:pt x="1663308" y="3517612"/>
                    </a:lnTo>
                    <a:lnTo>
                      <a:pt x="1652307" y="3564588"/>
                    </a:lnTo>
                    <a:lnTo>
                      <a:pt x="1659307" y="3611576"/>
                    </a:lnTo>
                    <a:lnTo>
                      <a:pt x="1680298" y="3640562"/>
                    </a:lnTo>
                    <a:lnTo>
                      <a:pt x="1696294" y="3675555"/>
                    </a:lnTo>
                    <a:lnTo>
                      <a:pt x="1709284" y="3715547"/>
                    </a:lnTo>
                    <a:lnTo>
                      <a:pt x="1703300" y="3769536"/>
                    </a:lnTo>
                    <a:lnTo>
                      <a:pt x="1700306" y="3809517"/>
                    </a:lnTo>
                    <a:lnTo>
                      <a:pt x="1704300" y="3838503"/>
                    </a:lnTo>
                    <a:lnTo>
                      <a:pt x="1689299" y="3851499"/>
                    </a:lnTo>
                    <a:lnTo>
                      <a:pt x="1666308" y="3842504"/>
                    </a:lnTo>
                    <a:lnTo>
                      <a:pt x="1637327" y="3834498"/>
                    </a:lnTo>
                    <a:lnTo>
                      <a:pt x="1595334" y="3845493"/>
                    </a:lnTo>
                    <a:lnTo>
                      <a:pt x="1562354" y="3868501"/>
                    </a:lnTo>
                    <a:lnTo>
                      <a:pt x="1539368" y="3881497"/>
                    </a:lnTo>
                    <a:lnTo>
                      <a:pt x="1514377" y="3888492"/>
                    </a:lnTo>
                    <a:lnTo>
                      <a:pt x="1529367" y="3927479"/>
                    </a:lnTo>
                    <a:lnTo>
                      <a:pt x="1537368" y="3946486"/>
                    </a:lnTo>
                    <a:lnTo>
                      <a:pt x="1514377" y="3976478"/>
                    </a:lnTo>
                    <a:lnTo>
                      <a:pt x="1513377" y="3992480"/>
                    </a:lnTo>
                    <a:lnTo>
                      <a:pt x="1481385" y="3988479"/>
                    </a:lnTo>
                    <a:lnTo>
                      <a:pt x="1437409" y="3979484"/>
                    </a:lnTo>
                    <a:lnTo>
                      <a:pt x="1397416" y="3956487"/>
                    </a:lnTo>
                    <a:lnTo>
                      <a:pt x="1377425" y="3959476"/>
                    </a:lnTo>
                    <a:lnTo>
                      <a:pt x="1377425" y="4000469"/>
                    </a:lnTo>
                    <a:lnTo>
                      <a:pt x="1345439" y="3998480"/>
                    </a:lnTo>
                    <a:lnTo>
                      <a:pt x="1332449" y="3987485"/>
                    </a:lnTo>
                    <a:lnTo>
                      <a:pt x="1331443" y="3960482"/>
                    </a:lnTo>
                    <a:lnTo>
                      <a:pt x="1311452" y="3941480"/>
                    </a:lnTo>
                    <a:lnTo>
                      <a:pt x="1280460" y="3932474"/>
                    </a:lnTo>
                    <a:lnTo>
                      <a:pt x="1244473" y="3893492"/>
                    </a:lnTo>
                    <a:lnTo>
                      <a:pt x="1215487" y="3887497"/>
                    </a:lnTo>
                    <a:lnTo>
                      <a:pt x="1190496" y="3845493"/>
                    </a:lnTo>
                    <a:lnTo>
                      <a:pt x="1158510" y="3825502"/>
                    </a:lnTo>
                    <a:lnTo>
                      <a:pt x="1120528" y="3829502"/>
                    </a:lnTo>
                    <a:lnTo>
                      <a:pt x="1091537" y="3783515"/>
                    </a:lnTo>
                    <a:lnTo>
                      <a:pt x="1060556" y="3754529"/>
                    </a:lnTo>
                    <a:lnTo>
                      <a:pt x="1035565" y="3765524"/>
                    </a:lnTo>
                    <a:lnTo>
                      <a:pt x="1021569" y="3782515"/>
                    </a:lnTo>
                    <a:lnTo>
                      <a:pt x="995589" y="3738521"/>
                    </a:lnTo>
                    <a:lnTo>
                      <a:pt x="975598" y="3719542"/>
                    </a:lnTo>
                    <a:lnTo>
                      <a:pt x="949612" y="3724543"/>
                    </a:lnTo>
                    <a:lnTo>
                      <a:pt x="926627" y="3704541"/>
                    </a:lnTo>
                    <a:lnTo>
                      <a:pt x="897624" y="3693556"/>
                    </a:lnTo>
                    <a:lnTo>
                      <a:pt x="868638" y="3681561"/>
                    </a:lnTo>
                    <a:lnTo>
                      <a:pt x="848641" y="3656569"/>
                    </a:lnTo>
                    <a:lnTo>
                      <a:pt x="870307" y="3633562"/>
                    </a:lnTo>
                    <a:lnTo>
                      <a:pt x="858311" y="3602912"/>
                    </a:lnTo>
                    <a:lnTo>
                      <a:pt x="830336" y="3584247"/>
                    </a:lnTo>
                    <a:lnTo>
                      <a:pt x="831657" y="3502936"/>
                    </a:lnTo>
                    <a:lnTo>
                      <a:pt x="837000" y="3489609"/>
                    </a:lnTo>
                    <a:lnTo>
                      <a:pt x="855642" y="3477613"/>
                    </a:lnTo>
                    <a:lnTo>
                      <a:pt x="850310" y="3458965"/>
                    </a:lnTo>
                    <a:lnTo>
                      <a:pt x="864986" y="3416298"/>
                    </a:lnTo>
                    <a:lnTo>
                      <a:pt x="880976" y="3340319"/>
                    </a:lnTo>
                    <a:lnTo>
                      <a:pt x="896967" y="3295005"/>
                    </a:lnTo>
                    <a:lnTo>
                      <a:pt x="931610" y="3271014"/>
                    </a:lnTo>
                    <a:lnTo>
                      <a:pt x="966266" y="3265676"/>
                    </a:lnTo>
                    <a:lnTo>
                      <a:pt x="1015557" y="3224358"/>
                    </a:lnTo>
                    <a:lnTo>
                      <a:pt x="1020912" y="3211025"/>
                    </a:lnTo>
                    <a:lnTo>
                      <a:pt x="1007568" y="3183039"/>
                    </a:lnTo>
                    <a:lnTo>
                      <a:pt x="992920" y="3165706"/>
                    </a:lnTo>
                    <a:lnTo>
                      <a:pt x="978261" y="3121718"/>
                    </a:lnTo>
                    <a:lnTo>
                      <a:pt x="938280" y="3089732"/>
                    </a:lnTo>
                    <a:lnTo>
                      <a:pt x="908973" y="3093732"/>
                    </a:lnTo>
                    <a:lnTo>
                      <a:pt x="884977" y="3060403"/>
                    </a:lnTo>
                    <a:lnTo>
                      <a:pt x="830336" y="3019084"/>
                    </a:lnTo>
                    <a:lnTo>
                      <a:pt x="795675" y="3001751"/>
                    </a:lnTo>
                    <a:lnTo>
                      <a:pt x="789855" y="2976524"/>
                    </a:lnTo>
                    <a:lnTo>
                      <a:pt x="787686" y="2967101"/>
                    </a:lnTo>
                    <a:lnTo>
                      <a:pt x="799676" y="2945773"/>
                    </a:lnTo>
                    <a:lnTo>
                      <a:pt x="802350" y="2905786"/>
                    </a:lnTo>
                    <a:lnTo>
                      <a:pt x="794349" y="2873794"/>
                    </a:lnTo>
                    <a:lnTo>
                      <a:pt x="785012" y="2859135"/>
                    </a:lnTo>
                    <a:lnTo>
                      <a:pt x="797007" y="2836476"/>
                    </a:lnTo>
                    <a:lnTo>
                      <a:pt x="782354" y="2803152"/>
                    </a:lnTo>
                    <a:lnTo>
                      <a:pt x="779685" y="2776498"/>
                    </a:lnTo>
                    <a:lnTo>
                      <a:pt x="810351" y="2771160"/>
                    </a:lnTo>
                    <a:lnTo>
                      <a:pt x="822347" y="2744506"/>
                    </a:lnTo>
                    <a:lnTo>
                      <a:pt x="845001" y="2733842"/>
                    </a:lnTo>
                    <a:lnTo>
                      <a:pt x="856991" y="2700518"/>
                    </a:lnTo>
                    <a:lnTo>
                      <a:pt x="842326" y="2661863"/>
                    </a:lnTo>
                    <a:lnTo>
                      <a:pt x="825004" y="2627213"/>
                    </a:lnTo>
                    <a:lnTo>
                      <a:pt x="802350" y="2600559"/>
                    </a:lnTo>
                    <a:lnTo>
                      <a:pt x="775690" y="2583226"/>
                    </a:lnTo>
                    <a:lnTo>
                      <a:pt x="750368" y="2603216"/>
                    </a:lnTo>
                    <a:lnTo>
                      <a:pt x="730371" y="2596559"/>
                    </a:lnTo>
                    <a:lnTo>
                      <a:pt x="702391" y="2581894"/>
                    </a:lnTo>
                    <a:lnTo>
                      <a:pt x="663735" y="2585889"/>
                    </a:lnTo>
                    <a:lnTo>
                      <a:pt x="634418" y="2569893"/>
                    </a:lnTo>
                    <a:lnTo>
                      <a:pt x="635738" y="2535243"/>
                    </a:lnTo>
                    <a:lnTo>
                      <a:pt x="638401" y="2495256"/>
                    </a:lnTo>
                    <a:lnTo>
                      <a:pt x="614410" y="2477929"/>
                    </a:lnTo>
                    <a:lnTo>
                      <a:pt x="597088" y="2487255"/>
                    </a:lnTo>
                    <a:lnTo>
                      <a:pt x="586430" y="2515247"/>
                    </a:lnTo>
                    <a:lnTo>
                      <a:pt x="549111" y="2487255"/>
                    </a:lnTo>
                    <a:lnTo>
                      <a:pt x="539773" y="2453932"/>
                    </a:lnTo>
                    <a:lnTo>
                      <a:pt x="486470" y="2415282"/>
                    </a:lnTo>
                    <a:lnTo>
                      <a:pt x="494454" y="2387290"/>
                    </a:lnTo>
                    <a:lnTo>
                      <a:pt x="521131" y="2360636"/>
                    </a:lnTo>
                    <a:lnTo>
                      <a:pt x="491797" y="2339308"/>
                    </a:lnTo>
                    <a:lnTo>
                      <a:pt x="446483" y="2305979"/>
                    </a:lnTo>
                    <a:lnTo>
                      <a:pt x="411834" y="2287320"/>
                    </a:lnTo>
                    <a:lnTo>
                      <a:pt x="386511" y="2308648"/>
                    </a:lnTo>
                    <a:lnTo>
                      <a:pt x="358519" y="2296652"/>
                    </a:lnTo>
                    <a:lnTo>
                      <a:pt x="370515" y="2259328"/>
                    </a:lnTo>
                    <a:lnTo>
                      <a:pt x="397175" y="2239337"/>
                    </a:lnTo>
                    <a:lnTo>
                      <a:pt x="370515" y="2227342"/>
                    </a:lnTo>
                    <a:lnTo>
                      <a:pt x="385174" y="2182017"/>
                    </a:lnTo>
                    <a:lnTo>
                      <a:pt x="401175" y="2154025"/>
                    </a:lnTo>
                    <a:lnTo>
                      <a:pt x="401175" y="2132697"/>
                    </a:lnTo>
                    <a:lnTo>
                      <a:pt x="367852" y="2083378"/>
                    </a:lnTo>
                    <a:lnTo>
                      <a:pt x="337197" y="2075377"/>
                    </a:lnTo>
                    <a:lnTo>
                      <a:pt x="299879" y="2067387"/>
                    </a:lnTo>
                    <a:lnTo>
                      <a:pt x="273219" y="2003409"/>
                    </a:lnTo>
                    <a:lnTo>
                      <a:pt x="261229" y="1955421"/>
                    </a:lnTo>
                    <a:lnTo>
                      <a:pt x="241232" y="1924766"/>
                    </a:lnTo>
                    <a:lnTo>
                      <a:pt x="185260" y="1872784"/>
                    </a:lnTo>
                    <a:lnTo>
                      <a:pt x="91964" y="1866114"/>
                    </a:lnTo>
                    <a:lnTo>
                      <a:pt x="94622" y="1826127"/>
                    </a:lnTo>
                    <a:lnTo>
                      <a:pt x="75974" y="1800804"/>
                    </a:lnTo>
                    <a:lnTo>
                      <a:pt x="30660" y="1779471"/>
                    </a:lnTo>
                    <a:lnTo>
                      <a:pt x="0" y="1767475"/>
                    </a:lnTo>
                    <a:lnTo>
                      <a:pt x="7990" y="1712824"/>
                    </a:lnTo>
                    <a:lnTo>
                      <a:pt x="22643" y="1635512"/>
                    </a:lnTo>
                    <a:lnTo>
                      <a:pt x="46628" y="1594194"/>
                    </a:lnTo>
                    <a:lnTo>
                      <a:pt x="91948" y="1587536"/>
                    </a:lnTo>
                    <a:lnTo>
                      <a:pt x="105292" y="1568871"/>
                    </a:lnTo>
                    <a:lnTo>
                      <a:pt x="91948" y="1524884"/>
                    </a:lnTo>
                    <a:lnTo>
                      <a:pt x="75957" y="1467574"/>
                    </a:lnTo>
                    <a:lnTo>
                      <a:pt x="87953" y="1406254"/>
                    </a:lnTo>
                    <a:lnTo>
                      <a:pt x="113275" y="1375599"/>
                    </a:lnTo>
                    <a:lnTo>
                      <a:pt x="159926" y="1346276"/>
                    </a:lnTo>
                    <a:lnTo>
                      <a:pt x="211898" y="1328948"/>
                    </a:lnTo>
                    <a:lnTo>
                      <a:pt x="233226" y="1300957"/>
                    </a:lnTo>
                    <a:lnTo>
                      <a:pt x="230557" y="1250300"/>
                    </a:lnTo>
                    <a:lnTo>
                      <a:pt x="241227" y="1186321"/>
                    </a:lnTo>
                    <a:lnTo>
                      <a:pt x="299862" y="1133001"/>
                    </a:lnTo>
                    <a:lnTo>
                      <a:pt x="322516" y="1077018"/>
                    </a:lnTo>
                    <a:lnTo>
                      <a:pt x="321195" y="1034362"/>
                    </a:lnTo>
                    <a:lnTo>
                      <a:pt x="279871" y="965058"/>
                    </a:lnTo>
                    <a:lnTo>
                      <a:pt x="253222" y="887746"/>
                    </a:lnTo>
                    <a:lnTo>
                      <a:pt x="242553" y="815762"/>
                    </a:lnTo>
                    <a:lnTo>
                      <a:pt x="229231" y="697137"/>
                    </a:lnTo>
                    <a:lnTo>
                      <a:pt x="291861" y="650481"/>
                    </a:lnTo>
                    <a:lnTo>
                      <a:pt x="302519" y="603830"/>
                    </a:lnTo>
                    <a:lnTo>
                      <a:pt x="325184" y="566506"/>
                    </a:lnTo>
                    <a:lnTo>
                      <a:pt x="354502" y="567838"/>
                    </a:lnTo>
                    <a:lnTo>
                      <a:pt x="386488" y="603825"/>
                    </a:lnTo>
                    <a:lnTo>
                      <a:pt x="398484" y="645149"/>
                    </a:lnTo>
                    <a:lnTo>
                      <a:pt x="395821" y="686468"/>
                    </a:lnTo>
                    <a:lnTo>
                      <a:pt x="370498" y="710459"/>
                    </a:lnTo>
                    <a:lnTo>
                      <a:pt x="321184" y="710459"/>
                    </a:lnTo>
                    <a:lnTo>
                      <a:pt x="294524" y="729124"/>
                    </a:lnTo>
                    <a:lnTo>
                      <a:pt x="313183" y="757110"/>
                    </a:lnTo>
                    <a:lnTo>
                      <a:pt x="347833" y="770437"/>
                    </a:lnTo>
                    <a:lnTo>
                      <a:pt x="398478" y="759773"/>
                    </a:lnTo>
                    <a:lnTo>
                      <a:pt x="450455" y="751778"/>
                    </a:lnTo>
                    <a:lnTo>
                      <a:pt x="499769" y="698463"/>
                    </a:lnTo>
                    <a:lnTo>
                      <a:pt x="522423" y="634479"/>
                    </a:lnTo>
                    <a:lnTo>
                      <a:pt x="526053" y="625040"/>
                    </a:lnTo>
                    <a:lnTo>
                      <a:pt x="535750" y="599830"/>
                    </a:lnTo>
                    <a:lnTo>
                      <a:pt x="522418" y="542510"/>
                    </a:lnTo>
                    <a:lnTo>
                      <a:pt x="451793" y="479863"/>
                    </a:lnTo>
                    <a:lnTo>
                      <a:pt x="407811" y="447871"/>
                    </a:lnTo>
                    <a:lnTo>
                      <a:pt x="377150" y="442539"/>
                    </a:lnTo>
                    <a:lnTo>
                      <a:pt x="337163" y="399883"/>
                    </a:lnTo>
                    <a:lnTo>
                      <a:pt x="325173" y="331904"/>
                    </a:lnTo>
                    <a:lnTo>
                      <a:pt x="341692" y="308582"/>
                    </a:lnTo>
                    <a:lnTo>
                      <a:pt x="347827" y="299912"/>
                    </a:lnTo>
                    <a:lnTo>
                      <a:pt x="369149" y="243929"/>
                    </a:lnTo>
                    <a:lnTo>
                      <a:pt x="391809" y="214600"/>
                    </a:lnTo>
                    <a:lnTo>
                      <a:pt x="417143" y="231928"/>
                    </a:lnTo>
                    <a:lnTo>
                      <a:pt x="437128" y="262577"/>
                    </a:lnTo>
                    <a:cubicBezTo>
                      <a:pt x="437128" y="262577"/>
                      <a:pt x="473115" y="246587"/>
                      <a:pt x="477115" y="246587"/>
                    </a:cubicBezTo>
                    <a:cubicBezTo>
                      <a:pt x="481116" y="246587"/>
                      <a:pt x="502438" y="217258"/>
                      <a:pt x="502438" y="217258"/>
                    </a:cubicBezTo>
                    <a:lnTo>
                      <a:pt x="503764" y="174613"/>
                    </a:lnTo>
                    <a:lnTo>
                      <a:pt x="486448" y="94633"/>
                    </a:lnTo>
                    <a:lnTo>
                      <a:pt x="482442" y="41319"/>
                    </a:lnTo>
                    <a:lnTo>
                      <a:pt x="561073" y="25323"/>
                    </a:lnTo>
                    <a:lnTo>
                      <a:pt x="631715" y="1332"/>
                    </a:lnTo>
                    <a:lnTo>
                      <a:pt x="655701" y="0"/>
                    </a:lnTo>
                    <a:lnTo>
                      <a:pt x="705015" y="19996"/>
                    </a:lnTo>
                    <a:lnTo>
                      <a:pt x="750328" y="69310"/>
                    </a:lnTo>
                    <a:lnTo>
                      <a:pt x="807643" y="109297"/>
                    </a:lnTo>
                    <a:lnTo>
                      <a:pt x="834303" y="114635"/>
                    </a:lnTo>
                    <a:lnTo>
                      <a:pt x="880954" y="118630"/>
                    </a:lnTo>
                    <a:lnTo>
                      <a:pt x="882392" y="121872"/>
                    </a:lnTo>
                    <a:lnTo>
                      <a:pt x="891601" y="142621"/>
                    </a:lnTo>
                    <a:lnTo>
                      <a:pt x="894275" y="182608"/>
                    </a:lnTo>
                    <a:lnTo>
                      <a:pt x="883606" y="227927"/>
                    </a:lnTo>
                    <a:lnTo>
                      <a:pt x="898281" y="255925"/>
                    </a:lnTo>
                    <a:lnTo>
                      <a:pt x="928930" y="279916"/>
                    </a:lnTo>
                    <a:lnTo>
                      <a:pt x="962243" y="297238"/>
                    </a:lnTo>
                    <a:lnTo>
                      <a:pt x="967575" y="330567"/>
                    </a:lnTo>
                    <a:lnTo>
                      <a:pt x="979571" y="361216"/>
                    </a:lnTo>
                    <a:lnTo>
                      <a:pt x="976615" y="374785"/>
                    </a:lnTo>
                    <a:lnTo>
                      <a:pt x="972912" y="391876"/>
                    </a:lnTo>
                    <a:lnTo>
                      <a:pt x="982239" y="431869"/>
                    </a:lnTo>
                    <a:lnTo>
                      <a:pt x="994224" y="478520"/>
                    </a:lnTo>
                    <a:lnTo>
                      <a:pt x="1020900" y="501174"/>
                    </a:lnTo>
                    <a:lnTo>
                      <a:pt x="1039543" y="535835"/>
                    </a:lnTo>
                    <a:lnTo>
                      <a:pt x="1063539" y="545161"/>
                    </a:lnTo>
                    <a:lnTo>
                      <a:pt x="1071523" y="585149"/>
                    </a:lnTo>
                    <a:lnTo>
                      <a:pt x="1114185" y="606477"/>
                    </a:lnTo>
                    <a:lnTo>
                      <a:pt x="1166173" y="617135"/>
                    </a:lnTo>
                    <a:lnTo>
                      <a:pt x="1203481" y="651801"/>
                    </a:lnTo>
                    <a:lnTo>
                      <a:pt x="1254132" y="687794"/>
                    </a:lnTo>
                    <a:lnTo>
                      <a:pt x="1279454" y="666460"/>
                    </a:lnTo>
                    <a:lnTo>
                      <a:pt x="1314115" y="659791"/>
                    </a:lnTo>
                    <a:lnTo>
                      <a:pt x="1336769" y="690451"/>
                    </a:lnTo>
                    <a:lnTo>
                      <a:pt x="1364755" y="698452"/>
                    </a:lnTo>
                    <a:lnTo>
                      <a:pt x="1407400" y="677119"/>
                    </a:lnTo>
                    <a:lnTo>
                      <a:pt x="1442060" y="675787"/>
                    </a:lnTo>
                    <a:lnTo>
                      <a:pt x="1479368" y="690451"/>
                    </a:lnTo>
                    <a:lnTo>
                      <a:pt x="1524698" y="686457"/>
                    </a:lnTo>
                    <a:lnTo>
                      <a:pt x="1570001" y="677119"/>
                    </a:lnTo>
                    <a:lnTo>
                      <a:pt x="1570001" y="713105"/>
                    </a:lnTo>
                    <a:lnTo>
                      <a:pt x="1592666" y="717106"/>
                    </a:lnTo>
                    <a:lnTo>
                      <a:pt x="1604661" y="729096"/>
                    </a:lnTo>
                    <a:lnTo>
                      <a:pt x="1617983" y="691783"/>
                    </a:lnTo>
                    <a:lnTo>
                      <a:pt x="1664633" y="681119"/>
                    </a:lnTo>
                    <a:lnTo>
                      <a:pt x="1703284" y="657122"/>
                    </a:lnTo>
                    <a:lnTo>
                      <a:pt x="1721948" y="630468"/>
                    </a:lnTo>
                    <a:lnTo>
                      <a:pt x="1752597" y="611814"/>
                    </a:lnTo>
                    <a:lnTo>
                      <a:pt x="1783235" y="578485"/>
                    </a:lnTo>
                    <a:lnTo>
                      <a:pt x="1829892" y="573153"/>
                    </a:lnTo>
                    <a:lnTo>
                      <a:pt x="1853889" y="587823"/>
                    </a:lnTo>
                    <a:lnTo>
                      <a:pt x="1877885" y="571827"/>
                    </a:lnTo>
                    <a:lnTo>
                      <a:pt x="1897865" y="550499"/>
                    </a:lnTo>
                    <a:lnTo>
                      <a:pt x="1936532" y="518507"/>
                    </a:lnTo>
                    <a:lnTo>
                      <a:pt x="1952527" y="474520"/>
                    </a:lnTo>
                    <a:lnTo>
                      <a:pt x="1959174" y="429200"/>
                    </a:lnTo>
                    <a:lnTo>
                      <a:pt x="1976513" y="370554"/>
                    </a:lnTo>
                    <a:lnTo>
                      <a:pt x="2036497" y="369222"/>
                    </a:lnTo>
                    <a:lnTo>
                      <a:pt x="2115111" y="369222"/>
                    </a:lnTo>
                    <a:lnTo>
                      <a:pt x="2120460" y="405215"/>
                    </a:lnTo>
                    <a:lnTo>
                      <a:pt x="2111128" y="422537"/>
                    </a:lnTo>
                    <a:lnTo>
                      <a:pt x="2121792" y="445208"/>
                    </a:lnTo>
                    <a:lnTo>
                      <a:pt x="2123107" y="537178"/>
                    </a:lnTo>
                    <a:lnTo>
                      <a:pt x="2165768" y="542504"/>
                    </a:lnTo>
                    <a:lnTo>
                      <a:pt x="2212430" y="570496"/>
                    </a:lnTo>
                    <a:lnTo>
                      <a:pt x="2264402" y="581160"/>
                    </a:lnTo>
                    <a:lnTo>
                      <a:pt x="2303040" y="591818"/>
                    </a:lnTo>
                    <a:lnTo>
                      <a:pt x="2319037" y="613151"/>
                    </a:lnTo>
                    <a:lnTo>
                      <a:pt x="2321711" y="643806"/>
                    </a:lnTo>
                    <a:lnTo>
                      <a:pt x="2332369" y="683793"/>
                    </a:lnTo>
                    <a:lnTo>
                      <a:pt x="2319037" y="727781"/>
                    </a:lnTo>
                    <a:lnTo>
                      <a:pt x="2313800" y="746103"/>
                    </a:lnTo>
                    <a:lnTo>
                      <a:pt x="2303040" y="783770"/>
                    </a:lnTo>
                    <a:lnTo>
                      <a:pt x="2276397" y="809093"/>
                    </a:lnTo>
                    <a:lnTo>
                      <a:pt x="2263064" y="839747"/>
                    </a:lnTo>
                    <a:lnTo>
                      <a:pt x="2215076" y="863738"/>
                    </a:lnTo>
                    <a:lnTo>
                      <a:pt x="2203081" y="890398"/>
                    </a:lnTo>
                    <a:lnTo>
                      <a:pt x="2200418" y="923728"/>
                    </a:lnTo>
                    <a:lnTo>
                      <a:pt x="2204429" y="955714"/>
                    </a:lnTo>
                    <a:lnTo>
                      <a:pt x="2200418" y="986369"/>
                    </a:lnTo>
                    <a:lnTo>
                      <a:pt x="2200418" y="1009040"/>
                    </a:lnTo>
                    <a:lnTo>
                      <a:pt x="2132433" y="1053021"/>
                    </a:lnTo>
                    <a:lnTo>
                      <a:pt x="2115106" y="1150323"/>
                    </a:lnTo>
                    <a:lnTo>
                      <a:pt x="2109785" y="1212964"/>
                    </a:lnTo>
                    <a:lnTo>
                      <a:pt x="2069804" y="1204975"/>
                    </a:lnTo>
                    <a:lnTo>
                      <a:pt x="2009825" y="1199649"/>
                    </a:lnTo>
                    <a:lnTo>
                      <a:pt x="1985829" y="1180978"/>
                    </a:lnTo>
                    <a:lnTo>
                      <a:pt x="1996487" y="1121000"/>
                    </a:lnTo>
                    <a:lnTo>
                      <a:pt x="1937852" y="1087677"/>
                    </a:lnTo>
                    <a:lnTo>
                      <a:pt x="1867216" y="1050353"/>
                    </a:lnTo>
                    <a:lnTo>
                      <a:pt x="1820554" y="1045021"/>
                    </a:lnTo>
                    <a:lnTo>
                      <a:pt x="1759250" y="1005033"/>
                    </a:lnTo>
                    <a:lnTo>
                      <a:pt x="1713948" y="998370"/>
                    </a:lnTo>
                    <a:lnTo>
                      <a:pt x="1691282" y="1014360"/>
                    </a:lnTo>
                    <a:lnTo>
                      <a:pt x="1643300" y="978374"/>
                    </a:lnTo>
                    <a:lnTo>
                      <a:pt x="1619314" y="943724"/>
                    </a:lnTo>
                    <a:lnTo>
                      <a:pt x="1596649" y="966378"/>
                    </a:lnTo>
                    <a:lnTo>
                      <a:pt x="1597986" y="1037020"/>
                    </a:lnTo>
                    <a:lnTo>
                      <a:pt x="1592649" y="1066343"/>
                    </a:lnTo>
                    <a:lnTo>
                      <a:pt x="1550010" y="1094335"/>
                    </a:lnTo>
                    <a:lnTo>
                      <a:pt x="1544666" y="1126321"/>
                    </a:lnTo>
                    <a:lnTo>
                      <a:pt x="1563331" y="1155650"/>
                    </a:lnTo>
                    <a:lnTo>
                      <a:pt x="1576653" y="1199637"/>
                    </a:lnTo>
                    <a:lnTo>
                      <a:pt x="1612634" y="1239625"/>
                    </a:lnTo>
                    <a:lnTo>
                      <a:pt x="1620629" y="1250283"/>
                    </a:lnTo>
                    <a:lnTo>
                      <a:pt x="1607307" y="1283606"/>
                    </a:lnTo>
                    <a:lnTo>
                      <a:pt x="1624629" y="1343584"/>
                    </a:lnTo>
                    <a:lnTo>
                      <a:pt x="1724589" y="1338258"/>
                    </a:lnTo>
                    <a:lnTo>
                      <a:pt x="1743259" y="1338977"/>
                    </a:lnTo>
                    <a:lnTo>
                      <a:pt x="1793911" y="1340910"/>
                    </a:lnTo>
                    <a:lnTo>
                      <a:pt x="1947196" y="1395573"/>
                    </a:lnTo>
                    <a:lnTo>
                      <a:pt x="2139108" y="1459557"/>
                    </a:lnTo>
                    <a:lnTo>
                      <a:pt x="2113797" y="1482211"/>
                    </a:lnTo>
                    <a:lnTo>
                      <a:pt x="2124444" y="1498207"/>
                    </a:lnTo>
                    <a:lnTo>
                      <a:pt x="2148441" y="1511545"/>
                    </a:lnTo>
                    <a:lnTo>
                      <a:pt x="2145783" y="1562196"/>
                    </a:lnTo>
                    <a:lnTo>
                      <a:pt x="2172437" y="1583519"/>
                    </a:lnTo>
                    <a:lnTo>
                      <a:pt x="2168431" y="1611516"/>
                    </a:lnTo>
                    <a:lnTo>
                      <a:pt x="2228404" y="1628838"/>
                    </a:lnTo>
                    <a:lnTo>
                      <a:pt x="2265744" y="1610184"/>
                    </a:lnTo>
                    <a:lnTo>
                      <a:pt x="2304378" y="1596846"/>
                    </a:lnTo>
                    <a:lnTo>
                      <a:pt x="2349702" y="1611516"/>
                    </a:lnTo>
                    <a:lnTo>
                      <a:pt x="2369693" y="1614179"/>
                    </a:lnTo>
                    <a:lnTo>
                      <a:pt x="2383015" y="1586187"/>
                    </a:lnTo>
                    <a:lnTo>
                      <a:pt x="2432323" y="1608841"/>
                    </a:lnTo>
                    <a:lnTo>
                      <a:pt x="2444319" y="1623517"/>
                    </a:lnTo>
                    <a:lnTo>
                      <a:pt x="2456320" y="1684826"/>
                    </a:lnTo>
                    <a:lnTo>
                      <a:pt x="2496307" y="1679500"/>
                    </a:lnTo>
                    <a:lnTo>
                      <a:pt x="2501645" y="1712818"/>
                    </a:lnTo>
                    <a:lnTo>
                      <a:pt x="2556279" y="1712818"/>
                    </a:lnTo>
                    <a:lnTo>
                      <a:pt x="2558948" y="1746142"/>
                    </a:lnTo>
                    <a:lnTo>
                      <a:pt x="2525630" y="1756811"/>
                    </a:lnTo>
                    <a:lnTo>
                      <a:pt x="2481654" y="1763475"/>
                    </a:lnTo>
                    <a:lnTo>
                      <a:pt x="2464321" y="1796798"/>
                    </a:lnTo>
                    <a:lnTo>
                      <a:pt x="2404337" y="1798124"/>
                    </a:lnTo>
                    <a:lnTo>
                      <a:pt x="2371019" y="1800793"/>
                    </a:lnTo>
                    <a:lnTo>
                      <a:pt x="2360350" y="1822116"/>
                    </a:lnTo>
                    <a:lnTo>
                      <a:pt x="2369266" y="1855153"/>
                    </a:lnTo>
                    <a:lnTo>
                      <a:pt x="2373688" y="1871435"/>
                    </a:lnTo>
                    <a:lnTo>
                      <a:pt x="2409675" y="1968743"/>
                    </a:lnTo>
                    <a:lnTo>
                      <a:pt x="2441655" y="2014056"/>
                    </a:lnTo>
                    <a:lnTo>
                      <a:pt x="2470979" y="2052717"/>
                    </a:lnTo>
                    <a:lnTo>
                      <a:pt x="2485643" y="2110021"/>
                    </a:lnTo>
                    <a:lnTo>
                      <a:pt x="2481648" y="2131355"/>
                    </a:lnTo>
                    <a:lnTo>
                      <a:pt x="2540278" y="2147351"/>
                    </a:lnTo>
                    <a:lnTo>
                      <a:pt x="2605593" y="2142013"/>
                    </a:lnTo>
                    <a:lnTo>
                      <a:pt x="2626916" y="2155346"/>
                    </a:lnTo>
                    <a:lnTo>
                      <a:pt x="2752198" y="2155346"/>
                    </a:lnTo>
                    <a:lnTo>
                      <a:pt x="2765542" y="2162015"/>
                    </a:lnTo>
                    <a:lnTo>
                      <a:pt x="2766435" y="2162470"/>
                    </a:lnTo>
                    <a:lnTo>
                      <a:pt x="2829515" y="2194001"/>
                    </a:lnTo>
                    <a:lnTo>
                      <a:pt x="2860152" y="2168684"/>
                    </a:lnTo>
                    <a:lnTo>
                      <a:pt x="2886818" y="2176679"/>
                    </a:lnTo>
                    <a:lnTo>
                      <a:pt x="2929469" y="2199333"/>
                    </a:lnTo>
                    <a:lnTo>
                      <a:pt x="2988104" y="2208666"/>
                    </a:lnTo>
                    <a:lnTo>
                      <a:pt x="2996104" y="2253974"/>
                    </a:lnTo>
                    <a:lnTo>
                      <a:pt x="2984097" y="2291303"/>
                    </a:lnTo>
                    <a:lnTo>
                      <a:pt x="2988104" y="2364614"/>
                    </a:lnTo>
                    <a:lnTo>
                      <a:pt x="2997436" y="2421923"/>
                    </a:lnTo>
                    <a:lnTo>
                      <a:pt x="2993453" y="2473911"/>
                    </a:lnTo>
                    <a:lnTo>
                      <a:pt x="2980103" y="2513899"/>
                    </a:lnTo>
                    <a:lnTo>
                      <a:pt x="2960112" y="2556555"/>
                    </a:lnTo>
                    <a:lnTo>
                      <a:pt x="2961455" y="2623196"/>
                    </a:lnTo>
                    <a:lnTo>
                      <a:pt x="2961455" y="2676522"/>
                    </a:lnTo>
                    <a:lnTo>
                      <a:pt x="2961455" y="2709839"/>
                    </a:lnTo>
                    <a:lnTo>
                      <a:pt x="2990778" y="2712508"/>
                    </a:lnTo>
                    <a:lnTo>
                      <a:pt x="2998773" y="2745832"/>
                    </a:lnTo>
                    <a:lnTo>
                      <a:pt x="2988104" y="2765828"/>
                    </a:lnTo>
                    <a:lnTo>
                      <a:pt x="2938795" y="2783156"/>
                    </a:lnTo>
                    <a:lnTo>
                      <a:pt x="2916136" y="2793820"/>
                    </a:lnTo>
                    <a:lnTo>
                      <a:pt x="2889498" y="2796489"/>
                    </a:lnTo>
                    <a:lnTo>
                      <a:pt x="2889498" y="2848477"/>
                    </a:lnTo>
                    <a:lnTo>
                      <a:pt x="2861507" y="2888464"/>
                    </a:lnTo>
                    <a:lnTo>
                      <a:pt x="2876160" y="2904460"/>
                    </a:lnTo>
                    <a:lnTo>
                      <a:pt x="2893493" y="2917782"/>
                    </a:lnTo>
                    <a:lnTo>
                      <a:pt x="2885492" y="2947111"/>
                    </a:lnTo>
                    <a:lnTo>
                      <a:pt x="2893493" y="2956443"/>
                    </a:lnTo>
                    <a:lnTo>
                      <a:pt x="2938795" y="2963106"/>
                    </a:lnTo>
                    <a:lnTo>
                      <a:pt x="2958797" y="3028417"/>
                    </a:lnTo>
                    <a:lnTo>
                      <a:pt x="2994773" y="3059083"/>
                    </a:lnTo>
                    <a:lnTo>
                      <a:pt x="3017438" y="3128382"/>
                    </a:lnTo>
                    <a:lnTo>
                      <a:pt x="3032091" y="3163048"/>
                    </a:lnTo>
                    <a:lnTo>
                      <a:pt x="3074736" y="3181707"/>
                    </a:lnTo>
                    <a:lnTo>
                      <a:pt x="3104059" y="3224358"/>
                    </a:lnTo>
                    <a:lnTo>
                      <a:pt x="3106734" y="3251023"/>
                    </a:lnTo>
                    <a:lnTo>
                      <a:pt x="3060072" y="3300337"/>
                    </a:lnTo>
                    <a:lnTo>
                      <a:pt x="3078742" y="3325665"/>
                    </a:lnTo>
                    <a:lnTo>
                      <a:pt x="3100064" y="3362989"/>
                    </a:lnTo>
                    <a:lnTo>
                      <a:pt x="3120061" y="3388312"/>
                    </a:lnTo>
                    <a:lnTo>
                      <a:pt x="3141394" y="3401645"/>
                    </a:lnTo>
                    <a:lnTo>
                      <a:pt x="3202698" y="3400313"/>
                    </a:lnTo>
                    <a:lnTo>
                      <a:pt x="3226684" y="3409634"/>
                    </a:lnTo>
                    <a:lnTo>
                      <a:pt x="3262670" y="3414978"/>
                    </a:lnTo>
                    <a:lnTo>
                      <a:pt x="3307978" y="3406977"/>
                    </a:lnTo>
                    <a:lnTo>
                      <a:pt x="3334638" y="3413646"/>
                    </a:lnTo>
                    <a:lnTo>
                      <a:pt x="3333307" y="3436300"/>
                    </a:lnTo>
                    <a:lnTo>
                      <a:pt x="3322598" y="3447689"/>
                    </a:lnTo>
                    <a:lnTo>
                      <a:pt x="3311973" y="3458971"/>
                    </a:lnTo>
                    <a:lnTo>
                      <a:pt x="3271992" y="3456302"/>
                    </a:lnTo>
                    <a:lnTo>
                      <a:pt x="3237359" y="3440295"/>
                    </a:lnTo>
                    <a:lnTo>
                      <a:pt x="3202698" y="3448296"/>
                    </a:lnTo>
                    <a:lnTo>
                      <a:pt x="3184028" y="3449633"/>
                    </a:lnTo>
                    <a:lnTo>
                      <a:pt x="3165380" y="3462954"/>
                    </a:lnTo>
                    <a:lnTo>
                      <a:pt x="3146726" y="3434969"/>
                    </a:lnTo>
                    <a:lnTo>
                      <a:pt x="3125404" y="3450965"/>
                    </a:lnTo>
                    <a:lnTo>
                      <a:pt x="3109402" y="3476276"/>
                    </a:lnTo>
                    <a:lnTo>
                      <a:pt x="3132056" y="3498947"/>
                    </a:lnTo>
                    <a:lnTo>
                      <a:pt x="3149395" y="3509605"/>
                    </a:lnTo>
                    <a:lnTo>
                      <a:pt x="3148041" y="3568263"/>
                    </a:lnTo>
                    <a:lnTo>
                      <a:pt x="3152041" y="3597581"/>
                    </a:lnTo>
                    <a:lnTo>
                      <a:pt x="3165368" y="3642894"/>
                    </a:lnTo>
                    <a:lnTo>
                      <a:pt x="3157368" y="3674886"/>
                    </a:lnTo>
                    <a:lnTo>
                      <a:pt x="3156042" y="3712210"/>
                    </a:lnTo>
                    <a:lnTo>
                      <a:pt x="3129387" y="3761524"/>
                    </a:lnTo>
                    <a:lnTo>
                      <a:pt x="3101401" y="3802854"/>
                    </a:lnTo>
                    <a:lnTo>
                      <a:pt x="3086754" y="3833497"/>
                    </a:lnTo>
                    <a:lnTo>
                      <a:pt x="3081405" y="3857500"/>
                    </a:lnTo>
                    <a:lnTo>
                      <a:pt x="3094743" y="3885480"/>
                    </a:lnTo>
                  </a:path>
                </a:pathLst>
              </a:custGeom>
              <a:solidFill>
                <a:srgbClr val="65A6FB"/>
              </a:solidFill>
              <a:ln w="19050" cap="rnd">
                <a:solidFill>
                  <a:schemeClr val="lt1"/>
                </a:solidFill>
                <a:prstDash val="solid"/>
                <a:round/>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8" name="Freihandform: Form 177">
                <a:extLst>
                  <a:ext uri="{FF2B5EF4-FFF2-40B4-BE49-F238E27FC236}">
                    <a16:creationId xmlns:a16="http://schemas.microsoft.com/office/drawing/2014/main" id="{42C96B8D-20C0-371D-7E91-3D870709B6C6}"/>
                  </a:ext>
                </a:extLst>
              </p:cNvPr>
              <p:cNvSpPr/>
              <p:nvPr/>
            </p:nvSpPr>
            <p:spPr>
              <a:xfrm>
                <a:off x="2634227" y="3866986"/>
                <a:ext cx="1125620" cy="1190005"/>
              </a:xfrm>
              <a:custGeom>
                <a:avLst/>
                <a:gdLst>
                  <a:gd name="connsiteX0" fmla="*/ 9018 w 1124360"/>
                  <a:gd name="connsiteY0" fmla="*/ 963754 h 1191198"/>
                  <a:gd name="connsiteX1" fmla="*/ 39004 w 1124360"/>
                  <a:gd name="connsiteY1" fmla="*/ 915777 h 1191198"/>
                  <a:gd name="connsiteX2" fmla="*/ 68990 w 1124360"/>
                  <a:gd name="connsiteY2" fmla="*/ 883791 h 1191198"/>
                  <a:gd name="connsiteX3" fmla="*/ 128968 w 1124360"/>
                  <a:gd name="connsiteY3" fmla="*/ 884791 h 1191198"/>
                  <a:gd name="connsiteX4" fmla="*/ 150959 w 1124360"/>
                  <a:gd name="connsiteY4" fmla="*/ 876791 h 1191198"/>
                  <a:gd name="connsiteX5" fmla="*/ 154959 w 1124360"/>
                  <a:gd name="connsiteY5" fmla="*/ 857794 h 1191198"/>
                  <a:gd name="connsiteX6" fmla="*/ 135969 w 1124360"/>
                  <a:gd name="connsiteY6" fmla="*/ 813807 h 1191198"/>
                  <a:gd name="connsiteX7" fmla="*/ 148959 w 1124360"/>
                  <a:gd name="connsiteY7" fmla="*/ 786804 h 1191198"/>
                  <a:gd name="connsiteX8" fmla="*/ 184945 w 1124360"/>
                  <a:gd name="connsiteY8" fmla="*/ 774814 h 1191198"/>
                  <a:gd name="connsiteX9" fmla="*/ 210937 w 1124360"/>
                  <a:gd name="connsiteY9" fmla="*/ 753823 h 1191198"/>
                  <a:gd name="connsiteX10" fmla="*/ 211931 w 1124360"/>
                  <a:gd name="connsiteY10" fmla="*/ 712836 h 1191198"/>
                  <a:gd name="connsiteX11" fmla="*/ 198936 w 1124360"/>
                  <a:gd name="connsiteY11" fmla="*/ 648863 h 1191198"/>
                  <a:gd name="connsiteX12" fmla="*/ 198936 w 1124360"/>
                  <a:gd name="connsiteY12" fmla="*/ 611871 h 1191198"/>
                  <a:gd name="connsiteX13" fmla="*/ 217926 w 1124360"/>
                  <a:gd name="connsiteY13" fmla="*/ 576873 h 1191198"/>
                  <a:gd name="connsiteX14" fmla="*/ 239923 w 1124360"/>
                  <a:gd name="connsiteY14" fmla="*/ 551887 h 1191198"/>
                  <a:gd name="connsiteX15" fmla="*/ 249918 w 1124360"/>
                  <a:gd name="connsiteY15" fmla="*/ 541897 h 1191198"/>
                  <a:gd name="connsiteX16" fmla="*/ 250918 w 1124360"/>
                  <a:gd name="connsiteY16" fmla="*/ 538897 h 1191198"/>
                  <a:gd name="connsiteX17" fmla="*/ 278904 w 1124360"/>
                  <a:gd name="connsiteY17" fmla="*/ 495904 h 1191198"/>
                  <a:gd name="connsiteX18" fmla="*/ 312885 w 1124360"/>
                  <a:gd name="connsiteY18" fmla="*/ 445921 h 1191198"/>
                  <a:gd name="connsiteX19" fmla="*/ 323881 w 1124360"/>
                  <a:gd name="connsiteY19" fmla="*/ 422925 h 1191198"/>
                  <a:gd name="connsiteX20" fmla="*/ 323881 w 1124360"/>
                  <a:gd name="connsiteY20" fmla="*/ 410929 h 1191198"/>
                  <a:gd name="connsiteX21" fmla="*/ 299890 w 1124360"/>
                  <a:gd name="connsiteY21" fmla="*/ 398939 h 1191198"/>
                  <a:gd name="connsiteX22" fmla="*/ 247913 w 1124360"/>
                  <a:gd name="connsiteY22" fmla="*/ 382937 h 1191198"/>
                  <a:gd name="connsiteX23" fmla="*/ 207931 w 1124360"/>
                  <a:gd name="connsiteY23" fmla="*/ 356941 h 1191198"/>
                  <a:gd name="connsiteX24" fmla="*/ 182940 w 1124360"/>
                  <a:gd name="connsiteY24" fmla="*/ 333944 h 1191198"/>
                  <a:gd name="connsiteX25" fmla="*/ 182940 w 1124360"/>
                  <a:gd name="connsiteY25" fmla="*/ 332685 h 1191198"/>
                  <a:gd name="connsiteX26" fmla="*/ 188266 w 1124360"/>
                  <a:gd name="connsiteY26" fmla="*/ 320285 h 1191198"/>
                  <a:gd name="connsiteX27" fmla="*/ 208262 w 1124360"/>
                  <a:gd name="connsiteY27" fmla="*/ 302272 h 1191198"/>
                  <a:gd name="connsiteX28" fmla="*/ 239586 w 1124360"/>
                  <a:gd name="connsiteY28" fmla="*/ 280281 h 1191198"/>
                  <a:gd name="connsiteX29" fmla="*/ 277567 w 1124360"/>
                  <a:gd name="connsiteY29" fmla="*/ 304946 h 1191198"/>
                  <a:gd name="connsiteX30" fmla="*/ 296226 w 1124360"/>
                  <a:gd name="connsiteY30" fmla="*/ 308278 h 1191198"/>
                  <a:gd name="connsiteX31" fmla="*/ 313559 w 1124360"/>
                  <a:gd name="connsiteY31" fmla="*/ 288282 h 1191198"/>
                  <a:gd name="connsiteX32" fmla="*/ 312880 w 1124360"/>
                  <a:gd name="connsiteY32" fmla="*/ 246283 h 1191198"/>
                  <a:gd name="connsiteX33" fmla="*/ 281562 w 1124360"/>
                  <a:gd name="connsiteY33" fmla="*/ 202953 h 1191198"/>
                  <a:gd name="connsiteX34" fmla="*/ 277562 w 1124360"/>
                  <a:gd name="connsiteY34" fmla="*/ 161623 h 1191198"/>
                  <a:gd name="connsiteX35" fmla="*/ 268235 w 1124360"/>
                  <a:gd name="connsiteY35" fmla="*/ 102297 h 1191198"/>
                  <a:gd name="connsiteX36" fmla="*/ 254902 w 1124360"/>
                  <a:gd name="connsiteY36" fmla="*/ 66973 h 1191198"/>
                  <a:gd name="connsiteX37" fmla="*/ 227585 w 1124360"/>
                  <a:gd name="connsiteY37" fmla="*/ 48320 h 1191198"/>
                  <a:gd name="connsiteX38" fmla="*/ 216921 w 1124360"/>
                  <a:gd name="connsiteY38" fmla="*/ 34318 h 1191198"/>
                  <a:gd name="connsiteX39" fmla="*/ 217915 w 1124360"/>
                  <a:gd name="connsiteY39" fmla="*/ 28986 h 1191198"/>
                  <a:gd name="connsiteX40" fmla="*/ 227911 w 1124360"/>
                  <a:gd name="connsiteY40" fmla="*/ 13990 h 1191198"/>
                  <a:gd name="connsiteX41" fmla="*/ 236911 w 1124360"/>
                  <a:gd name="connsiteY41" fmla="*/ 0 h 1191198"/>
                  <a:gd name="connsiteX42" fmla="*/ 257908 w 1124360"/>
                  <a:gd name="connsiteY42" fmla="*/ 12001 h 1191198"/>
                  <a:gd name="connsiteX43" fmla="*/ 284894 w 1124360"/>
                  <a:gd name="connsiteY43" fmla="*/ 29992 h 1191198"/>
                  <a:gd name="connsiteX44" fmla="*/ 313880 w 1124360"/>
                  <a:gd name="connsiteY44" fmla="*/ 41993 h 1191198"/>
                  <a:gd name="connsiteX45" fmla="*/ 330870 w 1124360"/>
                  <a:gd name="connsiteY45" fmla="*/ 45988 h 1191198"/>
                  <a:gd name="connsiteX46" fmla="*/ 352861 w 1124360"/>
                  <a:gd name="connsiteY46" fmla="*/ 76980 h 1191198"/>
                  <a:gd name="connsiteX47" fmla="*/ 374852 w 1124360"/>
                  <a:gd name="connsiteY47" fmla="*/ 102977 h 1191198"/>
                  <a:gd name="connsiteX48" fmla="*/ 385848 w 1124360"/>
                  <a:gd name="connsiteY48" fmla="*/ 118978 h 1191198"/>
                  <a:gd name="connsiteX49" fmla="*/ 388848 w 1124360"/>
                  <a:gd name="connsiteY49" fmla="*/ 128974 h 1191198"/>
                  <a:gd name="connsiteX50" fmla="*/ 431830 w 1124360"/>
                  <a:gd name="connsiteY50" fmla="*/ 130980 h 1191198"/>
                  <a:gd name="connsiteX51" fmla="*/ 469817 w 1124360"/>
                  <a:gd name="connsiteY51" fmla="*/ 135980 h 1191198"/>
                  <a:gd name="connsiteX52" fmla="*/ 473486 w 1124360"/>
                  <a:gd name="connsiteY52" fmla="*/ 137070 h 1191198"/>
                  <a:gd name="connsiteX53" fmla="*/ 505809 w 1124360"/>
                  <a:gd name="connsiteY53" fmla="*/ 145964 h 1191198"/>
                  <a:gd name="connsiteX54" fmla="*/ 533795 w 1124360"/>
                  <a:gd name="connsiteY54" fmla="*/ 153976 h 1191198"/>
                  <a:gd name="connsiteX55" fmla="*/ 560787 w 1124360"/>
                  <a:gd name="connsiteY55" fmla="*/ 183968 h 1191198"/>
                  <a:gd name="connsiteX56" fmla="*/ 612758 w 1124360"/>
                  <a:gd name="connsiteY56" fmla="*/ 232956 h 1191198"/>
                  <a:gd name="connsiteX57" fmla="*/ 646750 w 1124360"/>
                  <a:gd name="connsiteY57" fmla="*/ 249963 h 1191198"/>
                  <a:gd name="connsiteX58" fmla="*/ 673742 w 1124360"/>
                  <a:gd name="connsiteY58" fmla="*/ 251958 h 1191198"/>
                  <a:gd name="connsiteX59" fmla="*/ 704734 w 1124360"/>
                  <a:gd name="connsiteY59" fmla="*/ 241957 h 1191198"/>
                  <a:gd name="connsiteX60" fmla="*/ 724719 w 1124360"/>
                  <a:gd name="connsiteY60" fmla="*/ 265954 h 1191198"/>
                  <a:gd name="connsiteX61" fmla="*/ 741721 w 1124360"/>
                  <a:gd name="connsiteY61" fmla="*/ 271954 h 1191198"/>
                  <a:gd name="connsiteX62" fmla="*/ 761385 w 1124360"/>
                  <a:gd name="connsiteY62" fmla="*/ 271291 h 1191198"/>
                  <a:gd name="connsiteX63" fmla="*/ 771701 w 1124360"/>
                  <a:gd name="connsiteY63" fmla="*/ 270949 h 1191198"/>
                  <a:gd name="connsiteX64" fmla="*/ 790692 w 1124360"/>
                  <a:gd name="connsiteY64" fmla="*/ 289945 h 1191198"/>
                  <a:gd name="connsiteX65" fmla="*/ 820678 w 1124360"/>
                  <a:gd name="connsiteY65" fmla="*/ 306935 h 1191198"/>
                  <a:gd name="connsiteX66" fmla="*/ 821684 w 1124360"/>
                  <a:gd name="connsiteY66" fmla="*/ 332933 h 1191198"/>
                  <a:gd name="connsiteX67" fmla="*/ 828679 w 1124360"/>
                  <a:gd name="connsiteY67" fmla="*/ 370936 h 1191198"/>
                  <a:gd name="connsiteX68" fmla="*/ 864660 w 1124360"/>
                  <a:gd name="connsiteY68" fmla="*/ 406917 h 1191198"/>
                  <a:gd name="connsiteX69" fmla="*/ 874655 w 1124360"/>
                  <a:gd name="connsiteY69" fmla="*/ 442916 h 1191198"/>
                  <a:gd name="connsiteX70" fmla="*/ 908642 w 1124360"/>
                  <a:gd name="connsiteY70" fmla="*/ 490898 h 1191198"/>
                  <a:gd name="connsiteX71" fmla="*/ 950624 w 1124360"/>
                  <a:gd name="connsiteY71" fmla="*/ 537880 h 1191198"/>
                  <a:gd name="connsiteX72" fmla="*/ 987610 w 1124360"/>
                  <a:gd name="connsiteY72" fmla="*/ 556871 h 1191198"/>
                  <a:gd name="connsiteX73" fmla="*/ 1019597 w 1124360"/>
                  <a:gd name="connsiteY73" fmla="*/ 554882 h 1191198"/>
                  <a:gd name="connsiteX74" fmla="*/ 1047594 w 1124360"/>
                  <a:gd name="connsiteY74" fmla="*/ 548881 h 1191198"/>
                  <a:gd name="connsiteX75" fmla="*/ 1051589 w 1124360"/>
                  <a:gd name="connsiteY75" fmla="*/ 572872 h 1191198"/>
                  <a:gd name="connsiteX76" fmla="*/ 1041593 w 1124360"/>
                  <a:gd name="connsiteY76" fmla="*/ 596869 h 1191198"/>
                  <a:gd name="connsiteX77" fmla="*/ 1035598 w 1124360"/>
                  <a:gd name="connsiteY77" fmla="*/ 617866 h 1191198"/>
                  <a:gd name="connsiteX78" fmla="*/ 1038593 w 1124360"/>
                  <a:gd name="connsiteY78" fmla="*/ 637851 h 1191198"/>
                  <a:gd name="connsiteX79" fmla="*/ 1074574 w 1124360"/>
                  <a:gd name="connsiteY79" fmla="*/ 640862 h 1191198"/>
                  <a:gd name="connsiteX80" fmla="*/ 1095571 w 1124360"/>
                  <a:gd name="connsiteY80" fmla="*/ 647852 h 1191198"/>
                  <a:gd name="connsiteX81" fmla="*/ 1096172 w 1124360"/>
                  <a:gd name="connsiteY81" fmla="*/ 652970 h 1191198"/>
                  <a:gd name="connsiteX82" fmla="*/ 1098577 w 1124360"/>
                  <a:gd name="connsiteY82" fmla="*/ 672843 h 1191198"/>
                  <a:gd name="connsiteX83" fmla="*/ 1108566 w 1124360"/>
                  <a:gd name="connsiteY83" fmla="*/ 704841 h 1191198"/>
                  <a:gd name="connsiteX84" fmla="*/ 1124360 w 1124360"/>
                  <a:gd name="connsiteY84" fmla="*/ 729748 h 1191198"/>
                  <a:gd name="connsiteX85" fmla="*/ 1122568 w 1124360"/>
                  <a:gd name="connsiteY85" fmla="*/ 730832 h 1191198"/>
                  <a:gd name="connsiteX86" fmla="*/ 1089581 w 1124360"/>
                  <a:gd name="connsiteY86" fmla="*/ 737816 h 1191198"/>
                  <a:gd name="connsiteX87" fmla="*/ 1051594 w 1124360"/>
                  <a:gd name="connsiteY87" fmla="*/ 731821 h 1191198"/>
                  <a:gd name="connsiteX88" fmla="*/ 1003612 w 1124360"/>
                  <a:gd name="connsiteY88" fmla="*/ 737816 h 1191198"/>
                  <a:gd name="connsiteX89" fmla="*/ 964631 w 1124360"/>
                  <a:gd name="connsiteY89" fmla="*/ 738821 h 1191198"/>
                  <a:gd name="connsiteX90" fmla="*/ 934644 w 1124360"/>
                  <a:gd name="connsiteY90" fmla="*/ 750817 h 1191198"/>
                  <a:gd name="connsiteX91" fmla="*/ 921649 w 1124360"/>
                  <a:gd name="connsiteY91" fmla="*/ 776814 h 1191198"/>
                  <a:gd name="connsiteX92" fmla="*/ 896663 w 1124360"/>
                  <a:gd name="connsiteY92" fmla="*/ 773819 h 1191198"/>
                  <a:gd name="connsiteX93" fmla="*/ 860682 w 1124360"/>
                  <a:gd name="connsiteY93" fmla="*/ 766819 h 1191198"/>
                  <a:gd name="connsiteX94" fmla="*/ 827690 w 1124360"/>
                  <a:gd name="connsiteY94" fmla="*/ 754823 h 1191198"/>
                  <a:gd name="connsiteX95" fmla="*/ 796704 w 1124360"/>
                  <a:gd name="connsiteY95" fmla="*/ 752823 h 1191198"/>
                  <a:gd name="connsiteX96" fmla="*/ 792462 w 1124360"/>
                  <a:gd name="connsiteY96" fmla="*/ 752576 h 1191198"/>
                  <a:gd name="connsiteX97" fmla="*/ 762217 w 1124360"/>
                  <a:gd name="connsiteY97" fmla="*/ 765324 h 1191198"/>
                  <a:gd name="connsiteX98" fmla="*/ 760722 w 1124360"/>
                  <a:gd name="connsiteY98" fmla="*/ 768819 h 1191198"/>
                  <a:gd name="connsiteX99" fmla="*/ 752722 w 1124360"/>
                  <a:gd name="connsiteY99" fmla="*/ 775814 h 1191198"/>
                  <a:gd name="connsiteX100" fmla="*/ 731731 w 1124360"/>
                  <a:gd name="connsiteY100" fmla="*/ 792816 h 1191198"/>
                  <a:gd name="connsiteX101" fmla="*/ 700739 w 1124360"/>
                  <a:gd name="connsiteY101" fmla="*/ 811795 h 1191198"/>
                  <a:gd name="connsiteX102" fmla="*/ 663752 w 1124360"/>
                  <a:gd name="connsiteY102" fmla="*/ 827802 h 1191198"/>
                  <a:gd name="connsiteX103" fmla="*/ 619770 w 1124360"/>
                  <a:gd name="connsiteY103" fmla="*/ 835803 h 1191198"/>
                  <a:gd name="connsiteX104" fmla="*/ 575788 w 1124360"/>
                  <a:gd name="connsiteY104" fmla="*/ 841798 h 1191198"/>
                  <a:gd name="connsiteX105" fmla="*/ 574170 w 1124360"/>
                  <a:gd name="connsiteY105" fmla="*/ 843315 h 1191198"/>
                  <a:gd name="connsiteX106" fmla="*/ 560798 w 1124360"/>
                  <a:gd name="connsiteY106" fmla="*/ 827802 h 1191198"/>
                  <a:gd name="connsiteX107" fmla="*/ 535807 w 1124360"/>
                  <a:gd name="connsiteY107" fmla="*/ 780826 h 1191198"/>
                  <a:gd name="connsiteX108" fmla="*/ 508815 w 1124360"/>
                  <a:gd name="connsiteY108" fmla="*/ 765824 h 1191198"/>
                  <a:gd name="connsiteX109" fmla="*/ 452838 w 1124360"/>
                  <a:gd name="connsiteY109" fmla="*/ 756818 h 1191198"/>
                  <a:gd name="connsiteX110" fmla="*/ 446843 w 1124360"/>
                  <a:gd name="connsiteY110" fmla="*/ 731826 h 1191198"/>
                  <a:gd name="connsiteX111" fmla="*/ 427846 w 1124360"/>
                  <a:gd name="connsiteY111" fmla="*/ 696840 h 1191198"/>
                  <a:gd name="connsiteX112" fmla="*/ 420846 w 1124360"/>
                  <a:gd name="connsiteY112" fmla="*/ 671849 h 1191198"/>
                  <a:gd name="connsiteX113" fmla="*/ 414851 w 1124360"/>
                  <a:gd name="connsiteY113" fmla="*/ 628867 h 1191198"/>
                  <a:gd name="connsiteX114" fmla="*/ 405855 w 1124360"/>
                  <a:gd name="connsiteY114" fmla="*/ 604870 h 1191198"/>
                  <a:gd name="connsiteX115" fmla="*/ 404855 w 1124360"/>
                  <a:gd name="connsiteY115" fmla="*/ 602364 h 1191198"/>
                  <a:gd name="connsiteX116" fmla="*/ 401855 w 1124360"/>
                  <a:gd name="connsiteY116" fmla="*/ 591874 h 1191198"/>
                  <a:gd name="connsiteX117" fmla="*/ 390860 w 1124360"/>
                  <a:gd name="connsiteY117" fmla="*/ 578879 h 1191198"/>
                  <a:gd name="connsiteX118" fmla="*/ 367368 w 1124360"/>
                  <a:gd name="connsiteY118" fmla="*/ 561899 h 1191198"/>
                  <a:gd name="connsiteX119" fmla="*/ 361868 w 1124360"/>
                  <a:gd name="connsiteY119" fmla="*/ 562883 h 1191198"/>
                  <a:gd name="connsiteX120" fmla="*/ 354867 w 1124360"/>
                  <a:gd name="connsiteY120" fmla="*/ 571889 h 1191198"/>
                  <a:gd name="connsiteX121" fmla="*/ 331882 w 1124360"/>
                  <a:gd name="connsiteY121" fmla="*/ 604881 h 1191198"/>
                  <a:gd name="connsiteX122" fmla="*/ 323881 w 1124360"/>
                  <a:gd name="connsiteY122" fmla="*/ 642879 h 1191198"/>
                  <a:gd name="connsiteX123" fmla="*/ 318886 w 1124360"/>
                  <a:gd name="connsiteY123" fmla="*/ 751840 h 1191198"/>
                  <a:gd name="connsiteX124" fmla="*/ 320881 w 1124360"/>
                  <a:gd name="connsiteY124" fmla="*/ 876802 h 1191198"/>
                  <a:gd name="connsiteX125" fmla="*/ 344872 w 1124360"/>
                  <a:gd name="connsiteY125" fmla="*/ 925784 h 1191198"/>
                  <a:gd name="connsiteX126" fmla="*/ 377858 w 1124360"/>
                  <a:gd name="connsiteY126" fmla="*/ 990762 h 1191198"/>
                  <a:gd name="connsiteX127" fmla="*/ 380859 w 1124360"/>
                  <a:gd name="connsiteY127" fmla="*/ 994763 h 1191198"/>
                  <a:gd name="connsiteX128" fmla="*/ 353154 w 1124360"/>
                  <a:gd name="connsiteY128" fmla="*/ 1027637 h 1191198"/>
                  <a:gd name="connsiteX129" fmla="*/ 333500 w 1124360"/>
                  <a:gd name="connsiteY129" fmla="*/ 1049549 h 1191198"/>
                  <a:gd name="connsiteX130" fmla="*/ 320403 w 1124360"/>
                  <a:gd name="connsiteY130" fmla="*/ 1060028 h 1191198"/>
                  <a:gd name="connsiteX131" fmla="*/ 317375 w 1124360"/>
                  <a:gd name="connsiteY131" fmla="*/ 1065742 h 1191198"/>
                  <a:gd name="connsiteX132" fmla="*/ 318375 w 1124360"/>
                  <a:gd name="connsiteY132" fmla="*/ 1063742 h 1191198"/>
                  <a:gd name="connsiteX133" fmla="*/ 297389 w 1124360"/>
                  <a:gd name="connsiteY133" fmla="*/ 1065742 h 1191198"/>
                  <a:gd name="connsiteX134" fmla="*/ 261397 w 1124360"/>
                  <a:gd name="connsiteY134" fmla="*/ 1105729 h 1191198"/>
                  <a:gd name="connsiteX135" fmla="*/ 227911 w 1124360"/>
                  <a:gd name="connsiteY135" fmla="*/ 1116736 h 1191198"/>
                  <a:gd name="connsiteX136" fmla="*/ 209920 w 1124360"/>
                  <a:gd name="connsiteY136" fmla="*/ 1139221 h 1191198"/>
                  <a:gd name="connsiteX137" fmla="*/ 181928 w 1124360"/>
                  <a:gd name="connsiteY137" fmla="*/ 1148711 h 1191198"/>
                  <a:gd name="connsiteX138" fmla="*/ 115955 w 1124360"/>
                  <a:gd name="connsiteY138" fmla="*/ 1170202 h 1191198"/>
                  <a:gd name="connsiteX139" fmla="*/ 64973 w 1124360"/>
                  <a:gd name="connsiteY139" fmla="*/ 1181703 h 1191198"/>
                  <a:gd name="connsiteX140" fmla="*/ 19996 w 1124360"/>
                  <a:gd name="connsiteY140" fmla="*/ 1191198 h 1191198"/>
                  <a:gd name="connsiteX141" fmla="*/ 5000 w 1124360"/>
                  <a:gd name="connsiteY141" fmla="*/ 1169707 h 1191198"/>
                  <a:gd name="connsiteX142" fmla="*/ 8995 w 1124360"/>
                  <a:gd name="connsiteY142" fmla="*/ 1100729 h 1191198"/>
                  <a:gd name="connsiteX143" fmla="*/ 3000 w 1124360"/>
                  <a:gd name="connsiteY143" fmla="*/ 1065736 h 1191198"/>
                  <a:gd name="connsiteX144" fmla="*/ 0 w 1124360"/>
                  <a:gd name="connsiteY144" fmla="*/ 1044740 h 1191198"/>
                  <a:gd name="connsiteX145" fmla="*/ 11001 w 1124360"/>
                  <a:gd name="connsiteY145" fmla="*/ 1020754 h 1191198"/>
                  <a:gd name="connsiteX146" fmla="*/ 11001 w 1124360"/>
                  <a:gd name="connsiteY146" fmla="*/ 995758 h 1191198"/>
                  <a:gd name="connsiteX147" fmla="*/ 10001 w 1124360"/>
                  <a:gd name="connsiteY147" fmla="*/ 969761 h 119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124360" h="1191198">
                    <a:moveTo>
                      <a:pt x="9018" y="963754"/>
                    </a:moveTo>
                    <a:lnTo>
                      <a:pt x="39004" y="915777"/>
                    </a:lnTo>
                    <a:lnTo>
                      <a:pt x="68990" y="883791"/>
                    </a:lnTo>
                    <a:lnTo>
                      <a:pt x="128968" y="884791"/>
                    </a:lnTo>
                    <a:lnTo>
                      <a:pt x="150959" y="876791"/>
                    </a:lnTo>
                    <a:lnTo>
                      <a:pt x="154959" y="857794"/>
                    </a:lnTo>
                    <a:lnTo>
                      <a:pt x="135969" y="813807"/>
                    </a:lnTo>
                    <a:lnTo>
                      <a:pt x="148959" y="786804"/>
                    </a:lnTo>
                    <a:lnTo>
                      <a:pt x="184945" y="774814"/>
                    </a:lnTo>
                    <a:lnTo>
                      <a:pt x="210937" y="753823"/>
                    </a:lnTo>
                    <a:lnTo>
                      <a:pt x="211931" y="712836"/>
                    </a:lnTo>
                    <a:lnTo>
                      <a:pt x="198936" y="648863"/>
                    </a:lnTo>
                    <a:lnTo>
                      <a:pt x="198936" y="611871"/>
                    </a:lnTo>
                    <a:lnTo>
                      <a:pt x="217926" y="576873"/>
                    </a:lnTo>
                    <a:lnTo>
                      <a:pt x="239923" y="551887"/>
                    </a:lnTo>
                    <a:lnTo>
                      <a:pt x="249918" y="541897"/>
                    </a:lnTo>
                    <a:lnTo>
                      <a:pt x="250918" y="538897"/>
                    </a:lnTo>
                    <a:lnTo>
                      <a:pt x="278904" y="495904"/>
                    </a:lnTo>
                    <a:cubicBezTo>
                      <a:pt x="278904" y="495904"/>
                      <a:pt x="309891" y="447927"/>
                      <a:pt x="312885" y="445921"/>
                    </a:cubicBezTo>
                    <a:cubicBezTo>
                      <a:pt x="315886" y="443921"/>
                      <a:pt x="323881" y="422925"/>
                      <a:pt x="323881" y="422925"/>
                    </a:cubicBezTo>
                    <a:lnTo>
                      <a:pt x="323881" y="410929"/>
                    </a:lnTo>
                    <a:lnTo>
                      <a:pt x="299890" y="398939"/>
                    </a:lnTo>
                    <a:lnTo>
                      <a:pt x="247913" y="382937"/>
                    </a:lnTo>
                    <a:lnTo>
                      <a:pt x="207931" y="356941"/>
                    </a:lnTo>
                    <a:lnTo>
                      <a:pt x="182940" y="333944"/>
                    </a:lnTo>
                    <a:lnTo>
                      <a:pt x="182940" y="332685"/>
                    </a:lnTo>
                    <a:lnTo>
                      <a:pt x="188266" y="320285"/>
                    </a:lnTo>
                    <a:lnTo>
                      <a:pt x="208262" y="302272"/>
                    </a:lnTo>
                    <a:lnTo>
                      <a:pt x="239586" y="280281"/>
                    </a:lnTo>
                    <a:lnTo>
                      <a:pt x="277567" y="304946"/>
                    </a:lnTo>
                    <a:lnTo>
                      <a:pt x="296226" y="308278"/>
                    </a:lnTo>
                    <a:lnTo>
                      <a:pt x="313559" y="288282"/>
                    </a:lnTo>
                    <a:lnTo>
                      <a:pt x="312880" y="246283"/>
                    </a:lnTo>
                    <a:lnTo>
                      <a:pt x="281562" y="202953"/>
                    </a:lnTo>
                    <a:lnTo>
                      <a:pt x="277562" y="161623"/>
                    </a:lnTo>
                    <a:lnTo>
                      <a:pt x="268235" y="102297"/>
                    </a:lnTo>
                    <a:lnTo>
                      <a:pt x="254902" y="66973"/>
                    </a:lnTo>
                    <a:lnTo>
                      <a:pt x="227585" y="48320"/>
                    </a:lnTo>
                    <a:lnTo>
                      <a:pt x="216921" y="34318"/>
                    </a:lnTo>
                    <a:lnTo>
                      <a:pt x="217915" y="28986"/>
                    </a:lnTo>
                    <a:lnTo>
                      <a:pt x="227911" y="13990"/>
                    </a:lnTo>
                    <a:lnTo>
                      <a:pt x="236911" y="0"/>
                    </a:lnTo>
                    <a:lnTo>
                      <a:pt x="257908" y="12001"/>
                    </a:lnTo>
                    <a:lnTo>
                      <a:pt x="284894" y="29992"/>
                    </a:lnTo>
                    <a:lnTo>
                      <a:pt x="313880" y="41993"/>
                    </a:lnTo>
                    <a:lnTo>
                      <a:pt x="330870" y="45988"/>
                    </a:lnTo>
                    <a:lnTo>
                      <a:pt x="352861" y="76980"/>
                    </a:lnTo>
                    <a:lnTo>
                      <a:pt x="374852" y="102977"/>
                    </a:lnTo>
                    <a:lnTo>
                      <a:pt x="385848" y="118978"/>
                    </a:lnTo>
                    <a:lnTo>
                      <a:pt x="388848" y="128974"/>
                    </a:lnTo>
                    <a:lnTo>
                      <a:pt x="431830" y="130980"/>
                    </a:lnTo>
                    <a:lnTo>
                      <a:pt x="469817" y="135980"/>
                    </a:lnTo>
                    <a:cubicBezTo>
                      <a:pt x="469817" y="135980"/>
                      <a:pt x="471221" y="136390"/>
                      <a:pt x="473486" y="137070"/>
                    </a:cubicBezTo>
                    <a:cubicBezTo>
                      <a:pt x="482189" y="139683"/>
                      <a:pt x="503433" y="145964"/>
                      <a:pt x="505809" y="145964"/>
                    </a:cubicBezTo>
                    <a:cubicBezTo>
                      <a:pt x="508804" y="145964"/>
                      <a:pt x="533795" y="153976"/>
                      <a:pt x="533795" y="153976"/>
                    </a:cubicBezTo>
                    <a:lnTo>
                      <a:pt x="560787" y="183968"/>
                    </a:lnTo>
                    <a:lnTo>
                      <a:pt x="612758" y="232956"/>
                    </a:lnTo>
                    <a:lnTo>
                      <a:pt x="646750" y="249963"/>
                    </a:lnTo>
                    <a:lnTo>
                      <a:pt x="673742" y="251958"/>
                    </a:lnTo>
                    <a:lnTo>
                      <a:pt x="704734" y="241957"/>
                    </a:lnTo>
                    <a:lnTo>
                      <a:pt x="724719" y="265954"/>
                    </a:lnTo>
                    <a:lnTo>
                      <a:pt x="741721" y="271954"/>
                    </a:lnTo>
                    <a:lnTo>
                      <a:pt x="761385" y="271291"/>
                    </a:lnTo>
                    <a:lnTo>
                      <a:pt x="771701" y="270949"/>
                    </a:lnTo>
                    <a:lnTo>
                      <a:pt x="790692" y="289945"/>
                    </a:lnTo>
                    <a:lnTo>
                      <a:pt x="820678" y="306935"/>
                    </a:lnTo>
                    <a:lnTo>
                      <a:pt x="821684" y="332933"/>
                    </a:lnTo>
                    <a:lnTo>
                      <a:pt x="828679" y="370936"/>
                    </a:lnTo>
                    <a:lnTo>
                      <a:pt x="864660" y="406917"/>
                    </a:lnTo>
                    <a:lnTo>
                      <a:pt x="874655" y="442916"/>
                    </a:lnTo>
                    <a:lnTo>
                      <a:pt x="908642" y="490898"/>
                    </a:lnTo>
                    <a:lnTo>
                      <a:pt x="950624" y="537880"/>
                    </a:lnTo>
                    <a:lnTo>
                      <a:pt x="987610" y="556871"/>
                    </a:lnTo>
                    <a:lnTo>
                      <a:pt x="1019597" y="554882"/>
                    </a:lnTo>
                    <a:lnTo>
                      <a:pt x="1047594" y="548881"/>
                    </a:lnTo>
                    <a:lnTo>
                      <a:pt x="1051589" y="572872"/>
                    </a:lnTo>
                    <a:lnTo>
                      <a:pt x="1041593" y="596869"/>
                    </a:lnTo>
                    <a:lnTo>
                      <a:pt x="1035598" y="617866"/>
                    </a:lnTo>
                    <a:lnTo>
                      <a:pt x="1038593" y="637851"/>
                    </a:lnTo>
                    <a:lnTo>
                      <a:pt x="1074574" y="640862"/>
                    </a:lnTo>
                    <a:lnTo>
                      <a:pt x="1095571" y="647852"/>
                    </a:lnTo>
                    <a:lnTo>
                      <a:pt x="1096172" y="652970"/>
                    </a:lnTo>
                    <a:lnTo>
                      <a:pt x="1098577" y="672843"/>
                    </a:lnTo>
                    <a:lnTo>
                      <a:pt x="1108566" y="704841"/>
                    </a:lnTo>
                    <a:lnTo>
                      <a:pt x="1124360" y="729748"/>
                    </a:lnTo>
                    <a:lnTo>
                      <a:pt x="1122568" y="730832"/>
                    </a:lnTo>
                    <a:cubicBezTo>
                      <a:pt x="1119568" y="730832"/>
                      <a:pt x="1089581" y="737816"/>
                      <a:pt x="1089581" y="737816"/>
                    </a:cubicBezTo>
                    <a:lnTo>
                      <a:pt x="1051594" y="731821"/>
                    </a:lnTo>
                    <a:lnTo>
                      <a:pt x="1003612" y="737816"/>
                    </a:lnTo>
                    <a:lnTo>
                      <a:pt x="964631" y="738821"/>
                    </a:lnTo>
                    <a:lnTo>
                      <a:pt x="934644" y="750817"/>
                    </a:lnTo>
                    <a:lnTo>
                      <a:pt x="921649" y="776814"/>
                    </a:lnTo>
                    <a:lnTo>
                      <a:pt x="896663" y="773819"/>
                    </a:lnTo>
                    <a:lnTo>
                      <a:pt x="860682" y="766819"/>
                    </a:lnTo>
                    <a:lnTo>
                      <a:pt x="827690" y="754823"/>
                    </a:lnTo>
                    <a:lnTo>
                      <a:pt x="796704" y="752823"/>
                    </a:lnTo>
                    <a:lnTo>
                      <a:pt x="792462" y="752576"/>
                    </a:lnTo>
                    <a:lnTo>
                      <a:pt x="762217" y="765324"/>
                    </a:lnTo>
                    <a:lnTo>
                      <a:pt x="760722" y="768819"/>
                    </a:lnTo>
                    <a:lnTo>
                      <a:pt x="752722" y="775814"/>
                    </a:lnTo>
                    <a:lnTo>
                      <a:pt x="731731" y="792816"/>
                    </a:lnTo>
                    <a:lnTo>
                      <a:pt x="700739" y="811795"/>
                    </a:lnTo>
                    <a:lnTo>
                      <a:pt x="663752" y="827802"/>
                    </a:lnTo>
                    <a:lnTo>
                      <a:pt x="619770" y="835803"/>
                    </a:lnTo>
                    <a:lnTo>
                      <a:pt x="575788" y="841798"/>
                    </a:lnTo>
                    <a:lnTo>
                      <a:pt x="574170" y="843315"/>
                    </a:lnTo>
                    <a:lnTo>
                      <a:pt x="560798" y="827802"/>
                    </a:lnTo>
                    <a:lnTo>
                      <a:pt x="535807" y="780826"/>
                    </a:lnTo>
                    <a:lnTo>
                      <a:pt x="508815" y="765824"/>
                    </a:lnTo>
                    <a:lnTo>
                      <a:pt x="452838" y="756818"/>
                    </a:lnTo>
                    <a:lnTo>
                      <a:pt x="446843" y="731826"/>
                    </a:lnTo>
                    <a:lnTo>
                      <a:pt x="427846" y="696840"/>
                    </a:lnTo>
                    <a:lnTo>
                      <a:pt x="420846" y="671849"/>
                    </a:lnTo>
                    <a:lnTo>
                      <a:pt x="414851" y="628867"/>
                    </a:lnTo>
                    <a:lnTo>
                      <a:pt x="405855" y="604870"/>
                    </a:lnTo>
                    <a:lnTo>
                      <a:pt x="404855" y="602364"/>
                    </a:lnTo>
                    <a:lnTo>
                      <a:pt x="401855" y="591874"/>
                    </a:lnTo>
                    <a:lnTo>
                      <a:pt x="390860" y="578879"/>
                    </a:lnTo>
                    <a:lnTo>
                      <a:pt x="367368" y="561899"/>
                    </a:lnTo>
                    <a:lnTo>
                      <a:pt x="361868" y="562883"/>
                    </a:lnTo>
                    <a:lnTo>
                      <a:pt x="354867" y="571889"/>
                    </a:lnTo>
                    <a:lnTo>
                      <a:pt x="331882" y="604881"/>
                    </a:lnTo>
                    <a:lnTo>
                      <a:pt x="323881" y="642879"/>
                    </a:lnTo>
                    <a:lnTo>
                      <a:pt x="318886" y="751840"/>
                    </a:lnTo>
                    <a:lnTo>
                      <a:pt x="320881" y="876802"/>
                    </a:lnTo>
                    <a:lnTo>
                      <a:pt x="344872" y="925784"/>
                    </a:lnTo>
                    <a:lnTo>
                      <a:pt x="377858" y="990762"/>
                    </a:lnTo>
                    <a:lnTo>
                      <a:pt x="380859" y="994763"/>
                    </a:lnTo>
                    <a:lnTo>
                      <a:pt x="353154" y="1027637"/>
                    </a:lnTo>
                    <a:lnTo>
                      <a:pt x="333500" y="1049549"/>
                    </a:lnTo>
                    <a:lnTo>
                      <a:pt x="320403" y="1060028"/>
                    </a:lnTo>
                    <a:lnTo>
                      <a:pt x="317375" y="1065742"/>
                    </a:lnTo>
                    <a:lnTo>
                      <a:pt x="318375" y="1063742"/>
                    </a:lnTo>
                    <a:lnTo>
                      <a:pt x="297389" y="1065742"/>
                    </a:lnTo>
                    <a:lnTo>
                      <a:pt x="261397" y="1105729"/>
                    </a:lnTo>
                    <a:lnTo>
                      <a:pt x="227911" y="1116736"/>
                    </a:lnTo>
                    <a:lnTo>
                      <a:pt x="209920" y="1139221"/>
                    </a:lnTo>
                    <a:lnTo>
                      <a:pt x="181928" y="1148711"/>
                    </a:lnTo>
                    <a:lnTo>
                      <a:pt x="115955" y="1170202"/>
                    </a:lnTo>
                    <a:lnTo>
                      <a:pt x="64973" y="1181703"/>
                    </a:lnTo>
                    <a:lnTo>
                      <a:pt x="19996" y="1191198"/>
                    </a:lnTo>
                    <a:lnTo>
                      <a:pt x="5000" y="1169707"/>
                    </a:lnTo>
                    <a:lnTo>
                      <a:pt x="8995" y="1100729"/>
                    </a:lnTo>
                    <a:lnTo>
                      <a:pt x="3000" y="1065736"/>
                    </a:lnTo>
                    <a:lnTo>
                      <a:pt x="0" y="1044740"/>
                    </a:lnTo>
                    <a:lnTo>
                      <a:pt x="11001" y="1020754"/>
                    </a:lnTo>
                    <a:lnTo>
                      <a:pt x="11001" y="995758"/>
                    </a:lnTo>
                    <a:lnTo>
                      <a:pt x="10001" y="969761"/>
                    </a:lnTo>
                  </a:path>
                </a:pathLst>
              </a:custGeom>
              <a:solidFill>
                <a:srgbClr val="D2E6FE"/>
              </a:solidFill>
              <a:ln w="19050" cap="rnd">
                <a:solidFill>
                  <a:schemeClr val="lt1"/>
                </a:solidFill>
                <a:prstDash val="solid"/>
                <a:round/>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9" name="Freihandform: Form 178">
                <a:extLst>
                  <a:ext uri="{FF2B5EF4-FFF2-40B4-BE49-F238E27FC236}">
                    <a16:creationId xmlns:a16="http://schemas.microsoft.com/office/drawing/2014/main" id="{999EDA84-4A8A-C14C-DF6B-39810B279567}"/>
                  </a:ext>
                </a:extLst>
              </p:cNvPr>
              <p:cNvSpPr/>
              <p:nvPr/>
            </p:nvSpPr>
            <p:spPr>
              <a:xfrm>
                <a:off x="1384640" y="3524859"/>
                <a:ext cx="1993389" cy="3036993"/>
              </a:xfrm>
              <a:custGeom>
                <a:avLst/>
                <a:gdLst>
                  <a:gd name="connsiteX0" fmla="*/ 1462068 w 1991222"/>
                  <a:gd name="connsiteY0" fmla="*/ 370543 h 3037804"/>
                  <a:gd name="connsiteX1" fmla="*/ 1450078 w 1991222"/>
                  <a:gd name="connsiteY1" fmla="*/ 361221 h 3037804"/>
                  <a:gd name="connsiteX2" fmla="*/ 1430082 w 1991222"/>
                  <a:gd name="connsiteY2" fmla="*/ 350552 h 3037804"/>
                  <a:gd name="connsiteX3" fmla="*/ 1398090 w 1991222"/>
                  <a:gd name="connsiteY3" fmla="*/ 335899 h 3037804"/>
                  <a:gd name="connsiteX4" fmla="*/ 1350113 w 1991222"/>
                  <a:gd name="connsiteY4" fmla="*/ 327898 h 3037804"/>
                  <a:gd name="connsiteX5" fmla="*/ 1291461 w 1991222"/>
                  <a:gd name="connsiteY5" fmla="*/ 315902 h 3037804"/>
                  <a:gd name="connsiteX6" fmla="*/ 1240816 w 1991222"/>
                  <a:gd name="connsiteY6" fmla="*/ 301249 h 3037804"/>
                  <a:gd name="connsiteX7" fmla="*/ 1238158 w 1991222"/>
                  <a:gd name="connsiteY7" fmla="*/ 282573 h 3037804"/>
                  <a:gd name="connsiteX8" fmla="*/ 1231489 w 1991222"/>
                  <a:gd name="connsiteY8" fmla="*/ 266583 h 3037804"/>
                  <a:gd name="connsiteX9" fmla="*/ 1191496 w 1991222"/>
                  <a:gd name="connsiteY9" fmla="*/ 242586 h 3037804"/>
                  <a:gd name="connsiteX10" fmla="*/ 1182175 w 1991222"/>
                  <a:gd name="connsiteY10" fmla="*/ 226596 h 3037804"/>
                  <a:gd name="connsiteX11" fmla="*/ 1166185 w 1991222"/>
                  <a:gd name="connsiteY11" fmla="*/ 213274 h 3037804"/>
                  <a:gd name="connsiteX12" fmla="*/ 1142188 w 1991222"/>
                  <a:gd name="connsiteY12" fmla="*/ 195941 h 3037804"/>
                  <a:gd name="connsiteX13" fmla="*/ 1136856 w 1991222"/>
                  <a:gd name="connsiteY13" fmla="*/ 194598 h 3037804"/>
                  <a:gd name="connsiteX14" fmla="*/ 1092874 w 1991222"/>
                  <a:gd name="connsiteY14" fmla="*/ 190609 h 3037804"/>
                  <a:gd name="connsiteX15" fmla="*/ 1052224 w 1991222"/>
                  <a:gd name="connsiteY15" fmla="*/ 191278 h 3037804"/>
                  <a:gd name="connsiteX16" fmla="*/ 1012905 w 1991222"/>
                  <a:gd name="connsiteY16" fmla="*/ 205931 h 3037804"/>
                  <a:gd name="connsiteX17" fmla="*/ 962265 w 1991222"/>
                  <a:gd name="connsiteY17" fmla="*/ 230590 h 3037804"/>
                  <a:gd name="connsiteX18" fmla="*/ 958922 w 1991222"/>
                  <a:gd name="connsiteY18" fmla="*/ 229927 h 3037804"/>
                  <a:gd name="connsiteX19" fmla="*/ 933599 w 1991222"/>
                  <a:gd name="connsiteY19" fmla="*/ 227259 h 3037804"/>
                  <a:gd name="connsiteX20" fmla="*/ 888292 w 1991222"/>
                  <a:gd name="connsiteY20" fmla="*/ 231922 h 3037804"/>
                  <a:gd name="connsiteX21" fmla="*/ 883617 w 1991222"/>
                  <a:gd name="connsiteY21" fmla="*/ 228596 h 3037804"/>
                  <a:gd name="connsiteX22" fmla="*/ 866289 w 1991222"/>
                  <a:gd name="connsiteY22" fmla="*/ 218606 h 3037804"/>
                  <a:gd name="connsiteX23" fmla="*/ 840967 w 1991222"/>
                  <a:gd name="connsiteY23" fmla="*/ 209268 h 3037804"/>
                  <a:gd name="connsiteX24" fmla="*/ 806317 w 1991222"/>
                  <a:gd name="connsiteY24" fmla="*/ 202610 h 3037804"/>
                  <a:gd name="connsiteX25" fmla="*/ 788989 w 1991222"/>
                  <a:gd name="connsiteY25" fmla="*/ 161286 h 3037804"/>
                  <a:gd name="connsiteX26" fmla="*/ 767673 w 1991222"/>
                  <a:gd name="connsiteY26" fmla="*/ 131951 h 3037804"/>
                  <a:gd name="connsiteX27" fmla="*/ 717021 w 1991222"/>
                  <a:gd name="connsiteY27" fmla="*/ 102640 h 3037804"/>
                  <a:gd name="connsiteX28" fmla="*/ 677040 w 1991222"/>
                  <a:gd name="connsiteY28" fmla="*/ 97302 h 3037804"/>
                  <a:gd name="connsiteX29" fmla="*/ 609067 w 1991222"/>
                  <a:gd name="connsiteY29" fmla="*/ 73311 h 3037804"/>
                  <a:gd name="connsiteX30" fmla="*/ 499781 w 1991222"/>
                  <a:gd name="connsiteY30" fmla="*/ 38656 h 3037804"/>
                  <a:gd name="connsiteX31" fmla="*/ 435808 w 1991222"/>
                  <a:gd name="connsiteY31" fmla="*/ 14664 h 3037804"/>
                  <a:gd name="connsiteX32" fmla="*/ 378499 w 1991222"/>
                  <a:gd name="connsiteY32" fmla="*/ 6663 h 3037804"/>
                  <a:gd name="connsiteX33" fmla="*/ 325190 w 1991222"/>
                  <a:gd name="connsiteY33" fmla="*/ 0 h 3037804"/>
                  <a:gd name="connsiteX34" fmla="*/ 303868 w 1991222"/>
                  <a:gd name="connsiteY34" fmla="*/ 19985 h 3037804"/>
                  <a:gd name="connsiteX35" fmla="*/ 270538 w 1991222"/>
                  <a:gd name="connsiteY35" fmla="*/ 19985 h 3037804"/>
                  <a:gd name="connsiteX36" fmla="*/ 214566 w 1991222"/>
                  <a:gd name="connsiteY36" fmla="*/ 22654 h 3037804"/>
                  <a:gd name="connsiteX37" fmla="*/ 183912 w 1991222"/>
                  <a:gd name="connsiteY37" fmla="*/ 11996 h 3037804"/>
                  <a:gd name="connsiteX38" fmla="*/ 181271 w 1991222"/>
                  <a:gd name="connsiteY38" fmla="*/ 15996 h 3037804"/>
                  <a:gd name="connsiteX39" fmla="*/ 159943 w 1991222"/>
                  <a:gd name="connsiteY39" fmla="*/ 46656 h 3037804"/>
                  <a:gd name="connsiteX40" fmla="*/ 101297 w 1991222"/>
                  <a:gd name="connsiteY40" fmla="*/ 46656 h 3037804"/>
                  <a:gd name="connsiteX41" fmla="*/ 89301 w 1991222"/>
                  <a:gd name="connsiteY41" fmla="*/ 66636 h 3037804"/>
                  <a:gd name="connsiteX42" fmla="*/ 101297 w 1991222"/>
                  <a:gd name="connsiteY42" fmla="*/ 94633 h 3037804"/>
                  <a:gd name="connsiteX43" fmla="*/ 153279 w 1991222"/>
                  <a:gd name="connsiteY43" fmla="*/ 109292 h 3037804"/>
                  <a:gd name="connsiteX44" fmla="*/ 205251 w 1991222"/>
                  <a:gd name="connsiteY44" fmla="*/ 122619 h 3037804"/>
                  <a:gd name="connsiteX45" fmla="*/ 246570 w 1991222"/>
                  <a:gd name="connsiteY45" fmla="*/ 194592 h 3037804"/>
                  <a:gd name="connsiteX46" fmla="*/ 243901 w 1991222"/>
                  <a:gd name="connsiteY46" fmla="*/ 226585 h 3037804"/>
                  <a:gd name="connsiteX47" fmla="*/ 215915 w 1991222"/>
                  <a:gd name="connsiteY47" fmla="*/ 262571 h 3037804"/>
                  <a:gd name="connsiteX48" fmla="*/ 182603 w 1991222"/>
                  <a:gd name="connsiteY48" fmla="*/ 262571 h 3037804"/>
                  <a:gd name="connsiteX49" fmla="*/ 165275 w 1991222"/>
                  <a:gd name="connsiteY49" fmla="*/ 271909 h 3037804"/>
                  <a:gd name="connsiteX50" fmla="*/ 171939 w 1991222"/>
                  <a:gd name="connsiteY50" fmla="*/ 298564 h 3037804"/>
                  <a:gd name="connsiteX51" fmla="*/ 158606 w 1991222"/>
                  <a:gd name="connsiteY51" fmla="*/ 321223 h 3037804"/>
                  <a:gd name="connsiteX52" fmla="*/ 157274 w 1991222"/>
                  <a:gd name="connsiteY52" fmla="*/ 374532 h 3037804"/>
                  <a:gd name="connsiteX53" fmla="*/ 175939 w 1991222"/>
                  <a:gd name="connsiteY53" fmla="*/ 409198 h 3037804"/>
                  <a:gd name="connsiteX54" fmla="*/ 162606 w 1991222"/>
                  <a:gd name="connsiteY54" fmla="*/ 435858 h 3037804"/>
                  <a:gd name="connsiteX55" fmla="*/ 137278 w 1991222"/>
                  <a:gd name="connsiteY55" fmla="*/ 454512 h 3037804"/>
                  <a:gd name="connsiteX56" fmla="*/ 97296 w 1991222"/>
                  <a:gd name="connsiteY56" fmla="*/ 430515 h 3037804"/>
                  <a:gd name="connsiteX57" fmla="*/ 70642 w 1991222"/>
                  <a:gd name="connsiteY57" fmla="*/ 437190 h 3037804"/>
                  <a:gd name="connsiteX58" fmla="*/ 0 w 1991222"/>
                  <a:gd name="connsiteY58" fmla="*/ 470508 h 3037804"/>
                  <a:gd name="connsiteX59" fmla="*/ 19991 w 1991222"/>
                  <a:gd name="connsiteY59" fmla="*/ 495842 h 3037804"/>
                  <a:gd name="connsiteX60" fmla="*/ 50657 w 1991222"/>
                  <a:gd name="connsiteY60" fmla="*/ 503848 h 3037804"/>
                  <a:gd name="connsiteX61" fmla="*/ 94639 w 1991222"/>
                  <a:gd name="connsiteY61" fmla="*/ 502517 h 3037804"/>
                  <a:gd name="connsiteX62" fmla="*/ 135946 w 1991222"/>
                  <a:gd name="connsiteY62" fmla="*/ 494510 h 3037804"/>
                  <a:gd name="connsiteX63" fmla="*/ 170607 w 1991222"/>
                  <a:gd name="connsiteY63" fmla="*/ 549173 h 3037804"/>
                  <a:gd name="connsiteX64" fmla="*/ 190598 w 1991222"/>
                  <a:gd name="connsiteY64" fmla="*/ 554494 h 3037804"/>
                  <a:gd name="connsiteX65" fmla="*/ 245244 w 1991222"/>
                  <a:gd name="connsiteY65" fmla="*/ 553173 h 3037804"/>
                  <a:gd name="connsiteX66" fmla="*/ 278567 w 1991222"/>
                  <a:gd name="connsiteY66" fmla="*/ 575827 h 3037804"/>
                  <a:gd name="connsiteX67" fmla="*/ 278567 w 1991222"/>
                  <a:gd name="connsiteY67" fmla="*/ 611837 h 3037804"/>
                  <a:gd name="connsiteX68" fmla="*/ 278567 w 1991222"/>
                  <a:gd name="connsiteY68" fmla="*/ 713156 h 3037804"/>
                  <a:gd name="connsiteX69" fmla="*/ 287894 w 1991222"/>
                  <a:gd name="connsiteY69" fmla="*/ 778460 h 3037804"/>
                  <a:gd name="connsiteX70" fmla="*/ 326544 w 1991222"/>
                  <a:gd name="connsiteY70" fmla="*/ 829122 h 3037804"/>
                  <a:gd name="connsiteX71" fmla="*/ 329207 w 1991222"/>
                  <a:gd name="connsiteY71" fmla="*/ 871773 h 3037804"/>
                  <a:gd name="connsiteX72" fmla="*/ 345198 w 1991222"/>
                  <a:gd name="connsiteY72" fmla="*/ 883768 h 3037804"/>
                  <a:gd name="connsiteX73" fmla="*/ 391843 w 1991222"/>
                  <a:gd name="connsiteY73" fmla="*/ 890438 h 3037804"/>
                  <a:gd name="connsiteX74" fmla="*/ 394506 w 1991222"/>
                  <a:gd name="connsiteY74" fmla="*/ 929093 h 3037804"/>
                  <a:gd name="connsiteX75" fmla="*/ 375847 w 1991222"/>
                  <a:gd name="connsiteY75" fmla="*/ 963748 h 3037804"/>
                  <a:gd name="connsiteX76" fmla="*/ 390506 w 1991222"/>
                  <a:gd name="connsiteY76" fmla="*/ 1002404 h 3037804"/>
                  <a:gd name="connsiteX77" fmla="*/ 394506 w 1991222"/>
                  <a:gd name="connsiteY77" fmla="*/ 1055718 h 3037804"/>
                  <a:gd name="connsiteX78" fmla="*/ 407839 w 1991222"/>
                  <a:gd name="connsiteY78" fmla="*/ 1094379 h 3037804"/>
                  <a:gd name="connsiteX79" fmla="*/ 395843 w 1991222"/>
                  <a:gd name="connsiteY79" fmla="*/ 1119702 h 3037804"/>
                  <a:gd name="connsiteX80" fmla="*/ 370515 w 1991222"/>
                  <a:gd name="connsiteY80" fmla="*/ 1177017 h 3037804"/>
                  <a:gd name="connsiteX81" fmla="*/ 377184 w 1991222"/>
                  <a:gd name="connsiteY81" fmla="*/ 1226348 h 3037804"/>
                  <a:gd name="connsiteX82" fmla="*/ 417177 w 1991222"/>
                  <a:gd name="connsiteY82" fmla="*/ 1279645 h 3037804"/>
                  <a:gd name="connsiteX83" fmla="*/ 477143 w 1991222"/>
                  <a:gd name="connsiteY83" fmla="*/ 1330308 h 3037804"/>
                  <a:gd name="connsiteX84" fmla="*/ 482475 w 1991222"/>
                  <a:gd name="connsiteY84" fmla="*/ 1363631 h 3037804"/>
                  <a:gd name="connsiteX85" fmla="*/ 473149 w 1991222"/>
                  <a:gd name="connsiteY85" fmla="*/ 1392966 h 3037804"/>
                  <a:gd name="connsiteX86" fmla="*/ 465822 w 1991222"/>
                  <a:gd name="connsiteY86" fmla="*/ 1409636 h 3037804"/>
                  <a:gd name="connsiteX87" fmla="*/ 449157 w 1991222"/>
                  <a:gd name="connsiteY87" fmla="*/ 1447612 h 3037804"/>
                  <a:gd name="connsiteX88" fmla="*/ 454484 w 1991222"/>
                  <a:gd name="connsiteY88" fmla="*/ 1462276 h 3037804"/>
                  <a:gd name="connsiteX89" fmla="*/ 486470 w 1991222"/>
                  <a:gd name="connsiteY89" fmla="*/ 1490256 h 3037804"/>
                  <a:gd name="connsiteX90" fmla="*/ 514462 w 1991222"/>
                  <a:gd name="connsiteY90" fmla="*/ 1486261 h 3037804"/>
                  <a:gd name="connsiteX91" fmla="*/ 558438 w 1991222"/>
                  <a:gd name="connsiteY91" fmla="*/ 1468940 h 3037804"/>
                  <a:gd name="connsiteX92" fmla="*/ 607758 w 1991222"/>
                  <a:gd name="connsiteY92" fmla="*/ 1462270 h 3037804"/>
                  <a:gd name="connsiteX93" fmla="*/ 650408 w 1991222"/>
                  <a:gd name="connsiteY93" fmla="*/ 1474266 h 3037804"/>
                  <a:gd name="connsiteX94" fmla="*/ 685063 w 1991222"/>
                  <a:gd name="connsiteY94" fmla="*/ 1460939 h 3037804"/>
                  <a:gd name="connsiteX95" fmla="*/ 735703 w 1991222"/>
                  <a:gd name="connsiteY95" fmla="*/ 1430278 h 3037804"/>
                  <a:gd name="connsiteX96" fmla="*/ 798339 w 1991222"/>
                  <a:gd name="connsiteY96" fmla="*/ 1396960 h 3037804"/>
                  <a:gd name="connsiteX97" fmla="*/ 802350 w 1991222"/>
                  <a:gd name="connsiteY97" fmla="*/ 1396960 h 3037804"/>
                  <a:gd name="connsiteX98" fmla="*/ 799681 w 1991222"/>
                  <a:gd name="connsiteY98" fmla="*/ 1440948 h 3037804"/>
                  <a:gd name="connsiteX99" fmla="*/ 783685 w 1991222"/>
                  <a:gd name="connsiteY99" fmla="*/ 1496937 h 3037804"/>
                  <a:gd name="connsiteX100" fmla="*/ 761031 w 1991222"/>
                  <a:gd name="connsiteY100" fmla="*/ 1543576 h 3037804"/>
                  <a:gd name="connsiteX101" fmla="*/ 725050 w 1991222"/>
                  <a:gd name="connsiteY101" fmla="*/ 1570231 h 3037804"/>
                  <a:gd name="connsiteX102" fmla="*/ 707723 w 1991222"/>
                  <a:gd name="connsiteY102" fmla="*/ 1603560 h 3037804"/>
                  <a:gd name="connsiteX103" fmla="*/ 677068 w 1991222"/>
                  <a:gd name="connsiteY103" fmla="*/ 1620899 h 3037804"/>
                  <a:gd name="connsiteX104" fmla="*/ 633080 w 1991222"/>
                  <a:gd name="connsiteY104" fmla="*/ 1663538 h 3037804"/>
                  <a:gd name="connsiteX105" fmla="*/ 629086 w 1991222"/>
                  <a:gd name="connsiteY105" fmla="*/ 1702199 h 3037804"/>
                  <a:gd name="connsiteX106" fmla="*/ 614427 w 1991222"/>
                  <a:gd name="connsiteY106" fmla="*/ 1727522 h 3037804"/>
                  <a:gd name="connsiteX107" fmla="*/ 617096 w 1991222"/>
                  <a:gd name="connsiteY107" fmla="*/ 1767509 h 3037804"/>
                  <a:gd name="connsiteX108" fmla="*/ 599768 w 1991222"/>
                  <a:gd name="connsiteY108" fmla="*/ 1814188 h 3037804"/>
                  <a:gd name="connsiteX109" fmla="*/ 559781 w 1991222"/>
                  <a:gd name="connsiteY109" fmla="*/ 1838185 h 3037804"/>
                  <a:gd name="connsiteX110" fmla="*/ 522463 w 1991222"/>
                  <a:gd name="connsiteY110" fmla="*/ 1866165 h 3037804"/>
                  <a:gd name="connsiteX111" fmla="*/ 509135 w 1991222"/>
                  <a:gd name="connsiteY111" fmla="*/ 1895482 h 3037804"/>
                  <a:gd name="connsiteX112" fmla="*/ 443831 w 1991222"/>
                  <a:gd name="connsiteY112" fmla="*/ 1922159 h 3037804"/>
                  <a:gd name="connsiteX113" fmla="*/ 391848 w 1991222"/>
                  <a:gd name="connsiteY113" fmla="*/ 1927474 h 3037804"/>
                  <a:gd name="connsiteX114" fmla="*/ 365194 w 1991222"/>
                  <a:gd name="connsiteY114" fmla="*/ 1954134 h 3037804"/>
                  <a:gd name="connsiteX115" fmla="*/ 322538 w 1991222"/>
                  <a:gd name="connsiteY115" fmla="*/ 1978137 h 3037804"/>
                  <a:gd name="connsiteX116" fmla="*/ 297221 w 1991222"/>
                  <a:gd name="connsiteY116" fmla="*/ 1966130 h 3037804"/>
                  <a:gd name="connsiteX117" fmla="*/ 270566 w 1991222"/>
                  <a:gd name="connsiteY117" fmla="*/ 1943470 h 3037804"/>
                  <a:gd name="connsiteX118" fmla="*/ 245249 w 1991222"/>
                  <a:gd name="connsiteY118" fmla="*/ 1954129 h 3037804"/>
                  <a:gd name="connsiteX119" fmla="*/ 238580 w 1991222"/>
                  <a:gd name="connsiteY119" fmla="*/ 1972799 h 3037804"/>
                  <a:gd name="connsiteX120" fmla="*/ 265240 w 1991222"/>
                  <a:gd name="connsiteY120" fmla="*/ 2007437 h 3037804"/>
                  <a:gd name="connsiteX121" fmla="*/ 283899 w 1991222"/>
                  <a:gd name="connsiteY121" fmla="*/ 2064769 h 3037804"/>
                  <a:gd name="connsiteX122" fmla="*/ 291889 w 1991222"/>
                  <a:gd name="connsiteY122" fmla="*/ 2111420 h 3037804"/>
                  <a:gd name="connsiteX123" fmla="*/ 329213 w 1991222"/>
                  <a:gd name="connsiteY123" fmla="*/ 2150075 h 3037804"/>
                  <a:gd name="connsiteX124" fmla="*/ 363857 w 1991222"/>
                  <a:gd name="connsiteY124" fmla="*/ 2195361 h 3037804"/>
                  <a:gd name="connsiteX125" fmla="*/ 354536 w 1991222"/>
                  <a:gd name="connsiteY125" fmla="*/ 2240702 h 3037804"/>
                  <a:gd name="connsiteX126" fmla="*/ 350535 w 1991222"/>
                  <a:gd name="connsiteY126" fmla="*/ 2300652 h 3037804"/>
                  <a:gd name="connsiteX127" fmla="*/ 383848 w 1991222"/>
                  <a:gd name="connsiteY127" fmla="*/ 2334027 h 3037804"/>
                  <a:gd name="connsiteX128" fmla="*/ 382522 w 1991222"/>
                  <a:gd name="connsiteY128" fmla="*/ 2368693 h 3037804"/>
                  <a:gd name="connsiteX129" fmla="*/ 371852 w 1991222"/>
                  <a:gd name="connsiteY129" fmla="*/ 2395325 h 3037804"/>
                  <a:gd name="connsiteX130" fmla="*/ 379853 w 1991222"/>
                  <a:gd name="connsiteY130" fmla="*/ 2446004 h 3037804"/>
                  <a:gd name="connsiteX131" fmla="*/ 427829 w 1991222"/>
                  <a:gd name="connsiteY131" fmla="*/ 2495279 h 3037804"/>
                  <a:gd name="connsiteX132" fmla="*/ 459821 w 1991222"/>
                  <a:gd name="connsiteY132" fmla="*/ 2539272 h 3037804"/>
                  <a:gd name="connsiteX133" fmla="*/ 494477 w 1991222"/>
                  <a:gd name="connsiteY133" fmla="*/ 2603267 h 3037804"/>
                  <a:gd name="connsiteX134" fmla="*/ 487807 w 1991222"/>
                  <a:gd name="connsiteY134" fmla="*/ 2635237 h 3037804"/>
                  <a:gd name="connsiteX135" fmla="*/ 502472 w 1991222"/>
                  <a:gd name="connsiteY135" fmla="*/ 2695242 h 3037804"/>
                  <a:gd name="connsiteX136" fmla="*/ 506472 w 1991222"/>
                  <a:gd name="connsiteY136" fmla="*/ 2763227 h 3037804"/>
                  <a:gd name="connsiteX137" fmla="*/ 519794 w 1991222"/>
                  <a:gd name="connsiteY137" fmla="*/ 2807220 h 3037804"/>
                  <a:gd name="connsiteX138" fmla="*/ 541122 w 1991222"/>
                  <a:gd name="connsiteY138" fmla="*/ 2817839 h 3037804"/>
                  <a:gd name="connsiteX139" fmla="*/ 557112 w 1991222"/>
                  <a:gd name="connsiteY139" fmla="*/ 2845876 h 3037804"/>
                  <a:gd name="connsiteX140" fmla="*/ 619753 w 1991222"/>
                  <a:gd name="connsiteY140" fmla="*/ 2827166 h 3037804"/>
                  <a:gd name="connsiteX141" fmla="*/ 669067 w 1991222"/>
                  <a:gd name="connsiteY141" fmla="*/ 2836493 h 3037804"/>
                  <a:gd name="connsiteX142" fmla="*/ 710380 w 1991222"/>
                  <a:gd name="connsiteY142" fmla="*/ 2833852 h 3037804"/>
                  <a:gd name="connsiteX143" fmla="*/ 726376 w 1991222"/>
                  <a:gd name="connsiteY143" fmla="*/ 2824525 h 3037804"/>
                  <a:gd name="connsiteX144" fmla="*/ 733046 w 1991222"/>
                  <a:gd name="connsiteY144" fmla="*/ 2829863 h 3037804"/>
                  <a:gd name="connsiteX145" fmla="*/ 774364 w 1991222"/>
                  <a:gd name="connsiteY145" fmla="*/ 2849865 h 3037804"/>
                  <a:gd name="connsiteX146" fmla="*/ 783697 w 1991222"/>
                  <a:gd name="connsiteY146" fmla="*/ 2871159 h 3037804"/>
                  <a:gd name="connsiteX147" fmla="*/ 826341 w 1991222"/>
                  <a:gd name="connsiteY147" fmla="*/ 2903185 h 3037804"/>
                  <a:gd name="connsiteX148" fmla="*/ 865003 w 1991222"/>
                  <a:gd name="connsiteY148" fmla="*/ 2912512 h 3037804"/>
                  <a:gd name="connsiteX149" fmla="*/ 887657 w 1991222"/>
                  <a:gd name="connsiteY149" fmla="*/ 2931165 h 3037804"/>
                  <a:gd name="connsiteX150" fmla="*/ 920980 w 1991222"/>
                  <a:gd name="connsiteY150" fmla="*/ 2965832 h 3037804"/>
                  <a:gd name="connsiteX151" fmla="*/ 971626 w 1991222"/>
                  <a:gd name="connsiteY151" fmla="*/ 2971169 h 3037804"/>
                  <a:gd name="connsiteX152" fmla="*/ 994280 w 1991222"/>
                  <a:gd name="connsiteY152" fmla="*/ 2988474 h 3037804"/>
                  <a:gd name="connsiteX153" fmla="*/ 1051594 w 1991222"/>
                  <a:gd name="connsiteY153" fmla="*/ 3029827 h 3037804"/>
                  <a:gd name="connsiteX154" fmla="*/ 1119568 w 1991222"/>
                  <a:gd name="connsiteY154" fmla="*/ 3037805 h 3037804"/>
                  <a:gd name="connsiteX155" fmla="*/ 1152891 w 1991222"/>
                  <a:gd name="connsiteY155" fmla="*/ 3016455 h 3037804"/>
                  <a:gd name="connsiteX156" fmla="*/ 1194210 w 1991222"/>
                  <a:gd name="connsiteY156" fmla="*/ 2995160 h 3037804"/>
                  <a:gd name="connsiteX157" fmla="*/ 1244861 w 1991222"/>
                  <a:gd name="connsiteY157" fmla="*/ 2988474 h 3037804"/>
                  <a:gd name="connsiteX158" fmla="*/ 1300839 w 1991222"/>
                  <a:gd name="connsiteY158" fmla="*/ 2983136 h 3037804"/>
                  <a:gd name="connsiteX159" fmla="*/ 1336820 w 1991222"/>
                  <a:gd name="connsiteY159" fmla="*/ 2949819 h 3037804"/>
                  <a:gd name="connsiteX160" fmla="*/ 1374132 w 1991222"/>
                  <a:gd name="connsiteY160" fmla="*/ 2936447 h 3037804"/>
                  <a:gd name="connsiteX161" fmla="*/ 1382133 w 1991222"/>
                  <a:gd name="connsiteY161" fmla="*/ 2889812 h 3037804"/>
                  <a:gd name="connsiteX162" fmla="*/ 1411462 w 1991222"/>
                  <a:gd name="connsiteY162" fmla="*/ 2883183 h 3037804"/>
                  <a:gd name="connsiteX163" fmla="*/ 1458107 w 1991222"/>
                  <a:gd name="connsiteY163" fmla="*/ 2885824 h 3037804"/>
                  <a:gd name="connsiteX164" fmla="*/ 1499426 w 1991222"/>
                  <a:gd name="connsiteY164" fmla="*/ 2893858 h 3037804"/>
                  <a:gd name="connsiteX165" fmla="*/ 1550066 w 1991222"/>
                  <a:gd name="connsiteY165" fmla="*/ 2904477 h 3037804"/>
                  <a:gd name="connsiteX166" fmla="*/ 1560735 w 1991222"/>
                  <a:gd name="connsiteY166" fmla="*/ 2849865 h 3037804"/>
                  <a:gd name="connsiteX167" fmla="*/ 1591385 w 1991222"/>
                  <a:gd name="connsiteY167" fmla="*/ 2864529 h 3037804"/>
                  <a:gd name="connsiteX168" fmla="*/ 1602043 w 1991222"/>
                  <a:gd name="connsiteY168" fmla="*/ 2856495 h 3037804"/>
                  <a:gd name="connsiteX169" fmla="*/ 1628709 w 1991222"/>
                  <a:gd name="connsiteY169" fmla="*/ 2836493 h 3037804"/>
                  <a:gd name="connsiteX170" fmla="*/ 1674011 w 1991222"/>
                  <a:gd name="connsiteY170" fmla="*/ 2853854 h 3037804"/>
                  <a:gd name="connsiteX171" fmla="*/ 1740658 w 1991222"/>
                  <a:gd name="connsiteY171" fmla="*/ 2855147 h 3037804"/>
                  <a:gd name="connsiteX172" fmla="*/ 1757980 w 1991222"/>
                  <a:gd name="connsiteY172" fmla="*/ 2839189 h 3037804"/>
                  <a:gd name="connsiteX173" fmla="*/ 1773970 w 1991222"/>
                  <a:gd name="connsiteY173" fmla="*/ 2843179 h 3037804"/>
                  <a:gd name="connsiteX174" fmla="*/ 1813957 w 1991222"/>
                  <a:gd name="connsiteY174" fmla="*/ 2879137 h 3037804"/>
                  <a:gd name="connsiteX175" fmla="*/ 1851276 w 1991222"/>
                  <a:gd name="connsiteY175" fmla="*/ 2880486 h 3037804"/>
                  <a:gd name="connsiteX176" fmla="*/ 1892595 w 1991222"/>
                  <a:gd name="connsiteY176" fmla="*/ 2893801 h 3037804"/>
                  <a:gd name="connsiteX177" fmla="*/ 1936577 w 1991222"/>
                  <a:gd name="connsiteY177" fmla="*/ 2901836 h 3037804"/>
                  <a:gd name="connsiteX178" fmla="*/ 1988042 w 1991222"/>
                  <a:gd name="connsiteY178" fmla="*/ 2895375 h 3037804"/>
                  <a:gd name="connsiteX179" fmla="*/ 1990222 w 1991222"/>
                  <a:gd name="connsiteY179" fmla="*/ 2895151 h 3037804"/>
                  <a:gd name="connsiteX180" fmla="*/ 1991223 w 1991222"/>
                  <a:gd name="connsiteY180" fmla="*/ 2855147 h 3037804"/>
                  <a:gd name="connsiteX181" fmla="*/ 1966231 w 1991222"/>
                  <a:gd name="connsiteY181" fmla="*/ 2836156 h 3037804"/>
                  <a:gd name="connsiteX182" fmla="*/ 1953235 w 1991222"/>
                  <a:gd name="connsiteY182" fmla="*/ 2801152 h 3037804"/>
                  <a:gd name="connsiteX183" fmla="*/ 1931233 w 1991222"/>
                  <a:gd name="connsiteY183" fmla="*/ 2789184 h 3037804"/>
                  <a:gd name="connsiteX184" fmla="*/ 1890257 w 1991222"/>
                  <a:gd name="connsiteY184" fmla="*/ 2771149 h 3037804"/>
                  <a:gd name="connsiteX185" fmla="*/ 1872267 w 1991222"/>
                  <a:gd name="connsiteY185" fmla="*/ 2730190 h 3037804"/>
                  <a:gd name="connsiteX186" fmla="*/ 1852270 w 1991222"/>
                  <a:gd name="connsiteY186" fmla="*/ 2709176 h 3037804"/>
                  <a:gd name="connsiteX187" fmla="*/ 1837275 w 1991222"/>
                  <a:gd name="connsiteY187" fmla="*/ 2688219 h 3037804"/>
                  <a:gd name="connsiteX188" fmla="*/ 1821284 w 1991222"/>
                  <a:gd name="connsiteY188" fmla="*/ 2636191 h 3037804"/>
                  <a:gd name="connsiteX189" fmla="*/ 1794293 w 1991222"/>
                  <a:gd name="connsiteY189" fmla="*/ 2586243 h 3037804"/>
                  <a:gd name="connsiteX190" fmla="*/ 1767301 w 1991222"/>
                  <a:gd name="connsiteY190" fmla="*/ 2559218 h 3037804"/>
                  <a:gd name="connsiteX191" fmla="*/ 1727325 w 1991222"/>
                  <a:gd name="connsiteY191" fmla="*/ 2527248 h 3037804"/>
                  <a:gd name="connsiteX192" fmla="*/ 1693339 w 1991222"/>
                  <a:gd name="connsiteY192" fmla="*/ 2501290 h 3037804"/>
                  <a:gd name="connsiteX193" fmla="*/ 1663347 w 1991222"/>
                  <a:gd name="connsiteY193" fmla="*/ 2459264 h 3037804"/>
                  <a:gd name="connsiteX194" fmla="*/ 1644356 w 1991222"/>
                  <a:gd name="connsiteY194" fmla="*/ 2420271 h 3037804"/>
                  <a:gd name="connsiteX195" fmla="*/ 1613370 w 1991222"/>
                  <a:gd name="connsiteY195" fmla="*/ 2389313 h 3037804"/>
                  <a:gd name="connsiteX196" fmla="*/ 1597374 w 1991222"/>
                  <a:gd name="connsiteY196" fmla="*/ 2368300 h 3037804"/>
                  <a:gd name="connsiteX197" fmla="*/ 1591373 w 1991222"/>
                  <a:gd name="connsiteY197" fmla="*/ 2343297 h 3037804"/>
                  <a:gd name="connsiteX198" fmla="*/ 1592373 w 1991222"/>
                  <a:gd name="connsiteY198" fmla="*/ 2347286 h 3037804"/>
                  <a:gd name="connsiteX199" fmla="*/ 1578378 w 1991222"/>
                  <a:gd name="connsiteY199" fmla="*/ 2329307 h 3037804"/>
                  <a:gd name="connsiteX200" fmla="*/ 1566382 w 1991222"/>
                  <a:gd name="connsiteY200" fmla="*/ 2299304 h 3037804"/>
                  <a:gd name="connsiteX201" fmla="*/ 1553386 w 1991222"/>
                  <a:gd name="connsiteY201" fmla="*/ 2265311 h 3037804"/>
                  <a:gd name="connsiteX202" fmla="*/ 1520400 w 1991222"/>
                  <a:gd name="connsiteY202" fmla="*/ 2252333 h 3037804"/>
                  <a:gd name="connsiteX203" fmla="*/ 1477418 w 1991222"/>
                  <a:gd name="connsiteY203" fmla="*/ 2248344 h 3037804"/>
                  <a:gd name="connsiteX204" fmla="*/ 1450427 w 1991222"/>
                  <a:gd name="connsiteY204" fmla="*/ 2266323 h 3037804"/>
                  <a:gd name="connsiteX205" fmla="*/ 1435431 w 1991222"/>
                  <a:gd name="connsiteY205" fmla="*/ 2260311 h 3037804"/>
                  <a:gd name="connsiteX206" fmla="*/ 1407445 w 1991222"/>
                  <a:gd name="connsiteY206" fmla="*/ 2221375 h 3037804"/>
                  <a:gd name="connsiteX207" fmla="*/ 1390454 w 1991222"/>
                  <a:gd name="connsiteY207" fmla="*/ 2171370 h 3037804"/>
                  <a:gd name="connsiteX208" fmla="*/ 1380459 w 1991222"/>
                  <a:gd name="connsiteY208" fmla="*/ 2178337 h 3037804"/>
                  <a:gd name="connsiteX209" fmla="*/ 1347472 w 1991222"/>
                  <a:gd name="connsiteY209" fmla="*/ 2199350 h 3037804"/>
                  <a:gd name="connsiteX210" fmla="*/ 1321481 w 1991222"/>
                  <a:gd name="connsiteY210" fmla="*/ 2190360 h 3037804"/>
                  <a:gd name="connsiteX211" fmla="*/ 1300496 w 1991222"/>
                  <a:gd name="connsiteY211" fmla="*/ 2178337 h 3037804"/>
                  <a:gd name="connsiteX212" fmla="*/ 1308485 w 1991222"/>
                  <a:gd name="connsiteY212" fmla="*/ 2168336 h 3037804"/>
                  <a:gd name="connsiteX213" fmla="*/ 1336477 w 1991222"/>
                  <a:gd name="connsiteY213" fmla="*/ 2150356 h 3037804"/>
                  <a:gd name="connsiteX214" fmla="*/ 1342472 w 1991222"/>
                  <a:gd name="connsiteY214" fmla="*/ 2124342 h 3037804"/>
                  <a:gd name="connsiteX215" fmla="*/ 1339472 w 1991222"/>
                  <a:gd name="connsiteY215" fmla="*/ 2105352 h 3037804"/>
                  <a:gd name="connsiteX216" fmla="*/ 1351462 w 1991222"/>
                  <a:gd name="connsiteY216" fmla="*/ 2088384 h 3037804"/>
                  <a:gd name="connsiteX217" fmla="*/ 1350462 w 1991222"/>
                  <a:gd name="connsiteY217" fmla="*/ 2042390 h 3037804"/>
                  <a:gd name="connsiteX218" fmla="*/ 1320475 w 1991222"/>
                  <a:gd name="connsiteY218" fmla="*/ 2002409 h 3037804"/>
                  <a:gd name="connsiteX219" fmla="*/ 1337471 w 1991222"/>
                  <a:gd name="connsiteY219" fmla="*/ 1975412 h 3037804"/>
                  <a:gd name="connsiteX220" fmla="*/ 1334471 w 1991222"/>
                  <a:gd name="connsiteY220" fmla="*/ 1915434 h 3037804"/>
                  <a:gd name="connsiteX221" fmla="*/ 1326476 w 1991222"/>
                  <a:gd name="connsiteY221" fmla="*/ 1858451 h 3037804"/>
                  <a:gd name="connsiteX222" fmla="*/ 1315480 w 1991222"/>
                  <a:gd name="connsiteY222" fmla="*/ 1813457 h 3037804"/>
                  <a:gd name="connsiteX223" fmla="*/ 1325476 w 1991222"/>
                  <a:gd name="connsiteY223" fmla="*/ 1778471 h 3037804"/>
                  <a:gd name="connsiteX224" fmla="*/ 1313480 w 1991222"/>
                  <a:gd name="connsiteY224" fmla="*/ 1741473 h 3037804"/>
                  <a:gd name="connsiteX225" fmla="*/ 1339472 w 1991222"/>
                  <a:gd name="connsiteY225" fmla="*/ 1699480 h 3037804"/>
                  <a:gd name="connsiteX226" fmla="*/ 1307480 w 1991222"/>
                  <a:gd name="connsiteY226" fmla="*/ 1659504 h 3037804"/>
                  <a:gd name="connsiteX227" fmla="*/ 1300490 w 1991222"/>
                  <a:gd name="connsiteY227" fmla="*/ 1616516 h 3037804"/>
                  <a:gd name="connsiteX228" fmla="*/ 1283494 w 1991222"/>
                  <a:gd name="connsiteY228" fmla="*/ 1578529 h 3037804"/>
                  <a:gd name="connsiteX229" fmla="*/ 1270498 w 1991222"/>
                  <a:gd name="connsiteY229" fmla="*/ 1537531 h 3037804"/>
                  <a:gd name="connsiteX230" fmla="*/ 1268504 w 1991222"/>
                  <a:gd name="connsiteY230" fmla="*/ 1534036 h 3037804"/>
                  <a:gd name="connsiteX231" fmla="*/ 1253508 w 1991222"/>
                  <a:gd name="connsiteY231" fmla="*/ 1512545 h 3037804"/>
                  <a:gd name="connsiteX232" fmla="*/ 1257503 w 1991222"/>
                  <a:gd name="connsiteY232" fmla="*/ 1443566 h 3037804"/>
                  <a:gd name="connsiteX233" fmla="*/ 1251508 w 1991222"/>
                  <a:gd name="connsiteY233" fmla="*/ 1408574 h 3037804"/>
                  <a:gd name="connsiteX234" fmla="*/ 1248507 w 1991222"/>
                  <a:gd name="connsiteY234" fmla="*/ 1387578 h 3037804"/>
                  <a:gd name="connsiteX235" fmla="*/ 1259509 w 1991222"/>
                  <a:gd name="connsiteY235" fmla="*/ 1363592 h 3037804"/>
                  <a:gd name="connsiteX236" fmla="*/ 1259509 w 1991222"/>
                  <a:gd name="connsiteY236" fmla="*/ 1338595 h 3037804"/>
                  <a:gd name="connsiteX237" fmla="*/ 1258508 w 1991222"/>
                  <a:gd name="connsiteY237" fmla="*/ 1312598 h 3037804"/>
                  <a:gd name="connsiteX238" fmla="*/ 1257508 w 1991222"/>
                  <a:gd name="connsiteY238" fmla="*/ 1306603 h 3037804"/>
                  <a:gd name="connsiteX239" fmla="*/ 1287495 w 1991222"/>
                  <a:gd name="connsiteY239" fmla="*/ 1258626 h 3037804"/>
                  <a:gd name="connsiteX240" fmla="*/ 1317481 w 1991222"/>
                  <a:gd name="connsiteY240" fmla="*/ 1226640 h 3037804"/>
                  <a:gd name="connsiteX241" fmla="*/ 1377459 w 1991222"/>
                  <a:gd name="connsiteY241" fmla="*/ 1227640 h 3037804"/>
                  <a:gd name="connsiteX242" fmla="*/ 1399450 w 1991222"/>
                  <a:gd name="connsiteY242" fmla="*/ 1219639 h 3037804"/>
                  <a:gd name="connsiteX243" fmla="*/ 1403450 w 1991222"/>
                  <a:gd name="connsiteY243" fmla="*/ 1200643 h 3037804"/>
                  <a:gd name="connsiteX244" fmla="*/ 1384459 w 1991222"/>
                  <a:gd name="connsiteY244" fmla="*/ 1156655 h 3037804"/>
                  <a:gd name="connsiteX245" fmla="*/ 1397449 w 1991222"/>
                  <a:gd name="connsiteY245" fmla="*/ 1129653 h 3037804"/>
                  <a:gd name="connsiteX246" fmla="*/ 1433436 w 1991222"/>
                  <a:gd name="connsiteY246" fmla="*/ 1117663 h 3037804"/>
                  <a:gd name="connsiteX247" fmla="*/ 1459428 w 1991222"/>
                  <a:gd name="connsiteY247" fmla="*/ 1096672 h 3037804"/>
                  <a:gd name="connsiteX248" fmla="*/ 1460422 w 1991222"/>
                  <a:gd name="connsiteY248" fmla="*/ 1055685 h 3037804"/>
                  <a:gd name="connsiteX249" fmla="*/ 1447426 w 1991222"/>
                  <a:gd name="connsiteY249" fmla="*/ 991712 h 3037804"/>
                  <a:gd name="connsiteX250" fmla="*/ 1447426 w 1991222"/>
                  <a:gd name="connsiteY250" fmla="*/ 954719 h 3037804"/>
                  <a:gd name="connsiteX251" fmla="*/ 1466417 w 1991222"/>
                  <a:gd name="connsiteY251" fmla="*/ 919721 h 3037804"/>
                  <a:gd name="connsiteX252" fmla="*/ 1488414 w 1991222"/>
                  <a:gd name="connsiteY252" fmla="*/ 894736 h 3037804"/>
                  <a:gd name="connsiteX253" fmla="*/ 1498409 w 1991222"/>
                  <a:gd name="connsiteY253" fmla="*/ 884746 h 3037804"/>
                  <a:gd name="connsiteX254" fmla="*/ 1499409 w 1991222"/>
                  <a:gd name="connsiteY254" fmla="*/ 881746 h 3037804"/>
                  <a:gd name="connsiteX255" fmla="*/ 1527395 w 1991222"/>
                  <a:gd name="connsiteY255" fmla="*/ 838753 h 3037804"/>
                  <a:gd name="connsiteX256" fmla="*/ 1561376 w 1991222"/>
                  <a:gd name="connsiteY256" fmla="*/ 788770 h 3037804"/>
                  <a:gd name="connsiteX257" fmla="*/ 1572371 w 1991222"/>
                  <a:gd name="connsiteY257" fmla="*/ 765774 h 3037804"/>
                  <a:gd name="connsiteX258" fmla="*/ 1572371 w 1991222"/>
                  <a:gd name="connsiteY258" fmla="*/ 753778 h 3037804"/>
                  <a:gd name="connsiteX259" fmla="*/ 1548380 w 1991222"/>
                  <a:gd name="connsiteY259" fmla="*/ 741788 h 3037804"/>
                  <a:gd name="connsiteX260" fmla="*/ 1496403 w 1991222"/>
                  <a:gd name="connsiteY260" fmla="*/ 725786 h 3037804"/>
                  <a:gd name="connsiteX261" fmla="*/ 1456422 w 1991222"/>
                  <a:gd name="connsiteY261" fmla="*/ 699789 h 3037804"/>
                  <a:gd name="connsiteX262" fmla="*/ 1431430 w 1991222"/>
                  <a:gd name="connsiteY262" fmla="*/ 676793 h 3037804"/>
                  <a:gd name="connsiteX263" fmla="*/ 1431430 w 1991222"/>
                  <a:gd name="connsiteY263" fmla="*/ 675534 h 3037804"/>
                  <a:gd name="connsiteX264" fmla="*/ 1436757 w 1991222"/>
                  <a:gd name="connsiteY264" fmla="*/ 663134 h 3037804"/>
                  <a:gd name="connsiteX265" fmla="*/ 1456753 w 1991222"/>
                  <a:gd name="connsiteY265" fmla="*/ 645121 h 3037804"/>
                  <a:gd name="connsiteX266" fmla="*/ 1488077 w 1991222"/>
                  <a:gd name="connsiteY266" fmla="*/ 623130 h 3037804"/>
                  <a:gd name="connsiteX267" fmla="*/ 1526058 w 1991222"/>
                  <a:gd name="connsiteY267" fmla="*/ 647795 h 3037804"/>
                  <a:gd name="connsiteX268" fmla="*/ 1544717 w 1991222"/>
                  <a:gd name="connsiteY268" fmla="*/ 651127 h 3037804"/>
                  <a:gd name="connsiteX269" fmla="*/ 1562050 w 1991222"/>
                  <a:gd name="connsiteY269" fmla="*/ 631131 h 3037804"/>
                  <a:gd name="connsiteX270" fmla="*/ 1561370 w 1991222"/>
                  <a:gd name="connsiteY270" fmla="*/ 589132 h 3037804"/>
                  <a:gd name="connsiteX271" fmla="*/ 1530053 w 1991222"/>
                  <a:gd name="connsiteY271" fmla="*/ 545802 h 3037804"/>
                  <a:gd name="connsiteX272" fmla="*/ 1526052 w 1991222"/>
                  <a:gd name="connsiteY272" fmla="*/ 504472 h 3037804"/>
                  <a:gd name="connsiteX273" fmla="*/ 1516725 w 1991222"/>
                  <a:gd name="connsiteY273" fmla="*/ 445146 h 3037804"/>
                  <a:gd name="connsiteX274" fmla="*/ 1503393 w 1991222"/>
                  <a:gd name="connsiteY274" fmla="*/ 409822 h 3037804"/>
                  <a:gd name="connsiteX275" fmla="*/ 1476075 w 1991222"/>
                  <a:gd name="connsiteY275" fmla="*/ 391168 h 3037804"/>
                  <a:gd name="connsiteX276" fmla="*/ 1465411 w 1991222"/>
                  <a:gd name="connsiteY276" fmla="*/ 377167 h 303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Lst>
                <a:rect l="l" t="t" r="r" b="b"/>
                <a:pathLst>
                  <a:path w="1991222" h="3037804">
                    <a:moveTo>
                      <a:pt x="1462068" y="370543"/>
                    </a:moveTo>
                    <a:lnTo>
                      <a:pt x="1450078" y="361221"/>
                    </a:lnTo>
                    <a:lnTo>
                      <a:pt x="1430082" y="350552"/>
                    </a:lnTo>
                    <a:lnTo>
                      <a:pt x="1398090" y="335899"/>
                    </a:lnTo>
                    <a:cubicBezTo>
                      <a:pt x="1398090" y="335899"/>
                      <a:pt x="1354108" y="327898"/>
                      <a:pt x="1350113" y="327898"/>
                    </a:cubicBezTo>
                    <a:cubicBezTo>
                      <a:pt x="1346113" y="327898"/>
                      <a:pt x="1291461" y="315902"/>
                      <a:pt x="1291461" y="315902"/>
                    </a:cubicBezTo>
                    <a:lnTo>
                      <a:pt x="1240816" y="301249"/>
                    </a:lnTo>
                    <a:lnTo>
                      <a:pt x="1238158" y="282573"/>
                    </a:lnTo>
                    <a:lnTo>
                      <a:pt x="1231489" y="266583"/>
                    </a:lnTo>
                    <a:lnTo>
                      <a:pt x="1191496" y="242586"/>
                    </a:lnTo>
                    <a:lnTo>
                      <a:pt x="1182175" y="226596"/>
                    </a:lnTo>
                    <a:lnTo>
                      <a:pt x="1166185" y="213274"/>
                    </a:lnTo>
                    <a:lnTo>
                      <a:pt x="1142188" y="195941"/>
                    </a:lnTo>
                    <a:lnTo>
                      <a:pt x="1136856" y="194598"/>
                    </a:lnTo>
                    <a:lnTo>
                      <a:pt x="1092874" y="190609"/>
                    </a:lnTo>
                    <a:lnTo>
                      <a:pt x="1052224" y="191278"/>
                    </a:lnTo>
                    <a:lnTo>
                      <a:pt x="1012905" y="205931"/>
                    </a:lnTo>
                    <a:lnTo>
                      <a:pt x="962265" y="230590"/>
                    </a:lnTo>
                    <a:lnTo>
                      <a:pt x="958922" y="229927"/>
                    </a:lnTo>
                    <a:lnTo>
                      <a:pt x="933599" y="227259"/>
                    </a:lnTo>
                    <a:lnTo>
                      <a:pt x="888292" y="231922"/>
                    </a:lnTo>
                    <a:lnTo>
                      <a:pt x="883617" y="228596"/>
                    </a:lnTo>
                    <a:lnTo>
                      <a:pt x="866289" y="218606"/>
                    </a:lnTo>
                    <a:lnTo>
                      <a:pt x="840967" y="209268"/>
                    </a:lnTo>
                    <a:lnTo>
                      <a:pt x="806317" y="202610"/>
                    </a:lnTo>
                    <a:lnTo>
                      <a:pt x="788989" y="161286"/>
                    </a:lnTo>
                    <a:lnTo>
                      <a:pt x="767673" y="131951"/>
                    </a:lnTo>
                    <a:lnTo>
                      <a:pt x="717021" y="102640"/>
                    </a:lnTo>
                    <a:lnTo>
                      <a:pt x="677040" y="97302"/>
                    </a:lnTo>
                    <a:lnTo>
                      <a:pt x="609067" y="73311"/>
                    </a:lnTo>
                    <a:lnTo>
                      <a:pt x="499781" y="38656"/>
                    </a:lnTo>
                    <a:lnTo>
                      <a:pt x="435808" y="14664"/>
                    </a:lnTo>
                    <a:lnTo>
                      <a:pt x="378499" y="6663"/>
                    </a:lnTo>
                    <a:lnTo>
                      <a:pt x="325190" y="0"/>
                    </a:lnTo>
                    <a:lnTo>
                      <a:pt x="303868" y="19985"/>
                    </a:lnTo>
                    <a:lnTo>
                      <a:pt x="270538" y="19985"/>
                    </a:lnTo>
                    <a:lnTo>
                      <a:pt x="214566" y="22654"/>
                    </a:lnTo>
                    <a:lnTo>
                      <a:pt x="183912" y="11996"/>
                    </a:lnTo>
                    <a:lnTo>
                      <a:pt x="181271" y="15996"/>
                    </a:lnTo>
                    <a:lnTo>
                      <a:pt x="159943" y="46656"/>
                    </a:lnTo>
                    <a:lnTo>
                      <a:pt x="101297" y="46656"/>
                    </a:lnTo>
                    <a:lnTo>
                      <a:pt x="89301" y="66636"/>
                    </a:lnTo>
                    <a:lnTo>
                      <a:pt x="101297" y="94633"/>
                    </a:lnTo>
                    <a:lnTo>
                      <a:pt x="153279" y="109292"/>
                    </a:lnTo>
                    <a:lnTo>
                      <a:pt x="205251" y="122619"/>
                    </a:lnTo>
                    <a:lnTo>
                      <a:pt x="246570" y="194592"/>
                    </a:lnTo>
                    <a:lnTo>
                      <a:pt x="243901" y="226585"/>
                    </a:lnTo>
                    <a:lnTo>
                      <a:pt x="215915" y="262571"/>
                    </a:lnTo>
                    <a:lnTo>
                      <a:pt x="182603" y="262571"/>
                    </a:lnTo>
                    <a:lnTo>
                      <a:pt x="165275" y="271909"/>
                    </a:lnTo>
                    <a:lnTo>
                      <a:pt x="171939" y="298564"/>
                    </a:lnTo>
                    <a:lnTo>
                      <a:pt x="158606" y="321223"/>
                    </a:lnTo>
                    <a:lnTo>
                      <a:pt x="157274" y="374532"/>
                    </a:lnTo>
                    <a:lnTo>
                      <a:pt x="175939" y="409198"/>
                    </a:lnTo>
                    <a:lnTo>
                      <a:pt x="162606" y="435858"/>
                    </a:lnTo>
                    <a:lnTo>
                      <a:pt x="137278" y="454512"/>
                    </a:lnTo>
                    <a:lnTo>
                      <a:pt x="97296" y="430515"/>
                    </a:lnTo>
                    <a:lnTo>
                      <a:pt x="70642" y="437190"/>
                    </a:lnTo>
                    <a:lnTo>
                      <a:pt x="0" y="470508"/>
                    </a:lnTo>
                    <a:lnTo>
                      <a:pt x="19991" y="495842"/>
                    </a:lnTo>
                    <a:lnTo>
                      <a:pt x="50657" y="503848"/>
                    </a:lnTo>
                    <a:lnTo>
                      <a:pt x="94639" y="502517"/>
                    </a:lnTo>
                    <a:lnTo>
                      <a:pt x="135946" y="494510"/>
                    </a:lnTo>
                    <a:lnTo>
                      <a:pt x="170607" y="549173"/>
                    </a:lnTo>
                    <a:lnTo>
                      <a:pt x="190598" y="554494"/>
                    </a:lnTo>
                    <a:lnTo>
                      <a:pt x="245244" y="553173"/>
                    </a:lnTo>
                    <a:lnTo>
                      <a:pt x="278567" y="575827"/>
                    </a:lnTo>
                    <a:lnTo>
                      <a:pt x="278567" y="611837"/>
                    </a:lnTo>
                    <a:lnTo>
                      <a:pt x="278567" y="713156"/>
                    </a:lnTo>
                    <a:lnTo>
                      <a:pt x="287894" y="778460"/>
                    </a:lnTo>
                    <a:lnTo>
                      <a:pt x="326544" y="829122"/>
                    </a:lnTo>
                    <a:lnTo>
                      <a:pt x="329207" y="871773"/>
                    </a:lnTo>
                    <a:lnTo>
                      <a:pt x="345198" y="883768"/>
                    </a:lnTo>
                    <a:lnTo>
                      <a:pt x="391843" y="890438"/>
                    </a:lnTo>
                    <a:lnTo>
                      <a:pt x="394506" y="929093"/>
                    </a:lnTo>
                    <a:lnTo>
                      <a:pt x="375847" y="963748"/>
                    </a:lnTo>
                    <a:lnTo>
                      <a:pt x="390506" y="1002404"/>
                    </a:lnTo>
                    <a:lnTo>
                      <a:pt x="394506" y="1055718"/>
                    </a:lnTo>
                    <a:lnTo>
                      <a:pt x="407839" y="1094379"/>
                    </a:lnTo>
                    <a:lnTo>
                      <a:pt x="395843" y="1119702"/>
                    </a:lnTo>
                    <a:lnTo>
                      <a:pt x="370515" y="1177017"/>
                    </a:lnTo>
                    <a:lnTo>
                      <a:pt x="377184" y="1226348"/>
                    </a:lnTo>
                    <a:lnTo>
                      <a:pt x="417177" y="1279645"/>
                    </a:lnTo>
                    <a:lnTo>
                      <a:pt x="477143" y="1330308"/>
                    </a:lnTo>
                    <a:lnTo>
                      <a:pt x="482475" y="1363631"/>
                    </a:lnTo>
                    <a:lnTo>
                      <a:pt x="473149" y="1392966"/>
                    </a:lnTo>
                    <a:lnTo>
                      <a:pt x="465822" y="1409636"/>
                    </a:lnTo>
                    <a:lnTo>
                      <a:pt x="449157" y="1447612"/>
                    </a:lnTo>
                    <a:lnTo>
                      <a:pt x="454484" y="1462276"/>
                    </a:lnTo>
                    <a:lnTo>
                      <a:pt x="486470" y="1490256"/>
                    </a:lnTo>
                    <a:lnTo>
                      <a:pt x="514462" y="1486261"/>
                    </a:lnTo>
                    <a:lnTo>
                      <a:pt x="558438" y="1468940"/>
                    </a:lnTo>
                    <a:lnTo>
                      <a:pt x="607758" y="1462270"/>
                    </a:lnTo>
                    <a:lnTo>
                      <a:pt x="650408" y="1474266"/>
                    </a:lnTo>
                    <a:lnTo>
                      <a:pt x="685063" y="1460939"/>
                    </a:lnTo>
                    <a:lnTo>
                      <a:pt x="735703" y="1430278"/>
                    </a:lnTo>
                    <a:lnTo>
                      <a:pt x="798339" y="1396960"/>
                    </a:lnTo>
                    <a:lnTo>
                      <a:pt x="802350" y="1396960"/>
                    </a:lnTo>
                    <a:lnTo>
                      <a:pt x="799681" y="1440948"/>
                    </a:lnTo>
                    <a:lnTo>
                      <a:pt x="783685" y="1496937"/>
                    </a:lnTo>
                    <a:lnTo>
                      <a:pt x="761031" y="1543576"/>
                    </a:lnTo>
                    <a:lnTo>
                      <a:pt x="725050" y="1570231"/>
                    </a:lnTo>
                    <a:lnTo>
                      <a:pt x="707723" y="1603560"/>
                    </a:lnTo>
                    <a:lnTo>
                      <a:pt x="677068" y="1620899"/>
                    </a:lnTo>
                    <a:lnTo>
                      <a:pt x="633080" y="1663538"/>
                    </a:lnTo>
                    <a:lnTo>
                      <a:pt x="629086" y="1702199"/>
                    </a:lnTo>
                    <a:lnTo>
                      <a:pt x="614427" y="1727522"/>
                    </a:lnTo>
                    <a:lnTo>
                      <a:pt x="617096" y="1767509"/>
                    </a:lnTo>
                    <a:lnTo>
                      <a:pt x="599768" y="1814188"/>
                    </a:lnTo>
                    <a:lnTo>
                      <a:pt x="559781" y="1838185"/>
                    </a:lnTo>
                    <a:lnTo>
                      <a:pt x="522463" y="1866165"/>
                    </a:lnTo>
                    <a:lnTo>
                      <a:pt x="509135" y="1895482"/>
                    </a:lnTo>
                    <a:lnTo>
                      <a:pt x="443831" y="1922159"/>
                    </a:lnTo>
                    <a:lnTo>
                      <a:pt x="391848" y="1927474"/>
                    </a:lnTo>
                    <a:lnTo>
                      <a:pt x="365194" y="1954134"/>
                    </a:lnTo>
                    <a:lnTo>
                      <a:pt x="322538" y="1978137"/>
                    </a:lnTo>
                    <a:lnTo>
                      <a:pt x="297221" y="1966130"/>
                    </a:lnTo>
                    <a:lnTo>
                      <a:pt x="270566" y="1943470"/>
                    </a:lnTo>
                    <a:lnTo>
                      <a:pt x="245249" y="1954129"/>
                    </a:lnTo>
                    <a:lnTo>
                      <a:pt x="238580" y="1972799"/>
                    </a:lnTo>
                    <a:lnTo>
                      <a:pt x="265240" y="2007437"/>
                    </a:lnTo>
                    <a:lnTo>
                      <a:pt x="283899" y="2064769"/>
                    </a:lnTo>
                    <a:lnTo>
                      <a:pt x="291889" y="2111420"/>
                    </a:lnTo>
                    <a:lnTo>
                      <a:pt x="329213" y="2150075"/>
                    </a:lnTo>
                    <a:lnTo>
                      <a:pt x="363857" y="2195361"/>
                    </a:lnTo>
                    <a:lnTo>
                      <a:pt x="354536" y="2240702"/>
                    </a:lnTo>
                    <a:lnTo>
                      <a:pt x="350535" y="2300652"/>
                    </a:lnTo>
                    <a:lnTo>
                      <a:pt x="383848" y="2334027"/>
                    </a:lnTo>
                    <a:lnTo>
                      <a:pt x="382522" y="2368693"/>
                    </a:lnTo>
                    <a:lnTo>
                      <a:pt x="371852" y="2395325"/>
                    </a:lnTo>
                    <a:lnTo>
                      <a:pt x="379853" y="2446004"/>
                    </a:lnTo>
                    <a:lnTo>
                      <a:pt x="427829" y="2495279"/>
                    </a:lnTo>
                    <a:lnTo>
                      <a:pt x="459821" y="2539272"/>
                    </a:lnTo>
                    <a:lnTo>
                      <a:pt x="494477" y="2603267"/>
                    </a:lnTo>
                    <a:lnTo>
                      <a:pt x="487807" y="2635237"/>
                    </a:lnTo>
                    <a:lnTo>
                      <a:pt x="502472" y="2695242"/>
                    </a:lnTo>
                    <a:lnTo>
                      <a:pt x="506472" y="2763227"/>
                    </a:lnTo>
                    <a:lnTo>
                      <a:pt x="519794" y="2807220"/>
                    </a:lnTo>
                    <a:lnTo>
                      <a:pt x="541122" y="2817839"/>
                    </a:lnTo>
                    <a:lnTo>
                      <a:pt x="557112" y="2845876"/>
                    </a:lnTo>
                    <a:lnTo>
                      <a:pt x="619753" y="2827166"/>
                    </a:lnTo>
                    <a:lnTo>
                      <a:pt x="669067" y="2836493"/>
                    </a:lnTo>
                    <a:lnTo>
                      <a:pt x="710380" y="2833852"/>
                    </a:lnTo>
                    <a:lnTo>
                      <a:pt x="726376" y="2824525"/>
                    </a:lnTo>
                    <a:lnTo>
                      <a:pt x="733046" y="2829863"/>
                    </a:lnTo>
                    <a:lnTo>
                      <a:pt x="774364" y="2849865"/>
                    </a:lnTo>
                    <a:lnTo>
                      <a:pt x="783697" y="2871159"/>
                    </a:lnTo>
                    <a:lnTo>
                      <a:pt x="826341" y="2903185"/>
                    </a:lnTo>
                    <a:lnTo>
                      <a:pt x="865003" y="2912512"/>
                    </a:lnTo>
                    <a:lnTo>
                      <a:pt x="887657" y="2931165"/>
                    </a:lnTo>
                    <a:lnTo>
                      <a:pt x="920980" y="2965832"/>
                    </a:lnTo>
                    <a:lnTo>
                      <a:pt x="971626" y="2971169"/>
                    </a:lnTo>
                    <a:lnTo>
                      <a:pt x="994280" y="2988474"/>
                    </a:lnTo>
                    <a:lnTo>
                      <a:pt x="1051594" y="3029827"/>
                    </a:lnTo>
                    <a:lnTo>
                      <a:pt x="1119568" y="3037805"/>
                    </a:lnTo>
                    <a:lnTo>
                      <a:pt x="1152891" y="3016455"/>
                    </a:lnTo>
                    <a:lnTo>
                      <a:pt x="1194210" y="2995160"/>
                    </a:lnTo>
                    <a:lnTo>
                      <a:pt x="1244861" y="2988474"/>
                    </a:lnTo>
                    <a:lnTo>
                      <a:pt x="1300839" y="2983136"/>
                    </a:lnTo>
                    <a:lnTo>
                      <a:pt x="1336820" y="2949819"/>
                    </a:lnTo>
                    <a:lnTo>
                      <a:pt x="1374132" y="2936447"/>
                    </a:lnTo>
                    <a:lnTo>
                      <a:pt x="1382133" y="2889812"/>
                    </a:lnTo>
                    <a:lnTo>
                      <a:pt x="1411462" y="2883183"/>
                    </a:lnTo>
                    <a:lnTo>
                      <a:pt x="1458107" y="2885824"/>
                    </a:lnTo>
                    <a:lnTo>
                      <a:pt x="1499426" y="2893858"/>
                    </a:lnTo>
                    <a:lnTo>
                      <a:pt x="1550066" y="2904477"/>
                    </a:lnTo>
                    <a:lnTo>
                      <a:pt x="1560735" y="2849865"/>
                    </a:lnTo>
                    <a:lnTo>
                      <a:pt x="1591385" y="2864529"/>
                    </a:lnTo>
                    <a:lnTo>
                      <a:pt x="1602043" y="2856495"/>
                    </a:lnTo>
                    <a:lnTo>
                      <a:pt x="1628709" y="2836493"/>
                    </a:lnTo>
                    <a:lnTo>
                      <a:pt x="1674011" y="2853854"/>
                    </a:lnTo>
                    <a:lnTo>
                      <a:pt x="1740658" y="2855147"/>
                    </a:lnTo>
                    <a:lnTo>
                      <a:pt x="1757980" y="2839189"/>
                    </a:lnTo>
                    <a:lnTo>
                      <a:pt x="1773970" y="2843179"/>
                    </a:lnTo>
                    <a:lnTo>
                      <a:pt x="1813957" y="2879137"/>
                    </a:lnTo>
                    <a:lnTo>
                      <a:pt x="1851276" y="2880486"/>
                    </a:lnTo>
                    <a:lnTo>
                      <a:pt x="1892595" y="2893801"/>
                    </a:lnTo>
                    <a:lnTo>
                      <a:pt x="1936577" y="2901836"/>
                    </a:lnTo>
                    <a:lnTo>
                      <a:pt x="1988042" y="2895375"/>
                    </a:lnTo>
                    <a:lnTo>
                      <a:pt x="1990222" y="2895151"/>
                    </a:lnTo>
                    <a:lnTo>
                      <a:pt x="1991223" y="2855147"/>
                    </a:lnTo>
                    <a:lnTo>
                      <a:pt x="1966231" y="2836156"/>
                    </a:lnTo>
                    <a:lnTo>
                      <a:pt x="1953235" y="2801152"/>
                    </a:lnTo>
                    <a:lnTo>
                      <a:pt x="1931233" y="2789184"/>
                    </a:lnTo>
                    <a:lnTo>
                      <a:pt x="1890257" y="2771149"/>
                    </a:lnTo>
                    <a:lnTo>
                      <a:pt x="1872267" y="2730190"/>
                    </a:lnTo>
                    <a:lnTo>
                      <a:pt x="1852270" y="2709176"/>
                    </a:lnTo>
                    <a:lnTo>
                      <a:pt x="1837275" y="2688219"/>
                    </a:lnTo>
                    <a:lnTo>
                      <a:pt x="1821284" y="2636191"/>
                    </a:lnTo>
                    <a:lnTo>
                      <a:pt x="1794293" y="2586243"/>
                    </a:lnTo>
                    <a:lnTo>
                      <a:pt x="1767301" y="2559218"/>
                    </a:lnTo>
                    <a:lnTo>
                      <a:pt x="1727325" y="2527248"/>
                    </a:lnTo>
                    <a:lnTo>
                      <a:pt x="1693339" y="2501290"/>
                    </a:lnTo>
                    <a:lnTo>
                      <a:pt x="1663347" y="2459264"/>
                    </a:lnTo>
                    <a:lnTo>
                      <a:pt x="1644356" y="2420271"/>
                    </a:lnTo>
                    <a:lnTo>
                      <a:pt x="1613370" y="2389313"/>
                    </a:lnTo>
                    <a:lnTo>
                      <a:pt x="1597374" y="2368300"/>
                    </a:lnTo>
                    <a:lnTo>
                      <a:pt x="1591373" y="2343297"/>
                    </a:lnTo>
                    <a:lnTo>
                      <a:pt x="1592373" y="2347286"/>
                    </a:lnTo>
                    <a:lnTo>
                      <a:pt x="1578378" y="2329307"/>
                    </a:lnTo>
                    <a:lnTo>
                      <a:pt x="1566382" y="2299304"/>
                    </a:lnTo>
                    <a:lnTo>
                      <a:pt x="1553386" y="2265311"/>
                    </a:lnTo>
                    <a:lnTo>
                      <a:pt x="1520400" y="2252333"/>
                    </a:lnTo>
                    <a:lnTo>
                      <a:pt x="1477418" y="2248344"/>
                    </a:lnTo>
                    <a:lnTo>
                      <a:pt x="1450427" y="2266323"/>
                    </a:lnTo>
                    <a:lnTo>
                      <a:pt x="1435431" y="2260311"/>
                    </a:lnTo>
                    <a:lnTo>
                      <a:pt x="1407445" y="2221375"/>
                    </a:lnTo>
                    <a:lnTo>
                      <a:pt x="1390454" y="2171370"/>
                    </a:lnTo>
                    <a:lnTo>
                      <a:pt x="1380459" y="2178337"/>
                    </a:lnTo>
                    <a:lnTo>
                      <a:pt x="1347472" y="2199350"/>
                    </a:lnTo>
                    <a:lnTo>
                      <a:pt x="1321481" y="2190360"/>
                    </a:lnTo>
                    <a:lnTo>
                      <a:pt x="1300496" y="2178337"/>
                    </a:lnTo>
                    <a:lnTo>
                      <a:pt x="1308485" y="2168336"/>
                    </a:lnTo>
                    <a:lnTo>
                      <a:pt x="1336477" y="2150356"/>
                    </a:lnTo>
                    <a:lnTo>
                      <a:pt x="1342472" y="2124342"/>
                    </a:lnTo>
                    <a:lnTo>
                      <a:pt x="1339472" y="2105352"/>
                    </a:lnTo>
                    <a:lnTo>
                      <a:pt x="1351462" y="2088384"/>
                    </a:lnTo>
                    <a:lnTo>
                      <a:pt x="1350462" y="2042390"/>
                    </a:lnTo>
                    <a:lnTo>
                      <a:pt x="1320475" y="2002409"/>
                    </a:lnTo>
                    <a:lnTo>
                      <a:pt x="1337471" y="1975412"/>
                    </a:lnTo>
                    <a:lnTo>
                      <a:pt x="1334471" y="1915434"/>
                    </a:lnTo>
                    <a:lnTo>
                      <a:pt x="1326476" y="1858451"/>
                    </a:lnTo>
                    <a:lnTo>
                      <a:pt x="1315480" y="1813457"/>
                    </a:lnTo>
                    <a:lnTo>
                      <a:pt x="1325476" y="1778471"/>
                    </a:lnTo>
                    <a:lnTo>
                      <a:pt x="1313480" y="1741473"/>
                    </a:lnTo>
                    <a:lnTo>
                      <a:pt x="1339472" y="1699480"/>
                    </a:lnTo>
                    <a:lnTo>
                      <a:pt x="1307480" y="1659504"/>
                    </a:lnTo>
                    <a:lnTo>
                      <a:pt x="1300490" y="1616516"/>
                    </a:lnTo>
                    <a:lnTo>
                      <a:pt x="1283494" y="1578529"/>
                    </a:lnTo>
                    <a:lnTo>
                      <a:pt x="1270498" y="1537531"/>
                    </a:lnTo>
                    <a:lnTo>
                      <a:pt x="1268504" y="1534036"/>
                    </a:lnTo>
                    <a:lnTo>
                      <a:pt x="1253508" y="1512545"/>
                    </a:lnTo>
                    <a:lnTo>
                      <a:pt x="1257503" y="1443566"/>
                    </a:lnTo>
                    <a:lnTo>
                      <a:pt x="1251508" y="1408574"/>
                    </a:lnTo>
                    <a:lnTo>
                      <a:pt x="1248507" y="1387578"/>
                    </a:lnTo>
                    <a:lnTo>
                      <a:pt x="1259509" y="1363592"/>
                    </a:lnTo>
                    <a:lnTo>
                      <a:pt x="1259509" y="1338595"/>
                    </a:lnTo>
                    <a:lnTo>
                      <a:pt x="1258508" y="1312598"/>
                    </a:lnTo>
                    <a:lnTo>
                      <a:pt x="1257508" y="1306603"/>
                    </a:lnTo>
                    <a:lnTo>
                      <a:pt x="1287495" y="1258626"/>
                    </a:lnTo>
                    <a:lnTo>
                      <a:pt x="1317481" y="1226640"/>
                    </a:lnTo>
                    <a:lnTo>
                      <a:pt x="1377459" y="1227640"/>
                    </a:lnTo>
                    <a:lnTo>
                      <a:pt x="1399450" y="1219639"/>
                    </a:lnTo>
                    <a:lnTo>
                      <a:pt x="1403450" y="1200643"/>
                    </a:lnTo>
                    <a:lnTo>
                      <a:pt x="1384459" y="1156655"/>
                    </a:lnTo>
                    <a:lnTo>
                      <a:pt x="1397449" y="1129653"/>
                    </a:lnTo>
                    <a:lnTo>
                      <a:pt x="1433436" y="1117663"/>
                    </a:lnTo>
                    <a:lnTo>
                      <a:pt x="1459428" y="1096672"/>
                    </a:lnTo>
                    <a:lnTo>
                      <a:pt x="1460422" y="1055685"/>
                    </a:lnTo>
                    <a:lnTo>
                      <a:pt x="1447426" y="991712"/>
                    </a:lnTo>
                    <a:lnTo>
                      <a:pt x="1447426" y="954719"/>
                    </a:lnTo>
                    <a:lnTo>
                      <a:pt x="1466417" y="919721"/>
                    </a:lnTo>
                    <a:lnTo>
                      <a:pt x="1488414" y="894736"/>
                    </a:lnTo>
                    <a:lnTo>
                      <a:pt x="1498409" y="884746"/>
                    </a:lnTo>
                    <a:lnTo>
                      <a:pt x="1499409" y="881746"/>
                    </a:lnTo>
                    <a:lnTo>
                      <a:pt x="1527395" y="838753"/>
                    </a:lnTo>
                    <a:cubicBezTo>
                      <a:pt x="1527395" y="838753"/>
                      <a:pt x="1558381" y="790776"/>
                      <a:pt x="1561376" y="788770"/>
                    </a:cubicBezTo>
                    <a:cubicBezTo>
                      <a:pt x="1564376" y="786770"/>
                      <a:pt x="1572371" y="765774"/>
                      <a:pt x="1572371" y="765774"/>
                    </a:cubicBezTo>
                    <a:lnTo>
                      <a:pt x="1572371" y="753778"/>
                    </a:lnTo>
                    <a:lnTo>
                      <a:pt x="1548380" y="741788"/>
                    </a:lnTo>
                    <a:lnTo>
                      <a:pt x="1496403" y="725786"/>
                    </a:lnTo>
                    <a:lnTo>
                      <a:pt x="1456422" y="699789"/>
                    </a:lnTo>
                    <a:lnTo>
                      <a:pt x="1431430" y="676793"/>
                    </a:lnTo>
                    <a:lnTo>
                      <a:pt x="1431430" y="675534"/>
                    </a:lnTo>
                    <a:lnTo>
                      <a:pt x="1436757" y="663134"/>
                    </a:lnTo>
                    <a:lnTo>
                      <a:pt x="1456753" y="645121"/>
                    </a:lnTo>
                    <a:lnTo>
                      <a:pt x="1488077" y="623130"/>
                    </a:lnTo>
                    <a:lnTo>
                      <a:pt x="1526058" y="647795"/>
                    </a:lnTo>
                    <a:lnTo>
                      <a:pt x="1544717" y="651127"/>
                    </a:lnTo>
                    <a:lnTo>
                      <a:pt x="1562050" y="631131"/>
                    </a:lnTo>
                    <a:lnTo>
                      <a:pt x="1561370" y="589132"/>
                    </a:lnTo>
                    <a:lnTo>
                      <a:pt x="1530053" y="545802"/>
                    </a:lnTo>
                    <a:lnTo>
                      <a:pt x="1526052" y="504472"/>
                    </a:lnTo>
                    <a:lnTo>
                      <a:pt x="1516725" y="445146"/>
                    </a:lnTo>
                    <a:lnTo>
                      <a:pt x="1503393" y="409822"/>
                    </a:lnTo>
                    <a:lnTo>
                      <a:pt x="1476075" y="391168"/>
                    </a:lnTo>
                    <a:lnTo>
                      <a:pt x="1465411" y="377167"/>
                    </a:lnTo>
                  </a:path>
                </a:pathLst>
              </a:custGeom>
              <a:solidFill>
                <a:srgbClr val="D2E6FE"/>
              </a:solidFill>
              <a:ln w="19050" cap="rnd">
                <a:solidFill>
                  <a:schemeClr val="lt1"/>
                </a:solidFill>
                <a:prstDash val="solid"/>
                <a:round/>
              </a:ln>
            </p:spPr>
            <p:txBody>
              <a:bodyPr anchor="ctr"/>
              <a:lstStyle/>
              <a:p>
                <a:pPr eaLnBrk="1" hangingPunct="1">
                  <a:spcBef>
                    <a:spcPct val="20000"/>
                  </a:spcBef>
                  <a:defRPr/>
                </a:pPr>
                <a:endParaRPr lang="de-CH" sz="6303" dirty="0">
                  <a:latin typeface="Frutiger for ZKB Light" panose="020B0303030504020204" pitchFamily="34" charset="0"/>
                </a:endParaRPr>
              </a:p>
            </p:txBody>
          </p:sp>
          <p:grpSp>
            <p:nvGrpSpPr>
              <p:cNvPr id="180" name="Grafik 1261">
                <a:extLst>
                  <a:ext uri="{FF2B5EF4-FFF2-40B4-BE49-F238E27FC236}">
                    <a16:creationId xmlns:a16="http://schemas.microsoft.com/office/drawing/2014/main" id="{5C4D9B02-45DF-7E92-5C28-7C1D2EF6D8FE}"/>
                  </a:ext>
                </a:extLst>
              </p:cNvPr>
              <p:cNvGrpSpPr/>
              <p:nvPr/>
            </p:nvGrpSpPr>
            <p:grpSpPr>
              <a:xfrm>
                <a:off x="2654337" y="4596253"/>
                <a:ext cx="2773874" cy="2595310"/>
                <a:chOff x="4895493" y="4596253"/>
                <a:chExt cx="2773874" cy="2595310"/>
              </a:xfrm>
              <a:solidFill>
                <a:srgbClr val="D2E6FE"/>
              </a:solidFill>
            </p:grpSpPr>
            <p:sp>
              <p:nvSpPr>
                <p:cNvPr id="185" name="Freihandform: Form 184">
                  <a:extLst>
                    <a:ext uri="{FF2B5EF4-FFF2-40B4-BE49-F238E27FC236}">
                      <a16:creationId xmlns:a16="http://schemas.microsoft.com/office/drawing/2014/main" id="{434B1551-982E-61C4-D178-E8989F3666B0}"/>
                    </a:ext>
                  </a:extLst>
                </p:cNvPr>
                <p:cNvSpPr/>
                <p:nvPr/>
              </p:nvSpPr>
              <p:spPr>
                <a:xfrm>
                  <a:off x="5449655" y="4596253"/>
                  <a:ext cx="2219711" cy="1592626"/>
                </a:xfrm>
                <a:custGeom>
                  <a:avLst/>
                  <a:gdLst>
                    <a:gd name="connsiteX0" fmla="*/ 330303 w 2219711"/>
                    <a:gd name="connsiteY0" fmla="*/ 811845 h 1592626"/>
                    <a:gd name="connsiteX1" fmla="*/ 359789 w 2219711"/>
                    <a:gd name="connsiteY1" fmla="*/ 853518 h 1592626"/>
                    <a:gd name="connsiteX2" fmla="*/ 399776 w 2219711"/>
                    <a:gd name="connsiteY2" fmla="*/ 901506 h 1592626"/>
                    <a:gd name="connsiteX3" fmla="*/ 423767 w 2219711"/>
                    <a:gd name="connsiteY3" fmla="*/ 936836 h 1592626"/>
                    <a:gd name="connsiteX4" fmla="*/ 437763 w 2219711"/>
                    <a:gd name="connsiteY4" fmla="*/ 963490 h 1592626"/>
                    <a:gd name="connsiteX5" fmla="*/ 462423 w 2219711"/>
                    <a:gd name="connsiteY5" fmla="*/ 995476 h 1592626"/>
                    <a:gd name="connsiteX6" fmla="*/ 508411 w 2219711"/>
                    <a:gd name="connsiteY6" fmla="*/ 1037458 h 1592626"/>
                    <a:gd name="connsiteX7" fmla="*/ 565057 w 2219711"/>
                    <a:gd name="connsiteY7" fmla="*/ 1074821 h 1592626"/>
                    <a:gd name="connsiteX8" fmla="*/ 607033 w 2219711"/>
                    <a:gd name="connsiteY8" fmla="*/ 1111454 h 1592626"/>
                    <a:gd name="connsiteX9" fmla="*/ 669674 w 2219711"/>
                    <a:gd name="connsiteY9" fmla="*/ 1116118 h 1592626"/>
                    <a:gd name="connsiteX10" fmla="*/ 686996 w 2219711"/>
                    <a:gd name="connsiteY10" fmla="*/ 1142806 h 1592626"/>
                    <a:gd name="connsiteX11" fmla="*/ 718314 w 2219711"/>
                    <a:gd name="connsiteY11" fmla="*/ 1162077 h 1592626"/>
                    <a:gd name="connsiteX12" fmla="*/ 764964 w 2219711"/>
                    <a:gd name="connsiteY12" fmla="*/ 1164100 h 1592626"/>
                    <a:gd name="connsiteX13" fmla="*/ 795625 w 2219711"/>
                    <a:gd name="connsiteY13" fmla="*/ 1170112 h 1592626"/>
                    <a:gd name="connsiteX14" fmla="*/ 836281 w 2219711"/>
                    <a:gd name="connsiteY14" fmla="*/ 1198092 h 1592626"/>
                    <a:gd name="connsiteX15" fmla="*/ 892258 w 2219711"/>
                    <a:gd name="connsiteY15" fmla="*/ 1198767 h 1592626"/>
                    <a:gd name="connsiteX16" fmla="*/ 910249 w 2219711"/>
                    <a:gd name="connsiteY16" fmla="*/ 1218768 h 1592626"/>
                    <a:gd name="connsiteX17" fmla="*/ 959551 w 2219711"/>
                    <a:gd name="connsiteY17" fmla="*/ 1228095 h 1592626"/>
                    <a:gd name="connsiteX18" fmla="*/ 961226 w 2219711"/>
                    <a:gd name="connsiteY18" fmla="*/ 1231747 h 1592626"/>
                    <a:gd name="connsiteX19" fmla="*/ 984211 w 2219711"/>
                    <a:gd name="connsiteY19" fmla="*/ 1249726 h 1592626"/>
                    <a:gd name="connsiteX20" fmla="*/ 1019187 w 2219711"/>
                    <a:gd name="connsiteY20" fmla="*/ 1266694 h 1592626"/>
                    <a:gd name="connsiteX21" fmla="*/ 1047178 w 2219711"/>
                    <a:gd name="connsiteY21" fmla="*/ 1266694 h 1592626"/>
                    <a:gd name="connsiteX22" fmla="*/ 1082159 w 2219711"/>
                    <a:gd name="connsiteY22" fmla="*/ 1284730 h 1592626"/>
                    <a:gd name="connsiteX23" fmla="*/ 1129147 w 2219711"/>
                    <a:gd name="connsiteY23" fmla="*/ 1310687 h 1592626"/>
                    <a:gd name="connsiteX24" fmla="*/ 1190125 w 2219711"/>
                    <a:gd name="connsiteY24" fmla="*/ 1354681 h 1592626"/>
                    <a:gd name="connsiteX25" fmla="*/ 1247103 w 2219711"/>
                    <a:gd name="connsiteY25" fmla="*/ 1398674 h 1592626"/>
                    <a:gd name="connsiteX26" fmla="*/ 1270094 w 2219711"/>
                    <a:gd name="connsiteY26" fmla="*/ 1416653 h 1592626"/>
                    <a:gd name="connsiteX27" fmla="*/ 1319071 w 2219711"/>
                    <a:gd name="connsiteY27" fmla="*/ 1425643 h 1592626"/>
                    <a:gd name="connsiteX28" fmla="*/ 1321616 w 2219711"/>
                    <a:gd name="connsiteY28" fmla="*/ 1428509 h 1592626"/>
                    <a:gd name="connsiteX29" fmla="*/ 1356057 w 2219711"/>
                    <a:gd name="connsiteY29" fmla="*/ 1466658 h 1592626"/>
                    <a:gd name="connsiteX30" fmla="*/ 1382043 w 2219711"/>
                    <a:gd name="connsiteY30" fmla="*/ 1500651 h 1592626"/>
                    <a:gd name="connsiteX31" fmla="*/ 1424031 w 2219711"/>
                    <a:gd name="connsiteY31" fmla="*/ 1518630 h 1592626"/>
                    <a:gd name="connsiteX32" fmla="*/ 1484009 w 2219711"/>
                    <a:gd name="connsiteY32" fmla="*/ 1540655 h 1592626"/>
                    <a:gd name="connsiteX33" fmla="*/ 1504005 w 2219711"/>
                    <a:gd name="connsiteY33" fmla="*/ 1540655 h 1592626"/>
                    <a:gd name="connsiteX34" fmla="*/ 1549981 w 2219711"/>
                    <a:gd name="connsiteY34" fmla="*/ 1572624 h 1592626"/>
                    <a:gd name="connsiteX35" fmla="*/ 1583979 w 2219711"/>
                    <a:gd name="connsiteY35" fmla="*/ 1592626 h 1592626"/>
                    <a:gd name="connsiteX36" fmla="*/ 1637945 w 2219711"/>
                    <a:gd name="connsiteY36" fmla="*/ 1582625 h 1592626"/>
                    <a:gd name="connsiteX37" fmla="*/ 1709930 w 2219711"/>
                    <a:gd name="connsiteY37" fmla="*/ 1584591 h 1592626"/>
                    <a:gd name="connsiteX38" fmla="*/ 1787887 w 2219711"/>
                    <a:gd name="connsiteY38" fmla="*/ 1580602 h 1592626"/>
                    <a:gd name="connsiteX39" fmla="*/ 1861867 w 2219711"/>
                    <a:gd name="connsiteY39" fmla="*/ 1578636 h 1592626"/>
                    <a:gd name="connsiteX40" fmla="*/ 1870452 w 2219711"/>
                    <a:gd name="connsiteY40" fmla="*/ 1577512 h 1592626"/>
                    <a:gd name="connsiteX41" fmla="*/ 1923834 w 2219711"/>
                    <a:gd name="connsiteY41" fmla="*/ 1570601 h 1592626"/>
                    <a:gd name="connsiteX42" fmla="*/ 1959832 w 2219711"/>
                    <a:gd name="connsiteY42" fmla="*/ 1582625 h 1592626"/>
                    <a:gd name="connsiteX43" fmla="*/ 2013798 w 2219711"/>
                    <a:gd name="connsiteY43" fmla="*/ 1572624 h 1592626"/>
                    <a:gd name="connsiteX44" fmla="*/ 2055780 w 2219711"/>
                    <a:gd name="connsiteY44" fmla="*/ 1574647 h 1592626"/>
                    <a:gd name="connsiteX45" fmla="*/ 2109762 w 2219711"/>
                    <a:gd name="connsiteY45" fmla="*/ 1526608 h 1592626"/>
                    <a:gd name="connsiteX46" fmla="*/ 2131748 w 2219711"/>
                    <a:gd name="connsiteY46" fmla="*/ 1502617 h 1592626"/>
                    <a:gd name="connsiteX47" fmla="*/ 2141738 w 2219711"/>
                    <a:gd name="connsiteY47" fmla="*/ 1468625 h 1592626"/>
                    <a:gd name="connsiteX48" fmla="*/ 2167735 w 2219711"/>
                    <a:gd name="connsiteY48" fmla="*/ 1458680 h 1592626"/>
                    <a:gd name="connsiteX49" fmla="*/ 2195715 w 2219711"/>
                    <a:gd name="connsiteY49" fmla="*/ 1412664 h 1592626"/>
                    <a:gd name="connsiteX50" fmla="*/ 2219712 w 2219711"/>
                    <a:gd name="connsiteY50" fmla="*/ 1390695 h 1592626"/>
                    <a:gd name="connsiteX51" fmla="*/ 2196726 w 2219711"/>
                    <a:gd name="connsiteY51" fmla="*/ 1382661 h 1592626"/>
                    <a:gd name="connsiteX52" fmla="*/ 2157739 w 2219711"/>
                    <a:gd name="connsiteY52" fmla="*/ 1384684 h 1592626"/>
                    <a:gd name="connsiteX53" fmla="*/ 2126747 w 2219711"/>
                    <a:gd name="connsiteY53" fmla="*/ 1381650 h 1592626"/>
                    <a:gd name="connsiteX54" fmla="*/ 2114757 w 2219711"/>
                    <a:gd name="connsiteY54" fmla="*/ 1358670 h 1592626"/>
                    <a:gd name="connsiteX55" fmla="*/ 2105745 w 2219711"/>
                    <a:gd name="connsiteY55" fmla="*/ 1347658 h 1592626"/>
                    <a:gd name="connsiteX56" fmla="*/ 2084771 w 2219711"/>
                    <a:gd name="connsiteY56" fmla="*/ 1335690 h 1592626"/>
                    <a:gd name="connsiteX57" fmla="*/ 2081765 w 2219711"/>
                    <a:gd name="connsiteY57" fmla="*/ 1305687 h 1592626"/>
                    <a:gd name="connsiteX58" fmla="*/ 2052779 w 2219711"/>
                    <a:gd name="connsiteY58" fmla="*/ 1278718 h 1592626"/>
                    <a:gd name="connsiteX59" fmla="*/ 2027793 w 2219711"/>
                    <a:gd name="connsiteY59" fmla="*/ 1264728 h 1592626"/>
                    <a:gd name="connsiteX60" fmla="*/ 2024788 w 2219711"/>
                    <a:gd name="connsiteY60" fmla="*/ 1222702 h 1592626"/>
                    <a:gd name="connsiteX61" fmla="*/ 2016792 w 2219711"/>
                    <a:gd name="connsiteY61" fmla="*/ 1196744 h 1592626"/>
                    <a:gd name="connsiteX62" fmla="*/ 1988807 w 2219711"/>
                    <a:gd name="connsiteY62" fmla="*/ 1162695 h 1592626"/>
                    <a:gd name="connsiteX63" fmla="*/ 1913838 w 2219711"/>
                    <a:gd name="connsiteY63" fmla="*/ 1125725 h 1592626"/>
                    <a:gd name="connsiteX64" fmla="*/ 1863861 w 2219711"/>
                    <a:gd name="connsiteY64" fmla="*/ 1102745 h 1592626"/>
                    <a:gd name="connsiteX65" fmla="*/ 1845865 w 2219711"/>
                    <a:gd name="connsiteY65" fmla="*/ 1105723 h 1592626"/>
                    <a:gd name="connsiteX66" fmla="*/ 1773886 w 2219711"/>
                    <a:gd name="connsiteY66" fmla="*/ 1123759 h 1592626"/>
                    <a:gd name="connsiteX67" fmla="*/ 1681927 w 2219711"/>
                    <a:gd name="connsiteY67" fmla="*/ 1135726 h 1592626"/>
                    <a:gd name="connsiteX68" fmla="*/ 1661931 w 2219711"/>
                    <a:gd name="connsiteY68" fmla="*/ 1117747 h 1592626"/>
                    <a:gd name="connsiteX69" fmla="*/ 1625944 w 2219711"/>
                    <a:gd name="connsiteY69" fmla="*/ 1078754 h 1592626"/>
                    <a:gd name="connsiteX70" fmla="*/ 1629939 w 2219711"/>
                    <a:gd name="connsiteY70" fmla="*/ 1062742 h 1592626"/>
                    <a:gd name="connsiteX71" fmla="*/ 1630945 w 2219711"/>
                    <a:gd name="connsiteY71" fmla="*/ 1035773 h 1592626"/>
                    <a:gd name="connsiteX72" fmla="*/ 1617949 w 2219711"/>
                    <a:gd name="connsiteY72" fmla="*/ 1014776 h 1592626"/>
                    <a:gd name="connsiteX73" fmla="*/ 1598958 w 2219711"/>
                    <a:gd name="connsiteY73" fmla="*/ 1014776 h 1592626"/>
                    <a:gd name="connsiteX74" fmla="*/ 1572972 w 2219711"/>
                    <a:gd name="connsiteY74" fmla="*/ 990779 h 1592626"/>
                    <a:gd name="connsiteX75" fmla="*/ 1556971 w 2219711"/>
                    <a:gd name="connsiteY75" fmla="*/ 959782 h 1592626"/>
                    <a:gd name="connsiteX76" fmla="*/ 1586957 w 2219711"/>
                    <a:gd name="connsiteY76" fmla="*/ 951787 h 1592626"/>
                    <a:gd name="connsiteX77" fmla="*/ 1595964 w 2219711"/>
                    <a:gd name="connsiteY77" fmla="*/ 927790 h 1592626"/>
                    <a:gd name="connsiteX78" fmla="*/ 1585963 w 2219711"/>
                    <a:gd name="connsiteY78" fmla="*/ 906793 h 1592626"/>
                    <a:gd name="connsiteX79" fmla="*/ 1582979 w 2219711"/>
                    <a:gd name="connsiteY79" fmla="*/ 904956 h 1592626"/>
                    <a:gd name="connsiteX80" fmla="*/ 1559977 w 2219711"/>
                    <a:gd name="connsiteY80" fmla="*/ 890797 h 1592626"/>
                    <a:gd name="connsiteX81" fmla="*/ 1512995 w 2219711"/>
                    <a:gd name="connsiteY81" fmla="*/ 888803 h 1592626"/>
                    <a:gd name="connsiteX82" fmla="*/ 1485014 w 2219711"/>
                    <a:gd name="connsiteY82" fmla="*/ 886808 h 1592626"/>
                    <a:gd name="connsiteX83" fmla="*/ 1460029 w 2219711"/>
                    <a:gd name="connsiteY83" fmla="*/ 878813 h 1592626"/>
                    <a:gd name="connsiteX84" fmla="*/ 1417036 w 2219711"/>
                    <a:gd name="connsiteY84" fmla="*/ 916800 h 1592626"/>
                    <a:gd name="connsiteX85" fmla="*/ 1379060 w 2219711"/>
                    <a:gd name="connsiteY85" fmla="*/ 924801 h 1592626"/>
                    <a:gd name="connsiteX86" fmla="*/ 1355063 w 2219711"/>
                    <a:gd name="connsiteY86" fmla="*/ 950781 h 1592626"/>
                    <a:gd name="connsiteX87" fmla="*/ 1345073 w 2219711"/>
                    <a:gd name="connsiteY87" fmla="*/ 1000769 h 1592626"/>
                    <a:gd name="connsiteX88" fmla="*/ 1316087 w 2219711"/>
                    <a:gd name="connsiteY88" fmla="*/ 1029761 h 1592626"/>
                    <a:gd name="connsiteX89" fmla="*/ 1288101 w 2219711"/>
                    <a:gd name="connsiteY89" fmla="*/ 1014770 h 1592626"/>
                    <a:gd name="connsiteX90" fmla="*/ 1262110 w 2219711"/>
                    <a:gd name="connsiteY90" fmla="*/ 1009770 h 1592626"/>
                    <a:gd name="connsiteX91" fmla="*/ 1211139 w 2219711"/>
                    <a:gd name="connsiteY91" fmla="*/ 1038750 h 1592626"/>
                    <a:gd name="connsiteX92" fmla="*/ 1194142 w 2219711"/>
                    <a:gd name="connsiteY92" fmla="*/ 1030772 h 1592626"/>
                    <a:gd name="connsiteX93" fmla="*/ 1156150 w 2219711"/>
                    <a:gd name="connsiteY93" fmla="*/ 996769 h 1592626"/>
                    <a:gd name="connsiteX94" fmla="*/ 1155150 w 2219711"/>
                    <a:gd name="connsiteY94" fmla="*/ 969771 h 1592626"/>
                    <a:gd name="connsiteX95" fmla="*/ 1142154 w 2219711"/>
                    <a:gd name="connsiteY95" fmla="*/ 958776 h 1592626"/>
                    <a:gd name="connsiteX96" fmla="*/ 1112173 w 2219711"/>
                    <a:gd name="connsiteY96" fmla="*/ 953781 h 1592626"/>
                    <a:gd name="connsiteX97" fmla="*/ 1104718 w 2219711"/>
                    <a:gd name="connsiteY97" fmla="*/ 944061 h 1592626"/>
                    <a:gd name="connsiteX98" fmla="*/ 1102178 w 2219711"/>
                    <a:gd name="connsiteY98" fmla="*/ 940785 h 1592626"/>
                    <a:gd name="connsiteX99" fmla="*/ 1096183 w 2219711"/>
                    <a:gd name="connsiteY99" fmla="*/ 892797 h 1592626"/>
                    <a:gd name="connsiteX100" fmla="*/ 1073203 w 2219711"/>
                    <a:gd name="connsiteY100" fmla="*/ 885808 h 1592626"/>
                    <a:gd name="connsiteX101" fmla="*/ 1033210 w 2219711"/>
                    <a:gd name="connsiteY101" fmla="*/ 864811 h 1592626"/>
                    <a:gd name="connsiteX102" fmla="*/ 994224 w 2219711"/>
                    <a:gd name="connsiteY102" fmla="*/ 823824 h 1592626"/>
                    <a:gd name="connsiteX103" fmla="*/ 971244 w 2219711"/>
                    <a:gd name="connsiteY103" fmla="*/ 780842 h 1592626"/>
                    <a:gd name="connsiteX104" fmla="*/ 950253 w 2219711"/>
                    <a:gd name="connsiteY104" fmla="*/ 733849 h 1592626"/>
                    <a:gd name="connsiteX105" fmla="*/ 921267 w 2219711"/>
                    <a:gd name="connsiteY105" fmla="*/ 720853 h 1592626"/>
                    <a:gd name="connsiteX106" fmla="*/ 904276 w 2219711"/>
                    <a:gd name="connsiteY106" fmla="*/ 702868 h 1592626"/>
                    <a:gd name="connsiteX107" fmla="*/ 879290 w 2219711"/>
                    <a:gd name="connsiteY107" fmla="*/ 665876 h 1592626"/>
                    <a:gd name="connsiteX108" fmla="*/ 872290 w 2219711"/>
                    <a:gd name="connsiteY108" fmla="*/ 642879 h 1592626"/>
                    <a:gd name="connsiteX109" fmla="*/ 852293 w 2219711"/>
                    <a:gd name="connsiteY109" fmla="*/ 611893 h 1592626"/>
                    <a:gd name="connsiteX110" fmla="*/ 865289 w 2219711"/>
                    <a:gd name="connsiteY110" fmla="*/ 596891 h 1592626"/>
                    <a:gd name="connsiteX111" fmla="*/ 895275 w 2219711"/>
                    <a:gd name="connsiteY111" fmla="*/ 588890 h 1592626"/>
                    <a:gd name="connsiteX112" fmla="*/ 957248 w 2219711"/>
                    <a:gd name="connsiteY112" fmla="*/ 571900 h 1592626"/>
                    <a:gd name="connsiteX113" fmla="*/ 978239 w 2219711"/>
                    <a:gd name="connsiteY113" fmla="*/ 546915 h 1592626"/>
                    <a:gd name="connsiteX114" fmla="*/ 997218 w 2219711"/>
                    <a:gd name="connsiteY114" fmla="*/ 521917 h 1592626"/>
                    <a:gd name="connsiteX115" fmla="*/ 1034211 w 2219711"/>
                    <a:gd name="connsiteY115" fmla="*/ 515922 h 1592626"/>
                    <a:gd name="connsiteX116" fmla="*/ 1049386 w 2219711"/>
                    <a:gd name="connsiteY116" fmla="*/ 510489 h 1592626"/>
                    <a:gd name="connsiteX117" fmla="*/ 1062185 w 2219711"/>
                    <a:gd name="connsiteY117" fmla="*/ 505927 h 1592626"/>
                    <a:gd name="connsiteX118" fmla="*/ 1070186 w 2219711"/>
                    <a:gd name="connsiteY118" fmla="*/ 466940 h 1592626"/>
                    <a:gd name="connsiteX119" fmla="*/ 1075187 w 2219711"/>
                    <a:gd name="connsiteY119" fmla="*/ 427947 h 1592626"/>
                    <a:gd name="connsiteX120" fmla="*/ 1057202 w 2219711"/>
                    <a:gd name="connsiteY120" fmla="*/ 398961 h 1592626"/>
                    <a:gd name="connsiteX121" fmla="*/ 997218 w 2219711"/>
                    <a:gd name="connsiteY121" fmla="*/ 325976 h 1592626"/>
                    <a:gd name="connsiteX122" fmla="*/ 930256 w 2219711"/>
                    <a:gd name="connsiteY122" fmla="*/ 268004 h 1592626"/>
                    <a:gd name="connsiteX123" fmla="*/ 893269 w 2219711"/>
                    <a:gd name="connsiteY123" fmla="*/ 235012 h 1592626"/>
                    <a:gd name="connsiteX124" fmla="*/ 814307 w 2219711"/>
                    <a:gd name="connsiteY124" fmla="*/ 237018 h 1592626"/>
                    <a:gd name="connsiteX125" fmla="*/ 768319 w 2219711"/>
                    <a:gd name="connsiteY125" fmla="*/ 203020 h 1592626"/>
                    <a:gd name="connsiteX126" fmla="*/ 731332 w 2219711"/>
                    <a:gd name="connsiteY126" fmla="*/ 176023 h 1592626"/>
                    <a:gd name="connsiteX127" fmla="*/ 700346 w 2219711"/>
                    <a:gd name="connsiteY127" fmla="*/ 208015 h 1592626"/>
                    <a:gd name="connsiteX128" fmla="*/ 671360 w 2219711"/>
                    <a:gd name="connsiteY128" fmla="*/ 185019 h 1592626"/>
                    <a:gd name="connsiteX129" fmla="*/ 650363 w 2219711"/>
                    <a:gd name="connsiteY129" fmla="*/ 153026 h 1592626"/>
                    <a:gd name="connsiteX130" fmla="*/ 639368 w 2219711"/>
                    <a:gd name="connsiteY130" fmla="*/ 122040 h 1592626"/>
                    <a:gd name="connsiteX131" fmla="*/ 607376 w 2219711"/>
                    <a:gd name="connsiteY131" fmla="*/ 123040 h 1592626"/>
                    <a:gd name="connsiteX132" fmla="*/ 608376 w 2219711"/>
                    <a:gd name="connsiteY132" fmla="*/ 94049 h 1592626"/>
                    <a:gd name="connsiteX133" fmla="*/ 595380 w 2219711"/>
                    <a:gd name="connsiteY133" fmla="*/ 71046 h 1592626"/>
                    <a:gd name="connsiteX134" fmla="*/ 574395 w 2219711"/>
                    <a:gd name="connsiteY134" fmla="*/ 67063 h 1592626"/>
                    <a:gd name="connsiteX135" fmla="*/ 569383 w 2219711"/>
                    <a:gd name="connsiteY135" fmla="*/ 50067 h 1592626"/>
                    <a:gd name="connsiteX136" fmla="*/ 560393 w 2219711"/>
                    <a:gd name="connsiteY136" fmla="*/ 16069 h 1592626"/>
                    <a:gd name="connsiteX137" fmla="*/ 550190 w 2219711"/>
                    <a:gd name="connsiteY137" fmla="*/ 0 h 1592626"/>
                    <a:gd name="connsiteX138" fmla="*/ 548398 w 2219711"/>
                    <a:gd name="connsiteY138" fmla="*/ 1084 h 1592626"/>
                    <a:gd name="connsiteX139" fmla="*/ 515411 w 2219711"/>
                    <a:gd name="connsiteY139" fmla="*/ 8068 h 1592626"/>
                    <a:gd name="connsiteX140" fmla="*/ 477424 w 2219711"/>
                    <a:gd name="connsiteY140" fmla="*/ 2073 h 1592626"/>
                    <a:gd name="connsiteX141" fmla="*/ 429442 w 2219711"/>
                    <a:gd name="connsiteY141" fmla="*/ 8068 h 1592626"/>
                    <a:gd name="connsiteX142" fmla="*/ 390461 w 2219711"/>
                    <a:gd name="connsiteY142" fmla="*/ 9074 h 1592626"/>
                    <a:gd name="connsiteX143" fmla="*/ 360474 w 2219711"/>
                    <a:gd name="connsiteY143" fmla="*/ 21070 h 1592626"/>
                    <a:gd name="connsiteX144" fmla="*/ 347479 w 2219711"/>
                    <a:gd name="connsiteY144" fmla="*/ 47066 h 1592626"/>
                    <a:gd name="connsiteX145" fmla="*/ 322493 w 2219711"/>
                    <a:gd name="connsiteY145" fmla="*/ 44072 h 1592626"/>
                    <a:gd name="connsiteX146" fmla="*/ 286512 w 2219711"/>
                    <a:gd name="connsiteY146" fmla="*/ 37071 h 1592626"/>
                    <a:gd name="connsiteX147" fmla="*/ 253520 w 2219711"/>
                    <a:gd name="connsiteY147" fmla="*/ 25075 h 1592626"/>
                    <a:gd name="connsiteX148" fmla="*/ 222534 w 2219711"/>
                    <a:gd name="connsiteY148" fmla="*/ 23075 h 1592626"/>
                    <a:gd name="connsiteX149" fmla="*/ 218292 w 2219711"/>
                    <a:gd name="connsiteY149" fmla="*/ 22828 h 1592626"/>
                    <a:gd name="connsiteX150" fmla="*/ 188047 w 2219711"/>
                    <a:gd name="connsiteY150" fmla="*/ 35576 h 1592626"/>
                    <a:gd name="connsiteX151" fmla="*/ 186552 w 2219711"/>
                    <a:gd name="connsiteY151" fmla="*/ 39071 h 1592626"/>
                    <a:gd name="connsiteX152" fmla="*/ 178552 w 2219711"/>
                    <a:gd name="connsiteY152" fmla="*/ 46066 h 1592626"/>
                    <a:gd name="connsiteX153" fmla="*/ 157561 w 2219711"/>
                    <a:gd name="connsiteY153" fmla="*/ 63068 h 1592626"/>
                    <a:gd name="connsiteX154" fmla="*/ 126569 w 2219711"/>
                    <a:gd name="connsiteY154" fmla="*/ 82047 h 1592626"/>
                    <a:gd name="connsiteX155" fmla="*/ 89582 w 2219711"/>
                    <a:gd name="connsiteY155" fmla="*/ 98055 h 1592626"/>
                    <a:gd name="connsiteX156" fmla="*/ 45600 w 2219711"/>
                    <a:gd name="connsiteY156" fmla="*/ 106055 h 1592626"/>
                    <a:gd name="connsiteX157" fmla="*/ 1618 w 2219711"/>
                    <a:gd name="connsiteY157" fmla="*/ 112051 h 1592626"/>
                    <a:gd name="connsiteX158" fmla="*/ 0 w 2219711"/>
                    <a:gd name="connsiteY158" fmla="*/ 113567 h 1592626"/>
                    <a:gd name="connsiteX159" fmla="*/ 11619 w 2219711"/>
                    <a:gd name="connsiteY159" fmla="*/ 127046 h 1592626"/>
                    <a:gd name="connsiteX160" fmla="*/ 26604 w 2219711"/>
                    <a:gd name="connsiteY160" fmla="*/ 168034 h 1592626"/>
                    <a:gd name="connsiteX161" fmla="*/ 33604 w 2219711"/>
                    <a:gd name="connsiteY161" fmla="*/ 211021 h 1592626"/>
                    <a:gd name="connsiteX162" fmla="*/ 52595 w 2219711"/>
                    <a:gd name="connsiteY162" fmla="*/ 257998 h 1592626"/>
                    <a:gd name="connsiteX163" fmla="*/ 76586 w 2219711"/>
                    <a:gd name="connsiteY163" fmla="*/ 311992 h 1592626"/>
                    <a:gd name="connsiteX164" fmla="*/ 85587 w 2219711"/>
                    <a:gd name="connsiteY164" fmla="*/ 360974 h 1592626"/>
                    <a:gd name="connsiteX165" fmla="*/ 111573 w 2219711"/>
                    <a:gd name="connsiteY165" fmla="*/ 394955 h 1592626"/>
                    <a:gd name="connsiteX166" fmla="*/ 125557 w 2219711"/>
                    <a:gd name="connsiteY166" fmla="*/ 431948 h 1592626"/>
                    <a:gd name="connsiteX167" fmla="*/ 126558 w 2219711"/>
                    <a:gd name="connsiteY167" fmla="*/ 492931 h 1592626"/>
                    <a:gd name="connsiteX168" fmla="*/ 149554 w 2219711"/>
                    <a:gd name="connsiteY168" fmla="*/ 546915 h 1592626"/>
                    <a:gd name="connsiteX169" fmla="*/ 199537 w 2219711"/>
                    <a:gd name="connsiteY169" fmla="*/ 622888 h 1592626"/>
                    <a:gd name="connsiteX170" fmla="*/ 233518 w 2219711"/>
                    <a:gd name="connsiteY170" fmla="*/ 655875 h 1592626"/>
                    <a:gd name="connsiteX171" fmla="*/ 241519 w 2219711"/>
                    <a:gd name="connsiteY171" fmla="*/ 677866 h 1592626"/>
                    <a:gd name="connsiteX172" fmla="*/ 247514 w 2219711"/>
                    <a:gd name="connsiteY172" fmla="*/ 699868 h 1592626"/>
                    <a:gd name="connsiteX173" fmla="*/ 302485 w 2219711"/>
                    <a:gd name="connsiteY173" fmla="*/ 750839 h 1592626"/>
                    <a:gd name="connsiteX174" fmla="*/ 317481 w 2219711"/>
                    <a:gd name="connsiteY174" fmla="*/ 789832 h 1592626"/>
                    <a:gd name="connsiteX175" fmla="*/ 326471 w 2219711"/>
                    <a:gd name="connsiteY175" fmla="*/ 807502 h 1592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2219711" h="1592626">
                      <a:moveTo>
                        <a:pt x="330303" y="811845"/>
                      </a:moveTo>
                      <a:lnTo>
                        <a:pt x="359789" y="853518"/>
                      </a:lnTo>
                      <a:lnTo>
                        <a:pt x="399776" y="901506"/>
                      </a:lnTo>
                      <a:lnTo>
                        <a:pt x="423767" y="936836"/>
                      </a:lnTo>
                      <a:lnTo>
                        <a:pt x="437763" y="963490"/>
                      </a:lnTo>
                      <a:lnTo>
                        <a:pt x="462423" y="995476"/>
                      </a:lnTo>
                      <a:lnTo>
                        <a:pt x="508411" y="1037458"/>
                      </a:lnTo>
                      <a:lnTo>
                        <a:pt x="565057" y="1074821"/>
                      </a:lnTo>
                      <a:lnTo>
                        <a:pt x="607033" y="1111454"/>
                      </a:lnTo>
                      <a:lnTo>
                        <a:pt x="669674" y="1116118"/>
                      </a:lnTo>
                      <a:cubicBezTo>
                        <a:pt x="669674" y="1116118"/>
                        <a:pt x="685007" y="1141457"/>
                        <a:pt x="686996" y="1142806"/>
                      </a:cubicBezTo>
                      <a:cubicBezTo>
                        <a:pt x="688996" y="1144098"/>
                        <a:pt x="718314" y="1162077"/>
                        <a:pt x="718314" y="1162077"/>
                      </a:cubicBezTo>
                      <a:lnTo>
                        <a:pt x="764964" y="1164100"/>
                      </a:lnTo>
                      <a:lnTo>
                        <a:pt x="795625" y="1170112"/>
                      </a:lnTo>
                      <a:lnTo>
                        <a:pt x="836281" y="1198092"/>
                      </a:lnTo>
                      <a:lnTo>
                        <a:pt x="892258" y="1198767"/>
                      </a:lnTo>
                      <a:lnTo>
                        <a:pt x="910249" y="1218768"/>
                      </a:lnTo>
                      <a:lnTo>
                        <a:pt x="959551" y="1228095"/>
                      </a:lnTo>
                      <a:lnTo>
                        <a:pt x="961226" y="1231747"/>
                      </a:lnTo>
                      <a:lnTo>
                        <a:pt x="984211" y="1249726"/>
                      </a:lnTo>
                      <a:lnTo>
                        <a:pt x="1019187" y="1266694"/>
                      </a:lnTo>
                      <a:lnTo>
                        <a:pt x="1047178" y="1266694"/>
                      </a:lnTo>
                      <a:lnTo>
                        <a:pt x="1082159" y="1284730"/>
                      </a:lnTo>
                      <a:lnTo>
                        <a:pt x="1129147" y="1310687"/>
                      </a:lnTo>
                      <a:lnTo>
                        <a:pt x="1190125" y="1354681"/>
                      </a:lnTo>
                      <a:lnTo>
                        <a:pt x="1247103" y="1398674"/>
                      </a:lnTo>
                      <a:lnTo>
                        <a:pt x="1270094" y="1416653"/>
                      </a:lnTo>
                      <a:lnTo>
                        <a:pt x="1319071" y="1425643"/>
                      </a:lnTo>
                      <a:lnTo>
                        <a:pt x="1321616" y="1428509"/>
                      </a:lnTo>
                      <a:lnTo>
                        <a:pt x="1356057" y="1466658"/>
                      </a:lnTo>
                      <a:lnTo>
                        <a:pt x="1382043" y="1500651"/>
                      </a:lnTo>
                      <a:lnTo>
                        <a:pt x="1424031" y="1518630"/>
                      </a:lnTo>
                      <a:lnTo>
                        <a:pt x="1484009" y="1540655"/>
                      </a:lnTo>
                      <a:lnTo>
                        <a:pt x="1504005" y="1540655"/>
                      </a:lnTo>
                      <a:lnTo>
                        <a:pt x="1549981" y="1572624"/>
                      </a:lnTo>
                      <a:lnTo>
                        <a:pt x="1583979" y="1592626"/>
                      </a:lnTo>
                      <a:lnTo>
                        <a:pt x="1637945" y="1582625"/>
                      </a:lnTo>
                      <a:lnTo>
                        <a:pt x="1709930" y="1584591"/>
                      </a:lnTo>
                      <a:lnTo>
                        <a:pt x="1787887" y="1580602"/>
                      </a:lnTo>
                      <a:lnTo>
                        <a:pt x="1861867" y="1578636"/>
                      </a:lnTo>
                      <a:lnTo>
                        <a:pt x="1870452" y="1577512"/>
                      </a:lnTo>
                      <a:lnTo>
                        <a:pt x="1923834" y="1570601"/>
                      </a:lnTo>
                      <a:lnTo>
                        <a:pt x="1959832" y="1582625"/>
                      </a:lnTo>
                      <a:lnTo>
                        <a:pt x="2013798" y="1572624"/>
                      </a:lnTo>
                      <a:lnTo>
                        <a:pt x="2055780" y="1574647"/>
                      </a:lnTo>
                      <a:lnTo>
                        <a:pt x="2109762" y="1526608"/>
                      </a:lnTo>
                      <a:lnTo>
                        <a:pt x="2131748" y="1502617"/>
                      </a:lnTo>
                      <a:lnTo>
                        <a:pt x="2141738" y="1468625"/>
                      </a:lnTo>
                      <a:lnTo>
                        <a:pt x="2167735" y="1458680"/>
                      </a:lnTo>
                      <a:lnTo>
                        <a:pt x="2195715" y="1412664"/>
                      </a:lnTo>
                      <a:lnTo>
                        <a:pt x="2219712" y="1390695"/>
                      </a:lnTo>
                      <a:lnTo>
                        <a:pt x="2196726" y="1382661"/>
                      </a:lnTo>
                      <a:lnTo>
                        <a:pt x="2157739" y="1384684"/>
                      </a:lnTo>
                      <a:lnTo>
                        <a:pt x="2126747" y="1381650"/>
                      </a:lnTo>
                      <a:lnTo>
                        <a:pt x="2114757" y="1358670"/>
                      </a:lnTo>
                      <a:lnTo>
                        <a:pt x="2105745" y="1347658"/>
                      </a:lnTo>
                      <a:lnTo>
                        <a:pt x="2084771" y="1335690"/>
                      </a:lnTo>
                      <a:lnTo>
                        <a:pt x="2081765" y="1305687"/>
                      </a:lnTo>
                      <a:lnTo>
                        <a:pt x="2052779" y="1278718"/>
                      </a:lnTo>
                      <a:lnTo>
                        <a:pt x="2027793" y="1264728"/>
                      </a:lnTo>
                      <a:lnTo>
                        <a:pt x="2024788" y="1222702"/>
                      </a:lnTo>
                      <a:lnTo>
                        <a:pt x="2016792" y="1196744"/>
                      </a:lnTo>
                      <a:lnTo>
                        <a:pt x="1988807" y="1162695"/>
                      </a:lnTo>
                      <a:lnTo>
                        <a:pt x="1913838" y="1125725"/>
                      </a:lnTo>
                      <a:lnTo>
                        <a:pt x="1863861" y="1102745"/>
                      </a:lnTo>
                      <a:lnTo>
                        <a:pt x="1845865" y="1105723"/>
                      </a:lnTo>
                      <a:lnTo>
                        <a:pt x="1773886" y="1123759"/>
                      </a:lnTo>
                      <a:lnTo>
                        <a:pt x="1681927" y="1135726"/>
                      </a:lnTo>
                      <a:lnTo>
                        <a:pt x="1661931" y="1117747"/>
                      </a:lnTo>
                      <a:lnTo>
                        <a:pt x="1625944" y="1078754"/>
                      </a:lnTo>
                      <a:lnTo>
                        <a:pt x="1629939" y="1062742"/>
                      </a:lnTo>
                      <a:lnTo>
                        <a:pt x="1630945" y="1035773"/>
                      </a:lnTo>
                      <a:lnTo>
                        <a:pt x="1617949" y="1014776"/>
                      </a:lnTo>
                      <a:lnTo>
                        <a:pt x="1598958" y="1014776"/>
                      </a:lnTo>
                      <a:lnTo>
                        <a:pt x="1572972" y="990779"/>
                      </a:lnTo>
                      <a:lnTo>
                        <a:pt x="1556971" y="959782"/>
                      </a:lnTo>
                      <a:lnTo>
                        <a:pt x="1586957" y="951787"/>
                      </a:lnTo>
                      <a:lnTo>
                        <a:pt x="1595964" y="927790"/>
                      </a:lnTo>
                      <a:lnTo>
                        <a:pt x="1585963" y="906793"/>
                      </a:lnTo>
                      <a:lnTo>
                        <a:pt x="1582979" y="904956"/>
                      </a:lnTo>
                      <a:lnTo>
                        <a:pt x="1559977" y="890797"/>
                      </a:lnTo>
                      <a:lnTo>
                        <a:pt x="1512995" y="888803"/>
                      </a:lnTo>
                      <a:lnTo>
                        <a:pt x="1485014" y="886808"/>
                      </a:lnTo>
                      <a:lnTo>
                        <a:pt x="1460029" y="878813"/>
                      </a:lnTo>
                      <a:lnTo>
                        <a:pt x="1417036" y="916800"/>
                      </a:lnTo>
                      <a:lnTo>
                        <a:pt x="1379060" y="924801"/>
                      </a:lnTo>
                      <a:lnTo>
                        <a:pt x="1355063" y="950781"/>
                      </a:lnTo>
                      <a:lnTo>
                        <a:pt x="1345073" y="1000769"/>
                      </a:lnTo>
                      <a:lnTo>
                        <a:pt x="1316087" y="1029761"/>
                      </a:lnTo>
                      <a:lnTo>
                        <a:pt x="1288101" y="1014770"/>
                      </a:lnTo>
                      <a:lnTo>
                        <a:pt x="1262110" y="1009770"/>
                      </a:lnTo>
                      <a:lnTo>
                        <a:pt x="1211139" y="1038750"/>
                      </a:lnTo>
                      <a:lnTo>
                        <a:pt x="1194142" y="1030772"/>
                      </a:lnTo>
                      <a:lnTo>
                        <a:pt x="1156150" y="996769"/>
                      </a:lnTo>
                      <a:lnTo>
                        <a:pt x="1155150" y="969771"/>
                      </a:lnTo>
                      <a:lnTo>
                        <a:pt x="1142154" y="958776"/>
                      </a:lnTo>
                      <a:lnTo>
                        <a:pt x="1112173" y="953781"/>
                      </a:lnTo>
                      <a:lnTo>
                        <a:pt x="1104718" y="944061"/>
                      </a:lnTo>
                      <a:lnTo>
                        <a:pt x="1102178" y="940785"/>
                      </a:lnTo>
                      <a:lnTo>
                        <a:pt x="1096183" y="892797"/>
                      </a:lnTo>
                      <a:lnTo>
                        <a:pt x="1073203" y="885808"/>
                      </a:lnTo>
                      <a:lnTo>
                        <a:pt x="1033210" y="864811"/>
                      </a:lnTo>
                      <a:lnTo>
                        <a:pt x="994224" y="823824"/>
                      </a:lnTo>
                      <a:lnTo>
                        <a:pt x="971244" y="780842"/>
                      </a:lnTo>
                      <a:lnTo>
                        <a:pt x="950253" y="733849"/>
                      </a:lnTo>
                      <a:lnTo>
                        <a:pt x="921267" y="720853"/>
                      </a:lnTo>
                      <a:lnTo>
                        <a:pt x="904276" y="702868"/>
                      </a:lnTo>
                      <a:lnTo>
                        <a:pt x="879290" y="665876"/>
                      </a:lnTo>
                      <a:lnTo>
                        <a:pt x="872290" y="642879"/>
                      </a:lnTo>
                      <a:lnTo>
                        <a:pt x="852293" y="611893"/>
                      </a:lnTo>
                      <a:lnTo>
                        <a:pt x="865289" y="596891"/>
                      </a:lnTo>
                      <a:lnTo>
                        <a:pt x="895275" y="588890"/>
                      </a:lnTo>
                      <a:lnTo>
                        <a:pt x="957248" y="571900"/>
                      </a:lnTo>
                      <a:lnTo>
                        <a:pt x="978239" y="546915"/>
                      </a:lnTo>
                      <a:lnTo>
                        <a:pt x="997218" y="521917"/>
                      </a:lnTo>
                      <a:lnTo>
                        <a:pt x="1034211" y="515922"/>
                      </a:lnTo>
                      <a:lnTo>
                        <a:pt x="1049386" y="510489"/>
                      </a:lnTo>
                      <a:lnTo>
                        <a:pt x="1062185" y="505927"/>
                      </a:lnTo>
                      <a:lnTo>
                        <a:pt x="1070186" y="466940"/>
                      </a:lnTo>
                      <a:lnTo>
                        <a:pt x="1075187" y="427947"/>
                      </a:lnTo>
                      <a:lnTo>
                        <a:pt x="1057202" y="398961"/>
                      </a:lnTo>
                      <a:lnTo>
                        <a:pt x="997218" y="325976"/>
                      </a:lnTo>
                      <a:lnTo>
                        <a:pt x="930256" y="268004"/>
                      </a:lnTo>
                      <a:lnTo>
                        <a:pt x="893269" y="235012"/>
                      </a:lnTo>
                      <a:lnTo>
                        <a:pt x="814307" y="237018"/>
                      </a:lnTo>
                      <a:lnTo>
                        <a:pt x="768319" y="203020"/>
                      </a:lnTo>
                      <a:lnTo>
                        <a:pt x="731332" y="176023"/>
                      </a:lnTo>
                      <a:lnTo>
                        <a:pt x="700346" y="208015"/>
                      </a:lnTo>
                      <a:lnTo>
                        <a:pt x="671360" y="185019"/>
                      </a:lnTo>
                      <a:lnTo>
                        <a:pt x="650363" y="153026"/>
                      </a:lnTo>
                      <a:lnTo>
                        <a:pt x="639368" y="122040"/>
                      </a:lnTo>
                      <a:lnTo>
                        <a:pt x="607376" y="123040"/>
                      </a:lnTo>
                      <a:lnTo>
                        <a:pt x="608376" y="94049"/>
                      </a:lnTo>
                      <a:lnTo>
                        <a:pt x="595380" y="71046"/>
                      </a:lnTo>
                      <a:lnTo>
                        <a:pt x="574395" y="67063"/>
                      </a:lnTo>
                      <a:lnTo>
                        <a:pt x="569383" y="50067"/>
                      </a:lnTo>
                      <a:lnTo>
                        <a:pt x="560393" y="16069"/>
                      </a:lnTo>
                      <a:lnTo>
                        <a:pt x="550190" y="0"/>
                      </a:lnTo>
                      <a:lnTo>
                        <a:pt x="548398" y="1084"/>
                      </a:lnTo>
                      <a:cubicBezTo>
                        <a:pt x="545397" y="1084"/>
                        <a:pt x="515411" y="8068"/>
                        <a:pt x="515411" y="8068"/>
                      </a:cubicBezTo>
                      <a:lnTo>
                        <a:pt x="477424" y="2073"/>
                      </a:lnTo>
                      <a:lnTo>
                        <a:pt x="429442" y="8068"/>
                      </a:lnTo>
                      <a:lnTo>
                        <a:pt x="390461" y="9074"/>
                      </a:lnTo>
                      <a:lnTo>
                        <a:pt x="360474" y="21070"/>
                      </a:lnTo>
                      <a:lnTo>
                        <a:pt x="347479" y="47066"/>
                      </a:lnTo>
                      <a:lnTo>
                        <a:pt x="322493" y="44072"/>
                      </a:lnTo>
                      <a:lnTo>
                        <a:pt x="286512" y="37071"/>
                      </a:lnTo>
                      <a:lnTo>
                        <a:pt x="253520" y="25075"/>
                      </a:lnTo>
                      <a:lnTo>
                        <a:pt x="222534" y="23075"/>
                      </a:lnTo>
                      <a:lnTo>
                        <a:pt x="218292" y="22828"/>
                      </a:lnTo>
                      <a:lnTo>
                        <a:pt x="188047" y="35576"/>
                      </a:lnTo>
                      <a:lnTo>
                        <a:pt x="186552" y="39071"/>
                      </a:lnTo>
                      <a:lnTo>
                        <a:pt x="178552" y="46066"/>
                      </a:lnTo>
                      <a:lnTo>
                        <a:pt x="157561" y="63068"/>
                      </a:lnTo>
                      <a:lnTo>
                        <a:pt x="126569" y="82047"/>
                      </a:lnTo>
                      <a:lnTo>
                        <a:pt x="89582" y="98055"/>
                      </a:lnTo>
                      <a:lnTo>
                        <a:pt x="45600" y="106055"/>
                      </a:lnTo>
                      <a:lnTo>
                        <a:pt x="1618" y="112051"/>
                      </a:lnTo>
                      <a:lnTo>
                        <a:pt x="0" y="113567"/>
                      </a:lnTo>
                      <a:lnTo>
                        <a:pt x="11619" y="127046"/>
                      </a:lnTo>
                      <a:lnTo>
                        <a:pt x="26604" y="168034"/>
                      </a:lnTo>
                      <a:lnTo>
                        <a:pt x="33604" y="211021"/>
                      </a:lnTo>
                      <a:lnTo>
                        <a:pt x="52595" y="257998"/>
                      </a:lnTo>
                      <a:lnTo>
                        <a:pt x="76586" y="311992"/>
                      </a:lnTo>
                      <a:lnTo>
                        <a:pt x="85587" y="360974"/>
                      </a:lnTo>
                      <a:lnTo>
                        <a:pt x="111573" y="394955"/>
                      </a:lnTo>
                      <a:lnTo>
                        <a:pt x="125557" y="431948"/>
                      </a:lnTo>
                      <a:lnTo>
                        <a:pt x="126558" y="492931"/>
                      </a:lnTo>
                      <a:lnTo>
                        <a:pt x="149554" y="546915"/>
                      </a:lnTo>
                      <a:lnTo>
                        <a:pt x="199537" y="622888"/>
                      </a:lnTo>
                      <a:lnTo>
                        <a:pt x="233518" y="655875"/>
                      </a:lnTo>
                      <a:lnTo>
                        <a:pt x="241519" y="677866"/>
                      </a:lnTo>
                      <a:lnTo>
                        <a:pt x="247514" y="699868"/>
                      </a:lnTo>
                      <a:lnTo>
                        <a:pt x="302485" y="750839"/>
                      </a:lnTo>
                      <a:lnTo>
                        <a:pt x="317481" y="789832"/>
                      </a:lnTo>
                      <a:lnTo>
                        <a:pt x="326471" y="807502"/>
                      </a:lnTo>
                    </a:path>
                  </a:pathLst>
                </a:custGeom>
                <a:grpFill/>
                <a:ln w="19050" cap="rnd">
                  <a:solidFill>
                    <a:schemeClr val="lt1"/>
                  </a:solidFill>
                  <a:prstDash val="solid"/>
                  <a:round/>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6" name="Freihandform: Form 185">
                  <a:extLst>
                    <a:ext uri="{FF2B5EF4-FFF2-40B4-BE49-F238E27FC236}">
                      <a16:creationId xmlns:a16="http://schemas.microsoft.com/office/drawing/2014/main" id="{C6F2DE1E-8EEA-E2DD-B70A-34C999667C8D}"/>
                    </a:ext>
                  </a:extLst>
                </p:cNvPr>
                <p:cNvSpPr/>
                <p:nvPr/>
              </p:nvSpPr>
              <p:spPr>
                <a:xfrm>
                  <a:off x="4895493" y="4861280"/>
                  <a:ext cx="1931210" cy="2330284"/>
                </a:xfrm>
                <a:custGeom>
                  <a:avLst/>
                  <a:gdLst>
                    <a:gd name="connsiteX0" fmla="*/ 710863 w 1931210"/>
                    <a:gd name="connsiteY0" fmla="*/ 706829 h 2330284"/>
                    <a:gd name="connsiteX1" fmla="*/ 713712 w 1931210"/>
                    <a:gd name="connsiteY1" fmla="*/ 707784 h 2330284"/>
                    <a:gd name="connsiteX2" fmla="*/ 721376 w 1931210"/>
                    <a:gd name="connsiteY2" fmla="*/ 732439 h 2330284"/>
                    <a:gd name="connsiteX3" fmla="*/ 732034 w 1931210"/>
                    <a:gd name="connsiteY3" fmla="*/ 757767 h 2330284"/>
                    <a:gd name="connsiteX4" fmla="*/ 748036 w 1931210"/>
                    <a:gd name="connsiteY4" fmla="*/ 821762 h 2330284"/>
                    <a:gd name="connsiteX5" fmla="*/ 766695 w 1931210"/>
                    <a:gd name="connsiteY5" fmla="*/ 848394 h 2330284"/>
                    <a:gd name="connsiteX6" fmla="*/ 801339 w 1931210"/>
                    <a:gd name="connsiteY6" fmla="*/ 892388 h 2330284"/>
                    <a:gd name="connsiteX7" fmla="*/ 814666 w 1931210"/>
                    <a:gd name="connsiteY7" fmla="*/ 928346 h 2330284"/>
                    <a:gd name="connsiteX8" fmla="*/ 855979 w 1931210"/>
                    <a:gd name="connsiteY8" fmla="*/ 972339 h 2330284"/>
                    <a:gd name="connsiteX9" fmla="*/ 918620 w 1931210"/>
                    <a:gd name="connsiteY9" fmla="*/ 1003016 h 2330284"/>
                    <a:gd name="connsiteX10" fmla="*/ 965266 w 1931210"/>
                    <a:gd name="connsiteY10" fmla="*/ 1017681 h 2330284"/>
                    <a:gd name="connsiteX11" fmla="*/ 1011916 w 1931210"/>
                    <a:gd name="connsiteY11" fmla="*/ 1045661 h 2330284"/>
                    <a:gd name="connsiteX12" fmla="*/ 1057235 w 1931210"/>
                    <a:gd name="connsiteY12" fmla="*/ 1056336 h 2330284"/>
                    <a:gd name="connsiteX13" fmla="*/ 1075900 w 1931210"/>
                    <a:gd name="connsiteY13" fmla="*/ 1071001 h 2330284"/>
                    <a:gd name="connsiteX14" fmla="*/ 1106549 w 1931210"/>
                    <a:gd name="connsiteY14" fmla="*/ 1092351 h 2330284"/>
                    <a:gd name="connsiteX15" fmla="*/ 1143536 w 1931210"/>
                    <a:gd name="connsiteY15" fmla="*/ 1103645 h 2330284"/>
                    <a:gd name="connsiteX16" fmla="*/ 1157532 w 1931210"/>
                    <a:gd name="connsiteY16" fmla="*/ 1104656 h 2330284"/>
                    <a:gd name="connsiteX17" fmla="*/ 1177523 w 1931210"/>
                    <a:gd name="connsiteY17" fmla="*/ 1114657 h 2330284"/>
                    <a:gd name="connsiteX18" fmla="*/ 1203514 w 1931210"/>
                    <a:gd name="connsiteY18" fmla="*/ 1125669 h 2330284"/>
                    <a:gd name="connsiteX19" fmla="*/ 1237495 w 1931210"/>
                    <a:gd name="connsiteY19" fmla="*/ 1128647 h 2330284"/>
                    <a:gd name="connsiteX20" fmla="*/ 1255486 w 1931210"/>
                    <a:gd name="connsiteY20" fmla="*/ 1113646 h 2330284"/>
                    <a:gd name="connsiteX21" fmla="*/ 1282483 w 1931210"/>
                    <a:gd name="connsiteY21" fmla="*/ 1100667 h 2330284"/>
                    <a:gd name="connsiteX22" fmla="*/ 1313469 w 1931210"/>
                    <a:gd name="connsiteY22" fmla="*/ 1105667 h 2330284"/>
                    <a:gd name="connsiteX23" fmla="*/ 1352456 w 1931210"/>
                    <a:gd name="connsiteY23" fmla="*/ 1117635 h 2330284"/>
                    <a:gd name="connsiteX24" fmla="*/ 1370441 w 1931210"/>
                    <a:gd name="connsiteY24" fmla="*/ 1141626 h 2330284"/>
                    <a:gd name="connsiteX25" fmla="*/ 1386437 w 1931210"/>
                    <a:gd name="connsiteY25" fmla="*/ 1178652 h 2330284"/>
                    <a:gd name="connsiteX26" fmla="*/ 1413428 w 1931210"/>
                    <a:gd name="connsiteY26" fmla="*/ 1193654 h 2330284"/>
                    <a:gd name="connsiteX27" fmla="*/ 1438420 w 1931210"/>
                    <a:gd name="connsiteY27" fmla="*/ 1231635 h 2330284"/>
                    <a:gd name="connsiteX28" fmla="*/ 1464405 w 1931210"/>
                    <a:gd name="connsiteY28" fmla="*/ 1283607 h 2330284"/>
                    <a:gd name="connsiteX29" fmla="*/ 1510382 w 1931210"/>
                    <a:gd name="connsiteY29" fmla="*/ 1321587 h 2330284"/>
                    <a:gd name="connsiteX30" fmla="*/ 1618331 w 1931210"/>
                    <a:gd name="connsiteY30" fmla="*/ 1429576 h 2330284"/>
                    <a:gd name="connsiteX31" fmla="*/ 1657318 w 1931210"/>
                    <a:gd name="connsiteY31" fmla="*/ 1457557 h 2330284"/>
                    <a:gd name="connsiteX32" fmla="*/ 1688310 w 1931210"/>
                    <a:gd name="connsiteY32" fmla="*/ 1470535 h 2330284"/>
                    <a:gd name="connsiteX33" fmla="*/ 1719291 w 1931210"/>
                    <a:gd name="connsiteY33" fmla="*/ 1517562 h 2330284"/>
                    <a:gd name="connsiteX34" fmla="*/ 1761273 w 1931210"/>
                    <a:gd name="connsiteY34" fmla="*/ 1531553 h 2330284"/>
                    <a:gd name="connsiteX35" fmla="*/ 1798254 w 1931210"/>
                    <a:gd name="connsiteY35" fmla="*/ 1543520 h 2330284"/>
                    <a:gd name="connsiteX36" fmla="*/ 1824251 w 1931210"/>
                    <a:gd name="connsiteY36" fmla="*/ 1572512 h 2330284"/>
                    <a:gd name="connsiteX37" fmla="*/ 1842241 w 1931210"/>
                    <a:gd name="connsiteY37" fmla="*/ 1604538 h 2330284"/>
                    <a:gd name="connsiteX38" fmla="*/ 1863227 w 1931210"/>
                    <a:gd name="connsiteY38" fmla="*/ 1623528 h 2330284"/>
                    <a:gd name="connsiteX39" fmla="*/ 1904214 w 1931210"/>
                    <a:gd name="connsiteY39" fmla="*/ 1678477 h 2330284"/>
                    <a:gd name="connsiteX40" fmla="*/ 1931211 w 1931210"/>
                    <a:gd name="connsiteY40" fmla="*/ 1709492 h 2330284"/>
                    <a:gd name="connsiteX41" fmla="*/ 1931211 w 1931210"/>
                    <a:gd name="connsiteY41" fmla="*/ 1749496 h 2330284"/>
                    <a:gd name="connsiteX42" fmla="*/ 1925710 w 1931210"/>
                    <a:gd name="connsiteY42" fmla="*/ 1758485 h 2330284"/>
                    <a:gd name="connsiteX43" fmla="*/ 1917209 w 1931210"/>
                    <a:gd name="connsiteY43" fmla="*/ 1772475 h 2330284"/>
                    <a:gd name="connsiteX44" fmla="*/ 1883229 w 1931210"/>
                    <a:gd name="connsiteY44" fmla="*/ 1758429 h 2330284"/>
                    <a:gd name="connsiteX45" fmla="*/ 1867227 w 1931210"/>
                    <a:gd name="connsiteY45" fmla="*/ 1747473 h 2330284"/>
                    <a:gd name="connsiteX46" fmla="*/ 1850242 w 1931210"/>
                    <a:gd name="connsiteY46" fmla="*/ 1763486 h 2330284"/>
                    <a:gd name="connsiteX47" fmla="*/ 1846236 w 1931210"/>
                    <a:gd name="connsiteY47" fmla="*/ 1801467 h 2330284"/>
                    <a:gd name="connsiteX48" fmla="*/ 1821245 w 1931210"/>
                    <a:gd name="connsiteY48" fmla="*/ 1820458 h 2330284"/>
                    <a:gd name="connsiteX49" fmla="*/ 1791259 w 1931210"/>
                    <a:gd name="connsiteY49" fmla="*/ 1830459 h 2330284"/>
                    <a:gd name="connsiteX50" fmla="*/ 1771257 w 1931210"/>
                    <a:gd name="connsiteY50" fmla="*/ 1833437 h 2330284"/>
                    <a:gd name="connsiteX51" fmla="*/ 1729286 w 1931210"/>
                    <a:gd name="connsiteY51" fmla="*/ 1904456 h 2330284"/>
                    <a:gd name="connsiteX52" fmla="*/ 1699294 w 1931210"/>
                    <a:gd name="connsiteY52" fmla="*/ 1957382 h 2330284"/>
                    <a:gd name="connsiteX53" fmla="*/ 1661313 w 1931210"/>
                    <a:gd name="connsiteY53" fmla="*/ 1986430 h 2330284"/>
                    <a:gd name="connsiteX54" fmla="*/ 1654312 w 1931210"/>
                    <a:gd name="connsiteY54" fmla="*/ 2020366 h 2330284"/>
                    <a:gd name="connsiteX55" fmla="*/ 1655318 w 1931210"/>
                    <a:gd name="connsiteY55" fmla="*/ 2080372 h 2330284"/>
                    <a:gd name="connsiteX56" fmla="*/ 1669314 w 1931210"/>
                    <a:gd name="connsiteY56" fmla="*/ 2122342 h 2330284"/>
                    <a:gd name="connsiteX57" fmla="*/ 1707301 w 1931210"/>
                    <a:gd name="connsiteY57" fmla="*/ 2169369 h 2330284"/>
                    <a:gd name="connsiteX58" fmla="*/ 1743282 w 1931210"/>
                    <a:gd name="connsiteY58" fmla="*/ 2193361 h 2330284"/>
                    <a:gd name="connsiteX59" fmla="*/ 1753272 w 1931210"/>
                    <a:gd name="connsiteY59" fmla="*/ 2227353 h 2330284"/>
                    <a:gd name="connsiteX60" fmla="*/ 1755058 w 1931210"/>
                    <a:gd name="connsiteY60" fmla="*/ 2266458 h 2330284"/>
                    <a:gd name="connsiteX61" fmla="*/ 1755277 w 1931210"/>
                    <a:gd name="connsiteY61" fmla="*/ 2271346 h 2330284"/>
                    <a:gd name="connsiteX62" fmla="*/ 1721285 w 1931210"/>
                    <a:gd name="connsiteY62" fmla="*/ 2284325 h 2330284"/>
                    <a:gd name="connsiteX63" fmla="*/ 1669314 w 1931210"/>
                    <a:gd name="connsiteY63" fmla="*/ 2288314 h 2330284"/>
                    <a:gd name="connsiteX64" fmla="*/ 1634316 w 1931210"/>
                    <a:gd name="connsiteY64" fmla="*/ 2300338 h 2330284"/>
                    <a:gd name="connsiteX65" fmla="*/ 1605335 w 1931210"/>
                    <a:gd name="connsiteY65" fmla="*/ 2326295 h 2330284"/>
                    <a:gd name="connsiteX66" fmla="*/ 1531373 w 1931210"/>
                    <a:gd name="connsiteY66" fmla="*/ 2330284 h 2330284"/>
                    <a:gd name="connsiteX67" fmla="*/ 1498386 w 1931210"/>
                    <a:gd name="connsiteY67" fmla="*/ 2321295 h 2330284"/>
                    <a:gd name="connsiteX68" fmla="*/ 1477401 w 1931210"/>
                    <a:gd name="connsiteY68" fmla="*/ 2303316 h 2330284"/>
                    <a:gd name="connsiteX69" fmla="*/ 1475401 w 1931210"/>
                    <a:gd name="connsiteY69" fmla="*/ 2234320 h 2330284"/>
                    <a:gd name="connsiteX70" fmla="*/ 1469406 w 1931210"/>
                    <a:gd name="connsiteY70" fmla="*/ 2184315 h 2330284"/>
                    <a:gd name="connsiteX71" fmla="*/ 1442409 w 1931210"/>
                    <a:gd name="connsiteY71" fmla="*/ 2186337 h 2330284"/>
                    <a:gd name="connsiteX72" fmla="*/ 1423418 w 1931210"/>
                    <a:gd name="connsiteY72" fmla="*/ 2189372 h 2330284"/>
                    <a:gd name="connsiteX73" fmla="*/ 1393432 w 1931210"/>
                    <a:gd name="connsiteY73" fmla="*/ 2177348 h 2330284"/>
                    <a:gd name="connsiteX74" fmla="*/ 1341449 w 1931210"/>
                    <a:gd name="connsiteY74" fmla="*/ 2194316 h 2330284"/>
                    <a:gd name="connsiteX75" fmla="*/ 1300473 w 1931210"/>
                    <a:gd name="connsiteY75" fmla="*/ 2207351 h 2330284"/>
                    <a:gd name="connsiteX76" fmla="*/ 1278488 w 1931210"/>
                    <a:gd name="connsiteY76" fmla="*/ 2192350 h 2330284"/>
                    <a:gd name="connsiteX77" fmla="*/ 1266481 w 1931210"/>
                    <a:gd name="connsiteY77" fmla="*/ 2175325 h 2330284"/>
                    <a:gd name="connsiteX78" fmla="*/ 1228505 w 1931210"/>
                    <a:gd name="connsiteY78" fmla="*/ 2171336 h 2330284"/>
                    <a:gd name="connsiteX79" fmla="*/ 1216499 w 1931210"/>
                    <a:gd name="connsiteY79" fmla="*/ 2169369 h 2330284"/>
                    <a:gd name="connsiteX80" fmla="*/ 1214504 w 1931210"/>
                    <a:gd name="connsiteY80" fmla="*/ 2160324 h 2330284"/>
                    <a:gd name="connsiteX81" fmla="*/ 1198508 w 1931210"/>
                    <a:gd name="connsiteY81" fmla="*/ 2165324 h 2330284"/>
                    <a:gd name="connsiteX82" fmla="*/ 1172517 w 1931210"/>
                    <a:gd name="connsiteY82" fmla="*/ 2167347 h 2330284"/>
                    <a:gd name="connsiteX83" fmla="*/ 1140536 w 1931210"/>
                    <a:gd name="connsiteY83" fmla="*/ 2163358 h 2330284"/>
                    <a:gd name="connsiteX84" fmla="*/ 1137536 w 1931210"/>
                    <a:gd name="connsiteY84" fmla="*/ 2144367 h 2330284"/>
                    <a:gd name="connsiteX85" fmla="*/ 1147537 w 1931210"/>
                    <a:gd name="connsiteY85" fmla="*/ 2111386 h 2330284"/>
                    <a:gd name="connsiteX86" fmla="*/ 1168522 w 1931210"/>
                    <a:gd name="connsiteY86" fmla="*/ 2085372 h 2330284"/>
                    <a:gd name="connsiteX87" fmla="*/ 1162527 w 1931210"/>
                    <a:gd name="connsiteY87" fmla="*/ 2057392 h 2330284"/>
                    <a:gd name="connsiteX88" fmla="*/ 1130535 w 1931210"/>
                    <a:gd name="connsiteY88" fmla="*/ 2008399 h 2330284"/>
                    <a:gd name="connsiteX89" fmla="*/ 1102555 w 1931210"/>
                    <a:gd name="connsiteY89" fmla="*/ 1955415 h 2330284"/>
                    <a:gd name="connsiteX90" fmla="*/ 1101554 w 1931210"/>
                    <a:gd name="connsiteY90" fmla="*/ 1925413 h 2330284"/>
                    <a:gd name="connsiteX91" fmla="*/ 1080558 w 1931210"/>
                    <a:gd name="connsiteY91" fmla="*/ 1901421 h 2330284"/>
                    <a:gd name="connsiteX92" fmla="*/ 1075563 w 1931210"/>
                    <a:gd name="connsiteY92" fmla="*/ 1875464 h 2330284"/>
                    <a:gd name="connsiteX93" fmla="*/ 1058573 w 1931210"/>
                    <a:gd name="connsiteY93" fmla="*/ 1828437 h 2330284"/>
                    <a:gd name="connsiteX94" fmla="*/ 1041571 w 1931210"/>
                    <a:gd name="connsiteY94" fmla="*/ 1796467 h 2330284"/>
                    <a:gd name="connsiteX95" fmla="*/ 1029575 w 1931210"/>
                    <a:gd name="connsiteY95" fmla="*/ 1778488 h 2330284"/>
                    <a:gd name="connsiteX96" fmla="*/ 1013585 w 1931210"/>
                    <a:gd name="connsiteY96" fmla="*/ 1758429 h 2330284"/>
                    <a:gd name="connsiteX97" fmla="*/ 990600 w 1931210"/>
                    <a:gd name="connsiteY97" fmla="*/ 1732471 h 2330284"/>
                    <a:gd name="connsiteX98" fmla="*/ 962602 w 1931210"/>
                    <a:gd name="connsiteY98" fmla="*/ 1729494 h 2330284"/>
                    <a:gd name="connsiteX99" fmla="*/ 938617 w 1931210"/>
                    <a:gd name="connsiteY99" fmla="*/ 1755452 h 2330284"/>
                    <a:gd name="connsiteX100" fmla="*/ 902636 w 1931210"/>
                    <a:gd name="connsiteY100" fmla="*/ 1774442 h 2330284"/>
                    <a:gd name="connsiteX101" fmla="*/ 887634 w 1931210"/>
                    <a:gd name="connsiteY101" fmla="*/ 1763486 h 2330284"/>
                    <a:gd name="connsiteX102" fmla="*/ 877644 w 1931210"/>
                    <a:gd name="connsiteY102" fmla="*/ 1730449 h 2330284"/>
                    <a:gd name="connsiteX103" fmla="*/ 884645 w 1931210"/>
                    <a:gd name="connsiteY103" fmla="*/ 1688478 h 2330284"/>
                    <a:gd name="connsiteX104" fmla="*/ 881639 w 1931210"/>
                    <a:gd name="connsiteY104" fmla="*/ 1667521 h 2330284"/>
                    <a:gd name="connsiteX105" fmla="*/ 857648 w 1931210"/>
                    <a:gd name="connsiteY105" fmla="*/ 1639485 h 2330284"/>
                    <a:gd name="connsiteX106" fmla="*/ 834663 w 1931210"/>
                    <a:gd name="connsiteY106" fmla="*/ 1641508 h 2330284"/>
                    <a:gd name="connsiteX107" fmla="*/ 800670 w 1931210"/>
                    <a:gd name="connsiteY107" fmla="*/ 1637519 h 2330284"/>
                    <a:gd name="connsiteX108" fmla="*/ 779679 w 1931210"/>
                    <a:gd name="connsiteY108" fmla="*/ 1653531 h 2330284"/>
                    <a:gd name="connsiteX109" fmla="*/ 755688 w 1931210"/>
                    <a:gd name="connsiteY109" fmla="*/ 1658532 h 2330284"/>
                    <a:gd name="connsiteX110" fmla="*/ 742693 w 1931210"/>
                    <a:gd name="connsiteY110" fmla="*/ 1639485 h 2330284"/>
                    <a:gd name="connsiteX111" fmla="*/ 737698 w 1931210"/>
                    <a:gd name="connsiteY111" fmla="*/ 1605492 h 2330284"/>
                    <a:gd name="connsiteX112" fmla="*/ 745698 w 1931210"/>
                    <a:gd name="connsiteY112" fmla="*/ 1584535 h 2330284"/>
                    <a:gd name="connsiteX113" fmla="*/ 746699 w 1931210"/>
                    <a:gd name="connsiteY113" fmla="*/ 1565488 h 2330284"/>
                    <a:gd name="connsiteX114" fmla="*/ 721707 w 1931210"/>
                    <a:gd name="connsiteY114" fmla="*/ 1557566 h 2330284"/>
                    <a:gd name="connsiteX115" fmla="*/ 722707 w 1931210"/>
                    <a:gd name="connsiteY115" fmla="*/ 1517562 h 2330284"/>
                    <a:gd name="connsiteX116" fmla="*/ 697716 w 1931210"/>
                    <a:gd name="connsiteY116" fmla="*/ 1498571 h 2330284"/>
                    <a:gd name="connsiteX117" fmla="*/ 684726 w 1931210"/>
                    <a:gd name="connsiteY117" fmla="*/ 1463568 h 2330284"/>
                    <a:gd name="connsiteX118" fmla="*/ 662724 w 1931210"/>
                    <a:gd name="connsiteY118" fmla="*/ 1451544 h 2330284"/>
                    <a:gd name="connsiteX119" fmla="*/ 621748 w 1931210"/>
                    <a:gd name="connsiteY119" fmla="*/ 1433565 h 2330284"/>
                    <a:gd name="connsiteX120" fmla="*/ 603757 w 1931210"/>
                    <a:gd name="connsiteY120" fmla="*/ 1392550 h 2330284"/>
                    <a:gd name="connsiteX121" fmla="*/ 583761 w 1931210"/>
                    <a:gd name="connsiteY121" fmla="*/ 1371593 h 2330284"/>
                    <a:gd name="connsiteX122" fmla="*/ 568765 w 1931210"/>
                    <a:gd name="connsiteY122" fmla="*/ 1350579 h 2330284"/>
                    <a:gd name="connsiteX123" fmla="*/ 552775 w 1931210"/>
                    <a:gd name="connsiteY123" fmla="*/ 1298608 h 2330284"/>
                    <a:gd name="connsiteX124" fmla="*/ 525783 w 1931210"/>
                    <a:gd name="connsiteY124" fmla="*/ 1248603 h 2330284"/>
                    <a:gd name="connsiteX125" fmla="*/ 498792 w 1931210"/>
                    <a:gd name="connsiteY125" fmla="*/ 1221634 h 2330284"/>
                    <a:gd name="connsiteX126" fmla="*/ 458810 w 1931210"/>
                    <a:gd name="connsiteY126" fmla="*/ 1189608 h 2330284"/>
                    <a:gd name="connsiteX127" fmla="*/ 424829 w 1931210"/>
                    <a:gd name="connsiteY127" fmla="*/ 1163650 h 2330284"/>
                    <a:gd name="connsiteX128" fmla="*/ 394837 w 1931210"/>
                    <a:gd name="connsiteY128" fmla="*/ 1121680 h 2330284"/>
                    <a:gd name="connsiteX129" fmla="*/ 375841 w 1931210"/>
                    <a:gd name="connsiteY129" fmla="*/ 1082688 h 2330284"/>
                    <a:gd name="connsiteX130" fmla="*/ 344855 w 1931210"/>
                    <a:gd name="connsiteY130" fmla="*/ 1051673 h 2330284"/>
                    <a:gd name="connsiteX131" fmla="*/ 328864 w 1931210"/>
                    <a:gd name="connsiteY131" fmla="*/ 1030660 h 2330284"/>
                    <a:gd name="connsiteX132" fmla="*/ 322864 w 1931210"/>
                    <a:gd name="connsiteY132" fmla="*/ 1005713 h 2330284"/>
                    <a:gd name="connsiteX133" fmla="*/ 323864 w 1931210"/>
                    <a:gd name="connsiteY133" fmla="*/ 1009703 h 2330284"/>
                    <a:gd name="connsiteX134" fmla="*/ 309868 w 1931210"/>
                    <a:gd name="connsiteY134" fmla="*/ 991723 h 2330284"/>
                    <a:gd name="connsiteX135" fmla="*/ 297873 w 1931210"/>
                    <a:gd name="connsiteY135" fmla="*/ 961720 h 2330284"/>
                    <a:gd name="connsiteX136" fmla="*/ 284877 w 1931210"/>
                    <a:gd name="connsiteY136" fmla="*/ 927728 h 2330284"/>
                    <a:gd name="connsiteX137" fmla="*/ 251890 w 1931210"/>
                    <a:gd name="connsiteY137" fmla="*/ 914749 h 2330284"/>
                    <a:gd name="connsiteX138" fmla="*/ 208909 w 1931210"/>
                    <a:gd name="connsiteY138" fmla="*/ 910704 h 2330284"/>
                    <a:gd name="connsiteX139" fmla="*/ 181923 w 1931210"/>
                    <a:gd name="connsiteY139" fmla="*/ 928739 h 2330284"/>
                    <a:gd name="connsiteX140" fmla="*/ 166927 w 1931210"/>
                    <a:gd name="connsiteY140" fmla="*/ 922727 h 2330284"/>
                    <a:gd name="connsiteX141" fmla="*/ 138941 w 1931210"/>
                    <a:gd name="connsiteY141" fmla="*/ 883735 h 2330284"/>
                    <a:gd name="connsiteX142" fmla="*/ 121945 w 1931210"/>
                    <a:gd name="connsiteY142" fmla="*/ 833730 h 2330284"/>
                    <a:gd name="connsiteX143" fmla="*/ 111955 w 1931210"/>
                    <a:gd name="connsiteY143" fmla="*/ 840753 h 2330284"/>
                    <a:gd name="connsiteX144" fmla="*/ 78969 w 1931210"/>
                    <a:gd name="connsiteY144" fmla="*/ 861710 h 2330284"/>
                    <a:gd name="connsiteX145" fmla="*/ 52977 w 1931210"/>
                    <a:gd name="connsiteY145" fmla="*/ 852720 h 2330284"/>
                    <a:gd name="connsiteX146" fmla="*/ 31986 w 1931210"/>
                    <a:gd name="connsiteY146" fmla="*/ 840753 h 2330284"/>
                    <a:gd name="connsiteX147" fmla="*/ 39982 w 1931210"/>
                    <a:gd name="connsiteY147" fmla="*/ 830752 h 2330284"/>
                    <a:gd name="connsiteX148" fmla="*/ 67968 w 1931210"/>
                    <a:gd name="connsiteY148" fmla="*/ 812773 h 2330284"/>
                    <a:gd name="connsiteX149" fmla="*/ 73968 w 1931210"/>
                    <a:gd name="connsiteY149" fmla="*/ 786759 h 2330284"/>
                    <a:gd name="connsiteX150" fmla="*/ 70968 w 1931210"/>
                    <a:gd name="connsiteY150" fmla="*/ 767768 h 2330284"/>
                    <a:gd name="connsiteX151" fmla="*/ 82958 w 1931210"/>
                    <a:gd name="connsiteY151" fmla="*/ 750778 h 2330284"/>
                    <a:gd name="connsiteX152" fmla="*/ 81958 w 1931210"/>
                    <a:gd name="connsiteY152" fmla="*/ 704784 h 2330284"/>
                    <a:gd name="connsiteX153" fmla="*/ 51972 w 1931210"/>
                    <a:gd name="connsiteY153" fmla="*/ 664803 h 2330284"/>
                    <a:gd name="connsiteX154" fmla="*/ 68973 w 1931210"/>
                    <a:gd name="connsiteY154" fmla="*/ 637806 h 2330284"/>
                    <a:gd name="connsiteX155" fmla="*/ 65973 w 1931210"/>
                    <a:gd name="connsiteY155" fmla="*/ 577828 h 2330284"/>
                    <a:gd name="connsiteX156" fmla="*/ 57972 w 1931210"/>
                    <a:gd name="connsiteY156" fmla="*/ 520850 h 2330284"/>
                    <a:gd name="connsiteX157" fmla="*/ 46977 w 1931210"/>
                    <a:gd name="connsiteY157" fmla="*/ 475857 h 2330284"/>
                    <a:gd name="connsiteX158" fmla="*/ 56972 w 1931210"/>
                    <a:gd name="connsiteY158" fmla="*/ 440870 h 2330284"/>
                    <a:gd name="connsiteX159" fmla="*/ 44976 w 1931210"/>
                    <a:gd name="connsiteY159" fmla="*/ 403878 h 2330284"/>
                    <a:gd name="connsiteX160" fmla="*/ 70968 w 1931210"/>
                    <a:gd name="connsiteY160" fmla="*/ 361885 h 2330284"/>
                    <a:gd name="connsiteX161" fmla="*/ 38976 w 1931210"/>
                    <a:gd name="connsiteY161" fmla="*/ 321909 h 2330284"/>
                    <a:gd name="connsiteX162" fmla="*/ 31986 w 1931210"/>
                    <a:gd name="connsiteY162" fmla="*/ 278915 h 2330284"/>
                    <a:gd name="connsiteX163" fmla="*/ 14990 w 1931210"/>
                    <a:gd name="connsiteY163" fmla="*/ 240934 h 2330284"/>
                    <a:gd name="connsiteX164" fmla="*/ 1995 w 1931210"/>
                    <a:gd name="connsiteY164" fmla="*/ 199936 h 2330284"/>
                    <a:gd name="connsiteX165" fmla="*/ 0 w 1931210"/>
                    <a:gd name="connsiteY165" fmla="*/ 196441 h 2330284"/>
                    <a:gd name="connsiteX166" fmla="*/ 44976 w 1931210"/>
                    <a:gd name="connsiteY166" fmla="*/ 186940 h 2330284"/>
                    <a:gd name="connsiteX167" fmla="*/ 95953 w 1931210"/>
                    <a:gd name="connsiteY167" fmla="*/ 175439 h 2330284"/>
                    <a:gd name="connsiteX168" fmla="*/ 161932 w 1931210"/>
                    <a:gd name="connsiteY168" fmla="*/ 153948 h 2330284"/>
                    <a:gd name="connsiteX169" fmla="*/ 189924 w 1931210"/>
                    <a:gd name="connsiteY169" fmla="*/ 144458 h 2330284"/>
                    <a:gd name="connsiteX170" fmla="*/ 207908 w 1931210"/>
                    <a:gd name="connsiteY170" fmla="*/ 121973 h 2330284"/>
                    <a:gd name="connsiteX171" fmla="*/ 241395 w 1931210"/>
                    <a:gd name="connsiteY171" fmla="*/ 110966 h 2330284"/>
                    <a:gd name="connsiteX172" fmla="*/ 277387 w 1931210"/>
                    <a:gd name="connsiteY172" fmla="*/ 70979 h 2330284"/>
                    <a:gd name="connsiteX173" fmla="*/ 298373 w 1931210"/>
                    <a:gd name="connsiteY173" fmla="*/ 68973 h 2330284"/>
                    <a:gd name="connsiteX174" fmla="*/ 297372 w 1931210"/>
                    <a:gd name="connsiteY174" fmla="*/ 70979 h 2330284"/>
                    <a:gd name="connsiteX175" fmla="*/ 300401 w 1931210"/>
                    <a:gd name="connsiteY175" fmla="*/ 65265 h 2330284"/>
                    <a:gd name="connsiteX176" fmla="*/ 313492 w 1931210"/>
                    <a:gd name="connsiteY176" fmla="*/ 54786 h 2330284"/>
                    <a:gd name="connsiteX177" fmla="*/ 333146 w 1931210"/>
                    <a:gd name="connsiteY177" fmla="*/ 32868 h 2330284"/>
                    <a:gd name="connsiteX178" fmla="*/ 360845 w 1931210"/>
                    <a:gd name="connsiteY178" fmla="*/ 0 h 2330284"/>
                    <a:gd name="connsiteX179" fmla="*/ 370846 w 1931210"/>
                    <a:gd name="connsiteY179" fmla="*/ 10995 h 2330284"/>
                    <a:gd name="connsiteX180" fmla="*/ 403827 w 1931210"/>
                    <a:gd name="connsiteY180" fmla="*/ 65984 h 2330284"/>
                    <a:gd name="connsiteX181" fmla="*/ 437814 w 1931210"/>
                    <a:gd name="connsiteY181" fmla="*/ 156948 h 2330284"/>
                    <a:gd name="connsiteX182" fmla="*/ 483807 w 1931210"/>
                    <a:gd name="connsiteY182" fmla="*/ 249924 h 2330284"/>
                    <a:gd name="connsiteX183" fmla="*/ 495797 w 1931210"/>
                    <a:gd name="connsiteY183" fmla="*/ 296918 h 2330284"/>
                    <a:gd name="connsiteX184" fmla="*/ 519782 w 1931210"/>
                    <a:gd name="connsiteY184" fmla="*/ 396883 h 2330284"/>
                    <a:gd name="connsiteX185" fmla="*/ 551774 w 1931210"/>
                    <a:gd name="connsiteY185" fmla="*/ 454860 h 2330284"/>
                    <a:gd name="connsiteX186" fmla="*/ 625743 w 1931210"/>
                    <a:gd name="connsiteY186" fmla="*/ 546836 h 2330284"/>
                    <a:gd name="connsiteX187" fmla="*/ 677725 w 1931210"/>
                    <a:gd name="connsiteY187" fmla="*/ 639811 h 2330284"/>
                    <a:gd name="connsiteX188" fmla="*/ 704711 w 1931210"/>
                    <a:gd name="connsiteY188" fmla="*/ 703779 h 2330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1931210" h="2330284">
                      <a:moveTo>
                        <a:pt x="710863" y="706829"/>
                      </a:moveTo>
                      <a:lnTo>
                        <a:pt x="713712" y="707784"/>
                      </a:lnTo>
                      <a:lnTo>
                        <a:pt x="721376" y="732439"/>
                      </a:lnTo>
                      <a:lnTo>
                        <a:pt x="732034" y="757767"/>
                      </a:lnTo>
                      <a:lnTo>
                        <a:pt x="748036" y="821762"/>
                      </a:lnTo>
                      <a:lnTo>
                        <a:pt x="766695" y="848394"/>
                      </a:lnTo>
                      <a:lnTo>
                        <a:pt x="801339" y="892388"/>
                      </a:lnTo>
                      <a:lnTo>
                        <a:pt x="814666" y="928346"/>
                      </a:lnTo>
                      <a:lnTo>
                        <a:pt x="855979" y="972339"/>
                      </a:lnTo>
                      <a:lnTo>
                        <a:pt x="918620" y="1003016"/>
                      </a:lnTo>
                      <a:lnTo>
                        <a:pt x="965266" y="1017681"/>
                      </a:lnTo>
                      <a:lnTo>
                        <a:pt x="1011916" y="1045661"/>
                      </a:lnTo>
                      <a:lnTo>
                        <a:pt x="1057235" y="1056336"/>
                      </a:lnTo>
                      <a:lnTo>
                        <a:pt x="1075900" y="1071001"/>
                      </a:lnTo>
                      <a:lnTo>
                        <a:pt x="1106549" y="1092351"/>
                      </a:lnTo>
                      <a:lnTo>
                        <a:pt x="1143536" y="1103645"/>
                      </a:lnTo>
                      <a:lnTo>
                        <a:pt x="1157532" y="1104656"/>
                      </a:lnTo>
                      <a:lnTo>
                        <a:pt x="1177523" y="1114657"/>
                      </a:lnTo>
                      <a:lnTo>
                        <a:pt x="1203514" y="1125669"/>
                      </a:lnTo>
                      <a:lnTo>
                        <a:pt x="1237495" y="1128647"/>
                      </a:lnTo>
                      <a:lnTo>
                        <a:pt x="1255486" y="1113646"/>
                      </a:lnTo>
                      <a:lnTo>
                        <a:pt x="1282483" y="1100667"/>
                      </a:lnTo>
                      <a:lnTo>
                        <a:pt x="1313469" y="1105667"/>
                      </a:lnTo>
                      <a:lnTo>
                        <a:pt x="1352456" y="1117635"/>
                      </a:lnTo>
                      <a:lnTo>
                        <a:pt x="1370441" y="1141626"/>
                      </a:lnTo>
                      <a:lnTo>
                        <a:pt x="1386437" y="1178652"/>
                      </a:lnTo>
                      <a:lnTo>
                        <a:pt x="1413428" y="1193654"/>
                      </a:lnTo>
                      <a:lnTo>
                        <a:pt x="1438420" y="1231635"/>
                      </a:lnTo>
                      <a:lnTo>
                        <a:pt x="1464405" y="1283607"/>
                      </a:lnTo>
                      <a:lnTo>
                        <a:pt x="1510382" y="1321587"/>
                      </a:lnTo>
                      <a:lnTo>
                        <a:pt x="1618331" y="1429576"/>
                      </a:lnTo>
                      <a:lnTo>
                        <a:pt x="1657318" y="1457557"/>
                      </a:lnTo>
                      <a:lnTo>
                        <a:pt x="1688310" y="1470535"/>
                      </a:lnTo>
                      <a:lnTo>
                        <a:pt x="1719291" y="1517562"/>
                      </a:lnTo>
                      <a:lnTo>
                        <a:pt x="1761273" y="1531553"/>
                      </a:lnTo>
                      <a:lnTo>
                        <a:pt x="1798254" y="1543520"/>
                      </a:lnTo>
                      <a:lnTo>
                        <a:pt x="1824251" y="1572512"/>
                      </a:lnTo>
                      <a:lnTo>
                        <a:pt x="1842241" y="1604538"/>
                      </a:lnTo>
                      <a:lnTo>
                        <a:pt x="1863227" y="1623528"/>
                      </a:lnTo>
                      <a:lnTo>
                        <a:pt x="1904214" y="1678477"/>
                      </a:lnTo>
                      <a:lnTo>
                        <a:pt x="1931211" y="1709492"/>
                      </a:lnTo>
                      <a:lnTo>
                        <a:pt x="1931211" y="1749496"/>
                      </a:lnTo>
                      <a:lnTo>
                        <a:pt x="1925710" y="1758485"/>
                      </a:lnTo>
                      <a:lnTo>
                        <a:pt x="1917209" y="1772475"/>
                      </a:lnTo>
                      <a:lnTo>
                        <a:pt x="1883229" y="1758429"/>
                      </a:lnTo>
                      <a:lnTo>
                        <a:pt x="1867227" y="1747473"/>
                      </a:lnTo>
                      <a:lnTo>
                        <a:pt x="1850242" y="1763486"/>
                      </a:lnTo>
                      <a:lnTo>
                        <a:pt x="1846236" y="1801467"/>
                      </a:lnTo>
                      <a:lnTo>
                        <a:pt x="1821245" y="1820458"/>
                      </a:lnTo>
                      <a:lnTo>
                        <a:pt x="1791259" y="1830459"/>
                      </a:lnTo>
                      <a:lnTo>
                        <a:pt x="1771257" y="1833437"/>
                      </a:lnTo>
                      <a:lnTo>
                        <a:pt x="1729286" y="1904456"/>
                      </a:lnTo>
                      <a:lnTo>
                        <a:pt x="1699294" y="1957382"/>
                      </a:lnTo>
                      <a:lnTo>
                        <a:pt x="1661313" y="1986430"/>
                      </a:lnTo>
                      <a:lnTo>
                        <a:pt x="1654312" y="2020366"/>
                      </a:lnTo>
                      <a:lnTo>
                        <a:pt x="1655318" y="2080372"/>
                      </a:lnTo>
                      <a:lnTo>
                        <a:pt x="1669314" y="2122342"/>
                      </a:lnTo>
                      <a:lnTo>
                        <a:pt x="1707301" y="2169369"/>
                      </a:lnTo>
                      <a:lnTo>
                        <a:pt x="1743282" y="2193361"/>
                      </a:lnTo>
                      <a:lnTo>
                        <a:pt x="1753272" y="2227353"/>
                      </a:lnTo>
                      <a:lnTo>
                        <a:pt x="1755058" y="2266458"/>
                      </a:lnTo>
                      <a:lnTo>
                        <a:pt x="1755277" y="2271346"/>
                      </a:lnTo>
                      <a:lnTo>
                        <a:pt x="1721285" y="2284325"/>
                      </a:lnTo>
                      <a:lnTo>
                        <a:pt x="1669314" y="2288314"/>
                      </a:lnTo>
                      <a:lnTo>
                        <a:pt x="1634316" y="2300338"/>
                      </a:lnTo>
                      <a:lnTo>
                        <a:pt x="1605335" y="2326295"/>
                      </a:lnTo>
                      <a:lnTo>
                        <a:pt x="1531373" y="2330284"/>
                      </a:lnTo>
                      <a:lnTo>
                        <a:pt x="1498386" y="2321295"/>
                      </a:lnTo>
                      <a:lnTo>
                        <a:pt x="1477401" y="2303316"/>
                      </a:lnTo>
                      <a:lnTo>
                        <a:pt x="1475401" y="2234320"/>
                      </a:lnTo>
                      <a:lnTo>
                        <a:pt x="1469406" y="2184315"/>
                      </a:lnTo>
                      <a:lnTo>
                        <a:pt x="1442409" y="2186337"/>
                      </a:lnTo>
                      <a:lnTo>
                        <a:pt x="1423418" y="2189372"/>
                      </a:lnTo>
                      <a:lnTo>
                        <a:pt x="1393432" y="2177348"/>
                      </a:lnTo>
                      <a:lnTo>
                        <a:pt x="1341449" y="2194316"/>
                      </a:lnTo>
                      <a:lnTo>
                        <a:pt x="1300473" y="2207351"/>
                      </a:lnTo>
                      <a:lnTo>
                        <a:pt x="1278488" y="2192350"/>
                      </a:lnTo>
                      <a:lnTo>
                        <a:pt x="1266481" y="2175325"/>
                      </a:lnTo>
                      <a:lnTo>
                        <a:pt x="1228505" y="2171336"/>
                      </a:lnTo>
                      <a:lnTo>
                        <a:pt x="1216499" y="2169369"/>
                      </a:lnTo>
                      <a:lnTo>
                        <a:pt x="1214504" y="2160324"/>
                      </a:lnTo>
                      <a:lnTo>
                        <a:pt x="1198508" y="2165324"/>
                      </a:lnTo>
                      <a:lnTo>
                        <a:pt x="1172517" y="2167347"/>
                      </a:lnTo>
                      <a:lnTo>
                        <a:pt x="1140536" y="2163358"/>
                      </a:lnTo>
                      <a:lnTo>
                        <a:pt x="1137536" y="2144367"/>
                      </a:lnTo>
                      <a:lnTo>
                        <a:pt x="1147537" y="2111386"/>
                      </a:lnTo>
                      <a:lnTo>
                        <a:pt x="1168522" y="2085372"/>
                      </a:lnTo>
                      <a:lnTo>
                        <a:pt x="1162527" y="2057392"/>
                      </a:lnTo>
                      <a:lnTo>
                        <a:pt x="1130535" y="2008399"/>
                      </a:lnTo>
                      <a:lnTo>
                        <a:pt x="1102555" y="1955415"/>
                      </a:lnTo>
                      <a:lnTo>
                        <a:pt x="1101554" y="1925413"/>
                      </a:lnTo>
                      <a:lnTo>
                        <a:pt x="1080558" y="1901421"/>
                      </a:lnTo>
                      <a:lnTo>
                        <a:pt x="1075563" y="1875464"/>
                      </a:lnTo>
                      <a:lnTo>
                        <a:pt x="1058573" y="1828437"/>
                      </a:lnTo>
                      <a:lnTo>
                        <a:pt x="1041571" y="1796467"/>
                      </a:lnTo>
                      <a:lnTo>
                        <a:pt x="1029575" y="1778488"/>
                      </a:lnTo>
                      <a:lnTo>
                        <a:pt x="1013585" y="1758429"/>
                      </a:lnTo>
                      <a:lnTo>
                        <a:pt x="990600" y="1732471"/>
                      </a:lnTo>
                      <a:lnTo>
                        <a:pt x="962602" y="1729494"/>
                      </a:lnTo>
                      <a:lnTo>
                        <a:pt x="938617" y="1755452"/>
                      </a:lnTo>
                      <a:lnTo>
                        <a:pt x="902636" y="1774442"/>
                      </a:lnTo>
                      <a:lnTo>
                        <a:pt x="887634" y="1763486"/>
                      </a:lnTo>
                      <a:lnTo>
                        <a:pt x="877644" y="1730449"/>
                      </a:lnTo>
                      <a:lnTo>
                        <a:pt x="884645" y="1688478"/>
                      </a:lnTo>
                      <a:lnTo>
                        <a:pt x="881639" y="1667521"/>
                      </a:lnTo>
                      <a:lnTo>
                        <a:pt x="857648" y="1639485"/>
                      </a:lnTo>
                      <a:lnTo>
                        <a:pt x="834663" y="1641508"/>
                      </a:lnTo>
                      <a:lnTo>
                        <a:pt x="800670" y="1637519"/>
                      </a:lnTo>
                      <a:lnTo>
                        <a:pt x="779679" y="1653531"/>
                      </a:lnTo>
                      <a:lnTo>
                        <a:pt x="755688" y="1658532"/>
                      </a:lnTo>
                      <a:lnTo>
                        <a:pt x="742693" y="1639485"/>
                      </a:lnTo>
                      <a:lnTo>
                        <a:pt x="737698" y="1605492"/>
                      </a:lnTo>
                      <a:lnTo>
                        <a:pt x="745698" y="1584535"/>
                      </a:lnTo>
                      <a:lnTo>
                        <a:pt x="746699" y="1565488"/>
                      </a:lnTo>
                      <a:lnTo>
                        <a:pt x="721707" y="1557566"/>
                      </a:lnTo>
                      <a:lnTo>
                        <a:pt x="722707" y="1517562"/>
                      </a:lnTo>
                      <a:lnTo>
                        <a:pt x="697716" y="1498571"/>
                      </a:lnTo>
                      <a:lnTo>
                        <a:pt x="684726" y="1463568"/>
                      </a:lnTo>
                      <a:lnTo>
                        <a:pt x="662724" y="1451544"/>
                      </a:lnTo>
                      <a:lnTo>
                        <a:pt x="621748" y="1433565"/>
                      </a:lnTo>
                      <a:lnTo>
                        <a:pt x="603757" y="1392550"/>
                      </a:lnTo>
                      <a:lnTo>
                        <a:pt x="583761" y="1371593"/>
                      </a:lnTo>
                      <a:lnTo>
                        <a:pt x="568765" y="1350579"/>
                      </a:lnTo>
                      <a:lnTo>
                        <a:pt x="552775" y="1298608"/>
                      </a:lnTo>
                      <a:lnTo>
                        <a:pt x="525783" y="1248603"/>
                      </a:lnTo>
                      <a:lnTo>
                        <a:pt x="498792" y="1221634"/>
                      </a:lnTo>
                      <a:lnTo>
                        <a:pt x="458810" y="1189608"/>
                      </a:lnTo>
                      <a:lnTo>
                        <a:pt x="424829" y="1163650"/>
                      </a:lnTo>
                      <a:lnTo>
                        <a:pt x="394837" y="1121680"/>
                      </a:lnTo>
                      <a:lnTo>
                        <a:pt x="375841" y="1082688"/>
                      </a:lnTo>
                      <a:lnTo>
                        <a:pt x="344855" y="1051673"/>
                      </a:lnTo>
                      <a:lnTo>
                        <a:pt x="328864" y="1030660"/>
                      </a:lnTo>
                      <a:lnTo>
                        <a:pt x="322864" y="1005713"/>
                      </a:lnTo>
                      <a:lnTo>
                        <a:pt x="323864" y="1009703"/>
                      </a:lnTo>
                      <a:lnTo>
                        <a:pt x="309868" y="991723"/>
                      </a:lnTo>
                      <a:lnTo>
                        <a:pt x="297873" y="961720"/>
                      </a:lnTo>
                      <a:lnTo>
                        <a:pt x="284877" y="927728"/>
                      </a:lnTo>
                      <a:lnTo>
                        <a:pt x="251890" y="914749"/>
                      </a:lnTo>
                      <a:lnTo>
                        <a:pt x="208909" y="910704"/>
                      </a:lnTo>
                      <a:lnTo>
                        <a:pt x="181923" y="928739"/>
                      </a:lnTo>
                      <a:lnTo>
                        <a:pt x="166927" y="922727"/>
                      </a:lnTo>
                      <a:lnTo>
                        <a:pt x="138941" y="883735"/>
                      </a:lnTo>
                      <a:lnTo>
                        <a:pt x="121945" y="833730"/>
                      </a:lnTo>
                      <a:lnTo>
                        <a:pt x="111955" y="840753"/>
                      </a:lnTo>
                      <a:lnTo>
                        <a:pt x="78969" y="861710"/>
                      </a:lnTo>
                      <a:lnTo>
                        <a:pt x="52977" y="852720"/>
                      </a:lnTo>
                      <a:lnTo>
                        <a:pt x="31986" y="840753"/>
                      </a:lnTo>
                      <a:lnTo>
                        <a:pt x="39982" y="830752"/>
                      </a:lnTo>
                      <a:lnTo>
                        <a:pt x="67968" y="812773"/>
                      </a:lnTo>
                      <a:lnTo>
                        <a:pt x="73968" y="786759"/>
                      </a:lnTo>
                      <a:lnTo>
                        <a:pt x="70968" y="767768"/>
                      </a:lnTo>
                      <a:lnTo>
                        <a:pt x="82958" y="750778"/>
                      </a:lnTo>
                      <a:lnTo>
                        <a:pt x="81958" y="704784"/>
                      </a:lnTo>
                      <a:lnTo>
                        <a:pt x="51972" y="664803"/>
                      </a:lnTo>
                      <a:lnTo>
                        <a:pt x="68973" y="637806"/>
                      </a:lnTo>
                      <a:lnTo>
                        <a:pt x="65973" y="577828"/>
                      </a:lnTo>
                      <a:lnTo>
                        <a:pt x="57972" y="520850"/>
                      </a:lnTo>
                      <a:lnTo>
                        <a:pt x="46977" y="475857"/>
                      </a:lnTo>
                      <a:lnTo>
                        <a:pt x="56972" y="440870"/>
                      </a:lnTo>
                      <a:lnTo>
                        <a:pt x="44976" y="403878"/>
                      </a:lnTo>
                      <a:lnTo>
                        <a:pt x="70968" y="361885"/>
                      </a:lnTo>
                      <a:lnTo>
                        <a:pt x="38976" y="321909"/>
                      </a:lnTo>
                      <a:lnTo>
                        <a:pt x="31986" y="278915"/>
                      </a:lnTo>
                      <a:lnTo>
                        <a:pt x="14990" y="240934"/>
                      </a:lnTo>
                      <a:lnTo>
                        <a:pt x="1995" y="199936"/>
                      </a:lnTo>
                      <a:lnTo>
                        <a:pt x="0" y="196441"/>
                      </a:lnTo>
                      <a:lnTo>
                        <a:pt x="44976" y="186940"/>
                      </a:lnTo>
                      <a:lnTo>
                        <a:pt x="95953" y="175439"/>
                      </a:lnTo>
                      <a:lnTo>
                        <a:pt x="161932" y="153948"/>
                      </a:lnTo>
                      <a:lnTo>
                        <a:pt x="189924" y="144458"/>
                      </a:lnTo>
                      <a:lnTo>
                        <a:pt x="207908" y="121973"/>
                      </a:lnTo>
                      <a:lnTo>
                        <a:pt x="241395" y="110966"/>
                      </a:lnTo>
                      <a:lnTo>
                        <a:pt x="277387" y="70979"/>
                      </a:lnTo>
                      <a:lnTo>
                        <a:pt x="298373" y="68973"/>
                      </a:lnTo>
                      <a:lnTo>
                        <a:pt x="297372" y="70979"/>
                      </a:lnTo>
                      <a:lnTo>
                        <a:pt x="300401" y="65265"/>
                      </a:lnTo>
                      <a:lnTo>
                        <a:pt x="313492" y="54786"/>
                      </a:lnTo>
                      <a:lnTo>
                        <a:pt x="333146" y="32868"/>
                      </a:lnTo>
                      <a:lnTo>
                        <a:pt x="360845" y="0"/>
                      </a:lnTo>
                      <a:lnTo>
                        <a:pt x="370846" y="10995"/>
                      </a:lnTo>
                      <a:lnTo>
                        <a:pt x="403827" y="65984"/>
                      </a:lnTo>
                      <a:lnTo>
                        <a:pt x="437814" y="156948"/>
                      </a:lnTo>
                      <a:lnTo>
                        <a:pt x="483807" y="249924"/>
                      </a:lnTo>
                      <a:lnTo>
                        <a:pt x="495797" y="296918"/>
                      </a:lnTo>
                      <a:lnTo>
                        <a:pt x="519782" y="396883"/>
                      </a:lnTo>
                      <a:lnTo>
                        <a:pt x="551774" y="454860"/>
                      </a:lnTo>
                      <a:lnTo>
                        <a:pt x="625743" y="546836"/>
                      </a:lnTo>
                      <a:lnTo>
                        <a:pt x="677725" y="639811"/>
                      </a:lnTo>
                      <a:lnTo>
                        <a:pt x="704711" y="703779"/>
                      </a:lnTo>
                    </a:path>
                  </a:pathLst>
                </a:custGeom>
                <a:grpFill/>
                <a:ln w="19050" cap="rnd">
                  <a:solidFill>
                    <a:schemeClr val="lt1"/>
                  </a:solidFill>
                  <a:prstDash val="solid"/>
                  <a:round/>
                </a:ln>
              </p:spPr>
              <p:txBody>
                <a:bodyPr anchor="ctr"/>
                <a:lstStyle/>
                <a:p>
                  <a:pPr eaLnBrk="1" hangingPunct="1">
                    <a:spcBef>
                      <a:spcPct val="20000"/>
                    </a:spcBef>
                    <a:defRPr/>
                  </a:pPr>
                  <a:endParaRPr lang="de-CH" sz="6303" dirty="0">
                    <a:latin typeface="Frutiger for ZKB Light" panose="020B0303030504020204" pitchFamily="34" charset="0"/>
                  </a:endParaRPr>
                </a:p>
              </p:txBody>
            </p:sp>
          </p:grpSp>
          <p:grpSp>
            <p:nvGrpSpPr>
              <p:cNvPr id="181" name="Gruppieren 180">
                <a:extLst>
                  <a:ext uri="{FF2B5EF4-FFF2-40B4-BE49-F238E27FC236}">
                    <a16:creationId xmlns:a16="http://schemas.microsoft.com/office/drawing/2014/main" id="{29A12BFB-8637-1AF3-48C2-B060C9787341}"/>
                  </a:ext>
                </a:extLst>
              </p:cNvPr>
              <p:cNvGrpSpPr/>
              <p:nvPr/>
            </p:nvGrpSpPr>
            <p:grpSpPr>
              <a:xfrm>
                <a:off x="2930760" y="4301743"/>
                <a:ext cx="2515077" cy="2275071"/>
                <a:chOff x="5836690" y="4191238"/>
                <a:chExt cx="2515077" cy="2275071"/>
              </a:xfrm>
              <a:solidFill>
                <a:schemeClr val="lt1"/>
              </a:solidFill>
            </p:grpSpPr>
            <p:sp>
              <p:nvSpPr>
                <p:cNvPr id="182" name="Freeform 283">
                  <a:extLst>
                    <a:ext uri="{FF2B5EF4-FFF2-40B4-BE49-F238E27FC236}">
                      <a16:creationId xmlns:a16="http://schemas.microsoft.com/office/drawing/2014/main" id="{04065C78-AE0D-1E5F-96A6-EE08A937EDE8}"/>
                    </a:ext>
                  </a:extLst>
                </p:cNvPr>
                <p:cNvSpPr>
                  <a:spLocks/>
                </p:cNvSpPr>
                <p:nvPr/>
              </p:nvSpPr>
              <p:spPr bwMode="gray">
                <a:xfrm>
                  <a:off x="5836690" y="4313746"/>
                  <a:ext cx="2515077" cy="2152563"/>
                </a:xfrm>
                <a:custGeom>
                  <a:avLst/>
                  <a:gdLst>
                    <a:gd name="T0" fmla="*/ 10 w 324"/>
                    <a:gd name="T1" fmla="*/ 0 h 333"/>
                    <a:gd name="T2" fmla="*/ 3 w 324"/>
                    <a:gd name="T3" fmla="*/ 7 h 333"/>
                    <a:gd name="T4" fmla="*/ 0 w 324"/>
                    <a:gd name="T5" fmla="*/ 38 h 333"/>
                    <a:gd name="T6" fmla="*/ 4 w 324"/>
                    <a:gd name="T7" fmla="*/ 54 h 333"/>
                    <a:gd name="T8" fmla="*/ 19 w 324"/>
                    <a:gd name="T9" fmla="*/ 91 h 333"/>
                    <a:gd name="T10" fmla="*/ 26 w 324"/>
                    <a:gd name="T11" fmla="*/ 110 h 333"/>
                    <a:gd name="T12" fmla="*/ 29 w 324"/>
                    <a:gd name="T13" fmla="*/ 126 h 333"/>
                    <a:gd name="T14" fmla="*/ 53 w 324"/>
                    <a:gd name="T15" fmla="*/ 173 h 333"/>
                    <a:gd name="T16" fmla="*/ 57 w 324"/>
                    <a:gd name="T17" fmla="*/ 190 h 333"/>
                    <a:gd name="T18" fmla="*/ 68 w 324"/>
                    <a:gd name="T19" fmla="*/ 210 h 333"/>
                    <a:gd name="T20" fmla="*/ 102 w 324"/>
                    <a:gd name="T21" fmla="*/ 232 h 333"/>
                    <a:gd name="T22" fmla="*/ 121 w 324"/>
                    <a:gd name="T23" fmla="*/ 241 h 333"/>
                    <a:gd name="T24" fmla="*/ 125 w 324"/>
                    <a:gd name="T25" fmla="*/ 236 h 333"/>
                    <a:gd name="T26" fmla="*/ 139 w 324"/>
                    <a:gd name="T27" fmla="*/ 236 h 333"/>
                    <a:gd name="T28" fmla="*/ 141 w 324"/>
                    <a:gd name="T29" fmla="*/ 247 h 333"/>
                    <a:gd name="T30" fmla="*/ 147 w 324"/>
                    <a:gd name="T31" fmla="*/ 251 h 333"/>
                    <a:gd name="T32" fmla="*/ 163 w 324"/>
                    <a:gd name="T33" fmla="*/ 276 h 333"/>
                    <a:gd name="T34" fmla="*/ 168 w 324"/>
                    <a:gd name="T35" fmla="*/ 281 h 333"/>
                    <a:gd name="T36" fmla="*/ 168 w 324"/>
                    <a:gd name="T37" fmla="*/ 286 h 333"/>
                    <a:gd name="T38" fmla="*/ 182 w 324"/>
                    <a:gd name="T39" fmla="*/ 294 h 333"/>
                    <a:gd name="T40" fmla="*/ 189 w 324"/>
                    <a:gd name="T41" fmla="*/ 305 h 333"/>
                    <a:gd name="T42" fmla="*/ 197 w 324"/>
                    <a:gd name="T43" fmla="*/ 314 h 333"/>
                    <a:gd name="T44" fmla="*/ 211 w 324"/>
                    <a:gd name="T45" fmla="*/ 328 h 333"/>
                    <a:gd name="T46" fmla="*/ 217 w 324"/>
                    <a:gd name="T47" fmla="*/ 333 h 333"/>
                    <a:gd name="T48" fmla="*/ 233 w 324"/>
                    <a:gd name="T49" fmla="*/ 319 h 333"/>
                    <a:gd name="T50" fmla="*/ 300 w 324"/>
                    <a:gd name="T51" fmla="*/ 299 h 333"/>
                    <a:gd name="T52" fmla="*/ 309 w 324"/>
                    <a:gd name="T53" fmla="*/ 294 h 333"/>
                    <a:gd name="T54" fmla="*/ 311 w 324"/>
                    <a:gd name="T55" fmla="*/ 296 h 333"/>
                    <a:gd name="T56" fmla="*/ 324 w 324"/>
                    <a:gd name="T57" fmla="*/ 296 h 333"/>
                    <a:gd name="T58" fmla="*/ 309 w 324"/>
                    <a:gd name="T59" fmla="*/ 256 h 333"/>
                    <a:gd name="T60" fmla="*/ 299 w 324"/>
                    <a:gd name="T61" fmla="*/ 268 h 333"/>
                    <a:gd name="T62" fmla="*/ 266 w 324"/>
                    <a:gd name="T63" fmla="*/ 269 h 333"/>
                    <a:gd name="T64" fmla="*/ 239 w 324"/>
                    <a:gd name="T65" fmla="*/ 269 h 333"/>
                    <a:gd name="T66" fmla="*/ 215 w 324"/>
                    <a:gd name="T67" fmla="*/ 259 h 333"/>
                    <a:gd name="T68" fmla="*/ 200 w 324"/>
                    <a:gd name="T69" fmla="*/ 244 h 333"/>
                    <a:gd name="T70" fmla="*/ 181 w 324"/>
                    <a:gd name="T71" fmla="*/ 229 h 333"/>
                    <a:gd name="T72" fmla="*/ 146 w 324"/>
                    <a:gd name="T73" fmla="*/ 210 h 333"/>
                    <a:gd name="T74" fmla="*/ 135 w 324"/>
                    <a:gd name="T75" fmla="*/ 205 h 333"/>
                    <a:gd name="T76" fmla="*/ 125 w 324"/>
                    <a:gd name="T77" fmla="*/ 195 h 333"/>
                    <a:gd name="T78" fmla="*/ 113 w 324"/>
                    <a:gd name="T79" fmla="*/ 195 h 333"/>
                    <a:gd name="T80" fmla="*/ 98 w 324"/>
                    <a:gd name="T81" fmla="*/ 180 h 333"/>
                    <a:gd name="T82" fmla="*/ 81 w 324"/>
                    <a:gd name="T83" fmla="*/ 158 h 333"/>
                    <a:gd name="T84" fmla="*/ 68 w 324"/>
                    <a:gd name="T85" fmla="*/ 134 h 333"/>
                    <a:gd name="T86" fmla="*/ 53 w 324"/>
                    <a:gd name="T87" fmla="*/ 110 h 333"/>
                    <a:gd name="T88" fmla="*/ 45 w 324"/>
                    <a:gd name="T89" fmla="*/ 78 h 333"/>
                    <a:gd name="T90" fmla="*/ 35 w 324"/>
                    <a:gd name="T91" fmla="*/ 42 h 333"/>
                    <a:gd name="T92" fmla="*/ 29 w 324"/>
                    <a:gd name="T93" fmla="*/ 28 h 333"/>
                    <a:gd name="T94" fmla="*/ 17 w 324"/>
                    <a:gd name="T95" fmla="*/ 28 h 333"/>
                    <a:gd name="T96" fmla="*/ 10 w 324"/>
                    <a:gd name="T97"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4" h="333">
                      <a:moveTo>
                        <a:pt x="10" y="0"/>
                      </a:moveTo>
                      <a:cubicBezTo>
                        <a:pt x="3" y="7"/>
                        <a:pt x="3" y="7"/>
                        <a:pt x="3" y="7"/>
                      </a:cubicBezTo>
                      <a:cubicBezTo>
                        <a:pt x="0" y="38"/>
                        <a:pt x="0" y="38"/>
                        <a:pt x="0" y="38"/>
                      </a:cubicBezTo>
                      <a:cubicBezTo>
                        <a:pt x="4" y="54"/>
                        <a:pt x="4" y="54"/>
                        <a:pt x="4" y="54"/>
                      </a:cubicBezTo>
                      <a:cubicBezTo>
                        <a:pt x="19" y="91"/>
                        <a:pt x="19" y="91"/>
                        <a:pt x="19" y="91"/>
                      </a:cubicBezTo>
                      <a:cubicBezTo>
                        <a:pt x="26" y="110"/>
                        <a:pt x="26" y="110"/>
                        <a:pt x="26" y="110"/>
                      </a:cubicBezTo>
                      <a:cubicBezTo>
                        <a:pt x="29" y="126"/>
                        <a:pt x="29" y="126"/>
                        <a:pt x="29" y="126"/>
                      </a:cubicBezTo>
                      <a:cubicBezTo>
                        <a:pt x="53" y="173"/>
                        <a:pt x="53" y="173"/>
                        <a:pt x="53" y="173"/>
                      </a:cubicBezTo>
                      <a:cubicBezTo>
                        <a:pt x="53" y="173"/>
                        <a:pt x="57" y="188"/>
                        <a:pt x="57" y="190"/>
                      </a:cubicBezTo>
                      <a:cubicBezTo>
                        <a:pt x="57" y="193"/>
                        <a:pt x="68" y="210"/>
                        <a:pt x="68" y="210"/>
                      </a:cubicBezTo>
                      <a:cubicBezTo>
                        <a:pt x="102" y="232"/>
                        <a:pt x="102" y="232"/>
                        <a:pt x="102" y="232"/>
                      </a:cubicBezTo>
                      <a:cubicBezTo>
                        <a:pt x="121" y="241"/>
                        <a:pt x="121" y="241"/>
                        <a:pt x="121" y="241"/>
                      </a:cubicBezTo>
                      <a:cubicBezTo>
                        <a:pt x="125" y="236"/>
                        <a:pt x="125" y="236"/>
                        <a:pt x="125" y="236"/>
                      </a:cubicBezTo>
                      <a:cubicBezTo>
                        <a:pt x="139" y="236"/>
                        <a:pt x="139" y="236"/>
                        <a:pt x="139" y="236"/>
                      </a:cubicBezTo>
                      <a:cubicBezTo>
                        <a:pt x="141" y="247"/>
                        <a:pt x="141" y="247"/>
                        <a:pt x="141" y="247"/>
                      </a:cubicBezTo>
                      <a:cubicBezTo>
                        <a:pt x="147" y="251"/>
                        <a:pt x="147" y="251"/>
                        <a:pt x="147" y="251"/>
                      </a:cubicBezTo>
                      <a:cubicBezTo>
                        <a:pt x="163" y="276"/>
                        <a:pt x="163" y="276"/>
                        <a:pt x="163" y="276"/>
                      </a:cubicBezTo>
                      <a:cubicBezTo>
                        <a:pt x="168" y="281"/>
                        <a:pt x="168" y="281"/>
                        <a:pt x="168" y="281"/>
                      </a:cubicBezTo>
                      <a:cubicBezTo>
                        <a:pt x="168" y="286"/>
                        <a:pt x="168" y="286"/>
                        <a:pt x="168" y="286"/>
                      </a:cubicBezTo>
                      <a:cubicBezTo>
                        <a:pt x="182" y="294"/>
                        <a:pt x="182" y="294"/>
                        <a:pt x="182" y="294"/>
                      </a:cubicBezTo>
                      <a:cubicBezTo>
                        <a:pt x="189" y="305"/>
                        <a:pt x="189" y="305"/>
                        <a:pt x="189" y="305"/>
                      </a:cubicBezTo>
                      <a:cubicBezTo>
                        <a:pt x="197" y="314"/>
                        <a:pt x="197" y="314"/>
                        <a:pt x="197" y="314"/>
                      </a:cubicBezTo>
                      <a:cubicBezTo>
                        <a:pt x="211" y="328"/>
                        <a:pt x="211" y="328"/>
                        <a:pt x="211" y="328"/>
                      </a:cubicBezTo>
                      <a:cubicBezTo>
                        <a:pt x="217" y="333"/>
                        <a:pt x="217" y="333"/>
                        <a:pt x="217" y="333"/>
                      </a:cubicBezTo>
                      <a:cubicBezTo>
                        <a:pt x="233" y="319"/>
                        <a:pt x="233" y="319"/>
                        <a:pt x="233" y="319"/>
                      </a:cubicBezTo>
                      <a:cubicBezTo>
                        <a:pt x="300" y="299"/>
                        <a:pt x="300" y="299"/>
                        <a:pt x="300" y="299"/>
                      </a:cubicBezTo>
                      <a:cubicBezTo>
                        <a:pt x="309" y="294"/>
                        <a:pt x="309" y="294"/>
                        <a:pt x="309" y="294"/>
                      </a:cubicBezTo>
                      <a:cubicBezTo>
                        <a:pt x="311" y="296"/>
                        <a:pt x="311" y="296"/>
                        <a:pt x="311" y="296"/>
                      </a:cubicBezTo>
                      <a:cubicBezTo>
                        <a:pt x="324" y="296"/>
                        <a:pt x="324" y="296"/>
                        <a:pt x="324" y="296"/>
                      </a:cubicBezTo>
                      <a:cubicBezTo>
                        <a:pt x="309" y="256"/>
                        <a:pt x="309" y="256"/>
                        <a:pt x="309" y="256"/>
                      </a:cubicBezTo>
                      <a:cubicBezTo>
                        <a:pt x="299" y="268"/>
                        <a:pt x="299" y="268"/>
                        <a:pt x="299" y="268"/>
                      </a:cubicBezTo>
                      <a:cubicBezTo>
                        <a:pt x="266" y="269"/>
                        <a:pt x="266" y="269"/>
                        <a:pt x="266" y="269"/>
                      </a:cubicBezTo>
                      <a:cubicBezTo>
                        <a:pt x="239" y="269"/>
                        <a:pt x="239" y="269"/>
                        <a:pt x="239" y="269"/>
                      </a:cubicBezTo>
                      <a:cubicBezTo>
                        <a:pt x="215" y="259"/>
                        <a:pt x="215" y="259"/>
                        <a:pt x="215" y="259"/>
                      </a:cubicBezTo>
                      <a:cubicBezTo>
                        <a:pt x="200" y="244"/>
                        <a:pt x="200" y="244"/>
                        <a:pt x="200" y="244"/>
                      </a:cubicBezTo>
                      <a:cubicBezTo>
                        <a:pt x="181" y="229"/>
                        <a:pt x="181" y="229"/>
                        <a:pt x="181" y="229"/>
                      </a:cubicBezTo>
                      <a:cubicBezTo>
                        <a:pt x="146" y="210"/>
                        <a:pt x="146" y="210"/>
                        <a:pt x="146" y="210"/>
                      </a:cubicBezTo>
                      <a:cubicBezTo>
                        <a:pt x="135" y="205"/>
                        <a:pt x="135" y="205"/>
                        <a:pt x="135" y="205"/>
                      </a:cubicBezTo>
                      <a:cubicBezTo>
                        <a:pt x="125" y="195"/>
                        <a:pt x="125" y="195"/>
                        <a:pt x="125" y="195"/>
                      </a:cubicBezTo>
                      <a:cubicBezTo>
                        <a:pt x="113" y="195"/>
                        <a:pt x="113" y="195"/>
                        <a:pt x="113" y="195"/>
                      </a:cubicBezTo>
                      <a:cubicBezTo>
                        <a:pt x="98" y="180"/>
                        <a:pt x="98" y="180"/>
                        <a:pt x="98" y="180"/>
                      </a:cubicBezTo>
                      <a:cubicBezTo>
                        <a:pt x="81" y="158"/>
                        <a:pt x="81" y="158"/>
                        <a:pt x="81" y="158"/>
                      </a:cubicBezTo>
                      <a:cubicBezTo>
                        <a:pt x="68" y="134"/>
                        <a:pt x="68" y="134"/>
                        <a:pt x="68" y="134"/>
                      </a:cubicBezTo>
                      <a:cubicBezTo>
                        <a:pt x="53" y="110"/>
                        <a:pt x="53" y="110"/>
                        <a:pt x="53" y="110"/>
                      </a:cubicBezTo>
                      <a:cubicBezTo>
                        <a:pt x="45" y="78"/>
                        <a:pt x="45" y="78"/>
                        <a:pt x="45" y="78"/>
                      </a:cubicBezTo>
                      <a:cubicBezTo>
                        <a:pt x="35" y="42"/>
                        <a:pt x="35" y="42"/>
                        <a:pt x="35" y="42"/>
                      </a:cubicBezTo>
                      <a:cubicBezTo>
                        <a:pt x="29" y="28"/>
                        <a:pt x="29" y="28"/>
                        <a:pt x="29" y="28"/>
                      </a:cubicBezTo>
                      <a:cubicBezTo>
                        <a:pt x="17" y="28"/>
                        <a:pt x="17" y="28"/>
                        <a:pt x="17" y="28"/>
                      </a:cubicBezTo>
                      <a:lnTo>
                        <a:pt x="10" y="0"/>
                      </a:lnTo>
                      <a:close/>
                    </a:path>
                  </a:pathLst>
                </a:custGeom>
                <a:grpFill/>
                <a:ln w="19050" cap="flat" cmpd="sng">
                  <a:solidFill>
                    <a:schemeClr val="bg1"/>
                  </a:solidFill>
                  <a:prstDash val="solid"/>
                  <a:round/>
                  <a:headEnd/>
                  <a:tailEnd/>
                </a:ln>
              </p:spPr>
              <p:txBody>
                <a:bodyPr wrap="none" anchor="ctr"/>
                <a:lstStyle/>
                <a:p>
                  <a:pPr eaLnBrk="1" hangingPunct="1">
                    <a:spcBef>
                      <a:spcPct val="20000"/>
                    </a:spcBef>
                    <a:defRPr/>
                  </a:pPr>
                  <a:endParaRPr lang="de-CH" sz="600" dirty="0">
                    <a:latin typeface="Frutiger for ZKB Light" panose="020B0303030504020204" pitchFamily="34" charset="0"/>
                  </a:endParaRPr>
                </a:p>
              </p:txBody>
            </p:sp>
            <p:sp>
              <p:nvSpPr>
                <p:cNvPr id="183" name="Freeform 292">
                  <a:extLst>
                    <a:ext uri="{FF2B5EF4-FFF2-40B4-BE49-F238E27FC236}">
                      <a16:creationId xmlns:a16="http://schemas.microsoft.com/office/drawing/2014/main" id="{13B8F663-C7B0-660D-F788-AE14C2AD8AE5}"/>
                    </a:ext>
                  </a:extLst>
                </p:cNvPr>
                <p:cNvSpPr>
                  <a:spLocks/>
                </p:cNvSpPr>
                <p:nvPr/>
              </p:nvSpPr>
              <p:spPr bwMode="gray">
                <a:xfrm>
                  <a:off x="6901721" y="4191238"/>
                  <a:ext cx="517515" cy="692520"/>
                </a:xfrm>
                <a:custGeom>
                  <a:avLst/>
                  <a:gdLst>
                    <a:gd name="T0" fmla="*/ 10 w 67"/>
                    <a:gd name="T1" fmla="*/ 0 h 107"/>
                    <a:gd name="T2" fmla="*/ 20 w 67"/>
                    <a:gd name="T3" fmla="*/ 10 h 107"/>
                    <a:gd name="T4" fmla="*/ 30 w 67"/>
                    <a:gd name="T5" fmla="*/ 21 h 107"/>
                    <a:gd name="T6" fmla="*/ 38 w 67"/>
                    <a:gd name="T7" fmla="*/ 30 h 107"/>
                    <a:gd name="T8" fmla="*/ 46 w 67"/>
                    <a:gd name="T9" fmla="*/ 43 h 107"/>
                    <a:gd name="T10" fmla="*/ 45 w 67"/>
                    <a:gd name="T11" fmla="*/ 62 h 107"/>
                    <a:gd name="T12" fmla="*/ 49 w 67"/>
                    <a:gd name="T13" fmla="*/ 71 h 107"/>
                    <a:gd name="T14" fmla="*/ 56 w 67"/>
                    <a:gd name="T15" fmla="*/ 78 h 107"/>
                    <a:gd name="T16" fmla="*/ 67 w 67"/>
                    <a:gd name="T17" fmla="*/ 83 h 107"/>
                    <a:gd name="T18" fmla="*/ 66 w 67"/>
                    <a:gd name="T19" fmla="*/ 91 h 107"/>
                    <a:gd name="T20" fmla="*/ 63 w 67"/>
                    <a:gd name="T21" fmla="*/ 97 h 107"/>
                    <a:gd name="T22" fmla="*/ 58 w 67"/>
                    <a:gd name="T23" fmla="*/ 98 h 107"/>
                    <a:gd name="T24" fmla="*/ 56 w 67"/>
                    <a:gd name="T25" fmla="*/ 107 h 107"/>
                    <a:gd name="T26" fmla="*/ 47 w 67"/>
                    <a:gd name="T27" fmla="*/ 107 h 107"/>
                    <a:gd name="T28" fmla="*/ 43 w 67"/>
                    <a:gd name="T29" fmla="*/ 91 h 107"/>
                    <a:gd name="T30" fmla="*/ 30 w 67"/>
                    <a:gd name="T31" fmla="*/ 63 h 107"/>
                    <a:gd name="T32" fmla="*/ 29 w 67"/>
                    <a:gd name="T33" fmla="*/ 58 h 107"/>
                    <a:gd name="T34" fmla="*/ 20 w 67"/>
                    <a:gd name="T35" fmla="*/ 55 h 107"/>
                    <a:gd name="T36" fmla="*/ 14 w 67"/>
                    <a:gd name="T37" fmla="*/ 41 h 107"/>
                    <a:gd name="T38" fmla="*/ 0 w 67"/>
                    <a:gd name="T39" fmla="*/ 27 h 107"/>
                    <a:gd name="T40" fmla="*/ 2 w 67"/>
                    <a:gd name="T41" fmla="*/ 4 h 107"/>
                    <a:gd name="T42" fmla="*/ 10 w 67"/>
                    <a:gd name="T4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107">
                      <a:moveTo>
                        <a:pt x="10" y="0"/>
                      </a:moveTo>
                      <a:cubicBezTo>
                        <a:pt x="20" y="10"/>
                        <a:pt x="20" y="10"/>
                        <a:pt x="20" y="10"/>
                      </a:cubicBezTo>
                      <a:cubicBezTo>
                        <a:pt x="30" y="21"/>
                        <a:pt x="30" y="21"/>
                        <a:pt x="30" y="21"/>
                      </a:cubicBezTo>
                      <a:cubicBezTo>
                        <a:pt x="38" y="30"/>
                        <a:pt x="38" y="30"/>
                        <a:pt x="38" y="30"/>
                      </a:cubicBezTo>
                      <a:cubicBezTo>
                        <a:pt x="46" y="43"/>
                        <a:pt x="46" y="43"/>
                        <a:pt x="46" y="43"/>
                      </a:cubicBezTo>
                      <a:cubicBezTo>
                        <a:pt x="45" y="62"/>
                        <a:pt x="45" y="62"/>
                        <a:pt x="45" y="62"/>
                      </a:cubicBezTo>
                      <a:cubicBezTo>
                        <a:pt x="49" y="71"/>
                        <a:pt x="49" y="71"/>
                        <a:pt x="49" y="71"/>
                      </a:cubicBezTo>
                      <a:cubicBezTo>
                        <a:pt x="49" y="71"/>
                        <a:pt x="55" y="76"/>
                        <a:pt x="56" y="78"/>
                      </a:cubicBezTo>
                      <a:cubicBezTo>
                        <a:pt x="57" y="79"/>
                        <a:pt x="67" y="83"/>
                        <a:pt x="67" y="83"/>
                      </a:cubicBezTo>
                      <a:cubicBezTo>
                        <a:pt x="66" y="91"/>
                        <a:pt x="66" y="91"/>
                        <a:pt x="66" y="91"/>
                      </a:cubicBezTo>
                      <a:cubicBezTo>
                        <a:pt x="63" y="97"/>
                        <a:pt x="63" y="97"/>
                        <a:pt x="63" y="97"/>
                      </a:cubicBezTo>
                      <a:cubicBezTo>
                        <a:pt x="58" y="98"/>
                        <a:pt x="58" y="98"/>
                        <a:pt x="58" y="98"/>
                      </a:cubicBezTo>
                      <a:cubicBezTo>
                        <a:pt x="56" y="107"/>
                        <a:pt x="56" y="107"/>
                        <a:pt x="56" y="107"/>
                      </a:cubicBezTo>
                      <a:cubicBezTo>
                        <a:pt x="47" y="107"/>
                        <a:pt x="47" y="107"/>
                        <a:pt x="47" y="107"/>
                      </a:cubicBezTo>
                      <a:cubicBezTo>
                        <a:pt x="43" y="91"/>
                        <a:pt x="43" y="91"/>
                        <a:pt x="43" y="91"/>
                      </a:cubicBezTo>
                      <a:cubicBezTo>
                        <a:pt x="30" y="63"/>
                        <a:pt x="30" y="63"/>
                        <a:pt x="30" y="63"/>
                      </a:cubicBezTo>
                      <a:cubicBezTo>
                        <a:pt x="29" y="58"/>
                        <a:pt x="29" y="58"/>
                        <a:pt x="29" y="58"/>
                      </a:cubicBezTo>
                      <a:cubicBezTo>
                        <a:pt x="20" y="55"/>
                        <a:pt x="20" y="55"/>
                        <a:pt x="20" y="55"/>
                      </a:cubicBezTo>
                      <a:cubicBezTo>
                        <a:pt x="14" y="41"/>
                        <a:pt x="14" y="41"/>
                        <a:pt x="14" y="41"/>
                      </a:cubicBezTo>
                      <a:cubicBezTo>
                        <a:pt x="0" y="27"/>
                        <a:pt x="0" y="27"/>
                        <a:pt x="0" y="27"/>
                      </a:cubicBezTo>
                      <a:cubicBezTo>
                        <a:pt x="2" y="4"/>
                        <a:pt x="2" y="4"/>
                        <a:pt x="2" y="4"/>
                      </a:cubicBezTo>
                      <a:lnTo>
                        <a:pt x="10" y="0"/>
                      </a:lnTo>
                      <a:close/>
                    </a:path>
                  </a:pathLst>
                </a:custGeom>
                <a:grpFill/>
                <a:ln w="19050" cap="flat" cmpd="sng">
                  <a:solidFill>
                    <a:schemeClr val="bg1"/>
                  </a:solidFill>
                  <a:prstDash val="solid"/>
                  <a:round/>
                  <a:headEnd/>
                  <a:tailEnd/>
                </a:ln>
              </p:spPr>
              <p:txBody>
                <a:bodyPr wrap="none" anchor="ctr"/>
                <a:lstStyle/>
                <a:p>
                  <a:pPr eaLnBrk="1" hangingPunct="1">
                    <a:spcBef>
                      <a:spcPct val="20000"/>
                    </a:spcBef>
                    <a:defRPr/>
                  </a:pPr>
                  <a:endParaRPr lang="de-CH" sz="600" dirty="0">
                    <a:latin typeface="Frutiger for ZKB Light" panose="020B0303030504020204" pitchFamily="34" charset="0"/>
                  </a:endParaRPr>
                </a:p>
              </p:txBody>
            </p:sp>
            <p:sp>
              <p:nvSpPr>
                <p:cNvPr id="184" name="Freihandform 87">
                  <a:extLst>
                    <a:ext uri="{FF2B5EF4-FFF2-40B4-BE49-F238E27FC236}">
                      <a16:creationId xmlns:a16="http://schemas.microsoft.com/office/drawing/2014/main" id="{B4A36B2F-3BA0-579F-8AB5-D34D6E164ACD}"/>
                    </a:ext>
                  </a:extLst>
                </p:cNvPr>
                <p:cNvSpPr/>
                <p:nvPr/>
              </p:nvSpPr>
              <p:spPr bwMode="gray">
                <a:xfrm>
                  <a:off x="7970173" y="4302302"/>
                  <a:ext cx="217976" cy="326963"/>
                </a:xfrm>
                <a:custGeom>
                  <a:avLst/>
                  <a:gdLst>
                    <a:gd name="connsiteX0" fmla="*/ 89210 w 240866"/>
                    <a:gd name="connsiteY0" fmla="*/ 0 h 361299"/>
                    <a:gd name="connsiteX1" fmla="*/ 89210 w 240866"/>
                    <a:gd name="connsiteY1" fmla="*/ 0 h 361299"/>
                    <a:gd name="connsiteX2" fmla="*/ 44605 w 240866"/>
                    <a:gd name="connsiteY2" fmla="*/ 31223 h 361299"/>
                    <a:gd name="connsiteX3" fmla="*/ 31223 w 240866"/>
                    <a:gd name="connsiteY3" fmla="*/ 40144 h 361299"/>
                    <a:gd name="connsiteX4" fmla="*/ 17842 w 240866"/>
                    <a:gd name="connsiteY4" fmla="*/ 49065 h 361299"/>
                    <a:gd name="connsiteX5" fmla="*/ 8921 w 240866"/>
                    <a:gd name="connsiteY5" fmla="*/ 62447 h 361299"/>
                    <a:gd name="connsiteX6" fmla="*/ 0 w 240866"/>
                    <a:gd name="connsiteY6" fmla="*/ 89210 h 361299"/>
                    <a:gd name="connsiteX7" fmla="*/ 13381 w 240866"/>
                    <a:gd name="connsiteY7" fmla="*/ 173959 h 361299"/>
                    <a:gd name="connsiteX8" fmla="*/ 13381 w 240866"/>
                    <a:gd name="connsiteY8" fmla="*/ 173959 h 361299"/>
                    <a:gd name="connsiteX9" fmla="*/ 26763 w 240866"/>
                    <a:gd name="connsiteY9" fmla="*/ 223024 h 361299"/>
                    <a:gd name="connsiteX10" fmla="*/ 35684 w 240866"/>
                    <a:gd name="connsiteY10" fmla="*/ 249787 h 361299"/>
                    <a:gd name="connsiteX11" fmla="*/ 44605 w 240866"/>
                    <a:gd name="connsiteY11" fmla="*/ 263169 h 361299"/>
                    <a:gd name="connsiteX12" fmla="*/ 53526 w 240866"/>
                    <a:gd name="connsiteY12" fmla="*/ 289932 h 361299"/>
                    <a:gd name="connsiteX13" fmla="*/ 62447 w 240866"/>
                    <a:gd name="connsiteY13" fmla="*/ 325616 h 361299"/>
                    <a:gd name="connsiteX14" fmla="*/ 71368 w 240866"/>
                    <a:gd name="connsiteY14" fmla="*/ 361299 h 361299"/>
                    <a:gd name="connsiteX15" fmla="*/ 89210 w 240866"/>
                    <a:gd name="connsiteY15" fmla="*/ 356839 h 361299"/>
                    <a:gd name="connsiteX16" fmla="*/ 115973 w 240866"/>
                    <a:gd name="connsiteY16" fmla="*/ 347918 h 361299"/>
                    <a:gd name="connsiteX17" fmla="*/ 191801 w 240866"/>
                    <a:gd name="connsiteY17" fmla="*/ 338997 h 361299"/>
                    <a:gd name="connsiteX18" fmla="*/ 214103 w 240866"/>
                    <a:gd name="connsiteY18" fmla="*/ 334536 h 361299"/>
                    <a:gd name="connsiteX19" fmla="*/ 218564 w 240866"/>
                    <a:gd name="connsiteY19" fmla="*/ 321155 h 361299"/>
                    <a:gd name="connsiteX20" fmla="*/ 223024 w 240866"/>
                    <a:gd name="connsiteY20" fmla="*/ 303313 h 361299"/>
                    <a:gd name="connsiteX21" fmla="*/ 236406 w 240866"/>
                    <a:gd name="connsiteY21" fmla="*/ 263169 h 361299"/>
                    <a:gd name="connsiteX22" fmla="*/ 240866 w 240866"/>
                    <a:gd name="connsiteY22" fmla="*/ 240866 h 361299"/>
                    <a:gd name="connsiteX23" fmla="*/ 223024 w 240866"/>
                    <a:gd name="connsiteY23" fmla="*/ 209643 h 361299"/>
                    <a:gd name="connsiteX24" fmla="*/ 205182 w 240866"/>
                    <a:gd name="connsiteY24" fmla="*/ 187340 h 361299"/>
                    <a:gd name="connsiteX25" fmla="*/ 187340 w 240866"/>
                    <a:gd name="connsiteY25" fmla="*/ 147196 h 361299"/>
                    <a:gd name="connsiteX26" fmla="*/ 182880 w 240866"/>
                    <a:gd name="connsiteY26" fmla="*/ 133815 h 361299"/>
                    <a:gd name="connsiteX27" fmla="*/ 178419 w 240866"/>
                    <a:gd name="connsiteY27" fmla="*/ 115973 h 361299"/>
                    <a:gd name="connsiteX28" fmla="*/ 169498 w 240866"/>
                    <a:gd name="connsiteY28" fmla="*/ 102591 h 361299"/>
                    <a:gd name="connsiteX29" fmla="*/ 151656 w 240866"/>
                    <a:gd name="connsiteY29" fmla="*/ 62447 h 361299"/>
                    <a:gd name="connsiteX30" fmla="*/ 133815 w 240866"/>
                    <a:gd name="connsiteY30" fmla="*/ 40144 h 361299"/>
                    <a:gd name="connsiteX31" fmla="*/ 124894 w 240866"/>
                    <a:gd name="connsiteY31" fmla="*/ 26763 h 361299"/>
                    <a:gd name="connsiteX32" fmla="*/ 120433 w 240866"/>
                    <a:gd name="connsiteY32" fmla="*/ 13381 h 361299"/>
                    <a:gd name="connsiteX33" fmla="*/ 107052 w 240866"/>
                    <a:gd name="connsiteY33" fmla="*/ 4460 h 361299"/>
                    <a:gd name="connsiteX34" fmla="*/ 89210 w 240866"/>
                    <a:gd name="connsiteY34" fmla="*/ 0 h 361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0866" h="361299">
                      <a:moveTo>
                        <a:pt x="89210" y="0"/>
                      </a:moveTo>
                      <a:lnTo>
                        <a:pt x="89210" y="0"/>
                      </a:lnTo>
                      <a:lnTo>
                        <a:pt x="44605" y="31223"/>
                      </a:lnTo>
                      <a:cubicBezTo>
                        <a:pt x="40197" y="34274"/>
                        <a:pt x="35684" y="37170"/>
                        <a:pt x="31223" y="40144"/>
                      </a:cubicBezTo>
                      <a:lnTo>
                        <a:pt x="17842" y="49065"/>
                      </a:lnTo>
                      <a:cubicBezTo>
                        <a:pt x="14868" y="53526"/>
                        <a:pt x="11098" y="57548"/>
                        <a:pt x="8921" y="62447"/>
                      </a:cubicBezTo>
                      <a:cubicBezTo>
                        <a:pt x="5102" y="71040"/>
                        <a:pt x="0" y="89210"/>
                        <a:pt x="0" y="89210"/>
                      </a:cubicBezTo>
                      <a:cubicBezTo>
                        <a:pt x="5181" y="156572"/>
                        <a:pt x="-1670" y="128805"/>
                        <a:pt x="13381" y="173959"/>
                      </a:cubicBezTo>
                      <a:lnTo>
                        <a:pt x="13381" y="173959"/>
                      </a:lnTo>
                      <a:cubicBezTo>
                        <a:pt x="19687" y="205485"/>
                        <a:pt x="15444" y="189065"/>
                        <a:pt x="26763" y="223024"/>
                      </a:cubicBezTo>
                      <a:cubicBezTo>
                        <a:pt x="26765" y="223029"/>
                        <a:pt x="35680" y="249782"/>
                        <a:pt x="35684" y="249787"/>
                      </a:cubicBezTo>
                      <a:lnTo>
                        <a:pt x="44605" y="263169"/>
                      </a:lnTo>
                      <a:lnTo>
                        <a:pt x="53526" y="289932"/>
                      </a:lnTo>
                      <a:cubicBezTo>
                        <a:pt x="57403" y="301564"/>
                        <a:pt x="58570" y="313984"/>
                        <a:pt x="62447" y="325616"/>
                      </a:cubicBezTo>
                      <a:cubicBezTo>
                        <a:pt x="69304" y="346189"/>
                        <a:pt x="65985" y="334387"/>
                        <a:pt x="71368" y="361299"/>
                      </a:cubicBezTo>
                      <a:cubicBezTo>
                        <a:pt x="77315" y="359812"/>
                        <a:pt x="83338" y="358600"/>
                        <a:pt x="89210" y="356839"/>
                      </a:cubicBezTo>
                      <a:cubicBezTo>
                        <a:pt x="98217" y="354137"/>
                        <a:pt x="106664" y="349248"/>
                        <a:pt x="115973" y="347918"/>
                      </a:cubicBezTo>
                      <a:cubicBezTo>
                        <a:pt x="161988" y="341344"/>
                        <a:pt x="136735" y="344503"/>
                        <a:pt x="191801" y="338997"/>
                      </a:cubicBezTo>
                      <a:cubicBezTo>
                        <a:pt x="199235" y="337510"/>
                        <a:pt x="207795" y="338741"/>
                        <a:pt x="214103" y="334536"/>
                      </a:cubicBezTo>
                      <a:cubicBezTo>
                        <a:pt x="218015" y="331928"/>
                        <a:pt x="217272" y="325676"/>
                        <a:pt x="218564" y="321155"/>
                      </a:cubicBezTo>
                      <a:cubicBezTo>
                        <a:pt x="220248" y="315261"/>
                        <a:pt x="221263" y="309185"/>
                        <a:pt x="223024" y="303313"/>
                      </a:cubicBezTo>
                      <a:cubicBezTo>
                        <a:pt x="223038" y="303266"/>
                        <a:pt x="234168" y="269883"/>
                        <a:pt x="236406" y="263169"/>
                      </a:cubicBezTo>
                      <a:cubicBezTo>
                        <a:pt x="238804" y="255977"/>
                        <a:pt x="239379" y="248300"/>
                        <a:pt x="240866" y="240866"/>
                      </a:cubicBezTo>
                      <a:cubicBezTo>
                        <a:pt x="231023" y="191649"/>
                        <a:pt x="245777" y="238085"/>
                        <a:pt x="223024" y="209643"/>
                      </a:cubicBezTo>
                      <a:cubicBezTo>
                        <a:pt x="198401" y="178864"/>
                        <a:pt x="243533" y="212906"/>
                        <a:pt x="205182" y="187340"/>
                      </a:cubicBezTo>
                      <a:cubicBezTo>
                        <a:pt x="194566" y="155491"/>
                        <a:pt x="201477" y="168401"/>
                        <a:pt x="187340" y="147196"/>
                      </a:cubicBezTo>
                      <a:cubicBezTo>
                        <a:pt x="185853" y="142736"/>
                        <a:pt x="184172" y="138336"/>
                        <a:pt x="182880" y="133815"/>
                      </a:cubicBezTo>
                      <a:cubicBezTo>
                        <a:pt x="181196" y="127920"/>
                        <a:pt x="180834" y="121608"/>
                        <a:pt x="178419" y="115973"/>
                      </a:cubicBezTo>
                      <a:cubicBezTo>
                        <a:pt x="176307" y="111045"/>
                        <a:pt x="172472" y="107052"/>
                        <a:pt x="169498" y="102591"/>
                      </a:cubicBezTo>
                      <a:cubicBezTo>
                        <a:pt x="158882" y="70742"/>
                        <a:pt x="165793" y="83652"/>
                        <a:pt x="151656" y="62447"/>
                      </a:cubicBezTo>
                      <a:cubicBezTo>
                        <a:pt x="142974" y="36397"/>
                        <a:pt x="153989" y="60318"/>
                        <a:pt x="133815" y="40144"/>
                      </a:cubicBezTo>
                      <a:cubicBezTo>
                        <a:pt x="130024" y="36353"/>
                        <a:pt x="127291" y="31558"/>
                        <a:pt x="124894" y="26763"/>
                      </a:cubicBezTo>
                      <a:cubicBezTo>
                        <a:pt x="122791" y="22557"/>
                        <a:pt x="123370" y="17053"/>
                        <a:pt x="120433" y="13381"/>
                      </a:cubicBezTo>
                      <a:cubicBezTo>
                        <a:pt x="117084" y="9195"/>
                        <a:pt x="111847" y="6857"/>
                        <a:pt x="107052" y="4460"/>
                      </a:cubicBezTo>
                      <a:cubicBezTo>
                        <a:pt x="105722" y="3795"/>
                        <a:pt x="104078" y="4460"/>
                        <a:pt x="89210" y="0"/>
                      </a:cubicBezTo>
                      <a:close/>
                    </a:path>
                  </a:pathLst>
                </a:custGeom>
                <a:grpFill/>
                <a:ln w="19050" cap="flat" cmpd="sng">
                  <a:solidFill>
                    <a:schemeClr val="bg1"/>
                  </a:solidFill>
                  <a:prstDash val="solid"/>
                  <a:round/>
                  <a:headEnd/>
                  <a:tailEnd/>
                </a:ln>
              </p:spPr>
              <p:txBody>
                <a:bodyPr wrap="none" anchor="ctr"/>
                <a:lstStyle/>
                <a:p>
                  <a:pPr eaLnBrk="1" hangingPunct="1">
                    <a:spcBef>
                      <a:spcPct val="20000"/>
                    </a:spcBef>
                    <a:defRPr/>
                  </a:pPr>
                  <a:endParaRPr lang="de-CH" sz="600" dirty="0">
                    <a:latin typeface="Frutiger for ZKB Light" panose="020B0303030504020204" pitchFamily="34" charset="0"/>
                    <a:cs typeface="Arial" pitchFamily="34" charset="0"/>
                  </a:endParaRPr>
                </a:p>
              </p:txBody>
            </p:sp>
          </p:grpSp>
        </p:grpSp>
        <p:sp>
          <p:nvSpPr>
            <p:cNvPr id="125965" name="Textfeld 167">
              <a:extLst>
                <a:ext uri="{FF2B5EF4-FFF2-40B4-BE49-F238E27FC236}">
                  <a16:creationId xmlns:a16="http://schemas.microsoft.com/office/drawing/2014/main" id="{F57B28CA-28C1-842F-99C0-3145FCE83686}"/>
                </a:ext>
              </a:extLst>
            </p:cNvPr>
            <p:cNvSpPr txBox="1">
              <a:spLocks noChangeArrowheads="1"/>
            </p:cNvSpPr>
            <p:nvPr/>
          </p:nvSpPr>
          <p:spPr bwMode="auto">
            <a:xfrm>
              <a:off x="9707806" y="3433229"/>
              <a:ext cx="608413" cy="162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200" dirty="0"/>
                <a:t>Winterthur</a:t>
              </a:r>
            </a:p>
          </p:txBody>
        </p:sp>
        <p:sp>
          <p:nvSpPr>
            <p:cNvPr id="125966" name="Textfeld 168">
              <a:extLst>
                <a:ext uri="{FF2B5EF4-FFF2-40B4-BE49-F238E27FC236}">
                  <a16:creationId xmlns:a16="http://schemas.microsoft.com/office/drawing/2014/main" id="{09CA728A-D5D6-7B89-A311-100E5E7D9F75}"/>
                </a:ext>
              </a:extLst>
            </p:cNvPr>
            <p:cNvSpPr txBox="1">
              <a:spLocks noChangeArrowheads="1"/>
            </p:cNvSpPr>
            <p:nvPr/>
          </p:nvSpPr>
          <p:spPr bwMode="auto">
            <a:xfrm>
              <a:off x="8344307" y="3744742"/>
              <a:ext cx="608413" cy="162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200" dirty="0"/>
                <a:t>Zürich-Nord</a:t>
              </a:r>
            </a:p>
          </p:txBody>
        </p:sp>
        <p:sp>
          <p:nvSpPr>
            <p:cNvPr id="125967" name="Textfeld 169">
              <a:extLst>
                <a:ext uri="{FF2B5EF4-FFF2-40B4-BE49-F238E27FC236}">
                  <a16:creationId xmlns:a16="http://schemas.microsoft.com/office/drawing/2014/main" id="{7773E8B3-24EF-C76A-817F-D25BB0C53CFB}"/>
                </a:ext>
              </a:extLst>
            </p:cNvPr>
            <p:cNvSpPr txBox="1">
              <a:spLocks noChangeArrowheads="1"/>
            </p:cNvSpPr>
            <p:nvPr/>
          </p:nvSpPr>
          <p:spPr bwMode="auto">
            <a:xfrm>
              <a:off x="8178433" y="4605435"/>
              <a:ext cx="608413" cy="162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200" dirty="0"/>
                <a:t>Zürich-</a:t>
              </a:r>
              <a:br>
                <a:rPr lang="de-CH" altLang="de-DE" sz="1200" dirty="0"/>
              </a:br>
              <a:r>
                <a:rPr lang="de-CH" altLang="de-DE" sz="1200" dirty="0"/>
                <a:t>West</a:t>
              </a:r>
            </a:p>
          </p:txBody>
        </p:sp>
        <p:sp>
          <p:nvSpPr>
            <p:cNvPr id="125968" name="Textfeld 170">
              <a:extLst>
                <a:ext uri="{FF2B5EF4-FFF2-40B4-BE49-F238E27FC236}">
                  <a16:creationId xmlns:a16="http://schemas.microsoft.com/office/drawing/2014/main" id="{BE53556D-3992-5ACC-50AE-75309F7846CB}"/>
                </a:ext>
              </a:extLst>
            </p:cNvPr>
            <p:cNvSpPr txBox="1">
              <a:spLocks noChangeArrowheads="1"/>
            </p:cNvSpPr>
            <p:nvPr/>
          </p:nvSpPr>
          <p:spPr bwMode="auto">
            <a:xfrm>
              <a:off x="8882542" y="5504268"/>
              <a:ext cx="608413" cy="162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200" dirty="0"/>
                <a:t>Zürichsee</a:t>
              </a:r>
            </a:p>
          </p:txBody>
        </p:sp>
        <p:sp>
          <p:nvSpPr>
            <p:cNvPr id="125969" name="Textfeld 171">
              <a:extLst>
                <a:ext uri="{FF2B5EF4-FFF2-40B4-BE49-F238E27FC236}">
                  <a16:creationId xmlns:a16="http://schemas.microsoft.com/office/drawing/2014/main" id="{3B866319-08AF-A95F-C49D-AB560ACADB10}"/>
                </a:ext>
              </a:extLst>
            </p:cNvPr>
            <p:cNvSpPr txBox="1">
              <a:spLocks noChangeArrowheads="1"/>
            </p:cNvSpPr>
            <p:nvPr/>
          </p:nvSpPr>
          <p:spPr bwMode="auto">
            <a:xfrm>
              <a:off x="10426478" y="5066284"/>
              <a:ext cx="608413" cy="162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200" dirty="0"/>
                <a:t>Oberland</a:t>
              </a:r>
            </a:p>
          </p:txBody>
        </p:sp>
        <p:sp>
          <p:nvSpPr>
            <p:cNvPr id="125970" name="Textfeld 172">
              <a:extLst>
                <a:ext uri="{FF2B5EF4-FFF2-40B4-BE49-F238E27FC236}">
                  <a16:creationId xmlns:a16="http://schemas.microsoft.com/office/drawing/2014/main" id="{CF1D27FB-EC4F-9EA5-0F86-82AD04B0BA39}"/>
                </a:ext>
              </a:extLst>
            </p:cNvPr>
            <p:cNvSpPr txBox="1">
              <a:spLocks noChangeArrowheads="1"/>
            </p:cNvSpPr>
            <p:nvPr/>
          </p:nvSpPr>
          <p:spPr bwMode="auto">
            <a:xfrm>
              <a:off x="8795140" y="4687632"/>
              <a:ext cx="608413" cy="162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200" dirty="0"/>
                <a:t>Zürich-</a:t>
              </a:r>
              <a:br>
                <a:rPr lang="de-CH" altLang="de-DE" sz="1200" dirty="0"/>
              </a:br>
              <a:r>
                <a:rPr lang="de-CH" altLang="de-DE" sz="1200" dirty="0"/>
                <a:t>City</a:t>
              </a:r>
            </a:p>
          </p:txBody>
        </p:sp>
      </p:grpSp>
    </p:spTree>
    <p:extLst>
      <p:ext uri="{BB962C8B-B14F-4D97-AF65-F5344CB8AC3E}">
        <p14:creationId xmlns:p14="http://schemas.microsoft.com/office/powerpoint/2010/main" val="171071845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6978" name="think-cell data - do not delete" hidden="1">
            <a:extLst>
              <a:ext uri="{FF2B5EF4-FFF2-40B4-BE49-F238E27FC236}">
                <a16:creationId xmlns:a16="http://schemas.microsoft.com/office/drawing/2014/main" id="{2CE1D40D-4AC6-33EE-91B9-577FF68E62B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26978" name="think-cell data - do not delete" hidden="1">
                        <a:extLst>
                          <a:ext uri="{FF2B5EF4-FFF2-40B4-BE49-F238E27FC236}">
                            <a16:creationId xmlns:a16="http://schemas.microsoft.com/office/drawing/2014/main" id="{2CE1D40D-4AC6-33EE-91B9-577FF68E62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6979" name="Titel 5">
            <a:extLst>
              <a:ext uri="{FF2B5EF4-FFF2-40B4-BE49-F238E27FC236}">
                <a16:creationId xmlns:a16="http://schemas.microsoft.com/office/drawing/2014/main" id="{6AA0C4BD-89BA-DABE-1ECE-71344EE3B1E7}"/>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Schweiz</a:t>
            </a:r>
          </a:p>
        </p:txBody>
      </p:sp>
      <p:sp>
        <p:nvSpPr>
          <p:cNvPr id="126980" name="Foliennummernplatzhalter 10">
            <a:extLst>
              <a:ext uri="{FF2B5EF4-FFF2-40B4-BE49-F238E27FC236}">
                <a16:creationId xmlns:a16="http://schemas.microsoft.com/office/drawing/2014/main" id="{42AD7309-E841-DF1E-CCCA-AEBB56CC8D12}"/>
              </a:ext>
            </a:extLst>
          </p:cNvPr>
          <p:cNvSpPr>
            <a:spLocks noGrp="1" noChangeArrowheads="1"/>
          </p:cNvSpPr>
          <p:nvPr>
            <p:ph type="sldNum" sz="quarter" idx="16"/>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1B41B96-C24D-47CE-B205-C22431F12D8E}" type="slidenum">
              <a:rPr lang="de-CH" smtClean="0"/>
              <a:pPr>
                <a:spcBef>
                  <a:spcPct val="0"/>
                </a:spcBef>
                <a:spcAft>
                  <a:spcPct val="0"/>
                </a:spcAft>
                <a:defRPr/>
              </a:pPr>
              <a:t>95</a:t>
            </a:fld>
            <a:endParaRPr lang="de-CH" altLang="de-DE" sz="1100" dirty="0">
              <a:solidFill>
                <a:srgbClr val="003CB4"/>
              </a:solidFill>
            </a:endParaRPr>
          </a:p>
        </p:txBody>
      </p:sp>
      <p:sp>
        <p:nvSpPr>
          <p:cNvPr id="126981" name="Fußzeilenplatzhalter 9">
            <a:extLst>
              <a:ext uri="{FF2B5EF4-FFF2-40B4-BE49-F238E27FC236}">
                <a16:creationId xmlns:a16="http://schemas.microsoft.com/office/drawing/2014/main" id="{F524E840-0A81-2A36-AFB0-9BED97FBF237}"/>
              </a:ext>
            </a:extLst>
          </p:cNvPr>
          <p:cNvSpPr>
            <a:spLocks noGrp="1" noChangeArrowheads="1"/>
          </p:cNvSpPr>
          <p:nvPr>
            <p:ph type="ftr" sz="quarter" idx="17"/>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26982" name="Textplatzhalter 3">
            <a:extLst>
              <a:ext uri="{FF2B5EF4-FFF2-40B4-BE49-F238E27FC236}">
                <a16:creationId xmlns:a16="http://schemas.microsoft.com/office/drawing/2014/main" id="{610C98EE-7926-9692-A3D0-C46ED8617269}"/>
              </a:ext>
            </a:extLst>
          </p:cNvPr>
          <p:cNvSpPr>
            <a:spLocks noGrp="1" noChangeArrowheads="1"/>
          </p:cNvSpPr>
          <p:nvPr>
            <p:ph type="body" sz="quarter" idx="14"/>
          </p:nvPr>
        </p:nvSpPr>
        <p:spPr>
          <a:xfrm>
            <a:off x="306388" y="1885950"/>
            <a:ext cx="5976937" cy="646113"/>
          </a:xfrm>
        </p:spPr>
        <p:txBody>
          <a:bodyPr/>
          <a:lstStyle/>
          <a:p>
            <a:pPr eaLnBrk="1" hangingPunct="1">
              <a:spcBef>
                <a:spcPct val="0"/>
              </a:spcBef>
              <a:spcAft>
                <a:spcPct val="0"/>
              </a:spcAft>
            </a:pPr>
            <a:r>
              <a:rPr lang="de-CH" altLang="de-DE" dirty="0">
                <a:cs typeface="Aharoni" panose="020F0502020204030204" pitchFamily="2" charset="-79"/>
              </a:rPr>
              <a:t>Mit Kantonsgrenzen </a:t>
            </a:r>
            <a:br>
              <a:rPr lang="de-CH" altLang="de-DE" dirty="0">
                <a:cs typeface="Aharoni" panose="020F0502020204030204" pitchFamily="2" charset="-79"/>
              </a:rPr>
            </a:br>
            <a:r>
              <a:rPr lang="de-CH" altLang="de-DE" sz="1400" b="0" dirty="0">
                <a:cs typeface="Aharoni" panose="020F0502020204030204" pitchFamily="2" charset="-79"/>
              </a:rPr>
              <a:t>Kantone und Seen sind separat gruppiert und beide Gruppen </a:t>
            </a:r>
            <a:br>
              <a:rPr lang="de-CH" altLang="de-DE" sz="1400" b="0" dirty="0">
                <a:cs typeface="Aharoni" panose="020F0502020204030204" pitchFamily="2" charset="-79"/>
              </a:rPr>
            </a:br>
            <a:r>
              <a:rPr lang="de-CH" altLang="de-DE" sz="1400" b="0" dirty="0">
                <a:cs typeface="Aharoni" panose="020F0502020204030204" pitchFamily="2" charset="-79"/>
              </a:rPr>
              <a:t>nochmals zusammengefasst. Grafik bitte diagonal </a:t>
            </a:r>
            <a:br>
              <a:rPr lang="de-CH" altLang="de-DE" sz="1400" b="0" dirty="0">
                <a:cs typeface="Aharoni" panose="020F0502020204030204" pitchFamily="2" charset="-79"/>
              </a:rPr>
            </a:br>
            <a:r>
              <a:rPr lang="de-CH" altLang="de-DE" sz="1400" b="0" dirty="0">
                <a:cs typeface="Aharoni" panose="020F0502020204030204" pitchFamily="2" charset="-79"/>
              </a:rPr>
              <a:t>vergrössern/verkleinern.</a:t>
            </a:r>
          </a:p>
        </p:txBody>
      </p:sp>
      <p:sp>
        <p:nvSpPr>
          <p:cNvPr id="126983" name="Textplatzhalter 4">
            <a:extLst>
              <a:ext uri="{FF2B5EF4-FFF2-40B4-BE49-F238E27FC236}">
                <a16:creationId xmlns:a16="http://schemas.microsoft.com/office/drawing/2014/main" id="{ACD34CD3-DA0B-DD65-5D3B-4B9F5F44C95C}"/>
              </a:ext>
            </a:extLst>
          </p:cNvPr>
          <p:cNvSpPr>
            <a:spLocks noGrp="1" noChangeArrowheads="1"/>
          </p:cNvSpPr>
          <p:nvPr>
            <p:ph type="body" sz="quarter" idx="15"/>
          </p:nvPr>
        </p:nvSpPr>
        <p:spPr>
          <a:xfrm>
            <a:off x="6572250" y="1885950"/>
            <a:ext cx="5976938" cy="646113"/>
          </a:xfrm>
        </p:spPr>
        <p:txBody>
          <a:bodyPr/>
          <a:lstStyle/>
          <a:p>
            <a:pPr eaLnBrk="1" hangingPunct="1">
              <a:spcBef>
                <a:spcPct val="0"/>
              </a:spcBef>
              <a:spcAft>
                <a:spcPct val="0"/>
              </a:spcAft>
            </a:pPr>
            <a:r>
              <a:rPr lang="de-CH" altLang="de-DE" dirty="0">
                <a:cs typeface="Aharoni" panose="020F0502020204030204" pitchFamily="2" charset="-79"/>
              </a:rPr>
              <a:t>Ohne Kantonsgrenzen</a:t>
            </a:r>
          </a:p>
          <a:p>
            <a:pPr eaLnBrk="1" hangingPunct="1">
              <a:spcBef>
                <a:spcPct val="0"/>
              </a:spcBef>
              <a:spcAft>
                <a:spcPct val="0"/>
              </a:spcAft>
            </a:pPr>
            <a:r>
              <a:rPr lang="de-CH" altLang="de-DE" sz="1400" b="0" dirty="0">
                <a:cs typeface="Aharoni" panose="020F0502020204030204" pitchFamily="2" charset="-79"/>
              </a:rPr>
              <a:t>Farbe kann geändert werden: bitte Füllung u Linie in derselben Farbe wählen. </a:t>
            </a:r>
          </a:p>
          <a:p>
            <a:pPr eaLnBrk="1" hangingPunct="1">
              <a:spcBef>
                <a:spcPct val="0"/>
              </a:spcBef>
              <a:spcAft>
                <a:spcPct val="0"/>
              </a:spcAft>
            </a:pPr>
            <a:r>
              <a:rPr lang="de-CH" altLang="de-DE" sz="1400" b="0" dirty="0">
                <a:cs typeface="Aharoni" panose="020F0502020204030204" pitchFamily="2" charset="-79"/>
              </a:rPr>
              <a:t>Grafik bitte diagonal vergrössern/verkleinern.</a:t>
            </a:r>
          </a:p>
        </p:txBody>
      </p:sp>
      <p:grpSp>
        <p:nvGrpSpPr>
          <p:cNvPr id="126984" name="Gruppieren 2">
            <a:extLst>
              <a:ext uri="{FF2B5EF4-FFF2-40B4-BE49-F238E27FC236}">
                <a16:creationId xmlns:a16="http://schemas.microsoft.com/office/drawing/2014/main" id="{FD2A8C42-64D0-2EF9-3B34-7E0D30A6E98A}"/>
              </a:ext>
            </a:extLst>
          </p:cNvPr>
          <p:cNvGrpSpPr>
            <a:grpSpLocks/>
          </p:cNvGrpSpPr>
          <p:nvPr/>
        </p:nvGrpSpPr>
        <p:grpSpPr bwMode="auto">
          <a:xfrm>
            <a:off x="306388" y="2813050"/>
            <a:ext cx="5802312" cy="3768725"/>
            <a:chOff x="305806" y="2813811"/>
            <a:chExt cx="5803332" cy="3768336"/>
          </a:xfrm>
        </p:grpSpPr>
        <p:grpSp>
          <p:nvGrpSpPr>
            <p:cNvPr id="189" name="Gruppieren 188">
              <a:extLst>
                <a:ext uri="{FF2B5EF4-FFF2-40B4-BE49-F238E27FC236}">
                  <a16:creationId xmlns:a16="http://schemas.microsoft.com/office/drawing/2014/main" id="{3BE4FFFC-29B8-D6CB-F2FA-227FA759AADD}"/>
                </a:ext>
              </a:extLst>
            </p:cNvPr>
            <p:cNvGrpSpPr/>
            <p:nvPr/>
          </p:nvGrpSpPr>
          <p:grpSpPr>
            <a:xfrm>
              <a:off x="566290" y="2813811"/>
              <a:ext cx="4537257" cy="3768336"/>
              <a:chOff x="566290" y="2679426"/>
              <a:chExt cx="4537257" cy="3768336"/>
            </a:xfrm>
            <a:solidFill>
              <a:srgbClr val="EDF5FF"/>
            </a:solidFill>
          </p:grpSpPr>
          <p:sp>
            <p:nvSpPr>
              <p:cNvPr id="62" name="Freeform 6213">
                <a:extLst>
                  <a:ext uri="{FF2B5EF4-FFF2-40B4-BE49-F238E27FC236}">
                    <a16:creationId xmlns:a16="http://schemas.microsoft.com/office/drawing/2014/main" id="{2D6C9503-BB38-6E24-5B48-EBA58A44344E}"/>
                  </a:ext>
                </a:extLst>
              </p:cNvPr>
              <p:cNvSpPr>
                <a:spLocks/>
              </p:cNvSpPr>
              <p:nvPr/>
            </p:nvSpPr>
            <p:spPr bwMode="gray">
              <a:xfrm>
                <a:off x="3572956" y="5683316"/>
                <a:ext cx="466448" cy="764446"/>
              </a:xfrm>
              <a:custGeom>
                <a:avLst/>
                <a:gdLst>
                  <a:gd name="T0" fmla="*/ 252 w 432"/>
                  <a:gd name="T1" fmla="*/ 142 h 718"/>
                  <a:gd name="T2" fmla="*/ 252 w 432"/>
                  <a:gd name="T3" fmla="*/ 110 h 718"/>
                  <a:gd name="T4" fmla="*/ 286 w 432"/>
                  <a:gd name="T5" fmla="*/ 68 h 718"/>
                  <a:gd name="T6" fmla="*/ 296 w 432"/>
                  <a:gd name="T7" fmla="*/ 44 h 718"/>
                  <a:gd name="T8" fmla="*/ 324 w 432"/>
                  <a:gd name="T9" fmla="*/ 40 h 718"/>
                  <a:gd name="T10" fmla="*/ 354 w 432"/>
                  <a:gd name="T11" fmla="*/ 56 h 718"/>
                  <a:gd name="T12" fmla="*/ 362 w 432"/>
                  <a:gd name="T13" fmla="*/ 44 h 718"/>
                  <a:gd name="T14" fmla="*/ 372 w 432"/>
                  <a:gd name="T15" fmla="*/ 36 h 718"/>
                  <a:gd name="T16" fmla="*/ 370 w 432"/>
                  <a:gd name="T17" fmla="*/ 20 h 718"/>
                  <a:gd name="T18" fmla="*/ 384 w 432"/>
                  <a:gd name="T19" fmla="*/ 12 h 718"/>
                  <a:gd name="T20" fmla="*/ 406 w 432"/>
                  <a:gd name="T21" fmla="*/ 0 h 718"/>
                  <a:gd name="T22" fmla="*/ 432 w 432"/>
                  <a:gd name="T23" fmla="*/ 26 h 718"/>
                  <a:gd name="T24" fmla="*/ 432 w 432"/>
                  <a:gd name="T25" fmla="*/ 52 h 718"/>
                  <a:gd name="T26" fmla="*/ 410 w 432"/>
                  <a:gd name="T27" fmla="*/ 64 h 718"/>
                  <a:gd name="T28" fmla="*/ 388 w 432"/>
                  <a:gd name="T29" fmla="*/ 68 h 718"/>
                  <a:gd name="T30" fmla="*/ 372 w 432"/>
                  <a:gd name="T31" fmla="*/ 72 h 718"/>
                  <a:gd name="T32" fmla="*/ 346 w 432"/>
                  <a:gd name="T33" fmla="*/ 108 h 718"/>
                  <a:gd name="T34" fmla="*/ 320 w 432"/>
                  <a:gd name="T35" fmla="*/ 128 h 718"/>
                  <a:gd name="T36" fmla="*/ 300 w 432"/>
                  <a:gd name="T37" fmla="*/ 134 h 718"/>
                  <a:gd name="T38" fmla="*/ 270 w 432"/>
                  <a:gd name="T39" fmla="*/ 172 h 718"/>
                  <a:gd name="T40" fmla="*/ 290 w 432"/>
                  <a:gd name="T41" fmla="*/ 206 h 718"/>
                  <a:gd name="T42" fmla="*/ 296 w 432"/>
                  <a:gd name="T43" fmla="*/ 248 h 718"/>
                  <a:gd name="T44" fmla="*/ 310 w 432"/>
                  <a:gd name="T45" fmla="*/ 280 h 718"/>
                  <a:gd name="T46" fmla="*/ 288 w 432"/>
                  <a:gd name="T47" fmla="*/ 318 h 718"/>
                  <a:gd name="T48" fmla="*/ 230 w 432"/>
                  <a:gd name="T49" fmla="*/ 384 h 718"/>
                  <a:gd name="T50" fmla="*/ 196 w 432"/>
                  <a:gd name="T51" fmla="*/ 420 h 718"/>
                  <a:gd name="T52" fmla="*/ 152 w 432"/>
                  <a:gd name="T53" fmla="*/ 462 h 718"/>
                  <a:gd name="T54" fmla="*/ 134 w 432"/>
                  <a:gd name="T55" fmla="*/ 492 h 718"/>
                  <a:gd name="T56" fmla="*/ 142 w 432"/>
                  <a:gd name="T57" fmla="*/ 540 h 718"/>
                  <a:gd name="T58" fmla="*/ 160 w 432"/>
                  <a:gd name="T59" fmla="*/ 590 h 718"/>
                  <a:gd name="T60" fmla="*/ 156 w 432"/>
                  <a:gd name="T61" fmla="*/ 628 h 718"/>
                  <a:gd name="T62" fmla="*/ 122 w 432"/>
                  <a:gd name="T63" fmla="*/ 672 h 718"/>
                  <a:gd name="T64" fmla="*/ 110 w 432"/>
                  <a:gd name="T65" fmla="*/ 668 h 718"/>
                  <a:gd name="T66" fmla="*/ 92 w 432"/>
                  <a:gd name="T67" fmla="*/ 700 h 718"/>
                  <a:gd name="T68" fmla="*/ 114 w 432"/>
                  <a:gd name="T69" fmla="*/ 714 h 718"/>
                  <a:gd name="T70" fmla="*/ 90 w 432"/>
                  <a:gd name="T71" fmla="*/ 718 h 718"/>
                  <a:gd name="T72" fmla="*/ 68 w 432"/>
                  <a:gd name="T73" fmla="*/ 700 h 718"/>
                  <a:gd name="T74" fmla="*/ 68 w 432"/>
                  <a:gd name="T75" fmla="*/ 642 h 718"/>
                  <a:gd name="T76" fmla="*/ 90 w 432"/>
                  <a:gd name="T77" fmla="*/ 628 h 718"/>
                  <a:gd name="T78" fmla="*/ 98 w 432"/>
                  <a:gd name="T79" fmla="*/ 568 h 718"/>
                  <a:gd name="T80" fmla="*/ 78 w 432"/>
                  <a:gd name="T81" fmla="*/ 528 h 718"/>
                  <a:gd name="T82" fmla="*/ 44 w 432"/>
                  <a:gd name="T83" fmla="*/ 496 h 718"/>
                  <a:gd name="T84" fmla="*/ 0 w 432"/>
                  <a:gd name="T85" fmla="*/ 442 h 718"/>
                  <a:gd name="T86" fmla="*/ 4 w 432"/>
                  <a:gd name="T87" fmla="*/ 424 h 718"/>
                  <a:gd name="T88" fmla="*/ 14 w 432"/>
                  <a:gd name="T89" fmla="*/ 418 h 718"/>
                  <a:gd name="T90" fmla="*/ 26 w 432"/>
                  <a:gd name="T91" fmla="*/ 416 h 718"/>
                  <a:gd name="T92" fmla="*/ 66 w 432"/>
                  <a:gd name="T93" fmla="*/ 436 h 718"/>
                  <a:gd name="T94" fmla="*/ 96 w 432"/>
                  <a:gd name="T95" fmla="*/ 458 h 718"/>
                  <a:gd name="T96" fmla="*/ 98 w 432"/>
                  <a:gd name="T97" fmla="*/ 424 h 718"/>
                  <a:gd name="T98" fmla="*/ 162 w 432"/>
                  <a:gd name="T99" fmla="*/ 392 h 718"/>
                  <a:gd name="T100" fmla="*/ 168 w 432"/>
                  <a:gd name="T101" fmla="*/ 374 h 718"/>
                  <a:gd name="T102" fmla="*/ 220 w 432"/>
                  <a:gd name="T103" fmla="*/ 288 h 718"/>
                  <a:gd name="T104" fmla="*/ 254 w 432"/>
                  <a:gd name="T105" fmla="*/ 262 h 718"/>
                  <a:gd name="T106" fmla="*/ 260 w 432"/>
                  <a:gd name="T107" fmla="*/ 248 h 718"/>
                  <a:gd name="T108" fmla="*/ 244 w 432"/>
                  <a:gd name="T109" fmla="*/ 192 h 718"/>
                  <a:gd name="T110" fmla="*/ 252 w 432"/>
                  <a:gd name="T111" fmla="*/ 142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2" h="718">
                    <a:moveTo>
                      <a:pt x="252" y="142"/>
                    </a:moveTo>
                    <a:lnTo>
                      <a:pt x="252" y="110"/>
                    </a:lnTo>
                    <a:lnTo>
                      <a:pt x="286" y="68"/>
                    </a:lnTo>
                    <a:lnTo>
                      <a:pt x="296" y="44"/>
                    </a:lnTo>
                    <a:lnTo>
                      <a:pt x="324" y="40"/>
                    </a:lnTo>
                    <a:lnTo>
                      <a:pt x="354" y="56"/>
                    </a:lnTo>
                    <a:lnTo>
                      <a:pt x="362" y="44"/>
                    </a:lnTo>
                    <a:lnTo>
                      <a:pt x="372" y="36"/>
                    </a:lnTo>
                    <a:lnTo>
                      <a:pt x="370" y="20"/>
                    </a:lnTo>
                    <a:lnTo>
                      <a:pt x="384" y="12"/>
                    </a:lnTo>
                    <a:lnTo>
                      <a:pt x="406" y="0"/>
                    </a:lnTo>
                    <a:lnTo>
                      <a:pt x="432" y="26"/>
                    </a:lnTo>
                    <a:lnTo>
                      <a:pt x="432" y="52"/>
                    </a:lnTo>
                    <a:lnTo>
                      <a:pt x="410" y="64"/>
                    </a:lnTo>
                    <a:lnTo>
                      <a:pt x="388" y="68"/>
                    </a:lnTo>
                    <a:lnTo>
                      <a:pt x="372" y="72"/>
                    </a:lnTo>
                    <a:lnTo>
                      <a:pt x="346" y="108"/>
                    </a:lnTo>
                    <a:lnTo>
                      <a:pt x="320" y="128"/>
                    </a:lnTo>
                    <a:lnTo>
                      <a:pt x="300" y="134"/>
                    </a:lnTo>
                    <a:lnTo>
                      <a:pt x="270" y="172"/>
                    </a:lnTo>
                    <a:lnTo>
                      <a:pt x="290" y="206"/>
                    </a:lnTo>
                    <a:lnTo>
                      <a:pt x="296" y="248"/>
                    </a:lnTo>
                    <a:lnTo>
                      <a:pt x="310" y="280"/>
                    </a:lnTo>
                    <a:lnTo>
                      <a:pt x="288" y="318"/>
                    </a:lnTo>
                    <a:lnTo>
                      <a:pt x="230" y="384"/>
                    </a:lnTo>
                    <a:lnTo>
                      <a:pt x="196" y="420"/>
                    </a:lnTo>
                    <a:lnTo>
                      <a:pt x="152" y="462"/>
                    </a:lnTo>
                    <a:lnTo>
                      <a:pt x="134" y="492"/>
                    </a:lnTo>
                    <a:lnTo>
                      <a:pt x="142" y="540"/>
                    </a:lnTo>
                    <a:lnTo>
                      <a:pt x="160" y="590"/>
                    </a:lnTo>
                    <a:lnTo>
                      <a:pt x="156" y="628"/>
                    </a:lnTo>
                    <a:lnTo>
                      <a:pt x="122" y="672"/>
                    </a:lnTo>
                    <a:lnTo>
                      <a:pt x="110" y="668"/>
                    </a:lnTo>
                    <a:lnTo>
                      <a:pt x="92" y="700"/>
                    </a:lnTo>
                    <a:lnTo>
                      <a:pt x="114" y="714"/>
                    </a:lnTo>
                    <a:lnTo>
                      <a:pt x="90" y="718"/>
                    </a:lnTo>
                    <a:lnTo>
                      <a:pt x="68" y="700"/>
                    </a:lnTo>
                    <a:lnTo>
                      <a:pt x="68" y="642"/>
                    </a:lnTo>
                    <a:lnTo>
                      <a:pt x="90" y="628"/>
                    </a:lnTo>
                    <a:lnTo>
                      <a:pt x="98" y="568"/>
                    </a:lnTo>
                    <a:lnTo>
                      <a:pt x="78" y="528"/>
                    </a:lnTo>
                    <a:lnTo>
                      <a:pt x="44" y="496"/>
                    </a:lnTo>
                    <a:lnTo>
                      <a:pt x="0" y="442"/>
                    </a:lnTo>
                    <a:lnTo>
                      <a:pt x="4" y="424"/>
                    </a:lnTo>
                    <a:lnTo>
                      <a:pt x="14" y="418"/>
                    </a:lnTo>
                    <a:lnTo>
                      <a:pt x="26" y="416"/>
                    </a:lnTo>
                    <a:lnTo>
                      <a:pt x="66" y="436"/>
                    </a:lnTo>
                    <a:lnTo>
                      <a:pt x="96" y="458"/>
                    </a:lnTo>
                    <a:lnTo>
                      <a:pt x="98" y="424"/>
                    </a:lnTo>
                    <a:lnTo>
                      <a:pt x="162" y="392"/>
                    </a:lnTo>
                    <a:lnTo>
                      <a:pt x="168" y="374"/>
                    </a:lnTo>
                    <a:lnTo>
                      <a:pt x="220" y="288"/>
                    </a:lnTo>
                    <a:lnTo>
                      <a:pt x="254" y="262"/>
                    </a:lnTo>
                    <a:lnTo>
                      <a:pt x="260" y="248"/>
                    </a:lnTo>
                    <a:lnTo>
                      <a:pt x="244" y="192"/>
                    </a:lnTo>
                    <a:lnTo>
                      <a:pt x="252" y="142"/>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63" name="Freeform 6214">
                <a:extLst>
                  <a:ext uri="{FF2B5EF4-FFF2-40B4-BE49-F238E27FC236}">
                    <a16:creationId xmlns:a16="http://schemas.microsoft.com/office/drawing/2014/main" id="{FAEA1385-EEBF-3648-6205-56D54A0D2D3B}"/>
                  </a:ext>
                </a:extLst>
              </p:cNvPr>
              <p:cNvSpPr>
                <a:spLocks/>
              </p:cNvSpPr>
              <p:nvPr/>
            </p:nvSpPr>
            <p:spPr bwMode="gray">
              <a:xfrm>
                <a:off x="4069693" y="5936801"/>
                <a:ext cx="319042" cy="243505"/>
              </a:xfrm>
              <a:custGeom>
                <a:avLst/>
                <a:gdLst>
                  <a:gd name="T0" fmla="*/ 294 w 294"/>
                  <a:gd name="T1" fmla="*/ 12 h 232"/>
                  <a:gd name="T2" fmla="*/ 288 w 294"/>
                  <a:gd name="T3" fmla="*/ 0 h 232"/>
                  <a:gd name="T4" fmla="*/ 274 w 294"/>
                  <a:gd name="T5" fmla="*/ 4 h 232"/>
                  <a:gd name="T6" fmla="*/ 256 w 294"/>
                  <a:gd name="T7" fmla="*/ 24 h 232"/>
                  <a:gd name="T8" fmla="*/ 220 w 294"/>
                  <a:gd name="T9" fmla="*/ 32 h 232"/>
                  <a:gd name="T10" fmla="*/ 178 w 294"/>
                  <a:gd name="T11" fmla="*/ 30 h 232"/>
                  <a:gd name="T12" fmla="*/ 168 w 294"/>
                  <a:gd name="T13" fmla="*/ 36 h 232"/>
                  <a:gd name="T14" fmla="*/ 126 w 294"/>
                  <a:gd name="T15" fmla="*/ 74 h 232"/>
                  <a:gd name="T16" fmla="*/ 102 w 294"/>
                  <a:gd name="T17" fmla="*/ 56 h 232"/>
                  <a:gd name="T18" fmla="*/ 78 w 294"/>
                  <a:gd name="T19" fmla="*/ 78 h 232"/>
                  <a:gd name="T20" fmla="*/ 86 w 294"/>
                  <a:gd name="T21" fmla="*/ 98 h 232"/>
                  <a:gd name="T22" fmla="*/ 84 w 294"/>
                  <a:gd name="T23" fmla="*/ 150 h 232"/>
                  <a:gd name="T24" fmla="*/ 60 w 294"/>
                  <a:gd name="T25" fmla="*/ 184 h 232"/>
                  <a:gd name="T26" fmla="*/ 42 w 294"/>
                  <a:gd name="T27" fmla="*/ 202 h 232"/>
                  <a:gd name="T28" fmla="*/ 32 w 294"/>
                  <a:gd name="T29" fmla="*/ 164 h 232"/>
                  <a:gd name="T30" fmla="*/ 36 w 294"/>
                  <a:gd name="T31" fmla="*/ 134 h 232"/>
                  <a:gd name="T32" fmla="*/ 42 w 294"/>
                  <a:gd name="T33" fmla="*/ 102 h 232"/>
                  <a:gd name="T34" fmla="*/ 50 w 294"/>
                  <a:gd name="T35" fmla="*/ 80 h 232"/>
                  <a:gd name="T36" fmla="*/ 42 w 294"/>
                  <a:gd name="T37" fmla="*/ 70 h 232"/>
                  <a:gd name="T38" fmla="*/ 28 w 294"/>
                  <a:gd name="T39" fmla="*/ 90 h 232"/>
                  <a:gd name="T40" fmla="*/ 16 w 294"/>
                  <a:gd name="T41" fmla="*/ 124 h 232"/>
                  <a:gd name="T42" fmla="*/ 18 w 294"/>
                  <a:gd name="T43" fmla="*/ 136 h 232"/>
                  <a:gd name="T44" fmla="*/ 0 w 294"/>
                  <a:gd name="T45" fmla="*/ 148 h 232"/>
                  <a:gd name="T46" fmla="*/ 20 w 294"/>
                  <a:gd name="T47" fmla="*/ 162 h 232"/>
                  <a:gd name="T48" fmla="*/ 20 w 294"/>
                  <a:gd name="T49" fmla="*/ 210 h 232"/>
                  <a:gd name="T50" fmla="*/ 54 w 294"/>
                  <a:gd name="T51" fmla="*/ 224 h 232"/>
                  <a:gd name="T52" fmla="*/ 62 w 294"/>
                  <a:gd name="T53" fmla="*/ 208 h 232"/>
                  <a:gd name="T54" fmla="*/ 94 w 294"/>
                  <a:gd name="T55" fmla="*/ 172 h 232"/>
                  <a:gd name="T56" fmla="*/ 108 w 294"/>
                  <a:gd name="T57" fmla="*/ 192 h 232"/>
                  <a:gd name="T58" fmla="*/ 114 w 294"/>
                  <a:gd name="T59" fmla="*/ 204 h 232"/>
                  <a:gd name="T60" fmla="*/ 122 w 294"/>
                  <a:gd name="T61" fmla="*/ 232 h 232"/>
                  <a:gd name="T62" fmla="*/ 130 w 294"/>
                  <a:gd name="T63" fmla="*/ 220 h 232"/>
                  <a:gd name="T64" fmla="*/ 118 w 294"/>
                  <a:gd name="T65" fmla="*/ 164 h 232"/>
                  <a:gd name="T66" fmla="*/ 114 w 294"/>
                  <a:gd name="T67" fmla="*/ 152 h 232"/>
                  <a:gd name="T68" fmla="*/ 124 w 294"/>
                  <a:gd name="T69" fmla="*/ 114 h 232"/>
                  <a:gd name="T70" fmla="*/ 134 w 294"/>
                  <a:gd name="T71" fmla="*/ 100 h 232"/>
                  <a:gd name="T72" fmla="*/ 162 w 294"/>
                  <a:gd name="T73" fmla="*/ 72 h 232"/>
                  <a:gd name="T74" fmla="*/ 180 w 294"/>
                  <a:gd name="T75" fmla="*/ 58 h 232"/>
                  <a:gd name="T76" fmla="*/ 194 w 294"/>
                  <a:gd name="T77" fmla="*/ 44 h 232"/>
                  <a:gd name="T78" fmla="*/ 242 w 294"/>
                  <a:gd name="T79" fmla="*/ 48 h 232"/>
                  <a:gd name="T80" fmla="*/ 292 w 294"/>
                  <a:gd name="T81" fmla="*/ 32 h 232"/>
                  <a:gd name="T82" fmla="*/ 294 w 294"/>
                  <a:gd name="T83" fmla="*/ 1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4" h="232">
                    <a:moveTo>
                      <a:pt x="294" y="12"/>
                    </a:moveTo>
                    <a:lnTo>
                      <a:pt x="288" y="0"/>
                    </a:lnTo>
                    <a:lnTo>
                      <a:pt x="274" y="4"/>
                    </a:lnTo>
                    <a:lnTo>
                      <a:pt x="256" y="24"/>
                    </a:lnTo>
                    <a:lnTo>
                      <a:pt x="220" y="32"/>
                    </a:lnTo>
                    <a:lnTo>
                      <a:pt x="178" y="30"/>
                    </a:lnTo>
                    <a:lnTo>
                      <a:pt x="168" y="36"/>
                    </a:lnTo>
                    <a:lnTo>
                      <a:pt x="126" y="74"/>
                    </a:lnTo>
                    <a:lnTo>
                      <a:pt x="102" y="56"/>
                    </a:lnTo>
                    <a:lnTo>
                      <a:pt x="78" y="78"/>
                    </a:lnTo>
                    <a:lnTo>
                      <a:pt x="86" y="98"/>
                    </a:lnTo>
                    <a:lnTo>
                      <a:pt x="84" y="150"/>
                    </a:lnTo>
                    <a:lnTo>
                      <a:pt x="60" y="184"/>
                    </a:lnTo>
                    <a:lnTo>
                      <a:pt x="42" y="202"/>
                    </a:lnTo>
                    <a:lnTo>
                      <a:pt x="32" y="164"/>
                    </a:lnTo>
                    <a:lnTo>
                      <a:pt x="36" y="134"/>
                    </a:lnTo>
                    <a:lnTo>
                      <a:pt x="42" y="102"/>
                    </a:lnTo>
                    <a:lnTo>
                      <a:pt x="50" y="80"/>
                    </a:lnTo>
                    <a:lnTo>
                      <a:pt x="42" y="70"/>
                    </a:lnTo>
                    <a:lnTo>
                      <a:pt x="28" y="90"/>
                    </a:lnTo>
                    <a:lnTo>
                      <a:pt x="16" y="124"/>
                    </a:lnTo>
                    <a:lnTo>
                      <a:pt x="18" y="136"/>
                    </a:lnTo>
                    <a:lnTo>
                      <a:pt x="0" y="148"/>
                    </a:lnTo>
                    <a:lnTo>
                      <a:pt x="20" y="162"/>
                    </a:lnTo>
                    <a:lnTo>
                      <a:pt x="20" y="210"/>
                    </a:lnTo>
                    <a:lnTo>
                      <a:pt x="54" y="224"/>
                    </a:lnTo>
                    <a:lnTo>
                      <a:pt x="62" y="208"/>
                    </a:lnTo>
                    <a:lnTo>
                      <a:pt x="94" y="172"/>
                    </a:lnTo>
                    <a:lnTo>
                      <a:pt x="108" y="192"/>
                    </a:lnTo>
                    <a:lnTo>
                      <a:pt x="114" y="204"/>
                    </a:lnTo>
                    <a:lnTo>
                      <a:pt x="122" y="232"/>
                    </a:lnTo>
                    <a:lnTo>
                      <a:pt x="130" y="220"/>
                    </a:lnTo>
                    <a:lnTo>
                      <a:pt x="118" y="164"/>
                    </a:lnTo>
                    <a:lnTo>
                      <a:pt x="114" y="152"/>
                    </a:lnTo>
                    <a:lnTo>
                      <a:pt x="124" y="114"/>
                    </a:lnTo>
                    <a:lnTo>
                      <a:pt x="134" y="100"/>
                    </a:lnTo>
                    <a:lnTo>
                      <a:pt x="162" y="72"/>
                    </a:lnTo>
                    <a:lnTo>
                      <a:pt x="180" y="58"/>
                    </a:lnTo>
                    <a:lnTo>
                      <a:pt x="194" y="44"/>
                    </a:lnTo>
                    <a:lnTo>
                      <a:pt x="242" y="48"/>
                    </a:lnTo>
                    <a:lnTo>
                      <a:pt x="292" y="32"/>
                    </a:lnTo>
                    <a:lnTo>
                      <a:pt x="294" y="12"/>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28" name="Freeform 6173">
                <a:extLst>
                  <a:ext uri="{FF2B5EF4-FFF2-40B4-BE49-F238E27FC236}">
                    <a16:creationId xmlns:a16="http://schemas.microsoft.com/office/drawing/2014/main" id="{52B3908A-CAFB-B778-8CA7-B0F5BADF300D}"/>
                  </a:ext>
                </a:extLst>
              </p:cNvPr>
              <p:cNvSpPr>
                <a:spLocks/>
              </p:cNvSpPr>
              <p:nvPr/>
            </p:nvSpPr>
            <p:spPr bwMode="gray">
              <a:xfrm>
                <a:off x="1707167" y="4276179"/>
                <a:ext cx="125193" cy="105785"/>
              </a:xfrm>
              <a:custGeom>
                <a:avLst/>
                <a:gdLst>
                  <a:gd name="T0" fmla="*/ 0 w 114"/>
                  <a:gd name="T1" fmla="*/ 66 h 98"/>
                  <a:gd name="T2" fmla="*/ 32 w 114"/>
                  <a:gd name="T3" fmla="*/ 36 h 98"/>
                  <a:gd name="T4" fmla="*/ 94 w 114"/>
                  <a:gd name="T5" fmla="*/ 0 h 98"/>
                  <a:gd name="T6" fmla="*/ 114 w 114"/>
                  <a:gd name="T7" fmla="*/ 36 h 98"/>
                  <a:gd name="T8" fmla="*/ 58 w 114"/>
                  <a:gd name="T9" fmla="*/ 74 h 98"/>
                  <a:gd name="T10" fmla="*/ 24 w 114"/>
                  <a:gd name="T11" fmla="*/ 98 h 98"/>
                  <a:gd name="T12" fmla="*/ 0 w 114"/>
                  <a:gd name="T13" fmla="*/ 66 h 98"/>
                </a:gdLst>
                <a:ahLst/>
                <a:cxnLst>
                  <a:cxn ang="0">
                    <a:pos x="T0" y="T1"/>
                  </a:cxn>
                  <a:cxn ang="0">
                    <a:pos x="T2" y="T3"/>
                  </a:cxn>
                  <a:cxn ang="0">
                    <a:pos x="T4" y="T5"/>
                  </a:cxn>
                  <a:cxn ang="0">
                    <a:pos x="T6" y="T7"/>
                  </a:cxn>
                  <a:cxn ang="0">
                    <a:pos x="T8" y="T9"/>
                  </a:cxn>
                  <a:cxn ang="0">
                    <a:pos x="T10" y="T11"/>
                  </a:cxn>
                  <a:cxn ang="0">
                    <a:pos x="T12" y="T13"/>
                  </a:cxn>
                </a:cxnLst>
                <a:rect l="0" t="0" r="r" b="b"/>
                <a:pathLst>
                  <a:path w="114" h="98">
                    <a:moveTo>
                      <a:pt x="0" y="66"/>
                    </a:moveTo>
                    <a:lnTo>
                      <a:pt x="32" y="36"/>
                    </a:lnTo>
                    <a:lnTo>
                      <a:pt x="94" y="0"/>
                    </a:lnTo>
                    <a:lnTo>
                      <a:pt x="114" y="36"/>
                    </a:lnTo>
                    <a:lnTo>
                      <a:pt x="58" y="74"/>
                    </a:lnTo>
                    <a:lnTo>
                      <a:pt x="24" y="98"/>
                    </a:lnTo>
                    <a:lnTo>
                      <a:pt x="0" y="66"/>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58" name="Freeform 6209">
                <a:extLst>
                  <a:ext uri="{FF2B5EF4-FFF2-40B4-BE49-F238E27FC236}">
                    <a16:creationId xmlns:a16="http://schemas.microsoft.com/office/drawing/2014/main" id="{C31ABECC-1CD5-AF94-6A46-763FBC453559}"/>
                  </a:ext>
                </a:extLst>
              </p:cNvPr>
              <p:cNvSpPr>
                <a:spLocks/>
              </p:cNvSpPr>
              <p:nvPr/>
            </p:nvSpPr>
            <p:spPr bwMode="gray">
              <a:xfrm>
                <a:off x="3171126" y="3609536"/>
                <a:ext cx="38365" cy="131732"/>
              </a:xfrm>
              <a:custGeom>
                <a:avLst/>
                <a:gdLst>
                  <a:gd name="T0" fmla="*/ 22 w 34"/>
                  <a:gd name="T1" fmla="*/ 113 h 123"/>
                  <a:gd name="T2" fmla="*/ 0 w 34"/>
                  <a:gd name="T3" fmla="*/ 53 h 123"/>
                  <a:gd name="T4" fmla="*/ 1 w 34"/>
                  <a:gd name="T5" fmla="*/ 0 h 123"/>
                  <a:gd name="T6" fmla="*/ 15 w 34"/>
                  <a:gd name="T7" fmla="*/ 2 h 123"/>
                  <a:gd name="T8" fmla="*/ 18 w 34"/>
                  <a:gd name="T9" fmla="*/ 23 h 123"/>
                  <a:gd name="T10" fmla="*/ 34 w 34"/>
                  <a:gd name="T11" fmla="*/ 72 h 123"/>
                  <a:gd name="T12" fmla="*/ 34 w 34"/>
                  <a:gd name="T13" fmla="*/ 90 h 123"/>
                  <a:gd name="T14" fmla="*/ 33 w 34"/>
                  <a:gd name="T15" fmla="*/ 123 h 123"/>
                  <a:gd name="T16" fmla="*/ 22 w 34"/>
                  <a:gd name="T17"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23">
                    <a:moveTo>
                      <a:pt x="22" y="113"/>
                    </a:moveTo>
                    <a:lnTo>
                      <a:pt x="0" y="53"/>
                    </a:lnTo>
                    <a:lnTo>
                      <a:pt x="1" y="0"/>
                    </a:lnTo>
                    <a:lnTo>
                      <a:pt x="15" y="2"/>
                    </a:lnTo>
                    <a:lnTo>
                      <a:pt x="18" y="23"/>
                    </a:lnTo>
                    <a:lnTo>
                      <a:pt x="34" y="72"/>
                    </a:lnTo>
                    <a:lnTo>
                      <a:pt x="34" y="90"/>
                    </a:lnTo>
                    <a:lnTo>
                      <a:pt x="33" y="123"/>
                    </a:lnTo>
                    <a:lnTo>
                      <a:pt x="22" y="113"/>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59" name="Freeform 6210">
                <a:extLst>
                  <a:ext uri="{FF2B5EF4-FFF2-40B4-BE49-F238E27FC236}">
                    <a16:creationId xmlns:a16="http://schemas.microsoft.com/office/drawing/2014/main" id="{72553FC3-22E8-8A7F-F6C5-F3BCA7610E83}"/>
                  </a:ext>
                </a:extLst>
              </p:cNvPr>
              <p:cNvSpPr>
                <a:spLocks/>
              </p:cNvSpPr>
              <p:nvPr/>
            </p:nvSpPr>
            <p:spPr bwMode="gray">
              <a:xfrm>
                <a:off x="3225646" y="3787174"/>
                <a:ext cx="46444" cy="73850"/>
              </a:xfrm>
              <a:custGeom>
                <a:avLst/>
                <a:gdLst>
                  <a:gd name="T0" fmla="*/ 6 w 44"/>
                  <a:gd name="T1" fmla="*/ 0 h 71"/>
                  <a:gd name="T2" fmla="*/ 0 w 44"/>
                  <a:gd name="T3" fmla="*/ 14 h 71"/>
                  <a:gd name="T4" fmla="*/ 6 w 44"/>
                  <a:gd name="T5" fmla="*/ 36 h 71"/>
                  <a:gd name="T6" fmla="*/ 23 w 44"/>
                  <a:gd name="T7" fmla="*/ 66 h 71"/>
                  <a:gd name="T8" fmla="*/ 33 w 44"/>
                  <a:gd name="T9" fmla="*/ 71 h 71"/>
                  <a:gd name="T10" fmla="*/ 44 w 44"/>
                  <a:gd name="T11" fmla="*/ 54 h 71"/>
                  <a:gd name="T12" fmla="*/ 30 w 44"/>
                  <a:gd name="T13" fmla="*/ 21 h 71"/>
                  <a:gd name="T14" fmla="*/ 6 w 44"/>
                  <a:gd name="T15" fmla="*/ 0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71">
                    <a:moveTo>
                      <a:pt x="6" y="0"/>
                    </a:moveTo>
                    <a:lnTo>
                      <a:pt x="0" y="14"/>
                    </a:lnTo>
                    <a:lnTo>
                      <a:pt x="6" y="36"/>
                    </a:lnTo>
                    <a:lnTo>
                      <a:pt x="23" y="66"/>
                    </a:lnTo>
                    <a:lnTo>
                      <a:pt x="33" y="71"/>
                    </a:lnTo>
                    <a:lnTo>
                      <a:pt x="44" y="54"/>
                    </a:lnTo>
                    <a:lnTo>
                      <a:pt x="30" y="21"/>
                    </a:lnTo>
                    <a:lnTo>
                      <a:pt x="6" y="0"/>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60" name="Freeform 6211">
                <a:extLst>
                  <a:ext uri="{FF2B5EF4-FFF2-40B4-BE49-F238E27FC236}">
                    <a16:creationId xmlns:a16="http://schemas.microsoft.com/office/drawing/2014/main" id="{C3959F9E-A730-DF3B-83DB-7F78FBE902F2}"/>
                  </a:ext>
                </a:extLst>
              </p:cNvPr>
              <p:cNvSpPr>
                <a:spLocks/>
              </p:cNvSpPr>
              <p:nvPr/>
            </p:nvSpPr>
            <p:spPr bwMode="gray">
              <a:xfrm>
                <a:off x="3074201" y="3878987"/>
                <a:ext cx="86828" cy="95804"/>
              </a:xfrm>
              <a:custGeom>
                <a:avLst/>
                <a:gdLst>
                  <a:gd name="T0" fmla="*/ 3 w 81"/>
                  <a:gd name="T1" fmla="*/ 36 h 93"/>
                  <a:gd name="T2" fmla="*/ 0 w 81"/>
                  <a:gd name="T3" fmla="*/ 16 h 93"/>
                  <a:gd name="T4" fmla="*/ 3 w 81"/>
                  <a:gd name="T5" fmla="*/ 0 h 93"/>
                  <a:gd name="T6" fmla="*/ 13 w 81"/>
                  <a:gd name="T7" fmla="*/ 0 h 93"/>
                  <a:gd name="T8" fmla="*/ 27 w 81"/>
                  <a:gd name="T9" fmla="*/ 16 h 93"/>
                  <a:gd name="T10" fmla="*/ 54 w 81"/>
                  <a:gd name="T11" fmla="*/ 37 h 93"/>
                  <a:gd name="T12" fmla="*/ 79 w 81"/>
                  <a:gd name="T13" fmla="*/ 61 h 93"/>
                  <a:gd name="T14" fmla="*/ 81 w 81"/>
                  <a:gd name="T15" fmla="*/ 75 h 93"/>
                  <a:gd name="T16" fmla="*/ 75 w 81"/>
                  <a:gd name="T17" fmla="*/ 85 h 93"/>
                  <a:gd name="T18" fmla="*/ 67 w 81"/>
                  <a:gd name="T19" fmla="*/ 93 h 93"/>
                  <a:gd name="T20" fmla="*/ 57 w 81"/>
                  <a:gd name="T21" fmla="*/ 91 h 93"/>
                  <a:gd name="T22" fmla="*/ 16 w 81"/>
                  <a:gd name="T23" fmla="*/ 51 h 93"/>
                  <a:gd name="T24" fmla="*/ 3 w 81"/>
                  <a:gd name="T25" fmla="*/ 3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3">
                    <a:moveTo>
                      <a:pt x="3" y="36"/>
                    </a:moveTo>
                    <a:lnTo>
                      <a:pt x="0" y="16"/>
                    </a:lnTo>
                    <a:lnTo>
                      <a:pt x="3" y="0"/>
                    </a:lnTo>
                    <a:lnTo>
                      <a:pt x="13" y="0"/>
                    </a:lnTo>
                    <a:lnTo>
                      <a:pt x="27" y="16"/>
                    </a:lnTo>
                    <a:lnTo>
                      <a:pt x="54" y="37"/>
                    </a:lnTo>
                    <a:lnTo>
                      <a:pt x="79" y="61"/>
                    </a:lnTo>
                    <a:lnTo>
                      <a:pt x="81" y="75"/>
                    </a:lnTo>
                    <a:lnTo>
                      <a:pt x="75" y="85"/>
                    </a:lnTo>
                    <a:lnTo>
                      <a:pt x="67" y="93"/>
                    </a:lnTo>
                    <a:lnTo>
                      <a:pt x="57" y="91"/>
                    </a:lnTo>
                    <a:lnTo>
                      <a:pt x="16" y="51"/>
                    </a:lnTo>
                    <a:lnTo>
                      <a:pt x="3" y="36"/>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61" name="Freeform 6212">
                <a:extLst>
                  <a:ext uri="{FF2B5EF4-FFF2-40B4-BE49-F238E27FC236}">
                    <a16:creationId xmlns:a16="http://schemas.microsoft.com/office/drawing/2014/main" id="{A374B9F3-5385-66C1-145E-CC91CC281285}"/>
                  </a:ext>
                </a:extLst>
              </p:cNvPr>
              <p:cNvSpPr>
                <a:spLocks/>
              </p:cNvSpPr>
              <p:nvPr/>
            </p:nvSpPr>
            <p:spPr bwMode="gray">
              <a:xfrm>
                <a:off x="3314492" y="4038663"/>
                <a:ext cx="401832" cy="349289"/>
              </a:xfrm>
              <a:custGeom>
                <a:avLst/>
                <a:gdLst>
                  <a:gd name="T0" fmla="*/ 7 w 370"/>
                  <a:gd name="T1" fmla="*/ 150 h 330"/>
                  <a:gd name="T2" fmla="*/ 0 w 370"/>
                  <a:gd name="T3" fmla="*/ 133 h 330"/>
                  <a:gd name="T4" fmla="*/ 10 w 370"/>
                  <a:gd name="T5" fmla="*/ 126 h 330"/>
                  <a:gd name="T6" fmla="*/ 24 w 370"/>
                  <a:gd name="T7" fmla="*/ 145 h 330"/>
                  <a:gd name="T8" fmla="*/ 37 w 370"/>
                  <a:gd name="T9" fmla="*/ 138 h 330"/>
                  <a:gd name="T10" fmla="*/ 36 w 370"/>
                  <a:gd name="T11" fmla="*/ 105 h 330"/>
                  <a:gd name="T12" fmla="*/ 27 w 370"/>
                  <a:gd name="T13" fmla="*/ 69 h 330"/>
                  <a:gd name="T14" fmla="*/ 6 w 370"/>
                  <a:gd name="T15" fmla="*/ 49 h 330"/>
                  <a:gd name="T16" fmla="*/ 36 w 370"/>
                  <a:gd name="T17" fmla="*/ 52 h 330"/>
                  <a:gd name="T18" fmla="*/ 63 w 370"/>
                  <a:gd name="T19" fmla="*/ 81 h 330"/>
                  <a:gd name="T20" fmla="*/ 105 w 370"/>
                  <a:gd name="T21" fmla="*/ 36 h 330"/>
                  <a:gd name="T22" fmla="*/ 121 w 370"/>
                  <a:gd name="T23" fmla="*/ 25 h 330"/>
                  <a:gd name="T24" fmla="*/ 138 w 370"/>
                  <a:gd name="T25" fmla="*/ 3 h 330"/>
                  <a:gd name="T26" fmla="*/ 148 w 370"/>
                  <a:gd name="T27" fmla="*/ 0 h 330"/>
                  <a:gd name="T28" fmla="*/ 148 w 370"/>
                  <a:gd name="T29" fmla="*/ 24 h 330"/>
                  <a:gd name="T30" fmla="*/ 106 w 370"/>
                  <a:gd name="T31" fmla="*/ 82 h 330"/>
                  <a:gd name="T32" fmla="*/ 106 w 370"/>
                  <a:gd name="T33" fmla="*/ 96 h 330"/>
                  <a:gd name="T34" fmla="*/ 151 w 370"/>
                  <a:gd name="T35" fmla="*/ 94 h 330"/>
                  <a:gd name="T36" fmla="*/ 169 w 370"/>
                  <a:gd name="T37" fmla="*/ 93 h 330"/>
                  <a:gd name="T38" fmla="*/ 195 w 370"/>
                  <a:gd name="T39" fmla="*/ 117 h 330"/>
                  <a:gd name="T40" fmla="*/ 196 w 370"/>
                  <a:gd name="T41" fmla="*/ 132 h 330"/>
                  <a:gd name="T42" fmla="*/ 190 w 370"/>
                  <a:gd name="T43" fmla="*/ 144 h 330"/>
                  <a:gd name="T44" fmla="*/ 208 w 370"/>
                  <a:gd name="T45" fmla="*/ 142 h 330"/>
                  <a:gd name="T46" fmla="*/ 241 w 370"/>
                  <a:gd name="T47" fmla="*/ 150 h 330"/>
                  <a:gd name="T48" fmla="*/ 271 w 370"/>
                  <a:gd name="T49" fmla="*/ 156 h 330"/>
                  <a:gd name="T50" fmla="*/ 301 w 370"/>
                  <a:gd name="T51" fmla="*/ 144 h 330"/>
                  <a:gd name="T52" fmla="*/ 319 w 370"/>
                  <a:gd name="T53" fmla="*/ 136 h 330"/>
                  <a:gd name="T54" fmla="*/ 339 w 370"/>
                  <a:gd name="T55" fmla="*/ 141 h 330"/>
                  <a:gd name="T56" fmla="*/ 354 w 370"/>
                  <a:gd name="T57" fmla="*/ 166 h 330"/>
                  <a:gd name="T58" fmla="*/ 358 w 370"/>
                  <a:gd name="T59" fmla="*/ 211 h 330"/>
                  <a:gd name="T60" fmla="*/ 363 w 370"/>
                  <a:gd name="T61" fmla="*/ 229 h 330"/>
                  <a:gd name="T62" fmla="*/ 354 w 370"/>
                  <a:gd name="T63" fmla="*/ 259 h 330"/>
                  <a:gd name="T64" fmla="*/ 361 w 370"/>
                  <a:gd name="T65" fmla="*/ 274 h 330"/>
                  <a:gd name="T66" fmla="*/ 370 w 370"/>
                  <a:gd name="T67" fmla="*/ 306 h 330"/>
                  <a:gd name="T68" fmla="*/ 351 w 370"/>
                  <a:gd name="T69" fmla="*/ 315 h 330"/>
                  <a:gd name="T70" fmla="*/ 340 w 370"/>
                  <a:gd name="T71" fmla="*/ 330 h 330"/>
                  <a:gd name="T72" fmla="*/ 334 w 370"/>
                  <a:gd name="T73" fmla="*/ 318 h 330"/>
                  <a:gd name="T74" fmla="*/ 333 w 370"/>
                  <a:gd name="T75" fmla="*/ 273 h 330"/>
                  <a:gd name="T76" fmla="*/ 318 w 370"/>
                  <a:gd name="T77" fmla="*/ 247 h 330"/>
                  <a:gd name="T78" fmla="*/ 331 w 370"/>
                  <a:gd name="T79" fmla="*/ 187 h 330"/>
                  <a:gd name="T80" fmla="*/ 330 w 370"/>
                  <a:gd name="T81" fmla="*/ 162 h 330"/>
                  <a:gd name="T82" fmla="*/ 303 w 370"/>
                  <a:gd name="T83" fmla="*/ 165 h 330"/>
                  <a:gd name="T84" fmla="*/ 241 w 370"/>
                  <a:gd name="T85" fmla="*/ 198 h 330"/>
                  <a:gd name="T86" fmla="*/ 214 w 370"/>
                  <a:gd name="T87" fmla="*/ 199 h 330"/>
                  <a:gd name="T88" fmla="*/ 187 w 370"/>
                  <a:gd name="T89" fmla="*/ 192 h 330"/>
                  <a:gd name="T90" fmla="*/ 174 w 370"/>
                  <a:gd name="T91" fmla="*/ 183 h 330"/>
                  <a:gd name="T92" fmla="*/ 157 w 370"/>
                  <a:gd name="T93" fmla="*/ 184 h 330"/>
                  <a:gd name="T94" fmla="*/ 136 w 370"/>
                  <a:gd name="T95" fmla="*/ 178 h 330"/>
                  <a:gd name="T96" fmla="*/ 132 w 370"/>
                  <a:gd name="T97" fmla="*/ 162 h 330"/>
                  <a:gd name="T98" fmla="*/ 148 w 370"/>
                  <a:gd name="T99" fmla="*/ 151 h 330"/>
                  <a:gd name="T100" fmla="*/ 163 w 370"/>
                  <a:gd name="T101" fmla="*/ 147 h 330"/>
                  <a:gd name="T102" fmla="*/ 181 w 370"/>
                  <a:gd name="T103" fmla="*/ 142 h 330"/>
                  <a:gd name="T104" fmla="*/ 165 w 370"/>
                  <a:gd name="T105" fmla="*/ 133 h 330"/>
                  <a:gd name="T106" fmla="*/ 121 w 370"/>
                  <a:gd name="T107" fmla="*/ 135 h 330"/>
                  <a:gd name="T108" fmla="*/ 73 w 370"/>
                  <a:gd name="T109" fmla="*/ 136 h 330"/>
                  <a:gd name="T110" fmla="*/ 51 w 370"/>
                  <a:gd name="T111" fmla="*/ 157 h 330"/>
                  <a:gd name="T112" fmla="*/ 34 w 370"/>
                  <a:gd name="T113" fmla="*/ 177 h 330"/>
                  <a:gd name="T114" fmla="*/ 16 w 370"/>
                  <a:gd name="T115" fmla="*/ 178 h 330"/>
                  <a:gd name="T116" fmla="*/ 4 w 370"/>
                  <a:gd name="T117" fmla="*/ 169 h 330"/>
                  <a:gd name="T118" fmla="*/ 7 w 370"/>
                  <a:gd name="T119" fmla="*/ 15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330">
                    <a:moveTo>
                      <a:pt x="7" y="150"/>
                    </a:moveTo>
                    <a:lnTo>
                      <a:pt x="0" y="133"/>
                    </a:lnTo>
                    <a:lnTo>
                      <a:pt x="10" y="126"/>
                    </a:lnTo>
                    <a:lnTo>
                      <a:pt x="24" y="145"/>
                    </a:lnTo>
                    <a:lnTo>
                      <a:pt x="37" y="138"/>
                    </a:lnTo>
                    <a:lnTo>
                      <a:pt x="36" y="105"/>
                    </a:lnTo>
                    <a:lnTo>
                      <a:pt x="27" y="69"/>
                    </a:lnTo>
                    <a:lnTo>
                      <a:pt x="6" y="49"/>
                    </a:lnTo>
                    <a:lnTo>
                      <a:pt x="36" y="52"/>
                    </a:lnTo>
                    <a:lnTo>
                      <a:pt x="63" y="81"/>
                    </a:lnTo>
                    <a:lnTo>
                      <a:pt x="105" y="36"/>
                    </a:lnTo>
                    <a:lnTo>
                      <a:pt x="121" y="25"/>
                    </a:lnTo>
                    <a:lnTo>
                      <a:pt x="138" y="3"/>
                    </a:lnTo>
                    <a:lnTo>
                      <a:pt x="148" y="0"/>
                    </a:lnTo>
                    <a:lnTo>
                      <a:pt x="148" y="24"/>
                    </a:lnTo>
                    <a:lnTo>
                      <a:pt x="106" y="82"/>
                    </a:lnTo>
                    <a:lnTo>
                      <a:pt x="106" y="96"/>
                    </a:lnTo>
                    <a:lnTo>
                      <a:pt x="151" y="94"/>
                    </a:lnTo>
                    <a:lnTo>
                      <a:pt x="169" y="93"/>
                    </a:lnTo>
                    <a:lnTo>
                      <a:pt x="195" y="117"/>
                    </a:lnTo>
                    <a:lnTo>
                      <a:pt x="196" y="132"/>
                    </a:lnTo>
                    <a:lnTo>
                      <a:pt x="190" y="144"/>
                    </a:lnTo>
                    <a:lnTo>
                      <a:pt x="208" y="142"/>
                    </a:lnTo>
                    <a:lnTo>
                      <a:pt x="241" y="150"/>
                    </a:lnTo>
                    <a:lnTo>
                      <a:pt x="271" y="156"/>
                    </a:lnTo>
                    <a:lnTo>
                      <a:pt x="301" y="144"/>
                    </a:lnTo>
                    <a:lnTo>
                      <a:pt x="319" y="136"/>
                    </a:lnTo>
                    <a:lnTo>
                      <a:pt x="339" y="141"/>
                    </a:lnTo>
                    <a:lnTo>
                      <a:pt x="354" y="166"/>
                    </a:lnTo>
                    <a:lnTo>
                      <a:pt x="358" y="211"/>
                    </a:lnTo>
                    <a:lnTo>
                      <a:pt x="363" y="229"/>
                    </a:lnTo>
                    <a:lnTo>
                      <a:pt x="354" y="259"/>
                    </a:lnTo>
                    <a:lnTo>
                      <a:pt x="361" y="274"/>
                    </a:lnTo>
                    <a:lnTo>
                      <a:pt x="370" y="306"/>
                    </a:lnTo>
                    <a:lnTo>
                      <a:pt x="351" y="315"/>
                    </a:lnTo>
                    <a:lnTo>
                      <a:pt x="340" y="330"/>
                    </a:lnTo>
                    <a:lnTo>
                      <a:pt x="334" y="318"/>
                    </a:lnTo>
                    <a:lnTo>
                      <a:pt x="333" y="273"/>
                    </a:lnTo>
                    <a:lnTo>
                      <a:pt x="318" y="247"/>
                    </a:lnTo>
                    <a:lnTo>
                      <a:pt x="331" y="187"/>
                    </a:lnTo>
                    <a:lnTo>
                      <a:pt x="330" y="162"/>
                    </a:lnTo>
                    <a:lnTo>
                      <a:pt x="303" y="165"/>
                    </a:lnTo>
                    <a:lnTo>
                      <a:pt x="241" y="198"/>
                    </a:lnTo>
                    <a:lnTo>
                      <a:pt x="214" y="199"/>
                    </a:lnTo>
                    <a:lnTo>
                      <a:pt x="187" y="192"/>
                    </a:lnTo>
                    <a:lnTo>
                      <a:pt x="174" y="183"/>
                    </a:lnTo>
                    <a:lnTo>
                      <a:pt x="157" y="184"/>
                    </a:lnTo>
                    <a:lnTo>
                      <a:pt x="136" y="178"/>
                    </a:lnTo>
                    <a:lnTo>
                      <a:pt x="132" y="162"/>
                    </a:lnTo>
                    <a:lnTo>
                      <a:pt x="148" y="151"/>
                    </a:lnTo>
                    <a:lnTo>
                      <a:pt x="163" y="147"/>
                    </a:lnTo>
                    <a:lnTo>
                      <a:pt x="181" y="142"/>
                    </a:lnTo>
                    <a:lnTo>
                      <a:pt x="165" y="133"/>
                    </a:lnTo>
                    <a:lnTo>
                      <a:pt x="121" y="135"/>
                    </a:lnTo>
                    <a:lnTo>
                      <a:pt x="73" y="136"/>
                    </a:lnTo>
                    <a:lnTo>
                      <a:pt x="51" y="157"/>
                    </a:lnTo>
                    <a:lnTo>
                      <a:pt x="34" y="177"/>
                    </a:lnTo>
                    <a:lnTo>
                      <a:pt x="16" y="178"/>
                    </a:lnTo>
                    <a:lnTo>
                      <a:pt x="4" y="169"/>
                    </a:lnTo>
                    <a:lnTo>
                      <a:pt x="7" y="150"/>
                    </a:lnTo>
                    <a:close/>
                  </a:path>
                </a:pathLst>
              </a:custGeom>
              <a:grpFill/>
              <a:ln w="9525" cap="flat" cmpd="sng">
                <a:no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64" name="Freeform 6215">
                <a:extLst>
                  <a:ext uri="{FF2B5EF4-FFF2-40B4-BE49-F238E27FC236}">
                    <a16:creationId xmlns:a16="http://schemas.microsoft.com/office/drawing/2014/main" id="{302B7638-8887-5722-378F-32F46070369E}"/>
                  </a:ext>
                </a:extLst>
              </p:cNvPr>
              <p:cNvSpPr>
                <a:spLocks/>
              </p:cNvSpPr>
              <p:nvPr/>
            </p:nvSpPr>
            <p:spPr bwMode="gray">
              <a:xfrm>
                <a:off x="4307965" y="3912917"/>
                <a:ext cx="254426" cy="43912"/>
              </a:xfrm>
              <a:custGeom>
                <a:avLst/>
                <a:gdLst>
                  <a:gd name="T0" fmla="*/ 0 w 236"/>
                  <a:gd name="T1" fmla="*/ 6 h 39"/>
                  <a:gd name="T2" fmla="*/ 17 w 236"/>
                  <a:gd name="T3" fmla="*/ 0 h 39"/>
                  <a:gd name="T4" fmla="*/ 48 w 236"/>
                  <a:gd name="T5" fmla="*/ 2 h 39"/>
                  <a:gd name="T6" fmla="*/ 104 w 236"/>
                  <a:gd name="T7" fmla="*/ 6 h 39"/>
                  <a:gd name="T8" fmla="*/ 140 w 236"/>
                  <a:gd name="T9" fmla="*/ 11 h 39"/>
                  <a:gd name="T10" fmla="*/ 227 w 236"/>
                  <a:gd name="T11" fmla="*/ 6 h 39"/>
                  <a:gd name="T12" fmla="*/ 236 w 236"/>
                  <a:gd name="T13" fmla="*/ 14 h 39"/>
                  <a:gd name="T14" fmla="*/ 231 w 236"/>
                  <a:gd name="T15" fmla="*/ 29 h 39"/>
                  <a:gd name="T16" fmla="*/ 203 w 236"/>
                  <a:gd name="T17" fmla="*/ 36 h 39"/>
                  <a:gd name="T18" fmla="*/ 180 w 236"/>
                  <a:gd name="T19" fmla="*/ 30 h 39"/>
                  <a:gd name="T20" fmla="*/ 162 w 236"/>
                  <a:gd name="T21" fmla="*/ 39 h 39"/>
                  <a:gd name="T22" fmla="*/ 144 w 236"/>
                  <a:gd name="T23" fmla="*/ 38 h 39"/>
                  <a:gd name="T24" fmla="*/ 129 w 236"/>
                  <a:gd name="T25" fmla="*/ 30 h 39"/>
                  <a:gd name="T26" fmla="*/ 107 w 236"/>
                  <a:gd name="T27" fmla="*/ 35 h 39"/>
                  <a:gd name="T28" fmla="*/ 95 w 236"/>
                  <a:gd name="T29" fmla="*/ 33 h 39"/>
                  <a:gd name="T30" fmla="*/ 48 w 236"/>
                  <a:gd name="T31" fmla="*/ 17 h 39"/>
                  <a:gd name="T32" fmla="*/ 23 w 236"/>
                  <a:gd name="T33" fmla="*/ 18 h 39"/>
                  <a:gd name="T34" fmla="*/ 0 w 236"/>
                  <a:gd name="T35"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6" h="39">
                    <a:moveTo>
                      <a:pt x="0" y="6"/>
                    </a:moveTo>
                    <a:lnTo>
                      <a:pt x="17" y="0"/>
                    </a:lnTo>
                    <a:lnTo>
                      <a:pt x="48" y="2"/>
                    </a:lnTo>
                    <a:lnTo>
                      <a:pt x="104" y="6"/>
                    </a:lnTo>
                    <a:lnTo>
                      <a:pt x="140" y="11"/>
                    </a:lnTo>
                    <a:lnTo>
                      <a:pt x="227" y="6"/>
                    </a:lnTo>
                    <a:lnTo>
                      <a:pt x="236" y="14"/>
                    </a:lnTo>
                    <a:lnTo>
                      <a:pt x="231" y="29"/>
                    </a:lnTo>
                    <a:lnTo>
                      <a:pt x="203" y="36"/>
                    </a:lnTo>
                    <a:lnTo>
                      <a:pt x="180" y="30"/>
                    </a:lnTo>
                    <a:lnTo>
                      <a:pt x="162" y="39"/>
                    </a:lnTo>
                    <a:lnTo>
                      <a:pt x="144" y="38"/>
                    </a:lnTo>
                    <a:lnTo>
                      <a:pt x="129" y="30"/>
                    </a:lnTo>
                    <a:lnTo>
                      <a:pt x="107" y="35"/>
                    </a:lnTo>
                    <a:lnTo>
                      <a:pt x="95" y="33"/>
                    </a:lnTo>
                    <a:lnTo>
                      <a:pt x="48" y="17"/>
                    </a:lnTo>
                    <a:lnTo>
                      <a:pt x="23" y="18"/>
                    </a:lnTo>
                    <a:lnTo>
                      <a:pt x="0" y="6"/>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65" name="Freeform 6216">
                <a:extLst>
                  <a:ext uri="{FF2B5EF4-FFF2-40B4-BE49-F238E27FC236}">
                    <a16:creationId xmlns:a16="http://schemas.microsoft.com/office/drawing/2014/main" id="{C5891260-3EE9-CEA9-3B1B-AA44B3229952}"/>
                  </a:ext>
                </a:extLst>
              </p:cNvPr>
              <p:cNvSpPr>
                <a:spLocks/>
              </p:cNvSpPr>
              <p:nvPr/>
            </p:nvSpPr>
            <p:spPr bwMode="gray">
              <a:xfrm>
                <a:off x="3875845" y="3896950"/>
                <a:ext cx="80770" cy="121753"/>
              </a:xfrm>
              <a:custGeom>
                <a:avLst/>
                <a:gdLst>
                  <a:gd name="T0" fmla="*/ 0 w 73"/>
                  <a:gd name="T1" fmla="*/ 17 h 114"/>
                  <a:gd name="T2" fmla="*/ 13 w 73"/>
                  <a:gd name="T3" fmla="*/ 5 h 114"/>
                  <a:gd name="T4" fmla="*/ 33 w 73"/>
                  <a:gd name="T5" fmla="*/ 0 h 114"/>
                  <a:gd name="T6" fmla="*/ 42 w 73"/>
                  <a:gd name="T7" fmla="*/ 51 h 114"/>
                  <a:gd name="T8" fmla="*/ 43 w 73"/>
                  <a:gd name="T9" fmla="*/ 81 h 114"/>
                  <a:gd name="T10" fmla="*/ 73 w 73"/>
                  <a:gd name="T11" fmla="*/ 107 h 114"/>
                  <a:gd name="T12" fmla="*/ 63 w 73"/>
                  <a:gd name="T13" fmla="*/ 114 h 114"/>
                  <a:gd name="T14" fmla="*/ 31 w 73"/>
                  <a:gd name="T15" fmla="*/ 86 h 114"/>
                  <a:gd name="T16" fmla="*/ 22 w 73"/>
                  <a:gd name="T17" fmla="*/ 60 h 114"/>
                  <a:gd name="T18" fmla="*/ 0 w 73"/>
                  <a:gd name="T19" fmla="*/ 1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114">
                    <a:moveTo>
                      <a:pt x="0" y="17"/>
                    </a:moveTo>
                    <a:lnTo>
                      <a:pt x="13" y="5"/>
                    </a:lnTo>
                    <a:lnTo>
                      <a:pt x="33" y="0"/>
                    </a:lnTo>
                    <a:lnTo>
                      <a:pt x="42" y="51"/>
                    </a:lnTo>
                    <a:lnTo>
                      <a:pt x="43" y="81"/>
                    </a:lnTo>
                    <a:lnTo>
                      <a:pt x="73" y="107"/>
                    </a:lnTo>
                    <a:lnTo>
                      <a:pt x="63" y="114"/>
                    </a:lnTo>
                    <a:lnTo>
                      <a:pt x="31" y="86"/>
                    </a:lnTo>
                    <a:lnTo>
                      <a:pt x="22" y="60"/>
                    </a:lnTo>
                    <a:lnTo>
                      <a:pt x="0" y="17"/>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68" name="Freeform 6203">
                <a:extLst>
                  <a:ext uri="{FF2B5EF4-FFF2-40B4-BE49-F238E27FC236}">
                    <a16:creationId xmlns:a16="http://schemas.microsoft.com/office/drawing/2014/main" id="{B788ABAA-831D-152E-54AA-AD82156E832B}"/>
                  </a:ext>
                </a:extLst>
              </p:cNvPr>
              <p:cNvSpPr>
                <a:spLocks/>
              </p:cNvSpPr>
              <p:nvPr/>
            </p:nvSpPr>
            <p:spPr bwMode="gray">
              <a:xfrm>
                <a:off x="3490169" y="3851043"/>
                <a:ext cx="96924" cy="219553"/>
              </a:xfrm>
              <a:custGeom>
                <a:avLst/>
                <a:gdLst>
                  <a:gd name="T0" fmla="*/ 20 w 92"/>
                  <a:gd name="T1" fmla="*/ 153 h 205"/>
                  <a:gd name="T2" fmla="*/ 48 w 92"/>
                  <a:gd name="T3" fmla="*/ 121 h 205"/>
                  <a:gd name="T4" fmla="*/ 29 w 92"/>
                  <a:gd name="T5" fmla="*/ 112 h 205"/>
                  <a:gd name="T6" fmla="*/ 15 w 92"/>
                  <a:gd name="T7" fmla="*/ 97 h 205"/>
                  <a:gd name="T8" fmla="*/ 21 w 92"/>
                  <a:gd name="T9" fmla="*/ 70 h 205"/>
                  <a:gd name="T10" fmla="*/ 11 w 92"/>
                  <a:gd name="T11" fmla="*/ 70 h 205"/>
                  <a:gd name="T12" fmla="*/ 9 w 92"/>
                  <a:gd name="T13" fmla="*/ 45 h 205"/>
                  <a:gd name="T14" fmla="*/ 0 w 92"/>
                  <a:gd name="T15" fmla="*/ 16 h 205"/>
                  <a:gd name="T16" fmla="*/ 8 w 92"/>
                  <a:gd name="T17" fmla="*/ 0 h 205"/>
                  <a:gd name="T18" fmla="*/ 38 w 92"/>
                  <a:gd name="T19" fmla="*/ 1 h 205"/>
                  <a:gd name="T20" fmla="*/ 65 w 92"/>
                  <a:gd name="T21" fmla="*/ 10 h 205"/>
                  <a:gd name="T22" fmla="*/ 74 w 92"/>
                  <a:gd name="T23" fmla="*/ 28 h 205"/>
                  <a:gd name="T24" fmla="*/ 56 w 92"/>
                  <a:gd name="T25" fmla="*/ 102 h 205"/>
                  <a:gd name="T26" fmla="*/ 83 w 92"/>
                  <a:gd name="T27" fmla="*/ 162 h 205"/>
                  <a:gd name="T28" fmla="*/ 92 w 92"/>
                  <a:gd name="T29" fmla="*/ 189 h 205"/>
                  <a:gd name="T30" fmla="*/ 81 w 92"/>
                  <a:gd name="T31" fmla="*/ 205 h 205"/>
                  <a:gd name="T32" fmla="*/ 20 w 92"/>
                  <a:gd name="T33" fmla="*/ 15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205">
                    <a:moveTo>
                      <a:pt x="20" y="153"/>
                    </a:moveTo>
                    <a:lnTo>
                      <a:pt x="48" y="121"/>
                    </a:lnTo>
                    <a:lnTo>
                      <a:pt x="29" y="112"/>
                    </a:lnTo>
                    <a:lnTo>
                      <a:pt x="15" y="97"/>
                    </a:lnTo>
                    <a:lnTo>
                      <a:pt x="21" y="70"/>
                    </a:lnTo>
                    <a:lnTo>
                      <a:pt x="11" y="70"/>
                    </a:lnTo>
                    <a:lnTo>
                      <a:pt x="9" y="45"/>
                    </a:lnTo>
                    <a:lnTo>
                      <a:pt x="0" y="16"/>
                    </a:lnTo>
                    <a:lnTo>
                      <a:pt x="8" y="0"/>
                    </a:lnTo>
                    <a:lnTo>
                      <a:pt x="38" y="1"/>
                    </a:lnTo>
                    <a:lnTo>
                      <a:pt x="65" y="10"/>
                    </a:lnTo>
                    <a:lnTo>
                      <a:pt x="74" y="28"/>
                    </a:lnTo>
                    <a:lnTo>
                      <a:pt x="56" y="102"/>
                    </a:lnTo>
                    <a:lnTo>
                      <a:pt x="83" y="162"/>
                    </a:lnTo>
                    <a:lnTo>
                      <a:pt x="92" y="189"/>
                    </a:lnTo>
                    <a:lnTo>
                      <a:pt x="81" y="205"/>
                    </a:lnTo>
                    <a:lnTo>
                      <a:pt x="20" y="153"/>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69" name="Freeform 6204">
                <a:extLst>
                  <a:ext uri="{FF2B5EF4-FFF2-40B4-BE49-F238E27FC236}">
                    <a16:creationId xmlns:a16="http://schemas.microsoft.com/office/drawing/2014/main" id="{021BCB7A-66B1-7DC4-5CF5-8F1D41188EB3}"/>
                  </a:ext>
                </a:extLst>
              </p:cNvPr>
              <p:cNvSpPr>
                <a:spLocks/>
              </p:cNvSpPr>
              <p:nvPr/>
            </p:nvSpPr>
            <p:spPr bwMode="gray">
              <a:xfrm>
                <a:off x="566290" y="5086530"/>
                <a:ext cx="1001549" cy="570838"/>
              </a:xfrm>
              <a:custGeom>
                <a:avLst/>
                <a:gdLst>
                  <a:gd name="T0" fmla="*/ 8 w 926"/>
                  <a:gd name="T1" fmla="*/ 445 h 535"/>
                  <a:gd name="T2" fmla="*/ 30 w 926"/>
                  <a:gd name="T3" fmla="*/ 372 h 535"/>
                  <a:gd name="T4" fmla="*/ 84 w 926"/>
                  <a:gd name="T5" fmla="*/ 274 h 535"/>
                  <a:gd name="T6" fmla="*/ 149 w 926"/>
                  <a:gd name="T7" fmla="*/ 220 h 535"/>
                  <a:gd name="T8" fmla="*/ 162 w 926"/>
                  <a:gd name="T9" fmla="*/ 193 h 535"/>
                  <a:gd name="T10" fmla="*/ 242 w 926"/>
                  <a:gd name="T11" fmla="*/ 100 h 535"/>
                  <a:gd name="T12" fmla="*/ 291 w 926"/>
                  <a:gd name="T13" fmla="*/ 94 h 535"/>
                  <a:gd name="T14" fmla="*/ 335 w 926"/>
                  <a:gd name="T15" fmla="*/ 79 h 535"/>
                  <a:gd name="T16" fmla="*/ 372 w 926"/>
                  <a:gd name="T17" fmla="*/ 75 h 535"/>
                  <a:gd name="T18" fmla="*/ 399 w 926"/>
                  <a:gd name="T19" fmla="*/ 46 h 535"/>
                  <a:gd name="T20" fmla="*/ 474 w 926"/>
                  <a:gd name="T21" fmla="*/ 25 h 535"/>
                  <a:gd name="T22" fmla="*/ 521 w 926"/>
                  <a:gd name="T23" fmla="*/ 3 h 535"/>
                  <a:gd name="T24" fmla="*/ 600 w 926"/>
                  <a:gd name="T25" fmla="*/ 25 h 535"/>
                  <a:gd name="T26" fmla="*/ 686 w 926"/>
                  <a:gd name="T27" fmla="*/ 57 h 535"/>
                  <a:gd name="T28" fmla="*/ 752 w 926"/>
                  <a:gd name="T29" fmla="*/ 81 h 535"/>
                  <a:gd name="T30" fmla="*/ 824 w 926"/>
                  <a:gd name="T31" fmla="*/ 108 h 535"/>
                  <a:gd name="T32" fmla="*/ 845 w 926"/>
                  <a:gd name="T33" fmla="*/ 126 h 535"/>
                  <a:gd name="T34" fmla="*/ 896 w 926"/>
                  <a:gd name="T35" fmla="*/ 136 h 535"/>
                  <a:gd name="T36" fmla="*/ 917 w 926"/>
                  <a:gd name="T37" fmla="*/ 159 h 535"/>
                  <a:gd name="T38" fmla="*/ 917 w 926"/>
                  <a:gd name="T39" fmla="*/ 217 h 535"/>
                  <a:gd name="T40" fmla="*/ 848 w 926"/>
                  <a:gd name="T41" fmla="*/ 228 h 535"/>
                  <a:gd name="T42" fmla="*/ 768 w 926"/>
                  <a:gd name="T43" fmla="*/ 223 h 535"/>
                  <a:gd name="T44" fmla="*/ 575 w 926"/>
                  <a:gd name="T45" fmla="*/ 198 h 535"/>
                  <a:gd name="T46" fmla="*/ 441 w 926"/>
                  <a:gd name="T47" fmla="*/ 201 h 535"/>
                  <a:gd name="T48" fmla="*/ 401 w 926"/>
                  <a:gd name="T49" fmla="*/ 216 h 535"/>
                  <a:gd name="T50" fmla="*/ 353 w 926"/>
                  <a:gd name="T51" fmla="*/ 262 h 535"/>
                  <a:gd name="T52" fmla="*/ 284 w 926"/>
                  <a:gd name="T53" fmla="*/ 304 h 535"/>
                  <a:gd name="T54" fmla="*/ 246 w 926"/>
                  <a:gd name="T55" fmla="*/ 291 h 535"/>
                  <a:gd name="T56" fmla="*/ 198 w 926"/>
                  <a:gd name="T57" fmla="*/ 256 h 535"/>
                  <a:gd name="T58" fmla="*/ 141 w 926"/>
                  <a:gd name="T59" fmla="*/ 319 h 535"/>
                  <a:gd name="T60" fmla="*/ 101 w 926"/>
                  <a:gd name="T61" fmla="*/ 393 h 535"/>
                  <a:gd name="T62" fmla="*/ 50 w 926"/>
                  <a:gd name="T63" fmla="*/ 495 h 535"/>
                  <a:gd name="T64" fmla="*/ 0 w 926"/>
                  <a:gd name="T65" fmla="*/ 526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6" h="535">
                    <a:moveTo>
                      <a:pt x="0" y="526"/>
                    </a:moveTo>
                    <a:lnTo>
                      <a:pt x="8" y="445"/>
                    </a:lnTo>
                    <a:lnTo>
                      <a:pt x="30" y="418"/>
                    </a:lnTo>
                    <a:lnTo>
                      <a:pt x="30" y="372"/>
                    </a:lnTo>
                    <a:lnTo>
                      <a:pt x="74" y="300"/>
                    </a:lnTo>
                    <a:lnTo>
                      <a:pt x="84" y="274"/>
                    </a:lnTo>
                    <a:lnTo>
                      <a:pt x="137" y="211"/>
                    </a:lnTo>
                    <a:lnTo>
                      <a:pt x="149" y="220"/>
                    </a:lnTo>
                    <a:lnTo>
                      <a:pt x="161" y="216"/>
                    </a:lnTo>
                    <a:lnTo>
                      <a:pt x="162" y="193"/>
                    </a:lnTo>
                    <a:lnTo>
                      <a:pt x="189" y="154"/>
                    </a:lnTo>
                    <a:lnTo>
                      <a:pt x="242" y="100"/>
                    </a:lnTo>
                    <a:lnTo>
                      <a:pt x="264" y="94"/>
                    </a:lnTo>
                    <a:lnTo>
                      <a:pt x="291" y="94"/>
                    </a:lnTo>
                    <a:lnTo>
                      <a:pt x="303" y="103"/>
                    </a:lnTo>
                    <a:lnTo>
                      <a:pt x="335" y="79"/>
                    </a:lnTo>
                    <a:lnTo>
                      <a:pt x="357" y="76"/>
                    </a:lnTo>
                    <a:lnTo>
                      <a:pt x="372" y="75"/>
                    </a:lnTo>
                    <a:lnTo>
                      <a:pt x="384" y="51"/>
                    </a:lnTo>
                    <a:lnTo>
                      <a:pt x="399" y="46"/>
                    </a:lnTo>
                    <a:lnTo>
                      <a:pt x="431" y="0"/>
                    </a:lnTo>
                    <a:lnTo>
                      <a:pt x="474" y="25"/>
                    </a:lnTo>
                    <a:lnTo>
                      <a:pt x="504" y="13"/>
                    </a:lnTo>
                    <a:lnTo>
                      <a:pt x="521" y="3"/>
                    </a:lnTo>
                    <a:lnTo>
                      <a:pt x="546" y="16"/>
                    </a:lnTo>
                    <a:lnTo>
                      <a:pt x="600" y="25"/>
                    </a:lnTo>
                    <a:lnTo>
                      <a:pt x="647" y="36"/>
                    </a:lnTo>
                    <a:lnTo>
                      <a:pt x="686" y="57"/>
                    </a:lnTo>
                    <a:lnTo>
                      <a:pt x="708" y="57"/>
                    </a:lnTo>
                    <a:lnTo>
                      <a:pt x="752" y="81"/>
                    </a:lnTo>
                    <a:lnTo>
                      <a:pt x="807" y="91"/>
                    </a:lnTo>
                    <a:lnTo>
                      <a:pt x="824" y="108"/>
                    </a:lnTo>
                    <a:lnTo>
                      <a:pt x="843" y="115"/>
                    </a:lnTo>
                    <a:lnTo>
                      <a:pt x="845" y="126"/>
                    </a:lnTo>
                    <a:lnTo>
                      <a:pt x="876" y="135"/>
                    </a:lnTo>
                    <a:lnTo>
                      <a:pt x="896" y="136"/>
                    </a:lnTo>
                    <a:lnTo>
                      <a:pt x="906" y="156"/>
                    </a:lnTo>
                    <a:lnTo>
                      <a:pt x="917" y="159"/>
                    </a:lnTo>
                    <a:lnTo>
                      <a:pt x="926" y="199"/>
                    </a:lnTo>
                    <a:lnTo>
                      <a:pt x="917" y="217"/>
                    </a:lnTo>
                    <a:lnTo>
                      <a:pt x="858" y="222"/>
                    </a:lnTo>
                    <a:lnTo>
                      <a:pt x="848" y="228"/>
                    </a:lnTo>
                    <a:lnTo>
                      <a:pt x="786" y="226"/>
                    </a:lnTo>
                    <a:lnTo>
                      <a:pt x="768" y="223"/>
                    </a:lnTo>
                    <a:lnTo>
                      <a:pt x="702" y="193"/>
                    </a:lnTo>
                    <a:lnTo>
                      <a:pt x="575" y="198"/>
                    </a:lnTo>
                    <a:lnTo>
                      <a:pt x="471" y="211"/>
                    </a:lnTo>
                    <a:lnTo>
                      <a:pt x="441" y="201"/>
                    </a:lnTo>
                    <a:lnTo>
                      <a:pt x="426" y="195"/>
                    </a:lnTo>
                    <a:lnTo>
                      <a:pt x="401" y="216"/>
                    </a:lnTo>
                    <a:lnTo>
                      <a:pt x="393" y="240"/>
                    </a:lnTo>
                    <a:lnTo>
                      <a:pt x="353" y="262"/>
                    </a:lnTo>
                    <a:lnTo>
                      <a:pt x="314" y="274"/>
                    </a:lnTo>
                    <a:lnTo>
                      <a:pt x="284" y="304"/>
                    </a:lnTo>
                    <a:lnTo>
                      <a:pt x="269" y="304"/>
                    </a:lnTo>
                    <a:lnTo>
                      <a:pt x="246" y="291"/>
                    </a:lnTo>
                    <a:lnTo>
                      <a:pt x="239" y="256"/>
                    </a:lnTo>
                    <a:lnTo>
                      <a:pt x="198" y="256"/>
                    </a:lnTo>
                    <a:lnTo>
                      <a:pt x="156" y="285"/>
                    </a:lnTo>
                    <a:lnTo>
                      <a:pt x="141" y="319"/>
                    </a:lnTo>
                    <a:lnTo>
                      <a:pt x="120" y="367"/>
                    </a:lnTo>
                    <a:lnTo>
                      <a:pt x="101" y="393"/>
                    </a:lnTo>
                    <a:lnTo>
                      <a:pt x="60" y="448"/>
                    </a:lnTo>
                    <a:lnTo>
                      <a:pt x="50" y="495"/>
                    </a:lnTo>
                    <a:lnTo>
                      <a:pt x="14" y="535"/>
                    </a:lnTo>
                    <a:lnTo>
                      <a:pt x="0" y="526"/>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70" name="Freeform 6205">
                <a:extLst>
                  <a:ext uri="{FF2B5EF4-FFF2-40B4-BE49-F238E27FC236}">
                    <a16:creationId xmlns:a16="http://schemas.microsoft.com/office/drawing/2014/main" id="{E90EAFA0-75C2-9954-AA1C-C817AE235930}"/>
                  </a:ext>
                </a:extLst>
              </p:cNvPr>
              <p:cNvSpPr>
                <a:spLocks/>
              </p:cNvSpPr>
              <p:nvPr/>
            </p:nvSpPr>
            <p:spPr bwMode="gray">
              <a:xfrm>
                <a:off x="1196298" y="4184366"/>
                <a:ext cx="518947" cy="421143"/>
              </a:xfrm>
              <a:custGeom>
                <a:avLst/>
                <a:gdLst>
                  <a:gd name="T0" fmla="*/ 0 w 481"/>
                  <a:gd name="T1" fmla="*/ 361 h 396"/>
                  <a:gd name="T2" fmla="*/ 54 w 481"/>
                  <a:gd name="T3" fmla="*/ 327 h 396"/>
                  <a:gd name="T4" fmla="*/ 142 w 481"/>
                  <a:gd name="T5" fmla="*/ 244 h 396"/>
                  <a:gd name="T6" fmla="*/ 160 w 481"/>
                  <a:gd name="T7" fmla="*/ 208 h 396"/>
                  <a:gd name="T8" fmla="*/ 225 w 481"/>
                  <a:gd name="T9" fmla="*/ 148 h 396"/>
                  <a:gd name="T10" fmla="*/ 244 w 481"/>
                  <a:gd name="T11" fmla="*/ 147 h 396"/>
                  <a:gd name="T12" fmla="*/ 249 w 481"/>
                  <a:gd name="T13" fmla="*/ 126 h 396"/>
                  <a:gd name="T14" fmla="*/ 277 w 481"/>
                  <a:gd name="T15" fmla="*/ 112 h 396"/>
                  <a:gd name="T16" fmla="*/ 280 w 481"/>
                  <a:gd name="T17" fmla="*/ 66 h 396"/>
                  <a:gd name="T18" fmla="*/ 360 w 481"/>
                  <a:gd name="T19" fmla="*/ 31 h 396"/>
                  <a:gd name="T20" fmla="*/ 388 w 481"/>
                  <a:gd name="T21" fmla="*/ 10 h 396"/>
                  <a:gd name="T22" fmla="*/ 402 w 481"/>
                  <a:gd name="T23" fmla="*/ 0 h 396"/>
                  <a:gd name="T24" fmla="*/ 432 w 481"/>
                  <a:gd name="T25" fmla="*/ 10 h 396"/>
                  <a:gd name="T26" fmla="*/ 448 w 481"/>
                  <a:gd name="T27" fmla="*/ 18 h 396"/>
                  <a:gd name="T28" fmla="*/ 465 w 481"/>
                  <a:gd name="T29" fmla="*/ 10 h 396"/>
                  <a:gd name="T30" fmla="*/ 478 w 481"/>
                  <a:gd name="T31" fmla="*/ 19 h 396"/>
                  <a:gd name="T32" fmla="*/ 481 w 481"/>
                  <a:gd name="T33" fmla="*/ 58 h 396"/>
                  <a:gd name="T34" fmla="*/ 471 w 481"/>
                  <a:gd name="T35" fmla="*/ 78 h 396"/>
                  <a:gd name="T36" fmla="*/ 417 w 481"/>
                  <a:gd name="T37" fmla="*/ 109 h 396"/>
                  <a:gd name="T38" fmla="*/ 391 w 481"/>
                  <a:gd name="T39" fmla="*/ 138 h 396"/>
                  <a:gd name="T40" fmla="*/ 342 w 481"/>
                  <a:gd name="T41" fmla="*/ 183 h 396"/>
                  <a:gd name="T42" fmla="*/ 309 w 481"/>
                  <a:gd name="T43" fmla="*/ 208 h 396"/>
                  <a:gd name="T44" fmla="*/ 268 w 481"/>
                  <a:gd name="T45" fmla="*/ 255 h 396"/>
                  <a:gd name="T46" fmla="*/ 240 w 481"/>
                  <a:gd name="T47" fmla="*/ 283 h 396"/>
                  <a:gd name="T48" fmla="*/ 202 w 481"/>
                  <a:gd name="T49" fmla="*/ 300 h 396"/>
                  <a:gd name="T50" fmla="*/ 171 w 481"/>
                  <a:gd name="T51" fmla="*/ 351 h 396"/>
                  <a:gd name="T52" fmla="*/ 135 w 481"/>
                  <a:gd name="T53" fmla="*/ 363 h 396"/>
                  <a:gd name="T54" fmla="*/ 94 w 481"/>
                  <a:gd name="T55" fmla="*/ 361 h 396"/>
                  <a:gd name="T56" fmla="*/ 22 w 481"/>
                  <a:gd name="T57" fmla="*/ 396 h 396"/>
                  <a:gd name="T58" fmla="*/ 1 w 481"/>
                  <a:gd name="T59" fmla="*/ 385 h 396"/>
                  <a:gd name="T60" fmla="*/ 0 w 481"/>
                  <a:gd name="T61" fmla="*/ 36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1" h="396">
                    <a:moveTo>
                      <a:pt x="0" y="361"/>
                    </a:moveTo>
                    <a:lnTo>
                      <a:pt x="54" y="327"/>
                    </a:lnTo>
                    <a:lnTo>
                      <a:pt x="142" y="244"/>
                    </a:lnTo>
                    <a:lnTo>
                      <a:pt x="160" y="208"/>
                    </a:lnTo>
                    <a:lnTo>
                      <a:pt x="225" y="148"/>
                    </a:lnTo>
                    <a:lnTo>
                      <a:pt x="244" y="147"/>
                    </a:lnTo>
                    <a:lnTo>
                      <a:pt x="249" y="126"/>
                    </a:lnTo>
                    <a:lnTo>
                      <a:pt x="277" y="112"/>
                    </a:lnTo>
                    <a:lnTo>
                      <a:pt x="280" y="66"/>
                    </a:lnTo>
                    <a:lnTo>
                      <a:pt x="360" y="31"/>
                    </a:lnTo>
                    <a:lnTo>
                      <a:pt x="388" y="10"/>
                    </a:lnTo>
                    <a:lnTo>
                      <a:pt x="402" y="0"/>
                    </a:lnTo>
                    <a:lnTo>
                      <a:pt x="432" y="10"/>
                    </a:lnTo>
                    <a:lnTo>
                      <a:pt x="448" y="18"/>
                    </a:lnTo>
                    <a:lnTo>
                      <a:pt x="465" y="10"/>
                    </a:lnTo>
                    <a:lnTo>
                      <a:pt x="478" y="19"/>
                    </a:lnTo>
                    <a:lnTo>
                      <a:pt x="481" y="58"/>
                    </a:lnTo>
                    <a:lnTo>
                      <a:pt x="471" y="78"/>
                    </a:lnTo>
                    <a:lnTo>
                      <a:pt x="417" y="109"/>
                    </a:lnTo>
                    <a:lnTo>
                      <a:pt x="391" y="138"/>
                    </a:lnTo>
                    <a:lnTo>
                      <a:pt x="342" y="183"/>
                    </a:lnTo>
                    <a:lnTo>
                      <a:pt x="309" y="208"/>
                    </a:lnTo>
                    <a:lnTo>
                      <a:pt x="268" y="255"/>
                    </a:lnTo>
                    <a:lnTo>
                      <a:pt x="240" y="283"/>
                    </a:lnTo>
                    <a:lnTo>
                      <a:pt x="202" y="300"/>
                    </a:lnTo>
                    <a:lnTo>
                      <a:pt x="171" y="351"/>
                    </a:lnTo>
                    <a:lnTo>
                      <a:pt x="135" y="363"/>
                    </a:lnTo>
                    <a:lnTo>
                      <a:pt x="94" y="361"/>
                    </a:lnTo>
                    <a:lnTo>
                      <a:pt x="22" y="396"/>
                    </a:lnTo>
                    <a:lnTo>
                      <a:pt x="1" y="385"/>
                    </a:lnTo>
                    <a:lnTo>
                      <a:pt x="0" y="361"/>
                    </a:lnTo>
                    <a:close/>
                  </a:path>
                </a:pathLst>
              </a:custGeom>
              <a:grpFill/>
              <a:ln w="9525" cap="flat" cmpd="sng">
                <a:no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71" name="Freeform 6206">
                <a:extLst>
                  <a:ext uri="{FF2B5EF4-FFF2-40B4-BE49-F238E27FC236}">
                    <a16:creationId xmlns:a16="http://schemas.microsoft.com/office/drawing/2014/main" id="{CA208441-6E22-899B-08F4-B4455DC83201}"/>
                  </a:ext>
                </a:extLst>
              </p:cNvPr>
              <p:cNvSpPr>
                <a:spLocks/>
              </p:cNvSpPr>
              <p:nvPr/>
            </p:nvSpPr>
            <p:spPr bwMode="gray">
              <a:xfrm>
                <a:off x="1751590" y="3964812"/>
                <a:ext cx="203944" cy="167659"/>
              </a:xfrm>
              <a:custGeom>
                <a:avLst/>
                <a:gdLst>
                  <a:gd name="T0" fmla="*/ 2 w 190"/>
                  <a:gd name="T1" fmla="*/ 124 h 158"/>
                  <a:gd name="T2" fmla="*/ 42 w 190"/>
                  <a:gd name="T3" fmla="*/ 108 h 158"/>
                  <a:gd name="T4" fmla="*/ 54 w 190"/>
                  <a:gd name="T5" fmla="*/ 94 h 158"/>
                  <a:gd name="T6" fmla="*/ 96 w 190"/>
                  <a:gd name="T7" fmla="*/ 74 h 158"/>
                  <a:gd name="T8" fmla="*/ 176 w 190"/>
                  <a:gd name="T9" fmla="*/ 0 h 158"/>
                  <a:gd name="T10" fmla="*/ 190 w 190"/>
                  <a:gd name="T11" fmla="*/ 4 h 158"/>
                  <a:gd name="T12" fmla="*/ 134 w 190"/>
                  <a:gd name="T13" fmla="*/ 108 h 158"/>
                  <a:gd name="T14" fmla="*/ 82 w 190"/>
                  <a:gd name="T15" fmla="*/ 154 h 158"/>
                  <a:gd name="T16" fmla="*/ 44 w 190"/>
                  <a:gd name="T17" fmla="*/ 158 h 158"/>
                  <a:gd name="T18" fmla="*/ 34 w 190"/>
                  <a:gd name="T19" fmla="*/ 152 h 158"/>
                  <a:gd name="T20" fmla="*/ 46 w 190"/>
                  <a:gd name="T21" fmla="*/ 148 h 158"/>
                  <a:gd name="T22" fmla="*/ 84 w 190"/>
                  <a:gd name="T23" fmla="*/ 112 h 158"/>
                  <a:gd name="T24" fmla="*/ 88 w 190"/>
                  <a:gd name="T25" fmla="*/ 98 h 158"/>
                  <a:gd name="T26" fmla="*/ 78 w 190"/>
                  <a:gd name="T27" fmla="*/ 92 h 158"/>
                  <a:gd name="T28" fmla="*/ 70 w 190"/>
                  <a:gd name="T29" fmla="*/ 106 h 158"/>
                  <a:gd name="T30" fmla="*/ 68 w 190"/>
                  <a:gd name="T31" fmla="*/ 118 h 158"/>
                  <a:gd name="T32" fmla="*/ 38 w 190"/>
                  <a:gd name="T33" fmla="*/ 136 h 158"/>
                  <a:gd name="T34" fmla="*/ 12 w 190"/>
                  <a:gd name="T35" fmla="*/ 148 h 158"/>
                  <a:gd name="T36" fmla="*/ 0 w 190"/>
                  <a:gd name="T37" fmla="*/ 138 h 158"/>
                  <a:gd name="T38" fmla="*/ 2 w 190"/>
                  <a:gd name="T39" fmla="*/ 12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0" h="158">
                    <a:moveTo>
                      <a:pt x="2" y="124"/>
                    </a:moveTo>
                    <a:lnTo>
                      <a:pt x="42" y="108"/>
                    </a:lnTo>
                    <a:lnTo>
                      <a:pt x="54" y="94"/>
                    </a:lnTo>
                    <a:lnTo>
                      <a:pt x="96" y="74"/>
                    </a:lnTo>
                    <a:lnTo>
                      <a:pt x="176" y="0"/>
                    </a:lnTo>
                    <a:lnTo>
                      <a:pt x="190" y="4"/>
                    </a:lnTo>
                    <a:lnTo>
                      <a:pt x="134" y="108"/>
                    </a:lnTo>
                    <a:lnTo>
                      <a:pt x="82" y="154"/>
                    </a:lnTo>
                    <a:lnTo>
                      <a:pt x="44" y="158"/>
                    </a:lnTo>
                    <a:lnTo>
                      <a:pt x="34" y="152"/>
                    </a:lnTo>
                    <a:lnTo>
                      <a:pt x="46" y="148"/>
                    </a:lnTo>
                    <a:lnTo>
                      <a:pt x="84" y="112"/>
                    </a:lnTo>
                    <a:lnTo>
                      <a:pt x="88" y="98"/>
                    </a:lnTo>
                    <a:lnTo>
                      <a:pt x="78" y="92"/>
                    </a:lnTo>
                    <a:lnTo>
                      <a:pt x="70" y="106"/>
                    </a:lnTo>
                    <a:lnTo>
                      <a:pt x="68" y="118"/>
                    </a:lnTo>
                    <a:lnTo>
                      <a:pt x="38" y="136"/>
                    </a:lnTo>
                    <a:lnTo>
                      <a:pt x="12" y="148"/>
                    </a:lnTo>
                    <a:lnTo>
                      <a:pt x="0" y="138"/>
                    </a:lnTo>
                    <a:lnTo>
                      <a:pt x="2" y="124"/>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72" name="Freeform 6207">
                <a:extLst>
                  <a:ext uri="{FF2B5EF4-FFF2-40B4-BE49-F238E27FC236}">
                    <a16:creationId xmlns:a16="http://schemas.microsoft.com/office/drawing/2014/main" id="{55EFA993-8AC1-764E-36C2-7E65CB29800D}"/>
                  </a:ext>
                </a:extLst>
              </p:cNvPr>
              <p:cNvSpPr>
                <a:spLocks/>
              </p:cNvSpPr>
              <p:nvPr/>
            </p:nvSpPr>
            <p:spPr bwMode="gray">
              <a:xfrm>
                <a:off x="2458327" y="4665386"/>
                <a:ext cx="258464" cy="169656"/>
              </a:xfrm>
              <a:custGeom>
                <a:avLst/>
                <a:gdLst>
                  <a:gd name="T0" fmla="*/ 6 w 238"/>
                  <a:gd name="T1" fmla="*/ 0 h 160"/>
                  <a:gd name="T2" fmla="*/ 0 w 238"/>
                  <a:gd name="T3" fmla="*/ 40 h 160"/>
                  <a:gd name="T4" fmla="*/ 14 w 238"/>
                  <a:gd name="T5" fmla="*/ 58 h 160"/>
                  <a:gd name="T6" fmla="*/ 40 w 238"/>
                  <a:gd name="T7" fmla="*/ 80 h 160"/>
                  <a:gd name="T8" fmla="*/ 86 w 238"/>
                  <a:gd name="T9" fmla="*/ 106 h 160"/>
                  <a:gd name="T10" fmla="*/ 94 w 238"/>
                  <a:gd name="T11" fmla="*/ 134 h 160"/>
                  <a:gd name="T12" fmla="*/ 162 w 238"/>
                  <a:gd name="T13" fmla="*/ 160 h 160"/>
                  <a:gd name="T14" fmla="*/ 222 w 238"/>
                  <a:gd name="T15" fmla="*/ 140 h 160"/>
                  <a:gd name="T16" fmla="*/ 236 w 238"/>
                  <a:gd name="T17" fmla="*/ 144 h 160"/>
                  <a:gd name="T18" fmla="*/ 238 w 238"/>
                  <a:gd name="T19" fmla="*/ 126 h 160"/>
                  <a:gd name="T20" fmla="*/ 204 w 238"/>
                  <a:gd name="T21" fmla="*/ 108 h 160"/>
                  <a:gd name="T22" fmla="*/ 140 w 238"/>
                  <a:gd name="T23" fmla="*/ 108 h 160"/>
                  <a:gd name="T24" fmla="*/ 120 w 238"/>
                  <a:gd name="T25" fmla="*/ 84 h 160"/>
                  <a:gd name="T26" fmla="*/ 96 w 238"/>
                  <a:gd name="T27" fmla="*/ 60 h 160"/>
                  <a:gd name="T28" fmla="*/ 78 w 238"/>
                  <a:gd name="T29" fmla="*/ 58 h 160"/>
                  <a:gd name="T30" fmla="*/ 6 w 238"/>
                  <a:gd name="T31"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8" h="160">
                    <a:moveTo>
                      <a:pt x="6" y="0"/>
                    </a:moveTo>
                    <a:lnTo>
                      <a:pt x="0" y="40"/>
                    </a:lnTo>
                    <a:lnTo>
                      <a:pt x="14" y="58"/>
                    </a:lnTo>
                    <a:lnTo>
                      <a:pt x="40" y="80"/>
                    </a:lnTo>
                    <a:lnTo>
                      <a:pt x="86" y="106"/>
                    </a:lnTo>
                    <a:lnTo>
                      <a:pt x="94" y="134"/>
                    </a:lnTo>
                    <a:lnTo>
                      <a:pt x="162" y="160"/>
                    </a:lnTo>
                    <a:lnTo>
                      <a:pt x="222" y="140"/>
                    </a:lnTo>
                    <a:lnTo>
                      <a:pt x="236" y="144"/>
                    </a:lnTo>
                    <a:lnTo>
                      <a:pt x="238" y="126"/>
                    </a:lnTo>
                    <a:lnTo>
                      <a:pt x="204" y="108"/>
                    </a:lnTo>
                    <a:lnTo>
                      <a:pt x="140" y="108"/>
                    </a:lnTo>
                    <a:lnTo>
                      <a:pt x="120" y="84"/>
                    </a:lnTo>
                    <a:lnTo>
                      <a:pt x="96" y="60"/>
                    </a:lnTo>
                    <a:lnTo>
                      <a:pt x="78" y="58"/>
                    </a:lnTo>
                    <a:lnTo>
                      <a:pt x="6" y="0"/>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73" name="Freeform 6208">
                <a:extLst>
                  <a:ext uri="{FF2B5EF4-FFF2-40B4-BE49-F238E27FC236}">
                    <a16:creationId xmlns:a16="http://schemas.microsoft.com/office/drawing/2014/main" id="{FB0C45C9-85DB-05FC-352B-1229EFA4301A}"/>
                  </a:ext>
                </a:extLst>
              </p:cNvPr>
              <p:cNvSpPr>
                <a:spLocks/>
              </p:cNvSpPr>
              <p:nvPr/>
            </p:nvSpPr>
            <p:spPr bwMode="gray">
              <a:xfrm>
                <a:off x="2787464" y="4649418"/>
                <a:ext cx="205964" cy="119756"/>
              </a:xfrm>
              <a:custGeom>
                <a:avLst/>
                <a:gdLst>
                  <a:gd name="T0" fmla="*/ 0 w 190"/>
                  <a:gd name="T1" fmla="*/ 106 h 114"/>
                  <a:gd name="T2" fmla="*/ 16 w 190"/>
                  <a:gd name="T3" fmla="*/ 86 h 114"/>
                  <a:gd name="T4" fmla="*/ 40 w 190"/>
                  <a:gd name="T5" fmla="*/ 76 h 114"/>
                  <a:gd name="T6" fmla="*/ 70 w 190"/>
                  <a:gd name="T7" fmla="*/ 54 h 114"/>
                  <a:gd name="T8" fmla="*/ 90 w 190"/>
                  <a:gd name="T9" fmla="*/ 34 h 114"/>
                  <a:gd name="T10" fmla="*/ 108 w 190"/>
                  <a:gd name="T11" fmla="*/ 16 h 114"/>
                  <a:gd name="T12" fmla="*/ 128 w 190"/>
                  <a:gd name="T13" fmla="*/ 0 h 114"/>
                  <a:gd name="T14" fmla="*/ 168 w 190"/>
                  <a:gd name="T15" fmla="*/ 0 h 114"/>
                  <a:gd name="T16" fmla="*/ 190 w 190"/>
                  <a:gd name="T17" fmla="*/ 12 h 114"/>
                  <a:gd name="T18" fmla="*/ 190 w 190"/>
                  <a:gd name="T19" fmla="*/ 24 h 114"/>
                  <a:gd name="T20" fmla="*/ 140 w 190"/>
                  <a:gd name="T21" fmla="*/ 32 h 114"/>
                  <a:gd name="T22" fmla="*/ 100 w 190"/>
                  <a:gd name="T23" fmla="*/ 72 h 114"/>
                  <a:gd name="T24" fmla="*/ 74 w 190"/>
                  <a:gd name="T25" fmla="*/ 84 h 114"/>
                  <a:gd name="T26" fmla="*/ 58 w 190"/>
                  <a:gd name="T27" fmla="*/ 104 h 114"/>
                  <a:gd name="T28" fmla="*/ 30 w 190"/>
                  <a:gd name="T29" fmla="*/ 114 h 114"/>
                  <a:gd name="T30" fmla="*/ 0 w 190"/>
                  <a:gd name="T31" fmla="*/ 10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0" h="114">
                    <a:moveTo>
                      <a:pt x="0" y="106"/>
                    </a:moveTo>
                    <a:lnTo>
                      <a:pt x="16" y="86"/>
                    </a:lnTo>
                    <a:lnTo>
                      <a:pt x="40" y="76"/>
                    </a:lnTo>
                    <a:lnTo>
                      <a:pt x="70" y="54"/>
                    </a:lnTo>
                    <a:lnTo>
                      <a:pt x="90" y="34"/>
                    </a:lnTo>
                    <a:lnTo>
                      <a:pt x="108" y="16"/>
                    </a:lnTo>
                    <a:lnTo>
                      <a:pt x="128" y="0"/>
                    </a:lnTo>
                    <a:lnTo>
                      <a:pt x="168" y="0"/>
                    </a:lnTo>
                    <a:lnTo>
                      <a:pt x="190" y="12"/>
                    </a:lnTo>
                    <a:lnTo>
                      <a:pt x="190" y="24"/>
                    </a:lnTo>
                    <a:lnTo>
                      <a:pt x="140" y="32"/>
                    </a:lnTo>
                    <a:lnTo>
                      <a:pt x="100" y="72"/>
                    </a:lnTo>
                    <a:lnTo>
                      <a:pt x="74" y="84"/>
                    </a:lnTo>
                    <a:lnTo>
                      <a:pt x="58" y="104"/>
                    </a:lnTo>
                    <a:lnTo>
                      <a:pt x="30" y="114"/>
                    </a:lnTo>
                    <a:lnTo>
                      <a:pt x="0" y="106"/>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74" name="Freeform 6217">
                <a:extLst>
                  <a:ext uri="{FF2B5EF4-FFF2-40B4-BE49-F238E27FC236}">
                    <a16:creationId xmlns:a16="http://schemas.microsoft.com/office/drawing/2014/main" id="{912F41F9-1CC7-B765-9A5D-A094918B2DE8}"/>
                  </a:ext>
                </a:extLst>
              </p:cNvPr>
              <p:cNvSpPr>
                <a:spLocks/>
              </p:cNvSpPr>
              <p:nvPr/>
            </p:nvSpPr>
            <p:spPr bwMode="gray">
              <a:xfrm>
                <a:off x="3587086" y="3505743"/>
                <a:ext cx="520967" cy="319351"/>
              </a:xfrm>
              <a:custGeom>
                <a:avLst/>
                <a:gdLst>
                  <a:gd name="T0" fmla="*/ 312 w 481"/>
                  <a:gd name="T1" fmla="*/ 218 h 302"/>
                  <a:gd name="T2" fmla="*/ 295 w 481"/>
                  <a:gd name="T3" fmla="*/ 227 h 302"/>
                  <a:gd name="T4" fmla="*/ 241 w 481"/>
                  <a:gd name="T5" fmla="*/ 225 h 302"/>
                  <a:gd name="T6" fmla="*/ 208 w 481"/>
                  <a:gd name="T7" fmla="*/ 216 h 302"/>
                  <a:gd name="T8" fmla="*/ 159 w 481"/>
                  <a:gd name="T9" fmla="*/ 186 h 302"/>
                  <a:gd name="T10" fmla="*/ 102 w 481"/>
                  <a:gd name="T11" fmla="*/ 164 h 302"/>
                  <a:gd name="T12" fmla="*/ 58 w 481"/>
                  <a:gd name="T13" fmla="*/ 104 h 302"/>
                  <a:gd name="T14" fmla="*/ 31 w 481"/>
                  <a:gd name="T15" fmla="*/ 36 h 302"/>
                  <a:gd name="T16" fmla="*/ 13 w 481"/>
                  <a:gd name="T17" fmla="*/ 21 h 302"/>
                  <a:gd name="T18" fmla="*/ 10 w 481"/>
                  <a:gd name="T19" fmla="*/ 0 h 302"/>
                  <a:gd name="T20" fmla="*/ 0 w 481"/>
                  <a:gd name="T21" fmla="*/ 17 h 302"/>
                  <a:gd name="T22" fmla="*/ 4 w 481"/>
                  <a:gd name="T23" fmla="*/ 50 h 302"/>
                  <a:gd name="T24" fmla="*/ 42 w 481"/>
                  <a:gd name="T25" fmla="*/ 131 h 302"/>
                  <a:gd name="T26" fmla="*/ 66 w 481"/>
                  <a:gd name="T27" fmla="*/ 182 h 302"/>
                  <a:gd name="T28" fmla="*/ 120 w 481"/>
                  <a:gd name="T29" fmla="*/ 206 h 302"/>
                  <a:gd name="T30" fmla="*/ 136 w 481"/>
                  <a:gd name="T31" fmla="*/ 207 h 302"/>
                  <a:gd name="T32" fmla="*/ 159 w 481"/>
                  <a:gd name="T33" fmla="*/ 221 h 302"/>
                  <a:gd name="T34" fmla="*/ 216 w 481"/>
                  <a:gd name="T35" fmla="*/ 284 h 302"/>
                  <a:gd name="T36" fmla="*/ 235 w 481"/>
                  <a:gd name="T37" fmla="*/ 284 h 302"/>
                  <a:gd name="T38" fmla="*/ 241 w 481"/>
                  <a:gd name="T39" fmla="*/ 275 h 302"/>
                  <a:gd name="T40" fmla="*/ 300 w 481"/>
                  <a:gd name="T41" fmla="*/ 273 h 302"/>
                  <a:gd name="T42" fmla="*/ 312 w 481"/>
                  <a:gd name="T43" fmla="*/ 251 h 302"/>
                  <a:gd name="T44" fmla="*/ 321 w 481"/>
                  <a:gd name="T45" fmla="*/ 257 h 302"/>
                  <a:gd name="T46" fmla="*/ 310 w 481"/>
                  <a:gd name="T47" fmla="*/ 279 h 302"/>
                  <a:gd name="T48" fmla="*/ 366 w 481"/>
                  <a:gd name="T49" fmla="*/ 302 h 302"/>
                  <a:gd name="T50" fmla="*/ 384 w 481"/>
                  <a:gd name="T51" fmla="*/ 281 h 302"/>
                  <a:gd name="T52" fmla="*/ 406 w 481"/>
                  <a:gd name="T53" fmla="*/ 267 h 302"/>
                  <a:gd name="T54" fmla="*/ 417 w 481"/>
                  <a:gd name="T55" fmla="*/ 270 h 302"/>
                  <a:gd name="T56" fmla="*/ 481 w 481"/>
                  <a:gd name="T57" fmla="*/ 255 h 302"/>
                  <a:gd name="T58" fmla="*/ 475 w 481"/>
                  <a:gd name="T59" fmla="*/ 243 h 302"/>
                  <a:gd name="T60" fmla="*/ 451 w 481"/>
                  <a:gd name="T61" fmla="*/ 237 h 302"/>
                  <a:gd name="T62" fmla="*/ 403 w 481"/>
                  <a:gd name="T63" fmla="*/ 255 h 302"/>
                  <a:gd name="T64" fmla="*/ 366 w 481"/>
                  <a:gd name="T65" fmla="*/ 246 h 302"/>
                  <a:gd name="T66" fmla="*/ 363 w 481"/>
                  <a:gd name="T67" fmla="*/ 257 h 302"/>
                  <a:gd name="T68" fmla="*/ 324 w 481"/>
                  <a:gd name="T69" fmla="*/ 245 h 302"/>
                  <a:gd name="T70" fmla="*/ 325 w 481"/>
                  <a:gd name="T71" fmla="*/ 224 h 302"/>
                  <a:gd name="T72" fmla="*/ 312 w 481"/>
                  <a:gd name="T73" fmla="*/ 21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1" h="302">
                    <a:moveTo>
                      <a:pt x="312" y="218"/>
                    </a:moveTo>
                    <a:lnTo>
                      <a:pt x="295" y="227"/>
                    </a:lnTo>
                    <a:lnTo>
                      <a:pt x="241" y="225"/>
                    </a:lnTo>
                    <a:lnTo>
                      <a:pt x="208" y="216"/>
                    </a:lnTo>
                    <a:lnTo>
                      <a:pt x="159" y="186"/>
                    </a:lnTo>
                    <a:lnTo>
                      <a:pt x="102" y="164"/>
                    </a:lnTo>
                    <a:lnTo>
                      <a:pt x="58" y="104"/>
                    </a:lnTo>
                    <a:lnTo>
                      <a:pt x="31" y="36"/>
                    </a:lnTo>
                    <a:lnTo>
                      <a:pt x="13" y="21"/>
                    </a:lnTo>
                    <a:lnTo>
                      <a:pt x="10" y="0"/>
                    </a:lnTo>
                    <a:lnTo>
                      <a:pt x="0" y="17"/>
                    </a:lnTo>
                    <a:lnTo>
                      <a:pt x="4" y="50"/>
                    </a:lnTo>
                    <a:lnTo>
                      <a:pt x="42" y="131"/>
                    </a:lnTo>
                    <a:lnTo>
                      <a:pt x="66" y="182"/>
                    </a:lnTo>
                    <a:lnTo>
                      <a:pt x="120" y="206"/>
                    </a:lnTo>
                    <a:lnTo>
                      <a:pt x="136" y="207"/>
                    </a:lnTo>
                    <a:lnTo>
                      <a:pt x="159" y="221"/>
                    </a:lnTo>
                    <a:lnTo>
                      <a:pt x="216" y="284"/>
                    </a:lnTo>
                    <a:lnTo>
                      <a:pt x="235" y="284"/>
                    </a:lnTo>
                    <a:lnTo>
                      <a:pt x="241" y="275"/>
                    </a:lnTo>
                    <a:lnTo>
                      <a:pt x="300" y="273"/>
                    </a:lnTo>
                    <a:lnTo>
                      <a:pt x="312" y="251"/>
                    </a:lnTo>
                    <a:lnTo>
                      <a:pt x="321" y="257"/>
                    </a:lnTo>
                    <a:lnTo>
                      <a:pt x="310" y="279"/>
                    </a:lnTo>
                    <a:lnTo>
                      <a:pt x="366" y="302"/>
                    </a:lnTo>
                    <a:lnTo>
                      <a:pt x="384" y="281"/>
                    </a:lnTo>
                    <a:lnTo>
                      <a:pt x="406" y="267"/>
                    </a:lnTo>
                    <a:lnTo>
                      <a:pt x="417" y="270"/>
                    </a:lnTo>
                    <a:lnTo>
                      <a:pt x="481" y="255"/>
                    </a:lnTo>
                    <a:lnTo>
                      <a:pt x="475" y="243"/>
                    </a:lnTo>
                    <a:lnTo>
                      <a:pt x="451" y="237"/>
                    </a:lnTo>
                    <a:lnTo>
                      <a:pt x="403" y="255"/>
                    </a:lnTo>
                    <a:lnTo>
                      <a:pt x="366" y="246"/>
                    </a:lnTo>
                    <a:lnTo>
                      <a:pt x="363" y="257"/>
                    </a:lnTo>
                    <a:lnTo>
                      <a:pt x="324" y="245"/>
                    </a:lnTo>
                    <a:lnTo>
                      <a:pt x="325" y="224"/>
                    </a:lnTo>
                    <a:lnTo>
                      <a:pt x="312" y="218"/>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75" name="Freeform 6218">
                <a:extLst>
                  <a:ext uri="{FF2B5EF4-FFF2-40B4-BE49-F238E27FC236}">
                    <a16:creationId xmlns:a16="http://schemas.microsoft.com/office/drawing/2014/main" id="{4BB4A2F7-3ECE-187E-BC1C-E5926B850992}"/>
                  </a:ext>
                </a:extLst>
              </p:cNvPr>
              <p:cNvSpPr>
                <a:spLocks/>
              </p:cNvSpPr>
              <p:nvPr/>
            </p:nvSpPr>
            <p:spPr bwMode="gray">
              <a:xfrm>
                <a:off x="3996997" y="2679426"/>
                <a:ext cx="1106550" cy="588802"/>
              </a:xfrm>
              <a:custGeom>
                <a:avLst/>
                <a:gdLst>
                  <a:gd name="T0" fmla="*/ 225 w 1020"/>
                  <a:gd name="T1" fmla="*/ 67 h 553"/>
                  <a:gd name="T2" fmla="*/ 314 w 1020"/>
                  <a:gd name="T3" fmla="*/ 108 h 553"/>
                  <a:gd name="T4" fmla="*/ 351 w 1020"/>
                  <a:gd name="T5" fmla="*/ 184 h 553"/>
                  <a:gd name="T6" fmla="*/ 383 w 1020"/>
                  <a:gd name="T7" fmla="*/ 223 h 553"/>
                  <a:gd name="T8" fmla="*/ 365 w 1020"/>
                  <a:gd name="T9" fmla="*/ 246 h 553"/>
                  <a:gd name="T10" fmla="*/ 324 w 1020"/>
                  <a:gd name="T11" fmla="*/ 234 h 553"/>
                  <a:gd name="T12" fmla="*/ 267 w 1020"/>
                  <a:gd name="T13" fmla="*/ 219 h 553"/>
                  <a:gd name="T14" fmla="*/ 195 w 1020"/>
                  <a:gd name="T15" fmla="*/ 202 h 553"/>
                  <a:gd name="T16" fmla="*/ 231 w 1020"/>
                  <a:gd name="T17" fmla="*/ 199 h 553"/>
                  <a:gd name="T18" fmla="*/ 275 w 1020"/>
                  <a:gd name="T19" fmla="*/ 202 h 553"/>
                  <a:gd name="T20" fmla="*/ 128 w 1020"/>
                  <a:gd name="T21" fmla="*/ 124 h 553"/>
                  <a:gd name="T22" fmla="*/ 93 w 1020"/>
                  <a:gd name="T23" fmla="*/ 129 h 553"/>
                  <a:gd name="T24" fmla="*/ 89 w 1020"/>
                  <a:gd name="T25" fmla="*/ 159 h 553"/>
                  <a:gd name="T26" fmla="*/ 150 w 1020"/>
                  <a:gd name="T27" fmla="*/ 189 h 553"/>
                  <a:gd name="T28" fmla="*/ 125 w 1020"/>
                  <a:gd name="T29" fmla="*/ 229 h 553"/>
                  <a:gd name="T30" fmla="*/ 54 w 1020"/>
                  <a:gd name="T31" fmla="*/ 268 h 553"/>
                  <a:gd name="T32" fmla="*/ 30 w 1020"/>
                  <a:gd name="T33" fmla="*/ 294 h 553"/>
                  <a:gd name="T34" fmla="*/ 126 w 1020"/>
                  <a:gd name="T35" fmla="*/ 246 h 553"/>
                  <a:gd name="T36" fmla="*/ 257 w 1020"/>
                  <a:gd name="T37" fmla="*/ 255 h 553"/>
                  <a:gd name="T38" fmla="*/ 344 w 1020"/>
                  <a:gd name="T39" fmla="*/ 273 h 553"/>
                  <a:gd name="T40" fmla="*/ 423 w 1020"/>
                  <a:gd name="T41" fmla="*/ 303 h 553"/>
                  <a:gd name="T42" fmla="*/ 504 w 1020"/>
                  <a:gd name="T43" fmla="*/ 351 h 553"/>
                  <a:gd name="T44" fmla="*/ 590 w 1020"/>
                  <a:gd name="T45" fmla="*/ 438 h 553"/>
                  <a:gd name="T46" fmla="*/ 659 w 1020"/>
                  <a:gd name="T47" fmla="*/ 514 h 553"/>
                  <a:gd name="T48" fmla="*/ 678 w 1020"/>
                  <a:gd name="T49" fmla="*/ 537 h 553"/>
                  <a:gd name="T50" fmla="*/ 701 w 1020"/>
                  <a:gd name="T51" fmla="*/ 538 h 553"/>
                  <a:gd name="T52" fmla="*/ 773 w 1020"/>
                  <a:gd name="T53" fmla="*/ 552 h 553"/>
                  <a:gd name="T54" fmla="*/ 828 w 1020"/>
                  <a:gd name="T55" fmla="*/ 538 h 553"/>
                  <a:gd name="T56" fmla="*/ 896 w 1020"/>
                  <a:gd name="T57" fmla="*/ 507 h 553"/>
                  <a:gd name="T58" fmla="*/ 930 w 1020"/>
                  <a:gd name="T59" fmla="*/ 520 h 553"/>
                  <a:gd name="T60" fmla="*/ 962 w 1020"/>
                  <a:gd name="T61" fmla="*/ 501 h 553"/>
                  <a:gd name="T62" fmla="*/ 1019 w 1020"/>
                  <a:gd name="T63" fmla="*/ 480 h 553"/>
                  <a:gd name="T64" fmla="*/ 936 w 1020"/>
                  <a:gd name="T65" fmla="*/ 421 h 553"/>
                  <a:gd name="T66" fmla="*/ 828 w 1020"/>
                  <a:gd name="T67" fmla="*/ 363 h 553"/>
                  <a:gd name="T68" fmla="*/ 767 w 1020"/>
                  <a:gd name="T69" fmla="*/ 349 h 553"/>
                  <a:gd name="T70" fmla="*/ 699 w 1020"/>
                  <a:gd name="T71" fmla="*/ 261 h 553"/>
                  <a:gd name="T72" fmla="*/ 620 w 1020"/>
                  <a:gd name="T73" fmla="*/ 238 h 553"/>
                  <a:gd name="T74" fmla="*/ 468 w 1020"/>
                  <a:gd name="T75" fmla="*/ 202 h 553"/>
                  <a:gd name="T76" fmla="*/ 395 w 1020"/>
                  <a:gd name="T77" fmla="*/ 120 h 553"/>
                  <a:gd name="T78" fmla="*/ 303 w 1020"/>
                  <a:gd name="T79" fmla="*/ 69 h 553"/>
                  <a:gd name="T80" fmla="*/ 200 w 1020"/>
                  <a:gd name="T81" fmla="*/ 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20" h="553">
                    <a:moveTo>
                      <a:pt x="173" y="13"/>
                    </a:moveTo>
                    <a:lnTo>
                      <a:pt x="225" y="67"/>
                    </a:lnTo>
                    <a:lnTo>
                      <a:pt x="303" y="108"/>
                    </a:lnTo>
                    <a:lnTo>
                      <a:pt x="314" y="108"/>
                    </a:lnTo>
                    <a:lnTo>
                      <a:pt x="345" y="139"/>
                    </a:lnTo>
                    <a:lnTo>
                      <a:pt x="351" y="184"/>
                    </a:lnTo>
                    <a:lnTo>
                      <a:pt x="372" y="205"/>
                    </a:lnTo>
                    <a:lnTo>
                      <a:pt x="383" y="223"/>
                    </a:lnTo>
                    <a:lnTo>
                      <a:pt x="389" y="247"/>
                    </a:lnTo>
                    <a:lnTo>
                      <a:pt x="365" y="246"/>
                    </a:lnTo>
                    <a:lnTo>
                      <a:pt x="348" y="238"/>
                    </a:lnTo>
                    <a:lnTo>
                      <a:pt x="324" y="234"/>
                    </a:lnTo>
                    <a:lnTo>
                      <a:pt x="297" y="244"/>
                    </a:lnTo>
                    <a:lnTo>
                      <a:pt x="267" y="219"/>
                    </a:lnTo>
                    <a:lnTo>
                      <a:pt x="240" y="217"/>
                    </a:lnTo>
                    <a:lnTo>
                      <a:pt x="195" y="202"/>
                    </a:lnTo>
                    <a:lnTo>
                      <a:pt x="195" y="178"/>
                    </a:lnTo>
                    <a:lnTo>
                      <a:pt x="231" y="199"/>
                    </a:lnTo>
                    <a:lnTo>
                      <a:pt x="251" y="213"/>
                    </a:lnTo>
                    <a:lnTo>
                      <a:pt x="275" y="202"/>
                    </a:lnTo>
                    <a:lnTo>
                      <a:pt x="249" y="174"/>
                    </a:lnTo>
                    <a:lnTo>
                      <a:pt x="128" y="124"/>
                    </a:lnTo>
                    <a:lnTo>
                      <a:pt x="153" y="157"/>
                    </a:lnTo>
                    <a:lnTo>
                      <a:pt x="93" y="129"/>
                    </a:lnTo>
                    <a:lnTo>
                      <a:pt x="69" y="139"/>
                    </a:lnTo>
                    <a:lnTo>
                      <a:pt x="89" y="159"/>
                    </a:lnTo>
                    <a:lnTo>
                      <a:pt x="125" y="181"/>
                    </a:lnTo>
                    <a:lnTo>
                      <a:pt x="150" y="189"/>
                    </a:lnTo>
                    <a:lnTo>
                      <a:pt x="147" y="207"/>
                    </a:lnTo>
                    <a:lnTo>
                      <a:pt x="125" y="229"/>
                    </a:lnTo>
                    <a:lnTo>
                      <a:pt x="92" y="252"/>
                    </a:lnTo>
                    <a:lnTo>
                      <a:pt x="54" y="268"/>
                    </a:lnTo>
                    <a:lnTo>
                      <a:pt x="0" y="277"/>
                    </a:lnTo>
                    <a:lnTo>
                      <a:pt x="30" y="294"/>
                    </a:lnTo>
                    <a:lnTo>
                      <a:pt x="113" y="271"/>
                    </a:lnTo>
                    <a:lnTo>
                      <a:pt x="126" y="246"/>
                    </a:lnTo>
                    <a:lnTo>
                      <a:pt x="234" y="234"/>
                    </a:lnTo>
                    <a:lnTo>
                      <a:pt x="257" y="255"/>
                    </a:lnTo>
                    <a:lnTo>
                      <a:pt x="320" y="247"/>
                    </a:lnTo>
                    <a:lnTo>
                      <a:pt x="344" y="273"/>
                    </a:lnTo>
                    <a:lnTo>
                      <a:pt x="369" y="276"/>
                    </a:lnTo>
                    <a:lnTo>
                      <a:pt x="423" y="303"/>
                    </a:lnTo>
                    <a:lnTo>
                      <a:pt x="467" y="316"/>
                    </a:lnTo>
                    <a:lnTo>
                      <a:pt x="504" y="351"/>
                    </a:lnTo>
                    <a:lnTo>
                      <a:pt x="591" y="403"/>
                    </a:lnTo>
                    <a:lnTo>
                      <a:pt x="590" y="438"/>
                    </a:lnTo>
                    <a:lnTo>
                      <a:pt x="659" y="492"/>
                    </a:lnTo>
                    <a:lnTo>
                      <a:pt x="659" y="514"/>
                    </a:lnTo>
                    <a:lnTo>
                      <a:pt x="674" y="520"/>
                    </a:lnTo>
                    <a:lnTo>
                      <a:pt x="678" y="537"/>
                    </a:lnTo>
                    <a:lnTo>
                      <a:pt x="686" y="543"/>
                    </a:lnTo>
                    <a:lnTo>
                      <a:pt x="701" y="538"/>
                    </a:lnTo>
                    <a:lnTo>
                      <a:pt x="728" y="553"/>
                    </a:lnTo>
                    <a:lnTo>
                      <a:pt x="773" y="552"/>
                    </a:lnTo>
                    <a:lnTo>
                      <a:pt x="803" y="517"/>
                    </a:lnTo>
                    <a:lnTo>
                      <a:pt x="828" y="538"/>
                    </a:lnTo>
                    <a:lnTo>
                      <a:pt x="851" y="535"/>
                    </a:lnTo>
                    <a:lnTo>
                      <a:pt x="896" y="507"/>
                    </a:lnTo>
                    <a:lnTo>
                      <a:pt x="899" y="526"/>
                    </a:lnTo>
                    <a:lnTo>
                      <a:pt x="930" y="520"/>
                    </a:lnTo>
                    <a:lnTo>
                      <a:pt x="938" y="535"/>
                    </a:lnTo>
                    <a:lnTo>
                      <a:pt x="962" y="501"/>
                    </a:lnTo>
                    <a:lnTo>
                      <a:pt x="1020" y="498"/>
                    </a:lnTo>
                    <a:lnTo>
                      <a:pt x="1019" y="480"/>
                    </a:lnTo>
                    <a:lnTo>
                      <a:pt x="963" y="420"/>
                    </a:lnTo>
                    <a:lnTo>
                      <a:pt x="936" y="421"/>
                    </a:lnTo>
                    <a:lnTo>
                      <a:pt x="869" y="397"/>
                    </a:lnTo>
                    <a:lnTo>
                      <a:pt x="828" y="363"/>
                    </a:lnTo>
                    <a:lnTo>
                      <a:pt x="798" y="370"/>
                    </a:lnTo>
                    <a:lnTo>
                      <a:pt x="767" y="349"/>
                    </a:lnTo>
                    <a:lnTo>
                      <a:pt x="734" y="276"/>
                    </a:lnTo>
                    <a:lnTo>
                      <a:pt x="699" y="261"/>
                    </a:lnTo>
                    <a:lnTo>
                      <a:pt x="650" y="258"/>
                    </a:lnTo>
                    <a:lnTo>
                      <a:pt x="620" y="238"/>
                    </a:lnTo>
                    <a:lnTo>
                      <a:pt x="545" y="253"/>
                    </a:lnTo>
                    <a:lnTo>
                      <a:pt x="468" y="202"/>
                    </a:lnTo>
                    <a:lnTo>
                      <a:pt x="402" y="157"/>
                    </a:lnTo>
                    <a:lnTo>
                      <a:pt x="395" y="120"/>
                    </a:lnTo>
                    <a:lnTo>
                      <a:pt x="333" y="84"/>
                    </a:lnTo>
                    <a:lnTo>
                      <a:pt x="303" y="69"/>
                    </a:lnTo>
                    <a:lnTo>
                      <a:pt x="254" y="25"/>
                    </a:lnTo>
                    <a:lnTo>
                      <a:pt x="200" y="0"/>
                    </a:lnTo>
                    <a:lnTo>
                      <a:pt x="173" y="13"/>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grpSp>
        <p:grpSp>
          <p:nvGrpSpPr>
            <p:cNvPr id="190" name="Gruppieren 189">
              <a:extLst>
                <a:ext uri="{FF2B5EF4-FFF2-40B4-BE49-F238E27FC236}">
                  <a16:creationId xmlns:a16="http://schemas.microsoft.com/office/drawing/2014/main" id="{8D184929-7F02-AF47-770E-E0B28A93B670}"/>
                </a:ext>
              </a:extLst>
            </p:cNvPr>
            <p:cNvGrpSpPr/>
            <p:nvPr/>
          </p:nvGrpSpPr>
          <p:grpSpPr>
            <a:xfrm>
              <a:off x="305806" y="2837764"/>
              <a:ext cx="5803332" cy="3636602"/>
              <a:chOff x="305806" y="2703379"/>
              <a:chExt cx="5803332" cy="3636602"/>
            </a:xfrm>
            <a:solidFill>
              <a:schemeClr val="accent2"/>
            </a:solidFill>
          </p:grpSpPr>
          <p:sp>
            <p:nvSpPr>
              <p:cNvPr id="18" name="Freeform 6163">
                <a:extLst>
                  <a:ext uri="{FF2B5EF4-FFF2-40B4-BE49-F238E27FC236}">
                    <a16:creationId xmlns:a16="http://schemas.microsoft.com/office/drawing/2014/main" id="{49C4CAC6-03AC-3C6A-D561-75A4895B7ADF}"/>
                  </a:ext>
                </a:extLst>
              </p:cNvPr>
              <p:cNvSpPr>
                <a:spLocks/>
              </p:cNvSpPr>
              <p:nvPr/>
            </p:nvSpPr>
            <p:spPr bwMode="gray">
              <a:xfrm>
                <a:off x="2698622" y="3659433"/>
                <a:ext cx="878375" cy="952063"/>
              </a:xfrm>
              <a:custGeom>
                <a:avLst/>
                <a:gdLst>
                  <a:gd name="T0" fmla="*/ 0 w 808"/>
                  <a:gd name="T1" fmla="*/ 94 h 894"/>
                  <a:gd name="T2" fmla="*/ 58 w 808"/>
                  <a:gd name="T3" fmla="*/ 294 h 894"/>
                  <a:gd name="T4" fmla="*/ 57 w 808"/>
                  <a:gd name="T5" fmla="*/ 412 h 894"/>
                  <a:gd name="T6" fmla="*/ 93 w 808"/>
                  <a:gd name="T7" fmla="*/ 484 h 894"/>
                  <a:gd name="T8" fmla="*/ 145 w 808"/>
                  <a:gd name="T9" fmla="*/ 562 h 894"/>
                  <a:gd name="T10" fmla="*/ 72 w 808"/>
                  <a:gd name="T11" fmla="*/ 621 h 894"/>
                  <a:gd name="T12" fmla="*/ 75 w 808"/>
                  <a:gd name="T13" fmla="*/ 670 h 894"/>
                  <a:gd name="T14" fmla="*/ 45 w 808"/>
                  <a:gd name="T15" fmla="*/ 699 h 894"/>
                  <a:gd name="T16" fmla="*/ 135 w 808"/>
                  <a:gd name="T17" fmla="*/ 817 h 894"/>
                  <a:gd name="T18" fmla="*/ 235 w 808"/>
                  <a:gd name="T19" fmla="*/ 868 h 894"/>
                  <a:gd name="T20" fmla="*/ 292 w 808"/>
                  <a:gd name="T21" fmla="*/ 831 h 894"/>
                  <a:gd name="T22" fmla="*/ 295 w 808"/>
                  <a:gd name="T23" fmla="*/ 733 h 894"/>
                  <a:gd name="T24" fmla="*/ 310 w 808"/>
                  <a:gd name="T25" fmla="*/ 673 h 894"/>
                  <a:gd name="T26" fmla="*/ 339 w 808"/>
                  <a:gd name="T27" fmla="*/ 655 h 894"/>
                  <a:gd name="T28" fmla="*/ 370 w 808"/>
                  <a:gd name="T29" fmla="*/ 631 h 894"/>
                  <a:gd name="T30" fmla="*/ 388 w 808"/>
                  <a:gd name="T31" fmla="*/ 571 h 894"/>
                  <a:gd name="T32" fmla="*/ 463 w 808"/>
                  <a:gd name="T33" fmla="*/ 553 h 894"/>
                  <a:gd name="T34" fmla="*/ 460 w 808"/>
                  <a:gd name="T35" fmla="*/ 525 h 894"/>
                  <a:gd name="T36" fmla="*/ 508 w 808"/>
                  <a:gd name="T37" fmla="*/ 519 h 894"/>
                  <a:gd name="T38" fmla="*/ 573 w 808"/>
                  <a:gd name="T39" fmla="*/ 502 h 894"/>
                  <a:gd name="T40" fmla="*/ 576 w 808"/>
                  <a:gd name="T41" fmla="*/ 478 h 894"/>
                  <a:gd name="T42" fmla="*/ 603 w 808"/>
                  <a:gd name="T43" fmla="*/ 492 h 894"/>
                  <a:gd name="T44" fmla="*/ 595 w 808"/>
                  <a:gd name="T45" fmla="*/ 424 h 894"/>
                  <a:gd name="T46" fmla="*/ 574 w 808"/>
                  <a:gd name="T47" fmla="*/ 396 h 894"/>
                  <a:gd name="T48" fmla="*/ 630 w 808"/>
                  <a:gd name="T49" fmla="*/ 436 h 894"/>
                  <a:gd name="T50" fmla="*/ 672 w 808"/>
                  <a:gd name="T51" fmla="*/ 390 h 894"/>
                  <a:gd name="T52" fmla="*/ 706 w 808"/>
                  <a:gd name="T53" fmla="*/ 352 h 894"/>
                  <a:gd name="T54" fmla="*/ 708 w 808"/>
                  <a:gd name="T55" fmla="*/ 382 h 894"/>
                  <a:gd name="T56" fmla="*/ 673 w 808"/>
                  <a:gd name="T57" fmla="*/ 436 h 894"/>
                  <a:gd name="T58" fmla="*/ 705 w 808"/>
                  <a:gd name="T59" fmla="*/ 447 h 894"/>
                  <a:gd name="T60" fmla="*/ 762 w 808"/>
                  <a:gd name="T61" fmla="*/ 471 h 894"/>
                  <a:gd name="T62" fmla="*/ 784 w 808"/>
                  <a:gd name="T63" fmla="*/ 496 h 894"/>
                  <a:gd name="T64" fmla="*/ 805 w 808"/>
                  <a:gd name="T65" fmla="*/ 448 h 894"/>
                  <a:gd name="T66" fmla="*/ 738 w 808"/>
                  <a:gd name="T67" fmla="*/ 399 h 894"/>
                  <a:gd name="T68" fmla="*/ 721 w 808"/>
                  <a:gd name="T69" fmla="*/ 355 h 894"/>
                  <a:gd name="T70" fmla="*/ 688 w 808"/>
                  <a:gd name="T71" fmla="*/ 379 h 894"/>
                  <a:gd name="T72" fmla="*/ 664 w 808"/>
                  <a:gd name="T73" fmla="*/ 367 h 894"/>
                  <a:gd name="T74" fmla="*/ 694 w 808"/>
                  <a:gd name="T75" fmla="*/ 322 h 894"/>
                  <a:gd name="T76" fmla="*/ 733 w 808"/>
                  <a:gd name="T77" fmla="*/ 289 h 894"/>
                  <a:gd name="T78" fmla="*/ 775 w 808"/>
                  <a:gd name="T79" fmla="*/ 298 h 894"/>
                  <a:gd name="T80" fmla="*/ 742 w 808"/>
                  <a:gd name="T81" fmla="*/ 276 h 894"/>
                  <a:gd name="T82" fmla="*/ 691 w 808"/>
                  <a:gd name="T83" fmla="*/ 277 h 894"/>
                  <a:gd name="T84" fmla="*/ 678 w 808"/>
                  <a:gd name="T85" fmla="*/ 246 h 894"/>
                  <a:gd name="T86" fmla="*/ 634 w 808"/>
                  <a:gd name="T87" fmla="*/ 235 h 894"/>
                  <a:gd name="T88" fmla="*/ 567 w 808"/>
                  <a:gd name="T89" fmla="*/ 72 h 894"/>
                  <a:gd name="T90" fmla="*/ 553 w 808"/>
                  <a:gd name="T91" fmla="*/ 34 h 894"/>
                  <a:gd name="T92" fmla="*/ 510 w 808"/>
                  <a:gd name="T93" fmla="*/ 7 h 894"/>
                  <a:gd name="T94" fmla="*/ 492 w 808"/>
                  <a:gd name="T95" fmla="*/ 25 h 894"/>
                  <a:gd name="T96" fmla="*/ 469 w 808"/>
                  <a:gd name="T97" fmla="*/ 78 h 894"/>
                  <a:gd name="T98" fmla="*/ 456 w 808"/>
                  <a:gd name="T99" fmla="*/ 84 h 894"/>
                  <a:gd name="T100" fmla="*/ 417 w 808"/>
                  <a:gd name="T101" fmla="*/ 106 h 894"/>
                  <a:gd name="T102" fmla="*/ 399 w 808"/>
                  <a:gd name="T103" fmla="*/ 82 h 894"/>
                  <a:gd name="T104" fmla="*/ 349 w 808"/>
                  <a:gd name="T105" fmla="*/ 78 h 894"/>
                  <a:gd name="T106" fmla="*/ 286 w 808"/>
                  <a:gd name="T107" fmla="*/ 57 h 894"/>
                  <a:gd name="T108" fmla="*/ 273 w 808"/>
                  <a:gd name="T109" fmla="*/ 75 h 894"/>
                  <a:gd name="T110" fmla="*/ 228 w 808"/>
                  <a:gd name="T111" fmla="*/ 58 h 894"/>
                  <a:gd name="T112" fmla="*/ 177 w 808"/>
                  <a:gd name="T113" fmla="*/ 24 h 894"/>
                  <a:gd name="T114" fmla="*/ 162 w 808"/>
                  <a:gd name="T115" fmla="*/ 61 h 894"/>
                  <a:gd name="T116" fmla="*/ 105 w 808"/>
                  <a:gd name="T117" fmla="*/ 78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8" h="894">
                    <a:moveTo>
                      <a:pt x="46" y="88"/>
                    </a:moveTo>
                    <a:lnTo>
                      <a:pt x="0" y="94"/>
                    </a:lnTo>
                    <a:lnTo>
                      <a:pt x="88" y="262"/>
                    </a:lnTo>
                    <a:lnTo>
                      <a:pt x="58" y="294"/>
                    </a:lnTo>
                    <a:lnTo>
                      <a:pt x="70" y="345"/>
                    </a:lnTo>
                    <a:lnTo>
                      <a:pt x="57" y="412"/>
                    </a:lnTo>
                    <a:lnTo>
                      <a:pt x="90" y="457"/>
                    </a:lnTo>
                    <a:lnTo>
                      <a:pt x="93" y="484"/>
                    </a:lnTo>
                    <a:lnTo>
                      <a:pt x="160" y="489"/>
                    </a:lnTo>
                    <a:lnTo>
                      <a:pt x="145" y="562"/>
                    </a:lnTo>
                    <a:lnTo>
                      <a:pt x="106" y="618"/>
                    </a:lnTo>
                    <a:lnTo>
                      <a:pt x="72" y="621"/>
                    </a:lnTo>
                    <a:lnTo>
                      <a:pt x="58" y="663"/>
                    </a:lnTo>
                    <a:lnTo>
                      <a:pt x="75" y="670"/>
                    </a:lnTo>
                    <a:lnTo>
                      <a:pt x="60" y="693"/>
                    </a:lnTo>
                    <a:lnTo>
                      <a:pt x="45" y="699"/>
                    </a:lnTo>
                    <a:lnTo>
                      <a:pt x="67" y="780"/>
                    </a:lnTo>
                    <a:lnTo>
                      <a:pt x="135" y="817"/>
                    </a:lnTo>
                    <a:lnTo>
                      <a:pt x="193" y="894"/>
                    </a:lnTo>
                    <a:lnTo>
                      <a:pt x="235" y="868"/>
                    </a:lnTo>
                    <a:lnTo>
                      <a:pt x="270" y="867"/>
                    </a:lnTo>
                    <a:lnTo>
                      <a:pt x="292" y="831"/>
                    </a:lnTo>
                    <a:lnTo>
                      <a:pt x="270" y="771"/>
                    </a:lnTo>
                    <a:lnTo>
                      <a:pt x="295" y="733"/>
                    </a:lnTo>
                    <a:lnTo>
                      <a:pt x="297" y="673"/>
                    </a:lnTo>
                    <a:lnTo>
                      <a:pt x="310" y="673"/>
                    </a:lnTo>
                    <a:lnTo>
                      <a:pt x="324" y="652"/>
                    </a:lnTo>
                    <a:lnTo>
                      <a:pt x="339" y="655"/>
                    </a:lnTo>
                    <a:lnTo>
                      <a:pt x="345" y="682"/>
                    </a:lnTo>
                    <a:lnTo>
                      <a:pt x="370" y="631"/>
                    </a:lnTo>
                    <a:lnTo>
                      <a:pt x="408" y="607"/>
                    </a:lnTo>
                    <a:lnTo>
                      <a:pt x="388" y="571"/>
                    </a:lnTo>
                    <a:lnTo>
                      <a:pt x="435" y="541"/>
                    </a:lnTo>
                    <a:lnTo>
                      <a:pt x="463" y="553"/>
                    </a:lnTo>
                    <a:lnTo>
                      <a:pt x="484" y="543"/>
                    </a:lnTo>
                    <a:lnTo>
                      <a:pt x="460" y="525"/>
                    </a:lnTo>
                    <a:lnTo>
                      <a:pt x="468" y="502"/>
                    </a:lnTo>
                    <a:lnTo>
                      <a:pt x="508" y="519"/>
                    </a:lnTo>
                    <a:lnTo>
                      <a:pt x="511" y="507"/>
                    </a:lnTo>
                    <a:lnTo>
                      <a:pt x="573" y="502"/>
                    </a:lnTo>
                    <a:lnTo>
                      <a:pt x="565" y="487"/>
                    </a:lnTo>
                    <a:lnTo>
                      <a:pt x="576" y="478"/>
                    </a:lnTo>
                    <a:lnTo>
                      <a:pt x="588" y="498"/>
                    </a:lnTo>
                    <a:lnTo>
                      <a:pt x="603" y="492"/>
                    </a:lnTo>
                    <a:lnTo>
                      <a:pt x="604" y="453"/>
                    </a:lnTo>
                    <a:lnTo>
                      <a:pt x="595" y="424"/>
                    </a:lnTo>
                    <a:lnTo>
                      <a:pt x="570" y="405"/>
                    </a:lnTo>
                    <a:lnTo>
                      <a:pt x="574" y="396"/>
                    </a:lnTo>
                    <a:lnTo>
                      <a:pt x="601" y="406"/>
                    </a:lnTo>
                    <a:lnTo>
                      <a:pt x="630" y="436"/>
                    </a:lnTo>
                    <a:lnTo>
                      <a:pt x="648" y="418"/>
                    </a:lnTo>
                    <a:lnTo>
                      <a:pt x="672" y="390"/>
                    </a:lnTo>
                    <a:lnTo>
                      <a:pt x="691" y="379"/>
                    </a:lnTo>
                    <a:lnTo>
                      <a:pt x="706" y="352"/>
                    </a:lnTo>
                    <a:lnTo>
                      <a:pt x="723" y="355"/>
                    </a:lnTo>
                    <a:lnTo>
                      <a:pt x="708" y="382"/>
                    </a:lnTo>
                    <a:lnTo>
                      <a:pt x="694" y="405"/>
                    </a:lnTo>
                    <a:lnTo>
                      <a:pt x="673" y="436"/>
                    </a:lnTo>
                    <a:lnTo>
                      <a:pt x="670" y="453"/>
                    </a:lnTo>
                    <a:lnTo>
                      <a:pt x="705" y="447"/>
                    </a:lnTo>
                    <a:lnTo>
                      <a:pt x="736" y="448"/>
                    </a:lnTo>
                    <a:lnTo>
                      <a:pt x="762" y="471"/>
                    </a:lnTo>
                    <a:lnTo>
                      <a:pt x="760" y="498"/>
                    </a:lnTo>
                    <a:lnTo>
                      <a:pt x="784" y="496"/>
                    </a:lnTo>
                    <a:lnTo>
                      <a:pt x="808" y="466"/>
                    </a:lnTo>
                    <a:lnTo>
                      <a:pt x="805" y="448"/>
                    </a:lnTo>
                    <a:lnTo>
                      <a:pt x="790" y="448"/>
                    </a:lnTo>
                    <a:lnTo>
                      <a:pt x="738" y="399"/>
                    </a:lnTo>
                    <a:lnTo>
                      <a:pt x="712" y="381"/>
                    </a:lnTo>
                    <a:lnTo>
                      <a:pt x="721" y="355"/>
                    </a:lnTo>
                    <a:lnTo>
                      <a:pt x="705" y="354"/>
                    </a:lnTo>
                    <a:lnTo>
                      <a:pt x="688" y="379"/>
                    </a:lnTo>
                    <a:lnTo>
                      <a:pt x="667" y="390"/>
                    </a:lnTo>
                    <a:lnTo>
                      <a:pt x="664" y="367"/>
                    </a:lnTo>
                    <a:lnTo>
                      <a:pt x="687" y="351"/>
                    </a:lnTo>
                    <a:lnTo>
                      <a:pt x="694" y="322"/>
                    </a:lnTo>
                    <a:lnTo>
                      <a:pt x="717" y="304"/>
                    </a:lnTo>
                    <a:lnTo>
                      <a:pt x="733" y="289"/>
                    </a:lnTo>
                    <a:lnTo>
                      <a:pt x="745" y="301"/>
                    </a:lnTo>
                    <a:lnTo>
                      <a:pt x="775" y="298"/>
                    </a:lnTo>
                    <a:lnTo>
                      <a:pt x="750" y="289"/>
                    </a:lnTo>
                    <a:lnTo>
                      <a:pt x="742" y="276"/>
                    </a:lnTo>
                    <a:lnTo>
                      <a:pt x="721" y="265"/>
                    </a:lnTo>
                    <a:lnTo>
                      <a:pt x="691" y="277"/>
                    </a:lnTo>
                    <a:lnTo>
                      <a:pt x="688" y="237"/>
                    </a:lnTo>
                    <a:lnTo>
                      <a:pt x="678" y="246"/>
                    </a:lnTo>
                    <a:lnTo>
                      <a:pt x="648" y="252"/>
                    </a:lnTo>
                    <a:lnTo>
                      <a:pt x="634" y="235"/>
                    </a:lnTo>
                    <a:lnTo>
                      <a:pt x="601" y="189"/>
                    </a:lnTo>
                    <a:lnTo>
                      <a:pt x="567" y="72"/>
                    </a:lnTo>
                    <a:lnTo>
                      <a:pt x="547" y="45"/>
                    </a:lnTo>
                    <a:lnTo>
                      <a:pt x="553" y="34"/>
                    </a:lnTo>
                    <a:lnTo>
                      <a:pt x="535" y="7"/>
                    </a:lnTo>
                    <a:lnTo>
                      <a:pt x="510" y="7"/>
                    </a:lnTo>
                    <a:lnTo>
                      <a:pt x="501" y="0"/>
                    </a:lnTo>
                    <a:lnTo>
                      <a:pt x="492" y="25"/>
                    </a:lnTo>
                    <a:lnTo>
                      <a:pt x="471" y="25"/>
                    </a:lnTo>
                    <a:lnTo>
                      <a:pt x="469" y="78"/>
                    </a:lnTo>
                    <a:lnTo>
                      <a:pt x="456" y="67"/>
                    </a:lnTo>
                    <a:lnTo>
                      <a:pt x="456" y="84"/>
                    </a:lnTo>
                    <a:lnTo>
                      <a:pt x="436" y="109"/>
                    </a:lnTo>
                    <a:lnTo>
                      <a:pt x="417" y="106"/>
                    </a:lnTo>
                    <a:lnTo>
                      <a:pt x="399" y="102"/>
                    </a:lnTo>
                    <a:lnTo>
                      <a:pt x="399" y="82"/>
                    </a:lnTo>
                    <a:lnTo>
                      <a:pt x="417" y="66"/>
                    </a:lnTo>
                    <a:lnTo>
                      <a:pt x="349" y="78"/>
                    </a:lnTo>
                    <a:lnTo>
                      <a:pt x="309" y="42"/>
                    </a:lnTo>
                    <a:lnTo>
                      <a:pt x="286" y="57"/>
                    </a:lnTo>
                    <a:lnTo>
                      <a:pt x="261" y="54"/>
                    </a:lnTo>
                    <a:lnTo>
                      <a:pt x="273" y="75"/>
                    </a:lnTo>
                    <a:lnTo>
                      <a:pt x="225" y="79"/>
                    </a:lnTo>
                    <a:lnTo>
                      <a:pt x="228" y="58"/>
                    </a:lnTo>
                    <a:lnTo>
                      <a:pt x="199" y="7"/>
                    </a:lnTo>
                    <a:lnTo>
                      <a:pt x="177" y="24"/>
                    </a:lnTo>
                    <a:lnTo>
                      <a:pt x="151" y="27"/>
                    </a:lnTo>
                    <a:lnTo>
                      <a:pt x="162" y="61"/>
                    </a:lnTo>
                    <a:lnTo>
                      <a:pt x="124" y="96"/>
                    </a:lnTo>
                    <a:lnTo>
                      <a:pt x="105" y="78"/>
                    </a:lnTo>
                    <a:lnTo>
                      <a:pt x="46" y="88"/>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9" name="Freeform 6164">
                <a:extLst>
                  <a:ext uri="{FF2B5EF4-FFF2-40B4-BE49-F238E27FC236}">
                    <a16:creationId xmlns:a16="http://schemas.microsoft.com/office/drawing/2014/main" id="{0A8C1DB7-74FE-8A2E-81FA-D485293E981D}"/>
                  </a:ext>
                </a:extLst>
              </p:cNvPr>
              <p:cNvSpPr>
                <a:spLocks/>
              </p:cNvSpPr>
              <p:nvPr/>
            </p:nvSpPr>
            <p:spPr bwMode="gray">
              <a:xfrm>
                <a:off x="305806" y="5449792"/>
                <a:ext cx="466448" cy="349289"/>
              </a:xfrm>
              <a:custGeom>
                <a:avLst/>
                <a:gdLst>
                  <a:gd name="T0" fmla="*/ 206 w 430"/>
                  <a:gd name="T1" fmla="*/ 0 h 328"/>
                  <a:gd name="T2" fmla="*/ 202 w 430"/>
                  <a:gd name="T3" fmla="*/ 40 h 328"/>
                  <a:gd name="T4" fmla="*/ 184 w 430"/>
                  <a:gd name="T5" fmla="*/ 70 h 328"/>
                  <a:gd name="T6" fmla="*/ 196 w 430"/>
                  <a:gd name="T7" fmla="*/ 98 h 328"/>
                  <a:gd name="T8" fmla="*/ 206 w 430"/>
                  <a:gd name="T9" fmla="*/ 128 h 328"/>
                  <a:gd name="T10" fmla="*/ 188 w 430"/>
                  <a:gd name="T11" fmla="*/ 144 h 328"/>
                  <a:gd name="T12" fmla="*/ 168 w 430"/>
                  <a:gd name="T13" fmla="*/ 126 h 328"/>
                  <a:gd name="T14" fmla="*/ 132 w 430"/>
                  <a:gd name="T15" fmla="*/ 130 h 328"/>
                  <a:gd name="T16" fmla="*/ 114 w 430"/>
                  <a:gd name="T17" fmla="*/ 152 h 328"/>
                  <a:gd name="T18" fmla="*/ 102 w 430"/>
                  <a:gd name="T19" fmla="*/ 142 h 328"/>
                  <a:gd name="T20" fmla="*/ 50 w 430"/>
                  <a:gd name="T21" fmla="*/ 168 h 328"/>
                  <a:gd name="T22" fmla="*/ 44 w 430"/>
                  <a:gd name="T23" fmla="*/ 182 h 328"/>
                  <a:gd name="T24" fmla="*/ 22 w 430"/>
                  <a:gd name="T25" fmla="*/ 176 h 328"/>
                  <a:gd name="T26" fmla="*/ 14 w 430"/>
                  <a:gd name="T27" fmla="*/ 218 h 328"/>
                  <a:gd name="T28" fmla="*/ 56 w 430"/>
                  <a:gd name="T29" fmla="*/ 236 h 328"/>
                  <a:gd name="T30" fmla="*/ 36 w 430"/>
                  <a:gd name="T31" fmla="*/ 248 h 328"/>
                  <a:gd name="T32" fmla="*/ 0 w 430"/>
                  <a:gd name="T33" fmla="*/ 328 h 328"/>
                  <a:gd name="T34" fmla="*/ 38 w 430"/>
                  <a:gd name="T35" fmla="*/ 324 h 328"/>
                  <a:gd name="T36" fmla="*/ 40 w 430"/>
                  <a:gd name="T37" fmla="*/ 300 h 328"/>
                  <a:gd name="T38" fmla="*/ 100 w 430"/>
                  <a:gd name="T39" fmla="*/ 310 h 328"/>
                  <a:gd name="T40" fmla="*/ 108 w 430"/>
                  <a:gd name="T41" fmla="*/ 326 h 328"/>
                  <a:gd name="T42" fmla="*/ 124 w 430"/>
                  <a:gd name="T43" fmla="*/ 314 h 328"/>
                  <a:gd name="T44" fmla="*/ 124 w 430"/>
                  <a:gd name="T45" fmla="*/ 294 h 328"/>
                  <a:gd name="T46" fmla="*/ 176 w 430"/>
                  <a:gd name="T47" fmla="*/ 296 h 328"/>
                  <a:gd name="T48" fmla="*/ 214 w 430"/>
                  <a:gd name="T49" fmla="*/ 316 h 328"/>
                  <a:gd name="T50" fmla="*/ 288 w 430"/>
                  <a:gd name="T51" fmla="*/ 272 h 328"/>
                  <a:gd name="T52" fmla="*/ 288 w 430"/>
                  <a:gd name="T53" fmla="*/ 248 h 328"/>
                  <a:gd name="T54" fmla="*/ 352 w 430"/>
                  <a:gd name="T55" fmla="*/ 190 h 328"/>
                  <a:gd name="T56" fmla="*/ 412 w 430"/>
                  <a:gd name="T57" fmla="*/ 172 h 328"/>
                  <a:gd name="T58" fmla="*/ 430 w 430"/>
                  <a:gd name="T59" fmla="*/ 116 h 328"/>
                  <a:gd name="T60" fmla="*/ 404 w 430"/>
                  <a:gd name="T61" fmla="*/ 100 h 328"/>
                  <a:gd name="T62" fmla="*/ 386 w 430"/>
                  <a:gd name="T63" fmla="*/ 120 h 328"/>
                  <a:gd name="T64" fmla="*/ 354 w 430"/>
                  <a:gd name="T65" fmla="*/ 76 h 328"/>
                  <a:gd name="T66" fmla="*/ 368 w 430"/>
                  <a:gd name="T67" fmla="*/ 60 h 328"/>
                  <a:gd name="T68" fmla="*/ 354 w 430"/>
                  <a:gd name="T69" fmla="*/ 32 h 328"/>
                  <a:gd name="T70" fmla="*/ 324 w 430"/>
                  <a:gd name="T71" fmla="*/ 74 h 328"/>
                  <a:gd name="T72" fmla="*/ 300 w 430"/>
                  <a:gd name="T73" fmla="*/ 102 h 328"/>
                  <a:gd name="T74" fmla="*/ 290 w 430"/>
                  <a:gd name="T75" fmla="*/ 150 h 328"/>
                  <a:gd name="T76" fmla="*/ 256 w 430"/>
                  <a:gd name="T77" fmla="*/ 194 h 328"/>
                  <a:gd name="T78" fmla="*/ 238 w 430"/>
                  <a:gd name="T79" fmla="*/ 186 h 328"/>
                  <a:gd name="T80" fmla="*/ 248 w 430"/>
                  <a:gd name="T81" fmla="*/ 104 h 328"/>
                  <a:gd name="T82" fmla="*/ 268 w 430"/>
                  <a:gd name="T83" fmla="*/ 76 h 328"/>
                  <a:gd name="T84" fmla="*/ 270 w 430"/>
                  <a:gd name="T85" fmla="*/ 30 h 328"/>
                  <a:gd name="T86" fmla="*/ 206 w 430"/>
                  <a:gd name="T87"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0" h="328">
                    <a:moveTo>
                      <a:pt x="206" y="0"/>
                    </a:moveTo>
                    <a:lnTo>
                      <a:pt x="202" y="40"/>
                    </a:lnTo>
                    <a:lnTo>
                      <a:pt x="184" y="70"/>
                    </a:lnTo>
                    <a:lnTo>
                      <a:pt x="196" y="98"/>
                    </a:lnTo>
                    <a:lnTo>
                      <a:pt x="206" y="128"/>
                    </a:lnTo>
                    <a:lnTo>
                      <a:pt x="188" y="144"/>
                    </a:lnTo>
                    <a:lnTo>
                      <a:pt x="168" y="126"/>
                    </a:lnTo>
                    <a:lnTo>
                      <a:pt x="132" y="130"/>
                    </a:lnTo>
                    <a:lnTo>
                      <a:pt x="114" y="152"/>
                    </a:lnTo>
                    <a:lnTo>
                      <a:pt x="102" y="142"/>
                    </a:lnTo>
                    <a:lnTo>
                      <a:pt x="50" y="168"/>
                    </a:lnTo>
                    <a:lnTo>
                      <a:pt x="44" y="182"/>
                    </a:lnTo>
                    <a:lnTo>
                      <a:pt x="22" y="176"/>
                    </a:lnTo>
                    <a:lnTo>
                      <a:pt x="14" y="218"/>
                    </a:lnTo>
                    <a:lnTo>
                      <a:pt x="56" y="236"/>
                    </a:lnTo>
                    <a:lnTo>
                      <a:pt x="36" y="248"/>
                    </a:lnTo>
                    <a:lnTo>
                      <a:pt x="0" y="328"/>
                    </a:lnTo>
                    <a:lnTo>
                      <a:pt x="38" y="324"/>
                    </a:lnTo>
                    <a:lnTo>
                      <a:pt x="40" y="300"/>
                    </a:lnTo>
                    <a:lnTo>
                      <a:pt x="100" y="310"/>
                    </a:lnTo>
                    <a:lnTo>
                      <a:pt x="108" y="326"/>
                    </a:lnTo>
                    <a:lnTo>
                      <a:pt x="124" y="314"/>
                    </a:lnTo>
                    <a:lnTo>
                      <a:pt x="124" y="294"/>
                    </a:lnTo>
                    <a:lnTo>
                      <a:pt x="176" y="296"/>
                    </a:lnTo>
                    <a:lnTo>
                      <a:pt x="214" y="316"/>
                    </a:lnTo>
                    <a:lnTo>
                      <a:pt x="288" y="272"/>
                    </a:lnTo>
                    <a:lnTo>
                      <a:pt x="288" y="248"/>
                    </a:lnTo>
                    <a:lnTo>
                      <a:pt x="352" y="190"/>
                    </a:lnTo>
                    <a:lnTo>
                      <a:pt x="412" y="172"/>
                    </a:lnTo>
                    <a:lnTo>
                      <a:pt x="430" y="116"/>
                    </a:lnTo>
                    <a:lnTo>
                      <a:pt x="404" y="100"/>
                    </a:lnTo>
                    <a:lnTo>
                      <a:pt x="386" y="120"/>
                    </a:lnTo>
                    <a:lnTo>
                      <a:pt x="354" y="76"/>
                    </a:lnTo>
                    <a:lnTo>
                      <a:pt x="368" y="60"/>
                    </a:lnTo>
                    <a:lnTo>
                      <a:pt x="354" y="32"/>
                    </a:lnTo>
                    <a:lnTo>
                      <a:pt x="324" y="74"/>
                    </a:lnTo>
                    <a:lnTo>
                      <a:pt x="300" y="102"/>
                    </a:lnTo>
                    <a:lnTo>
                      <a:pt x="290" y="150"/>
                    </a:lnTo>
                    <a:lnTo>
                      <a:pt x="256" y="194"/>
                    </a:lnTo>
                    <a:lnTo>
                      <a:pt x="238" y="186"/>
                    </a:lnTo>
                    <a:lnTo>
                      <a:pt x="248" y="104"/>
                    </a:lnTo>
                    <a:lnTo>
                      <a:pt x="268" y="76"/>
                    </a:lnTo>
                    <a:lnTo>
                      <a:pt x="270" y="30"/>
                    </a:lnTo>
                    <a:lnTo>
                      <a:pt x="206" y="0"/>
                    </a:lnTo>
                    <a:close/>
                  </a:path>
                </a:pathLst>
              </a:custGeom>
              <a:grpFill/>
              <a:ln w="9525">
                <a:solidFill>
                  <a:schemeClr val="lt1"/>
                </a:solidFill>
                <a:round/>
                <a:headEnd/>
                <a:tailEn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20" name="Freeform 6165">
                <a:extLst>
                  <a:ext uri="{FF2B5EF4-FFF2-40B4-BE49-F238E27FC236}">
                    <a16:creationId xmlns:a16="http://schemas.microsoft.com/office/drawing/2014/main" id="{0A6EFBCA-B255-CBB8-C9F4-9BC4C4B20AA9}"/>
                  </a:ext>
                </a:extLst>
              </p:cNvPr>
              <p:cNvSpPr>
                <a:spLocks/>
              </p:cNvSpPr>
              <p:nvPr/>
            </p:nvSpPr>
            <p:spPr bwMode="gray">
              <a:xfrm>
                <a:off x="600616" y="5363967"/>
                <a:ext cx="56538" cy="43912"/>
              </a:xfrm>
              <a:custGeom>
                <a:avLst/>
                <a:gdLst>
                  <a:gd name="T0" fmla="*/ 36 w 50"/>
                  <a:gd name="T1" fmla="*/ 40 h 40"/>
                  <a:gd name="T2" fmla="*/ 0 w 50"/>
                  <a:gd name="T3" fmla="*/ 18 h 40"/>
                  <a:gd name="T4" fmla="*/ 18 w 50"/>
                  <a:gd name="T5" fmla="*/ 0 h 40"/>
                  <a:gd name="T6" fmla="*/ 50 w 50"/>
                  <a:gd name="T7" fmla="*/ 16 h 40"/>
                  <a:gd name="T8" fmla="*/ 36 w 50"/>
                  <a:gd name="T9" fmla="*/ 40 h 40"/>
                </a:gdLst>
                <a:ahLst/>
                <a:cxnLst>
                  <a:cxn ang="0">
                    <a:pos x="T0" y="T1"/>
                  </a:cxn>
                  <a:cxn ang="0">
                    <a:pos x="T2" y="T3"/>
                  </a:cxn>
                  <a:cxn ang="0">
                    <a:pos x="T4" y="T5"/>
                  </a:cxn>
                  <a:cxn ang="0">
                    <a:pos x="T6" y="T7"/>
                  </a:cxn>
                  <a:cxn ang="0">
                    <a:pos x="T8" y="T9"/>
                  </a:cxn>
                </a:cxnLst>
                <a:rect l="0" t="0" r="r" b="b"/>
                <a:pathLst>
                  <a:path w="50" h="40">
                    <a:moveTo>
                      <a:pt x="36" y="40"/>
                    </a:moveTo>
                    <a:lnTo>
                      <a:pt x="0" y="18"/>
                    </a:lnTo>
                    <a:lnTo>
                      <a:pt x="18" y="0"/>
                    </a:lnTo>
                    <a:lnTo>
                      <a:pt x="50" y="16"/>
                    </a:lnTo>
                    <a:lnTo>
                      <a:pt x="36" y="40"/>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21" name="Freeform 6166">
                <a:extLst>
                  <a:ext uri="{FF2B5EF4-FFF2-40B4-BE49-F238E27FC236}">
                    <a16:creationId xmlns:a16="http://schemas.microsoft.com/office/drawing/2014/main" id="{CCBEEBB3-6139-7C39-801B-5C59E2233FFF}"/>
                  </a:ext>
                </a:extLst>
              </p:cNvPr>
              <p:cNvSpPr>
                <a:spLocks/>
              </p:cNvSpPr>
              <p:nvPr/>
            </p:nvSpPr>
            <p:spPr bwMode="gray">
              <a:xfrm>
                <a:off x="465326" y="4322087"/>
                <a:ext cx="1520497" cy="1369215"/>
              </a:xfrm>
              <a:custGeom>
                <a:avLst/>
                <a:gdLst>
                  <a:gd name="T0" fmla="*/ 129 w 1404"/>
                  <a:gd name="T1" fmla="*/ 996 h 1287"/>
                  <a:gd name="T2" fmla="*/ 227 w 1404"/>
                  <a:gd name="T3" fmla="*/ 933 h 1287"/>
                  <a:gd name="T4" fmla="*/ 254 w 1404"/>
                  <a:gd name="T5" fmla="*/ 913 h 1287"/>
                  <a:gd name="T6" fmla="*/ 350 w 1404"/>
                  <a:gd name="T7" fmla="*/ 817 h 1287"/>
                  <a:gd name="T8" fmla="*/ 429 w 1404"/>
                  <a:gd name="T9" fmla="*/ 801 h 1287"/>
                  <a:gd name="T10" fmla="*/ 488 w 1404"/>
                  <a:gd name="T11" fmla="*/ 769 h 1287"/>
                  <a:gd name="T12" fmla="*/ 593 w 1404"/>
                  <a:gd name="T13" fmla="*/ 736 h 1287"/>
                  <a:gd name="T14" fmla="*/ 657 w 1404"/>
                  <a:gd name="T15" fmla="*/ 738 h 1287"/>
                  <a:gd name="T16" fmla="*/ 779 w 1404"/>
                  <a:gd name="T17" fmla="*/ 777 h 1287"/>
                  <a:gd name="T18" fmla="*/ 876 w 1404"/>
                  <a:gd name="T19" fmla="*/ 807 h 1287"/>
                  <a:gd name="T20" fmla="*/ 933 w 1404"/>
                  <a:gd name="T21" fmla="*/ 834 h 1287"/>
                  <a:gd name="T22" fmla="*/ 969 w 1404"/>
                  <a:gd name="T23" fmla="*/ 856 h 1287"/>
                  <a:gd name="T24" fmla="*/ 1008 w 1404"/>
                  <a:gd name="T25" fmla="*/ 876 h 1287"/>
                  <a:gd name="T26" fmla="*/ 948 w 1404"/>
                  <a:gd name="T27" fmla="*/ 940 h 1287"/>
                  <a:gd name="T28" fmla="*/ 977 w 1404"/>
                  <a:gd name="T29" fmla="*/ 993 h 1287"/>
                  <a:gd name="T30" fmla="*/ 992 w 1404"/>
                  <a:gd name="T31" fmla="*/ 1036 h 1287"/>
                  <a:gd name="T32" fmla="*/ 1032 w 1404"/>
                  <a:gd name="T33" fmla="*/ 1098 h 1287"/>
                  <a:gd name="T34" fmla="*/ 1067 w 1404"/>
                  <a:gd name="T35" fmla="*/ 1129 h 1287"/>
                  <a:gd name="T36" fmla="*/ 1116 w 1404"/>
                  <a:gd name="T37" fmla="*/ 1224 h 1287"/>
                  <a:gd name="T38" fmla="*/ 1154 w 1404"/>
                  <a:gd name="T39" fmla="*/ 1287 h 1287"/>
                  <a:gd name="T40" fmla="*/ 1236 w 1404"/>
                  <a:gd name="T41" fmla="*/ 1251 h 1287"/>
                  <a:gd name="T42" fmla="*/ 1277 w 1404"/>
                  <a:gd name="T43" fmla="*/ 1198 h 1287"/>
                  <a:gd name="T44" fmla="*/ 1367 w 1404"/>
                  <a:gd name="T45" fmla="*/ 1045 h 1287"/>
                  <a:gd name="T46" fmla="*/ 1332 w 1404"/>
                  <a:gd name="T47" fmla="*/ 960 h 1287"/>
                  <a:gd name="T48" fmla="*/ 1341 w 1404"/>
                  <a:gd name="T49" fmla="*/ 852 h 1287"/>
                  <a:gd name="T50" fmla="*/ 1371 w 1404"/>
                  <a:gd name="T51" fmla="*/ 775 h 1287"/>
                  <a:gd name="T52" fmla="*/ 1389 w 1404"/>
                  <a:gd name="T53" fmla="*/ 652 h 1287"/>
                  <a:gd name="T54" fmla="*/ 1278 w 1404"/>
                  <a:gd name="T55" fmla="*/ 705 h 1287"/>
                  <a:gd name="T56" fmla="*/ 1179 w 1404"/>
                  <a:gd name="T57" fmla="*/ 775 h 1287"/>
                  <a:gd name="T58" fmla="*/ 1086 w 1404"/>
                  <a:gd name="T59" fmla="*/ 862 h 1287"/>
                  <a:gd name="T60" fmla="*/ 1043 w 1404"/>
                  <a:gd name="T61" fmla="*/ 756 h 1287"/>
                  <a:gd name="T62" fmla="*/ 971 w 1404"/>
                  <a:gd name="T63" fmla="*/ 727 h 1287"/>
                  <a:gd name="T64" fmla="*/ 911 w 1404"/>
                  <a:gd name="T65" fmla="*/ 732 h 1287"/>
                  <a:gd name="T66" fmla="*/ 897 w 1404"/>
                  <a:gd name="T67" fmla="*/ 682 h 1287"/>
                  <a:gd name="T68" fmla="*/ 995 w 1404"/>
                  <a:gd name="T69" fmla="*/ 657 h 1287"/>
                  <a:gd name="T70" fmla="*/ 936 w 1404"/>
                  <a:gd name="T71" fmla="*/ 609 h 1287"/>
                  <a:gd name="T72" fmla="*/ 863 w 1404"/>
                  <a:gd name="T73" fmla="*/ 618 h 1287"/>
                  <a:gd name="T74" fmla="*/ 895 w 1404"/>
                  <a:gd name="T75" fmla="*/ 497 h 1287"/>
                  <a:gd name="T76" fmla="*/ 949 w 1404"/>
                  <a:gd name="T77" fmla="*/ 423 h 1287"/>
                  <a:gd name="T78" fmla="*/ 1025 w 1404"/>
                  <a:gd name="T79" fmla="*/ 309 h 1287"/>
                  <a:gd name="T80" fmla="*/ 1023 w 1404"/>
                  <a:gd name="T81" fmla="*/ 295 h 1287"/>
                  <a:gd name="T82" fmla="*/ 1059 w 1404"/>
                  <a:gd name="T83" fmla="*/ 209 h 1287"/>
                  <a:gd name="T84" fmla="*/ 1099 w 1404"/>
                  <a:gd name="T85" fmla="*/ 183 h 1287"/>
                  <a:gd name="T86" fmla="*/ 1067 w 1404"/>
                  <a:gd name="T87" fmla="*/ 85 h 1287"/>
                  <a:gd name="T88" fmla="*/ 983 w 1404"/>
                  <a:gd name="T89" fmla="*/ 78 h 1287"/>
                  <a:gd name="T90" fmla="*/ 987 w 1404"/>
                  <a:gd name="T91" fmla="*/ 130 h 1287"/>
                  <a:gd name="T92" fmla="*/ 1004 w 1404"/>
                  <a:gd name="T93" fmla="*/ 165 h 1287"/>
                  <a:gd name="T94" fmla="*/ 1034 w 1404"/>
                  <a:gd name="T95" fmla="*/ 234 h 1287"/>
                  <a:gd name="T96" fmla="*/ 939 w 1404"/>
                  <a:gd name="T97" fmla="*/ 258 h 1287"/>
                  <a:gd name="T98" fmla="*/ 851 w 1404"/>
                  <a:gd name="T99" fmla="*/ 243 h 1287"/>
                  <a:gd name="T100" fmla="*/ 767 w 1404"/>
                  <a:gd name="T101" fmla="*/ 231 h 1287"/>
                  <a:gd name="T102" fmla="*/ 672 w 1404"/>
                  <a:gd name="T103" fmla="*/ 234 h 1287"/>
                  <a:gd name="T104" fmla="*/ 800 w 1404"/>
                  <a:gd name="T105" fmla="*/ 114 h 1287"/>
                  <a:gd name="T106" fmla="*/ 783 w 1404"/>
                  <a:gd name="T107" fmla="*/ 0 h 1287"/>
                  <a:gd name="T108" fmla="*/ 633 w 1404"/>
                  <a:gd name="T109" fmla="*/ 91 h 1287"/>
                  <a:gd name="T110" fmla="*/ 471 w 1404"/>
                  <a:gd name="T111" fmla="*/ 147 h 1287"/>
                  <a:gd name="T112" fmla="*/ 462 w 1404"/>
                  <a:gd name="T113" fmla="*/ 250 h 1287"/>
                  <a:gd name="T114" fmla="*/ 383 w 1404"/>
                  <a:gd name="T115" fmla="*/ 354 h 1287"/>
                  <a:gd name="T116" fmla="*/ 240 w 1404"/>
                  <a:gd name="T117" fmla="*/ 432 h 1287"/>
                  <a:gd name="T118" fmla="*/ 77 w 1404"/>
                  <a:gd name="T119" fmla="*/ 586 h 1287"/>
                  <a:gd name="T120" fmla="*/ 51 w 1404"/>
                  <a:gd name="T121" fmla="*/ 736 h 1287"/>
                  <a:gd name="T122" fmla="*/ 21 w 1404"/>
                  <a:gd name="T123" fmla="*/ 849 h 1287"/>
                  <a:gd name="T124" fmla="*/ 59 w 1404"/>
                  <a:gd name="T125" fmla="*/ 1065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04" h="1287">
                    <a:moveTo>
                      <a:pt x="125" y="1092"/>
                    </a:moveTo>
                    <a:lnTo>
                      <a:pt x="165" y="1021"/>
                    </a:lnTo>
                    <a:lnTo>
                      <a:pt x="129" y="996"/>
                    </a:lnTo>
                    <a:lnTo>
                      <a:pt x="147" y="982"/>
                    </a:lnTo>
                    <a:lnTo>
                      <a:pt x="177" y="997"/>
                    </a:lnTo>
                    <a:lnTo>
                      <a:pt x="227" y="933"/>
                    </a:lnTo>
                    <a:lnTo>
                      <a:pt x="245" y="942"/>
                    </a:lnTo>
                    <a:lnTo>
                      <a:pt x="255" y="934"/>
                    </a:lnTo>
                    <a:lnTo>
                      <a:pt x="254" y="913"/>
                    </a:lnTo>
                    <a:lnTo>
                      <a:pt x="281" y="876"/>
                    </a:lnTo>
                    <a:lnTo>
                      <a:pt x="330" y="825"/>
                    </a:lnTo>
                    <a:lnTo>
                      <a:pt x="350" y="817"/>
                    </a:lnTo>
                    <a:lnTo>
                      <a:pt x="383" y="814"/>
                    </a:lnTo>
                    <a:lnTo>
                      <a:pt x="398" y="825"/>
                    </a:lnTo>
                    <a:lnTo>
                      <a:pt x="429" y="801"/>
                    </a:lnTo>
                    <a:lnTo>
                      <a:pt x="465" y="795"/>
                    </a:lnTo>
                    <a:lnTo>
                      <a:pt x="474" y="771"/>
                    </a:lnTo>
                    <a:lnTo>
                      <a:pt x="488" y="769"/>
                    </a:lnTo>
                    <a:lnTo>
                      <a:pt x="524" y="720"/>
                    </a:lnTo>
                    <a:lnTo>
                      <a:pt x="566" y="745"/>
                    </a:lnTo>
                    <a:lnTo>
                      <a:pt x="593" y="736"/>
                    </a:lnTo>
                    <a:lnTo>
                      <a:pt x="614" y="723"/>
                    </a:lnTo>
                    <a:lnTo>
                      <a:pt x="639" y="735"/>
                    </a:lnTo>
                    <a:lnTo>
                      <a:pt x="657" y="738"/>
                    </a:lnTo>
                    <a:lnTo>
                      <a:pt x="708" y="748"/>
                    </a:lnTo>
                    <a:lnTo>
                      <a:pt x="738" y="756"/>
                    </a:lnTo>
                    <a:lnTo>
                      <a:pt x="779" y="777"/>
                    </a:lnTo>
                    <a:lnTo>
                      <a:pt x="800" y="775"/>
                    </a:lnTo>
                    <a:lnTo>
                      <a:pt x="843" y="801"/>
                    </a:lnTo>
                    <a:lnTo>
                      <a:pt x="876" y="807"/>
                    </a:lnTo>
                    <a:lnTo>
                      <a:pt x="906" y="811"/>
                    </a:lnTo>
                    <a:lnTo>
                      <a:pt x="915" y="826"/>
                    </a:lnTo>
                    <a:lnTo>
                      <a:pt x="933" y="834"/>
                    </a:lnTo>
                    <a:lnTo>
                      <a:pt x="935" y="844"/>
                    </a:lnTo>
                    <a:lnTo>
                      <a:pt x="947" y="846"/>
                    </a:lnTo>
                    <a:lnTo>
                      <a:pt x="969" y="856"/>
                    </a:lnTo>
                    <a:lnTo>
                      <a:pt x="989" y="856"/>
                    </a:lnTo>
                    <a:lnTo>
                      <a:pt x="996" y="873"/>
                    </a:lnTo>
                    <a:lnTo>
                      <a:pt x="1008" y="876"/>
                    </a:lnTo>
                    <a:lnTo>
                      <a:pt x="1019" y="921"/>
                    </a:lnTo>
                    <a:lnTo>
                      <a:pt x="1008" y="936"/>
                    </a:lnTo>
                    <a:lnTo>
                      <a:pt x="948" y="940"/>
                    </a:lnTo>
                    <a:lnTo>
                      <a:pt x="951" y="951"/>
                    </a:lnTo>
                    <a:lnTo>
                      <a:pt x="972" y="967"/>
                    </a:lnTo>
                    <a:lnTo>
                      <a:pt x="977" y="993"/>
                    </a:lnTo>
                    <a:lnTo>
                      <a:pt x="974" y="1005"/>
                    </a:lnTo>
                    <a:lnTo>
                      <a:pt x="983" y="1020"/>
                    </a:lnTo>
                    <a:lnTo>
                      <a:pt x="992" y="1036"/>
                    </a:lnTo>
                    <a:lnTo>
                      <a:pt x="1011" y="1033"/>
                    </a:lnTo>
                    <a:lnTo>
                      <a:pt x="1032" y="1069"/>
                    </a:lnTo>
                    <a:lnTo>
                      <a:pt x="1032" y="1098"/>
                    </a:lnTo>
                    <a:lnTo>
                      <a:pt x="1044" y="1114"/>
                    </a:lnTo>
                    <a:lnTo>
                      <a:pt x="1061" y="1116"/>
                    </a:lnTo>
                    <a:lnTo>
                      <a:pt x="1067" y="1129"/>
                    </a:lnTo>
                    <a:lnTo>
                      <a:pt x="1071" y="1155"/>
                    </a:lnTo>
                    <a:lnTo>
                      <a:pt x="1098" y="1185"/>
                    </a:lnTo>
                    <a:lnTo>
                      <a:pt x="1116" y="1224"/>
                    </a:lnTo>
                    <a:lnTo>
                      <a:pt x="1122" y="1261"/>
                    </a:lnTo>
                    <a:lnTo>
                      <a:pt x="1145" y="1276"/>
                    </a:lnTo>
                    <a:lnTo>
                      <a:pt x="1154" y="1287"/>
                    </a:lnTo>
                    <a:lnTo>
                      <a:pt x="1196" y="1267"/>
                    </a:lnTo>
                    <a:lnTo>
                      <a:pt x="1212" y="1269"/>
                    </a:lnTo>
                    <a:lnTo>
                      <a:pt x="1236" y="1251"/>
                    </a:lnTo>
                    <a:lnTo>
                      <a:pt x="1253" y="1233"/>
                    </a:lnTo>
                    <a:lnTo>
                      <a:pt x="1266" y="1200"/>
                    </a:lnTo>
                    <a:lnTo>
                      <a:pt x="1277" y="1198"/>
                    </a:lnTo>
                    <a:lnTo>
                      <a:pt x="1326" y="1149"/>
                    </a:lnTo>
                    <a:lnTo>
                      <a:pt x="1332" y="1086"/>
                    </a:lnTo>
                    <a:lnTo>
                      <a:pt x="1367" y="1045"/>
                    </a:lnTo>
                    <a:lnTo>
                      <a:pt x="1364" y="985"/>
                    </a:lnTo>
                    <a:lnTo>
                      <a:pt x="1353" y="966"/>
                    </a:lnTo>
                    <a:lnTo>
                      <a:pt x="1332" y="960"/>
                    </a:lnTo>
                    <a:lnTo>
                      <a:pt x="1353" y="904"/>
                    </a:lnTo>
                    <a:lnTo>
                      <a:pt x="1338" y="874"/>
                    </a:lnTo>
                    <a:lnTo>
                      <a:pt x="1341" y="852"/>
                    </a:lnTo>
                    <a:lnTo>
                      <a:pt x="1371" y="855"/>
                    </a:lnTo>
                    <a:lnTo>
                      <a:pt x="1379" y="817"/>
                    </a:lnTo>
                    <a:lnTo>
                      <a:pt x="1371" y="775"/>
                    </a:lnTo>
                    <a:lnTo>
                      <a:pt x="1383" y="774"/>
                    </a:lnTo>
                    <a:lnTo>
                      <a:pt x="1404" y="718"/>
                    </a:lnTo>
                    <a:lnTo>
                      <a:pt x="1389" y="652"/>
                    </a:lnTo>
                    <a:lnTo>
                      <a:pt x="1349" y="693"/>
                    </a:lnTo>
                    <a:lnTo>
                      <a:pt x="1337" y="678"/>
                    </a:lnTo>
                    <a:lnTo>
                      <a:pt x="1278" y="705"/>
                    </a:lnTo>
                    <a:lnTo>
                      <a:pt x="1253" y="750"/>
                    </a:lnTo>
                    <a:lnTo>
                      <a:pt x="1212" y="780"/>
                    </a:lnTo>
                    <a:lnTo>
                      <a:pt x="1179" y="775"/>
                    </a:lnTo>
                    <a:lnTo>
                      <a:pt x="1134" y="811"/>
                    </a:lnTo>
                    <a:lnTo>
                      <a:pt x="1128" y="847"/>
                    </a:lnTo>
                    <a:lnTo>
                      <a:pt x="1086" y="862"/>
                    </a:lnTo>
                    <a:lnTo>
                      <a:pt x="1086" y="837"/>
                    </a:lnTo>
                    <a:lnTo>
                      <a:pt x="1070" y="775"/>
                    </a:lnTo>
                    <a:lnTo>
                      <a:pt x="1043" y="756"/>
                    </a:lnTo>
                    <a:lnTo>
                      <a:pt x="989" y="733"/>
                    </a:lnTo>
                    <a:lnTo>
                      <a:pt x="974" y="750"/>
                    </a:lnTo>
                    <a:lnTo>
                      <a:pt x="971" y="727"/>
                    </a:lnTo>
                    <a:lnTo>
                      <a:pt x="938" y="762"/>
                    </a:lnTo>
                    <a:lnTo>
                      <a:pt x="927" y="760"/>
                    </a:lnTo>
                    <a:lnTo>
                      <a:pt x="911" y="732"/>
                    </a:lnTo>
                    <a:lnTo>
                      <a:pt x="887" y="721"/>
                    </a:lnTo>
                    <a:lnTo>
                      <a:pt x="888" y="702"/>
                    </a:lnTo>
                    <a:lnTo>
                      <a:pt x="897" y="682"/>
                    </a:lnTo>
                    <a:lnTo>
                      <a:pt x="932" y="682"/>
                    </a:lnTo>
                    <a:lnTo>
                      <a:pt x="941" y="703"/>
                    </a:lnTo>
                    <a:lnTo>
                      <a:pt x="995" y="657"/>
                    </a:lnTo>
                    <a:lnTo>
                      <a:pt x="989" y="631"/>
                    </a:lnTo>
                    <a:lnTo>
                      <a:pt x="957" y="637"/>
                    </a:lnTo>
                    <a:lnTo>
                      <a:pt x="936" y="609"/>
                    </a:lnTo>
                    <a:lnTo>
                      <a:pt x="911" y="609"/>
                    </a:lnTo>
                    <a:lnTo>
                      <a:pt x="897" y="609"/>
                    </a:lnTo>
                    <a:lnTo>
                      <a:pt x="863" y="618"/>
                    </a:lnTo>
                    <a:lnTo>
                      <a:pt x="875" y="571"/>
                    </a:lnTo>
                    <a:lnTo>
                      <a:pt x="871" y="499"/>
                    </a:lnTo>
                    <a:lnTo>
                      <a:pt x="895" y="497"/>
                    </a:lnTo>
                    <a:lnTo>
                      <a:pt x="907" y="471"/>
                    </a:lnTo>
                    <a:lnTo>
                      <a:pt x="947" y="479"/>
                    </a:lnTo>
                    <a:lnTo>
                      <a:pt x="949" y="423"/>
                    </a:lnTo>
                    <a:lnTo>
                      <a:pt x="969" y="427"/>
                    </a:lnTo>
                    <a:lnTo>
                      <a:pt x="1035" y="335"/>
                    </a:lnTo>
                    <a:lnTo>
                      <a:pt x="1025" y="309"/>
                    </a:lnTo>
                    <a:lnTo>
                      <a:pt x="1003" y="309"/>
                    </a:lnTo>
                    <a:lnTo>
                      <a:pt x="1003" y="295"/>
                    </a:lnTo>
                    <a:lnTo>
                      <a:pt x="1023" y="295"/>
                    </a:lnTo>
                    <a:lnTo>
                      <a:pt x="1041" y="263"/>
                    </a:lnTo>
                    <a:lnTo>
                      <a:pt x="1071" y="237"/>
                    </a:lnTo>
                    <a:lnTo>
                      <a:pt x="1059" y="209"/>
                    </a:lnTo>
                    <a:lnTo>
                      <a:pt x="1067" y="185"/>
                    </a:lnTo>
                    <a:lnTo>
                      <a:pt x="1093" y="193"/>
                    </a:lnTo>
                    <a:lnTo>
                      <a:pt x="1099" y="183"/>
                    </a:lnTo>
                    <a:lnTo>
                      <a:pt x="1085" y="157"/>
                    </a:lnTo>
                    <a:lnTo>
                      <a:pt x="1092" y="106"/>
                    </a:lnTo>
                    <a:lnTo>
                      <a:pt x="1067" y="85"/>
                    </a:lnTo>
                    <a:lnTo>
                      <a:pt x="1058" y="115"/>
                    </a:lnTo>
                    <a:lnTo>
                      <a:pt x="1017" y="51"/>
                    </a:lnTo>
                    <a:lnTo>
                      <a:pt x="983" y="78"/>
                    </a:lnTo>
                    <a:lnTo>
                      <a:pt x="1017" y="105"/>
                    </a:lnTo>
                    <a:lnTo>
                      <a:pt x="978" y="117"/>
                    </a:lnTo>
                    <a:lnTo>
                      <a:pt x="987" y="130"/>
                    </a:lnTo>
                    <a:lnTo>
                      <a:pt x="1008" y="129"/>
                    </a:lnTo>
                    <a:lnTo>
                      <a:pt x="1023" y="139"/>
                    </a:lnTo>
                    <a:lnTo>
                      <a:pt x="1004" y="165"/>
                    </a:lnTo>
                    <a:lnTo>
                      <a:pt x="1005" y="228"/>
                    </a:lnTo>
                    <a:lnTo>
                      <a:pt x="1022" y="214"/>
                    </a:lnTo>
                    <a:lnTo>
                      <a:pt x="1034" y="234"/>
                    </a:lnTo>
                    <a:lnTo>
                      <a:pt x="1001" y="268"/>
                    </a:lnTo>
                    <a:lnTo>
                      <a:pt x="969" y="277"/>
                    </a:lnTo>
                    <a:lnTo>
                      <a:pt x="939" y="258"/>
                    </a:lnTo>
                    <a:lnTo>
                      <a:pt x="900" y="280"/>
                    </a:lnTo>
                    <a:lnTo>
                      <a:pt x="879" y="262"/>
                    </a:lnTo>
                    <a:lnTo>
                      <a:pt x="851" y="243"/>
                    </a:lnTo>
                    <a:lnTo>
                      <a:pt x="843" y="219"/>
                    </a:lnTo>
                    <a:lnTo>
                      <a:pt x="809" y="234"/>
                    </a:lnTo>
                    <a:lnTo>
                      <a:pt x="767" y="231"/>
                    </a:lnTo>
                    <a:lnTo>
                      <a:pt x="695" y="267"/>
                    </a:lnTo>
                    <a:lnTo>
                      <a:pt x="674" y="255"/>
                    </a:lnTo>
                    <a:lnTo>
                      <a:pt x="672" y="234"/>
                    </a:lnTo>
                    <a:lnTo>
                      <a:pt x="729" y="195"/>
                    </a:lnTo>
                    <a:lnTo>
                      <a:pt x="818" y="114"/>
                    </a:lnTo>
                    <a:lnTo>
                      <a:pt x="800" y="114"/>
                    </a:lnTo>
                    <a:lnTo>
                      <a:pt x="807" y="72"/>
                    </a:lnTo>
                    <a:lnTo>
                      <a:pt x="782" y="49"/>
                    </a:lnTo>
                    <a:lnTo>
                      <a:pt x="783" y="0"/>
                    </a:lnTo>
                    <a:lnTo>
                      <a:pt x="728" y="21"/>
                    </a:lnTo>
                    <a:lnTo>
                      <a:pt x="674" y="81"/>
                    </a:lnTo>
                    <a:lnTo>
                      <a:pt x="633" y="91"/>
                    </a:lnTo>
                    <a:lnTo>
                      <a:pt x="555" y="136"/>
                    </a:lnTo>
                    <a:lnTo>
                      <a:pt x="504" y="157"/>
                    </a:lnTo>
                    <a:lnTo>
                      <a:pt x="471" y="147"/>
                    </a:lnTo>
                    <a:lnTo>
                      <a:pt x="440" y="181"/>
                    </a:lnTo>
                    <a:lnTo>
                      <a:pt x="435" y="237"/>
                    </a:lnTo>
                    <a:lnTo>
                      <a:pt x="462" y="250"/>
                    </a:lnTo>
                    <a:lnTo>
                      <a:pt x="429" y="313"/>
                    </a:lnTo>
                    <a:lnTo>
                      <a:pt x="381" y="328"/>
                    </a:lnTo>
                    <a:lnTo>
                      <a:pt x="383" y="354"/>
                    </a:lnTo>
                    <a:lnTo>
                      <a:pt x="357" y="355"/>
                    </a:lnTo>
                    <a:lnTo>
                      <a:pt x="356" y="376"/>
                    </a:lnTo>
                    <a:lnTo>
                      <a:pt x="240" y="432"/>
                    </a:lnTo>
                    <a:lnTo>
                      <a:pt x="239" y="457"/>
                    </a:lnTo>
                    <a:lnTo>
                      <a:pt x="144" y="547"/>
                    </a:lnTo>
                    <a:lnTo>
                      <a:pt x="77" y="586"/>
                    </a:lnTo>
                    <a:lnTo>
                      <a:pt x="53" y="622"/>
                    </a:lnTo>
                    <a:lnTo>
                      <a:pt x="105" y="678"/>
                    </a:lnTo>
                    <a:lnTo>
                      <a:pt x="51" y="736"/>
                    </a:lnTo>
                    <a:lnTo>
                      <a:pt x="50" y="766"/>
                    </a:lnTo>
                    <a:lnTo>
                      <a:pt x="2" y="826"/>
                    </a:lnTo>
                    <a:lnTo>
                      <a:pt x="21" y="849"/>
                    </a:lnTo>
                    <a:lnTo>
                      <a:pt x="0" y="894"/>
                    </a:lnTo>
                    <a:lnTo>
                      <a:pt x="110" y="978"/>
                    </a:lnTo>
                    <a:lnTo>
                      <a:pt x="59" y="1065"/>
                    </a:lnTo>
                    <a:lnTo>
                      <a:pt x="125" y="1090"/>
                    </a:lnTo>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22" name="Freeform 6167">
                <a:extLst>
                  <a:ext uri="{FF2B5EF4-FFF2-40B4-BE49-F238E27FC236}">
                    <a16:creationId xmlns:a16="http://schemas.microsoft.com/office/drawing/2014/main" id="{173E7642-4F88-0A44-BA28-8F25D3672643}"/>
                  </a:ext>
                </a:extLst>
              </p:cNvPr>
              <p:cNvSpPr>
                <a:spLocks/>
              </p:cNvSpPr>
              <p:nvPr/>
            </p:nvSpPr>
            <p:spPr bwMode="gray">
              <a:xfrm>
                <a:off x="1618319" y="4242249"/>
                <a:ext cx="171636" cy="245501"/>
              </a:xfrm>
              <a:custGeom>
                <a:avLst/>
                <a:gdLst>
                  <a:gd name="T0" fmla="*/ 0 w 159"/>
                  <a:gd name="T1" fmla="*/ 83 h 231"/>
                  <a:gd name="T2" fmla="*/ 12 w 159"/>
                  <a:gd name="T3" fmla="*/ 95 h 231"/>
                  <a:gd name="T4" fmla="*/ 22 w 159"/>
                  <a:gd name="T5" fmla="*/ 89 h 231"/>
                  <a:gd name="T6" fmla="*/ 39 w 159"/>
                  <a:gd name="T7" fmla="*/ 111 h 231"/>
                  <a:gd name="T8" fmla="*/ 31 w 159"/>
                  <a:gd name="T9" fmla="*/ 123 h 231"/>
                  <a:gd name="T10" fmla="*/ 46 w 159"/>
                  <a:gd name="T11" fmla="*/ 155 h 231"/>
                  <a:gd name="T12" fmla="*/ 42 w 159"/>
                  <a:gd name="T13" fmla="*/ 170 h 231"/>
                  <a:gd name="T14" fmla="*/ 49 w 159"/>
                  <a:gd name="T15" fmla="*/ 180 h 231"/>
                  <a:gd name="T16" fmla="*/ 69 w 159"/>
                  <a:gd name="T17" fmla="*/ 170 h 231"/>
                  <a:gd name="T18" fmla="*/ 90 w 159"/>
                  <a:gd name="T19" fmla="*/ 182 h 231"/>
                  <a:gd name="T20" fmla="*/ 87 w 159"/>
                  <a:gd name="T21" fmla="*/ 225 h 231"/>
                  <a:gd name="T22" fmla="*/ 100 w 159"/>
                  <a:gd name="T23" fmla="*/ 231 h 231"/>
                  <a:gd name="T24" fmla="*/ 130 w 159"/>
                  <a:gd name="T25" fmla="*/ 189 h 231"/>
                  <a:gd name="T26" fmla="*/ 121 w 159"/>
                  <a:gd name="T27" fmla="*/ 156 h 231"/>
                  <a:gd name="T28" fmla="*/ 159 w 159"/>
                  <a:gd name="T29" fmla="*/ 120 h 231"/>
                  <a:gd name="T30" fmla="*/ 144 w 159"/>
                  <a:gd name="T31" fmla="*/ 104 h 231"/>
                  <a:gd name="T32" fmla="*/ 108 w 159"/>
                  <a:gd name="T33" fmla="*/ 129 h 231"/>
                  <a:gd name="T34" fmla="*/ 97 w 159"/>
                  <a:gd name="T35" fmla="*/ 122 h 231"/>
                  <a:gd name="T36" fmla="*/ 81 w 159"/>
                  <a:gd name="T37" fmla="*/ 102 h 231"/>
                  <a:gd name="T38" fmla="*/ 115 w 159"/>
                  <a:gd name="T39" fmla="*/ 69 h 231"/>
                  <a:gd name="T40" fmla="*/ 118 w 159"/>
                  <a:gd name="T41" fmla="*/ 15 h 231"/>
                  <a:gd name="T42" fmla="*/ 108 w 159"/>
                  <a:gd name="T43" fmla="*/ 6 h 231"/>
                  <a:gd name="T44" fmla="*/ 90 w 159"/>
                  <a:gd name="T45" fmla="*/ 0 h 231"/>
                  <a:gd name="T46" fmla="*/ 79 w 159"/>
                  <a:gd name="T47" fmla="*/ 23 h 231"/>
                  <a:gd name="T48" fmla="*/ 55 w 159"/>
                  <a:gd name="T49" fmla="*/ 38 h 231"/>
                  <a:gd name="T50" fmla="*/ 22 w 159"/>
                  <a:gd name="T51" fmla="*/ 57 h 231"/>
                  <a:gd name="T52" fmla="*/ 0 w 159"/>
                  <a:gd name="T53" fmla="*/ 8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9" h="231">
                    <a:moveTo>
                      <a:pt x="0" y="83"/>
                    </a:moveTo>
                    <a:lnTo>
                      <a:pt x="12" y="95"/>
                    </a:lnTo>
                    <a:lnTo>
                      <a:pt x="22" y="89"/>
                    </a:lnTo>
                    <a:lnTo>
                      <a:pt x="39" y="111"/>
                    </a:lnTo>
                    <a:lnTo>
                      <a:pt x="31" y="123"/>
                    </a:lnTo>
                    <a:lnTo>
                      <a:pt x="46" y="155"/>
                    </a:lnTo>
                    <a:lnTo>
                      <a:pt x="42" y="170"/>
                    </a:lnTo>
                    <a:lnTo>
                      <a:pt x="49" y="180"/>
                    </a:lnTo>
                    <a:lnTo>
                      <a:pt x="69" y="170"/>
                    </a:lnTo>
                    <a:lnTo>
                      <a:pt x="90" y="182"/>
                    </a:lnTo>
                    <a:lnTo>
                      <a:pt x="87" y="225"/>
                    </a:lnTo>
                    <a:lnTo>
                      <a:pt x="100" y="231"/>
                    </a:lnTo>
                    <a:lnTo>
                      <a:pt x="130" y="189"/>
                    </a:lnTo>
                    <a:lnTo>
                      <a:pt x="121" y="156"/>
                    </a:lnTo>
                    <a:lnTo>
                      <a:pt x="159" y="120"/>
                    </a:lnTo>
                    <a:lnTo>
                      <a:pt x="144" y="104"/>
                    </a:lnTo>
                    <a:lnTo>
                      <a:pt x="108" y="129"/>
                    </a:lnTo>
                    <a:lnTo>
                      <a:pt x="97" y="122"/>
                    </a:lnTo>
                    <a:lnTo>
                      <a:pt x="81" y="102"/>
                    </a:lnTo>
                    <a:lnTo>
                      <a:pt x="115" y="69"/>
                    </a:lnTo>
                    <a:lnTo>
                      <a:pt x="118" y="15"/>
                    </a:lnTo>
                    <a:lnTo>
                      <a:pt x="108" y="6"/>
                    </a:lnTo>
                    <a:lnTo>
                      <a:pt x="90" y="0"/>
                    </a:lnTo>
                    <a:lnTo>
                      <a:pt x="79" y="23"/>
                    </a:lnTo>
                    <a:lnTo>
                      <a:pt x="55" y="38"/>
                    </a:lnTo>
                    <a:lnTo>
                      <a:pt x="22" y="57"/>
                    </a:lnTo>
                    <a:lnTo>
                      <a:pt x="0" y="83"/>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23" name="Freeform 6168">
                <a:extLst>
                  <a:ext uri="{FF2B5EF4-FFF2-40B4-BE49-F238E27FC236}">
                    <a16:creationId xmlns:a16="http://schemas.microsoft.com/office/drawing/2014/main" id="{810CFF01-4527-931E-954B-77AC8C4B78CE}"/>
                  </a:ext>
                </a:extLst>
              </p:cNvPr>
              <p:cNvSpPr>
                <a:spLocks/>
              </p:cNvSpPr>
              <p:nvPr/>
            </p:nvSpPr>
            <p:spPr bwMode="gray">
              <a:xfrm>
                <a:off x="1353798" y="4655408"/>
                <a:ext cx="40384" cy="59879"/>
              </a:xfrm>
              <a:custGeom>
                <a:avLst/>
                <a:gdLst>
                  <a:gd name="T0" fmla="*/ 26 w 38"/>
                  <a:gd name="T1" fmla="*/ 0 h 57"/>
                  <a:gd name="T2" fmla="*/ 0 w 38"/>
                  <a:gd name="T3" fmla="*/ 36 h 57"/>
                  <a:gd name="T4" fmla="*/ 12 w 38"/>
                  <a:gd name="T5" fmla="*/ 57 h 57"/>
                  <a:gd name="T6" fmla="*/ 38 w 38"/>
                  <a:gd name="T7" fmla="*/ 21 h 57"/>
                  <a:gd name="T8" fmla="*/ 38 w 38"/>
                  <a:gd name="T9" fmla="*/ 11 h 57"/>
                  <a:gd name="T10" fmla="*/ 26 w 38"/>
                  <a:gd name="T11" fmla="*/ 0 h 57"/>
                </a:gdLst>
                <a:ahLst/>
                <a:cxnLst>
                  <a:cxn ang="0">
                    <a:pos x="T0" y="T1"/>
                  </a:cxn>
                  <a:cxn ang="0">
                    <a:pos x="T2" y="T3"/>
                  </a:cxn>
                  <a:cxn ang="0">
                    <a:pos x="T4" y="T5"/>
                  </a:cxn>
                  <a:cxn ang="0">
                    <a:pos x="T6" y="T7"/>
                  </a:cxn>
                  <a:cxn ang="0">
                    <a:pos x="T8" y="T9"/>
                  </a:cxn>
                  <a:cxn ang="0">
                    <a:pos x="T10" y="T11"/>
                  </a:cxn>
                </a:cxnLst>
                <a:rect l="0" t="0" r="r" b="b"/>
                <a:pathLst>
                  <a:path w="38" h="57">
                    <a:moveTo>
                      <a:pt x="26" y="0"/>
                    </a:moveTo>
                    <a:lnTo>
                      <a:pt x="0" y="36"/>
                    </a:lnTo>
                    <a:lnTo>
                      <a:pt x="12" y="57"/>
                    </a:lnTo>
                    <a:lnTo>
                      <a:pt x="38" y="21"/>
                    </a:lnTo>
                    <a:lnTo>
                      <a:pt x="38" y="11"/>
                    </a:lnTo>
                    <a:lnTo>
                      <a:pt x="26" y="0"/>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24" name="Freeform 6169">
                <a:extLst>
                  <a:ext uri="{FF2B5EF4-FFF2-40B4-BE49-F238E27FC236}">
                    <a16:creationId xmlns:a16="http://schemas.microsoft.com/office/drawing/2014/main" id="{BFDED8C1-7EE5-68C0-1788-23D54F27FA86}"/>
                  </a:ext>
                </a:extLst>
              </p:cNvPr>
              <p:cNvSpPr>
                <a:spLocks/>
              </p:cNvSpPr>
              <p:nvPr/>
            </p:nvSpPr>
            <p:spPr bwMode="gray">
              <a:xfrm>
                <a:off x="1400241" y="4623472"/>
                <a:ext cx="121154" cy="81834"/>
              </a:xfrm>
              <a:custGeom>
                <a:avLst/>
                <a:gdLst>
                  <a:gd name="T0" fmla="*/ 0 w 111"/>
                  <a:gd name="T1" fmla="*/ 60 h 78"/>
                  <a:gd name="T2" fmla="*/ 42 w 111"/>
                  <a:gd name="T3" fmla="*/ 45 h 78"/>
                  <a:gd name="T4" fmla="*/ 68 w 111"/>
                  <a:gd name="T5" fmla="*/ 0 h 78"/>
                  <a:gd name="T6" fmla="*/ 111 w 111"/>
                  <a:gd name="T7" fmla="*/ 39 h 78"/>
                  <a:gd name="T8" fmla="*/ 83 w 111"/>
                  <a:gd name="T9" fmla="*/ 78 h 78"/>
                  <a:gd name="T10" fmla="*/ 71 w 111"/>
                  <a:gd name="T11" fmla="*/ 78 h 78"/>
                  <a:gd name="T12" fmla="*/ 50 w 111"/>
                  <a:gd name="T13" fmla="*/ 59 h 78"/>
                  <a:gd name="T14" fmla="*/ 18 w 111"/>
                  <a:gd name="T15" fmla="*/ 74 h 78"/>
                  <a:gd name="T16" fmla="*/ 2 w 111"/>
                  <a:gd name="T17" fmla="*/ 75 h 78"/>
                  <a:gd name="T18" fmla="*/ 0 w 111"/>
                  <a:gd name="T19" fmla="*/ 6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78">
                    <a:moveTo>
                      <a:pt x="0" y="60"/>
                    </a:moveTo>
                    <a:lnTo>
                      <a:pt x="42" y="45"/>
                    </a:lnTo>
                    <a:lnTo>
                      <a:pt x="68" y="0"/>
                    </a:lnTo>
                    <a:lnTo>
                      <a:pt x="111" y="39"/>
                    </a:lnTo>
                    <a:lnTo>
                      <a:pt x="83" y="78"/>
                    </a:lnTo>
                    <a:lnTo>
                      <a:pt x="71" y="78"/>
                    </a:lnTo>
                    <a:lnTo>
                      <a:pt x="50" y="59"/>
                    </a:lnTo>
                    <a:lnTo>
                      <a:pt x="18" y="74"/>
                    </a:lnTo>
                    <a:lnTo>
                      <a:pt x="2" y="75"/>
                    </a:lnTo>
                    <a:lnTo>
                      <a:pt x="0" y="60"/>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25" name="Freeform 6170">
                <a:extLst>
                  <a:ext uri="{FF2B5EF4-FFF2-40B4-BE49-F238E27FC236}">
                    <a16:creationId xmlns:a16="http://schemas.microsoft.com/office/drawing/2014/main" id="{2A12112F-AC7D-A0FC-91E4-C0DAB5C47449}"/>
                  </a:ext>
                </a:extLst>
              </p:cNvPr>
              <p:cNvSpPr>
                <a:spLocks/>
              </p:cNvSpPr>
              <p:nvPr/>
            </p:nvSpPr>
            <p:spPr bwMode="gray">
              <a:xfrm>
                <a:off x="1773803" y="4375975"/>
                <a:ext cx="32308" cy="27943"/>
              </a:xfrm>
              <a:custGeom>
                <a:avLst/>
                <a:gdLst>
                  <a:gd name="T0" fmla="*/ 0 w 30"/>
                  <a:gd name="T1" fmla="*/ 12 h 27"/>
                  <a:gd name="T2" fmla="*/ 6 w 30"/>
                  <a:gd name="T3" fmla="*/ 27 h 27"/>
                  <a:gd name="T4" fmla="*/ 30 w 30"/>
                  <a:gd name="T5" fmla="*/ 13 h 27"/>
                  <a:gd name="T6" fmla="*/ 13 w 30"/>
                  <a:gd name="T7" fmla="*/ 0 h 27"/>
                  <a:gd name="T8" fmla="*/ 0 w 30"/>
                  <a:gd name="T9" fmla="*/ 12 h 27"/>
                </a:gdLst>
                <a:ahLst/>
                <a:cxnLst>
                  <a:cxn ang="0">
                    <a:pos x="T0" y="T1"/>
                  </a:cxn>
                  <a:cxn ang="0">
                    <a:pos x="T2" y="T3"/>
                  </a:cxn>
                  <a:cxn ang="0">
                    <a:pos x="T4" y="T5"/>
                  </a:cxn>
                  <a:cxn ang="0">
                    <a:pos x="T6" y="T7"/>
                  </a:cxn>
                  <a:cxn ang="0">
                    <a:pos x="T8" y="T9"/>
                  </a:cxn>
                </a:cxnLst>
                <a:rect l="0" t="0" r="r" b="b"/>
                <a:pathLst>
                  <a:path w="30" h="27">
                    <a:moveTo>
                      <a:pt x="0" y="12"/>
                    </a:moveTo>
                    <a:lnTo>
                      <a:pt x="6" y="27"/>
                    </a:lnTo>
                    <a:lnTo>
                      <a:pt x="30" y="13"/>
                    </a:lnTo>
                    <a:lnTo>
                      <a:pt x="13" y="0"/>
                    </a:lnTo>
                    <a:lnTo>
                      <a:pt x="0" y="12"/>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26" name="Freeform 6171">
                <a:extLst>
                  <a:ext uri="{FF2B5EF4-FFF2-40B4-BE49-F238E27FC236}">
                    <a16:creationId xmlns:a16="http://schemas.microsoft.com/office/drawing/2014/main" id="{B64778A5-13C9-74C8-AA5D-341D4901C198}"/>
                  </a:ext>
                </a:extLst>
              </p:cNvPr>
              <p:cNvSpPr>
                <a:spLocks/>
              </p:cNvSpPr>
              <p:nvPr/>
            </p:nvSpPr>
            <p:spPr bwMode="gray">
              <a:xfrm>
                <a:off x="1808129" y="4350029"/>
                <a:ext cx="34326" cy="29940"/>
              </a:xfrm>
              <a:custGeom>
                <a:avLst/>
                <a:gdLst>
                  <a:gd name="T0" fmla="*/ 0 w 32"/>
                  <a:gd name="T1" fmla="*/ 7 h 28"/>
                  <a:gd name="T2" fmla="*/ 9 w 32"/>
                  <a:gd name="T3" fmla="*/ 28 h 28"/>
                  <a:gd name="T4" fmla="*/ 32 w 32"/>
                  <a:gd name="T5" fmla="*/ 21 h 28"/>
                  <a:gd name="T6" fmla="*/ 27 w 32"/>
                  <a:gd name="T7" fmla="*/ 0 h 28"/>
                  <a:gd name="T8" fmla="*/ 0 w 32"/>
                  <a:gd name="T9" fmla="*/ 7 h 28"/>
                </a:gdLst>
                <a:ahLst/>
                <a:cxnLst>
                  <a:cxn ang="0">
                    <a:pos x="T0" y="T1"/>
                  </a:cxn>
                  <a:cxn ang="0">
                    <a:pos x="T2" y="T3"/>
                  </a:cxn>
                  <a:cxn ang="0">
                    <a:pos x="T4" y="T5"/>
                  </a:cxn>
                  <a:cxn ang="0">
                    <a:pos x="T6" y="T7"/>
                  </a:cxn>
                  <a:cxn ang="0">
                    <a:pos x="T8" y="T9"/>
                  </a:cxn>
                </a:cxnLst>
                <a:rect l="0" t="0" r="r" b="b"/>
                <a:pathLst>
                  <a:path w="32" h="28">
                    <a:moveTo>
                      <a:pt x="0" y="7"/>
                    </a:moveTo>
                    <a:lnTo>
                      <a:pt x="9" y="28"/>
                    </a:lnTo>
                    <a:lnTo>
                      <a:pt x="32" y="21"/>
                    </a:lnTo>
                    <a:lnTo>
                      <a:pt x="27" y="0"/>
                    </a:lnTo>
                    <a:lnTo>
                      <a:pt x="0" y="7"/>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27" name="Freeform 6172">
                <a:extLst>
                  <a:ext uri="{FF2B5EF4-FFF2-40B4-BE49-F238E27FC236}">
                    <a16:creationId xmlns:a16="http://schemas.microsoft.com/office/drawing/2014/main" id="{BE6431A6-FFCC-9251-91F0-C4258EFB751C}"/>
                  </a:ext>
                </a:extLst>
              </p:cNvPr>
              <p:cNvSpPr>
                <a:spLocks/>
              </p:cNvSpPr>
              <p:nvPr/>
            </p:nvSpPr>
            <p:spPr bwMode="gray">
              <a:xfrm>
                <a:off x="933792" y="3900942"/>
                <a:ext cx="844047" cy="590799"/>
              </a:xfrm>
              <a:custGeom>
                <a:avLst/>
                <a:gdLst>
                  <a:gd name="T0" fmla="*/ 38 w 780"/>
                  <a:gd name="T1" fmla="*/ 542 h 556"/>
                  <a:gd name="T2" fmla="*/ 42 w 780"/>
                  <a:gd name="T3" fmla="*/ 480 h 556"/>
                  <a:gd name="T4" fmla="*/ 0 w 780"/>
                  <a:gd name="T5" fmla="*/ 406 h 556"/>
                  <a:gd name="T6" fmla="*/ 46 w 780"/>
                  <a:gd name="T7" fmla="*/ 384 h 556"/>
                  <a:gd name="T8" fmla="*/ 62 w 780"/>
                  <a:gd name="T9" fmla="*/ 332 h 556"/>
                  <a:gd name="T10" fmla="*/ 80 w 780"/>
                  <a:gd name="T11" fmla="*/ 322 h 556"/>
                  <a:gd name="T12" fmla="*/ 90 w 780"/>
                  <a:gd name="T13" fmla="*/ 342 h 556"/>
                  <a:gd name="T14" fmla="*/ 162 w 780"/>
                  <a:gd name="T15" fmla="*/ 318 h 556"/>
                  <a:gd name="T16" fmla="*/ 198 w 780"/>
                  <a:gd name="T17" fmla="*/ 302 h 556"/>
                  <a:gd name="T18" fmla="*/ 242 w 780"/>
                  <a:gd name="T19" fmla="*/ 300 h 556"/>
                  <a:gd name="T20" fmla="*/ 256 w 780"/>
                  <a:gd name="T21" fmla="*/ 264 h 556"/>
                  <a:gd name="T22" fmla="*/ 274 w 780"/>
                  <a:gd name="T23" fmla="*/ 234 h 556"/>
                  <a:gd name="T24" fmla="*/ 316 w 780"/>
                  <a:gd name="T25" fmla="*/ 214 h 556"/>
                  <a:gd name="T26" fmla="*/ 330 w 780"/>
                  <a:gd name="T27" fmla="*/ 222 h 556"/>
                  <a:gd name="T28" fmla="*/ 348 w 780"/>
                  <a:gd name="T29" fmla="*/ 194 h 556"/>
                  <a:gd name="T30" fmla="*/ 306 w 780"/>
                  <a:gd name="T31" fmla="*/ 168 h 556"/>
                  <a:gd name="T32" fmla="*/ 322 w 780"/>
                  <a:gd name="T33" fmla="*/ 146 h 556"/>
                  <a:gd name="T34" fmla="*/ 324 w 780"/>
                  <a:gd name="T35" fmla="*/ 130 h 556"/>
                  <a:gd name="T36" fmla="*/ 360 w 780"/>
                  <a:gd name="T37" fmla="*/ 116 h 556"/>
                  <a:gd name="T38" fmla="*/ 364 w 780"/>
                  <a:gd name="T39" fmla="*/ 92 h 556"/>
                  <a:gd name="T40" fmla="*/ 432 w 780"/>
                  <a:gd name="T41" fmla="*/ 56 h 556"/>
                  <a:gd name="T42" fmla="*/ 496 w 780"/>
                  <a:gd name="T43" fmla="*/ 0 h 556"/>
                  <a:gd name="T44" fmla="*/ 546 w 780"/>
                  <a:gd name="T45" fmla="*/ 46 h 556"/>
                  <a:gd name="T46" fmla="*/ 526 w 780"/>
                  <a:gd name="T47" fmla="*/ 128 h 556"/>
                  <a:gd name="T48" fmla="*/ 612 w 780"/>
                  <a:gd name="T49" fmla="*/ 88 h 556"/>
                  <a:gd name="T50" fmla="*/ 714 w 780"/>
                  <a:gd name="T51" fmla="*/ 70 h 556"/>
                  <a:gd name="T52" fmla="*/ 704 w 780"/>
                  <a:gd name="T53" fmla="*/ 90 h 556"/>
                  <a:gd name="T54" fmla="*/ 708 w 780"/>
                  <a:gd name="T55" fmla="*/ 102 h 556"/>
                  <a:gd name="T56" fmla="*/ 724 w 780"/>
                  <a:gd name="T57" fmla="*/ 92 h 556"/>
                  <a:gd name="T58" fmla="*/ 764 w 780"/>
                  <a:gd name="T59" fmla="*/ 116 h 556"/>
                  <a:gd name="T60" fmla="*/ 780 w 780"/>
                  <a:gd name="T61" fmla="*/ 144 h 556"/>
                  <a:gd name="T62" fmla="*/ 758 w 780"/>
                  <a:gd name="T63" fmla="*/ 150 h 556"/>
                  <a:gd name="T64" fmla="*/ 776 w 780"/>
                  <a:gd name="T65" fmla="*/ 174 h 556"/>
                  <a:gd name="T66" fmla="*/ 754 w 780"/>
                  <a:gd name="T67" fmla="*/ 188 h 556"/>
                  <a:gd name="T68" fmla="*/ 754 w 780"/>
                  <a:gd name="T69" fmla="*/ 204 h 556"/>
                  <a:gd name="T70" fmla="*/ 704 w 780"/>
                  <a:gd name="T71" fmla="*/ 230 h 556"/>
                  <a:gd name="T72" fmla="*/ 704 w 780"/>
                  <a:gd name="T73" fmla="*/ 278 h 556"/>
                  <a:gd name="T74" fmla="*/ 686 w 780"/>
                  <a:gd name="T75" fmla="*/ 282 h 556"/>
                  <a:gd name="T76" fmla="*/ 644 w 780"/>
                  <a:gd name="T77" fmla="*/ 268 h 556"/>
                  <a:gd name="T78" fmla="*/ 608 w 780"/>
                  <a:gd name="T79" fmla="*/ 292 h 556"/>
                  <a:gd name="T80" fmla="*/ 520 w 780"/>
                  <a:gd name="T81" fmla="*/ 332 h 556"/>
                  <a:gd name="T82" fmla="*/ 522 w 780"/>
                  <a:gd name="T83" fmla="*/ 380 h 556"/>
                  <a:gd name="T84" fmla="*/ 488 w 780"/>
                  <a:gd name="T85" fmla="*/ 392 h 556"/>
                  <a:gd name="T86" fmla="*/ 484 w 780"/>
                  <a:gd name="T87" fmla="*/ 412 h 556"/>
                  <a:gd name="T88" fmla="*/ 466 w 780"/>
                  <a:gd name="T89" fmla="*/ 416 h 556"/>
                  <a:gd name="T90" fmla="*/ 394 w 780"/>
                  <a:gd name="T91" fmla="*/ 480 h 556"/>
                  <a:gd name="T92" fmla="*/ 382 w 780"/>
                  <a:gd name="T93" fmla="*/ 508 h 556"/>
                  <a:gd name="T94" fmla="*/ 368 w 780"/>
                  <a:gd name="T95" fmla="*/ 506 h 556"/>
                  <a:gd name="T96" fmla="*/ 374 w 780"/>
                  <a:gd name="T97" fmla="*/ 468 h 556"/>
                  <a:gd name="T98" fmla="*/ 344 w 780"/>
                  <a:gd name="T99" fmla="*/ 438 h 556"/>
                  <a:gd name="T100" fmla="*/ 348 w 780"/>
                  <a:gd name="T101" fmla="*/ 396 h 556"/>
                  <a:gd name="T102" fmla="*/ 294 w 780"/>
                  <a:gd name="T103" fmla="*/ 418 h 556"/>
                  <a:gd name="T104" fmla="*/ 240 w 780"/>
                  <a:gd name="T105" fmla="*/ 478 h 556"/>
                  <a:gd name="T106" fmla="*/ 198 w 780"/>
                  <a:gd name="T107" fmla="*/ 488 h 556"/>
                  <a:gd name="T108" fmla="*/ 68 w 780"/>
                  <a:gd name="T109" fmla="*/ 556 h 556"/>
                  <a:gd name="T110" fmla="*/ 38 w 780"/>
                  <a:gd name="T111" fmla="*/ 542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0" h="556">
                    <a:moveTo>
                      <a:pt x="38" y="542"/>
                    </a:moveTo>
                    <a:lnTo>
                      <a:pt x="42" y="480"/>
                    </a:lnTo>
                    <a:lnTo>
                      <a:pt x="0" y="406"/>
                    </a:lnTo>
                    <a:lnTo>
                      <a:pt x="46" y="384"/>
                    </a:lnTo>
                    <a:lnTo>
                      <a:pt x="62" y="332"/>
                    </a:lnTo>
                    <a:lnTo>
                      <a:pt x="80" y="322"/>
                    </a:lnTo>
                    <a:lnTo>
                      <a:pt x="90" y="342"/>
                    </a:lnTo>
                    <a:lnTo>
                      <a:pt x="162" y="318"/>
                    </a:lnTo>
                    <a:lnTo>
                      <a:pt x="198" y="302"/>
                    </a:lnTo>
                    <a:lnTo>
                      <a:pt x="242" y="300"/>
                    </a:lnTo>
                    <a:lnTo>
                      <a:pt x="256" y="264"/>
                    </a:lnTo>
                    <a:lnTo>
                      <a:pt x="274" y="234"/>
                    </a:lnTo>
                    <a:lnTo>
                      <a:pt x="316" y="214"/>
                    </a:lnTo>
                    <a:lnTo>
                      <a:pt x="330" y="222"/>
                    </a:lnTo>
                    <a:lnTo>
                      <a:pt x="348" y="194"/>
                    </a:lnTo>
                    <a:lnTo>
                      <a:pt x="306" y="168"/>
                    </a:lnTo>
                    <a:lnTo>
                      <a:pt x="322" y="146"/>
                    </a:lnTo>
                    <a:lnTo>
                      <a:pt x="324" y="130"/>
                    </a:lnTo>
                    <a:lnTo>
                      <a:pt x="360" y="116"/>
                    </a:lnTo>
                    <a:lnTo>
                      <a:pt x="364" y="92"/>
                    </a:lnTo>
                    <a:lnTo>
                      <a:pt x="432" y="56"/>
                    </a:lnTo>
                    <a:lnTo>
                      <a:pt x="496" y="0"/>
                    </a:lnTo>
                    <a:lnTo>
                      <a:pt x="546" y="46"/>
                    </a:lnTo>
                    <a:lnTo>
                      <a:pt x="526" y="128"/>
                    </a:lnTo>
                    <a:lnTo>
                      <a:pt x="612" y="88"/>
                    </a:lnTo>
                    <a:lnTo>
                      <a:pt x="714" y="70"/>
                    </a:lnTo>
                    <a:lnTo>
                      <a:pt x="704" y="90"/>
                    </a:lnTo>
                    <a:lnTo>
                      <a:pt x="708" y="102"/>
                    </a:lnTo>
                    <a:lnTo>
                      <a:pt x="724" y="92"/>
                    </a:lnTo>
                    <a:lnTo>
                      <a:pt x="764" y="116"/>
                    </a:lnTo>
                    <a:lnTo>
                      <a:pt x="780" y="144"/>
                    </a:lnTo>
                    <a:lnTo>
                      <a:pt x="758" y="150"/>
                    </a:lnTo>
                    <a:lnTo>
                      <a:pt x="776" y="174"/>
                    </a:lnTo>
                    <a:lnTo>
                      <a:pt x="754" y="188"/>
                    </a:lnTo>
                    <a:lnTo>
                      <a:pt x="754" y="204"/>
                    </a:lnTo>
                    <a:lnTo>
                      <a:pt x="704" y="230"/>
                    </a:lnTo>
                    <a:lnTo>
                      <a:pt x="704" y="278"/>
                    </a:lnTo>
                    <a:lnTo>
                      <a:pt x="686" y="282"/>
                    </a:lnTo>
                    <a:lnTo>
                      <a:pt x="644" y="268"/>
                    </a:lnTo>
                    <a:lnTo>
                      <a:pt x="608" y="292"/>
                    </a:lnTo>
                    <a:lnTo>
                      <a:pt x="520" y="332"/>
                    </a:lnTo>
                    <a:lnTo>
                      <a:pt x="522" y="380"/>
                    </a:lnTo>
                    <a:lnTo>
                      <a:pt x="488" y="392"/>
                    </a:lnTo>
                    <a:lnTo>
                      <a:pt x="484" y="412"/>
                    </a:lnTo>
                    <a:lnTo>
                      <a:pt x="466" y="416"/>
                    </a:lnTo>
                    <a:lnTo>
                      <a:pt x="394" y="480"/>
                    </a:lnTo>
                    <a:lnTo>
                      <a:pt x="382" y="508"/>
                    </a:lnTo>
                    <a:lnTo>
                      <a:pt x="368" y="506"/>
                    </a:lnTo>
                    <a:lnTo>
                      <a:pt x="374" y="468"/>
                    </a:lnTo>
                    <a:lnTo>
                      <a:pt x="344" y="438"/>
                    </a:lnTo>
                    <a:lnTo>
                      <a:pt x="348" y="396"/>
                    </a:lnTo>
                    <a:lnTo>
                      <a:pt x="294" y="418"/>
                    </a:lnTo>
                    <a:lnTo>
                      <a:pt x="240" y="478"/>
                    </a:lnTo>
                    <a:lnTo>
                      <a:pt x="198" y="488"/>
                    </a:lnTo>
                    <a:lnTo>
                      <a:pt x="68" y="556"/>
                    </a:lnTo>
                    <a:lnTo>
                      <a:pt x="38" y="542"/>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29" name="Freeform 6174">
                <a:extLst>
                  <a:ext uri="{FF2B5EF4-FFF2-40B4-BE49-F238E27FC236}">
                    <a16:creationId xmlns:a16="http://schemas.microsoft.com/office/drawing/2014/main" id="{BF4DA64B-48A2-3393-0F54-52C4B98A503C}"/>
                  </a:ext>
                </a:extLst>
              </p:cNvPr>
              <p:cNvSpPr>
                <a:spLocks/>
              </p:cNvSpPr>
              <p:nvPr/>
            </p:nvSpPr>
            <p:spPr bwMode="gray">
              <a:xfrm>
                <a:off x="1382067" y="4401923"/>
                <a:ext cx="201926" cy="215562"/>
              </a:xfrm>
              <a:custGeom>
                <a:avLst/>
                <a:gdLst>
                  <a:gd name="T0" fmla="*/ 29 w 186"/>
                  <a:gd name="T1" fmla="*/ 97 h 205"/>
                  <a:gd name="T2" fmla="*/ 0 w 186"/>
                  <a:gd name="T3" fmla="*/ 145 h 205"/>
                  <a:gd name="T4" fmla="*/ 5 w 186"/>
                  <a:gd name="T5" fmla="*/ 166 h 205"/>
                  <a:gd name="T6" fmla="*/ 54 w 186"/>
                  <a:gd name="T7" fmla="*/ 205 h 205"/>
                  <a:gd name="T8" fmla="*/ 92 w 186"/>
                  <a:gd name="T9" fmla="*/ 183 h 205"/>
                  <a:gd name="T10" fmla="*/ 122 w 186"/>
                  <a:gd name="T11" fmla="*/ 204 h 205"/>
                  <a:gd name="T12" fmla="*/ 149 w 186"/>
                  <a:gd name="T13" fmla="*/ 195 h 205"/>
                  <a:gd name="T14" fmla="*/ 158 w 186"/>
                  <a:gd name="T15" fmla="*/ 193 h 205"/>
                  <a:gd name="T16" fmla="*/ 186 w 186"/>
                  <a:gd name="T17" fmla="*/ 159 h 205"/>
                  <a:gd name="T18" fmla="*/ 176 w 186"/>
                  <a:gd name="T19" fmla="*/ 141 h 205"/>
                  <a:gd name="T20" fmla="*/ 158 w 186"/>
                  <a:gd name="T21" fmla="*/ 151 h 205"/>
                  <a:gd name="T22" fmla="*/ 159 w 186"/>
                  <a:gd name="T23" fmla="*/ 90 h 205"/>
                  <a:gd name="T24" fmla="*/ 174 w 186"/>
                  <a:gd name="T25" fmla="*/ 67 h 205"/>
                  <a:gd name="T26" fmla="*/ 167 w 186"/>
                  <a:gd name="T27" fmla="*/ 55 h 205"/>
                  <a:gd name="T28" fmla="*/ 140 w 186"/>
                  <a:gd name="T29" fmla="*/ 55 h 205"/>
                  <a:gd name="T30" fmla="*/ 134 w 186"/>
                  <a:gd name="T31" fmla="*/ 43 h 205"/>
                  <a:gd name="T32" fmla="*/ 170 w 186"/>
                  <a:gd name="T33" fmla="*/ 31 h 205"/>
                  <a:gd name="T34" fmla="*/ 143 w 186"/>
                  <a:gd name="T35" fmla="*/ 6 h 205"/>
                  <a:gd name="T36" fmla="*/ 140 w 186"/>
                  <a:gd name="T37" fmla="*/ 0 h 205"/>
                  <a:gd name="T38" fmla="*/ 68 w 186"/>
                  <a:gd name="T39" fmla="*/ 81 h 205"/>
                  <a:gd name="T40" fmla="*/ 29 w 186"/>
                  <a:gd name="T41" fmla="*/ 9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6" h="205">
                    <a:moveTo>
                      <a:pt x="29" y="97"/>
                    </a:moveTo>
                    <a:lnTo>
                      <a:pt x="0" y="145"/>
                    </a:lnTo>
                    <a:lnTo>
                      <a:pt x="5" y="166"/>
                    </a:lnTo>
                    <a:lnTo>
                      <a:pt x="54" y="205"/>
                    </a:lnTo>
                    <a:lnTo>
                      <a:pt x="92" y="183"/>
                    </a:lnTo>
                    <a:lnTo>
                      <a:pt x="122" y="204"/>
                    </a:lnTo>
                    <a:lnTo>
                      <a:pt x="149" y="195"/>
                    </a:lnTo>
                    <a:lnTo>
                      <a:pt x="158" y="193"/>
                    </a:lnTo>
                    <a:lnTo>
                      <a:pt x="186" y="159"/>
                    </a:lnTo>
                    <a:lnTo>
                      <a:pt x="176" y="141"/>
                    </a:lnTo>
                    <a:lnTo>
                      <a:pt x="158" y="151"/>
                    </a:lnTo>
                    <a:lnTo>
                      <a:pt x="159" y="90"/>
                    </a:lnTo>
                    <a:lnTo>
                      <a:pt x="174" y="67"/>
                    </a:lnTo>
                    <a:lnTo>
                      <a:pt x="167" y="55"/>
                    </a:lnTo>
                    <a:lnTo>
                      <a:pt x="140" y="55"/>
                    </a:lnTo>
                    <a:lnTo>
                      <a:pt x="134" y="43"/>
                    </a:lnTo>
                    <a:lnTo>
                      <a:pt x="170" y="31"/>
                    </a:lnTo>
                    <a:lnTo>
                      <a:pt x="143" y="6"/>
                    </a:lnTo>
                    <a:lnTo>
                      <a:pt x="140" y="0"/>
                    </a:lnTo>
                    <a:lnTo>
                      <a:pt x="68" y="81"/>
                    </a:lnTo>
                    <a:lnTo>
                      <a:pt x="29" y="97"/>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30" name="Freeform 6175">
                <a:extLst>
                  <a:ext uri="{FF2B5EF4-FFF2-40B4-BE49-F238E27FC236}">
                    <a16:creationId xmlns:a16="http://schemas.microsoft.com/office/drawing/2014/main" id="{16D9A88C-38DE-9A9C-FBCC-149465376446}"/>
                  </a:ext>
                </a:extLst>
              </p:cNvPr>
              <p:cNvSpPr>
                <a:spLocks/>
              </p:cNvSpPr>
              <p:nvPr/>
            </p:nvSpPr>
            <p:spPr bwMode="gray">
              <a:xfrm>
                <a:off x="1400241" y="4188358"/>
                <a:ext cx="745104" cy="1051860"/>
              </a:xfrm>
              <a:custGeom>
                <a:avLst/>
                <a:gdLst>
                  <a:gd name="T0" fmla="*/ 198 w 687"/>
                  <a:gd name="T1" fmla="*/ 243 h 987"/>
                  <a:gd name="T2" fmla="*/ 228 w 687"/>
                  <a:gd name="T3" fmla="*/ 230 h 987"/>
                  <a:gd name="T4" fmla="*/ 237 w 687"/>
                  <a:gd name="T5" fmla="*/ 306 h 987"/>
                  <a:gd name="T6" fmla="*/ 207 w 687"/>
                  <a:gd name="T7" fmla="*/ 312 h 987"/>
                  <a:gd name="T8" fmla="*/ 207 w 687"/>
                  <a:gd name="T9" fmla="*/ 365 h 987"/>
                  <a:gd name="T10" fmla="*/ 157 w 687"/>
                  <a:gd name="T11" fmla="*/ 423 h 987"/>
                  <a:gd name="T12" fmla="*/ 142 w 687"/>
                  <a:gd name="T13" fmla="*/ 434 h 987"/>
                  <a:gd name="T14" fmla="*/ 177 w 687"/>
                  <a:gd name="T15" fmla="*/ 462 h 987"/>
                  <a:gd name="T16" fmla="*/ 85 w 687"/>
                  <a:gd name="T17" fmla="*/ 546 h 987"/>
                  <a:gd name="T18" fmla="*/ 45 w 687"/>
                  <a:gd name="T19" fmla="*/ 597 h 987"/>
                  <a:gd name="T20" fmla="*/ 10 w 687"/>
                  <a:gd name="T21" fmla="*/ 623 h 987"/>
                  <a:gd name="T22" fmla="*/ 0 w 687"/>
                  <a:gd name="T23" fmla="*/ 746 h 987"/>
                  <a:gd name="T24" fmla="*/ 75 w 687"/>
                  <a:gd name="T25" fmla="*/ 734 h 987"/>
                  <a:gd name="T26" fmla="*/ 126 w 687"/>
                  <a:gd name="T27" fmla="*/ 759 h 987"/>
                  <a:gd name="T28" fmla="*/ 78 w 687"/>
                  <a:gd name="T29" fmla="*/ 830 h 987"/>
                  <a:gd name="T30" fmla="*/ 37 w 687"/>
                  <a:gd name="T31" fmla="*/ 807 h 987"/>
                  <a:gd name="T32" fmla="*/ 28 w 687"/>
                  <a:gd name="T33" fmla="*/ 849 h 987"/>
                  <a:gd name="T34" fmla="*/ 70 w 687"/>
                  <a:gd name="T35" fmla="*/ 893 h 987"/>
                  <a:gd name="T36" fmla="*/ 112 w 687"/>
                  <a:gd name="T37" fmla="*/ 873 h 987"/>
                  <a:gd name="T38" fmla="*/ 177 w 687"/>
                  <a:gd name="T39" fmla="*/ 879 h 987"/>
                  <a:gd name="T40" fmla="*/ 222 w 687"/>
                  <a:gd name="T41" fmla="*/ 956 h 987"/>
                  <a:gd name="T42" fmla="*/ 268 w 687"/>
                  <a:gd name="T43" fmla="*/ 974 h 987"/>
                  <a:gd name="T44" fmla="*/ 315 w 687"/>
                  <a:gd name="T45" fmla="*/ 897 h 987"/>
                  <a:gd name="T46" fmla="*/ 391 w 687"/>
                  <a:gd name="T47" fmla="*/ 873 h 987"/>
                  <a:gd name="T48" fmla="*/ 472 w 687"/>
                  <a:gd name="T49" fmla="*/ 806 h 987"/>
                  <a:gd name="T50" fmla="*/ 576 w 687"/>
                  <a:gd name="T51" fmla="*/ 732 h 987"/>
                  <a:gd name="T52" fmla="*/ 622 w 687"/>
                  <a:gd name="T53" fmla="*/ 710 h 987"/>
                  <a:gd name="T54" fmla="*/ 631 w 687"/>
                  <a:gd name="T55" fmla="*/ 635 h 987"/>
                  <a:gd name="T56" fmla="*/ 652 w 687"/>
                  <a:gd name="T57" fmla="*/ 611 h 987"/>
                  <a:gd name="T58" fmla="*/ 681 w 687"/>
                  <a:gd name="T59" fmla="*/ 605 h 987"/>
                  <a:gd name="T60" fmla="*/ 651 w 687"/>
                  <a:gd name="T61" fmla="*/ 531 h 987"/>
                  <a:gd name="T62" fmla="*/ 597 w 687"/>
                  <a:gd name="T63" fmla="*/ 492 h 987"/>
                  <a:gd name="T64" fmla="*/ 607 w 687"/>
                  <a:gd name="T65" fmla="*/ 431 h 987"/>
                  <a:gd name="T66" fmla="*/ 601 w 687"/>
                  <a:gd name="T67" fmla="*/ 395 h 987"/>
                  <a:gd name="T68" fmla="*/ 625 w 687"/>
                  <a:gd name="T69" fmla="*/ 314 h 987"/>
                  <a:gd name="T70" fmla="*/ 600 w 687"/>
                  <a:gd name="T71" fmla="*/ 270 h 987"/>
                  <a:gd name="T72" fmla="*/ 633 w 687"/>
                  <a:gd name="T73" fmla="*/ 252 h 987"/>
                  <a:gd name="T74" fmla="*/ 657 w 687"/>
                  <a:gd name="T75" fmla="*/ 266 h 987"/>
                  <a:gd name="T76" fmla="*/ 657 w 687"/>
                  <a:gd name="T77" fmla="*/ 210 h 987"/>
                  <a:gd name="T78" fmla="*/ 529 w 687"/>
                  <a:gd name="T79" fmla="*/ 177 h 987"/>
                  <a:gd name="T80" fmla="*/ 468 w 687"/>
                  <a:gd name="T81" fmla="*/ 174 h 987"/>
                  <a:gd name="T82" fmla="*/ 489 w 687"/>
                  <a:gd name="T83" fmla="*/ 147 h 987"/>
                  <a:gd name="T84" fmla="*/ 484 w 687"/>
                  <a:gd name="T85" fmla="*/ 90 h 987"/>
                  <a:gd name="T86" fmla="*/ 463 w 687"/>
                  <a:gd name="T87" fmla="*/ 72 h 987"/>
                  <a:gd name="T88" fmla="*/ 522 w 687"/>
                  <a:gd name="T89" fmla="*/ 36 h 987"/>
                  <a:gd name="T90" fmla="*/ 394 w 687"/>
                  <a:gd name="T91" fmla="*/ 44 h 987"/>
                  <a:gd name="T92" fmla="*/ 316 w 687"/>
                  <a:gd name="T93" fmla="*/ 62 h 987"/>
                  <a:gd name="T94" fmla="*/ 376 w 687"/>
                  <a:gd name="T95" fmla="*/ 84 h 987"/>
                  <a:gd name="T96" fmla="*/ 343 w 687"/>
                  <a:gd name="T97" fmla="*/ 155 h 987"/>
                  <a:gd name="T98" fmla="*/ 376 w 687"/>
                  <a:gd name="T99" fmla="*/ 189 h 987"/>
                  <a:gd name="T100" fmla="*/ 342 w 687"/>
                  <a:gd name="T101" fmla="*/ 189 h 987"/>
                  <a:gd name="T102" fmla="*/ 330 w 687"/>
                  <a:gd name="T103" fmla="*/ 243 h 987"/>
                  <a:gd name="T104" fmla="*/ 289 w 687"/>
                  <a:gd name="T105" fmla="*/ 281 h 987"/>
                  <a:gd name="T106" fmla="*/ 268 w 687"/>
                  <a:gd name="T107" fmla="*/ 219 h 987"/>
                  <a:gd name="T108" fmla="*/ 244 w 687"/>
                  <a:gd name="T109" fmla="*/ 221 h 987"/>
                  <a:gd name="T110" fmla="*/ 232 w 687"/>
                  <a:gd name="T111" fmla="*/ 171 h 987"/>
                  <a:gd name="T112" fmla="*/ 225 w 687"/>
                  <a:gd name="T113" fmla="*/ 141 h 987"/>
                  <a:gd name="T114" fmla="*/ 202 w 687"/>
                  <a:gd name="T115" fmla="*/ 137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7" h="987">
                    <a:moveTo>
                      <a:pt x="156" y="177"/>
                    </a:moveTo>
                    <a:lnTo>
                      <a:pt x="198" y="243"/>
                    </a:lnTo>
                    <a:lnTo>
                      <a:pt x="204" y="210"/>
                    </a:lnTo>
                    <a:lnTo>
                      <a:pt x="228" y="230"/>
                    </a:lnTo>
                    <a:lnTo>
                      <a:pt x="222" y="282"/>
                    </a:lnTo>
                    <a:lnTo>
                      <a:pt x="237" y="306"/>
                    </a:lnTo>
                    <a:lnTo>
                      <a:pt x="234" y="318"/>
                    </a:lnTo>
                    <a:lnTo>
                      <a:pt x="207" y="312"/>
                    </a:lnTo>
                    <a:lnTo>
                      <a:pt x="198" y="333"/>
                    </a:lnTo>
                    <a:lnTo>
                      <a:pt x="207" y="365"/>
                    </a:lnTo>
                    <a:lnTo>
                      <a:pt x="178" y="387"/>
                    </a:lnTo>
                    <a:lnTo>
                      <a:pt x="157" y="423"/>
                    </a:lnTo>
                    <a:lnTo>
                      <a:pt x="141" y="422"/>
                    </a:lnTo>
                    <a:lnTo>
                      <a:pt x="142" y="434"/>
                    </a:lnTo>
                    <a:lnTo>
                      <a:pt x="159" y="432"/>
                    </a:lnTo>
                    <a:lnTo>
                      <a:pt x="177" y="462"/>
                    </a:lnTo>
                    <a:lnTo>
                      <a:pt x="105" y="555"/>
                    </a:lnTo>
                    <a:lnTo>
                      <a:pt x="85" y="546"/>
                    </a:lnTo>
                    <a:lnTo>
                      <a:pt x="85" y="605"/>
                    </a:lnTo>
                    <a:lnTo>
                      <a:pt x="45" y="597"/>
                    </a:lnTo>
                    <a:lnTo>
                      <a:pt x="31" y="623"/>
                    </a:lnTo>
                    <a:lnTo>
                      <a:pt x="10" y="623"/>
                    </a:lnTo>
                    <a:lnTo>
                      <a:pt x="10" y="696"/>
                    </a:lnTo>
                    <a:lnTo>
                      <a:pt x="0" y="746"/>
                    </a:lnTo>
                    <a:lnTo>
                      <a:pt x="33" y="734"/>
                    </a:lnTo>
                    <a:lnTo>
                      <a:pt x="75" y="734"/>
                    </a:lnTo>
                    <a:lnTo>
                      <a:pt x="94" y="765"/>
                    </a:lnTo>
                    <a:lnTo>
                      <a:pt x="126" y="759"/>
                    </a:lnTo>
                    <a:lnTo>
                      <a:pt x="132" y="783"/>
                    </a:lnTo>
                    <a:lnTo>
                      <a:pt x="78" y="830"/>
                    </a:lnTo>
                    <a:lnTo>
                      <a:pt x="69" y="804"/>
                    </a:lnTo>
                    <a:lnTo>
                      <a:pt x="37" y="807"/>
                    </a:lnTo>
                    <a:lnTo>
                      <a:pt x="24" y="825"/>
                    </a:lnTo>
                    <a:lnTo>
                      <a:pt x="28" y="849"/>
                    </a:lnTo>
                    <a:lnTo>
                      <a:pt x="51" y="858"/>
                    </a:lnTo>
                    <a:lnTo>
                      <a:pt x="70" y="893"/>
                    </a:lnTo>
                    <a:lnTo>
                      <a:pt x="106" y="852"/>
                    </a:lnTo>
                    <a:lnTo>
                      <a:pt x="112" y="873"/>
                    </a:lnTo>
                    <a:lnTo>
                      <a:pt x="124" y="858"/>
                    </a:lnTo>
                    <a:lnTo>
                      <a:pt x="177" y="879"/>
                    </a:lnTo>
                    <a:lnTo>
                      <a:pt x="207" y="903"/>
                    </a:lnTo>
                    <a:lnTo>
                      <a:pt x="222" y="956"/>
                    </a:lnTo>
                    <a:lnTo>
                      <a:pt x="223" y="987"/>
                    </a:lnTo>
                    <a:lnTo>
                      <a:pt x="268" y="974"/>
                    </a:lnTo>
                    <a:lnTo>
                      <a:pt x="273" y="936"/>
                    </a:lnTo>
                    <a:lnTo>
                      <a:pt x="315" y="897"/>
                    </a:lnTo>
                    <a:lnTo>
                      <a:pt x="351" y="903"/>
                    </a:lnTo>
                    <a:lnTo>
                      <a:pt x="391" y="873"/>
                    </a:lnTo>
                    <a:lnTo>
                      <a:pt x="417" y="828"/>
                    </a:lnTo>
                    <a:lnTo>
                      <a:pt x="472" y="806"/>
                    </a:lnTo>
                    <a:lnTo>
                      <a:pt x="484" y="816"/>
                    </a:lnTo>
                    <a:lnTo>
                      <a:pt x="576" y="732"/>
                    </a:lnTo>
                    <a:lnTo>
                      <a:pt x="595" y="735"/>
                    </a:lnTo>
                    <a:lnTo>
                      <a:pt x="622" y="710"/>
                    </a:lnTo>
                    <a:lnTo>
                      <a:pt x="615" y="635"/>
                    </a:lnTo>
                    <a:lnTo>
                      <a:pt x="631" y="635"/>
                    </a:lnTo>
                    <a:lnTo>
                      <a:pt x="624" y="606"/>
                    </a:lnTo>
                    <a:lnTo>
                      <a:pt x="652" y="611"/>
                    </a:lnTo>
                    <a:lnTo>
                      <a:pt x="657" y="641"/>
                    </a:lnTo>
                    <a:lnTo>
                      <a:pt x="681" y="605"/>
                    </a:lnTo>
                    <a:lnTo>
                      <a:pt x="687" y="542"/>
                    </a:lnTo>
                    <a:lnTo>
                      <a:pt x="651" y="531"/>
                    </a:lnTo>
                    <a:lnTo>
                      <a:pt x="655" y="504"/>
                    </a:lnTo>
                    <a:lnTo>
                      <a:pt x="597" y="492"/>
                    </a:lnTo>
                    <a:lnTo>
                      <a:pt x="595" y="471"/>
                    </a:lnTo>
                    <a:lnTo>
                      <a:pt x="607" y="431"/>
                    </a:lnTo>
                    <a:lnTo>
                      <a:pt x="589" y="407"/>
                    </a:lnTo>
                    <a:lnTo>
                      <a:pt x="601" y="395"/>
                    </a:lnTo>
                    <a:lnTo>
                      <a:pt x="621" y="332"/>
                    </a:lnTo>
                    <a:lnTo>
                      <a:pt x="625" y="314"/>
                    </a:lnTo>
                    <a:lnTo>
                      <a:pt x="637" y="306"/>
                    </a:lnTo>
                    <a:lnTo>
                      <a:pt x="600" y="270"/>
                    </a:lnTo>
                    <a:lnTo>
                      <a:pt x="616" y="248"/>
                    </a:lnTo>
                    <a:lnTo>
                      <a:pt x="633" y="252"/>
                    </a:lnTo>
                    <a:lnTo>
                      <a:pt x="628" y="267"/>
                    </a:lnTo>
                    <a:lnTo>
                      <a:pt x="657" y="266"/>
                    </a:lnTo>
                    <a:lnTo>
                      <a:pt x="669" y="249"/>
                    </a:lnTo>
                    <a:lnTo>
                      <a:pt x="657" y="210"/>
                    </a:lnTo>
                    <a:lnTo>
                      <a:pt x="583" y="206"/>
                    </a:lnTo>
                    <a:lnTo>
                      <a:pt x="529" y="177"/>
                    </a:lnTo>
                    <a:lnTo>
                      <a:pt x="469" y="186"/>
                    </a:lnTo>
                    <a:lnTo>
                      <a:pt x="468" y="174"/>
                    </a:lnTo>
                    <a:lnTo>
                      <a:pt x="487" y="168"/>
                    </a:lnTo>
                    <a:lnTo>
                      <a:pt x="489" y="147"/>
                    </a:lnTo>
                    <a:lnTo>
                      <a:pt x="492" y="134"/>
                    </a:lnTo>
                    <a:lnTo>
                      <a:pt x="484" y="90"/>
                    </a:lnTo>
                    <a:lnTo>
                      <a:pt x="469" y="89"/>
                    </a:lnTo>
                    <a:lnTo>
                      <a:pt x="463" y="72"/>
                    </a:lnTo>
                    <a:lnTo>
                      <a:pt x="487" y="72"/>
                    </a:lnTo>
                    <a:lnTo>
                      <a:pt x="522" y="36"/>
                    </a:lnTo>
                    <a:lnTo>
                      <a:pt x="501" y="0"/>
                    </a:lnTo>
                    <a:lnTo>
                      <a:pt x="394" y="44"/>
                    </a:lnTo>
                    <a:lnTo>
                      <a:pt x="292" y="50"/>
                    </a:lnTo>
                    <a:lnTo>
                      <a:pt x="316" y="62"/>
                    </a:lnTo>
                    <a:lnTo>
                      <a:pt x="316" y="120"/>
                    </a:lnTo>
                    <a:lnTo>
                      <a:pt x="376" y="84"/>
                    </a:lnTo>
                    <a:lnTo>
                      <a:pt x="399" y="120"/>
                    </a:lnTo>
                    <a:lnTo>
                      <a:pt x="343" y="155"/>
                    </a:lnTo>
                    <a:lnTo>
                      <a:pt x="358" y="173"/>
                    </a:lnTo>
                    <a:lnTo>
                      <a:pt x="376" y="189"/>
                    </a:lnTo>
                    <a:lnTo>
                      <a:pt x="351" y="203"/>
                    </a:lnTo>
                    <a:lnTo>
                      <a:pt x="342" y="189"/>
                    </a:lnTo>
                    <a:lnTo>
                      <a:pt x="324" y="207"/>
                    </a:lnTo>
                    <a:lnTo>
                      <a:pt x="330" y="243"/>
                    </a:lnTo>
                    <a:lnTo>
                      <a:pt x="301" y="281"/>
                    </a:lnTo>
                    <a:lnTo>
                      <a:pt x="289" y="281"/>
                    </a:lnTo>
                    <a:lnTo>
                      <a:pt x="291" y="236"/>
                    </a:lnTo>
                    <a:lnTo>
                      <a:pt x="268" y="219"/>
                    </a:lnTo>
                    <a:lnTo>
                      <a:pt x="253" y="228"/>
                    </a:lnTo>
                    <a:lnTo>
                      <a:pt x="244" y="221"/>
                    </a:lnTo>
                    <a:lnTo>
                      <a:pt x="249" y="206"/>
                    </a:lnTo>
                    <a:lnTo>
                      <a:pt x="232" y="171"/>
                    </a:lnTo>
                    <a:lnTo>
                      <a:pt x="241" y="161"/>
                    </a:lnTo>
                    <a:lnTo>
                      <a:pt x="225" y="141"/>
                    </a:lnTo>
                    <a:lnTo>
                      <a:pt x="211" y="144"/>
                    </a:lnTo>
                    <a:lnTo>
                      <a:pt x="202" y="137"/>
                    </a:lnTo>
                    <a:lnTo>
                      <a:pt x="156" y="177"/>
                    </a:lnTo>
                    <a:close/>
                  </a:path>
                </a:pathLst>
              </a:custGeom>
              <a:solidFill>
                <a:srgbClr val="D2E6FE"/>
              </a:solid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31" name="Freeform 6176">
                <a:extLst>
                  <a:ext uri="{FF2B5EF4-FFF2-40B4-BE49-F238E27FC236}">
                    <a16:creationId xmlns:a16="http://schemas.microsoft.com/office/drawing/2014/main" id="{A81A91AF-9BA9-98FD-C355-1090CA2CBCF9}"/>
                  </a:ext>
                </a:extLst>
              </p:cNvPr>
              <p:cNvSpPr>
                <a:spLocks/>
              </p:cNvSpPr>
              <p:nvPr/>
            </p:nvSpPr>
            <p:spPr bwMode="gray">
              <a:xfrm>
                <a:off x="1474953" y="3557641"/>
                <a:ext cx="2035405" cy="1874188"/>
              </a:xfrm>
              <a:custGeom>
                <a:avLst/>
                <a:gdLst>
                  <a:gd name="T0" fmla="*/ 27 w 1879"/>
                  <a:gd name="T1" fmla="*/ 451 h 1758"/>
                  <a:gd name="T2" fmla="*/ 225 w 1879"/>
                  <a:gd name="T3" fmla="*/ 416 h 1758"/>
                  <a:gd name="T4" fmla="*/ 277 w 1879"/>
                  <a:gd name="T5" fmla="*/ 496 h 1758"/>
                  <a:gd name="T6" fmla="*/ 205 w 1879"/>
                  <a:gd name="T7" fmla="*/ 598 h 1758"/>
                  <a:gd name="T8" fmla="*/ 429 w 1879"/>
                  <a:gd name="T9" fmla="*/ 590 h 1758"/>
                  <a:gd name="T10" fmla="*/ 401 w 1879"/>
                  <a:gd name="T11" fmla="*/ 678 h 1758"/>
                  <a:gd name="T12" fmla="*/ 401 w 1879"/>
                  <a:gd name="T13" fmla="*/ 768 h 1758"/>
                  <a:gd name="T14" fmla="*/ 585 w 1879"/>
                  <a:gd name="T15" fmla="*/ 798 h 1758"/>
                  <a:gd name="T16" fmla="*/ 561 w 1879"/>
                  <a:gd name="T17" fmla="*/ 842 h 1758"/>
                  <a:gd name="T18" fmla="*/ 555 w 1879"/>
                  <a:gd name="T19" fmla="*/ 906 h 1758"/>
                  <a:gd name="T20" fmla="*/ 525 w 1879"/>
                  <a:gd name="T21" fmla="*/ 1064 h 1758"/>
                  <a:gd name="T22" fmla="*/ 615 w 1879"/>
                  <a:gd name="T23" fmla="*/ 1132 h 1758"/>
                  <a:gd name="T24" fmla="*/ 555 w 1879"/>
                  <a:gd name="T25" fmla="*/ 1200 h 1758"/>
                  <a:gd name="T26" fmla="*/ 525 w 1879"/>
                  <a:gd name="T27" fmla="*/ 1326 h 1758"/>
                  <a:gd name="T28" fmla="*/ 453 w 1879"/>
                  <a:gd name="T29" fmla="*/ 1492 h 1758"/>
                  <a:gd name="T30" fmla="*/ 409 w 1879"/>
                  <a:gd name="T31" fmla="*/ 1568 h 1758"/>
                  <a:gd name="T32" fmla="*/ 425 w 1879"/>
                  <a:gd name="T33" fmla="*/ 1686 h 1758"/>
                  <a:gd name="T34" fmla="*/ 529 w 1879"/>
                  <a:gd name="T35" fmla="*/ 1694 h 1758"/>
                  <a:gd name="T36" fmla="*/ 743 w 1879"/>
                  <a:gd name="T37" fmla="*/ 1660 h 1758"/>
                  <a:gd name="T38" fmla="*/ 879 w 1879"/>
                  <a:gd name="T39" fmla="*/ 1614 h 1758"/>
                  <a:gd name="T40" fmla="*/ 1215 w 1879"/>
                  <a:gd name="T41" fmla="*/ 1500 h 1758"/>
                  <a:gd name="T42" fmla="*/ 1363 w 1879"/>
                  <a:gd name="T43" fmla="*/ 1344 h 1758"/>
                  <a:gd name="T44" fmla="*/ 1723 w 1879"/>
                  <a:gd name="T45" fmla="*/ 1360 h 1758"/>
                  <a:gd name="T46" fmla="*/ 1811 w 1879"/>
                  <a:gd name="T47" fmla="*/ 1146 h 1758"/>
                  <a:gd name="T48" fmla="*/ 1857 w 1879"/>
                  <a:gd name="T49" fmla="*/ 1026 h 1758"/>
                  <a:gd name="T50" fmla="*/ 1663 w 1879"/>
                  <a:gd name="T51" fmla="*/ 1012 h 1758"/>
                  <a:gd name="T52" fmla="*/ 1529 w 1879"/>
                  <a:gd name="T53" fmla="*/ 1010 h 1758"/>
                  <a:gd name="T54" fmla="*/ 1263 w 1879"/>
                  <a:gd name="T55" fmla="*/ 908 h 1758"/>
                  <a:gd name="T56" fmla="*/ 1205 w 1879"/>
                  <a:gd name="T57" fmla="*/ 762 h 1758"/>
                  <a:gd name="T58" fmla="*/ 1277 w 1879"/>
                  <a:gd name="T59" fmla="*/ 650 h 1758"/>
                  <a:gd name="T60" fmla="*/ 1187 w 1879"/>
                  <a:gd name="T61" fmla="*/ 506 h 1758"/>
                  <a:gd name="T62" fmla="*/ 1117 w 1879"/>
                  <a:gd name="T63" fmla="*/ 160 h 1758"/>
                  <a:gd name="T64" fmla="*/ 1065 w 1879"/>
                  <a:gd name="T65" fmla="*/ 138 h 1758"/>
                  <a:gd name="T66" fmla="*/ 893 w 1879"/>
                  <a:gd name="T67" fmla="*/ 204 h 1758"/>
                  <a:gd name="T68" fmla="*/ 955 w 1879"/>
                  <a:gd name="T69" fmla="*/ 314 h 1758"/>
                  <a:gd name="T70" fmla="*/ 861 w 1879"/>
                  <a:gd name="T71" fmla="*/ 342 h 1758"/>
                  <a:gd name="T72" fmla="*/ 785 w 1879"/>
                  <a:gd name="T73" fmla="*/ 352 h 1758"/>
                  <a:gd name="T74" fmla="*/ 675 w 1879"/>
                  <a:gd name="T75" fmla="*/ 424 h 1758"/>
                  <a:gd name="T76" fmla="*/ 641 w 1879"/>
                  <a:gd name="T77" fmla="*/ 396 h 1758"/>
                  <a:gd name="T78" fmla="*/ 705 w 1879"/>
                  <a:gd name="T79" fmla="*/ 324 h 1758"/>
                  <a:gd name="T80" fmla="*/ 727 w 1879"/>
                  <a:gd name="T81" fmla="*/ 276 h 1758"/>
                  <a:gd name="T82" fmla="*/ 623 w 1879"/>
                  <a:gd name="T83" fmla="*/ 282 h 1758"/>
                  <a:gd name="T84" fmla="*/ 671 w 1879"/>
                  <a:gd name="T85" fmla="*/ 184 h 1758"/>
                  <a:gd name="T86" fmla="*/ 739 w 1879"/>
                  <a:gd name="T87" fmla="*/ 114 h 1758"/>
                  <a:gd name="T88" fmla="*/ 837 w 1879"/>
                  <a:gd name="T89" fmla="*/ 26 h 1758"/>
                  <a:gd name="T90" fmla="*/ 743 w 1879"/>
                  <a:gd name="T91" fmla="*/ 76 h 1758"/>
                  <a:gd name="T92" fmla="*/ 553 w 1879"/>
                  <a:gd name="T93" fmla="*/ 98 h 1758"/>
                  <a:gd name="T94" fmla="*/ 365 w 1879"/>
                  <a:gd name="T95" fmla="*/ 90 h 1758"/>
                  <a:gd name="T96" fmla="*/ 279 w 1879"/>
                  <a:gd name="T97" fmla="*/ 192 h 1758"/>
                  <a:gd name="T98" fmla="*/ 171 w 1879"/>
                  <a:gd name="T99" fmla="*/ 274 h 1758"/>
                  <a:gd name="T100" fmla="*/ 29 w 1879"/>
                  <a:gd name="T101" fmla="*/ 310 h 1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79" h="1758">
                    <a:moveTo>
                      <a:pt x="29" y="310"/>
                    </a:moveTo>
                    <a:lnTo>
                      <a:pt x="0" y="323"/>
                    </a:lnTo>
                    <a:lnTo>
                      <a:pt x="49" y="368"/>
                    </a:lnTo>
                    <a:lnTo>
                      <a:pt x="27" y="451"/>
                    </a:lnTo>
                    <a:lnTo>
                      <a:pt x="111" y="412"/>
                    </a:lnTo>
                    <a:lnTo>
                      <a:pt x="215" y="390"/>
                    </a:lnTo>
                    <a:lnTo>
                      <a:pt x="207" y="420"/>
                    </a:lnTo>
                    <a:lnTo>
                      <a:pt x="225" y="416"/>
                    </a:lnTo>
                    <a:lnTo>
                      <a:pt x="269" y="440"/>
                    </a:lnTo>
                    <a:lnTo>
                      <a:pt x="277" y="466"/>
                    </a:lnTo>
                    <a:lnTo>
                      <a:pt x="259" y="470"/>
                    </a:lnTo>
                    <a:lnTo>
                      <a:pt x="277" y="496"/>
                    </a:lnTo>
                    <a:lnTo>
                      <a:pt x="255" y="506"/>
                    </a:lnTo>
                    <a:lnTo>
                      <a:pt x="255" y="526"/>
                    </a:lnTo>
                    <a:lnTo>
                      <a:pt x="205" y="550"/>
                    </a:lnTo>
                    <a:lnTo>
                      <a:pt x="205" y="598"/>
                    </a:lnTo>
                    <a:lnTo>
                      <a:pt x="219" y="602"/>
                    </a:lnTo>
                    <a:lnTo>
                      <a:pt x="223" y="640"/>
                    </a:lnTo>
                    <a:lnTo>
                      <a:pt x="329" y="634"/>
                    </a:lnTo>
                    <a:lnTo>
                      <a:pt x="429" y="590"/>
                    </a:lnTo>
                    <a:lnTo>
                      <a:pt x="453" y="624"/>
                    </a:lnTo>
                    <a:lnTo>
                      <a:pt x="415" y="662"/>
                    </a:lnTo>
                    <a:lnTo>
                      <a:pt x="393" y="660"/>
                    </a:lnTo>
                    <a:lnTo>
                      <a:pt x="401" y="678"/>
                    </a:lnTo>
                    <a:lnTo>
                      <a:pt x="417" y="684"/>
                    </a:lnTo>
                    <a:lnTo>
                      <a:pt x="421" y="724"/>
                    </a:lnTo>
                    <a:lnTo>
                      <a:pt x="413" y="762"/>
                    </a:lnTo>
                    <a:lnTo>
                      <a:pt x="401" y="768"/>
                    </a:lnTo>
                    <a:lnTo>
                      <a:pt x="401" y="780"/>
                    </a:lnTo>
                    <a:lnTo>
                      <a:pt x="459" y="768"/>
                    </a:lnTo>
                    <a:lnTo>
                      <a:pt x="513" y="798"/>
                    </a:lnTo>
                    <a:lnTo>
                      <a:pt x="585" y="798"/>
                    </a:lnTo>
                    <a:lnTo>
                      <a:pt x="599" y="840"/>
                    </a:lnTo>
                    <a:lnTo>
                      <a:pt x="585" y="860"/>
                    </a:lnTo>
                    <a:lnTo>
                      <a:pt x="557" y="856"/>
                    </a:lnTo>
                    <a:lnTo>
                      <a:pt x="561" y="842"/>
                    </a:lnTo>
                    <a:lnTo>
                      <a:pt x="549" y="836"/>
                    </a:lnTo>
                    <a:lnTo>
                      <a:pt x="527" y="862"/>
                    </a:lnTo>
                    <a:lnTo>
                      <a:pt x="567" y="896"/>
                    </a:lnTo>
                    <a:lnTo>
                      <a:pt x="555" y="906"/>
                    </a:lnTo>
                    <a:lnTo>
                      <a:pt x="529" y="990"/>
                    </a:lnTo>
                    <a:lnTo>
                      <a:pt x="517" y="998"/>
                    </a:lnTo>
                    <a:lnTo>
                      <a:pt x="539" y="1018"/>
                    </a:lnTo>
                    <a:lnTo>
                      <a:pt x="525" y="1064"/>
                    </a:lnTo>
                    <a:lnTo>
                      <a:pt x="529" y="1082"/>
                    </a:lnTo>
                    <a:lnTo>
                      <a:pt x="585" y="1094"/>
                    </a:lnTo>
                    <a:lnTo>
                      <a:pt x="581" y="1120"/>
                    </a:lnTo>
                    <a:lnTo>
                      <a:pt x="615" y="1132"/>
                    </a:lnTo>
                    <a:lnTo>
                      <a:pt x="609" y="1192"/>
                    </a:lnTo>
                    <a:lnTo>
                      <a:pt x="589" y="1230"/>
                    </a:lnTo>
                    <a:lnTo>
                      <a:pt x="583" y="1204"/>
                    </a:lnTo>
                    <a:lnTo>
                      <a:pt x="555" y="1200"/>
                    </a:lnTo>
                    <a:lnTo>
                      <a:pt x="559" y="1224"/>
                    </a:lnTo>
                    <a:lnTo>
                      <a:pt x="543" y="1228"/>
                    </a:lnTo>
                    <a:lnTo>
                      <a:pt x="551" y="1296"/>
                    </a:lnTo>
                    <a:lnTo>
                      <a:pt x="525" y="1326"/>
                    </a:lnTo>
                    <a:lnTo>
                      <a:pt x="507" y="1322"/>
                    </a:lnTo>
                    <a:lnTo>
                      <a:pt x="457" y="1370"/>
                    </a:lnTo>
                    <a:lnTo>
                      <a:pt x="471" y="1432"/>
                    </a:lnTo>
                    <a:lnTo>
                      <a:pt x="453" y="1492"/>
                    </a:lnTo>
                    <a:lnTo>
                      <a:pt x="439" y="1494"/>
                    </a:lnTo>
                    <a:lnTo>
                      <a:pt x="447" y="1534"/>
                    </a:lnTo>
                    <a:lnTo>
                      <a:pt x="439" y="1568"/>
                    </a:lnTo>
                    <a:lnTo>
                      <a:pt x="409" y="1568"/>
                    </a:lnTo>
                    <a:lnTo>
                      <a:pt x="405" y="1588"/>
                    </a:lnTo>
                    <a:lnTo>
                      <a:pt x="419" y="1614"/>
                    </a:lnTo>
                    <a:lnTo>
                      <a:pt x="399" y="1670"/>
                    </a:lnTo>
                    <a:lnTo>
                      <a:pt x="425" y="1686"/>
                    </a:lnTo>
                    <a:lnTo>
                      <a:pt x="437" y="1758"/>
                    </a:lnTo>
                    <a:lnTo>
                      <a:pt x="475" y="1756"/>
                    </a:lnTo>
                    <a:lnTo>
                      <a:pt x="487" y="1700"/>
                    </a:lnTo>
                    <a:lnTo>
                      <a:pt x="529" y="1694"/>
                    </a:lnTo>
                    <a:lnTo>
                      <a:pt x="549" y="1678"/>
                    </a:lnTo>
                    <a:lnTo>
                      <a:pt x="539" y="1726"/>
                    </a:lnTo>
                    <a:lnTo>
                      <a:pt x="649" y="1678"/>
                    </a:lnTo>
                    <a:lnTo>
                      <a:pt x="743" y="1660"/>
                    </a:lnTo>
                    <a:lnTo>
                      <a:pt x="751" y="1690"/>
                    </a:lnTo>
                    <a:lnTo>
                      <a:pt x="825" y="1670"/>
                    </a:lnTo>
                    <a:lnTo>
                      <a:pt x="797" y="1630"/>
                    </a:lnTo>
                    <a:lnTo>
                      <a:pt x="879" y="1614"/>
                    </a:lnTo>
                    <a:lnTo>
                      <a:pt x="905" y="1562"/>
                    </a:lnTo>
                    <a:lnTo>
                      <a:pt x="1017" y="1610"/>
                    </a:lnTo>
                    <a:lnTo>
                      <a:pt x="1177" y="1496"/>
                    </a:lnTo>
                    <a:lnTo>
                      <a:pt x="1215" y="1500"/>
                    </a:lnTo>
                    <a:lnTo>
                      <a:pt x="1291" y="1442"/>
                    </a:lnTo>
                    <a:lnTo>
                      <a:pt x="1315" y="1430"/>
                    </a:lnTo>
                    <a:lnTo>
                      <a:pt x="1303" y="1398"/>
                    </a:lnTo>
                    <a:lnTo>
                      <a:pt x="1363" y="1344"/>
                    </a:lnTo>
                    <a:lnTo>
                      <a:pt x="1423" y="1366"/>
                    </a:lnTo>
                    <a:lnTo>
                      <a:pt x="1559" y="1420"/>
                    </a:lnTo>
                    <a:lnTo>
                      <a:pt x="1657" y="1398"/>
                    </a:lnTo>
                    <a:lnTo>
                      <a:pt x="1723" y="1360"/>
                    </a:lnTo>
                    <a:lnTo>
                      <a:pt x="1773" y="1316"/>
                    </a:lnTo>
                    <a:lnTo>
                      <a:pt x="1787" y="1224"/>
                    </a:lnTo>
                    <a:lnTo>
                      <a:pt x="1825" y="1184"/>
                    </a:lnTo>
                    <a:lnTo>
                      <a:pt x="1811" y="1146"/>
                    </a:lnTo>
                    <a:lnTo>
                      <a:pt x="1809" y="1114"/>
                    </a:lnTo>
                    <a:lnTo>
                      <a:pt x="1869" y="1122"/>
                    </a:lnTo>
                    <a:lnTo>
                      <a:pt x="1879" y="1092"/>
                    </a:lnTo>
                    <a:lnTo>
                      <a:pt x="1857" y="1026"/>
                    </a:lnTo>
                    <a:lnTo>
                      <a:pt x="1869" y="978"/>
                    </a:lnTo>
                    <a:lnTo>
                      <a:pt x="1805" y="984"/>
                    </a:lnTo>
                    <a:lnTo>
                      <a:pt x="1769" y="950"/>
                    </a:lnTo>
                    <a:lnTo>
                      <a:pt x="1663" y="1012"/>
                    </a:lnTo>
                    <a:lnTo>
                      <a:pt x="1625" y="990"/>
                    </a:lnTo>
                    <a:lnTo>
                      <a:pt x="1605" y="998"/>
                    </a:lnTo>
                    <a:lnTo>
                      <a:pt x="1567" y="996"/>
                    </a:lnTo>
                    <a:lnTo>
                      <a:pt x="1529" y="1010"/>
                    </a:lnTo>
                    <a:lnTo>
                      <a:pt x="1453" y="960"/>
                    </a:lnTo>
                    <a:lnTo>
                      <a:pt x="1369" y="960"/>
                    </a:lnTo>
                    <a:lnTo>
                      <a:pt x="1325" y="984"/>
                    </a:lnTo>
                    <a:lnTo>
                      <a:pt x="1263" y="908"/>
                    </a:lnTo>
                    <a:lnTo>
                      <a:pt x="1197" y="868"/>
                    </a:lnTo>
                    <a:lnTo>
                      <a:pt x="1175" y="792"/>
                    </a:lnTo>
                    <a:lnTo>
                      <a:pt x="1195" y="780"/>
                    </a:lnTo>
                    <a:lnTo>
                      <a:pt x="1205" y="762"/>
                    </a:lnTo>
                    <a:lnTo>
                      <a:pt x="1187" y="756"/>
                    </a:lnTo>
                    <a:lnTo>
                      <a:pt x="1203" y="716"/>
                    </a:lnTo>
                    <a:lnTo>
                      <a:pt x="1243" y="708"/>
                    </a:lnTo>
                    <a:lnTo>
                      <a:pt x="1277" y="650"/>
                    </a:lnTo>
                    <a:lnTo>
                      <a:pt x="1291" y="582"/>
                    </a:lnTo>
                    <a:lnTo>
                      <a:pt x="1223" y="580"/>
                    </a:lnTo>
                    <a:lnTo>
                      <a:pt x="1219" y="548"/>
                    </a:lnTo>
                    <a:lnTo>
                      <a:pt x="1187" y="506"/>
                    </a:lnTo>
                    <a:lnTo>
                      <a:pt x="1203" y="438"/>
                    </a:lnTo>
                    <a:lnTo>
                      <a:pt x="1189" y="388"/>
                    </a:lnTo>
                    <a:lnTo>
                      <a:pt x="1217" y="358"/>
                    </a:lnTo>
                    <a:lnTo>
                      <a:pt x="1117" y="160"/>
                    </a:lnTo>
                    <a:lnTo>
                      <a:pt x="1127" y="150"/>
                    </a:lnTo>
                    <a:lnTo>
                      <a:pt x="1109" y="126"/>
                    </a:lnTo>
                    <a:lnTo>
                      <a:pt x="1087" y="152"/>
                    </a:lnTo>
                    <a:lnTo>
                      <a:pt x="1065" y="138"/>
                    </a:lnTo>
                    <a:lnTo>
                      <a:pt x="1033" y="150"/>
                    </a:lnTo>
                    <a:lnTo>
                      <a:pt x="973" y="96"/>
                    </a:lnTo>
                    <a:lnTo>
                      <a:pt x="851" y="126"/>
                    </a:lnTo>
                    <a:lnTo>
                      <a:pt x="893" y="204"/>
                    </a:lnTo>
                    <a:lnTo>
                      <a:pt x="915" y="204"/>
                    </a:lnTo>
                    <a:lnTo>
                      <a:pt x="931" y="252"/>
                    </a:lnTo>
                    <a:lnTo>
                      <a:pt x="959" y="268"/>
                    </a:lnTo>
                    <a:lnTo>
                      <a:pt x="955" y="314"/>
                    </a:lnTo>
                    <a:lnTo>
                      <a:pt x="937" y="310"/>
                    </a:lnTo>
                    <a:lnTo>
                      <a:pt x="925" y="338"/>
                    </a:lnTo>
                    <a:lnTo>
                      <a:pt x="891" y="330"/>
                    </a:lnTo>
                    <a:lnTo>
                      <a:pt x="861" y="342"/>
                    </a:lnTo>
                    <a:lnTo>
                      <a:pt x="843" y="312"/>
                    </a:lnTo>
                    <a:lnTo>
                      <a:pt x="817" y="300"/>
                    </a:lnTo>
                    <a:lnTo>
                      <a:pt x="775" y="324"/>
                    </a:lnTo>
                    <a:lnTo>
                      <a:pt x="785" y="352"/>
                    </a:lnTo>
                    <a:lnTo>
                      <a:pt x="719" y="408"/>
                    </a:lnTo>
                    <a:lnTo>
                      <a:pt x="725" y="450"/>
                    </a:lnTo>
                    <a:lnTo>
                      <a:pt x="689" y="472"/>
                    </a:lnTo>
                    <a:lnTo>
                      <a:pt x="675" y="424"/>
                    </a:lnTo>
                    <a:lnTo>
                      <a:pt x="623" y="438"/>
                    </a:lnTo>
                    <a:lnTo>
                      <a:pt x="605" y="384"/>
                    </a:lnTo>
                    <a:lnTo>
                      <a:pt x="621" y="380"/>
                    </a:lnTo>
                    <a:lnTo>
                      <a:pt x="641" y="396"/>
                    </a:lnTo>
                    <a:lnTo>
                      <a:pt x="683" y="386"/>
                    </a:lnTo>
                    <a:lnTo>
                      <a:pt x="667" y="364"/>
                    </a:lnTo>
                    <a:lnTo>
                      <a:pt x="689" y="336"/>
                    </a:lnTo>
                    <a:lnTo>
                      <a:pt x="705" y="324"/>
                    </a:lnTo>
                    <a:lnTo>
                      <a:pt x="727" y="336"/>
                    </a:lnTo>
                    <a:lnTo>
                      <a:pt x="753" y="306"/>
                    </a:lnTo>
                    <a:lnTo>
                      <a:pt x="729" y="294"/>
                    </a:lnTo>
                    <a:lnTo>
                      <a:pt x="727" y="276"/>
                    </a:lnTo>
                    <a:lnTo>
                      <a:pt x="703" y="282"/>
                    </a:lnTo>
                    <a:lnTo>
                      <a:pt x="657" y="328"/>
                    </a:lnTo>
                    <a:lnTo>
                      <a:pt x="629" y="332"/>
                    </a:lnTo>
                    <a:lnTo>
                      <a:pt x="623" y="282"/>
                    </a:lnTo>
                    <a:lnTo>
                      <a:pt x="587" y="262"/>
                    </a:lnTo>
                    <a:lnTo>
                      <a:pt x="573" y="212"/>
                    </a:lnTo>
                    <a:lnTo>
                      <a:pt x="613" y="214"/>
                    </a:lnTo>
                    <a:lnTo>
                      <a:pt x="671" y="184"/>
                    </a:lnTo>
                    <a:lnTo>
                      <a:pt x="665" y="158"/>
                    </a:lnTo>
                    <a:lnTo>
                      <a:pt x="691" y="142"/>
                    </a:lnTo>
                    <a:lnTo>
                      <a:pt x="719" y="142"/>
                    </a:lnTo>
                    <a:lnTo>
                      <a:pt x="739" y="114"/>
                    </a:lnTo>
                    <a:lnTo>
                      <a:pt x="779" y="92"/>
                    </a:lnTo>
                    <a:lnTo>
                      <a:pt x="821" y="74"/>
                    </a:lnTo>
                    <a:lnTo>
                      <a:pt x="819" y="48"/>
                    </a:lnTo>
                    <a:lnTo>
                      <a:pt x="837" y="26"/>
                    </a:lnTo>
                    <a:lnTo>
                      <a:pt x="813" y="0"/>
                    </a:lnTo>
                    <a:lnTo>
                      <a:pt x="787" y="36"/>
                    </a:lnTo>
                    <a:lnTo>
                      <a:pt x="817" y="48"/>
                    </a:lnTo>
                    <a:lnTo>
                      <a:pt x="743" y="76"/>
                    </a:lnTo>
                    <a:lnTo>
                      <a:pt x="619" y="58"/>
                    </a:lnTo>
                    <a:lnTo>
                      <a:pt x="609" y="34"/>
                    </a:lnTo>
                    <a:lnTo>
                      <a:pt x="595" y="60"/>
                    </a:lnTo>
                    <a:lnTo>
                      <a:pt x="553" y="98"/>
                    </a:lnTo>
                    <a:lnTo>
                      <a:pt x="477" y="106"/>
                    </a:lnTo>
                    <a:lnTo>
                      <a:pt x="419" y="102"/>
                    </a:lnTo>
                    <a:lnTo>
                      <a:pt x="417" y="90"/>
                    </a:lnTo>
                    <a:lnTo>
                      <a:pt x="365" y="90"/>
                    </a:lnTo>
                    <a:lnTo>
                      <a:pt x="369" y="120"/>
                    </a:lnTo>
                    <a:lnTo>
                      <a:pt x="345" y="138"/>
                    </a:lnTo>
                    <a:lnTo>
                      <a:pt x="359" y="170"/>
                    </a:lnTo>
                    <a:lnTo>
                      <a:pt x="279" y="192"/>
                    </a:lnTo>
                    <a:lnTo>
                      <a:pt x="275" y="172"/>
                    </a:lnTo>
                    <a:lnTo>
                      <a:pt x="249" y="184"/>
                    </a:lnTo>
                    <a:lnTo>
                      <a:pt x="207" y="266"/>
                    </a:lnTo>
                    <a:lnTo>
                      <a:pt x="171" y="274"/>
                    </a:lnTo>
                    <a:lnTo>
                      <a:pt x="163" y="298"/>
                    </a:lnTo>
                    <a:lnTo>
                      <a:pt x="115" y="276"/>
                    </a:lnTo>
                    <a:lnTo>
                      <a:pt x="51" y="338"/>
                    </a:lnTo>
                    <a:lnTo>
                      <a:pt x="29" y="310"/>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32" name="Freeform 6177">
                <a:extLst>
                  <a:ext uri="{FF2B5EF4-FFF2-40B4-BE49-F238E27FC236}">
                    <a16:creationId xmlns:a16="http://schemas.microsoft.com/office/drawing/2014/main" id="{54FA9211-C91E-81A0-80FE-12F214D9873F}"/>
                  </a:ext>
                </a:extLst>
              </p:cNvPr>
              <p:cNvSpPr>
                <a:spLocks/>
              </p:cNvSpPr>
              <p:nvPr/>
            </p:nvSpPr>
            <p:spPr bwMode="gray">
              <a:xfrm>
                <a:off x="1446683" y="3274217"/>
                <a:ext cx="908663" cy="648682"/>
              </a:xfrm>
              <a:custGeom>
                <a:avLst/>
                <a:gdLst>
                  <a:gd name="T0" fmla="*/ 186 w 840"/>
                  <a:gd name="T1" fmla="*/ 74 h 608"/>
                  <a:gd name="T2" fmla="*/ 196 w 840"/>
                  <a:gd name="T3" fmla="*/ 98 h 608"/>
                  <a:gd name="T4" fmla="*/ 96 w 840"/>
                  <a:gd name="T5" fmla="*/ 176 h 608"/>
                  <a:gd name="T6" fmla="*/ 56 w 840"/>
                  <a:gd name="T7" fmla="*/ 268 h 608"/>
                  <a:gd name="T8" fmla="*/ 110 w 840"/>
                  <a:gd name="T9" fmla="*/ 264 h 608"/>
                  <a:gd name="T10" fmla="*/ 258 w 840"/>
                  <a:gd name="T11" fmla="*/ 256 h 608"/>
                  <a:gd name="T12" fmla="*/ 260 w 840"/>
                  <a:gd name="T13" fmla="*/ 298 h 608"/>
                  <a:gd name="T14" fmla="*/ 192 w 840"/>
                  <a:gd name="T15" fmla="*/ 354 h 608"/>
                  <a:gd name="T16" fmla="*/ 120 w 840"/>
                  <a:gd name="T17" fmla="*/ 394 h 608"/>
                  <a:gd name="T18" fmla="*/ 46 w 840"/>
                  <a:gd name="T19" fmla="*/ 530 h 608"/>
                  <a:gd name="T20" fmla="*/ 0 w 840"/>
                  <a:gd name="T21" fmla="*/ 574 h 608"/>
                  <a:gd name="T22" fmla="*/ 32 w 840"/>
                  <a:gd name="T23" fmla="*/ 588 h 608"/>
                  <a:gd name="T24" fmla="*/ 80 w 840"/>
                  <a:gd name="T25" fmla="*/ 608 h 608"/>
                  <a:gd name="T26" fmla="*/ 188 w 840"/>
                  <a:gd name="T27" fmla="*/ 564 h 608"/>
                  <a:gd name="T28" fmla="*/ 236 w 840"/>
                  <a:gd name="T29" fmla="*/ 534 h 608"/>
                  <a:gd name="T30" fmla="*/ 304 w 840"/>
                  <a:gd name="T31" fmla="*/ 442 h 608"/>
                  <a:gd name="T32" fmla="*/ 388 w 840"/>
                  <a:gd name="T33" fmla="*/ 438 h 608"/>
                  <a:gd name="T34" fmla="*/ 402 w 840"/>
                  <a:gd name="T35" fmla="*/ 384 h 608"/>
                  <a:gd name="T36" fmla="*/ 440 w 840"/>
                  <a:gd name="T37" fmla="*/ 356 h 608"/>
                  <a:gd name="T38" fmla="*/ 510 w 840"/>
                  <a:gd name="T39" fmla="*/ 374 h 608"/>
                  <a:gd name="T40" fmla="*/ 626 w 840"/>
                  <a:gd name="T41" fmla="*/ 322 h 608"/>
                  <a:gd name="T42" fmla="*/ 644 w 840"/>
                  <a:gd name="T43" fmla="*/ 324 h 608"/>
                  <a:gd name="T44" fmla="*/ 840 w 840"/>
                  <a:gd name="T45" fmla="*/ 316 h 608"/>
                  <a:gd name="T46" fmla="*/ 836 w 840"/>
                  <a:gd name="T47" fmla="*/ 270 h 608"/>
                  <a:gd name="T48" fmla="*/ 744 w 840"/>
                  <a:gd name="T49" fmla="*/ 230 h 608"/>
                  <a:gd name="T50" fmla="*/ 682 w 840"/>
                  <a:gd name="T51" fmla="*/ 206 h 608"/>
                  <a:gd name="T52" fmla="*/ 650 w 840"/>
                  <a:gd name="T53" fmla="*/ 166 h 608"/>
                  <a:gd name="T54" fmla="*/ 618 w 840"/>
                  <a:gd name="T55" fmla="*/ 155 h 608"/>
                  <a:gd name="T56" fmla="*/ 478 w 840"/>
                  <a:gd name="T57" fmla="*/ 142 h 608"/>
                  <a:gd name="T58" fmla="*/ 470 w 840"/>
                  <a:gd name="T59" fmla="*/ 104 h 608"/>
                  <a:gd name="T60" fmla="*/ 396 w 840"/>
                  <a:gd name="T61" fmla="*/ 100 h 608"/>
                  <a:gd name="T62" fmla="*/ 388 w 840"/>
                  <a:gd name="T63" fmla="*/ 30 h 608"/>
                  <a:gd name="T64" fmla="*/ 310 w 840"/>
                  <a:gd name="T65" fmla="*/ 20 h 608"/>
                  <a:gd name="T66" fmla="*/ 270 w 840"/>
                  <a:gd name="T67" fmla="*/ 16 h 608"/>
                  <a:gd name="T68" fmla="*/ 220 w 840"/>
                  <a:gd name="T6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0" h="608">
                    <a:moveTo>
                      <a:pt x="180" y="20"/>
                    </a:moveTo>
                    <a:lnTo>
                      <a:pt x="186" y="74"/>
                    </a:lnTo>
                    <a:lnTo>
                      <a:pt x="198" y="72"/>
                    </a:lnTo>
                    <a:lnTo>
                      <a:pt x="196" y="98"/>
                    </a:lnTo>
                    <a:lnTo>
                      <a:pt x="132" y="128"/>
                    </a:lnTo>
                    <a:lnTo>
                      <a:pt x="96" y="176"/>
                    </a:lnTo>
                    <a:lnTo>
                      <a:pt x="60" y="230"/>
                    </a:lnTo>
                    <a:lnTo>
                      <a:pt x="56" y="268"/>
                    </a:lnTo>
                    <a:lnTo>
                      <a:pt x="82" y="254"/>
                    </a:lnTo>
                    <a:lnTo>
                      <a:pt x="110" y="264"/>
                    </a:lnTo>
                    <a:lnTo>
                      <a:pt x="212" y="244"/>
                    </a:lnTo>
                    <a:lnTo>
                      <a:pt x="258" y="256"/>
                    </a:lnTo>
                    <a:lnTo>
                      <a:pt x="260" y="272"/>
                    </a:lnTo>
                    <a:lnTo>
                      <a:pt x="260" y="298"/>
                    </a:lnTo>
                    <a:lnTo>
                      <a:pt x="206" y="310"/>
                    </a:lnTo>
                    <a:lnTo>
                      <a:pt x="192" y="354"/>
                    </a:lnTo>
                    <a:lnTo>
                      <a:pt x="134" y="366"/>
                    </a:lnTo>
                    <a:lnTo>
                      <a:pt x="120" y="394"/>
                    </a:lnTo>
                    <a:lnTo>
                      <a:pt x="132" y="454"/>
                    </a:lnTo>
                    <a:lnTo>
                      <a:pt x="46" y="530"/>
                    </a:lnTo>
                    <a:lnTo>
                      <a:pt x="44" y="562"/>
                    </a:lnTo>
                    <a:lnTo>
                      <a:pt x="0" y="574"/>
                    </a:lnTo>
                    <a:lnTo>
                      <a:pt x="10" y="596"/>
                    </a:lnTo>
                    <a:lnTo>
                      <a:pt x="32" y="588"/>
                    </a:lnTo>
                    <a:lnTo>
                      <a:pt x="52" y="580"/>
                    </a:lnTo>
                    <a:lnTo>
                      <a:pt x="80" y="608"/>
                    </a:lnTo>
                    <a:lnTo>
                      <a:pt x="142" y="546"/>
                    </a:lnTo>
                    <a:lnTo>
                      <a:pt x="188" y="564"/>
                    </a:lnTo>
                    <a:lnTo>
                      <a:pt x="202" y="540"/>
                    </a:lnTo>
                    <a:lnTo>
                      <a:pt x="236" y="534"/>
                    </a:lnTo>
                    <a:lnTo>
                      <a:pt x="278" y="448"/>
                    </a:lnTo>
                    <a:lnTo>
                      <a:pt x="304" y="442"/>
                    </a:lnTo>
                    <a:lnTo>
                      <a:pt x="308" y="460"/>
                    </a:lnTo>
                    <a:lnTo>
                      <a:pt x="388" y="438"/>
                    </a:lnTo>
                    <a:lnTo>
                      <a:pt x="372" y="404"/>
                    </a:lnTo>
                    <a:lnTo>
                      <a:pt x="402" y="384"/>
                    </a:lnTo>
                    <a:lnTo>
                      <a:pt x="392" y="356"/>
                    </a:lnTo>
                    <a:lnTo>
                      <a:pt x="440" y="356"/>
                    </a:lnTo>
                    <a:lnTo>
                      <a:pt x="450" y="372"/>
                    </a:lnTo>
                    <a:lnTo>
                      <a:pt x="510" y="374"/>
                    </a:lnTo>
                    <a:lnTo>
                      <a:pt x="582" y="366"/>
                    </a:lnTo>
                    <a:lnTo>
                      <a:pt x="626" y="322"/>
                    </a:lnTo>
                    <a:lnTo>
                      <a:pt x="636" y="304"/>
                    </a:lnTo>
                    <a:lnTo>
                      <a:pt x="644" y="324"/>
                    </a:lnTo>
                    <a:lnTo>
                      <a:pt x="772" y="342"/>
                    </a:lnTo>
                    <a:lnTo>
                      <a:pt x="840" y="316"/>
                    </a:lnTo>
                    <a:lnTo>
                      <a:pt x="814" y="304"/>
                    </a:lnTo>
                    <a:lnTo>
                      <a:pt x="836" y="270"/>
                    </a:lnTo>
                    <a:lnTo>
                      <a:pt x="810" y="224"/>
                    </a:lnTo>
                    <a:lnTo>
                      <a:pt x="744" y="230"/>
                    </a:lnTo>
                    <a:lnTo>
                      <a:pt x="708" y="212"/>
                    </a:lnTo>
                    <a:lnTo>
                      <a:pt x="682" y="206"/>
                    </a:lnTo>
                    <a:lnTo>
                      <a:pt x="676" y="186"/>
                    </a:lnTo>
                    <a:lnTo>
                      <a:pt x="650" y="166"/>
                    </a:lnTo>
                    <a:lnTo>
                      <a:pt x="638" y="156"/>
                    </a:lnTo>
                    <a:lnTo>
                      <a:pt x="618" y="155"/>
                    </a:lnTo>
                    <a:lnTo>
                      <a:pt x="573" y="111"/>
                    </a:lnTo>
                    <a:lnTo>
                      <a:pt x="478" y="142"/>
                    </a:lnTo>
                    <a:lnTo>
                      <a:pt x="480" y="114"/>
                    </a:lnTo>
                    <a:lnTo>
                      <a:pt x="470" y="104"/>
                    </a:lnTo>
                    <a:lnTo>
                      <a:pt x="430" y="118"/>
                    </a:lnTo>
                    <a:lnTo>
                      <a:pt x="396" y="100"/>
                    </a:lnTo>
                    <a:lnTo>
                      <a:pt x="434" y="24"/>
                    </a:lnTo>
                    <a:lnTo>
                      <a:pt x="388" y="30"/>
                    </a:lnTo>
                    <a:lnTo>
                      <a:pt x="346" y="4"/>
                    </a:lnTo>
                    <a:lnTo>
                      <a:pt x="310" y="20"/>
                    </a:lnTo>
                    <a:lnTo>
                      <a:pt x="290" y="32"/>
                    </a:lnTo>
                    <a:lnTo>
                      <a:pt x="270" y="16"/>
                    </a:lnTo>
                    <a:lnTo>
                      <a:pt x="236" y="14"/>
                    </a:lnTo>
                    <a:lnTo>
                      <a:pt x="220" y="0"/>
                    </a:lnTo>
                    <a:lnTo>
                      <a:pt x="180" y="20"/>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33" name="Freeform 6178">
                <a:extLst>
                  <a:ext uri="{FF2B5EF4-FFF2-40B4-BE49-F238E27FC236}">
                    <a16:creationId xmlns:a16="http://schemas.microsoft.com/office/drawing/2014/main" id="{362C3850-1AF1-DF4A-5C84-626FB78AE806}"/>
                  </a:ext>
                </a:extLst>
              </p:cNvPr>
              <p:cNvSpPr>
                <a:spLocks/>
              </p:cNvSpPr>
              <p:nvPr/>
            </p:nvSpPr>
            <p:spPr bwMode="gray">
              <a:xfrm>
                <a:off x="2068613" y="3134502"/>
                <a:ext cx="801643" cy="447091"/>
              </a:xfrm>
              <a:custGeom>
                <a:avLst/>
                <a:gdLst>
                  <a:gd name="T0" fmla="*/ 108 w 740"/>
                  <a:gd name="T1" fmla="*/ 336 h 418"/>
                  <a:gd name="T2" fmla="*/ 66 w 740"/>
                  <a:gd name="T3" fmla="*/ 284 h 418"/>
                  <a:gd name="T4" fmla="*/ 0 w 740"/>
                  <a:gd name="T5" fmla="*/ 242 h 418"/>
                  <a:gd name="T6" fmla="*/ 34 w 740"/>
                  <a:gd name="T7" fmla="*/ 244 h 418"/>
                  <a:gd name="T8" fmla="*/ 66 w 740"/>
                  <a:gd name="T9" fmla="*/ 284 h 418"/>
                  <a:gd name="T10" fmla="*/ 152 w 740"/>
                  <a:gd name="T11" fmla="*/ 250 h 418"/>
                  <a:gd name="T12" fmla="*/ 120 w 740"/>
                  <a:gd name="T13" fmla="*/ 234 h 418"/>
                  <a:gd name="T14" fmla="*/ 140 w 740"/>
                  <a:gd name="T15" fmla="*/ 192 h 418"/>
                  <a:gd name="T16" fmla="*/ 164 w 740"/>
                  <a:gd name="T17" fmla="*/ 226 h 418"/>
                  <a:gd name="T18" fmla="*/ 242 w 740"/>
                  <a:gd name="T19" fmla="*/ 188 h 418"/>
                  <a:gd name="T20" fmla="*/ 220 w 740"/>
                  <a:gd name="T21" fmla="*/ 140 h 418"/>
                  <a:gd name="T22" fmla="*/ 228 w 740"/>
                  <a:gd name="T23" fmla="*/ 112 h 418"/>
                  <a:gd name="T24" fmla="*/ 200 w 740"/>
                  <a:gd name="T25" fmla="*/ 92 h 418"/>
                  <a:gd name="T26" fmla="*/ 258 w 740"/>
                  <a:gd name="T27" fmla="*/ 28 h 418"/>
                  <a:gd name="T28" fmla="*/ 270 w 740"/>
                  <a:gd name="T29" fmla="*/ 54 h 418"/>
                  <a:gd name="T30" fmla="*/ 312 w 740"/>
                  <a:gd name="T31" fmla="*/ 96 h 418"/>
                  <a:gd name="T32" fmla="*/ 346 w 740"/>
                  <a:gd name="T33" fmla="*/ 40 h 418"/>
                  <a:gd name="T34" fmla="*/ 414 w 740"/>
                  <a:gd name="T35" fmla="*/ 72 h 418"/>
                  <a:gd name="T36" fmla="*/ 476 w 740"/>
                  <a:gd name="T37" fmla="*/ 80 h 418"/>
                  <a:gd name="T38" fmla="*/ 538 w 740"/>
                  <a:gd name="T39" fmla="*/ 144 h 418"/>
                  <a:gd name="T40" fmla="*/ 594 w 740"/>
                  <a:gd name="T41" fmla="*/ 92 h 418"/>
                  <a:gd name="T42" fmla="*/ 620 w 740"/>
                  <a:gd name="T43" fmla="*/ 72 h 418"/>
                  <a:gd name="T44" fmla="*/ 722 w 740"/>
                  <a:gd name="T45" fmla="*/ 154 h 418"/>
                  <a:gd name="T46" fmla="*/ 738 w 740"/>
                  <a:gd name="T47" fmla="*/ 206 h 418"/>
                  <a:gd name="T48" fmla="*/ 740 w 740"/>
                  <a:gd name="T49" fmla="*/ 276 h 418"/>
                  <a:gd name="T50" fmla="*/ 686 w 740"/>
                  <a:gd name="T51" fmla="*/ 312 h 418"/>
                  <a:gd name="T52" fmla="*/ 634 w 740"/>
                  <a:gd name="T53" fmla="*/ 316 h 418"/>
                  <a:gd name="T54" fmla="*/ 600 w 740"/>
                  <a:gd name="T55" fmla="*/ 352 h 418"/>
                  <a:gd name="T56" fmla="*/ 540 w 740"/>
                  <a:gd name="T57" fmla="*/ 418 h 418"/>
                  <a:gd name="T58" fmla="*/ 472 w 740"/>
                  <a:gd name="T59" fmla="*/ 356 h 418"/>
                  <a:gd name="T60" fmla="*/ 376 w 740"/>
                  <a:gd name="T61" fmla="*/ 360 h 418"/>
                  <a:gd name="T62" fmla="*/ 402 w 740"/>
                  <a:gd name="T63" fmla="*/ 286 h 418"/>
                  <a:gd name="T64" fmla="*/ 424 w 740"/>
                  <a:gd name="T65" fmla="*/ 214 h 418"/>
                  <a:gd name="T66" fmla="*/ 448 w 740"/>
                  <a:gd name="T67" fmla="*/ 166 h 418"/>
                  <a:gd name="T68" fmla="*/ 400 w 740"/>
                  <a:gd name="T69" fmla="*/ 138 h 418"/>
                  <a:gd name="T70" fmla="*/ 384 w 740"/>
                  <a:gd name="T71" fmla="*/ 160 h 418"/>
                  <a:gd name="T72" fmla="*/ 322 w 740"/>
                  <a:gd name="T73" fmla="*/ 144 h 418"/>
                  <a:gd name="T74" fmla="*/ 350 w 740"/>
                  <a:gd name="T75" fmla="*/ 198 h 418"/>
                  <a:gd name="T76" fmla="*/ 284 w 740"/>
                  <a:gd name="T77" fmla="*/ 252 h 418"/>
                  <a:gd name="T78" fmla="*/ 240 w 740"/>
                  <a:gd name="T79" fmla="*/ 284 h 418"/>
                  <a:gd name="T80" fmla="*/ 228 w 740"/>
                  <a:gd name="T81" fmla="*/ 325 h 418"/>
                  <a:gd name="T82" fmla="*/ 148 w 740"/>
                  <a:gd name="T83" fmla="*/ 306 h 418"/>
                  <a:gd name="T84" fmla="*/ 132 w 740"/>
                  <a:gd name="T85" fmla="*/ 34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40" h="418">
                    <a:moveTo>
                      <a:pt x="132" y="342"/>
                    </a:moveTo>
                    <a:lnTo>
                      <a:pt x="108" y="336"/>
                    </a:lnTo>
                    <a:lnTo>
                      <a:pt x="100" y="312"/>
                    </a:lnTo>
                    <a:lnTo>
                      <a:pt x="66" y="284"/>
                    </a:lnTo>
                    <a:lnTo>
                      <a:pt x="44" y="284"/>
                    </a:lnTo>
                    <a:lnTo>
                      <a:pt x="0" y="242"/>
                    </a:lnTo>
                    <a:lnTo>
                      <a:pt x="10" y="230"/>
                    </a:lnTo>
                    <a:lnTo>
                      <a:pt x="34" y="244"/>
                    </a:lnTo>
                    <a:lnTo>
                      <a:pt x="74" y="250"/>
                    </a:lnTo>
                    <a:lnTo>
                      <a:pt x="66" y="284"/>
                    </a:lnTo>
                    <a:lnTo>
                      <a:pt x="146" y="286"/>
                    </a:lnTo>
                    <a:lnTo>
                      <a:pt x="152" y="250"/>
                    </a:lnTo>
                    <a:lnTo>
                      <a:pt x="134" y="234"/>
                    </a:lnTo>
                    <a:lnTo>
                      <a:pt x="120" y="234"/>
                    </a:lnTo>
                    <a:lnTo>
                      <a:pt x="113" y="216"/>
                    </a:lnTo>
                    <a:lnTo>
                      <a:pt x="140" y="192"/>
                    </a:lnTo>
                    <a:lnTo>
                      <a:pt x="154" y="216"/>
                    </a:lnTo>
                    <a:lnTo>
                      <a:pt x="164" y="226"/>
                    </a:lnTo>
                    <a:lnTo>
                      <a:pt x="246" y="206"/>
                    </a:lnTo>
                    <a:lnTo>
                      <a:pt x="242" y="188"/>
                    </a:lnTo>
                    <a:lnTo>
                      <a:pt x="250" y="136"/>
                    </a:lnTo>
                    <a:lnTo>
                      <a:pt x="220" y="140"/>
                    </a:lnTo>
                    <a:lnTo>
                      <a:pt x="196" y="106"/>
                    </a:lnTo>
                    <a:lnTo>
                      <a:pt x="228" y="112"/>
                    </a:lnTo>
                    <a:lnTo>
                      <a:pt x="232" y="78"/>
                    </a:lnTo>
                    <a:lnTo>
                      <a:pt x="200" y="92"/>
                    </a:lnTo>
                    <a:lnTo>
                      <a:pt x="202" y="64"/>
                    </a:lnTo>
                    <a:lnTo>
                      <a:pt x="258" y="28"/>
                    </a:lnTo>
                    <a:lnTo>
                      <a:pt x="272" y="0"/>
                    </a:lnTo>
                    <a:lnTo>
                      <a:pt x="270" y="54"/>
                    </a:lnTo>
                    <a:lnTo>
                      <a:pt x="306" y="56"/>
                    </a:lnTo>
                    <a:lnTo>
                      <a:pt x="312" y="96"/>
                    </a:lnTo>
                    <a:lnTo>
                      <a:pt x="348" y="62"/>
                    </a:lnTo>
                    <a:lnTo>
                      <a:pt x="346" y="40"/>
                    </a:lnTo>
                    <a:lnTo>
                      <a:pt x="378" y="34"/>
                    </a:lnTo>
                    <a:lnTo>
                      <a:pt x="414" y="72"/>
                    </a:lnTo>
                    <a:lnTo>
                      <a:pt x="438" y="64"/>
                    </a:lnTo>
                    <a:lnTo>
                      <a:pt x="476" y="80"/>
                    </a:lnTo>
                    <a:lnTo>
                      <a:pt x="540" y="100"/>
                    </a:lnTo>
                    <a:lnTo>
                      <a:pt x="538" y="144"/>
                    </a:lnTo>
                    <a:lnTo>
                      <a:pt x="564" y="140"/>
                    </a:lnTo>
                    <a:lnTo>
                      <a:pt x="594" y="92"/>
                    </a:lnTo>
                    <a:lnTo>
                      <a:pt x="596" y="70"/>
                    </a:lnTo>
                    <a:lnTo>
                      <a:pt x="620" y="72"/>
                    </a:lnTo>
                    <a:lnTo>
                      <a:pt x="678" y="156"/>
                    </a:lnTo>
                    <a:lnTo>
                      <a:pt x="722" y="154"/>
                    </a:lnTo>
                    <a:lnTo>
                      <a:pt x="720" y="192"/>
                    </a:lnTo>
                    <a:lnTo>
                      <a:pt x="738" y="206"/>
                    </a:lnTo>
                    <a:lnTo>
                      <a:pt x="726" y="234"/>
                    </a:lnTo>
                    <a:lnTo>
                      <a:pt x="740" y="276"/>
                    </a:lnTo>
                    <a:lnTo>
                      <a:pt x="730" y="296"/>
                    </a:lnTo>
                    <a:lnTo>
                      <a:pt x="686" y="312"/>
                    </a:lnTo>
                    <a:lnTo>
                      <a:pt x="654" y="286"/>
                    </a:lnTo>
                    <a:lnTo>
                      <a:pt x="634" y="316"/>
                    </a:lnTo>
                    <a:lnTo>
                      <a:pt x="642" y="338"/>
                    </a:lnTo>
                    <a:lnTo>
                      <a:pt x="600" y="352"/>
                    </a:lnTo>
                    <a:lnTo>
                      <a:pt x="554" y="370"/>
                    </a:lnTo>
                    <a:lnTo>
                      <a:pt x="540" y="418"/>
                    </a:lnTo>
                    <a:lnTo>
                      <a:pt x="514" y="404"/>
                    </a:lnTo>
                    <a:lnTo>
                      <a:pt x="472" y="356"/>
                    </a:lnTo>
                    <a:lnTo>
                      <a:pt x="436" y="352"/>
                    </a:lnTo>
                    <a:lnTo>
                      <a:pt x="376" y="360"/>
                    </a:lnTo>
                    <a:lnTo>
                      <a:pt x="360" y="288"/>
                    </a:lnTo>
                    <a:lnTo>
                      <a:pt x="402" y="286"/>
                    </a:lnTo>
                    <a:lnTo>
                      <a:pt x="426" y="262"/>
                    </a:lnTo>
                    <a:lnTo>
                      <a:pt x="424" y="214"/>
                    </a:lnTo>
                    <a:lnTo>
                      <a:pt x="450" y="184"/>
                    </a:lnTo>
                    <a:lnTo>
                      <a:pt x="448" y="166"/>
                    </a:lnTo>
                    <a:lnTo>
                      <a:pt x="404" y="152"/>
                    </a:lnTo>
                    <a:lnTo>
                      <a:pt x="400" y="138"/>
                    </a:lnTo>
                    <a:lnTo>
                      <a:pt x="384" y="142"/>
                    </a:lnTo>
                    <a:lnTo>
                      <a:pt x="384" y="160"/>
                    </a:lnTo>
                    <a:lnTo>
                      <a:pt x="352" y="160"/>
                    </a:lnTo>
                    <a:lnTo>
                      <a:pt x="322" y="144"/>
                    </a:lnTo>
                    <a:lnTo>
                      <a:pt x="320" y="188"/>
                    </a:lnTo>
                    <a:lnTo>
                      <a:pt x="350" y="198"/>
                    </a:lnTo>
                    <a:lnTo>
                      <a:pt x="338" y="250"/>
                    </a:lnTo>
                    <a:lnTo>
                      <a:pt x="284" y="252"/>
                    </a:lnTo>
                    <a:lnTo>
                      <a:pt x="300" y="278"/>
                    </a:lnTo>
                    <a:lnTo>
                      <a:pt x="240" y="284"/>
                    </a:lnTo>
                    <a:lnTo>
                      <a:pt x="245" y="309"/>
                    </a:lnTo>
                    <a:lnTo>
                      <a:pt x="228" y="325"/>
                    </a:lnTo>
                    <a:lnTo>
                      <a:pt x="182" y="325"/>
                    </a:lnTo>
                    <a:lnTo>
                      <a:pt x="148" y="306"/>
                    </a:lnTo>
                    <a:lnTo>
                      <a:pt x="134" y="330"/>
                    </a:lnTo>
                    <a:lnTo>
                      <a:pt x="132" y="342"/>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34" name="Freeform 6179">
                <a:extLst>
                  <a:ext uri="{FF2B5EF4-FFF2-40B4-BE49-F238E27FC236}">
                    <a16:creationId xmlns:a16="http://schemas.microsoft.com/office/drawing/2014/main" id="{D6F874D2-8684-B293-7FF2-DDD05DEDB940}"/>
                  </a:ext>
                </a:extLst>
              </p:cNvPr>
              <p:cNvSpPr>
                <a:spLocks/>
              </p:cNvSpPr>
              <p:nvPr/>
            </p:nvSpPr>
            <p:spPr bwMode="gray">
              <a:xfrm>
                <a:off x="2359385" y="3102566"/>
                <a:ext cx="175676" cy="131732"/>
              </a:xfrm>
              <a:custGeom>
                <a:avLst/>
                <a:gdLst>
                  <a:gd name="T0" fmla="*/ 0 w 162"/>
                  <a:gd name="T1" fmla="*/ 30 h 124"/>
                  <a:gd name="T2" fmla="*/ 2 w 162"/>
                  <a:gd name="T3" fmla="*/ 86 h 124"/>
                  <a:gd name="T4" fmla="*/ 38 w 162"/>
                  <a:gd name="T5" fmla="*/ 90 h 124"/>
                  <a:gd name="T6" fmla="*/ 46 w 162"/>
                  <a:gd name="T7" fmla="*/ 124 h 124"/>
                  <a:gd name="T8" fmla="*/ 80 w 162"/>
                  <a:gd name="T9" fmla="*/ 96 h 124"/>
                  <a:gd name="T10" fmla="*/ 82 w 162"/>
                  <a:gd name="T11" fmla="*/ 74 h 124"/>
                  <a:gd name="T12" fmla="*/ 106 w 162"/>
                  <a:gd name="T13" fmla="*/ 66 h 124"/>
                  <a:gd name="T14" fmla="*/ 156 w 162"/>
                  <a:gd name="T15" fmla="*/ 54 h 124"/>
                  <a:gd name="T16" fmla="*/ 158 w 162"/>
                  <a:gd name="T17" fmla="*/ 26 h 124"/>
                  <a:gd name="T18" fmla="*/ 142 w 162"/>
                  <a:gd name="T19" fmla="*/ 18 h 124"/>
                  <a:gd name="T20" fmla="*/ 162 w 162"/>
                  <a:gd name="T21" fmla="*/ 2 h 124"/>
                  <a:gd name="T22" fmla="*/ 108 w 162"/>
                  <a:gd name="T23" fmla="*/ 0 h 124"/>
                  <a:gd name="T24" fmla="*/ 68 w 162"/>
                  <a:gd name="T25" fmla="*/ 28 h 124"/>
                  <a:gd name="T26" fmla="*/ 56 w 162"/>
                  <a:gd name="T27" fmla="*/ 26 h 124"/>
                  <a:gd name="T28" fmla="*/ 24 w 162"/>
                  <a:gd name="T29" fmla="*/ 8 h 124"/>
                  <a:gd name="T30" fmla="*/ 22 w 162"/>
                  <a:gd name="T31" fmla="*/ 34 h 124"/>
                  <a:gd name="T32" fmla="*/ 0 w 162"/>
                  <a:gd name="T33" fmla="*/ 3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 h="124">
                    <a:moveTo>
                      <a:pt x="0" y="30"/>
                    </a:moveTo>
                    <a:lnTo>
                      <a:pt x="2" y="86"/>
                    </a:lnTo>
                    <a:lnTo>
                      <a:pt x="38" y="90"/>
                    </a:lnTo>
                    <a:lnTo>
                      <a:pt x="46" y="124"/>
                    </a:lnTo>
                    <a:lnTo>
                      <a:pt x="80" y="96"/>
                    </a:lnTo>
                    <a:lnTo>
                      <a:pt x="82" y="74"/>
                    </a:lnTo>
                    <a:lnTo>
                      <a:pt x="106" y="66"/>
                    </a:lnTo>
                    <a:lnTo>
                      <a:pt x="156" y="54"/>
                    </a:lnTo>
                    <a:lnTo>
                      <a:pt x="158" y="26"/>
                    </a:lnTo>
                    <a:lnTo>
                      <a:pt x="142" y="18"/>
                    </a:lnTo>
                    <a:lnTo>
                      <a:pt x="162" y="2"/>
                    </a:lnTo>
                    <a:lnTo>
                      <a:pt x="108" y="0"/>
                    </a:lnTo>
                    <a:lnTo>
                      <a:pt x="68" y="28"/>
                    </a:lnTo>
                    <a:lnTo>
                      <a:pt x="56" y="26"/>
                    </a:lnTo>
                    <a:lnTo>
                      <a:pt x="24" y="8"/>
                    </a:lnTo>
                    <a:lnTo>
                      <a:pt x="22" y="34"/>
                    </a:lnTo>
                    <a:lnTo>
                      <a:pt x="0" y="30"/>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35" name="Freeform 6180">
                <a:extLst>
                  <a:ext uri="{FF2B5EF4-FFF2-40B4-BE49-F238E27FC236}">
                    <a16:creationId xmlns:a16="http://schemas.microsoft.com/office/drawing/2014/main" id="{7B1BC1D6-F75A-7006-124D-1C6C74022E3A}"/>
                  </a:ext>
                </a:extLst>
              </p:cNvPr>
              <p:cNvSpPr>
                <a:spLocks/>
              </p:cNvSpPr>
              <p:nvPr/>
            </p:nvSpPr>
            <p:spPr bwMode="gray">
              <a:xfrm>
                <a:off x="2193807" y="3286192"/>
                <a:ext cx="145387" cy="91813"/>
              </a:xfrm>
              <a:custGeom>
                <a:avLst/>
                <a:gdLst>
                  <a:gd name="T0" fmla="*/ 102 w 134"/>
                  <a:gd name="T1" fmla="*/ 6 h 86"/>
                  <a:gd name="T2" fmla="*/ 134 w 134"/>
                  <a:gd name="T3" fmla="*/ 0 h 86"/>
                  <a:gd name="T4" fmla="*/ 126 w 134"/>
                  <a:gd name="T5" fmla="*/ 46 h 86"/>
                  <a:gd name="T6" fmla="*/ 130 w 134"/>
                  <a:gd name="T7" fmla="*/ 66 h 86"/>
                  <a:gd name="T8" fmla="*/ 48 w 134"/>
                  <a:gd name="T9" fmla="*/ 86 h 86"/>
                  <a:gd name="T10" fmla="*/ 24 w 134"/>
                  <a:gd name="T11" fmla="*/ 52 h 86"/>
                  <a:gd name="T12" fmla="*/ 0 w 134"/>
                  <a:gd name="T13" fmla="*/ 28 h 86"/>
                  <a:gd name="T14" fmla="*/ 16 w 134"/>
                  <a:gd name="T15" fmla="*/ 2 h 86"/>
                  <a:gd name="T16" fmla="*/ 64 w 134"/>
                  <a:gd name="T17" fmla="*/ 28 h 86"/>
                  <a:gd name="T18" fmla="*/ 102 w 134"/>
                  <a:gd name="T19" fmla="*/ 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86">
                    <a:moveTo>
                      <a:pt x="102" y="6"/>
                    </a:moveTo>
                    <a:lnTo>
                      <a:pt x="134" y="0"/>
                    </a:lnTo>
                    <a:lnTo>
                      <a:pt x="126" y="46"/>
                    </a:lnTo>
                    <a:lnTo>
                      <a:pt x="130" y="66"/>
                    </a:lnTo>
                    <a:lnTo>
                      <a:pt x="48" y="86"/>
                    </a:lnTo>
                    <a:lnTo>
                      <a:pt x="24" y="52"/>
                    </a:lnTo>
                    <a:lnTo>
                      <a:pt x="0" y="28"/>
                    </a:lnTo>
                    <a:lnTo>
                      <a:pt x="16" y="2"/>
                    </a:lnTo>
                    <a:lnTo>
                      <a:pt x="64" y="28"/>
                    </a:lnTo>
                    <a:lnTo>
                      <a:pt x="102" y="6"/>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36" name="Freeform 6181">
                <a:extLst>
                  <a:ext uri="{FF2B5EF4-FFF2-40B4-BE49-F238E27FC236}">
                    <a16:creationId xmlns:a16="http://schemas.microsoft.com/office/drawing/2014/main" id="{30AA18AD-0323-8E10-84A1-C353562C8069}"/>
                  </a:ext>
                </a:extLst>
              </p:cNvPr>
              <p:cNvSpPr>
                <a:spLocks/>
              </p:cNvSpPr>
              <p:nvPr/>
            </p:nvSpPr>
            <p:spPr bwMode="gray">
              <a:xfrm>
                <a:off x="2141305" y="3366030"/>
                <a:ext cx="90866" cy="73850"/>
              </a:xfrm>
              <a:custGeom>
                <a:avLst/>
                <a:gdLst>
                  <a:gd name="T0" fmla="*/ 44 w 84"/>
                  <a:gd name="T1" fmla="*/ 0 h 72"/>
                  <a:gd name="T2" fmla="*/ 44 w 84"/>
                  <a:gd name="T3" fmla="*/ 16 h 72"/>
                  <a:gd name="T4" fmla="*/ 68 w 84"/>
                  <a:gd name="T5" fmla="*/ 24 h 72"/>
                  <a:gd name="T6" fmla="*/ 84 w 84"/>
                  <a:gd name="T7" fmla="*/ 34 h 72"/>
                  <a:gd name="T8" fmla="*/ 78 w 84"/>
                  <a:gd name="T9" fmla="*/ 72 h 72"/>
                  <a:gd name="T10" fmla="*/ 0 w 84"/>
                  <a:gd name="T11" fmla="*/ 72 h 72"/>
                  <a:gd name="T12" fmla="*/ 6 w 84"/>
                  <a:gd name="T13" fmla="*/ 40 h 72"/>
                  <a:gd name="T14" fmla="*/ 44 w 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72">
                    <a:moveTo>
                      <a:pt x="44" y="0"/>
                    </a:moveTo>
                    <a:lnTo>
                      <a:pt x="44" y="16"/>
                    </a:lnTo>
                    <a:lnTo>
                      <a:pt x="68" y="24"/>
                    </a:lnTo>
                    <a:lnTo>
                      <a:pt x="84" y="34"/>
                    </a:lnTo>
                    <a:lnTo>
                      <a:pt x="78" y="72"/>
                    </a:lnTo>
                    <a:lnTo>
                      <a:pt x="0" y="72"/>
                    </a:lnTo>
                    <a:lnTo>
                      <a:pt x="6" y="40"/>
                    </a:lnTo>
                    <a:lnTo>
                      <a:pt x="44" y="0"/>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37" name="Freeform 6182">
                <a:extLst>
                  <a:ext uri="{FF2B5EF4-FFF2-40B4-BE49-F238E27FC236}">
                    <a16:creationId xmlns:a16="http://schemas.microsoft.com/office/drawing/2014/main" id="{D76851DF-A6A7-ED85-15CD-B1E92103AEC1}"/>
                  </a:ext>
                </a:extLst>
              </p:cNvPr>
              <p:cNvSpPr>
                <a:spLocks/>
              </p:cNvSpPr>
              <p:nvPr/>
            </p:nvSpPr>
            <p:spPr bwMode="gray">
              <a:xfrm>
                <a:off x="2094863" y="3284197"/>
                <a:ext cx="858182" cy="774425"/>
              </a:xfrm>
              <a:custGeom>
                <a:avLst/>
                <a:gdLst>
                  <a:gd name="T0" fmla="*/ 126 w 794"/>
                  <a:gd name="T1" fmla="*/ 166 h 730"/>
                  <a:gd name="T2" fmla="*/ 204 w 794"/>
                  <a:gd name="T3" fmla="*/ 186 h 730"/>
                  <a:gd name="T4" fmla="*/ 218 w 794"/>
                  <a:gd name="T5" fmla="*/ 146 h 730"/>
                  <a:gd name="T6" fmla="*/ 262 w 794"/>
                  <a:gd name="T7" fmla="*/ 114 h 730"/>
                  <a:gd name="T8" fmla="*/ 322 w 794"/>
                  <a:gd name="T9" fmla="*/ 60 h 730"/>
                  <a:gd name="T10" fmla="*/ 300 w 794"/>
                  <a:gd name="T11" fmla="*/ 6 h 730"/>
                  <a:gd name="T12" fmla="*/ 358 w 794"/>
                  <a:gd name="T13" fmla="*/ 24 h 730"/>
                  <a:gd name="T14" fmla="*/ 374 w 794"/>
                  <a:gd name="T15" fmla="*/ 0 h 730"/>
                  <a:gd name="T16" fmla="*/ 422 w 794"/>
                  <a:gd name="T17" fmla="*/ 30 h 730"/>
                  <a:gd name="T18" fmla="*/ 402 w 794"/>
                  <a:gd name="T19" fmla="*/ 78 h 730"/>
                  <a:gd name="T20" fmla="*/ 376 w 794"/>
                  <a:gd name="T21" fmla="*/ 154 h 730"/>
                  <a:gd name="T22" fmla="*/ 356 w 794"/>
                  <a:gd name="T23" fmla="*/ 222 h 730"/>
                  <a:gd name="T24" fmla="*/ 444 w 794"/>
                  <a:gd name="T25" fmla="*/ 218 h 730"/>
                  <a:gd name="T26" fmla="*/ 520 w 794"/>
                  <a:gd name="T27" fmla="*/ 278 h 730"/>
                  <a:gd name="T28" fmla="*/ 616 w 794"/>
                  <a:gd name="T29" fmla="*/ 200 h 730"/>
                  <a:gd name="T30" fmla="*/ 630 w 794"/>
                  <a:gd name="T31" fmla="*/ 148 h 730"/>
                  <a:gd name="T32" fmla="*/ 706 w 794"/>
                  <a:gd name="T33" fmla="*/ 160 h 730"/>
                  <a:gd name="T34" fmla="*/ 702 w 794"/>
                  <a:gd name="T35" fmla="*/ 94 h 730"/>
                  <a:gd name="T36" fmla="*/ 730 w 794"/>
                  <a:gd name="T37" fmla="*/ 62 h 730"/>
                  <a:gd name="T38" fmla="*/ 732 w 794"/>
                  <a:gd name="T39" fmla="*/ 126 h 730"/>
                  <a:gd name="T40" fmla="*/ 794 w 794"/>
                  <a:gd name="T41" fmla="*/ 202 h 730"/>
                  <a:gd name="T42" fmla="*/ 706 w 794"/>
                  <a:gd name="T43" fmla="*/ 306 h 730"/>
                  <a:gd name="T44" fmla="*/ 650 w 794"/>
                  <a:gd name="T45" fmla="*/ 264 h 730"/>
                  <a:gd name="T46" fmla="*/ 598 w 794"/>
                  <a:gd name="T47" fmla="*/ 324 h 730"/>
                  <a:gd name="T48" fmla="*/ 538 w 794"/>
                  <a:gd name="T49" fmla="*/ 388 h 730"/>
                  <a:gd name="T50" fmla="*/ 492 w 794"/>
                  <a:gd name="T51" fmla="*/ 402 h 730"/>
                  <a:gd name="T52" fmla="*/ 400 w 794"/>
                  <a:gd name="T53" fmla="*/ 354 h 730"/>
                  <a:gd name="T54" fmla="*/ 322 w 794"/>
                  <a:gd name="T55" fmla="*/ 468 h 730"/>
                  <a:gd name="T56" fmla="*/ 360 w 794"/>
                  <a:gd name="T57" fmla="*/ 514 h 730"/>
                  <a:gd name="T58" fmla="*/ 386 w 794"/>
                  <a:gd name="T59" fmla="*/ 572 h 730"/>
                  <a:gd name="T60" fmla="*/ 354 w 794"/>
                  <a:gd name="T61" fmla="*/ 598 h 730"/>
                  <a:gd name="T62" fmla="*/ 296 w 794"/>
                  <a:gd name="T63" fmla="*/ 602 h 730"/>
                  <a:gd name="T64" fmla="*/ 246 w 794"/>
                  <a:gd name="T65" fmla="*/ 562 h 730"/>
                  <a:gd name="T66" fmla="*/ 213 w 794"/>
                  <a:gd name="T67" fmla="*/ 610 h 730"/>
                  <a:gd name="T68" fmla="*/ 154 w 794"/>
                  <a:gd name="T69" fmla="*/ 714 h 730"/>
                  <a:gd name="T70" fmla="*/ 106 w 794"/>
                  <a:gd name="T71" fmla="*/ 686 h 730"/>
                  <a:gd name="T72" fmla="*/ 36 w 794"/>
                  <a:gd name="T73" fmla="*/ 644 h 730"/>
                  <a:gd name="T74" fmla="*/ 114 w 794"/>
                  <a:gd name="T75" fmla="*/ 648 h 730"/>
                  <a:gd name="T76" fmla="*/ 132 w 794"/>
                  <a:gd name="T77" fmla="*/ 586 h 730"/>
                  <a:gd name="T78" fmla="*/ 182 w 794"/>
                  <a:gd name="T79" fmla="*/ 568 h 730"/>
                  <a:gd name="T80" fmla="*/ 154 w 794"/>
                  <a:gd name="T81" fmla="*/ 536 h 730"/>
                  <a:gd name="T82" fmla="*/ 86 w 794"/>
                  <a:gd name="T83" fmla="*/ 588 h 730"/>
                  <a:gd name="T84" fmla="*/ 48 w 794"/>
                  <a:gd name="T85" fmla="*/ 542 h 730"/>
                  <a:gd name="T86" fmla="*/ 0 w 794"/>
                  <a:gd name="T87" fmla="*/ 476 h 730"/>
                  <a:gd name="T88" fmla="*/ 100 w 794"/>
                  <a:gd name="T89" fmla="*/ 440 h 730"/>
                  <a:gd name="T90" fmla="*/ 118 w 794"/>
                  <a:gd name="T91" fmla="*/ 402 h 730"/>
                  <a:gd name="T92" fmla="*/ 168 w 794"/>
                  <a:gd name="T93" fmla="*/ 374 h 730"/>
                  <a:gd name="T94" fmla="*/ 246 w 794"/>
                  <a:gd name="T95" fmla="*/ 306 h 730"/>
                  <a:gd name="T96" fmla="*/ 240 w 794"/>
                  <a:gd name="T97" fmla="*/ 260 h 730"/>
                  <a:gd name="T98" fmla="*/ 140 w 794"/>
                  <a:gd name="T99" fmla="*/ 225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4" h="730">
                    <a:moveTo>
                      <a:pt x="108" y="205"/>
                    </a:moveTo>
                    <a:lnTo>
                      <a:pt x="126" y="166"/>
                    </a:lnTo>
                    <a:lnTo>
                      <a:pt x="168" y="190"/>
                    </a:lnTo>
                    <a:lnTo>
                      <a:pt x="204" y="186"/>
                    </a:lnTo>
                    <a:lnTo>
                      <a:pt x="220" y="168"/>
                    </a:lnTo>
                    <a:lnTo>
                      <a:pt x="218" y="146"/>
                    </a:lnTo>
                    <a:lnTo>
                      <a:pt x="274" y="140"/>
                    </a:lnTo>
                    <a:lnTo>
                      <a:pt x="262" y="114"/>
                    </a:lnTo>
                    <a:lnTo>
                      <a:pt x="314" y="112"/>
                    </a:lnTo>
                    <a:lnTo>
                      <a:pt x="322" y="60"/>
                    </a:lnTo>
                    <a:lnTo>
                      <a:pt x="294" y="48"/>
                    </a:lnTo>
                    <a:lnTo>
                      <a:pt x="300" y="6"/>
                    </a:lnTo>
                    <a:lnTo>
                      <a:pt x="332" y="22"/>
                    </a:lnTo>
                    <a:lnTo>
                      <a:pt x="358" y="24"/>
                    </a:lnTo>
                    <a:lnTo>
                      <a:pt x="360" y="0"/>
                    </a:lnTo>
                    <a:lnTo>
                      <a:pt x="374" y="0"/>
                    </a:lnTo>
                    <a:lnTo>
                      <a:pt x="376" y="16"/>
                    </a:lnTo>
                    <a:lnTo>
                      <a:pt x="422" y="30"/>
                    </a:lnTo>
                    <a:lnTo>
                      <a:pt x="422" y="50"/>
                    </a:lnTo>
                    <a:lnTo>
                      <a:pt x="402" y="78"/>
                    </a:lnTo>
                    <a:lnTo>
                      <a:pt x="402" y="122"/>
                    </a:lnTo>
                    <a:lnTo>
                      <a:pt x="376" y="154"/>
                    </a:lnTo>
                    <a:lnTo>
                      <a:pt x="336" y="150"/>
                    </a:lnTo>
                    <a:lnTo>
                      <a:pt x="356" y="222"/>
                    </a:lnTo>
                    <a:lnTo>
                      <a:pt x="422" y="214"/>
                    </a:lnTo>
                    <a:lnTo>
                      <a:pt x="444" y="218"/>
                    </a:lnTo>
                    <a:lnTo>
                      <a:pt x="492" y="270"/>
                    </a:lnTo>
                    <a:lnTo>
                      <a:pt x="520" y="278"/>
                    </a:lnTo>
                    <a:lnTo>
                      <a:pt x="528" y="231"/>
                    </a:lnTo>
                    <a:lnTo>
                      <a:pt x="616" y="200"/>
                    </a:lnTo>
                    <a:lnTo>
                      <a:pt x="612" y="176"/>
                    </a:lnTo>
                    <a:lnTo>
                      <a:pt x="630" y="148"/>
                    </a:lnTo>
                    <a:lnTo>
                      <a:pt x="660" y="174"/>
                    </a:lnTo>
                    <a:lnTo>
                      <a:pt x="706" y="160"/>
                    </a:lnTo>
                    <a:lnTo>
                      <a:pt x="712" y="140"/>
                    </a:lnTo>
                    <a:lnTo>
                      <a:pt x="702" y="94"/>
                    </a:lnTo>
                    <a:lnTo>
                      <a:pt x="712" y="72"/>
                    </a:lnTo>
                    <a:lnTo>
                      <a:pt x="730" y="62"/>
                    </a:lnTo>
                    <a:lnTo>
                      <a:pt x="752" y="118"/>
                    </a:lnTo>
                    <a:lnTo>
                      <a:pt x="732" y="126"/>
                    </a:lnTo>
                    <a:lnTo>
                      <a:pt x="790" y="174"/>
                    </a:lnTo>
                    <a:lnTo>
                      <a:pt x="794" y="202"/>
                    </a:lnTo>
                    <a:lnTo>
                      <a:pt x="772" y="268"/>
                    </a:lnTo>
                    <a:lnTo>
                      <a:pt x="706" y="306"/>
                    </a:lnTo>
                    <a:lnTo>
                      <a:pt x="704" y="276"/>
                    </a:lnTo>
                    <a:lnTo>
                      <a:pt x="650" y="264"/>
                    </a:lnTo>
                    <a:lnTo>
                      <a:pt x="634" y="312"/>
                    </a:lnTo>
                    <a:lnTo>
                      <a:pt x="598" y="324"/>
                    </a:lnTo>
                    <a:lnTo>
                      <a:pt x="554" y="390"/>
                    </a:lnTo>
                    <a:lnTo>
                      <a:pt x="538" y="388"/>
                    </a:lnTo>
                    <a:lnTo>
                      <a:pt x="518" y="410"/>
                    </a:lnTo>
                    <a:lnTo>
                      <a:pt x="492" y="402"/>
                    </a:lnTo>
                    <a:lnTo>
                      <a:pt x="466" y="412"/>
                    </a:lnTo>
                    <a:lnTo>
                      <a:pt x="400" y="354"/>
                    </a:lnTo>
                    <a:lnTo>
                      <a:pt x="284" y="388"/>
                    </a:lnTo>
                    <a:lnTo>
                      <a:pt x="322" y="468"/>
                    </a:lnTo>
                    <a:lnTo>
                      <a:pt x="344" y="466"/>
                    </a:lnTo>
                    <a:lnTo>
                      <a:pt x="360" y="514"/>
                    </a:lnTo>
                    <a:lnTo>
                      <a:pt x="388" y="530"/>
                    </a:lnTo>
                    <a:lnTo>
                      <a:pt x="386" y="572"/>
                    </a:lnTo>
                    <a:lnTo>
                      <a:pt x="370" y="572"/>
                    </a:lnTo>
                    <a:lnTo>
                      <a:pt x="354" y="598"/>
                    </a:lnTo>
                    <a:lnTo>
                      <a:pt x="324" y="592"/>
                    </a:lnTo>
                    <a:lnTo>
                      <a:pt x="296" y="602"/>
                    </a:lnTo>
                    <a:lnTo>
                      <a:pt x="268" y="570"/>
                    </a:lnTo>
                    <a:lnTo>
                      <a:pt x="246" y="562"/>
                    </a:lnTo>
                    <a:lnTo>
                      <a:pt x="206" y="584"/>
                    </a:lnTo>
                    <a:lnTo>
                      <a:pt x="213" y="610"/>
                    </a:lnTo>
                    <a:lnTo>
                      <a:pt x="146" y="670"/>
                    </a:lnTo>
                    <a:lnTo>
                      <a:pt x="154" y="714"/>
                    </a:lnTo>
                    <a:lnTo>
                      <a:pt x="116" y="730"/>
                    </a:lnTo>
                    <a:lnTo>
                      <a:pt x="106" y="686"/>
                    </a:lnTo>
                    <a:lnTo>
                      <a:pt x="54" y="696"/>
                    </a:lnTo>
                    <a:lnTo>
                      <a:pt x="36" y="644"/>
                    </a:lnTo>
                    <a:lnTo>
                      <a:pt x="76" y="656"/>
                    </a:lnTo>
                    <a:lnTo>
                      <a:pt x="114" y="648"/>
                    </a:lnTo>
                    <a:lnTo>
                      <a:pt x="99" y="625"/>
                    </a:lnTo>
                    <a:lnTo>
                      <a:pt x="132" y="586"/>
                    </a:lnTo>
                    <a:lnTo>
                      <a:pt x="156" y="598"/>
                    </a:lnTo>
                    <a:lnTo>
                      <a:pt x="182" y="568"/>
                    </a:lnTo>
                    <a:lnTo>
                      <a:pt x="160" y="550"/>
                    </a:lnTo>
                    <a:lnTo>
                      <a:pt x="154" y="536"/>
                    </a:lnTo>
                    <a:lnTo>
                      <a:pt x="129" y="546"/>
                    </a:lnTo>
                    <a:lnTo>
                      <a:pt x="86" y="588"/>
                    </a:lnTo>
                    <a:lnTo>
                      <a:pt x="58" y="592"/>
                    </a:lnTo>
                    <a:lnTo>
                      <a:pt x="48" y="542"/>
                    </a:lnTo>
                    <a:lnTo>
                      <a:pt x="18" y="524"/>
                    </a:lnTo>
                    <a:lnTo>
                      <a:pt x="0" y="476"/>
                    </a:lnTo>
                    <a:lnTo>
                      <a:pt x="34" y="476"/>
                    </a:lnTo>
                    <a:lnTo>
                      <a:pt x="100" y="440"/>
                    </a:lnTo>
                    <a:lnTo>
                      <a:pt x="94" y="416"/>
                    </a:lnTo>
                    <a:lnTo>
                      <a:pt x="118" y="402"/>
                    </a:lnTo>
                    <a:lnTo>
                      <a:pt x="146" y="406"/>
                    </a:lnTo>
                    <a:lnTo>
                      <a:pt x="168" y="374"/>
                    </a:lnTo>
                    <a:lnTo>
                      <a:pt x="250" y="334"/>
                    </a:lnTo>
                    <a:lnTo>
                      <a:pt x="246" y="306"/>
                    </a:lnTo>
                    <a:lnTo>
                      <a:pt x="264" y="284"/>
                    </a:lnTo>
                    <a:lnTo>
                      <a:pt x="240" y="260"/>
                    </a:lnTo>
                    <a:lnTo>
                      <a:pt x="212" y="218"/>
                    </a:lnTo>
                    <a:lnTo>
                      <a:pt x="140" y="225"/>
                    </a:lnTo>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38" name="Freeform 6183">
                <a:extLst>
                  <a:ext uri="{FF2B5EF4-FFF2-40B4-BE49-F238E27FC236}">
                    <a16:creationId xmlns:a16="http://schemas.microsoft.com/office/drawing/2014/main" id="{DD13A43D-C131-1D74-04F0-5910B60587FA}"/>
                  </a:ext>
                </a:extLst>
              </p:cNvPr>
              <p:cNvSpPr>
                <a:spLocks/>
              </p:cNvSpPr>
              <p:nvPr/>
            </p:nvSpPr>
            <p:spPr bwMode="gray">
              <a:xfrm>
                <a:off x="2539099" y="3038695"/>
                <a:ext cx="955106" cy="890188"/>
              </a:xfrm>
              <a:custGeom>
                <a:avLst/>
                <a:gdLst>
                  <a:gd name="T0" fmla="*/ 26 w 882"/>
                  <a:gd name="T1" fmla="*/ 149 h 837"/>
                  <a:gd name="T2" fmla="*/ 101 w 882"/>
                  <a:gd name="T3" fmla="*/ 192 h 837"/>
                  <a:gd name="T4" fmla="*/ 161 w 882"/>
                  <a:gd name="T5" fmla="*/ 180 h 837"/>
                  <a:gd name="T6" fmla="*/ 242 w 882"/>
                  <a:gd name="T7" fmla="*/ 246 h 837"/>
                  <a:gd name="T8" fmla="*/ 305 w 882"/>
                  <a:gd name="T9" fmla="*/ 303 h 837"/>
                  <a:gd name="T10" fmla="*/ 326 w 882"/>
                  <a:gd name="T11" fmla="*/ 357 h 837"/>
                  <a:gd name="T12" fmla="*/ 359 w 882"/>
                  <a:gd name="T13" fmla="*/ 503 h 837"/>
                  <a:gd name="T14" fmla="*/ 242 w 882"/>
                  <a:gd name="T15" fmla="*/ 494 h 837"/>
                  <a:gd name="T16" fmla="*/ 141 w 882"/>
                  <a:gd name="T17" fmla="*/ 620 h 837"/>
                  <a:gd name="T18" fmla="*/ 138 w 882"/>
                  <a:gd name="T19" fmla="*/ 653 h 837"/>
                  <a:gd name="T20" fmla="*/ 252 w 882"/>
                  <a:gd name="T21" fmla="*/ 662 h 837"/>
                  <a:gd name="T22" fmla="*/ 300 w 882"/>
                  <a:gd name="T23" fmla="*/ 609 h 837"/>
                  <a:gd name="T24" fmla="*/ 377 w 882"/>
                  <a:gd name="T25" fmla="*/ 644 h 837"/>
                  <a:gd name="T26" fmla="*/ 411 w 882"/>
                  <a:gd name="T27" fmla="*/ 636 h 837"/>
                  <a:gd name="T28" fmla="*/ 503 w 882"/>
                  <a:gd name="T29" fmla="*/ 662 h 837"/>
                  <a:gd name="T30" fmla="*/ 546 w 882"/>
                  <a:gd name="T31" fmla="*/ 684 h 837"/>
                  <a:gd name="T32" fmla="*/ 603 w 882"/>
                  <a:gd name="T33" fmla="*/ 662 h 837"/>
                  <a:gd name="T34" fmla="*/ 585 w 882"/>
                  <a:gd name="T35" fmla="*/ 588 h 837"/>
                  <a:gd name="T36" fmla="*/ 599 w 882"/>
                  <a:gd name="T37" fmla="*/ 539 h 837"/>
                  <a:gd name="T38" fmla="*/ 641 w 882"/>
                  <a:gd name="T39" fmla="*/ 608 h 837"/>
                  <a:gd name="T40" fmla="*/ 668 w 882"/>
                  <a:gd name="T41" fmla="*/ 593 h 837"/>
                  <a:gd name="T42" fmla="*/ 695 w 882"/>
                  <a:gd name="T43" fmla="*/ 627 h 837"/>
                  <a:gd name="T44" fmla="*/ 792 w 882"/>
                  <a:gd name="T45" fmla="*/ 834 h 837"/>
                  <a:gd name="T46" fmla="*/ 827 w 882"/>
                  <a:gd name="T47" fmla="*/ 812 h 837"/>
                  <a:gd name="T48" fmla="*/ 816 w 882"/>
                  <a:gd name="T49" fmla="*/ 758 h 837"/>
                  <a:gd name="T50" fmla="*/ 806 w 882"/>
                  <a:gd name="T51" fmla="*/ 693 h 837"/>
                  <a:gd name="T52" fmla="*/ 809 w 882"/>
                  <a:gd name="T53" fmla="*/ 608 h 837"/>
                  <a:gd name="T54" fmla="*/ 882 w 882"/>
                  <a:gd name="T55" fmla="*/ 504 h 837"/>
                  <a:gd name="T56" fmla="*/ 831 w 882"/>
                  <a:gd name="T57" fmla="*/ 489 h 837"/>
                  <a:gd name="T58" fmla="*/ 810 w 882"/>
                  <a:gd name="T59" fmla="*/ 390 h 837"/>
                  <a:gd name="T60" fmla="*/ 798 w 882"/>
                  <a:gd name="T61" fmla="*/ 378 h 837"/>
                  <a:gd name="T62" fmla="*/ 800 w 882"/>
                  <a:gd name="T63" fmla="*/ 336 h 837"/>
                  <a:gd name="T64" fmla="*/ 762 w 882"/>
                  <a:gd name="T65" fmla="*/ 261 h 837"/>
                  <a:gd name="T66" fmla="*/ 773 w 882"/>
                  <a:gd name="T67" fmla="*/ 236 h 837"/>
                  <a:gd name="T68" fmla="*/ 797 w 882"/>
                  <a:gd name="T69" fmla="*/ 162 h 837"/>
                  <a:gd name="T70" fmla="*/ 800 w 882"/>
                  <a:gd name="T71" fmla="*/ 75 h 837"/>
                  <a:gd name="T72" fmla="*/ 710 w 882"/>
                  <a:gd name="T73" fmla="*/ 71 h 837"/>
                  <a:gd name="T74" fmla="*/ 644 w 882"/>
                  <a:gd name="T75" fmla="*/ 12 h 837"/>
                  <a:gd name="T76" fmla="*/ 575 w 882"/>
                  <a:gd name="T77" fmla="*/ 2 h 837"/>
                  <a:gd name="T78" fmla="*/ 504 w 882"/>
                  <a:gd name="T79" fmla="*/ 53 h 837"/>
                  <a:gd name="T80" fmla="*/ 449 w 882"/>
                  <a:gd name="T81" fmla="*/ 113 h 837"/>
                  <a:gd name="T82" fmla="*/ 348 w 882"/>
                  <a:gd name="T83" fmla="*/ 113 h 837"/>
                  <a:gd name="T84" fmla="*/ 246 w 882"/>
                  <a:gd name="T85" fmla="*/ 132 h 837"/>
                  <a:gd name="T86" fmla="*/ 209 w 882"/>
                  <a:gd name="T87" fmla="*/ 56 h 837"/>
                  <a:gd name="T88" fmla="*/ 117 w 882"/>
                  <a:gd name="T89" fmla="*/ 84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2" h="837">
                    <a:moveTo>
                      <a:pt x="108" y="126"/>
                    </a:moveTo>
                    <a:lnTo>
                      <a:pt x="69" y="143"/>
                    </a:lnTo>
                    <a:lnTo>
                      <a:pt x="26" y="149"/>
                    </a:lnTo>
                    <a:lnTo>
                      <a:pt x="0" y="156"/>
                    </a:lnTo>
                    <a:lnTo>
                      <a:pt x="42" y="173"/>
                    </a:lnTo>
                    <a:lnTo>
                      <a:pt x="101" y="192"/>
                    </a:lnTo>
                    <a:lnTo>
                      <a:pt x="102" y="237"/>
                    </a:lnTo>
                    <a:lnTo>
                      <a:pt x="126" y="234"/>
                    </a:lnTo>
                    <a:lnTo>
                      <a:pt x="161" y="180"/>
                    </a:lnTo>
                    <a:lnTo>
                      <a:pt x="161" y="164"/>
                    </a:lnTo>
                    <a:lnTo>
                      <a:pt x="180" y="162"/>
                    </a:lnTo>
                    <a:lnTo>
                      <a:pt x="242" y="246"/>
                    </a:lnTo>
                    <a:lnTo>
                      <a:pt x="285" y="248"/>
                    </a:lnTo>
                    <a:lnTo>
                      <a:pt x="287" y="284"/>
                    </a:lnTo>
                    <a:lnTo>
                      <a:pt x="305" y="303"/>
                    </a:lnTo>
                    <a:lnTo>
                      <a:pt x="317" y="294"/>
                    </a:lnTo>
                    <a:lnTo>
                      <a:pt x="339" y="347"/>
                    </a:lnTo>
                    <a:lnTo>
                      <a:pt x="326" y="357"/>
                    </a:lnTo>
                    <a:lnTo>
                      <a:pt x="383" y="405"/>
                    </a:lnTo>
                    <a:lnTo>
                      <a:pt x="380" y="440"/>
                    </a:lnTo>
                    <a:lnTo>
                      <a:pt x="359" y="503"/>
                    </a:lnTo>
                    <a:lnTo>
                      <a:pt x="296" y="539"/>
                    </a:lnTo>
                    <a:lnTo>
                      <a:pt x="294" y="510"/>
                    </a:lnTo>
                    <a:lnTo>
                      <a:pt x="242" y="494"/>
                    </a:lnTo>
                    <a:lnTo>
                      <a:pt x="224" y="539"/>
                    </a:lnTo>
                    <a:lnTo>
                      <a:pt x="188" y="555"/>
                    </a:lnTo>
                    <a:lnTo>
                      <a:pt x="141" y="620"/>
                    </a:lnTo>
                    <a:lnTo>
                      <a:pt x="128" y="621"/>
                    </a:lnTo>
                    <a:lnTo>
                      <a:pt x="144" y="638"/>
                    </a:lnTo>
                    <a:lnTo>
                      <a:pt x="138" y="653"/>
                    </a:lnTo>
                    <a:lnTo>
                      <a:pt x="153" y="677"/>
                    </a:lnTo>
                    <a:lnTo>
                      <a:pt x="188" y="677"/>
                    </a:lnTo>
                    <a:lnTo>
                      <a:pt x="252" y="662"/>
                    </a:lnTo>
                    <a:lnTo>
                      <a:pt x="275" y="680"/>
                    </a:lnTo>
                    <a:lnTo>
                      <a:pt x="311" y="647"/>
                    </a:lnTo>
                    <a:lnTo>
                      <a:pt x="300" y="609"/>
                    </a:lnTo>
                    <a:lnTo>
                      <a:pt x="329" y="606"/>
                    </a:lnTo>
                    <a:lnTo>
                      <a:pt x="345" y="590"/>
                    </a:lnTo>
                    <a:lnTo>
                      <a:pt x="377" y="644"/>
                    </a:lnTo>
                    <a:lnTo>
                      <a:pt x="375" y="663"/>
                    </a:lnTo>
                    <a:lnTo>
                      <a:pt x="420" y="663"/>
                    </a:lnTo>
                    <a:lnTo>
                      <a:pt x="411" y="636"/>
                    </a:lnTo>
                    <a:lnTo>
                      <a:pt x="435" y="641"/>
                    </a:lnTo>
                    <a:lnTo>
                      <a:pt x="459" y="627"/>
                    </a:lnTo>
                    <a:lnTo>
                      <a:pt x="503" y="662"/>
                    </a:lnTo>
                    <a:lnTo>
                      <a:pt x="567" y="650"/>
                    </a:lnTo>
                    <a:lnTo>
                      <a:pt x="545" y="668"/>
                    </a:lnTo>
                    <a:lnTo>
                      <a:pt x="546" y="684"/>
                    </a:lnTo>
                    <a:lnTo>
                      <a:pt x="569" y="692"/>
                    </a:lnTo>
                    <a:lnTo>
                      <a:pt x="585" y="692"/>
                    </a:lnTo>
                    <a:lnTo>
                      <a:pt x="603" y="662"/>
                    </a:lnTo>
                    <a:lnTo>
                      <a:pt x="606" y="648"/>
                    </a:lnTo>
                    <a:lnTo>
                      <a:pt x="603" y="638"/>
                    </a:lnTo>
                    <a:lnTo>
                      <a:pt x="585" y="588"/>
                    </a:lnTo>
                    <a:lnTo>
                      <a:pt x="584" y="554"/>
                    </a:lnTo>
                    <a:lnTo>
                      <a:pt x="587" y="530"/>
                    </a:lnTo>
                    <a:lnTo>
                      <a:pt x="599" y="539"/>
                    </a:lnTo>
                    <a:lnTo>
                      <a:pt x="611" y="591"/>
                    </a:lnTo>
                    <a:lnTo>
                      <a:pt x="618" y="611"/>
                    </a:lnTo>
                    <a:lnTo>
                      <a:pt x="641" y="608"/>
                    </a:lnTo>
                    <a:lnTo>
                      <a:pt x="641" y="594"/>
                    </a:lnTo>
                    <a:lnTo>
                      <a:pt x="654" y="581"/>
                    </a:lnTo>
                    <a:lnTo>
                      <a:pt x="668" y="593"/>
                    </a:lnTo>
                    <a:lnTo>
                      <a:pt x="686" y="591"/>
                    </a:lnTo>
                    <a:lnTo>
                      <a:pt x="705" y="614"/>
                    </a:lnTo>
                    <a:lnTo>
                      <a:pt x="695" y="627"/>
                    </a:lnTo>
                    <a:lnTo>
                      <a:pt x="716" y="656"/>
                    </a:lnTo>
                    <a:lnTo>
                      <a:pt x="752" y="774"/>
                    </a:lnTo>
                    <a:lnTo>
                      <a:pt x="792" y="834"/>
                    </a:lnTo>
                    <a:lnTo>
                      <a:pt x="824" y="837"/>
                    </a:lnTo>
                    <a:lnTo>
                      <a:pt x="830" y="827"/>
                    </a:lnTo>
                    <a:lnTo>
                      <a:pt x="827" y="812"/>
                    </a:lnTo>
                    <a:lnTo>
                      <a:pt x="833" y="792"/>
                    </a:lnTo>
                    <a:lnTo>
                      <a:pt x="821" y="774"/>
                    </a:lnTo>
                    <a:lnTo>
                      <a:pt x="816" y="758"/>
                    </a:lnTo>
                    <a:lnTo>
                      <a:pt x="816" y="741"/>
                    </a:lnTo>
                    <a:lnTo>
                      <a:pt x="812" y="713"/>
                    </a:lnTo>
                    <a:lnTo>
                      <a:pt x="806" y="693"/>
                    </a:lnTo>
                    <a:lnTo>
                      <a:pt x="807" y="680"/>
                    </a:lnTo>
                    <a:lnTo>
                      <a:pt x="824" y="653"/>
                    </a:lnTo>
                    <a:lnTo>
                      <a:pt x="809" y="608"/>
                    </a:lnTo>
                    <a:lnTo>
                      <a:pt x="804" y="576"/>
                    </a:lnTo>
                    <a:lnTo>
                      <a:pt x="848" y="567"/>
                    </a:lnTo>
                    <a:lnTo>
                      <a:pt x="882" y="504"/>
                    </a:lnTo>
                    <a:lnTo>
                      <a:pt x="834" y="515"/>
                    </a:lnTo>
                    <a:lnTo>
                      <a:pt x="836" y="501"/>
                    </a:lnTo>
                    <a:lnTo>
                      <a:pt x="831" y="489"/>
                    </a:lnTo>
                    <a:lnTo>
                      <a:pt x="824" y="434"/>
                    </a:lnTo>
                    <a:lnTo>
                      <a:pt x="810" y="425"/>
                    </a:lnTo>
                    <a:lnTo>
                      <a:pt x="810" y="390"/>
                    </a:lnTo>
                    <a:lnTo>
                      <a:pt x="780" y="392"/>
                    </a:lnTo>
                    <a:lnTo>
                      <a:pt x="782" y="380"/>
                    </a:lnTo>
                    <a:lnTo>
                      <a:pt x="798" y="378"/>
                    </a:lnTo>
                    <a:lnTo>
                      <a:pt x="795" y="359"/>
                    </a:lnTo>
                    <a:lnTo>
                      <a:pt x="815" y="350"/>
                    </a:lnTo>
                    <a:lnTo>
                      <a:pt x="800" y="336"/>
                    </a:lnTo>
                    <a:lnTo>
                      <a:pt x="792" y="312"/>
                    </a:lnTo>
                    <a:lnTo>
                      <a:pt x="803" y="293"/>
                    </a:lnTo>
                    <a:lnTo>
                      <a:pt x="762" y="261"/>
                    </a:lnTo>
                    <a:lnTo>
                      <a:pt x="785" y="258"/>
                    </a:lnTo>
                    <a:lnTo>
                      <a:pt x="783" y="237"/>
                    </a:lnTo>
                    <a:lnTo>
                      <a:pt x="773" y="236"/>
                    </a:lnTo>
                    <a:lnTo>
                      <a:pt x="771" y="192"/>
                    </a:lnTo>
                    <a:lnTo>
                      <a:pt x="785" y="191"/>
                    </a:lnTo>
                    <a:lnTo>
                      <a:pt x="797" y="162"/>
                    </a:lnTo>
                    <a:lnTo>
                      <a:pt x="840" y="96"/>
                    </a:lnTo>
                    <a:lnTo>
                      <a:pt x="824" y="84"/>
                    </a:lnTo>
                    <a:lnTo>
                      <a:pt x="800" y="75"/>
                    </a:lnTo>
                    <a:lnTo>
                      <a:pt x="779" y="90"/>
                    </a:lnTo>
                    <a:lnTo>
                      <a:pt x="731" y="83"/>
                    </a:lnTo>
                    <a:lnTo>
                      <a:pt x="710" y="71"/>
                    </a:lnTo>
                    <a:lnTo>
                      <a:pt x="698" y="53"/>
                    </a:lnTo>
                    <a:lnTo>
                      <a:pt x="692" y="26"/>
                    </a:lnTo>
                    <a:lnTo>
                      <a:pt x="644" y="12"/>
                    </a:lnTo>
                    <a:lnTo>
                      <a:pt x="611" y="18"/>
                    </a:lnTo>
                    <a:lnTo>
                      <a:pt x="593" y="0"/>
                    </a:lnTo>
                    <a:lnTo>
                      <a:pt x="575" y="2"/>
                    </a:lnTo>
                    <a:lnTo>
                      <a:pt x="543" y="42"/>
                    </a:lnTo>
                    <a:lnTo>
                      <a:pt x="527" y="50"/>
                    </a:lnTo>
                    <a:lnTo>
                      <a:pt x="504" y="53"/>
                    </a:lnTo>
                    <a:lnTo>
                      <a:pt x="486" y="65"/>
                    </a:lnTo>
                    <a:lnTo>
                      <a:pt x="461" y="72"/>
                    </a:lnTo>
                    <a:lnTo>
                      <a:pt x="449" y="113"/>
                    </a:lnTo>
                    <a:lnTo>
                      <a:pt x="420" y="96"/>
                    </a:lnTo>
                    <a:lnTo>
                      <a:pt x="366" y="125"/>
                    </a:lnTo>
                    <a:lnTo>
                      <a:pt x="348" y="113"/>
                    </a:lnTo>
                    <a:lnTo>
                      <a:pt x="282" y="116"/>
                    </a:lnTo>
                    <a:lnTo>
                      <a:pt x="284" y="135"/>
                    </a:lnTo>
                    <a:lnTo>
                      <a:pt x="246" y="132"/>
                    </a:lnTo>
                    <a:lnTo>
                      <a:pt x="252" y="92"/>
                    </a:lnTo>
                    <a:lnTo>
                      <a:pt x="237" y="65"/>
                    </a:lnTo>
                    <a:lnTo>
                      <a:pt x="209" y="56"/>
                    </a:lnTo>
                    <a:lnTo>
                      <a:pt x="162" y="72"/>
                    </a:lnTo>
                    <a:lnTo>
                      <a:pt x="135" y="63"/>
                    </a:lnTo>
                    <a:lnTo>
                      <a:pt x="117" y="84"/>
                    </a:lnTo>
                    <a:lnTo>
                      <a:pt x="108" y="126"/>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39" name="Freeform 6184">
                <a:extLst>
                  <a:ext uri="{FF2B5EF4-FFF2-40B4-BE49-F238E27FC236}">
                    <a16:creationId xmlns:a16="http://schemas.microsoft.com/office/drawing/2014/main" id="{03BE54E7-5581-1743-A0C6-3C95BFB9046B}"/>
                  </a:ext>
                </a:extLst>
              </p:cNvPr>
              <p:cNvSpPr>
                <a:spLocks/>
              </p:cNvSpPr>
              <p:nvPr/>
            </p:nvSpPr>
            <p:spPr bwMode="gray">
              <a:xfrm>
                <a:off x="3197376" y="4178378"/>
                <a:ext cx="462409" cy="429127"/>
              </a:xfrm>
              <a:custGeom>
                <a:avLst/>
                <a:gdLst>
                  <a:gd name="T0" fmla="*/ 24 w 426"/>
                  <a:gd name="T1" fmla="*/ 57 h 404"/>
                  <a:gd name="T2" fmla="*/ 0 w 426"/>
                  <a:gd name="T3" fmla="*/ 39 h 404"/>
                  <a:gd name="T4" fmla="*/ 11 w 426"/>
                  <a:gd name="T5" fmla="*/ 15 h 404"/>
                  <a:gd name="T6" fmla="*/ 48 w 426"/>
                  <a:gd name="T7" fmla="*/ 32 h 404"/>
                  <a:gd name="T8" fmla="*/ 57 w 426"/>
                  <a:gd name="T9" fmla="*/ 17 h 404"/>
                  <a:gd name="T10" fmla="*/ 111 w 426"/>
                  <a:gd name="T11" fmla="*/ 17 h 404"/>
                  <a:gd name="T12" fmla="*/ 111 w 426"/>
                  <a:gd name="T13" fmla="*/ 32 h 404"/>
                  <a:gd name="T14" fmla="*/ 122 w 426"/>
                  <a:gd name="T15" fmla="*/ 47 h 404"/>
                  <a:gd name="T16" fmla="*/ 140 w 426"/>
                  <a:gd name="T17" fmla="*/ 45 h 404"/>
                  <a:gd name="T18" fmla="*/ 182 w 426"/>
                  <a:gd name="T19" fmla="*/ 2 h 404"/>
                  <a:gd name="T20" fmla="*/ 276 w 426"/>
                  <a:gd name="T21" fmla="*/ 0 h 404"/>
                  <a:gd name="T22" fmla="*/ 285 w 426"/>
                  <a:gd name="T23" fmla="*/ 11 h 404"/>
                  <a:gd name="T24" fmla="*/ 257 w 426"/>
                  <a:gd name="T25" fmla="*/ 15 h 404"/>
                  <a:gd name="T26" fmla="*/ 237 w 426"/>
                  <a:gd name="T27" fmla="*/ 29 h 404"/>
                  <a:gd name="T28" fmla="*/ 243 w 426"/>
                  <a:gd name="T29" fmla="*/ 45 h 404"/>
                  <a:gd name="T30" fmla="*/ 255 w 426"/>
                  <a:gd name="T31" fmla="*/ 50 h 404"/>
                  <a:gd name="T32" fmla="*/ 288 w 426"/>
                  <a:gd name="T33" fmla="*/ 53 h 404"/>
                  <a:gd name="T34" fmla="*/ 315 w 426"/>
                  <a:gd name="T35" fmla="*/ 65 h 404"/>
                  <a:gd name="T36" fmla="*/ 350 w 426"/>
                  <a:gd name="T37" fmla="*/ 66 h 404"/>
                  <a:gd name="T38" fmla="*/ 411 w 426"/>
                  <a:gd name="T39" fmla="*/ 32 h 404"/>
                  <a:gd name="T40" fmla="*/ 426 w 426"/>
                  <a:gd name="T41" fmla="*/ 30 h 404"/>
                  <a:gd name="T42" fmla="*/ 402 w 426"/>
                  <a:gd name="T43" fmla="*/ 65 h 404"/>
                  <a:gd name="T44" fmla="*/ 392 w 426"/>
                  <a:gd name="T45" fmla="*/ 111 h 404"/>
                  <a:gd name="T46" fmla="*/ 371 w 426"/>
                  <a:gd name="T47" fmla="*/ 131 h 404"/>
                  <a:gd name="T48" fmla="*/ 339 w 426"/>
                  <a:gd name="T49" fmla="*/ 143 h 404"/>
                  <a:gd name="T50" fmla="*/ 324 w 426"/>
                  <a:gd name="T51" fmla="*/ 143 h 404"/>
                  <a:gd name="T52" fmla="*/ 279 w 426"/>
                  <a:gd name="T53" fmla="*/ 191 h 404"/>
                  <a:gd name="T54" fmla="*/ 297 w 426"/>
                  <a:gd name="T55" fmla="*/ 203 h 404"/>
                  <a:gd name="T56" fmla="*/ 299 w 426"/>
                  <a:gd name="T57" fmla="*/ 248 h 404"/>
                  <a:gd name="T58" fmla="*/ 248 w 426"/>
                  <a:gd name="T59" fmla="*/ 263 h 404"/>
                  <a:gd name="T60" fmla="*/ 239 w 426"/>
                  <a:gd name="T61" fmla="*/ 239 h 404"/>
                  <a:gd name="T62" fmla="*/ 200 w 426"/>
                  <a:gd name="T63" fmla="*/ 254 h 404"/>
                  <a:gd name="T64" fmla="*/ 195 w 426"/>
                  <a:gd name="T65" fmla="*/ 228 h 404"/>
                  <a:gd name="T66" fmla="*/ 186 w 426"/>
                  <a:gd name="T67" fmla="*/ 213 h 404"/>
                  <a:gd name="T68" fmla="*/ 182 w 426"/>
                  <a:gd name="T69" fmla="*/ 224 h 404"/>
                  <a:gd name="T70" fmla="*/ 180 w 426"/>
                  <a:gd name="T71" fmla="*/ 269 h 404"/>
                  <a:gd name="T72" fmla="*/ 186 w 426"/>
                  <a:gd name="T73" fmla="*/ 314 h 404"/>
                  <a:gd name="T74" fmla="*/ 188 w 426"/>
                  <a:gd name="T75" fmla="*/ 326 h 404"/>
                  <a:gd name="T76" fmla="*/ 215 w 426"/>
                  <a:gd name="T77" fmla="*/ 353 h 404"/>
                  <a:gd name="T78" fmla="*/ 246 w 426"/>
                  <a:gd name="T79" fmla="*/ 365 h 404"/>
                  <a:gd name="T80" fmla="*/ 254 w 426"/>
                  <a:gd name="T81" fmla="*/ 396 h 404"/>
                  <a:gd name="T82" fmla="*/ 216 w 426"/>
                  <a:gd name="T83" fmla="*/ 404 h 404"/>
                  <a:gd name="T84" fmla="*/ 180 w 426"/>
                  <a:gd name="T85" fmla="*/ 371 h 404"/>
                  <a:gd name="T86" fmla="*/ 125 w 426"/>
                  <a:gd name="T87" fmla="*/ 321 h 404"/>
                  <a:gd name="T88" fmla="*/ 132 w 426"/>
                  <a:gd name="T89" fmla="*/ 305 h 404"/>
                  <a:gd name="T90" fmla="*/ 141 w 426"/>
                  <a:gd name="T91" fmla="*/ 242 h 404"/>
                  <a:gd name="T92" fmla="*/ 137 w 426"/>
                  <a:gd name="T93" fmla="*/ 204 h 404"/>
                  <a:gd name="T94" fmla="*/ 150 w 426"/>
                  <a:gd name="T95" fmla="*/ 137 h 404"/>
                  <a:gd name="T96" fmla="*/ 137 w 426"/>
                  <a:gd name="T97" fmla="*/ 131 h 404"/>
                  <a:gd name="T98" fmla="*/ 114 w 426"/>
                  <a:gd name="T99" fmla="*/ 134 h 404"/>
                  <a:gd name="T100" fmla="*/ 102 w 426"/>
                  <a:gd name="T101" fmla="*/ 132 h 404"/>
                  <a:gd name="T102" fmla="*/ 90 w 426"/>
                  <a:gd name="T103" fmla="*/ 113 h 404"/>
                  <a:gd name="T104" fmla="*/ 116 w 426"/>
                  <a:gd name="T105" fmla="*/ 81 h 404"/>
                  <a:gd name="T106" fmla="*/ 120 w 426"/>
                  <a:gd name="T107" fmla="*/ 72 h 404"/>
                  <a:gd name="T108" fmla="*/ 135 w 426"/>
                  <a:gd name="T109" fmla="*/ 66 h 404"/>
                  <a:gd name="T110" fmla="*/ 134 w 426"/>
                  <a:gd name="T111" fmla="*/ 53 h 404"/>
                  <a:gd name="T112" fmla="*/ 114 w 426"/>
                  <a:gd name="T113" fmla="*/ 59 h 404"/>
                  <a:gd name="T114" fmla="*/ 107 w 426"/>
                  <a:gd name="T115" fmla="*/ 45 h 404"/>
                  <a:gd name="T116" fmla="*/ 92 w 426"/>
                  <a:gd name="T117" fmla="*/ 45 h 404"/>
                  <a:gd name="T118" fmla="*/ 69 w 426"/>
                  <a:gd name="T119" fmla="*/ 42 h 404"/>
                  <a:gd name="T120" fmla="*/ 24 w 426"/>
                  <a:gd name="T121" fmla="*/ 5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6" h="404">
                    <a:moveTo>
                      <a:pt x="24" y="57"/>
                    </a:moveTo>
                    <a:lnTo>
                      <a:pt x="0" y="39"/>
                    </a:lnTo>
                    <a:lnTo>
                      <a:pt x="11" y="15"/>
                    </a:lnTo>
                    <a:lnTo>
                      <a:pt x="48" y="32"/>
                    </a:lnTo>
                    <a:lnTo>
                      <a:pt x="57" y="17"/>
                    </a:lnTo>
                    <a:lnTo>
                      <a:pt x="111" y="17"/>
                    </a:lnTo>
                    <a:lnTo>
                      <a:pt x="111" y="32"/>
                    </a:lnTo>
                    <a:lnTo>
                      <a:pt x="122" y="47"/>
                    </a:lnTo>
                    <a:lnTo>
                      <a:pt x="140" y="45"/>
                    </a:lnTo>
                    <a:lnTo>
                      <a:pt x="182" y="2"/>
                    </a:lnTo>
                    <a:lnTo>
                      <a:pt x="276" y="0"/>
                    </a:lnTo>
                    <a:lnTo>
                      <a:pt x="285" y="11"/>
                    </a:lnTo>
                    <a:lnTo>
                      <a:pt x="257" y="15"/>
                    </a:lnTo>
                    <a:lnTo>
                      <a:pt x="237" y="29"/>
                    </a:lnTo>
                    <a:lnTo>
                      <a:pt x="243" y="45"/>
                    </a:lnTo>
                    <a:lnTo>
                      <a:pt x="255" y="50"/>
                    </a:lnTo>
                    <a:lnTo>
                      <a:pt x="288" y="53"/>
                    </a:lnTo>
                    <a:lnTo>
                      <a:pt x="315" y="65"/>
                    </a:lnTo>
                    <a:lnTo>
                      <a:pt x="350" y="66"/>
                    </a:lnTo>
                    <a:lnTo>
                      <a:pt x="411" y="32"/>
                    </a:lnTo>
                    <a:lnTo>
                      <a:pt x="426" y="30"/>
                    </a:lnTo>
                    <a:lnTo>
                      <a:pt x="402" y="65"/>
                    </a:lnTo>
                    <a:lnTo>
                      <a:pt x="392" y="111"/>
                    </a:lnTo>
                    <a:lnTo>
                      <a:pt x="371" y="131"/>
                    </a:lnTo>
                    <a:lnTo>
                      <a:pt x="339" y="143"/>
                    </a:lnTo>
                    <a:lnTo>
                      <a:pt x="324" y="143"/>
                    </a:lnTo>
                    <a:lnTo>
                      <a:pt x="279" y="191"/>
                    </a:lnTo>
                    <a:lnTo>
                      <a:pt x="297" y="203"/>
                    </a:lnTo>
                    <a:lnTo>
                      <a:pt x="299" y="248"/>
                    </a:lnTo>
                    <a:lnTo>
                      <a:pt x="248" y="263"/>
                    </a:lnTo>
                    <a:lnTo>
                      <a:pt x="239" y="239"/>
                    </a:lnTo>
                    <a:lnTo>
                      <a:pt x="200" y="254"/>
                    </a:lnTo>
                    <a:lnTo>
                      <a:pt x="195" y="228"/>
                    </a:lnTo>
                    <a:lnTo>
                      <a:pt x="186" y="213"/>
                    </a:lnTo>
                    <a:lnTo>
                      <a:pt x="182" y="224"/>
                    </a:lnTo>
                    <a:lnTo>
                      <a:pt x="180" y="269"/>
                    </a:lnTo>
                    <a:lnTo>
                      <a:pt x="186" y="314"/>
                    </a:lnTo>
                    <a:lnTo>
                      <a:pt x="188" y="326"/>
                    </a:lnTo>
                    <a:lnTo>
                      <a:pt x="215" y="353"/>
                    </a:lnTo>
                    <a:lnTo>
                      <a:pt x="246" y="365"/>
                    </a:lnTo>
                    <a:lnTo>
                      <a:pt x="254" y="396"/>
                    </a:lnTo>
                    <a:lnTo>
                      <a:pt x="216" y="404"/>
                    </a:lnTo>
                    <a:lnTo>
                      <a:pt x="180" y="371"/>
                    </a:lnTo>
                    <a:lnTo>
                      <a:pt x="125" y="321"/>
                    </a:lnTo>
                    <a:lnTo>
                      <a:pt x="132" y="305"/>
                    </a:lnTo>
                    <a:lnTo>
                      <a:pt x="141" y="242"/>
                    </a:lnTo>
                    <a:lnTo>
                      <a:pt x="137" y="204"/>
                    </a:lnTo>
                    <a:lnTo>
                      <a:pt x="150" y="137"/>
                    </a:lnTo>
                    <a:lnTo>
                      <a:pt x="137" y="131"/>
                    </a:lnTo>
                    <a:lnTo>
                      <a:pt x="114" y="134"/>
                    </a:lnTo>
                    <a:lnTo>
                      <a:pt x="102" y="132"/>
                    </a:lnTo>
                    <a:lnTo>
                      <a:pt x="90" y="113"/>
                    </a:lnTo>
                    <a:lnTo>
                      <a:pt x="116" y="81"/>
                    </a:lnTo>
                    <a:lnTo>
                      <a:pt x="120" y="72"/>
                    </a:lnTo>
                    <a:lnTo>
                      <a:pt x="135" y="66"/>
                    </a:lnTo>
                    <a:lnTo>
                      <a:pt x="134" y="53"/>
                    </a:lnTo>
                    <a:lnTo>
                      <a:pt x="114" y="59"/>
                    </a:lnTo>
                    <a:lnTo>
                      <a:pt x="107" y="45"/>
                    </a:lnTo>
                    <a:lnTo>
                      <a:pt x="92" y="45"/>
                    </a:lnTo>
                    <a:lnTo>
                      <a:pt x="69" y="42"/>
                    </a:lnTo>
                    <a:lnTo>
                      <a:pt x="24" y="57"/>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40" name="Freeform 6185">
                <a:extLst>
                  <a:ext uri="{FF2B5EF4-FFF2-40B4-BE49-F238E27FC236}">
                    <a16:creationId xmlns:a16="http://schemas.microsoft.com/office/drawing/2014/main" id="{DCDB7274-9690-AFD3-80F9-9710059732AC}"/>
                  </a:ext>
                </a:extLst>
              </p:cNvPr>
              <p:cNvSpPr>
                <a:spLocks/>
              </p:cNvSpPr>
              <p:nvPr/>
            </p:nvSpPr>
            <p:spPr bwMode="gray">
              <a:xfrm>
                <a:off x="2991411" y="4224285"/>
                <a:ext cx="403850" cy="413159"/>
              </a:xfrm>
              <a:custGeom>
                <a:avLst/>
                <a:gdLst>
                  <a:gd name="T0" fmla="*/ 266 w 374"/>
                  <a:gd name="T1" fmla="*/ 0 h 388"/>
                  <a:gd name="T2" fmla="*/ 218 w 374"/>
                  <a:gd name="T3" fmla="*/ 12 h 388"/>
                  <a:gd name="T4" fmla="*/ 194 w 374"/>
                  <a:gd name="T5" fmla="*/ 22 h 388"/>
                  <a:gd name="T6" fmla="*/ 165 w 374"/>
                  <a:gd name="T7" fmla="*/ 13 h 388"/>
                  <a:gd name="T8" fmla="*/ 119 w 374"/>
                  <a:gd name="T9" fmla="*/ 42 h 388"/>
                  <a:gd name="T10" fmla="*/ 140 w 374"/>
                  <a:gd name="T11" fmla="*/ 76 h 388"/>
                  <a:gd name="T12" fmla="*/ 107 w 374"/>
                  <a:gd name="T13" fmla="*/ 99 h 388"/>
                  <a:gd name="T14" fmla="*/ 77 w 374"/>
                  <a:gd name="T15" fmla="*/ 151 h 388"/>
                  <a:gd name="T16" fmla="*/ 71 w 374"/>
                  <a:gd name="T17" fmla="*/ 124 h 388"/>
                  <a:gd name="T18" fmla="*/ 50 w 374"/>
                  <a:gd name="T19" fmla="*/ 123 h 388"/>
                  <a:gd name="T20" fmla="*/ 42 w 374"/>
                  <a:gd name="T21" fmla="*/ 142 h 388"/>
                  <a:gd name="T22" fmla="*/ 26 w 374"/>
                  <a:gd name="T23" fmla="*/ 144 h 388"/>
                  <a:gd name="T24" fmla="*/ 27 w 374"/>
                  <a:gd name="T25" fmla="*/ 207 h 388"/>
                  <a:gd name="T26" fmla="*/ 0 w 374"/>
                  <a:gd name="T27" fmla="*/ 243 h 388"/>
                  <a:gd name="T28" fmla="*/ 23 w 374"/>
                  <a:gd name="T29" fmla="*/ 303 h 388"/>
                  <a:gd name="T30" fmla="*/ 3 w 374"/>
                  <a:gd name="T31" fmla="*/ 337 h 388"/>
                  <a:gd name="T32" fmla="*/ 54 w 374"/>
                  <a:gd name="T33" fmla="*/ 337 h 388"/>
                  <a:gd name="T34" fmla="*/ 128 w 374"/>
                  <a:gd name="T35" fmla="*/ 385 h 388"/>
                  <a:gd name="T36" fmla="*/ 171 w 374"/>
                  <a:gd name="T37" fmla="*/ 373 h 388"/>
                  <a:gd name="T38" fmla="*/ 215 w 374"/>
                  <a:gd name="T39" fmla="*/ 370 h 388"/>
                  <a:gd name="T40" fmla="*/ 231 w 374"/>
                  <a:gd name="T41" fmla="*/ 366 h 388"/>
                  <a:gd name="T42" fmla="*/ 266 w 374"/>
                  <a:gd name="T43" fmla="*/ 388 h 388"/>
                  <a:gd name="T44" fmla="*/ 374 w 374"/>
                  <a:gd name="T45" fmla="*/ 325 h 388"/>
                  <a:gd name="T46" fmla="*/ 318 w 374"/>
                  <a:gd name="T47" fmla="*/ 279 h 388"/>
                  <a:gd name="T48" fmla="*/ 327 w 374"/>
                  <a:gd name="T49" fmla="*/ 259 h 388"/>
                  <a:gd name="T50" fmla="*/ 335 w 374"/>
                  <a:gd name="T51" fmla="*/ 192 h 388"/>
                  <a:gd name="T52" fmla="*/ 327 w 374"/>
                  <a:gd name="T53" fmla="*/ 160 h 388"/>
                  <a:gd name="T54" fmla="*/ 342 w 374"/>
                  <a:gd name="T55" fmla="*/ 94 h 388"/>
                  <a:gd name="T56" fmla="*/ 329 w 374"/>
                  <a:gd name="T57" fmla="*/ 90 h 388"/>
                  <a:gd name="T58" fmla="*/ 293 w 374"/>
                  <a:gd name="T59" fmla="*/ 90 h 388"/>
                  <a:gd name="T60" fmla="*/ 282 w 374"/>
                  <a:gd name="T61" fmla="*/ 67 h 388"/>
                  <a:gd name="T62" fmla="*/ 317 w 374"/>
                  <a:gd name="T63" fmla="*/ 27 h 388"/>
                  <a:gd name="T64" fmla="*/ 329 w 374"/>
                  <a:gd name="T65" fmla="*/ 22 h 388"/>
                  <a:gd name="T66" fmla="*/ 329 w 374"/>
                  <a:gd name="T67" fmla="*/ 7 h 388"/>
                  <a:gd name="T68" fmla="*/ 306 w 374"/>
                  <a:gd name="T69" fmla="*/ 15 h 388"/>
                  <a:gd name="T70" fmla="*/ 299 w 374"/>
                  <a:gd name="T71" fmla="*/ 3 h 388"/>
                  <a:gd name="T72" fmla="*/ 279 w 374"/>
                  <a:gd name="T73" fmla="*/ 3 h 388"/>
                  <a:gd name="T74" fmla="*/ 266 w 374"/>
                  <a:gd name="T75"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4" h="388">
                    <a:moveTo>
                      <a:pt x="266" y="0"/>
                    </a:moveTo>
                    <a:lnTo>
                      <a:pt x="218" y="12"/>
                    </a:lnTo>
                    <a:lnTo>
                      <a:pt x="194" y="22"/>
                    </a:lnTo>
                    <a:lnTo>
                      <a:pt x="165" y="13"/>
                    </a:lnTo>
                    <a:lnTo>
                      <a:pt x="119" y="42"/>
                    </a:lnTo>
                    <a:lnTo>
                      <a:pt x="140" y="76"/>
                    </a:lnTo>
                    <a:lnTo>
                      <a:pt x="107" y="99"/>
                    </a:lnTo>
                    <a:lnTo>
                      <a:pt x="77" y="151"/>
                    </a:lnTo>
                    <a:lnTo>
                      <a:pt x="71" y="124"/>
                    </a:lnTo>
                    <a:lnTo>
                      <a:pt x="50" y="123"/>
                    </a:lnTo>
                    <a:lnTo>
                      <a:pt x="42" y="142"/>
                    </a:lnTo>
                    <a:lnTo>
                      <a:pt x="26" y="144"/>
                    </a:lnTo>
                    <a:lnTo>
                      <a:pt x="27" y="207"/>
                    </a:lnTo>
                    <a:lnTo>
                      <a:pt x="0" y="243"/>
                    </a:lnTo>
                    <a:lnTo>
                      <a:pt x="23" y="303"/>
                    </a:lnTo>
                    <a:lnTo>
                      <a:pt x="3" y="337"/>
                    </a:lnTo>
                    <a:lnTo>
                      <a:pt x="54" y="337"/>
                    </a:lnTo>
                    <a:lnTo>
                      <a:pt x="128" y="385"/>
                    </a:lnTo>
                    <a:lnTo>
                      <a:pt x="171" y="373"/>
                    </a:lnTo>
                    <a:lnTo>
                      <a:pt x="215" y="370"/>
                    </a:lnTo>
                    <a:lnTo>
                      <a:pt x="231" y="366"/>
                    </a:lnTo>
                    <a:lnTo>
                      <a:pt x="266" y="388"/>
                    </a:lnTo>
                    <a:lnTo>
                      <a:pt x="374" y="325"/>
                    </a:lnTo>
                    <a:lnTo>
                      <a:pt x="318" y="279"/>
                    </a:lnTo>
                    <a:lnTo>
                      <a:pt x="327" y="259"/>
                    </a:lnTo>
                    <a:lnTo>
                      <a:pt x="335" y="192"/>
                    </a:lnTo>
                    <a:lnTo>
                      <a:pt x="327" y="160"/>
                    </a:lnTo>
                    <a:lnTo>
                      <a:pt x="342" y="94"/>
                    </a:lnTo>
                    <a:lnTo>
                      <a:pt x="329" y="90"/>
                    </a:lnTo>
                    <a:lnTo>
                      <a:pt x="293" y="90"/>
                    </a:lnTo>
                    <a:lnTo>
                      <a:pt x="282" y="67"/>
                    </a:lnTo>
                    <a:lnTo>
                      <a:pt x="317" y="27"/>
                    </a:lnTo>
                    <a:lnTo>
                      <a:pt x="329" y="22"/>
                    </a:lnTo>
                    <a:lnTo>
                      <a:pt x="329" y="7"/>
                    </a:lnTo>
                    <a:lnTo>
                      <a:pt x="306" y="15"/>
                    </a:lnTo>
                    <a:lnTo>
                      <a:pt x="299" y="3"/>
                    </a:lnTo>
                    <a:lnTo>
                      <a:pt x="279" y="3"/>
                    </a:lnTo>
                    <a:lnTo>
                      <a:pt x="266" y="0"/>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41" name="Freeform 6186">
                <a:extLst>
                  <a:ext uri="{FF2B5EF4-FFF2-40B4-BE49-F238E27FC236}">
                    <a16:creationId xmlns:a16="http://schemas.microsoft.com/office/drawing/2014/main" id="{C3DD4803-15F6-7AD4-16A2-A30C065D0B70}"/>
                  </a:ext>
                </a:extLst>
              </p:cNvPr>
              <p:cNvSpPr>
                <a:spLocks/>
              </p:cNvSpPr>
              <p:nvPr/>
            </p:nvSpPr>
            <p:spPr bwMode="gray">
              <a:xfrm>
                <a:off x="3395261" y="4405916"/>
                <a:ext cx="175676" cy="201590"/>
              </a:xfrm>
              <a:custGeom>
                <a:avLst/>
                <a:gdLst>
                  <a:gd name="T0" fmla="*/ 19 w 162"/>
                  <a:gd name="T1" fmla="*/ 37 h 189"/>
                  <a:gd name="T2" fmla="*/ 57 w 162"/>
                  <a:gd name="T3" fmla="*/ 22 h 189"/>
                  <a:gd name="T4" fmla="*/ 69 w 162"/>
                  <a:gd name="T5" fmla="*/ 52 h 189"/>
                  <a:gd name="T6" fmla="*/ 117 w 162"/>
                  <a:gd name="T7" fmla="*/ 33 h 189"/>
                  <a:gd name="T8" fmla="*/ 144 w 162"/>
                  <a:gd name="T9" fmla="*/ 36 h 189"/>
                  <a:gd name="T10" fmla="*/ 162 w 162"/>
                  <a:gd name="T11" fmla="*/ 63 h 189"/>
                  <a:gd name="T12" fmla="*/ 139 w 162"/>
                  <a:gd name="T13" fmla="*/ 82 h 189"/>
                  <a:gd name="T14" fmla="*/ 136 w 162"/>
                  <a:gd name="T15" fmla="*/ 124 h 189"/>
                  <a:gd name="T16" fmla="*/ 135 w 162"/>
                  <a:gd name="T17" fmla="*/ 148 h 189"/>
                  <a:gd name="T18" fmla="*/ 147 w 162"/>
                  <a:gd name="T19" fmla="*/ 178 h 189"/>
                  <a:gd name="T20" fmla="*/ 123 w 162"/>
                  <a:gd name="T21" fmla="*/ 189 h 189"/>
                  <a:gd name="T22" fmla="*/ 96 w 162"/>
                  <a:gd name="T23" fmla="*/ 184 h 189"/>
                  <a:gd name="T24" fmla="*/ 64 w 162"/>
                  <a:gd name="T25" fmla="*/ 184 h 189"/>
                  <a:gd name="T26" fmla="*/ 73 w 162"/>
                  <a:gd name="T27" fmla="*/ 175 h 189"/>
                  <a:gd name="T28" fmla="*/ 63 w 162"/>
                  <a:gd name="T29" fmla="*/ 150 h 189"/>
                  <a:gd name="T30" fmla="*/ 34 w 162"/>
                  <a:gd name="T31" fmla="*/ 139 h 189"/>
                  <a:gd name="T32" fmla="*/ 6 w 162"/>
                  <a:gd name="T33" fmla="*/ 111 h 189"/>
                  <a:gd name="T34" fmla="*/ 0 w 162"/>
                  <a:gd name="T35" fmla="*/ 46 h 189"/>
                  <a:gd name="T36" fmla="*/ 0 w 162"/>
                  <a:gd name="T37" fmla="*/ 4 h 189"/>
                  <a:gd name="T38" fmla="*/ 9 w 162"/>
                  <a:gd name="T39" fmla="*/ 0 h 189"/>
                  <a:gd name="T40" fmla="*/ 19 w 162"/>
                  <a:gd name="T41" fmla="*/ 3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 h="189">
                    <a:moveTo>
                      <a:pt x="19" y="37"/>
                    </a:moveTo>
                    <a:lnTo>
                      <a:pt x="57" y="22"/>
                    </a:lnTo>
                    <a:lnTo>
                      <a:pt x="69" y="52"/>
                    </a:lnTo>
                    <a:lnTo>
                      <a:pt x="117" y="33"/>
                    </a:lnTo>
                    <a:lnTo>
                      <a:pt x="144" y="36"/>
                    </a:lnTo>
                    <a:lnTo>
                      <a:pt x="162" y="63"/>
                    </a:lnTo>
                    <a:lnTo>
                      <a:pt x="139" y="82"/>
                    </a:lnTo>
                    <a:lnTo>
                      <a:pt x="136" y="124"/>
                    </a:lnTo>
                    <a:lnTo>
                      <a:pt x="135" y="148"/>
                    </a:lnTo>
                    <a:lnTo>
                      <a:pt x="147" y="178"/>
                    </a:lnTo>
                    <a:lnTo>
                      <a:pt x="123" y="189"/>
                    </a:lnTo>
                    <a:lnTo>
                      <a:pt x="96" y="184"/>
                    </a:lnTo>
                    <a:lnTo>
                      <a:pt x="64" y="184"/>
                    </a:lnTo>
                    <a:lnTo>
                      <a:pt x="73" y="175"/>
                    </a:lnTo>
                    <a:lnTo>
                      <a:pt x="63" y="150"/>
                    </a:lnTo>
                    <a:lnTo>
                      <a:pt x="34" y="139"/>
                    </a:lnTo>
                    <a:lnTo>
                      <a:pt x="6" y="111"/>
                    </a:lnTo>
                    <a:lnTo>
                      <a:pt x="0" y="46"/>
                    </a:lnTo>
                    <a:lnTo>
                      <a:pt x="0" y="4"/>
                    </a:lnTo>
                    <a:lnTo>
                      <a:pt x="9" y="0"/>
                    </a:lnTo>
                    <a:lnTo>
                      <a:pt x="19" y="37"/>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42" name="Freeform 6187">
                <a:extLst>
                  <a:ext uri="{FF2B5EF4-FFF2-40B4-BE49-F238E27FC236}">
                    <a16:creationId xmlns:a16="http://schemas.microsoft.com/office/drawing/2014/main" id="{0452C53B-ED11-E1AA-E69B-DA1D01A2D44B}"/>
                  </a:ext>
                </a:extLst>
              </p:cNvPr>
              <p:cNvSpPr>
                <a:spLocks/>
              </p:cNvSpPr>
              <p:nvPr/>
            </p:nvSpPr>
            <p:spPr bwMode="gray">
              <a:xfrm>
                <a:off x="1371971" y="4823066"/>
                <a:ext cx="2188870" cy="1488972"/>
              </a:xfrm>
              <a:custGeom>
                <a:avLst/>
                <a:gdLst>
                  <a:gd name="T0" fmla="*/ 105 w 2019"/>
                  <a:gd name="T1" fmla="*/ 474 h 1398"/>
                  <a:gd name="T2" fmla="*/ 138 w 2019"/>
                  <a:gd name="T3" fmla="*/ 534 h 1398"/>
                  <a:gd name="T4" fmla="*/ 177 w 2019"/>
                  <a:gd name="T5" fmla="*/ 558 h 1398"/>
                  <a:gd name="T6" fmla="*/ 198 w 2019"/>
                  <a:gd name="T7" fmla="*/ 632 h 1398"/>
                  <a:gd name="T8" fmla="*/ 234 w 2019"/>
                  <a:gd name="T9" fmla="*/ 684 h 1398"/>
                  <a:gd name="T10" fmla="*/ 279 w 2019"/>
                  <a:gd name="T11" fmla="*/ 765 h 1398"/>
                  <a:gd name="T12" fmla="*/ 318 w 2019"/>
                  <a:gd name="T13" fmla="*/ 813 h 1398"/>
                  <a:gd name="T14" fmla="*/ 392 w 2019"/>
                  <a:gd name="T15" fmla="*/ 791 h 1398"/>
                  <a:gd name="T16" fmla="*/ 489 w 2019"/>
                  <a:gd name="T17" fmla="*/ 675 h 1398"/>
                  <a:gd name="T18" fmla="*/ 530 w 2019"/>
                  <a:gd name="T19" fmla="*/ 570 h 1398"/>
                  <a:gd name="T20" fmla="*/ 582 w 2019"/>
                  <a:gd name="T21" fmla="*/ 512 h 1398"/>
                  <a:gd name="T22" fmla="*/ 642 w 2019"/>
                  <a:gd name="T23" fmla="*/ 495 h 1398"/>
                  <a:gd name="T24" fmla="*/ 741 w 2019"/>
                  <a:gd name="T25" fmla="*/ 491 h 1398"/>
                  <a:gd name="T26" fmla="*/ 843 w 2019"/>
                  <a:gd name="T27" fmla="*/ 501 h 1398"/>
                  <a:gd name="T28" fmla="*/ 894 w 2019"/>
                  <a:gd name="T29" fmla="*/ 441 h 1398"/>
                  <a:gd name="T30" fmla="*/ 999 w 2019"/>
                  <a:gd name="T31" fmla="*/ 375 h 1398"/>
                  <a:gd name="T32" fmla="*/ 1269 w 2019"/>
                  <a:gd name="T33" fmla="*/ 312 h 1398"/>
                  <a:gd name="T34" fmla="*/ 1388 w 2019"/>
                  <a:gd name="T35" fmla="*/ 254 h 1398"/>
                  <a:gd name="T36" fmla="*/ 1398 w 2019"/>
                  <a:gd name="T37" fmla="*/ 210 h 1398"/>
                  <a:gd name="T38" fmla="*/ 1554 w 2019"/>
                  <a:gd name="T39" fmla="*/ 192 h 1398"/>
                  <a:gd name="T40" fmla="*/ 1772 w 2019"/>
                  <a:gd name="T41" fmla="*/ 203 h 1398"/>
                  <a:gd name="T42" fmla="*/ 1820 w 2019"/>
                  <a:gd name="T43" fmla="*/ 174 h 1398"/>
                  <a:gd name="T44" fmla="*/ 1865 w 2019"/>
                  <a:gd name="T45" fmla="*/ 132 h 1398"/>
                  <a:gd name="T46" fmla="*/ 1923 w 2019"/>
                  <a:gd name="T47" fmla="*/ 0 h 1398"/>
                  <a:gd name="T48" fmla="*/ 1920 w 2019"/>
                  <a:gd name="T49" fmla="*/ 120 h 1398"/>
                  <a:gd name="T50" fmla="*/ 1992 w 2019"/>
                  <a:gd name="T51" fmla="*/ 210 h 1398"/>
                  <a:gd name="T52" fmla="*/ 1956 w 2019"/>
                  <a:gd name="T53" fmla="*/ 267 h 1398"/>
                  <a:gd name="T54" fmla="*/ 1884 w 2019"/>
                  <a:gd name="T55" fmla="*/ 351 h 1398"/>
                  <a:gd name="T56" fmla="*/ 1824 w 2019"/>
                  <a:gd name="T57" fmla="*/ 462 h 1398"/>
                  <a:gd name="T58" fmla="*/ 1743 w 2019"/>
                  <a:gd name="T59" fmla="*/ 546 h 1398"/>
                  <a:gd name="T60" fmla="*/ 1602 w 2019"/>
                  <a:gd name="T61" fmla="*/ 618 h 1398"/>
                  <a:gd name="T62" fmla="*/ 1578 w 2019"/>
                  <a:gd name="T63" fmla="*/ 717 h 1398"/>
                  <a:gd name="T64" fmla="*/ 1611 w 2019"/>
                  <a:gd name="T65" fmla="*/ 897 h 1398"/>
                  <a:gd name="T66" fmla="*/ 1485 w 2019"/>
                  <a:gd name="T67" fmla="*/ 975 h 1398"/>
                  <a:gd name="T68" fmla="*/ 1455 w 2019"/>
                  <a:gd name="T69" fmla="*/ 1113 h 1398"/>
                  <a:gd name="T70" fmla="*/ 1347 w 2019"/>
                  <a:gd name="T71" fmla="*/ 1155 h 1398"/>
                  <a:gd name="T72" fmla="*/ 1197 w 2019"/>
                  <a:gd name="T73" fmla="*/ 1272 h 1398"/>
                  <a:gd name="T74" fmla="*/ 1110 w 2019"/>
                  <a:gd name="T75" fmla="*/ 1266 h 1398"/>
                  <a:gd name="T76" fmla="*/ 1041 w 2019"/>
                  <a:gd name="T77" fmla="*/ 1197 h 1398"/>
                  <a:gd name="T78" fmla="*/ 942 w 2019"/>
                  <a:gd name="T79" fmla="*/ 1167 h 1398"/>
                  <a:gd name="T80" fmla="*/ 897 w 2019"/>
                  <a:gd name="T81" fmla="*/ 1224 h 1398"/>
                  <a:gd name="T82" fmla="*/ 831 w 2019"/>
                  <a:gd name="T83" fmla="*/ 1236 h 1398"/>
                  <a:gd name="T84" fmla="*/ 711 w 2019"/>
                  <a:gd name="T85" fmla="*/ 1329 h 1398"/>
                  <a:gd name="T86" fmla="*/ 570 w 2019"/>
                  <a:gd name="T87" fmla="*/ 1347 h 1398"/>
                  <a:gd name="T88" fmla="*/ 510 w 2019"/>
                  <a:gd name="T89" fmla="*/ 1341 h 1398"/>
                  <a:gd name="T90" fmla="*/ 444 w 2019"/>
                  <a:gd name="T91" fmla="*/ 1359 h 1398"/>
                  <a:gd name="T92" fmla="*/ 258 w 2019"/>
                  <a:gd name="T93" fmla="*/ 1182 h 1398"/>
                  <a:gd name="T94" fmla="*/ 180 w 2019"/>
                  <a:gd name="T95" fmla="*/ 1044 h 1398"/>
                  <a:gd name="T96" fmla="*/ 111 w 2019"/>
                  <a:gd name="T97" fmla="*/ 1026 h 1398"/>
                  <a:gd name="T98" fmla="*/ 21 w 2019"/>
                  <a:gd name="T99" fmla="*/ 918 h 1398"/>
                  <a:gd name="T100" fmla="*/ 24 w 2019"/>
                  <a:gd name="T101" fmla="*/ 804 h 1398"/>
                  <a:gd name="T102" fmla="*/ 93 w 2019"/>
                  <a:gd name="T103" fmla="*/ 657 h 1398"/>
                  <a:gd name="T104" fmla="*/ 6 w 2019"/>
                  <a:gd name="T105" fmla="*/ 552 h 1398"/>
                  <a:gd name="T106" fmla="*/ 21 w 2019"/>
                  <a:gd name="T107" fmla="*/ 474 h 1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19" h="1398">
                    <a:moveTo>
                      <a:pt x="21" y="474"/>
                    </a:moveTo>
                    <a:lnTo>
                      <a:pt x="105" y="474"/>
                    </a:lnTo>
                    <a:lnTo>
                      <a:pt x="132" y="495"/>
                    </a:lnTo>
                    <a:lnTo>
                      <a:pt x="138" y="534"/>
                    </a:lnTo>
                    <a:lnTo>
                      <a:pt x="156" y="567"/>
                    </a:lnTo>
                    <a:lnTo>
                      <a:pt x="177" y="558"/>
                    </a:lnTo>
                    <a:lnTo>
                      <a:pt x="192" y="585"/>
                    </a:lnTo>
                    <a:lnTo>
                      <a:pt x="198" y="632"/>
                    </a:lnTo>
                    <a:lnTo>
                      <a:pt x="222" y="648"/>
                    </a:lnTo>
                    <a:lnTo>
                      <a:pt x="234" y="684"/>
                    </a:lnTo>
                    <a:lnTo>
                      <a:pt x="264" y="714"/>
                    </a:lnTo>
                    <a:lnTo>
                      <a:pt x="279" y="765"/>
                    </a:lnTo>
                    <a:lnTo>
                      <a:pt x="290" y="795"/>
                    </a:lnTo>
                    <a:lnTo>
                      <a:pt x="318" y="813"/>
                    </a:lnTo>
                    <a:lnTo>
                      <a:pt x="363" y="795"/>
                    </a:lnTo>
                    <a:lnTo>
                      <a:pt x="392" y="791"/>
                    </a:lnTo>
                    <a:lnTo>
                      <a:pt x="424" y="737"/>
                    </a:lnTo>
                    <a:lnTo>
                      <a:pt x="489" y="675"/>
                    </a:lnTo>
                    <a:lnTo>
                      <a:pt x="498" y="609"/>
                    </a:lnTo>
                    <a:lnTo>
                      <a:pt x="530" y="570"/>
                    </a:lnTo>
                    <a:lnTo>
                      <a:pt x="569" y="567"/>
                    </a:lnTo>
                    <a:lnTo>
                      <a:pt x="582" y="512"/>
                    </a:lnTo>
                    <a:lnTo>
                      <a:pt x="627" y="507"/>
                    </a:lnTo>
                    <a:lnTo>
                      <a:pt x="642" y="495"/>
                    </a:lnTo>
                    <a:lnTo>
                      <a:pt x="635" y="539"/>
                    </a:lnTo>
                    <a:lnTo>
                      <a:pt x="741" y="491"/>
                    </a:lnTo>
                    <a:lnTo>
                      <a:pt x="837" y="473"/>
                    </a:lnTo>
                    <a:lnTo>
                      <a:pt x="843" y="501"/>
                    </a:lnTo>
                    <a:lnTo>
                      <a:pt x="918" y="486"/>
                    </a:lnTo>
                    <a:lnTo>
                      <a:pt x="894" y="441"/>
                    </a:lnTo>
                    <a:lnTo>
                      <a:pt x="975" y="429"/>
                    </a:lnTo>
                    <a:lnTo>
                      <a:pt x="999" y="375"/>
                    </a:lnTo>
                    <a:lnTo>
                      <a:pt x="1109" y="422"/>
                    </a:lnTo>
                    <a:lnTo>
                      <a:pt x="1269" y="312"/>
                    </a:lnTo>
                    <a:lnTo>
                      <a:pt x="1317" y="309"/>
                    </a:lnTo>
                    <a:lnTo>
                      <a:pt x="1388" y="254"/>
                    </a:lnTo>
                    <a:lnTo>
                      <a:pt x="1409" y="243"/>
                    </a:lnTo>
                    <a:lnTo>
                      <a:pt x="1398" y="210"/>
                    </a:lnTo>
                    <a:lnTo>
                      <a:pt x="1460" y="161"/>
                    </a:lnTo>
                    <a:lnTo>
                      <a:pt x="1554" y="192"/>
                    </a:lnTo>
                    <a:lnTo>
                      <a:pt x="1653" y="234"/>
                    </a:lnTo>
                    <a:lnTo>
                      <a:pt x="1772" y="203"/>
                    </a:lnTo>
                    <a:lnTo>
                      <a:pt x="1782" y="195"/>
                    </a:lnTo>
                    <a:lnTo>
                      <a:pt x="1820" y="174"/>
                    </a:lnTo>
                    <a:lnTo>
                      <a:pt x="1845" y="147"/>
                    </a:lnTo>
                    <a:lnTo>
                      <a:pt x="1865" y="132"/>
                    </a:lnTo>
                    <a:lnTo>
                      <a:pt x="1887" y="33"/>
                    </a:lnTo>
                    <a:lnTo>
                      <a:pt x="1923" y="0"/>
                    </a:lnTo>
                    <a:lnTo>
                      <a:pt x="1932" y="57"/>
                    </a:lnTo>
                    <a:lnTo>
                      <a:pt x="1920" y="120"/>
                    </a:lnTo>
                    <a:lnTo>
                      <a:pt x="1953" y="195"/>
                    </a:lnTo>
                    <a:lnTo>
                      <a:pt x="1992" y="210"/>
                    </a:lnTo>
                    <a:lnTo>
                      <a:pt x="2019" y="207"/>
                    </a:lnTo>
                    <a:lnTo>
                      <a:pt x="1956" y="267"/>
                    </a:lnTo>
                    <a:lnTo>
                      <a:pt x="1908" y="261"/>
                    </a:lnTo>
                    <a:lnTo>
                      <a:pt x="1884" y="351"/>
                    </a:lnTo>
                    <a:lnTo>
                      <a:pt x="1797" y="426"/>
                    </a:lnTo>
                    <a:lnTo>
                      <a:pt x="1824" y="462"/>
                    </a:lnTo>
                    <a:lnTo>
                      <a:pt x="1773" y="507"/>
                    </a:lnTo>
                    <a:lnTo>
                      <a:pt x="1743" y="546"/>
                    </a:lnTo>
                    <a:lnTo>
                      <a:pt x="1683" y="603"/>
                    </a:lnTo>
                    <a:lnTo>
                      <a:pt x="1602" y="618"/>
                    </a:lnTo>
                    <a:lnTo>
                      <a:pt x="1545" y="687"/>
                    </a:lnTo>
                    <a:lnTo>
                      <a:pt x="1578" y="717"/>
                    </a:lnTo>
                    <a:lnTo>
                      <a:pt x="1644" y="822"/>
                    </a:lnTo>
                    <a:lnTo>
                      <a:pt x="1611" y="897"/>
                    </a:lnTo>
                    <a:lnTo>
                      <a:pt x="1557" y="951"/>
                    </a:lnTo>
                    <a:lnTo>
                      <a:pt x="1485" y="975"/>
                    </a:lnTo>
                    <a:lnTo>
                      <a:pt x="1482" y="1071"/>
                    </a:lnTo>
                    <a:lnTo>
                      <a:pt x="1455" y="1113"/>
                    </a:lnTo>
                    <a:lnTo>
                      <a:pt x="1416" y="1155"/>
                    </a:lnTo>
                    <a:lnTo>
                      <a:pt x="1347" y="1155"/>
                    </a:lnTo>
                    <a:lnTo>
                      <a:pt x="1287" y="1266"/>
                    </a:lnTo>
                    <a:lnTo>
                      <a:pt x="1197" y="1272"/>
                    </a:lnTo>
                    <a:lnTo>
                      <a:pt x="1167" y="1248"/>
                    </a:lnTo>
                    <a:lnTo>
                      <a:pt x="1110" y="1266"/>
                    </a:lnTo>
                    <a:lnTo>
                      <a:pt x="1083" y="1218"/>
                    </a:lnTo>
                    <a:lnTo>
                      <a:pt x="1041" y="1197"/>
                    </a:lnTo>
                    <a:lnTo>
                      <a:pt x="954" y="1188"/>
                    </a:lnTo>
                    <a:lnTo>
                      <a:pt x="942" y="1167"/>
                    </a:lnTo>
                    <a:lnTo>
                      <a:pt x="903" y="1182"/>
                    </a:lnTo>
                    <a:lnTo>
                      <a:pt x="897" y="1224"/>
                    </a:lnTo>
                    <a:lnTo>
                      <a:pt x="858" y="1218"/>
                    </a:lnTo>
                    <a:lnTo>
                      <a:pt x="831" y="1236"/>
                    </a:lnTo>
                    <a:lnTo>
                      <a:pt x="828" y="1260"/>
                    </a:lnTo>
                    <a:lnTo>
                      <a:pt x="711" y="1329"/>
                    </a:lnTo>
                    <a:lnTo>
                      <a:pt x="603" y="1278"/>
                    </a:lnTo>
                    <a:lnTo>
                      <a:pt x="570" y="1347"/>
                    </a:lnTo>
                    <a:lnTo>
                      <a:pt x="546" y="1332"/>
                    </a:lnTo>
                    <a:lnTo>
                      <a:pt x="510" y="1341"/>
                    </a:lnTo>
                    <a:lnTo>
                      <a:pt x="474" y="1389"/>
                    </a:lnTo>
                    <a:lnTo>
                      <a:pt x="444" y="1359"/>
                    </a:lnTo>
                    <a:lnTo>
                      <a:pt x="384" y="1398"/>
                    </a:lnTo>
                    <a:lnTo>
                      <a:pt x="258" y="1182"/>
                    </a:lnTo>
                    <a:lnTo>
                      <a:pt x="279" y="1140"/>
                    </a:lnTo>
                    <a:lnTo>
                      <a:pt x="180" y="1044"/>
                    </a:lnTo>
                    <a:lnTo>
                      <a:pt x="120" y="1065"/>
                    </a:lnTo>
                    <a:lnTo>
                      <a:pt x="111" y="1026"/>
                    </a:lnTo>
                    <a:lnTo>
                      <a:pt x="141" y="927"/>
                    </a:lnTo>
                    <a:lnTo>
                      <a:pt x="21" y="918"/>
                    </a:lnTo>
                    <a:lnTo>
                      <a:pt x="9" y="852"/>
                    </a:lnTo>
                    <a:lnTo>
                      <a:pt x="24" y="804"/>
                    </a:lnTo>
                    <a:lnTo>
                      <a:pt x="78" y="702"/>
                    </a:lnTo>
                    <a:lnTo>
                      <a:pt x="93" y="657"/>
                    </a:lnTo>
                    <a:lnTo>
                      <a:pt x="81" y="636"/>
                    </a:lnTo>
                    <a:lnTo>
                      <a:pt x="6" y="552"/>
                    </a:lnTo>
                    <a:lnTo>
                      <a:pt x="0" y="519"/>
                    </a:lnTo>
                    <a:lnTo>
                      <a:pt x="21" y="474"/>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43" name="Freeform 6188">
                <a:extLst>
                  <a:ext uri="{FF2B5EF4-FFF2-40B4-BE49-F238E27FC236}">
                    <a16:creationId xmlns:a16="http://schemas.microsoft.com/office/drawing/2014/main" id="{AB2E4170-B0CC-D315-AAB1-0DBCB843CEB5}"/>
                  </a:ext>
                </a:extLst>
              </p:cNvPr>
              <p:cNvSpPr>
                <a:spLocks/>
              </p:cNvSpPr>
              <p:nvPr/>
            </p:nvSpPr>
            <p:spPr bwMode="gray">
              <a:xfrm>
                <a:off x="3413435" y="4839034"/>
                <a:ext cx="1029819" cy="1500947"/>
              </a:xfrm>
              <a:custGeom>
                <a:avLst/>
                <a:gdLst>
                  <a:gd name="T0" fmla="*/ 106 w 950"/>
                  <a:gd name="T1" fmla="*/ 338 h 1408"/>
                  <a:gd name="T2" fmla="*/ 112 w 950"/>
                  <a:gd name="T3" fmla="*/ 474 h 1408"/>
                  <a:gd name="T4" fmla="*/ 66 w 950"/>
                  <a:gd name="T5" fmla="*/ 600 h 1408"/>
                  <a:gd name="T6" fmla="*/ 88 w 950"/>
                  <a:gd name="T7" fmla="*/ 684 h 1408"/>
                  <a:gd name="T8" fmla="*/ 212 w 950"/>
                  <a:gd name="T9" fmla="*/ 782 h 1408"/>
                  <a:gd name="T10" fmla="*/ 286 w 950"/>
                  <a:gd name="T11" fmla="*/ 884 h 1408"/>
                  <a:gd name="T12" fmla="*/ 398 w 950"/>
                  <a:gd name="T13" fmla="*/ 934 h 1408"/>
                  <a:gd name="T14" fmla="*/ 440 w 950"/>
                  <a:gd name="T15" fmla="*/ 834 h 1408"/>
                  <a:gd name="T16" fmla="*/ 508 w 950"/>
                  <a:gd name="T17" fmla="*/ 838 h 1408"/>
                  <a:gd name="T18" fmla="*/ 526 w 950"/>
                  <a:gd name="T19" fmla="*/ 802 h 1408"/>
                  <a:gd name="T20" fmla="*/ 580 w 950"/>
                  <a:gd name="T21" fmla="*/ 840 h 1408"/>
                  <a:gd name="T22" fmla="*/ 520 w 950"/>
                  <a:gd name="T23" fmla="*/ 860 h 1408"/>
                  <a:gd name="T24" fmla="*/ 486 w 950"/>
                  <a:gd name="T25" fmla="*/ 944 h 1408"/>
                  <a:gd name="T26" fmla="*/ 564 w 950"/>
                  <a:gd name="T27" fmla="*/ 1012 h 1408"/>
                  <a:gd name="T28" fmla="*/ 518 w 950"/>
                  <a:gd name="T29" fmla="*/ 1070 h 1408"/>
                  <a:gd name="T30" fmla="*/ 570 w 950"/>
                  <a:gd name="T31" fmla="*/ 1146 h 1408"/>
                  <a:gd name="T32" fmla="*/ 627 w 950"/>
                  <a:gd name="T33" fmla="*/ 1239 h 1408"/>
                  <a:gd name="T34" fmla="*/ 654 w 950"/>
                  <a:gd name="T35" fmla="*/ 1388 h 1408"/>
                  <a:gd name="T36" fmla="*/ 726 w 950"/>
                  <a:gd name="T37" fmla="*/ 1386 h 1408"/>
                  <a:gd name="T38" fmla="*/ 768 w 950"/>
                  <a:gd name="T39" fmla="*/ 1408 h 1408"/>
                  <a:gd name="T40" fmla="*/ 822 w 950"/>
                  <a:gd name="T41" fmla="*/ 1350 h 1408"/>
                  <a:gd name="T42" fmla="*/ 868 w 950"/>
                  <a:gd name="T43" fmla="*/ 1262 h 1408"/>
                  <a:gd name="T44" fmla="*/ 768 w 950"/>
                  <a:gd name="T45" fmla="*/ 1150 h 1408"/>
                  <a:gd name="T46" fmla="*/ 794 w 950"/>
                  <a:gd name="T47" fmla="*/ 1096 h 1408"/>
                  <a:gd name="T48" fmla="*/ 734 w 950"/>
                  <a:gd name="T49" fmla="*/ 1132 h 1408"/>
                  <a:gd name="T50" fmla="*/ 736 w 950"/>
                  <a:gd name="T51" fmla="*/ 1250 h 1408"/>
                  <a:gd name="T52" fmla="*/ 720 w 950"/>
                  <a:gd name="T53" fmla="*/ 1222 h 1408"/>
                  <a:gd name="T54" fmla="*/ 666 w 950"/>
                  <a:gd name="T55" fmla="*/ 1240 h 1408"/>
                  <a:gd name="T56" fmla="*/ 628 w 950"/>
                  <a:gd name="T57" fmla="*/ 1186 h 1408"/>
                  <a:gd name="T58" fmla="*/ 620 w 950"/>
                  <a:gd name="T59" fmla="*/ 1144 h 1408"/>
                  <a:gd name="T60" fmla="*/ 658 w 950"/>
                  <a:gd name="T61" fmla="*/ 1106 h 1408"/>
                  <a:gd name="T62" fmla="*/ 642 w 950"/>
                  <a:gd name="T63" fmla="*/ 1206 h 1408"/>
                  <a:gd name="T64" fmla="*/ 688 w 950"/>
                  <a:gd name="T65" fmla="*/ 1176 h 1408"/>
                  <a:gd name="T66" fmla="*/ 686 w 950"/>
                  <a:gd name="T67" fmla="*/ 1104 h 1408"/>
                  <a:gd name="T68" fmla="*/ 726 w 950"/>
                  <a:gd name="T69" fmla="*/ 1104 h 1408"/>
                  <a:gd name="T70" fmla="*/ 776 w 950"/>
                  <a:gd name="T71" fmla="*/ 1050 h 1408"/>
                  <a:gd name="T72" fmla="*/ 788 w 950"/>
                  <a:gd name="T73" fmla="*/ 994 h 1408"/>
                  <a:gd name="T74" fmla="*/ 856 w 950"/>
                  <a:gd name="T75" fmla="*/ 906 h 1408"/>
                  <a:gd name="T76" fmla="*/ 916 w 950"/>
                  <a:gd name="T77" fmla="*/ 838 h 1408"/>
                  <a:gd name="T78" fmla="*/ 920 w 950"/>
                  <a:gd name="T79" fmla="*/ 778 h 1408"/>
                  <a:gd name="T80" fmla="*/ 837 w 950"/>
                  <a:gd name="T81" fmla="*/ 651 h 1408"/>
                  <a:gd name="T82" fmla="*/ 826 w 950"/>
                  <a:gd name="T83" fmla="*/ 550 h 1408"/>
                  <a:gd name="T84" fmla="*/ 854 w 950"/>
                  <a:gd name="T85" fmla="*/ 374 h 1408"/>
                  <a:gd name="T86" fmla="*/ 819 w 950"/>
                  <a:gd name="T87" fmla="*/ 265 h 1408"/>
                  <a:gd name="T88" fmla="*/ 752 w 950"/>
                  <a:gd name="T89" fmla="*/ 160 h 1408"/>
                  <a:gd name="T90" fmla="*/ 708 w 950"/>
                  <a:gd name="T91" fmla="*/ 32 h 1408"/>
                  <a:gd name="T92" fmla="*/ 665 w 950"/>
                  <a:gd name="T93" fmla="*/ 18 h 1408"/>
                  <a:gd name="T94" fmla="*/ 622 w 950"/>
                  <a:gd name="T95" fmla="*/ 86 h 1408"/>
                  <a:gd name="T96" fmla="*/ 510 w 950"/>
                  <a:gd name="T97" fmla="*/ 118 h 1408"/>
                  <a:gd name="T98" fmla="*/ 358 w 950"/>
                  <a:gd name="T99" fmla="*/ 98 h 1408"/>
                  <a:gd name="T100" fmla="*/ 256 w 950"/>
                  <a:gd name="T101" fmla="*/ 106 h 1408"/>
                  <a:gd name="T102" fmla="*/ 172 w 950"/>
                  <a:gd name="T103" fmla="*/ 176 h 1408"/>
                  <a:gd name="T104" fmla="*/ 24 w 950"/>
                  <a:gd name="T105" fmla="*/ 244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0" h="1408">
                    <a:moveTo>
                      <a:pt x="0" y="336"/>
                    </a:moveTo>
                    <a:lnTo>
                      <a:pt x="88" y="308"/>
                    </a:lnTo>
                    <a:lnTo>
                      <a:pt x="106" y="338"/>
                    </a:lnTo>
                    <a:lnTo>
                      <a:pt x="108" y="418"/>
                    </a:lnTo>
                    <a:lnTo>
                      <a:pt x="94" y="430"/>
                    </a:lnTo>
                    <a:lnTo>
                      <a:pt x="112" y="474"/>
                    </a:lnTo>
                    <a:lnTo>
                      <a:pt x="100" y="546"/>
                    </a:lnTo>
                    <a:lnTo>
                      <a:pt x="84" y="562"/>
                    </a:lnTo>
                    <a:lnTo>
                      <a:pt x="66" y="600"/>
                    </a:lnTo>
                    <a:lnTo>
                      <a:pt x="94" y="652"/>
                    </a:lnTo>
                    <a:lnTo>
                      <a:pt x="72" y="672"/>
                    </a:lnTo>
                    <a:lnTo>
                      <a:pt x="88" y="684"/>
                    </a:lnTo>
                    <a:lnTo>
                      <a:pt x="118" y="702"/>
                    </a:lnTo>
                    <a:lnTo>
                      <a:pt x="186" y="730"/>
                    </a:lnTo>
                    <a:lnTo>
                      <a:pt x="212" y="782"/>
                    </a:lnTo>
                    <a:lnTo>
                      <a:pt x="262" y="838"/>
                    </a:lnTo>
                    <a:lnTo>
                      <a:pt x="276" y="852"/>
                    </a:lnTo>
                    <a:lnTo>
                      <a:pt x="286" y="884"/>
                    </a:lnTo>
                    <a:lnTo>
                      <a:pt x="296" y="900"/>
                    </a:lnTo>
                    <a:lnTo>
                      <a:pt x="340" y="898"/>
                    </a:lnTo>
                    <a:lnTo>
                      <a:pt x="398" y="934"/>
                    </a:lnTo>
                    <a:lnTo>
                      <a:pt x="396" y="898"/>
                    </a:lnTo>
                    <a:lnTo>
                      <a:pt x="432" y="861"/>
                    </a:lnTo>
                    <a:lnTo>
                      <a:pt x="440" y="834"/>
                    </a:lnTo>
                    <a:lnTo>
                      <a:pt x="470" y="832"/>
                    </a:lnTo>
                    <a:lnTo>
                      <a:pt x="492" y="846"/>
                    </a:lnTo>
                    <a:lnTo>
                      <a:pt x="508" y="838"/>
                    </a:lnTo>
                    <a:lnTo>
                      <a:pt x="518" y="824"/>
                    </a:lnTo>
                    <a:lnTo>
                      <a:pt x="514" y="810"/>
                    </a:lnTo>
                    <a:lnTo>
                      <a:pt x="526" y="802"/>
                    </a:lnTo>
                    <a:lnTo>
                      <a:pt x="554" y="792"/>
                    </a:lnTo>
                    <a:lnTo>
                      <a:pt x="576" y="816"/>
                    </a:lnTo>
                    <a:lnTo>
                      <a:pt x="580" y="840"/>
                    </a:lnTo>
                    <a:lnTo>
                      <a:pt x="552" y="856"/>
                    </a:lnTo>
                    <a:lnTo>
                      <a:pt x="532" y="856"/>
                    </a:lnTo>
                    <a:lnTo>
                      <a:pt x="520" y="860"/>
                    </a:lnTo>
                    <a:lnTo>
                      <a:pt x="495" y="897"/>
                    </a:lnTo>
                    <a:lnTo>
                      <a:pt x="458" y="922"/>
                    </a:lnTo>
                    <a:lnTo>
                      <a:pt x="486" y="944"/>
                    </a:lnTo>
                    <a:lnTo>
                      <a:pt x="528" y="934"/>
                    </a:lnTo>
                    <a:lnTo>
                      <a:pt x="578" y="970"/>
                    </a:lnTo>
                    <a:lnTo>
                      <a:pt x="564" y="1012"/>
                    </a:lnTo>
                    <a:lnTo>
                      <a:pt x="552" y="1010"/>
                    </a:lnTo>
                    <a:lnTo>
                      <a:pt x="542" y="1058"/>
                    </a:lnTo>
                    <a:lnTo>
                      <a:pt x="518" y="1070"/>
                    </a:lnTo>
                    <a:lnTo>
                      <a:pt x="502" y="1114"/>
                    </a:lnTo>
                    <a:lnTo>
                      <a:pt x="552" y="1132"/>
                    </a:lnTo>
                    <a:lnTo>
                      <a:pt x="570" y="1146"/>
                    </a:lnTo>
                    <a:lnTo>
                      <a:pt x="604" y="1178"/>
                    </a:lnTo>
                    <a:lnTo>
                      <a:pt x="628" y="1190"/>
                    </a:lnTo>
                    <a:lnTo>
                      <a:pt x="627" y="1239"/>
                    </a:lnTo>
                    <a:lnTo>
                      <a:pt x="664" y="1254"/>
                    </a:lnTo>
                    <a:lnTo>
                      <a:pt x="682" y="1350"/>
                    </a:lnTo>
                    <a:lnTo>
                      <a:pt x="654" y="1388"/>
                    </a:lnTo>
                    <a:lnTo>
                      <a:pt x="684" y="1388"/>
                    </a:lnTo>
                    <a:lnTo>
                      <a:pt x="694" y="1368"/>
                    </a:lnTo>
                    <a:lnTo>
                      <a:pt x="726" y="1386"/>
                    </a:lnTo>
                    <a:lnTo>
                      <a:pt x="750" y="1378"/>
                    </a:lnTo>
                    <a:lnTo>
                      <a:pt x="758" y="1390"/>
                    </a:lnTo>
                    <a:lnTo>
                      <a:pt x="768" y="1408"/>
                    </a:lnTo>
                    <a:lnTo>
                      <a:pt x="800" y="1400"/>
                    </a:lnTo>
                    <a:lnTo>
                      <a:pt x="808" y="1368"/>
                    </a:lnTo>
                    <a:lnTo>
                      <a:pt x="822" y="1350"/>
                    </a:lnTo>
                    <a:lnTo>
                      <a:pt x="824" y="1312"/>
                    </a:lnTo>
                    <a:lnTo>
                      <a:pt x="840" y="1302"/>
                    </a:lnTo>
                    <a:lnTo>
                      <a:pt x="868" y="1262"/>
                    </a:lnTo>
                    <a:lnTo>
                      <a:pt x="788" y="1216"/>
                    </a:lnTo>
                    <a:lnTo>
                      <a:pt x="772" y="1182"/>
                    </a:lnTo>
                    <a:lnTo>
                      <a:pt x="768" y="1150"/>
                    </a:lnTo>
                    <a:lnTo>
                      <a:pt x="758" y="1142"/>
                    </a:lnTo>
                    <a:lnTo>
                      <a:pt x="760" y="1116"/>
                    </a:lnTo>
                    <a:lnTo>
                      <a:pt x="794" y="1096"/>
                    </a:lnTo>
                    <a:lnTo>
                      <a:pt x="784" y="1086"/>
                    </a:lnTo>
                    <a:lnTo>
                      <a:pt x="748" y="1112"/>
                    </a:lnTo>
                    <a:lnTo>
                      <a:pt x="734" y="1132"/>
                    </a:lnTo>
                    <a:lnTo>
                      <a:pt x="720" y="1180"/>
                    </a:lnTo>
                    <a:lnTo>
                      <a:pt x="730" y="1222"/>
                    </a:lnTo>
                    <a:lnTo>
                      <a:pt x="736" y="1250"/>
                    </a:lnTo>
                    <a:lnTo>
                      <a:pt x="724" y="1256"/>
                    </a:lnTo>
                    <a:lnTo>
                      <a:pt x="726" y="1242"/>
                    </a:lnTo>
                    <a:lnTo>
                      <a:pt x="720" y="1222"/>
                    </a:lnTo>
                    <a:lnTo>
                      <a:pt x="696" y="1200"/>
                    </a:lnTo>
                    <a:lnTo>
                      <a:pt x="684" y="1214"/>
                    </a:lnTo>
                    <a:lnTo>
                      <a:pt x="666" y="1240"/>
                    </a:lnTo>
                    <a:lnTo>
                      <a:pt x="654" y="1248"/>
                    </a:lnTo>
                    <a:lnTo>
                      <a:pt x="626" y="1238"/>
                    </a:lnTo>
                    <a:lnTo>
                      <a:pt x="628" y="1186"/>
                    </a:lnTo>
                    <a:lnTo>
                      <a:pt x="608" y="1176"/>
                    </a:lnTo>
                    <a:lnTo>
                      <a:pt x="624" y="1158"/>
                    </a:lnTo>
                    <a:lnTo>
                      <a:pt x="620" y="1144"/>
                    </a:lnTo>
                    <a:lnTo>
                      <a:pt x="630" y="1122"/>
                    </a:lnTo>
                    <a:lnTo>
                      <a:pt x="646" y="1094"/>
                    </a:lnTo>
                    <a:lnTo>
                      <a:pt x="658" y="1106"/>
                    </a:lnTo>
                    <a:lnTo>
                      <a:pt x="644" y="1140"/>
                    </a:lnTo>
                    <a:lnTo>
                      <a:pt x="640" y="1180"/>
                    </a:lnTo>
                    <a:lnTo>
                      <a:pt x="642" y="1206"/>
                    </a:lnTo>
                    <a:lnTo>
                      <a:pt x="652" y="1226"/>
                    </a:lnTo>
                    <a:lnTo>
                      <a:pt x="676" y="1200"/>
                    </a:lnTo>
                    <a:lnTo>
                      <a:pt x="688" y="1176"/>
                    </a:lnTo>
                    <a:lnTo>
                      <a:pt x="692" y="1158"/>
                    </a:lnTo>
                    <a:lnTo>
                      <a:pt x="692" y="1124"/>
                    </a:lnTo>
                    <a:lnTo>
                      <a:pt x="686" y="1104"/>
                    </a:lnTo>
                    <a:lnTo>
                      <a:pt x="710" y="1078"/>
                    </a:lnTo>
                    <a:lnTo>
                      <a:pt x="714" y="1092"/>
                    </a:lnTo>
                    <a:lnTo>
                      <a:pt x="726" y="1104"/>
                    </a:lnTo>
                    <a:lnTo>
                      <a:pt x="754" y="1084"/>
                    </a:lnTo>
                    <a:lnTo>
                      <a:pt x="772" y="1064"/>
                    </a:lnTo>
                    <a:lnTo>
                      <a:pt x="776" y="1050"/>
                    </a:lnTo>
                    <a:lnTo>
                      <a:pt x="766" y="1040"/>
                    </a:lnTo>
                    <a:lnTo>
                      <a:pt x="770" y="1008"/>
                    </a:lnTo>
                    <a:lnTo>
                      <a:pt x="788" y="994"/>
                    </a:lnTo>
                    <a:lnTo>
                      <a:pt x="814" y="984"/>
                    </a:lnTo>
                    <a:lnTo>
                      <a:pt x="846" y="978"/>
                    </a:lnTo>
                    <a:lnTo>
                      <a:pt x="856" y="906"/>
                    </a:lnTo>
                    <a:lnTo>
                      <a:pt x="838" y="884"/>
                    </a:lnTo>
                    <a:lnTo>
                      <a:pt x="870" y="866"/>
                    </a:lnTo>
                    <a:lnTo>
                      <a:pt x="916" y="838"/>
                    </a:lnTo>
                    <a:lnTo>
                      <a:pt x="932" y="818"/>
                    </a:lnTo>
                    <a:lnTo>
                      <a:pt x="950" y="790"/>
                    </a:lnTo>
                    <a:lnTo>
                      <a:pt x="920" y="778"/>
                    </a:lnTo>
                    <a:lnTo>
                      <a:pt x="894" y="754"/>
                    </a:lnTo>
                    <a:lnTo>
                      <a:pt x="843" y="708"/>
                    </a:lnTo>
                    <a:lnTo>
                      <a:pt x="837" y="651"/>
                    </a:lnTo>
                    <a:lnTo>
                      <a:pt x="830" y="628"/>
                    </a:lnTo>
                    <a:lnTo>
                      <a:pt x="809" y="592"/>
                    </a:lnTo>
                    <a:lnTo>
                      <a:pt x="826" y="550"/>
                    </a:lnTo>
                    <a:lnTo>
                      <a:pt x="822" y="524"/>
                    </a:lnTo>
                    <a:lnTo>
                      <a:pt x="842" y="490"/>
                    </a:lnTo>
                    <a:lnTo>
                      <a:pt x="854" y="374"/>
                    </a:lnTo>
                    <a:lnTo>
                      <a:pt x="842" y="334"/>
                    </a:lnTo>
                    <a:lnTo>
                      <a:pt x="849" y="283"/>
                    </a:lnTo>
                    <a:lnTo>
                      <a:pt x="819" y="265"/>
                    </a:lnTo>
                    <a:lnTo>
                      <a:pt x="794" y="272"/>
                    </a:lnTo>
                    <a:lnTo>
                      <a:pt x="760" y="218"/>
                    </a:lnTo>
                    <a:lnTo>
                      <a:pt x="752" y="160"/>
                    </a:lnTo>
                    <a:lnTo>
                      <a:pt x="783" y="63"/>
                    </a:lnTo>
                    <a:lnTo>
                      <a:pt x="748" y="52"/>
                    </a:lnTo>
                    <a:lnTo>
                      <a:pt x="708" y="32"/>
                    </a:lnTo>
                    <a:lnTo>
                      <a:pt x="690" y="44"/>
                    </a:lnTo>
                    <a:lnTo>
                      <a:pt x="684" y="0"/>
                    </a:lnTo>
                    <a:lnTo>
                      <a:pt x="665" y="18"/>
                    </a:lnTo>
                    <a:lnTo>
                      <a:pt x="641" y="22"/>
                    </a:lnTo>
                    <a:lnTo>
                      <a:pt x="632" y="54"/>
                    </a:lnTo>
                    <a:lnTo>
                      <a:pt x="622" y="86"/>
                    </a:lnTo>
                    <a:lnTo>
                      <a:pt x="538" y="124"/>
                    </a:lnTo>
                    <a:lnTo>
                      <a:pt x="530" y="121"/>
                    </a:lnTo>
                    <a:lnTo>
                      <a:pt x="510" y="118"/>
                    </a:lnTo>
                    <a:lnTo>
                      <a:pt x="458" y="109"/>
                    </a:lnTo>
                    <a:lnTo>
                      <a:pt x="399" y="102"/>
                    </a:lnTo>
                    <a:lnTo>
                      <a:pt x="358" y="98"/>
                    </a:lnTo>
                    <a:lnTo>
                      <a:pt x="318" y="128"/>
                    </a:lnTo>
                    <a:lnTo>
                      <a:pt x="296" y="116"/>
                    </a:lnTo>
                    <a:lnTo>
                      <a:pt x="256" y="106"/>
                    </a:lnTo>
                    <a:lnTo>
                      <a:pt x="186" y="94"/>
                    </a:lnTo>
                    <a:lnTo>
                      <a:pt x="170" y="146"/>
                    </a:lnTo>
                    <a:lnTo>
                      <a:pt x="172" y="176"/>
                    </a:lnTo>
                    <a:lnTo>
                      <a:pt x="136" y="188"/>
                    </a:lnTo>
                    <a:lnTo>
                      <a:pt x="71" y="249"/>
                    </a:lnTo>
                    <a:lnTo>
                      <a:pt x="24" y="244"/>
                    </a:lnTo>
                    <a:lnTo>
                      <a:pt x="0" y="336"/>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44" name="Freeform 6189">
                <a:extLst>
                  <a:ext uri="{FF2B5EF4-FFF2-40B4-BE49-F238E27FC236}">
                    <a16:creationId xmlns:a16="http://schemas.microsoft.com/office/drawing/2014/main" id="{3B59AD08-3F46-7AB7-A3C3-77C38E31EB35}"/>
                  </a:ext>
                </a:extLst>
              </p:cNvPr>
              <p:cNvSpPr>
                <a:spLocks/>
              </p:cNvSpPr>
              <p:nvPr/>
            </p:nvSpPr>
            <p:spPr bwMode="gray">
              <a:xfrm>
                <a:off x="3435646" y="4206321"/>
                <a:ext cx="708756" cy="842287"/>
              </a:xfrm>
              <a:custGeom>
                <a:avLst/>
                <a:gdLst>
                  <a:gd name="T0" fmla="*/ 314 w 653"/>
                  <a:gd name="T1" fmla="*/ 66 h 791"/>
                  <a:gd name="T2" fmla="*/ 365 w 653"/>
                  <a:gd name="T3" fmla="*/ 116 h 791"/>
                  <a:gd name="T4" fmla="*/ 482 w 653"/>
                  <a:gd name="T5" fmla="*/ 75 h 791"/>
                  <a:gd name="T6" fmla="*/ 513 w 653"/>
                  <a:gd name="T7" fmla="*/ 125 h 791"/>
                  <a:gd name="T8" fmla="*/ 530 w 653"/>
                  <a:gd name="T9" fmla="*/ 162 h 791"/>
                  <a:gd name="T10" fmla="*/ 635 w 653"/>
                  <a:gd name="T11" fmla="*/ 129 h 791"/>
                  <a:gd name="T12" fmla="*/ 653 w 653"/>
                  <a:gd name="T13" fmla="*/ 182 h 791"/>
                  <a:gd name="T14" fmla="*/ 570 w 653"/>
                  <a:gd name="T15" fmla="*/ 260 h 791"/>
                  <a:gd name="T16" fmla="*/ 501 w 653"/>
                  <a:gd name="T17" fmla="*/ 324 h 791"/>
                  <a:gd name="T18" fmla="*/ 447 w 653"/>
                  <a:gd name="T19" fmla="*/ 431 h 791"/>
                  <a:gd name="T20" fmla="*/ 398 w 653"/>
                  <a:gd name="T21" fmla="*/ 459 h 791"/>
                  <a:gd name="T22" fmla="*/ 327 w 653"/>
                  <a:gd name="T23" fmla="*/ 497 h 791"/>
                  <a:gd name="T24" fmla="*/ 299 w 653"/>
                  <a:gd name="T25" fmla="*/ 600 h 791"/>
                  <a:gd name="T26" fmla="*/ 339 w 653"/>
                  <a:gd name="T27" fmla="*/ 692 h 791"/>
                  <a:gd name="T28" fmla="*/ 275 w 653"/>
                  <a:gd name="T29" fmla="*/ 711 h 791"/>
                  <a:gd name="T30" fmla="*/ 149 w 653"/>
                  <a:gd name="T31" fmla="*/ 747 h 791"/>
                  <a:gd name="T32" fmla="*/ 98 w 653"/>
                  <a:gd name="T33" fmla="*/ 791 h 791"/>
                  <a:gd name="T34" fmla="*/ 15 w 653"/>
                  <a:gd name="T35" fmla="*/ 698 h 791"/>
                  <a:gd name="T36" fmla="*/ 20 w 653"/>
                  <a:gd name="T37" fmla="*/ 579 h 791"/>
                  <a:gd name="T38" fmla="*/ 0 w 653"/>
                  <a:gd name="T39" fmla="*/ 507 h 791"/>
                  <a:gd name="T40" fmla="*/ 69 w 653"/>
                  <a:gd name="T41" fmla="*/ 485 h 791"/>
                  <a:gd name="T42" fmla="*/ 62 w 653"/>
                  <a:gd name="T43" fmla="*/ 372 h 791"/>
                  <a:gd name="T44" fmla="*/ 110 w 653"/>
                  <a:gd name="T45" fmla="*/ 368 h 791"/>
                  <a:gd name="T46" fmla="*/ 102 w 653"/>
                  <a:gd name="T47" fmla="*/ 275 h 791"/>
                  <a:gd name="T48" fmla="*/ 110 w 653"/>
                  <a:gd name="T49" fmla="*/ 224 h 791"/>
                  <a:gd name="T50" fmla="*/ 78 w 653"/>
                  <a:gd name="T51" fmla="*/ 176 h 791"/>
                  <a:gd name="T52" fmla="*/ 104 w 653"/>
                  <a:gd name="T53" fmla="*/ 116 h 791"/>
                  <a:gd name="T54" fmla="*/ 171 w 653"/>
                  <a:gd name="T55" fmla="*/ 87 h 791"/>
                  <a:gd name="T56" fmla="*/ 182 w 653"/>
                  <a:gd name="T57" fmla="*/ 33 h 791"/>
                  <a:gd name="T58" fmla="*/ 219 w 653"/>
                  <a:gd name="T59" fmla="*/ 29 h 791"/>
                  <a:gd name="T60" fmla="*/ 224 w 653"/>
                  <a:gd name="T61" fmla="*/ 116 h 791"/>
                  <a:gd name="T62" fmla="*/ 233 w 653"/>
                  <a:gd name="T63" fmla="*/ 168 h 791"/>
                  <a:gd name="T64" fmla="*/ 257 w 653"/>
                  <a:gd name="T65" fmla="*/ 149 h 791"/>
                  <a:gd name="T66" fmla="*/ 252 w 653"/>
                  <a:gd name="T67" fmla="*/ 66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3" h="791">
                    <a:moveTo>
                      <a:pt x="251" y="48"/>
                    </a:moveTo>
                    <a:lnTo>
                      <a:pt x="314" y="66"/>
                    </a:lnTo>
                    <a:lnTo>
                      <a:pt x="347" y="65"/>
                    </a:lnTo>
                    <a:lnTo>
                      <a:pt x="365" y="116"/>
                    </a:lnTo>
                    <a:lnTo>
                      <a:pt x="440" y="69"/>
                    </a:lnTo>
                    <a:lnTo>
                      <a:pt x="482" y="75"/>
                    </a:lnTo>
                    <a:lnTo>
                      <a:pt x="504" y="87"/>
                    </a:lnTo>
                    <a:lnTo>
                      <a:pt x="513" y="125"/>
                    </a:lnTo>
                    <a:lnTo>
                      <a:pt x="525" y="111"/>
                    </a:lnTo>
                    <a:lnTo>
                      <a:pt x="530" y="162"/>
                    </a:lnTo>
                    <a:lnTo>
                      <a:pt x="630" y="98"/>
                    </a:lnTo>
                    <a:lnTo>
                      <a:pt x="635" y="129"/>
                    </a:lnTo>
                    <a:lnTo>
                      <a:pt x="647" y="137"/>
                    </a:lnTo>
                    <a:lnTo>
                      <a:pt x="653" y="182"/>
                    </a:lnTo>
                    <a:lnTo>
                      <a:pt x="552" y="239"/>
                    </a:lnTo>
                    <a:lnTo>
                      <a:pt x="570" y="260"/>
                    </a:lnTo>
                    <a:lnTo>
                      <a:pt x="560" y="293"/>
                    </a:lnTo>
                    <a:lnTo>
                      <a:pt x="501" y="324"/>
                    </a:lnTo>
                    <a:lnTo>
                      <a:pt x="476" y="425"/>
                    </a:lnTo>
                    <a:lnTo>
                      <a:pt x="447" y="431"/>
                    </a:lnTo>
                    <a:lnTo>
                      <a:pt x="435" y="405"/>
                    </a:lnTo>
                    <a:lnTo>
                      <a:pt x="398" y="459"/>
                    </a:lnTo>
                    <a:lnTo>
                      <a:pt x="362" y="488"/>
                    </a:lnTo>
                    <a:lnTo>
                      <a:pt x="327" y="497"/>
                    </a:lnTo>
                    <a:lnTo>
                      <a:pt x="332" y="567"/>
                    </a:lnTo>
                    <a:lnTo>
                      <a:pt x="299" y="600"/>
                    </a:lnTo>
                    <a:lnTo>
                      <a:pt x="327" y="633"/>
                    </a:lnTo>
                    <a:lnTo>
                      <a:pt x="339" y="692"/>
                    </a:lnTo>
                    <a:lnTo>
                      <a:pt x="296" y="726"/>
                    </a:lnTo>
                    <a:lnTo>
                      <a:pt x="275" y="711"/>
                    </a:lnTo>
                    <a:lnTo>
                      <a:pt x="167" y="692"/>
                    </a:lnTo>
                    <a:lnTo>
                      <a:pt x="149" y="747"/>
                    </a:lnTo>
                    <a:lnTo>
                      <a:pt x="152" y="771"/>
                    </a:lnTo>
                    <a:lnTo>
                      <a:pt x="98" y="791"/>
                    </a:lnTo>
                    <a:lnTo>
                      <a:pt x="50" y="777"/>
                    </a:lnTo>
                    <a:lnTo>
                      <a:pt x="15" y="698"/>
                    </a:lnTo>
                    <a:lnTo>
                      <a:pt x="26" y="629"/>
                    </a:lnTo>
                    <a:lnTo>
                      <a:pt x="20" y="579"/>
                    </a:lnTo>
                    <a:lnTo>
                      <a:pt x="2" y="540"/>
                    </a:lnTo>
                    <a:lnTo>
                      <a:pt x="0" y="507"/>
                    </a:lnTo>
                    <a:lnTo>
                      <a:pt x="59" y="515"/>
                    </a:lnTo>
                    <a:lnTo>
                      <a:pt x="69" y="485"/>
                    </a:lnTo>
                    <a:lnTo>
                      <a:pt x="45" y="419"/>
                    </a:lnTo>
                    <a:lnTo>
                      <a:pt x="62" y="372"/>
                    </a:lnTo>
                    <a:lnTo>
                      <a:pt x="90" y="377"/>
                    </a:lnTo>
                    <a:lnTo>
                      <a:pt x="110" y="368"/>
                    </a:lnTo>
                    <a:lnTo>
                      <a:pt x="98" y="339"/>
                    </a:lnTo>
                    <a:lnTo>
                      <a:pt x="102" y="275"/>
                    </a:lnTo>
                    <a:lnTo>
                      <a:pt x="125" y="249"/>
                    </a:lnTo>
                    <a:lnTo>
                      <a:pt x="110" y="224"/>
                    </a:lnTo>
                    <a:lnTo>
                      <a:pt x="78" y="222"/>
                    </a:lnTo>
                    <a:lnTo>
                      <a:pt x="78" y="176"/>
                    </a:lnTo>
                    <a:lnTo>
                      <a:pt x="63" y="164"/>
                    </a:lnTo>
                    <a:lnTo>
                      <a:pt x="104" y="116"/>
                    </a:lnTo>
                    <a:lnTo>
                      <a:pt x="132" y="116"/>
                    </a:lnTo>
                    <a:lnTo>
                      <a:pt x="171" y="87"/>
                    </a:lnTo>
                    <a:lnTo>
                      <a:pt x="186" y="38"/>
                    </a:lnTo>
                    <a:lnTo>
                      <a:pt x="182" y="33"/>
                    </a:lnTo>
                    <a:lnTo>
                      <a:pt x="215" y="0"/>
                    </a:lnTo>
                    <a:lnTo>
                      <a:pt x="219" y="29"/>
                    </a:lnTo>
                    <a:lnTo>
                      <a:pt x="204" y="92"/>
                    </a:lnTo>
                    <a:lnTo>
                      <a:pt x="224" y="116"/>
                    </a:lnTo>
                    <a:lnTo>
                      <a:pt x="222" y="156"/>
                    </a:lnTo>
                    <a:lnTo>
                      <a:pt x="233" y="168"/>
                    </a:lnTo>
                    <a:lnTo>
                      <a:pt x="246" y="153"/>
                    </a:lnTo>
                    <a:lnTo>
                      <a:pt x="257" y="149"/>
                    </a:lnTo>
                    <a:lnTo>
                      <a:pt x="243" y="98"/>
                    </a:lnTo>
                    <a:lnTo>
                      <a:pt x="252" y="66"/>
                    </a:lnTo>
                    <a:lnTo>
                      <a:pt x="251" y="48"/>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45" name="Freeform 6190">
                <a:extLst>
                  <a:ext uri="{FF2B5EF4-FFF2-40B4-BE49-F238E27FC236}">
                    <a16:creationId xmlns:a16="http://schemas.microsoft.com/office/drawing/2014/main" id="{5A649F4C-217B-C7F5-AD11-4F7A52771A09}"/>
                  </a:ext>
                </a:extLst>
              </p:cNvPr>
              <p:cNvSpPr>
                <a:spLocks/>
              </p:cNvSpPr>
              <p:nvPr/>
            </p:nvSpPr>
            <p:spPr bwMode="gray">
              <a:xfrm>
                <a:off x="3758729" y="4028683"/>
                <a:ext cx="2350409" cy="1656630"/>
              </a:xfrm>
              <a:custGeom>
                <a:avLst/>
                <a:gdLst>
                  <a:gd name="T0" fmla="*/ 0 w 2170"/>
                  <a:gd name="T1" fmla="*/ 768 h 1556"/>
                  <a:gd name="T2" fmla="*/ 68 w 2170"/>
                  <a:gd name="T3" fmla="*/ 656 h 1556"/>
                  <a:gd name="T4" fmla="*/ 148 w 2170"/>
                  <a:gd name="T5" fmla="*/ 600 h 1556"/>
                  <a:gd name="T6" fmla="*/ 262 w 2170"/>
                  <a:gd name="T7" fmla="*/ 462 h 1556"/>
                  <a:gd name="T8" fmla="*/ 320 w 2170"/>
                  <a:gd name="T9" fmla="*/ 474 h 1556"/>
                  <a:gd name="T10" fmla="*/ 460 w 2170"/>
                  <a:gd name="T11" fmla="*/ 348 h 1556"/>
                  <a:gd name="T12" fmla="*/ 588 w 2170"/>
                  <a:gd name="T13" fmla="*/ 338 h 1556"/>
                  <a:gd name="T14" fmla="*/ 692 w 2170"/>
                  <a:gd name="T15" fmla="*/ 264 h 1556"/>
                  <a:gd name="T16" fmla="*/ 892 w 2170"/>
                  <a:gd name="T17" fmla="*/ 304 h 1556"/>
                  <a:gd name="T18" fmla="*/ 1040 w 2170"/>
                  <a:gd name="T19" fmla="*/ 152 h 1556"/>
                  <a:gd name="T20" fmla="*/ 1048 w 2170"/>
                  <a:gd name="T21" fmla="*/ 32 h 1556"/>
                  <a:gd name="T22" fmla="*/ 1148 w 2170"/>
                  <a:gd name="T23" fmla="*/ 0 h 1556"/>
                  <a:gd name="T24" fmla="*/ 1278 w 2170"/>
                  <a:gd name="T25" fmla="*/ 36 h 1556"/>
                  <a:gd name="T26" fmla="*/ 1412 w 2170"/>
                  <a:gd name="T27" fmla="*/ 58 h 1556"/>
                  <a:gd name="T28" fmla="*/ 1436 w 2170"/>
                  <a:gd name="T29" fmla="*/ 112 h 1556"/>
                  <a:gd name="T30" fmla="*/ 1494 w 2170"/>
                  <a:gd name="T31" fmla="*/ 238 h 1556"/>
                  <a:gd name="T32" fmla="*/ 1594 w 2170"/>
                  <a:gd name="T33" fmla="*/ 256 h 1556"/>
                  <a:gd name="T34" fmla="*/ 1686 w 2170"/>
                  <a:gd name="T35" fmla="*/ 322 h 1556"/>
                  <a:gd name="T36" fmla="*/ 1798 w 2170"/>
                  <a:gd name="T37" fmla="*/ 310 h 1556"/>
                  <a:gd name="T38" fmla="*/ 1914 w 2170"/>
                  <a:gd name="T39" fmla="*/ 216 h 1556"/>
                  <a:gd name="T40" fmla="*/ 1940 w 2170"/>
                  <a:gd name="T41" fmla="*/ 154 h 1556"/>
                  <a:gd name="T42" fmla="*/ 2062 w 2170"/>
                  <a:gd name="T43" fmla="*/ 114 h 1556"/>
                  <a:gd name="T44" fmla="*/ 2124 w 2170"/>
                  <a:gd name="T45" fmla="*/ 272 h 1556"/>
                  <a:gd name="T46" fmla="*/ 2110 w 2170"/>
                  <a:gd name="T47" fmla="*/ 496 h 1556"/>
                  <a:gd name="T48" fmla="*/ 2030 w 2170"/>
                  <a:gd name="T49" fmla="*/ 624 h 1556"/>
                  <a:gd name="T50" fmla="*/ 2170 w 2170"/>
                  <a:gd name="T51" fmla="*/ 732 h 1556"/>
                  <a:gd name="T52" fmla="*/ 2042 w 2170"/>
                  <a:gd name="T53" fmla="*/ 860 h 1556"/>
                  <a:gd name="T54" fmla="*/ 1934 w 2170"/>
                  <a:gd name="T55" fmla="*/ 864 h 1556"/>
                  <a:gd name="T56" fmla="*/ 1888 w 2170"/>
                  <a:gd name="T57" fmla="*/ 756 h 1556"/>
                  <a:gd name="T58" fmla="*/ 1710 w 2170"/>
                  <a:gd name="T59" fmla="*/ 760 h 1556"/>
                  <a:gd name="T60" fmla="*/ 1662 w 2170"/>
                  <a:gd name="T61" fmla="*/ 1046 h 1556"/>
                  <a:gd name="T62" fmla="*/ 1788 w 2170"/>
                  <a:gd name="T63" fmla="*/ 1120 h 1556"/>
                  <a:gd name="T64" fmla="*/ 1736 w 2170"/>
                  <a:gd name="T65" fmla="*/ 1212 h 1556"/>
                  <a:gd name="T66" fmla="*/ 1744 w 2170"/>
                  <a:gd name="T67" fmla="*/ 1434 h 1556"/>
                  <a:gd name="T68" fmla="*/ 1674 w 2170"/>
                  <a:gd name="T69" fmla="*/ 1368 h 1556"/>
                  <a:gd name="T70" fmla="*/ 1576 w 2170"/>
                  <a:gd name="T71" fmla="*/ 1254 h 1556"/>
                  <a:gd name="T72" fmla="*/ 1446 w 2170"/>
                  <a:gd name="T73" fmla="*/ 1190 h 1556"/>
                  <a:gd name="T74" fmla="*/ 1284 w 2170"/>
                  <a:gd name="T75" fmla="*/ 1226 h 1556"/>
                  <a:gd name="T76" fmla="*/ 1230 w 2170"/>
                  <a:gd name="T77" fmla="*/ 1332 h 1556"/>
                  <a:gd name="T78" fmla="*/ 1068 w 2170"/>
                  <a:gd name="T79" fmla="*/ 1306 h 1556"/>
                  <a:gd name="T80" fmla="*/ 958 w 2170"/>
                  <a:gd name="T81" fmla="*/ 1124 h 1556"/>
                  <a:gd name="T82" fmla="*/ 918 w 2170"/>
                  <a:gd name="T83" fmla="*/ 986 h 1556"/>
                  <a:gd name="T84" fmla="*/ 852 w 2170"/>
                  <a:gd name="T85" fmla="*/ 978 h 1556"/>
                  <a:gd name="T86" fmla="*/ 760 w 2170"/>
                  <a:gd name="T87" fmla="*/ 980 h 1556"/>
                  <a:gd name="T88" fmla="*/ 708 w 2170"/>
                  <a:gd name="T89" fmla="*/ 1098 h 1556"/>
                  <a:gd name="T90" fmla="*/ 748 w 2170"/>
                  <a:gd name="T91" fmla="*/ 1174 h 1556"/>
                  <a:gd name="T92" fmla="*/ 774 w 2170"/>
                  <a:gd name="T93" fmla="*/ 1264 h 1556"/>
                  <a:gd name="T94" fmla="*/ 720 w 2170"/>
                  <a:gd name="T95" fmla="*/ 1458 h 1556"/>
                  <a:gd name="T96" fmla="*/ 628 w 2170"/>
                  <a:gd name="T97" fmla="*/ 1556 h 1556"/>
                  <a:gd name="T98" fmla="*/ 514 w 2170"/>
                  <a:gd name="T99" fmla="*/ 1390 h 1556"/>
                  <a:gd name="T100" fmla="*/ 506 w 2170"/>
                  <a:gd name="T101" fmla="*/ 1292 h 1556"/>
                  <a:gd name="T102" fmla="*/ 524 w 2170"/>
                  <a:gd name="T103" fmla="*/ 1094 h 1556"/>
                  <a:gd name="T104" fmla="*/ 476 w 2170"/>
                  <a:gd name="T105" fmla="*/ 1034 h 1556"/>
                  <a:gd name="T106" fmla="*/ 466 w 2170"/>
                  <a:gd name="T107" fmla="*/ 830 h 1556"/>
                  <a:gd name="T108" fmla="*/ 364 w 2170"/>
                  <a:gd name="T109" fmla="*/ 770 h 1556"/>
                  <a:gd name="T110" fmla="*/ 310 w 2170"/>
                  <a:gd name="T111" fmla="*/ 824 h 1556"/>
                  <a:gd name="T112" fmla="*/ 198 w 2170"/>
                  <a:gd name="T113" fmla="*/ 880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70" h="1556">
                    <a:moveTo>
                      <a:pt x="40" y="862"/>
                    </a:moveTo>
                    <a:lnTo>
                      <a:pt x="30" y="798"/>
                    </a:lnTo>
                    <a:lnTo>
                      <a:pt x="0" y="768"/>
                    </a:lnTo>
                    <a:lnTo>
                      <a:pt x="34" y="734"/>
                    </a:lnTo>
                    <a:lnTo>
                      <a:pt x="32" y="664"/>
                    </a:lnTo>
                    <a:lnTo>
                      <a:pt x="68" y="656"/>
                    </a:lnTo>
                    <a:lnTo>
                      <a:pt x="100" y="626"/>
                    </a:lnTo>
                    <a:lnTo>
                      <a:pt x="134" y="578"/>
                    </a:lnTo>
                    <a:lnTo>
                      <a:pt x="148" y="600"/>
                    </a:lnTo>
                    <a:lnTo>
                      <a:pt x="178" y="592"/>
                    </a:lnTo>
                    <a:lnTo>
                      <a:pt x="204" y="490"/>
                    </a:lnTo>
                    <a:lnTo>
                      <a:pt x="262" y="462"/>
                    </a:lnTo>
                    <a:lnTo>
                      <a:pt x="268" y="448"/>
                    </a:lnTo>
                    <a:lnTo>
                      <a:pt x="310" y="450"/>
                    </a:lnTo>
                    <a:lnTo>
                      <a:pt x="320" y="474"/>
                    </a:lnTo>
                    <a:lnTo>
                      <a:pt x="432" y="442"/>
                    </a:lnTo>
                    <a:lnTo>
                      <a:pt x="436" y="408"/>
                    </a:lnTo>
                    <a:lnTo>
                      <a:pt x="460" y="348"/>
                    </a:lnTo>
                    <a:lnTo>
                      <a:pt x="496" y="342"/>
                    </a:lnTo>
                    <a:lnTo>
                      <a:pt x="524" y="380"/>
                    </a:lnTo>
                    <a:lnTo>
                      <a:pt x="588" y="338"/>
                    </a:lnTo>
                    <a:lnTo>
                      <a:pt x="584" y="326"/>
                    </a:lnTo>
                    <a:lnTo>
                      <a:pt x="640" y="330"/>
                    </a:lnTo>
                    <a:lnTo>
                      <a:pt x="692" y="264"/>
                    </a:lnTo>
                    <a:lnTo>
                      <a:pt x="716" y="290"/>
                    </a:lnTo>
                    <a:lnTo>
                      <a:pt x="786" y="286"/>
                    </a:lnTo>
                    <a:lnTo>
                      <a:pt x="892" y="304"/>
                    </a:lnTo>
                    <a:lnTo>
                      <a:pt x="928" y="332"/>
                    </a:lnTo>
                    <a:lnTo>
                      <a:pt x="1006" y="158"/>
                    </a:lnTo>
                    <a:lnTo>
                      <a:pt x="1040" y="152"/>
                    </a:lnTo>
                    <a:lnTo>
                      <a:pt x="954" y="20"/>
                    </a:lnTo>
                    <a:lnTo>
                      <a:pt x="1022" y="8"/>
                    </a:lnTo>
                    <a:lnTo>
                      <a:pt x="1048" y="32"/>
                    </a:lnTo>
                    <a:lnTo>
                      <a:pt x="1096" y="4"/>
                    </a:lnTo>
                    <a:lnTo>
                      <a:pt x="1144" y="28"/>
                    </a:lnTo>
                    <a:lnTo>
                      <a:pt x="1148" y="0"/>
                    </a:lnTo>
                    <a:lnTo>
                      <a:pt x="1196" y="2"/>
                    </a:lnTo>
                    <a:lnTo>
                      <a:pt x="1240" y="28"/>
                    </a:lnTo>
                    <a:lnTo>
                      <a:pt x="1278" y="36"/>
                    </a:lnTo>
                    <a:lnTo>
                      <a:pt x="1306" y="34"/>
                    </a:lnTo>
                    <a:lnTo>
                      <a:pt x="1366" y="76"/>
                    </a:lnTo>
                    <a:lnTo>
                      <a:pt x="1412" y="58"/>
                    </a:lnTo>
                    <a:lnTo>
                      <a:pt x="1426" y="74"/>
                    </a:lnTo>
                    <a:lnTo>
                      <a:pt x="1412" y="90"/>
                    </a:lnTo>
                    <a:lnTo>
                      <a:pt x="1436" y="112"/>
                    </a:lnTo>
                    <a:lnTo>
                      <a:pt x="1410" y="164"/>
                    </a:lnTo>
                    <a:lnTo>
                      <a:pt x="1424" y="218"/>
                    </a:lnTo>
                    <a:lnTo>
                      <a:pt x="1494" y="238"/>
                    </a:lnTo>
                    <a:lnTo>
                      <a:pt x="1548" y="238"/>
                    </a:lnTo>
                    <a:lnTo>
                      <a:pt x="1576" y="264"/>
                    </a:lnTo>
                    <a:lnTo>
                      <a:pt x="1594" y="256"/>
                    </a:lnTo>
                    <a:lnTo>
                      <a:pt x="1632" y="314"/>
                    </a:lnTo>
                    <a:lnTo>
                      <a:pt x="1636" y="336"/>
                    </a:lnTo>
                    <a:lnTo>
                      <a:pt x="1686" y="322"/>
                    </a:lnTo>
                    <a:lnTo>
                      <a:pt x="1704" y="356"/>
                    </a:lnTo>
                    <a:lnTo>
                      <a:pt x="1752" y="334"/>
                    </a:lnTo>
                    <a:lnTo>
                      <a:pt x="1798" y="310"/>
                    </a:lnTo>
                    <a:lnTo>
                      <a:pt x="1840" y="302"/>
                    </a:lnTo>
                    <a:lnTo>
                      <a:pt x="1846" y="196"/>
                    </a:lnTo>
                    <a:lnTo>
                      <a:pt x="1914" y="216"/>
                    </a:lnTo>
                    <a:lnTo>
                      <a:pt x="1930" y="206"/>
                    </a:lnTo>
                    <a:lnTo>
                      <a:pt x="1924" y="168"/>
                    </a:lnTo>
                    <a:lnTo>
                      <a:pt x="1940" y="154"/>
                    </a:lnTo>
                    <a:lnTo>
                      <a:pt x="1968" y="88"/>
                    </a:lnTo>
                    <a:lnTo>
                      <a:pt x="2024" y="70"/>
                    </a:lnTo>
                    <a:lnTo>
                      <a:pt x="2062" y="114"/>
                    </a:lnTo>
                    <a:lnTo>
                      <a:pt x="2062" y="140"/>
                    </a:lnTo>
                    <a:lnTo>
                      <a:pt x="2158" y="168"/>
                    </a:lnTo>
                    <a:lnTo>
                      <a:pt x="2124" y="272"/>
                    </a:lnTo>
                    <a:lnTo>
                      <a:pt x="2120" y="350"/>
                    </a:lnTo>
                    <a:lnTo>
                      <a:pt x="2074" y="436"/>
                    </a:lnTo>
                    <a:lnTo>
                      <a:pt x="2110" y="496"/>
                    </a:lnTo>
                    <a:lnTo>
                      <a:pt x="2054" y="528"/>
                    </a:lnTo>
                    <a:lnTo>
                      <a:pt x="2074" y="584"/>
                    </a:lnTo>
                    <a:lnTo>
                      <a:pt x="2030" y="624"/>
                    </a:lnTo>
                    <a:lnTo>
                      <a:pt x="2060" y="704"/>
                    </a:lnTo>
                    <a:lnTo>
                      <a:pt x="2114" y="692"/>
                    </a:lnTo>
                    <a:lnTo>
                      <a:pt x="2170" y="732"/>
                    </a:lnTo>
                    <a:lnTo>
                      <a:pt x="2138" y="866"/>
                    </a:lnTo>
                    <a:lnTo>
                      <a:pt x="2070" y="846"/>
                    </a:lnTo>
                    <a:lnTo>
                      <a:pt x="2042" y="860"/>
                    </a:lnTo>
                    <a:lnTo>
                      <a:pt x="2012" y="836"/>
                    </a:lnTo>
                    <a:lnTo>
                      <a:pt x="1990" y="876"/>
                    </a:lnTo>
                    <a:lnTo>
                      <a:pt x="1934" y="864"/>
                    </a:lnTo>
                    <a:lnTo>
                      <a:pt x="1924" y="806"/>
                    </a:lnTo>
                    <a:lnTo>
                      <a:pt x="1886" y="820"/>
                    </a:lnTo>
                    <a:lnTo>
                      <a:pt x="1888" y="756"/>
                    </a:lnTo>
                    <a:lnTo>
                      <a:pt x="1854" y="718"/>
                    </a:lnTo>
                    <a:lnTo>
                      <a:pt x="1828" y="752"/>
                    </a:lnTo>
                    <a:lnTo>
                      <a:pt x="1710" y="760"/>
                    </a:lnTo>
                    <a:lnTo>
                      <a:pt x="1706" y="812"/>
                    </a:lnTo>
                    <a:lnTo>
                      <a:pt x="1644" y="882"/>
                    </a:lnTo>
                    <a:lnTo>
                      <a:pt x="1662" y="1046"/>
                    </a:lnTo>
                    <a:lnTo>
                      <a:pt x="1710" y="1078"/>
                    </a:lnTo>
                    <a:lnTo>
                      <a:pt x="1772" y="1062"/>
                    </a:lnTo>
                    <a:lnTo>
                      <a:pt x="1788" y="1120"/>
                    </a:lnTo>
                    <a:lnTo>
                      <a:pt x="1786" y="1152"/>
                    </a:lnTo>
                    <a:lnTo>
                      <a:pt x="1754" y="1168"/>
                    </a:lnTo>
                    <a:lnTo>
                      <a:pt x="1736" y="1212"/>
                    </a:lnTo>
                    <a:lnTo>
                      <a:pt x="1788" y="1306"/>
                    </a:lnTo>
                    <a:lnTo>
                      <a:pt x="1814" y="1356"/>
                    </a:lnTo>
                    <a:lnTo>
                      <a:pt x="1744" y="1434"/>
                    </a:lnTo>
                    <a:lnTo>
                      <a:pt x="1686" y="1440"/>
                    </a:lnTo>
                    <a:lnTo>
                      <a:pt x="1658" y="1402"/>
                    </a:lnTo>
                    <a:lnTo>
                      <a:pt x="1674" y="1368"/>
                    </a:lnTo>
                    <a:lnTo>
                      <a:pt x="1596" y="1324"/>
                    </a:lnTo>
                    <a:lnTo>
                      <a:pt x="1596" y="1278"/>
                    </a:lnTo>
                    <a:lnTo>
                      <a:pt x="1576" y="1254"/>
                    </a:lnTo>
                    <a:lnTo>
                      <a:pt x="1594" y="1210"/>
                    </a:lnTo>
                    <a:lnTo>
                      <a:pt x="1536" y="1166"/>
                    </a:lnTo>
                    <a:lnTo>
                      <a:pt x="1446" y="1190"/>
                    </a:lnTo>
                    <a:lnTo>
                      <a:pt x="1374" y="1228"/>
                    </a:lnTo>
                    <a:lnTo>
                      <a:pt x="1326" y="1252"/>
                    </a:lnTo>
                    <a:lnTo>
                      <a:pt x="1284" y="1226"/>
                    </a:lnTo>
                    <a:lnTo>
                      <a:pt x="1274" y="1270"/>
                    </a:lnTo>
                    <a:lnTo>
                      <a:pt x="1276" y="1330"/>
                    </a:lnTo>
                    <a:lnTo>
                      <a:pt x="1230" y="1332"/>
                    </a:lnTo>
                    <a:lnTo>
                      <a:pt x="1164" y="1344"/>
                    </a:lnTo>
                    <a:lnTo>
                      <a:pt x="1094" y="1318"/>
                    </a:lnTo>
                    <a:lnTo>
                      <a:pt x="1068" y="1306"/>
                    </a:lnTo>
                    <a:lnTo>
                      <a:pt x="998" y="1218"/>
                    </a:lnTo>
                    <a:lnTo>
                      <a:pt x="956" y="1190"/>
                    </a:lnTo>
                    <a:lnTo>
                      <a:pt x="958" y="1124"/>
                    </a:lnTo>
                    <a:lnTo>
                      <a:pt x="954" y="1018"/>
                    </a:lnTo>
                    <a:lnTo>
                      <a:pt x="954" y="972"/>
                    </a:lnTo>
                    <a:lnTo>
                      <a:pt x="918" y="986"/>
                    </a:lnTo>
                    <a:lnTo>
                      <a:pt x="902" y="1038"/>
                    </a:lnTo>
                    <a:lnTo>
                      <a:pt x="836" y="994"/>
                    </a:lnTo>
                    <a:lnTo>
                      <a:pt x="852" y="978"/>
                    </a:lnTo>
                    <a:lnTo>
                      <a:pt x="842" y="962"/>
                    </a:lnTo>
                    <a:lnTo>
                      <a:pt x="816" y="980"/>
                    </a:lnTo>
                    <a:lnTo>
                      <a:pt x="760" y="980"/>
                    </a:lnTo>
                    <a:lnTo>
                      <a:pt x="730" y="1070"/>
                    </a:lnTo>
                    <a:lnTo>
                      <a:pt x="706" y="1076"/>
                    </a:lnTo>
                    <a:lnTo>
                      <a:pt x="708" y="1098"/>
                    </a:lnTo>
                    <a:lnTo>
                      <a:pt x="744" y="1128"/>
                    </a:lnTo>
                    <a:lnTo>
                      <a:pt x="752" y="1160"/>
                    </a:lnTo>
                    <a:lnTo>
                      <a:pt x="748" y="1174"/>
                    </a:lnTo>
                    <a:lnTo>
                      <a:pt x="746" y="1226"/>
                    </a:lnTo>
                    <a:lnTo>
                      <a:pt x="770" y="1232"/>
                    </a:lnTo>
                    <a:lnTo>
                      <a:pt x="774" y="1264"/>
                    </a:lnTo>
                    <a:lnTo>
                      <a:pt x="764" y="1302"/>
                    </a:lnTo>
                    <a:lnTo>
                      <a:pt x="714" y="1408"/>
                    </a:lnTo>
                    <a:lnTo>
                      <a:pt x="720" y="1458"/>
                    </a:lnTo>
                    <a:lnTo>
                      <a:pt x="688" y="1456"/>
                    </a:lnTo>
                    <a:lnTo>
                      <a:pt x="670" y="1540"/>
                    </a:lnTo>
                    <a:lnTo>
                      <a:pt x="628" y="1556"/>
                    </a:lnTo>
                    <a:lnTo>
                      <a:pt x="600" y="1544"/>
                    </a:lnTo>
                    <a:lnTo>
                      <a:pt x="528" y="1476"/>
                    </a:lnTo>
                    <a:lnTo>
                      <a:pt x="514" y="1390"/>
                    </a:lnTo>
                    <a:lnTo>
                      <a:pt x="490" y="1362"/>
                    </a:lnTo>
                    <a:lnTo>
                      <a:pt x="506" y="1318"/>
                    </a:lnTo>
                    <a:lnTo>
                      <a:pt x="506" y="1292"/>
                    </a:lnTo>
                    <a:lnTo>
                      <a:pt x="522" y="1256"/>
                    </a:lnTo>
                    <a:lnTo>
                      <a:pt x="536" y="1142"/>
                    </a:lnTo>
                    <a:lnTo>
                      <a:pt x="524" y="1094"/>
                    </a:lnTo>
                    <a:lnTo>
                      <a:pt x="534" y="1048"/>
                    </a:lnTo>
                    <a:lnTo>
                      <a:pt x="494" y="1026"/>
                    </a:lnTo>
                    <a:lnTo>
                      <a:pt x="476" y="1034"/>
                    </a:lnTo>
                    <a:lnTo>
                      <a:pt x="440" y="982"/>
                    </a:lnTo>
                    <a:lnTo>
                      <a:pt x="434" y="920"/>
                    </a:lnTo>
                    <a:lnTo>
                      <a:pt x="466" y="830"/>
                    </a:lnTo>
                    <a:lnTo>
                      <a:pt x="386" y="794"/>
                    </a:lnTo>
                    <a:lnTo>
                      <a:pt x="374" y="810"/>
                    </a:lnTo>
                    <a:lnTo>
                      <a:pt x="364" y="770"/>
                    </a:lnTo>
                    <a:lnTo>
                      <a:pt x="344" y="784"/>
                    </a:lnTo>
                    <a:lnTo>
                      <a:pt x="322" y="790"/>
                    </a:lnTo>
                    <a:lnTo>
                      <a:pt x="310" y="824"/>
                    </a:lnTo>
                    <a:lnTo>
                      <a:pt x="306" y="850"/>
                    </a:lnTo>
                    <a:lnTo>
                      <a:pt x="220" y="886"/>
                    </a:lnTo>
                    <a:lnTo>
                      <a:pt x="198" y="880"/>
                    </a:lnTo>
                    <a:lnTo>
                      <a:pt x="40" y="862"/>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46" name="Freeform 6191">
                <a:extLst>
                  <a:ext uri="{FF2B5EF4-FFF2-40B4-BE49-F238E27FC236}">
                    <a16:creationId xmlns:a16="http://schemas.microsoft.com/office/drawing/2014/main" id="{DEC5013F-7EB2-1B5C-E37A-63A4FD73ABA6}"/>
                  </a:ext>
                </a:extLst>
              </p:cNvPr>
              <p:cNvSpPr>
                <a:spLocks/>
              </p:cNvSpPr>
              <p:nvPr/>
            </p:nvSpPr>
            <p:spPr bwMode="gray">
              <a:xfrm>
                <a:off x="4035364" y="3851044"/>
                <a:ext cx="470486" cy="680615"/>
              </a:xfrm>
              <a:custGeom>
                <a:avLst/>
                <a:gdLst>
                  <a:gd name="T0" fmla="*/ 78 w 433"/>
                  <a:gd name="T1" fmla="*/ 433 h 640"/>
                  <a:gd name="T2" fmla="*/ 102 w 433"/>
                  <a:gd name="T3" fmla="*/ 418 h 640"/>
                  <a:gd name="T4" fmla="*/ 91 w 433"/>
                  <a:gd name="T5" fmla="*/ 400 h 640"/>
                  <a:gd name="T6" fmla="*/ 105 w 433"/>
                  <a:gd name="T7" fmla="*/ 361 h 640"/>
                  <a:gd name="T8" fmla="*/ 75 w 433"/>
                  <a:gd name="T9" fmla="*/ 349 h 640"/>
                  <a:gd name="T10" fmla="*/ 36 w 433"/>
                  <a:gd name="T11" fmla="*/ 261 h 640"/>
                  <a:gd name="T12" fmla="*/ 15 w 433"/>
                  <a:gd name="T13" fmla="*/ 262 h 640"/>
                  <a:gd name="T14" fmla="*/ 27 w 433"/>
                  <a:gd name="T15" fmla="*/ 235 h 640"/>
                  <a:gd name="T16" fmla="*/ 79 w 433"/>
                  <a:gd name="T17" fmla="*/ 220 h 640"/>
                  <a:gd name="T18" fmla="*/ 76 w 433"/>
                  <a:gd name="T19" fmla="*/ 196 h 640"/>
                  <a:gd name="T20" fmla="*/ 100 w 433"/>
                  <a:gd name="T21" fmla="*/ 150 h 640"/>
                  <a:gd name="T22" fmla="*/ 82 w 433"/>
                  <a:gd name="T23" fmla="*/ 147 h 640"/>
                  <a:gd name="T24" fmla="*/ 108 w 433"/>
                  <a:gd name="T25" fmla="*/ 115 h 640"/>
                  <a:gd name="T26" fmla="*/ 100 w 433"/>
                  <a:gd name="T27" fmla="*/ 67 h 640"/>
                  <a:gd name="T28" fmla="*/ 144 w 433"/>
                  <a:gd name="T29" fmla="*/ 0 h 640"/>
                  <a:gd name="T30" fmla="*/ 211 w 433"/>
                  <a:gd name="T31" fmla="*/ 61 h 640"/>
                  <a:gd name="T32" fmla="*/ 250 w 433"/>
                  <a:gd name="T33" fmla="*/ 66 h 640"/>
                  <a:gd name="T34" fmla="*/ 273 w 433"/>
                  <a:gd name="T35" fmla="*/ 76 h 640"/>
                  <a:gd name="T36" fmla="*/ 297 w 433"/>
                  <a:gd name="T37" fmla="*/ 75 h 640"/>
                  <a:gd name="T38" fmla="*/ 348 w 433"/>
                  <a:gd name="T39" fmla="*/ 90 h 640"/>
                  <a:gd name="T40" fmla="*/ 358 w 433"/>
                  <a:gd name="T41" fmla="*/ 93 h 640"/>
                  <a:gd name="T42" fmla="*/ 364 w 433"/>
                  <a:gd name="T43" fmla="*/ 165 h 640"/>
                  <a:gd name="T44" fmla="*/ 346 w 433"/>
                  <a:gd name="T45" fmla="*/ 196 h 640"/>
                  <a:gd name="T46" fmla="*/ 312 w 433"/>
                  <a:gd name="T47" fmla="*/ 223 h 640"/>
                  <a:gd name="T48" fmla="*/ 354 w 433"/>
                  <a:gd name="T49" fmla="*/ 249 h 640"/>
                  <a:gd name="T50" fmla="*/ 373 w 433"/>
                  <a:gd name="T51" fmla="*/ 234 h 640"/>
                  <a:gd name="T52" fmla="*/ 400 w 433"/>
                  <a:gd name="T53" fmla="*/ 235 h 640"/>
                  <a:gd name="T54" fmla="*/ 424 w 433"/>
                  <a:gd name="T55" fmla="*/ 268 h 640"/>
                  <a:gd name="T56" fmla="*/ 426 w 433"/>
                  <a:gd name="T57" fmla="*/ 318 h 640"/>
                  <a:gd name="T58" fmla="*/ 412 w 433"/>
                  <a:gd name="T59" fmla="*/ 385 h 640"/>
                  <a:gd name="T60" fmla="*/ 433 w 433"/>
                  <a:gd name="T61" fmla="*/ 435 h 640"/>
                  <a:gd name="T62" fmla="*/ 382 w 433"/>
                  <a:gd name="T63" fmla="*/ 498 h 640"/>
                  <a:gd name="T64" fmla="*/ 328 w 433"/>
                  <a:gd name="T65" fmla="*/ 493 h 640"/>
                  <a:gd name="T66" fmla="*/ 331 w 433"/>
                  <a:gd name="T67" fmla="*/ 507 h 640"/>
                  <a:gd name="T68" fmla="*/ 267 w 433"/>
                  <a:gd name="T69" fmla="*/ 547 h 640"/>
                  <a:gd name="T70" fmla="*/ 241 w 433"/>
                  <a:gd name="T71" fmla="*/ 508 h 640"/>
                  <a:gd name="T72" fmla="*/ 202 w 433"/>
                  <a:gd name="T73" fmla="*/ 514 h 640"/>
                  <a:gd name="T74" fmla="*/ 177 w 433"/>
                  <a:gd name="T75" fmla="*/ 588 h 640"/>
                  <a:gd name="T76" fmla="*/ 175 w 433"/>
                  <a:gd name="T77" fmla="*/ 607 h 640"/>
                  <a:gd name="T78" fmla="*/ 63 w 433"/>
                  <a:gd name="T79" fmla="*/ 640 h 640"/>
                  <a:gd name="T80" fmla="*/ 57 w 433"/>
                  <a:gd name="T81" fmla="*/ 618 h 640"/>
                  <a:gd name="T82" fmla="*/ 15 w 433"/>
                  <a:gd name="T83" fmla="*/ 615 h 640"/>
                  <a:gd name="T84" fmla="*/ 15 w 433"/>
                  <a:gd name="T85" fmla="*/ 595 h 640"/>
                  <a:gd name="T86" fmla="*/ 0 w 433"/>
                  <a:gd name="T87" fmla="*/ 573 h 640"/>
                  <a:gd name="T88" fmla="*/ 99 w 433"/>
                  <a:gd name="T89" fmla="*/ 516 h 640"/>
                  <a:gd name="T90" fmla="*/ 91 w 433"/>
                  <a:gd name="T91" fmla="*/ 471 h 640"/>
                  <a:gd name="T92" fmla="*/ 79 w 433"/>
                  <a:gd name="T93" fmla="*/ 460 h 640"/>
                  <a:gd name="T94" fmla="*/ 78 w 433"/>
                  <a:gd name="T95" fmla="*/ 433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3" h="640">
                    <a:moveTo>
                      <a:pt x="78" y="433"/>
                    </a:moveTo>
                    <a:lnTo>
                      <a:pt x="102" y="418"/>
                    </a:lnTo>
                    <a:lnTo>
                      <a:pt x="91" y="400"/>
                    </a:lnTo>
                    <a:lnTo>
                      <a:pt x="105" y="361"/>
                    </a:lnTo>
                    <a:lnTo>
                      <a:pt x="75" y="349"/>
                    </a:lnTo>
                    <a:lnTo>
                      <a:pt x="36" y="261"/>
                    </a:lnTo>
                    <a:lnTo>
                      <a:pt x="15" y="262"/>
                    </a:lnTo>
                    <a:lnTo>
                      <a:pt x="27" y="235"/>
                    </a:lnTo>
                    <a:lnTo>
                      <a:pt x="79" y="220"/>
                    </a:lnTo>
                    <a:lnTo>
                      <a:pt x="76" y="196"/>
                    </a:lnTo>
                    <a:lnTo>
                      <a:pt x="100" y="150"/>
                    </a:lnTo>
                    <a:lnTo>
                      <a:pt x="82" y="147"/>
                    </a:lnTo>
                    <a:lnTo>
                      <a:pt x="108" y="115"/>
                    </a:lnTo>
                    <a:lnTo>
                      <a:pt x="100" y="67"/>
                    </a:lnTo>
                    <a:lnTo>
                      <a:pt x="144" y="0"/>
                    </a:lnTo>
                    <a:lnTo>
                      <a:pt x="211" y="61"/>
                    </a:lnTo>
                    <a:lnTo>
                      <a:pt x="250" y="66"/>
                    </a:lnTo>
                    <a:lnTo>
                      <a:pt x="273" y="76"/>
                    </a:lnTo>
                    <a:lnTo>
                      <a:pt x="297" y="75"/>
                    </a:lnTo>
                    <a:lnTo>
                      <a:pt x="348" y="90"/>
                    </a:lnTo>
                    <a:lnTo>
                      <a:pt x="358" y="93"/>
                    </a:lnTo>
                    <a:lnTo>
                      <a:pt x="364" y="165"/>
                    </a:lnTo>
                    <a:lnTo>
                      <a:pt x="346" y="196"/>
                    </a:lnTo>
                    <a:lnTo>
                      <a:pt x="312" y="223"/>
                    </a:lnTo>
                    <a:lnTo>
                      <a:pt x="354" y="249"/>
                    </a:lnTo>
                    <a:lnTo>
                      <a:pt x="373" y="234"/>
                    </a:lnTo>
                    <a:lnTo>
                      <a:pt x="400" y="235"/>
                    </a:lnTo>
                    <a:lnTo>
                      <a:pt x="424" y="268"/>
                    </a:lnTo>
                    <a:lnTo>
                      <a:pt x="426" y="318"/>
                    </a:lnTo>
                    <a:lnTo>
                      <a:pt x="412" y="385"/>
                    </a:lnTo>
                    <a:lnTo>
                      <a:pt x="433" y="435"/>
                    </a:lnTo>
                    <a:lnTo>
                      <a:pt x="382" y="498"/>
                    </a:lnTo>
                    <a:lnTo>
                      <a:pt x="328" y="493"/>
                    </a:lnTo>
                    <a:lnTo>
                      <a:pt x="331" y="507"/>
                    </a:lnTo>
                    <a:lnTo>
                      <a:pt x="267" y="547"/>
                    </a:lnTo>
                    <a:lnTo>
                      <a:pt x="241" y="508"/>
                    </a:lnTo>
                    <a:lnTo>
                      <a:pt x="202" y="514"/>
                    </a:lnTo>
                    <a:lnTo>
                      <a:pt x="177" y="588"/>
                    </a:lnTo>
                    <a:lnTo>
                      <a:pt x="175" y="607"/>
                    </a:lnTo>
                    <a:lnTo>
                      <a:pt x="63" y="640"/>
                    </a:lnTo>
                    <a:lnTo>
                      <a:pt x="57" y="618"/>
                    </a:lnTo>
                    <a:lnTo>
                      <a:pt x="15" y="615"/>
                    </a:lnTo>
                    <a:lnTo>
                      <a:pt x="15" y="595"/>
                    </a:lnTo>
                    <a:lnTo>
                      <a:pt x="0" y="573"/>
                    </a:lnTo>
                    <a:lnTo>
                      <a:pt x="99" y="516"/>
                    </a:lnTo>
                    <a:lnTo>
                      <a:pt x="91" y="471"/>
                    </a:lnTo>
                    <a:lnTo>
                      <a:pt x="79" y="460"/>
                    </a:lnTo>
                    <a:lnTo>
                      <a:pt x="78" y="433"/>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47" name="Freeform 6192">
                <a:extLst>
                  <a:ext uri="{FF2B5EF4-FFF2-40B4-BE49-F238E27FC236}">
                    <a16:creationId xmlns:a16="http://schemas.microsoft.com/office/drawing/2014/main" id="{2C2EB744-8AC9-D245-60DF-8A4B024D9905}"/>
                  </a:ext>
                </a:extLst>
              </p:cNvPr>
              <p:cNvSpPr>
                <a:spLocks/>
              </p:cNvSpPr>
              <p:nvPr/>
            </p:nvSpPr>
            <p:spPr bwMode="gray">
              <a:xfrm>
                <a:off x="3419494" y="3763222"/>
                <a:ext cx="773374" cy="616745"/>
              </a:xfrm>
              <a:custGeom>
                <a:avLst/>
                <a:gdLst>
                  <a:gd name="T0" fmla="*/ 695 w 713"/>
                  <a:gd name="T1" fmla="*/ 59 h 579"/>
                  <a:gd name="T2" fmla="*/ 657 w 713"/>
                  <a:gd name="T3" fmla="*/ 30 h 579"/>
                  <a:gd name="T4" fmla="*/ 630 w 713"/>
                  <a:gd name="T5" fmla="*/ 0 h 579"/>
                  <a:gd name="T6" fmla="*/ 605 w 713"/>
                  <a:gd name="T7" fmla="*/ 20 h 579"/>
                  <a:gd name="T8" fmla="*/ 558 w 713"/>
                  <a:gd name="T9" fmla="*/ 26 h 579"/>
                  <a:gd name="T10" fmla="*/ 522 w 713"/>
                  <a:gd name="T11" fmla="*/ 60 h 579"/>
                  <a:gd name="T12" fmla="*/ 477 w 713"/>
                  <a:gd name="T13" fmla="*/ 38 h 579"/>
                  <a:gd name="T14" fmla="*/ 476 w 713"/>
                  <a:gd name="T15" fmla="*/ 14 h 579"/>
                  <a:gd name="T16" fmla="*/ 452 w 713"/>
                  <a:gd name="T17" fmla="*/ 30 h 579"/>
                  <a:gd name="T18" fmla="*/ 395 w 713"/>
                  <a:gd name="T19" fmla="*/ 32 h 579"/>
                  <a:gd name="T20" fmla="*/ 369 w 713"/>
                  <a:gd name="T21" fmla="*/ 39 h 579"/>
                  <a:gd name="T22" fmla="*/ 342 w 713"/>
                  <a:gd name="T23" fmla="*/ 86 h 579"/>
                  <a:gd name="T24" fmla="*/ 338 w 713"/>
                  <a:gd name="T25" fmla="*/ 143 h 579"/>
                  <a:gd name="T26" fmla="*/ 311 w 713"/>
                  <a:gd name="T27" fmla="*/ 186 h 579"/>
                  <a:gd name="T28" fmla="*/ 254 w 713"/>
                  <a:gd name="T29" fmla="*/ 230 h 579"/>
                  <a:gd name="T30" fmla="*/ 200 w 713"/>
                  <a:gd name="T31" fmla="*/ 234 h 579"/>
                  <a:gd name="T32" fmla="*/ 149 w 713"/>
                  <a:gd name="T33" fmla="*/ 258 h 579"/>
                  <a:gd name="T34" fmla="*/ 147 w 713"/>
                  <a:gd name="T35" fmla="*/ 287 h 579"/>
                  <a:gd name="T36" fmla="*/ 111 w 713"/>
                  <a:gd name="T37" fmla="*/ 204 h 579"/>
                  <a:gd name="T38" fmla="*/ 69 w 713"/>
                  <a:gd name="T39" fmla="*/ 195 h 579"/>
                  <a:gd name="T40" fmla="*/ 26 w 713"/>
                  <a:gd name="T41" fmla="*/ 255 h 579"/>
                  <a:gd name="T42" fmla="*/ 0 w 713"/>
                  <a:gd name="T43" fmla="*/ 293 h 579"/>
                  <a:gd name="T44" fmla="*/ 45 w 713"/>
                  <a:gd name="T45" fmla="*/ 257 h 579"/>
                  <a:gd name="T46" fmla="*/ 53 w 713"/>
                  <a:gd name="T47" fmla="*/ 284 h 579"/>
                  <a:gd name="T48" fmla="*/ 119 w 713"/>
                  <a:gd name="T49" fmla="*/ 348 h 579"/>
                  <a:gd name="T50" fmla="*/ 143 w 713"/>
                  <a:gd name="T51" fmla="*/ 371 h 579"/>
                  <a:gd name="T52" fmla="*/ 174 w 713"/>
                  <a:gd name="T53" fmla="*/ 413 h 579"/>
                  <a:gd name="T54" fmla="*/ 240 w 713"/>
                  <a:gd name="T55" fmla="*/ 396 h 579"/>
                  <a:gd name="T56" fmla="*/ 261 w 713"/>
                  <a:gd name="T57" fmla="*/ 467 h 579"/>
                  <a:gd name="T58" fmla="*/ 362 w 713"/>
                  <a:gd name="T59" fmla="*/ 482 h 579"/>
                  <a:gd name="T60" fmla="*/ 456 w 713"/>
                  <a:gd name="T61" fmla="*/ 486 h 579"/>
                  <a:gd name="T62" fmla="*/ 519 w 713"/>
                  <a:gd name="T63" fmla="*/ 506 h 579"/>
                  <a:gd name="T64" fmla="*/ 539 w 713"/>
                  <a:gd name="T65" fmla="*/ 531 h 579"/>
                  <a:gd name="T66" fmla="*/ 672 w 713"/>
                  <a:gd name="T67" fmla="*/ 500 h 579"/>
                  <a:gd name="T68" fmla="*/ 675 w 713"/>
                  <a:gd name="T69" fmla="*/ 443 h 579"/>
                  <a:gd name="T70" fmla="*/ 603 w 713"/>
                  <a:gd name="T71" fmla="*/ 344 h 579"/>
                  <a:gd name="T72" fmla="*/ 597 w 713"/>
                  <a:gd name="T73" fmla="*/ 318 h 579"/>
                  <a:gd name="T74" fmla="*/ 645 w 713"/>
                  <a:gd name="T75" fmla="*/ 281 h 579"/>
                  <a:gd name="T76" fmla="*/ 654 w 713"/>
                  <a:gd name="T77" fmla="*/ 228 h 579"/>
                  <a:gd name="T78" fmla="*/ 672 w 713"/>
                  <a:gd name="T79" fmla="*/ 149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3" h="579">
                    <a:moveTo>
                      <a:pt x="713" y="81"/>
                    </a:moveTo>
                    <a:lnTo>
                      <a:pt x="695" y="59"/>
                    </a:lnTo>
                    <a:lnTo>
                      <a:pt x="656" y="66"/>
                    </a:lnTo>
                    <a:lnTo>
                      <a:pt x="657" y="30"/>
                    </a:lnTo>
                    <a:lnTo>
                      <a:pt x="674" y="8"/>
                    </a:lnTo>
                    <a:lnTo>
                      <a:pt x="630" y="0"/>
                    </a:lnTo>
                    <a:lnTo>
                      <a:pt x="632" y="12"/>
                    </a:lnTo>
                    <a:lnTo>
                      <a:pt x="605" y="20"/>
                    </a:lnTo>
                    <a:lnTo>
                      <a:pt x="575" y="29"/>
                    </a:lnTo>
                    <a:lnTo>
                      <a:pt x="558" y="26"/>
                    </a:lnTo>
                    <a:lnTo>
                      <a:pt x="540" y="35"/>
                    </a:lnTo>
                    <a:lnTo>
                      <a:pt x="522" y="60"/>
                    </a:lnTo>
                    <a:lnTo>
                      <a:pt x="495" y="50"/>
                    </a:lnTo>
                    <a:lnTo>
                      <a:pt x="477" y="38"/>
                    </a:lnTo>
                    <a:lnTo>
                      <a:pt x="462" y="35"/>
                    </a:lnTo>
                    <a:lnTo>
                      <a:pt x="476" y="14"/>
                    </a:lnTo>
                    <a:lnTo>
                      <a:pt x="467" y="6"/>
                    </a:lnTo>
                    <a:lnTo>
                      <a:pt x="452" y="30"/>
                    </a:lnTo>
                    <a:lnTo>
                      <a:pt x="417" y="30"/>
                    </a:lnTo>
                    <a:lnTo>
                      <a:pt x="395" y="32"/>
                    </a:lnTo>
                    <a:lnTo>
                      <a:pt x="381" y="42"/>
                    </a:lnTo>
                    <a:lnTo>
                      <a:pt x="369" y="39"/>
                    </a:lnTo>
                    <a:lnTo>
                      <a:pt x="336" y="74"/>
                    </a:lnTo>
                    <a:lnTo>
                      <a:pt x="342" y="86"/>
                    </a:lnTo>
                    <a:lnTo>
                      <a:pt x="354" y="131"/>
                    </a:lnTo>
                    <a:lnTo>
                      <a:pt x="338" y="143"/>
                    </a:lnTo>
                    <a:lnTo>
                      <a:pt x="338" y="159"/>
                    </a:lnTo>
                    <a:lnTo>
                      <a:pt x="311" y="186"/>
                    </a:lnTo>
                    <a:lnTo>
                      <a:pt x="296" y="219"/>
                    </a:lnTo>
                    <a:lnTo>
                      <a:pt x="254" y="230"/>
                    </a:lnTo>
                    <a:lnTo>
                      <a:pt x="203" y="252"/>
                    </a:lnTo>
                    <a:lnTo>
                      <a:pt x="200" y="234"/>
                    </a:lnTo>
                    <a:lnTo>
                      <a:pt x="155" y="239"/>
                    </a:lnTo>
                    <a:lnTo>
                      <a:pt x="149" y="258"/>
                    </a:lnTo>
                    <a:lnTo>
                      <a:pt x="156" y="275"/>
                    </a:lnTo>
                    <a:lnTo>
                      <a:pt x="147" y="287"/>
                    </a:lnTo>
                    <a:lnTo>
                      <a:pt x="83" y="236"/>
                    </a:lnTo>
                    <a:lnTo>
                      <a:pt x="111" y="204"/>
                    </a:lnTo>
                    <a:lnTo>
                      <a:pt x="80" y="203"/>
                    </a:lnTo>
                    <a:lnTo>
                      <a:pt x="69" y="195"/>
                    </a:lnTo>
                    <a:lnTo>
                      <a:pt x="27" y="227"/>
                    </a:lnTo>
                    <a:lnTo>
                      <a:pt x="26" y="255"/>
                    </a:lnTo>
                    <a:lnTo>
                      <a:pt x="3" y="270"/>
                    </a:lnTo>
                    <a:lnTo>
                      <a:pt x="0" y="293"/>
                    </a:lnTo>
                    <a:lnTo>
                      <a:pt x="27" y="284"/>
                    </a:lnTo>
                    <a:lnTo>
                      <a:pt x="45" y="257"/>
                    </a:lnTo>
                    <a:lnTo>
                      <a:pt x="57" y="260"/>
                    </a:lnTo>
                    <a:lnTo>
                      <a:pt x="53" y="284"/>
                    </a:lnTo>
                    <a:lnTo>
                      <a:pt x="86" y="312"/>
                    </a:lnTo>
                    <a:lnTo>
                      <a:pt x="119" y="348"/>
                    </a:lnTo>
                    <a:lnTo>
                      <a:pt x="140" y="350"/>
                    </a:lnTo>
                    <a:lnTo>
                      <a:pt x="143" y="371"/>
                    </a:lnTo>
                    <a:lnTo>
                      <a:pt x="119" y="399"/>
                    </a:lnTo>
                    <a:lnTo>
                      <a:pt x="174" y="413"/>
                    </a:lnTo>
                    <a:lnTo>
                      <a:pt x="221" y="395"/>
                    </a:lnTo>
                    <a:lnTo>
                      <a:pt x="240" y="396"/>
                    </a:lnTo>
                    <a:lnTo>
                      <a:pt x="255" y="422"/>
                    </a:lnTo>
                    <a:lnTo>
                      <a:pt x="261" y="467"/>
                    </a:lnTo>
                    <a:lnTo>
                      <a:pt x="321" y="482"/>
                    </a:lnTo>
                    <a:lnTo>
                      <a:pt x="362" y="482"/>
                    </a:lnTo>
                    <a:lnTo>
                      <a:pt x="377" y="531"/>
                    </a:lnTo>
                    <a:lnTo>
                      <a:pt x="456" y="486"/>
                    </a:lnTo>
                    <a:lnTo>
                      <a:pt x="492" y="492"/>
                    </a:lnTo>
                    <a:lnTo>
                      <a:pt x="519" y="506"/>
                    </a:lnTo>
                    <a:lnTo>
                      <a:pt x="527" y="543"/>
                    </a:lnTo>
                    <a:lnTo>
                      <a:pt x="539" y="531"/>
                    </a:lnTo>
                    <a:lnTo>
                      <a:pt x="546" y="579"/>
                    </a:lnTo>
                    <a:lnTo>
                      <a:pt x="672" y="500"/>
                    </a:lnTo>
                    <a:lnTo>
                      <a:pt x="660" y="485"/>
                    </a:lnTo>
                    <a:lnTo>
                      <a:pt x="675" y="443"/>
                    </a:lnTo>
                    <a:lnTo>
                      <a:pt x="642" y="434"/>
                    </a:lnTo>
                    <a:lnTo>
                      <a:pt x="603" y="344"/>
                    </a:lnTo>
                    <a:lnTo>
                      <a:pt x="582" y="344"/>
                    </a:lnTo>
                    <a:lnTo>
                      <a:pt x="597" y="318"/>
                    </a:lnTo>
                    <a:lnTo>
                      <a:pt x="650" y="305"/>
                    </a:lnTo>
                    <a:lnTo>
                      <a:pt x="645" y="281"/>
                    </a:lnTo>
                    <a:lnTo>
                      <a:pt x="671" y="231"/>
                    </a:lnTo>
                    <a:lnTo>
                      <a:pt x="654" y="228"/>
                    </a:lnTo>
                    <a:lnTo>
                      <a:pt x="675" y="200"/>
                    </a:lnTo>
                    <a:lnTo>
                      <a:pt x="672" y="149"/>
                    </a:lnTo>
                    <a:lnTo>
                      <a:pt x="713" y="81"/>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48" name="Freeform 6193">
                <a:extLst>
                  <a:ext uri="{FF2B5EF4-FFF2-40B4-BE49-F238E27FC236}">
                    <a16:creationId xmlns:a16="http://schemas.microsoft.com/office/drawing/2014/main" id="{4B9934B8-A5F3-57B0-74D1-9AC1ED0CD771}"/>
                  </a:ext>
                </a:extLst>
              </p:cNvPr>
              <p:cNvSpPr>
                <a:spLocks/>
              </p:cNvSpPr>
              <p:nvPr/>
            </p:nvSpPr>
            <p:spPr bwMode="gray">
              <a:xfrm>
                <a:off x="3411416" y="3733283"/>
                <a:ext cx="387696" cy="295399"/>
              </a:xfrm>
              <a:custGeom>
                <a:avLst/>
                <a:gdLst>
                  <a:gd name="T0" fmla="*/ 16 w 358"/>
                  <a:gd name="T1" fmla="*/ 0 h 279"/>
                  <a:gd name="T2" fmla="*/ 1 w 358"/>
                  <a:gd name="T3" fmla="*/ 27 h 279"/>
                  <a:gd name="T4" fmla="*/ 0 w 358"/>
                  <a:gd name="T5" fmla="*/ 45 h 279"/>
                  <a:gd name="T6" fmla="*/ 10 w 358"/>
                  <a:gd name="T7" fmla="*/ 72 h 279"/>
                  <a:gd name="T8" fmla="*/ 9 w 358"/>
                  <a:gd name="T9" fmla="*/ 118 h 279"/>
                  <a:gd name="T10" fmla="*/ 28 w 358"/>
                  <a:gd name="T11" fmla="*/ 136 h 279"/>
                  <a:gd name="T12" fmla="*/ 21 w 358"/>
                  <a:gd name="T13" fmla="*/ 171 h 279"/>
                  <a:gd name="T14" fmla="*/ 33 w 358"/>
                  <a:gd name="T15" fmla="*/ 171 h 279"/>
                  <a:gd name="T16" fmla="*/ 34 w 358"/>
                  <a:gd name="T17" fmla="*/ 208 h 279"/>
                  <a:gd name="T18" fmla="*/ 63 w 358"/>
                  <a:gd name="T19" fmla="*/ 198 h 279"/>
                  <a:gd name="T20" fmla="*/ 82 w 358"/>
                  <a:gd name="T21" fmla="*/ 208 h 279"/>
                  <a:gd name="T22" fmla="*/ 93 w 358"/>
                  <a:gd name="T23" fmla="*/ 181 h 279"/>
                  <a:gd name="T24" fmla="*/ 81 w 358"/>
                  <a:gd name="T25" fmla="*/ 180 h 279"/>
                  <a:gd name="T26" fmla="*/ 78 w 358"/>
                  <a:gd name="T27" fmla="*/ 154 h 279"/>
                  <a:gd name="T28" fmla="*/ 69 w 358"/>
                  <a:gd name="T29" fmla="*/ 127 h 279"/>
                  <a:gd name="T30" fmla="*/ 79 w 358"/>
                  <a:gd name="T31" fmla="*/ 112 h 279"/>
                  <a:gd name="T32" fmla="*/ 105 w 358"/>
                  <a:gd name="T33" fmla="*/ 112 h 279"/>
                  <a:gd name="T34" fmla="*/ 133 w 358"/>
                  <a:gd name="T35" fmla="*/ 124 h 279"/>
                  <a:gd name="T36" fmla="*/ 145 w 358"/>
                  <a:gd name="T37" fmla="*/ 141 h 279"/>
                  <a:gd name="T38" fmla="*/ 126 w 358"/>
                  <a:gd name="T39" fmla="*/ 213 h 279"/>
                  <a:gd name="T40" fmla="*/ 154 w 358"/>
                  <a:gd name="T41" fmla="*/ 277 h 279"/>
                  <a:gd name="T42" fmla="*/ 165 w 358"/>
                  <a:gd name="T43" fmla="*/ 265 h 279"/>
                  <a:gd name="T44" fmla="*/ 207 w 358"/>
                  <a:gd name="T45" fmla="*/ 264 h 279"/>
                  <a:gd name="T46" fmla="*/ 211 w 358"/>
                  <a:gd name="T47" fmla="*/ 279 h 279"/>
                  <a:gd name="T48" fmla="*/ 261 w 358"/>
                  <a:gd name="T49" fmla="*/ 258 h 279"/>
                  <a:gd name="T50" fmla="*/ 304 w 358"/>
                  <a:gd name="T51" fmla="*/ 249 h 279"/>
                  <a:gd name="T52" fmla="*/ 319 w 358"/>
                  <a:gd name="T53" fmla="*/ 211 h 279"/>
                  <a:gd name="T54" fmla="*/ 343 w 358"/>
                  <a:gd name="T55" fmla="*/ 187 h 279"/>
                  <a:gd name="T56" fmla="*/ 345 w 358"/>
                  <a:gd name="T57" fmla="*/ 169 h 279"/>
                  <a:gd name="T58" fmla="*/ 358 w 358"/>
                  <a:gd name="T59" fmla="*/ 159 h 279"/>
                  <a:gd name="T60" fmla="*/ 357 w 358"/>
                  <a:gd name="T61" fmla="*/ 148 h 279"/>
                  <a:gd name="T62" fmla="*/ 324 w 358"/>
                  <a:gd name="T63" fmla="*/ 150 h 279"/>
                  <a:gd name="T64" fmla="*/ 318 w 358"/>
                  <a:gd name="T65" fmla="*/ 132 h 279"/>
                  <a:gd name="T66" fmla="*/ 276 w 358"/>
                  <a:gd name="T67" fmla="*/ 121 h 279"/>
                  <a:gd name="T68" fmla="*/ 252 w 358"/>
                  <a:gd name="T69" fmla="*/ 70 h 279"/>
                  <a:gd name="T70" fmla="*/ 231 w 358"/>
                  <a:gd name="T71" fmla="*/ 61 h 279"/>
                  <a:gd name="T72" fmla="*/ 219 w 358"/>
                  <a:gd name="T73" fmla="*/ 61 h 279"/>
                  <a:gd name="T74" fmla="*/ 214 w 358"/>
                  <a:gd name="T75" fmla="*/ 45 h 279"/>
                  <a:gd name="T76" fmla="*/ 172 w 358"/>
                  <a:gd name="T77" fmla="*/ 39 h 279"/>
                  <a:gd name="T78" fmla="*/ 108 w 358"/>
                  <a:gd name="T79" fmla="*/ 55 h 279"/>
                  <a:gd name="T80" fmla="*/ 64 w 358"/>
                  <a:gd name="T81" fmla="*/ 37 h 279"/>
                  <a:gd name="T82" fmla="*/ 21 w 358"/>
                  <a:gd name="T83" fmla="*/ 34 h 279"/>
                  <a:gd name="T84" fmla="*/ 16 w 358"/>
                  <a:gd name="T85"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8" h="279">
                    <a:moveTo>
                      <a:pt x="16" y="0"/>
                    </a:moveTo>
                    <a:lnTo>
                      <a:pt x="1" y="27"/>
                    </a:lnTo>
                    <a:lnTo>
                      <a:pt x="0" y="45"/>
                    </a:lnTo>
                    <a:lnTo>
                      <a:pt x="10" y="72"/>
                    </a:lnTo>
                    <a:lnTo>
                      <a:pt x="9" y="118"/>
                    </a:lnTo>
                    <a:lnTo>
                      <a:pt x="28" y="136"/>
                    </a:lnTo>
                    <a:lnTo>
                      <a:pt x="21" y="171"/>
                    </a:lnTo>
                    <a:lnTo>
                      <a:pt x="33" y="171"/>
                    </a:lnTo>
                    <a:lnTo>
                      <a:pt x="34" y="208"/>
                    </a:lnTo>
                    <a:lnTo>
                      <a:pt x="63" y="198"/>
                    </a:lnTo>
                    <a:lnTo>
                      <a:pt x="82" y="208"/>
                    </a:lnTo>
                    <a:lnTo>
                      <a:pt x="93" y="181"/>
                    </a:lnTo>
                    <a:lnTo>
                      <a:pt x="81" y="180"/>
                    </a:lnTo>
                    <a:lnTo>
                      <a:pt x="78" y="154"/>
                    </a:lnTo>
                    <a:lnTo>
                      <a:pt x="69" y="127"/>
                    </a:lnTo>
                    <a:lnTo>
                      <a:pt x="79" y="112"/>
                    </a:lnTo>
                    <a:lnTo>
                      <a:pt x="105" y="112"/>
                    </a:lnTo>
                    <a:lnTo>
                      <a:pt x="133" y="124"/>
                    </a:lnTo>
                    <a:lnTo>
                      <a:pt x="145" y="141"/>
                    </a:lnTo>
                    <a:lnTo>
                      <a:pt x="126" y="213"/>
                    </a:lnTo>
                    <a:lnTo>
                      <a:pt x="154" y="277"/>
                    </a:lnTo>
                    <a:lnTo>
                      <a:pt x="165" y="265"/>
                    </a:lnTo>
                    <a:lnTo>
                      <a:pt x="207" y="264"/>
                    </a:lnTo>
                    <a:lnTo>
                      <a:pt x="211" y="279"/>
                    </a:lnTo>
                    <a:lnTo>
                      <a:pt x="261" y="258"/>
                    </a:lnTo>
                    <a:lnTo>
                      <a:pt x="304" y="249"/>
                    </a:lnTo>
                    <a:lnTo>
                      <a:pt x="319" y="211"/>
                    </a:lnTo>
                    <a:lnTo>
                      <a:pt x="343" y="187"/>
                    </a:lnTo>
                    <a:lnTo>
                      <a:pt x="345" y="169"/>
                    </a:lnTo>
                    <a:lnTo>
                      <a:pt x="358" y="159"/>
                    </a:lnTo>
                    <a:lnTo>
                      <a:pt x="357" y="148"/>
                    </a:lnTo>
                    <a:lnTo>
                      <a:pt x="324" y="150"/>
                    </a:lnTo>
                    <a:lnTo>
                      <a:pt x="318" y="132"/>
                    </a:lnTo>
                    <a:lnTo>
                      <a:pt x="276" y="121"/>
                    </a:lnTo>
                    <a:lnTo>
                      <a:pt x="252" y="70"/>
                    </a:lnTo>
                    <a:lnTo>
                      <a:pt x="231" y="61"/>
                    </a:lnTo>
                    <a:lnTo>
                      <a:pt x="219" y="61"/>
                    </a:lnTo>
                    <a:lnTo>
                      <a:pt x="214" y="45"/>
                    </a:lnTo>
                    <a:lnTo>
                      <a:pt x="172" y="39"/>
                    </a:lnTo>
                    <a:lnTo>
                      <a:pt x="108" y="55"/>
                    </a:lnTo>
                    <a:lnTo>
                      <a:pt x="64" y="37"/>
                    </a:lnTo>
                    <a:lnTo>
                      <a:pt x="21" y="34"/>
                    </a:lnTo>
                    <a:lnTo>
                      <a:pt x="16" y="0"/>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49" name="Freeform 6194">
                <a:extLst>
                  <a:ext uri="{FF2B5EF4-FFF2-40B4-BE49-F238E27FC236}">
                    <a16:creationId xmlns:a16="http://schemas.microsoft.com/office/drawing/2014/main" id="{BFE5216B-E1DC-5753-FBBD-CAB0B7F0181E}"/>
                  </a:ext>
                </a:extLst>
              </p:cNvPr>
              <p:cNvSpPr>
                <a:spLocks/>
              </p:cNvSpPr>
              <p:nvPr/>
            </p:nvSpPr>
            <p:spPr bwMode="gray">
              <a:xfrm>
                <a:off x="3926326" y="3178412"/>
                <a:ext cx="1088377" cy="1205548"/>
              </a:xfrm>
              <a:custGeom>
                <a:avLst/>
                <a:gdLst>
                  <a:gd name="T0" fmla="*/ 15 w 1005"/>
                  <a:gd name="T1" fmla="*/ 529 h 1134"/>
                  <a:gd name="T2" fmla="*/ 47 w 1005"/>
                  <a:gd name="T3" fmla="*/ 562 h 1134"/>
                  <a:gd name="T4" fmla="*/ 89 w 1005"/>
                  <a:gd name="T5" fmla="*/ 561 h 1134"/>
                  <a:gd name="T6" fmla="*/ 204 w 1005"/>
                  <a:gd name="T7" fmla="*/ 556 h 1134"/>
                  <a:gd name="T8" fmla="*/ 192 w 1005"/>
                  <a:gd name="T9" fmla="*/ 618 h 1134"/>
                  <a:gd name="T10" fmla="*/ 315 w 1005"/>
                  <a:gd name="T11" fmla="*/ 697 h 1134"/>
                  <a:gd name="T12" fmla="*/ 369 w 1005"/>
                  <a:gd name="T13" fmla="*/ 688 h 1134"/>
                  <a:gd name="T14" fmla="*/ 578 w 1005"/>
                  <a:gd name="T15" fmla="*/ 699 h 1134"/>
                  <a:gd name="T16" fmla="*/ 581 w 1005"/>
                  <a:gd name="T17" fmla="*/ 723 h 1134"/>
                  <a:gd name="T18" fmla="*/ 534 w 1005"/>
                  <a:gd name="T19" fmla="*/ 723 h 1134"/>
                  <a:gd name="T20" fmla="*/ 492 w 1005"/>
                  <a:gd name="T21" fmla="*/ 730 h 1134"/>
                  <a:gd name="T22" fmla="*/ 456 w 1005"/>
                  <a:gd name="T23" fmla="*/ 730 h 1134"/>
                  <a:gd name="T24" fmla="*/ 444 w 1005"/>
                  <a:gd name="T25" fmla="*/ 834 h 1134"/>
                  <a:gd name="T26" fmla="*/ 458 w 1005"/>
                  <a:gd name="T27" fmla="*/ 882 h 1134"/>
                  <a:gd name="T28" fmla="*/ 500 w 1005"/>
                  <a:gd name="T29" fmla="*/ 868 h 1134"/>
                  <a:gd name="T30" fmla="*/ 528 w 1005"/>
                  <a:gd name="T31" fmla="*/ 960 h 1134"/>
                  <a:gd name="T32" fmla="*/ 534 w 1005"/>
                  <a:gd name="T33" fmla="*/ 1066 h 1134"/>
                  <a:gd name="T34" fmla="*/ 639 w 1005"/>
                  <a:gd name="T35" fmla="*/ 1087 h 1134"/>
                  <a:gd name="T36" fmla="*/ 773 w 1005"/>
                  <a:gd name="T37" fmla="*/ 1134 h 1134"/>
                  <a:gd name="T38" fmla="*/ 885 w 1005"/>
                  <a:gd name="T39" fmla="*/ 954 h 1134"/>
                  <a:gd name="T40" fmla="*/ 806 w 1005"/>
                  <a:gd name="T41" fmla="*/ 795 h 1134"/>
                  <a:gd name="T42" fmla="*/ 846 w 1005"/>
                  <a:gd name="T43" fmla="*/ 667 h 1134"/>
                  <a:gd name="T44" fmla="*/ 854 w 1005"/>
                  <a:gd name="T45" fmla="*/ 459 h 1134"/>
                  <a:gd name="T46" fmla="*/ 921 w 1005"/>
                  <a:gd name="T47" fmla="*/ 378 h 1134"/>
                  <a:gd name="T48" fmla="*/ 962 w 1005"/>
                  <a:gd name="T49" fmla="*/ 274 h 1134"/>
                  <a:gd name="T50" fmla="*/ 1005 w 1005"/>
                  <a:gd name="T51" fmla="*/ 225 h 1134"/>
                  <a:gd name="T52" fmla="*/ 984 w 1005"/>
                  <a:gd name="T53" fmla="*/ 126 h 1134"/>
                  <a:gd name="T54" fmla="*/ 914 w 1005"/>
                  <a:gd name="T55" fmla="*/ 99 h 1134"/>
                  <a:gd name="T56" fmla="*/ 852 w 1005"/>
                  <a:gd name="T57" fmla="*/ 64 h 1134"/>
                  <a:gd name="T58" fmla="*/ 792 w 1005"/>
                  <a:gd name="T59" fmla="*/ 85 h 1134"/>
                  <a:gd name="T60" fmla="*/ 752 w 1005"/>
                  <a:gd name="T61" fmla="*/ 79 h 1134"/>
                  <a:gd name="T62" fmla="*/ 741 w 1005"/>
                  <a:gd name="T63" fmla="*/ 51 h 1134"/>
                  <a:gd name="T64" fmla="*/ 702 w 1005"/>
                  <a:gd name="T65" fmla="*/ 54 h 1134"/>
                  <a:gd name="T66" fmla="*/ 668 w 1005"/>
                  <a:gd name="T67" fmla="*/ 78 h 1134"/>
                  <a:gd name="T68" fmla="*/ 656 w 1005"/>
                  <a:gd name="T69" fmla="*/ 52 h 1134"/>
                  <a:gd name="T70" fmla="*/ 633 w 1005"/>
                  <a:gd name="T71" fmla="*/ 24 h 1134"/>
                  <a:gd name="T72" fmla="*/ 582 w 1005"/>
                  <a:gd name="T73" fmla="*/ 19 h 1134"/>
                  <a:gd name="T74" fmla="*/ 543 w 1005"/>
                  <a:gd name="T75" fmla="*/ 46 h 1134"/>
                  <a:gd name="T76" fmla="*/ 585 w 1005"/>
                  <a:gd name="T77" fmla="*/ 48 h 1134"/>
                  <a:gd name="T78" fmla="*/ 572 w 1005"/>
                  <a:gd name="T79" fmla="*/ 90 h 1134"/>
                  <a:gd name="T80" fmla="*/ 524 w 1005"/>
                  <a:gd name="T81" fmla="*/ 106 h 1134"/>
                  <a:gd name="T82" fmla="*/ 477 w 1005"/>
                  <a:gd name="T83" fmla="*/ 85 h 1134"/>
                  <a:gd name="T84" fmla="*/ 458 w 1005"/>
                  <a:gd name="T85" fmla="*/ 78 h 1134"/>
                  <a:gd name="T86" fmla="*/ 404 w 1005"/>
                  <a:gd name="T87" fmla="*/ 84 h 1134"/>
                  <a:gd name="T88" fmla="*/ 345 w 1005"/>
                  <a:gd name="T89" fmla="*/ 87 h 1134"/>
                  <a:gd name="T90" fmla="*/ 314 w 1005"/>
                  <a:gd name="T91" fmla="*/ 75 h 1134"/>
                  <a:gd name="T92" fmla="*/ 234 w 1005"/>
                  <a:gd name="T93" fmla="*/ 93 h 1134"/>
                  <a:gd name="T94" fmla="*/ 257 w 1005"/>
                  <a:gd name="T95" fmla="*/ 124 h 1134"/>
                  <a:gd name="T96" fmla="*/ 297 w 1005"/>
                  <a:gd name="T97" fmla="*/ 160 h 1134"/>
                  <a:gd name="T98" fmla="*/ 219 w 1005"/>
                  <a:gd name="T99" fmla="*/ 216 h 1134"/>
                  <a:gd name="T100" fmla="*/ 191 w 1005"/>
                  <a:gd name="T101" fmla="*/ 256 h 1134"/>
                  <a:gd name="T102" fmla="*/ 195 w 1005"/>
                  <a:gd name="T103" fmla="*/ 330 h 1134"/>
                  <a:gd name="T104" fmla="*/ 201 w 1005"/>
                  <a:gd name="T105" fmla="*/ 403 h 1134"/>
                  <a:gd name="T106" fmla="*/ 173 w 1005"/>
                  <a:gd name="T107" fmla="*/ 433 h 1134"/>
                  <a:gd name="T108" fmla="*/ 90 w 1005"/>
                  <a:gd name="T109" fmla="*/ 496 h 1134"/>
                  <a:gd name="T110" fmla="*/ 63 w 1005"/>
                  <a:gd name="T111" fmla="*/ 519 h 1134"/>
                  <a:gd name="T112" fmla="*/ 11 w 1005"/>
                  <a:gd name="T113" fmla="*/ 504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5" h="1134">
                    <a:moveTo>
                      <a:pt x="0" y="523"/>
                    </a:moveTo>
                    <a:lnTo>
                      <a:pt x="15" y="529"/>
                    </a:lnTo>
                    <a:lnTo>
                      <a:pt x="15" y="549"/>
                    </a:lnTo>
                    <a:lnTo>
                      <a:pt x="47" y="562"/>
                    </a:lnTo>
                    <a:lnTo>
                      <a:pt x="57" y="553"/>
                    </a:lnTo>
                    <a:lnTo>
                      <a:pt x="89" y="561"/>
                    </a:lnTo>
                    <a:lnTo>
                      <a:pt x="137" y="543"/>
                    </a:lnTo>
                    <a:lnTo>
                      <a:pt x="204" y="556"/>
                    </a:lnTo>
                    <a:lnTo>
                      <a:pt x="191" y="580"/>
                    </a:lnTo>
                    <a:lnTo>
                      <a:pt x="192" y="618"/>
                    </a:lnTo>
                    <a:lnTo>
                      <a:pt x="225" y="609"/>
                    </a:lnTo>
                    <a:lnTo>
                      <a:pt x="315" y="697"/>
                    </a:lnTo>
                    <a:lnTo>
                      <a:pt x="351" y="699"/>
                    </a:lnTo>
                    <a:lnTo>
                      <a:pt x="369" y="688"/>
                    </a:lnTo>
                    <a:lnTo>
                      <a:pt x="480" y="702"/>
                    </a:lnTo>
                    <a:lnTo>
                      <a:pt x="578" y="699"/>
                    </a:lnTo>
                    <a:lnTo>
                      <a:pt x="585" y="709"/>
                    </a:lnTo>
                    <a:lnTo>
                      <a:pt x="581" y="723"/>
                    </a:lnTo>
                    <a:lnTo>
                      <a:pt x="557" y="727"/>
                    </a:lnTo>
                    <a:lnTo>
                      <a:pt x="534" y="723"/>
                    </a:lnTo>
                    <a:lnTo>
                      <a:pt x="513" y="730"/>
                    </a:lnTo>
                    <a:lnTo>
                      <a:pt x="492" y="730"/>
                    </a:lnTo>
                    <a:lnTo>
                      <a:pt x="480" y="723"/>
                    </a:lnTo>
                    <a:lnTo>
                      <a:pt x="456" y="730"/>
                    </a:lnTo>
                    <a:lnTo>
                      <a:pt x="465" y="801"/>
                    </a:lnTo>
                    <a:lnTo>
                      <a:pt x="444" y="834"/>
                    </a:lnTo>
                    <a:lnTo>
                      <a:pt x="414" y="858"/>
                    </a:lnTo>
                    <a:lnTo>
                      <a:pt x="458" y="882"/>
                    </a:lnTo>
                    <a:lnTo>
                      <a:pt x="471" y="868"/>
                    </a:lnTo>
                    <a:lnTo>
                      <a:pt x="500" y="868"/>
                    </a:lnTo>
                    <a:lnTo>
                      <a:pt x="524" y="901"/>
                    </a:lnTo>
                    <a:lnTo>
                      <a:pt x="528" y="960"/>
                    </a:lnTo>
                    <a:lnTo>
                      <a:pt x="513" y="1015"/>
                    </a:lnTo>
                    <a:lnTo>
                      <a:pt x="534" y="1066"/>
                    </a:lnTo>
                    <a:lnTo>
                      <a:pt x="563" y="1089"/>
                    </a:lnTo>
                    <a:lnTo>
                      <a:pt x="639" y="1087"/>
                    </a:lnTo>
                    <a:lnTo>
                      <a:pt x="743" y="1105"/>
                    </a:lnTo>
                    <a:lnTo>
                      <a:pt x="773" y="1134"/>
                    </a:lnTo>
                    <a:lnTo>
                      <a:pt x="852" y="957"/>
                    </a:lnTo>
                    <a:lnTo>
                      <a:pt x="885" y="954"/>
                    </a:lnTo>
                    <a:lnTo>
                      <a:pt x="801" y="816"/>
                    </a:lnTo>
                    <a:lnTo>
                      <a:pt x="806" y="795"/>
                    </a:lnTo>
                    <a:lnTo>
                      <a:pt x="855" y="747"/>
                    </a:lnTo>
                    <a:lnTo>
                      <a:pt x="846" y="667"/>
                    </a:lnTo>
                    <a:lnTo>
                      <a:pt x="809" y="606"/>
                    </a:lnTo>
                    <a:lnTo>
                      <a:pt x="854" y="459"/>
                    </a:lnTo>
                    <a:lnTo>
                      <a:pt x="887" y="393"/>
                    </a:lnTo>
                    <a:lnTo>
                      <a:pt x="921" y="378"/>
                    </a:lnTo>
                    <a:lnTo>
                      <a:pt x="935" y="304"/>
                    </a:lnTo>
                    <a:lnTo>
                      <a:pt x="962" y="274"/>
                    </a:lnTo>
                    <a:lnTo>
                      <a:pt x="999" y="262"/>
                    </a:lnTo>
                    <a:lnTo>
                      <a:pt x="1005" y="225"/>
                    </a:lnTo>
                    <a:lnTo>
                      <a:pt x="978" y="147"/>
                    </a:lnTo>
                    <a:lnTo>
                      <a:pt x="984" y="126"/>
                    </a:lnTo>
                    <a:lnTo>
                      <a:pt x="930" y="88"/>
                    </a:lnTo>
                    <a:lnTo>
                      <a:pt x="914" y="99"/>
                    </a:lnTo>
                    <a:lnTo>
                      <a:pt x="867" y="48"/>
                    </a:lnTo>
                    <a:lnTo>
                      <a:pt x="852" y="64"/>
                    </a:lnTo>
                    <a:lnTo>
                      <a:pt x="836" y="82"/>
                    </a:lnTo>
                    <a:lnTo>
                      <a:pt x="792" y="85"/>
                    </a:lnTo>
                    <a:lnTo>
                      <a:pt x="768" y="69"/>
                    </a:lnTo>
                    <a:lnTo>
                      <a:pt x="752" y="79"/>
                    </a:lnTo>
                    <a:lnTo>
                      <a:pt x="741" y="67"/>
                    </a:lnTo>
                    <a:lnTo>
                      <a:pt x="741" y="51"/>
                    </a:lnTo>
                    <a:lnTo>
                      <a:pt x="725" y="43"/>
                    </a:lnTo>
                    <a:lnTo>
                      <a:pt x="702" y="54"/>
                    </a:lnTo>
                    <a:lnTo>
                      <a:pt x="684" y="96"/>
                    </a:lnTo>
                    <a:lnTo>
                      <a:pt x="668" y="78"/>
                    </a:lnTo>
                    <a:lnTo>
                      <a:pt x="653" y="75"/>
                    </a:lnTo>
                    <a:lnTo>
                      <a:pt x="656" y="52"/>
                    </a:lnTo>
                    <a:lnTo>
                      <a:pt x="617" y="49"/>
                    </a:lnTo>
                    <a:lnTo>
                      <a:pt x="633" y="24"/>
                    </a:lnTo>
                    <a:lnTo>
                      <a:pt x="603" y="0"/>
                    </a:lnTo>
                    <a:lnTo>
                      <a:pt x="582" y="19"/>
                    </a:lnTo>
                    <a:lnTo>
                      <a:pt x="555" y="18"/>
                    </a:lnTo>
                    <a:lnTo>
                      <a:pt x="543" y="46"/>
                    </a:lnTo>
                    <a:lnTo>
                      <a:pt x="572" y="34"/>
                    </a:lnTo>
                    <a:lnTo>
                      <a:pt x="585" y="48"/>
                    </a:lnTo>
                    <a:lnTo>
                      <a:pt x="600" y="69"/>
                    </a:lnTo>
                    <a:lnTo>
                      <a:pt x="572" y="90"/>
                    </a:lnTo>
                    <a:lnTo>
                      <a:pt x="551" y="90"/>
                    </a:lnTo>
                    <a:lnTo>
                      <a:pt x="524" y="106"/>
                    </a:lnTo>
                    <a:lnTo>
                      <a:pt x="501" y="88"/>
                    </a:lnTo>
                    <a:lnTo>
                      <a:pt x="477" y="85"/>
                    </a:lnTo>
                    <a:lnTo>
                      <a:pt x="464" y="94"/>
                    </a:lnTo>
                    <a:lnTo>
                      <a:pt x="458" y="78"/>
                    </a:lnTo>
                    <a:lnTo>
                      <a:pt x="414" y="52"/>
                    </a:lnTo>
                    <a:lnTo>
                      <a:pt x="404" y="84"/>
                    </a:lnTo>
                    <a:lnTo>
                      <a:pt x="356" y="99"/>
                    </a:lnTo>
                    <a:lnTo>
                      <a:pt x="345" y="87"/>
                    </a:lnTo>
                    <a:lnTo>
                      <a:pt x="327" y="93"/>
                    </a:lnTo>
                    <a:lnTo>
                      <a:pt x="314" y="75"/>
                    </a:lnTo>
                    <a:lnTo>
                      <a:pt x="269" y="76"/>
                    </a:lnTo>
                    <a:lnTo>
                      <a:pt x="234" y="93"/>
                    </a:lnTo>
                    <a:lnTo>
                      <a:pt x="236" y="117"/>
                    </a:lnTo>
                    <a:lnTo>
                      <a:pt x="257" y="124"/>
                    </a:lnTo>
                    <a:lnTo>
                      <a:pt x="260" y="141"/>
                    </a:lnTo>
                    <a:lnTo>
                      <a:pt x="297" y="160"/>
                    </a:lnTo>
                    <a:lnTo>
                      <a:pt x="230" y="183"/>
                    </a:lnTo>
                    <a:lnTo>
                      <a:pt x="219" y="216"/>
                    </a:lnTo>
                    <a:lnTo>
                      <a:pt x="200" y="222"/>
                    </a:lnTo>
                    <a:lnTo>
                      <a:pt x="191" y="256"/>
                    </a:lnTo>
                    <a:lnTo>
                      <a:pt x="168" y="282"/>
                    </a:lnTo>
                    <a:lnTo>
                      <a:pt x="195" y="330"/>
                    </a:lnTo>
                    <a:lnTo>
                      <a:pt x="212" y="378"/>
                    </a:lnTo>
                    <a:lnTo>
                      <a:pt x="201" y="403"/>
                    </a:lnTo>
                    <a:lnTo>
                      <a:pt x="185" y="403"/>
                    </a:lnTo>
                    <a:lnTo>
                      <a:pt x="173" y="433"/>
                    </a:lnTo>
                    <a:lnTo>
                      <a:pt x="159" y="481"/>
                    </a:lnTo>
                    <a:lnTo>
                      <a:pt x="90" y="496"/>
                    </a:lnTo>
                    <a:lnTo>
                      <a:pt x="89" y="514"/>
                    </a:lnTo>
                    <a:lnTo>
                      <a:pt x="63" y="519"/>
                    </a:lnTo>
                    <a:lnTo>
                      <a:pt x="60" y="499"/>
                    </a:lnTo>
                    <a:lnTo>
                      <a:pt x="11" y="504"/>
                    </a:lnTo>
                    <a:lnTo>
                      <a:pt x="0" y="523"/>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50" name="Freeform 6195">
                <a:extLst>
                  <a:ext uri="{FF2B5EF4-FFF2-40B4-BE49-F238E27FC236}">
                    <a16:creationId xmlns:a16="http://schemas.microsoft.com/office/drawing/2014/main" id="{5494818A-4D76-5DA1-4FF9-D9E83683700F}"/>
                  </a:ext>
                </a:extLst>
              </p:cNvPr>
              <p:cNvSpPr>
                <a:spLocks/>
              </p:cNvSpPr>
              <p:nvPr/>
            </p:nvSpPr>
            <p:spPr bwMode="gray">
              <a:xfrm>
                <a:off x="4414985" y="3286192"/>
                <a:ext cx="539141" cy="407172"/>
              </a:xfrm>
              <a:custGeom>
                <a:avLst/>
                <a:gdLst>
                  <a:gd name="T0" fmla="*/ 389 w 498"/>
                  <a:gd name="T1" fmla="*/ 0 h 384"/>
                  <a:gd name="T2" fmla="*/ 384 w 498"/>
                  <a:gd name="T3" fmla="*/ 25 h 384"/>
                  <a:gd name="T4" fmla="*/ 285 w 498"/>
                  <a:gd name="T5" fmla="*/ 66 h 384"/>
                  <a:gd name="T6" fmla="*/ 270 w 498"/>
                  <a:gd name="T7" fmla="*/ 111 h 384"/>
                  <a:gd name="T8" fmla="*/ 236 w 498"/>
                  <a:gd name="T9" fmla="*/ 118 h 384"/>
                  <a:gd name="T10" fmla="*/ 207 w 498"/>
                  <a:gd name="T11" fmla="*/ 112 h 384"/>
                  <a:gd name="T12" fmla="*/ 134 w 498"/>
                  <a:gd name="T13" fmla="*/ 133 h 384"/>
                  <a:gd name="T14" fmla="*/ 104 w 498"/>
                  <a:gd name="T15" fmla="*/ 124 h 384"/>
                  <a:gd name="T16" fmla="*/ 50 w 498"/>
                  <a:gd name="T17" fmla="*/ 130 h 384"/>
                  <a:gd name="T18" fmla="*/ 23 w 498"/>
                  <a:gd name="T19" fmla="*/ 195 h 384"/>
                  <a:gd name="T20" fmla="*/ 0 w 498"/>
                  <a:gd name="T21" fmla="*/ 199 h 384"/>
                  <a:gd name="T22" fmla="*/ 23 w 498"/>
                  <a:gd name="T23" fmla="*/ 231 h 384"/>
                  <a:gd name="T24" fmla="*/ 38 w 498"/>
                  <a:gd name="T25" fmla="*/ 225 h 384"/>
                  <a:gd name="T26" fmla="*/ 48 w 498"/>
                  <a:gd name="T27" fmla="*/ 243 h 384"/>
                  <a:gd name="T28" fmla="*/ 26 w 498"/>
                  <a:gd name="T29" fmla="*/ 267 h 384"/>
                  <a:gd name="T30" fmla="*/ 42 w 498"/>
                  <a:gd name="T31" fmla="*/ 319 h 384"/>
                  <a:gd name="T32" fmla="*/ 17 w 498"/>
                  <a:gd name="T33" fmla="*/ 354 h 384"/>
                  <a:gd name="T34" fmla="*/ 56 w 498"/>
                  <a:gd name="T35" fmla="*/ 370 h 384"/>
                  <a:gd name="T36" fmla="*/ 80 w 498"/>
                  <a:gd name="T37" fmla="*/ 367 h 384"/>
                  <a:gd name="T38" fmla="*/ 102 w 498"/>
                  <a:gd name="T39" fmla="*/ 354 h 384"/>
                  <a:gd name="T40" fmla="*/ 161 w 498"/>
                  <a:gd name="T41" fmla="*/ 384 h 384"/>
                  <a:gd name="T42" fmla="*/ 174 w 498"/>
                  <a:gd name="T43" fmla="*/ 382 h 384"/>
                  <a:gd name="T44" fmla="*/ 168 w 498"/>
                  <a:gd name="T45" fmla="*/ 340 h 384"/>
                  <a:gd name="T46" fmla="*/ 149 w 498"/>
                  <a:gd name="T47" fmla="*/ 313 h 384"/>
                  <a:gd name="T48" fmla="*/ 147 w 498"/>
                  <a:gd name="T49" fmla="*/ 246 h 384"/>
                  <a:gd name="T50" fmla="*/ 161 w 498"/>
                  <a:gd name="T51" fmla="*/ 246 h 384"/>
                  <a:gd name="T52" fmla="*/ 197 w 498"/>
                  <a:gd name="T53" fmla="*/ 199 h 384"/>
                  <a:gd name="T54" fmla="*/ 170 w 498"/>
                  <a:gd name="T55" fmla="*/ 148 h 384"/>
                  <a:gd name="T56" fmla="*/ 212 w 498"/>
                  <a:gd name="T57" fmla="*/ 145 h 384"/>
                  <a:gd name="T58" fmla="*/ 218 w 498"/>
                  <a:gd name="T59" fmla="*/ 163 h 384"/>
                  <a:gd name="T60" fmla="*/ 242 w 498"/>
                  <a:gd name="T61" fmla="*/ 163 h 384"/>
                  <a:gd name="T62" fmla="*/ 263 w 498"/>
                  <a:gd name="T63" fmla="*/ 174 h 384"/>
                  <a:gd name="T64" fmla="*/ 296 w 498"/>
                  <a:gd name="T65" fmla="*/ 196 h 384"/>
                  <a:gd name="T66" fmla="*/ 320 w 498"/>
                  <a:gd name="T67" fmla="*/ 208 h 384"/>
                  <a:gd name="T68" fmla="*/ 362 w 498"/>
                  <a:gd name="T69" fmla="*/ 210 h 384"/>
                  <a:gd name="T70" fmla="*/ 362 w 498"/>
                  <a:gd name="T71" fmla="*/ 162 h 384"/>
                  <a:gd name="T72" fmla="*/ 372 w 498"/>
                  <a:gd name="T73" fmla="*/ 121 h 384"/>
                  <a:gd name="T74" fmla="*/ 372 w 498"/>
                  <a:gd name="T75" fmla="*/ 109 h 384"/>
                  <a:gd name="T76" fmla="*/ 389 w 498"/>
                  <a:gd name="T77" fmla="*/ 103 h 384"/>
                  <a:gd name="T78" fmla="*/ 386 w 498"/>
                  <a:gd name="T79" fmla="*/ 81 h 384"/>
                  <a:gd name="T80" fmla="*/ 414 w 498"/>
                  <a:gd name="T81" fmla="*/ 67 h 384"/>
                  <a:gd name="T82" fmla="*/ 426 w 498"/>
                  <a:gd name="T83" fmla="*/ 81 h 384"/>
                  <a:gd name="T84" fmla="*/ 437 w 498"/>
                  <a:gd name="T85" fmla="*/ 88 h 384"/>
                  <a:gd name="T86" fmla="*/ 435 w 498"/>
                  <a:gd name="T87" fmla="*/ 103 h 384"/>
                  <a:gd name="T88" fmla="*/ 413 w 498"/>
                  <a:gd name="T89" fmla="*/ 99 h 384"/>
                  <a:gd name="T90" fmla="*/ 425 w 498"/>
                  <a:gd name="T91" fmla="*/ 123 h 384"/>
                  <a:gd name="T92" fmla="*/ 458 w 498"/>
                  <a:gd name="T93" fmla="*/ 96 h 384"/>
                  <a:gd name="T94" fmla="*/ 432 w 498"/>
                  <a:gd name="T95" fmla="*/ 52 h 384"/>
                  <a:gd name="T96" fmla="*/ 488 w 498"/>
                  <a:gd name="T97" fmla="*/ 55 h 384"/>
                  <a:gd name="T98" fmla="*/ 498 w 498"/>
                  <a:gd name="T99" fmla="*/ 42 h 384"/>
                  <a:gd name="T100" fmla="*/ 440 w 498"/>
                  <a:gd name="T101" fmla="*/ 9 h 384"/>
                  <a:gd name="T102" fmla="*/ 410 w 498"/>
                  <a:gd name="T103" fmla="*/ 12 h 384"/>
                  <a:gd name="T104" fmla="*/ 389 w 498"/>
                  <a:gd name="T105"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8" h="384">
                    <a:moveTo>
                      <a:pt x="389" y="0"/>
                    </a:moveTo>
                    <a:lnTo>
                      <a:pt x="384" y="25"/>
                    </a:lnTo>
                    <a:lnTo>
                      <a:pt x="285" y="66"/>
                    </a:lnTo>
                    <a:lnTo>
                      <a:pt x="270" y="111"/>
                    </a:lnTo>
                    <a:lnTo>
                      <a:pt x="236" y="118"/>
                    </a:lnTo>
                    <a:lnTo>
                      <a:pt x="207" y="112"/>
                    </a:lnTo>
                    <a:lnTo>
                      <a:pt x="134" y="133"/>
                    </a:lnTo>
                    <a:lnTo>
                      <a:pt x="104" y="124"/>
                    </a:lnTo>
                    <a:lnTo>
                      <a:pt x="50" y="130"/>
                    </a:lnTo>
                    <a:lnTo>
                      <a:pt x="23" y="195"/>
                    </a:lnTo>
                    <a:lnTo>
                      <a:pt x="0" y="199"/>
                    </a:lnTo>
                    <a:lnTo>
                      <a:pt x="23" y="231"/>
                    </a:lnTo>
                    <a:lnTo>
                      <a:pt x="38" y="225"/>
                    </a:lnTo>
                    <a:lnTo>
                      <a:pt x="48" y="243"/>
                    </a:lnTo>
                    <a:lnTo>
                      <a:pt x="26" y="267"/>
                    </a:lnTo>
                    <a:lnTo>
                      <a:pt x="42" y="319"/>
                    </a:lnTo>
                    <a:lnTo>
                      <a:pt x="17" y="354"/>
                    </a:lnTo>
                    <a:lnTo>
                      <a:pt x="56" y="370"/>
                    </a:lnTo>
                    <a:lnTo>
                      <a:pt x="80" y="367"/>
                    </a:lnTo>
                    <a:lnTo>
                      <a:pt x="102" y="354"/>
                    </a:lnTo>
                    <a:lnTo>
                      <a:pt x="161" y="384"/>
                    </a:lnTo>
                    <a:lnTo>
                      <a:pt x="174" y="382"/>
                    </a:lnTo>
                    <a:lnTo>
                      <a:pt x="168" y="340"/>
                    </a:lnTo>
                    <a:lnTo>
                      <a:pt x="149" y="313"/>
                    </a:lnTo>
                    <a:lnTo>
                      <a:pt x="147" y="246"/>
                    </a:lnTo>
                    <a:lnTo>
                      <a:pt x="161" y="246"/>
                    </a:lnTo>
                    <a:lnTo>
                      <a:pt x="197" y="199"/>
                    </a:lnTo>
                    <a:lnTo>
                      <a:pt x="170" y="148"/>
                    </a:lnTo>
                    <a:lnTo>
                      <a:pt x="212" y="145"/>
                    </a:lnTo>
                    <a:lnTo>
                      <a:pt x="218" y="163"/>
                    </a:lnTo>
                    <a:lnTo>
                      <a:pt x="242" y="163"/>
                    </a:lnTo>
                    <a:lnTo>
                      <a:pt x="263" y="174"/>
                    </a:lnTo>
                    <a:lnTo>
                      <a:pt x="296" y="196"/>
                    </a:lnTo>
                    <a:lnTo>
                      <a:pt x="320" y="208"/>
                    </a:lnTo>
                    <a:lnTo>
                      <a:pt x="362" y="210"/>
                    </a:lnTo>
                    <a:lnTo>
                      <a:pt x="362" y="162"/>
                    </a:lnTo>
                    <a:lnTo>
                      <a:pt x="372" y="121"/>
                    </a:lnTo>
                    <a:lnTo>
                      <a:pt x="372" y="109"/>
                    </a:lnTo>
                    <a:lnTo>
                      <a:pt x="389" y="103"/>
                    </a:lnTo>
                    <a:lnTo>
                      <a:pt x="386" y="81"/>
                    </a:lnTo>
                    <a:lnTo>
                      <a:pt x="414" y="67"/>
                    </a:lnTo>
                    <a:lnTo>
                      <a:pt x="426" y="81"/>
                    </a:lnTo>
                    <a:lnTo>
                      <a:pt x="437" y="88"/>
                    </a:lnTo>
                    <a:lnTo>
                      <a:pt x="435" y="103"/>
                    </a:lnTo>
                    <a:lnTo>
                      <a:pt x="413" y="99"/>
                    </a:lnTo>
                    <a:lnTo>
                      <a:pt x="425" y="123"/>
                    </a:lnTo>
                    <a:lnTo>
                      <a:pt x="458" y="96"/>
                    </a:lnTo>
                    <a:lnTo>
                      <a:pt x="432" y="52"/>
                    </a:lnTo>
                    <a:lnTo>
                      <a:pt x="488" y="55"/>
                    </a:lnTo>
                    <a:lnTo>
                      <a:pt x="498" y="42"/>
                    </a:lnTo>
                    <a:lnTo>
                      <a:pt x="440" y="9"/>
                    </a:lnTo>
                    <a:lnTo>
                      <a:pt x="410" y="12"/>
                    </a:lnTo>
                    <a:lnTo>
                      <a:pt x="389" y="0"/>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51" name="Freeform 6196">
                <a:extLst>
                  <a:ext uri="{FF2B5EF4-FFF2-40B4-BE49-F238E27FC236}">
                    <a16:creationId xmlns:a16="http://schemas.microsoft.com/office/drawing/2014/main" id="{4FF9FFFD-F537-7A27-D129-6D04CFDD3330}"/>
                  </a:ext>
                </a:extLst>
              </p:cNvPr>
              <p:cNvSpPr>
                <a:spLocks/>
              </p:cNvSpPr>
              <p:nvPr/>
            </p:nvSpPr>
            <p:spPr bwMode="gray">
              <a:xfrm>
                <a:off x="4574505" y="3439879"/>
                <a:ext cx="228174" cy="281428"/>
              </a:xfrm>
              <a:custGeom>
                <a:avLst/>
                <a:gdLst>
                  <a:gd name="T0" fmla="*/ 210 w 210"/>
                  <a:gd name="T1" fmla="*/ 65 h 264"/>
                  <a:gd name="T2" fmla="*/ 168 w 210"/>
                  <a:gd name="T3" fmla="*/ 65 h 264"/>
                  <a:gd name="T4" fmla="*/ 93 w 210"/>
                  <a:gd name="T5" fmla="*/ 17 h 264"/>
                  <a:gd name="T6" fmla="*/ 67 w 210"/>
                  <a:gd name="T7" fmla="*/ 18 h 264"/>
                  <a:gd name="T8" fmla="*/ 61 w 210"/>
                  <a:gd name="T9" fmla="*/ 0 h 264"/>
                  <a:gd name="T10" fmla="*/ 24 w 210"/>
                  <a:gd name="T11" fmla="*/ 5 h 264"/>
                  <a:gd name="T12" fmla="*/ 51 w 210"/>
                  <a:gd name="T13" fmla="*/ 57 h 264"/>
                  <a:gd name="T14" fmla="*/ 40 w 210"/>
                  <a:gd name="T15" fmla="*/ 63 h 264"/>
                  <a:gd name="T16" fmla="*/ 13 w 210"/>
                  <a:gd name="T17" fmla="*/ 99 h 264"/>
                  <a:gd name="T18" fmla="*/ 0 w 210"/>
                  <a:gd name="T19" fmla="*/ 102 h 264"/>
                  <a:gd name="T20" fmla="*/ 0 w 210"/>
                  <a:gd name="T21" fmla="*/ 173 h 264"/>
                  <a:gd name="T22" fmla="*/ 19 w 210"/>
                  <a:gd name="T23" fmla="*/ 194 h 264"/>
                  <a:gd name="T24" fmla="*/ 27 w 210"/>
                  <a:gd name="T25" fmla="*/ 237 h 264"/>
                  <a:gd name="T26" fmla="*/ 85 w 210"/>
                  <a:gd name="T27" fmla="*/ 264 h 264"/>
                  <a:gd name="T28" fmla="*/ 118 w 210"/>
                  <a:gd name="T29" fmla="*/ 239 h 264"/>
                  <a:gd name="T30" fmla="*/ 190 w 210"/>
                  <a:gd name="T31" fmla="*/ 183 h 264"/>
                  <a:gd name="T32" fmla="*/ 210 w 210"/>
                  <a:gd name="T33" fmla="*/ 65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264">
                    <a:moveTo>
                      <a:pt x="210" y="65"/>
                    </a:moveTo>
                    <a:lnTo>
                      <a:pt x="168" y="65"/>
                    </a:lnTo>
                    <a:lnTo>
                      <a:pt x="93" y="17"/>
                    </a:lnTo>
                    <a:lnTo>
                      <a:pt x="67" y="18"/>
                    </a:lnTo>
                    <a:lnTo>
                      <a:pt x="61" y="0"/>
                    </a:lnTo>
                    <a:lnTo>
                      <a:pt x="24" y="5"/>
                    </a:lnTo>
                    <a:lnTo>
                      <a:pt x="51" y="57"/>
                    </a:lnTo>
                    <a:lnTo>
                      <a:pt x="40" y="63"/>
                    </a:lnTo>
                    <a:lnTo>
                      <a:pt x="13" y="99"/>
                    </a:lnTo>
                    <a:lnTo>
                      <a:pt x="0" y="102"/>
                    </a:lnTo>
                    <a:lnTo>
                      <a:pt x="0" y="173"/>
                    </a:lnTo>
                    <a:lnTo>
                      <a:pt x="19" y="194"/>
                    </a:lnTo>
                    <a:lnTo>
                      <a:pt x="27" y="237"/>
                    </a:lnTo>
                    <a:lnTo>
                      <a:pt x="85" y="264"/>
                    </a:lnTo>
                    <a:lnTo>
                      <a:pt x="118" y="239"/>
                    </a:lnTo>
                    <a:lnTo>
                      <a:pt x="190" y="183"/>
                    </a:lnTo>
                    <a:lnTo>
                      <a:pt x="210" y="65"/>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52" name="Freeform 6197">
                <a:extLst>
                  <a:ext uri="{FF2B5EF4-FFF2-40B4-BE49-F238E27FC236}">
                    <a16:creationId xmlns:a16="http://schemas.microsoft.com/office/drawing/2014/main" id="{3D76EE17-C8A3-BE16-26DB-E4DC9DAFDE70}"/>
                  </a:ext>
                </a:extLst>
              </p:cNvPr>
              <p:cNvSpPr>
                <a:spLocks/>
              </p:cNvSpPr>
              <p:nvPr/>
            </p:nvSpPr>
            <p:spPr bwMode="gray">
              <a:xfrm>
                <a:off x="4816817" y="3360041"/>
                <a:ext cx="72692" cy="69859"/>
              </a:xfrm>
              <a:custGeom>
                <a:avLst/>
                <a:gdLst>
                  <a:gd name="T0" fmla="*/ 2 w 65"/>
                  <a:gd name="T1" fmla="*/ 58 h 66"/>
                  <a:gd name="T2" fmla="*/ 30 w 65"/>
                  <a:gd name="T3" fmla="*/ 52 h 66"/>
                  <a:gd name="T4" fmla="*/ 41 w 65"/>
                  <a:gd name="T5" fmla="*/ 66 h 66"/>
                  <a:gd name="T6" fmla="*/ 56 w 65"/>
                  <a:gd name="T7" fmla="*/ 52 h 66"/>
                  <a:gd name="T8" fmla="*/ 42 w 65"/>
                  <a:gd name="T9" fmla="*/ 30 h 66"/>
                  <a:gd name="T10" fmla="*/ 60 w 65"/>
                  <a:gd name="T11" fmla="*/ 36 h 66"/>
                  <a:gd name="T12" fmla="*/ 65 w 65"/>
                  <a:gd name="T13" fmla="*/ 18 h 66"/>
                  <a:gd name="T14" fmla="*/ 39 w 65"/>
                  <a:gd name="T15" fmla="*/ 0 h 66"/>
                  <a:gd name="T16" fmla="*/ 15 w 65"/>
                  <a:gd name="T17" fmla="*/ 10 h 66"/>
                  <a:gd name="T18" fmla="*/ 17 w 65"/>
                  <a:gd name="T19" fmla="*/ 36 h 66"/>
                  <a:gd name="T20" fmla="*/ 0 w 65"/>
                  <a:gd name="T21" fmla="*/ 45 h 66"/>
                  <a:gd name="T22" fmla="*/ 2 w 65"/>
                  <a:gd name="T23"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66">
                    <a:moveTo>
                      <a:pt x="2" y="58"/>
                    </a:moveTo>
                    <a:lnTo>
                      <a:pt x="30" y="52"/>
                    </a:lnTo>
                    <a:lnTo>
                      <a:pt x="41" y="66"/>
                    </a:lnTo>
                    <a:lnTo>
                      <a:pt x="56" y="52"/>
                    </a:lnTo>
                    <a:lnTo>
                      <a:pt x="42" y="30"/>
                    </a:lnTo>
                    <a:lnTo>
                      <a:pt x="60" y="36"/>
                    </a:lnTo>
                    <a:lnTo>
                      <a:pt x="65" y="18"/>
                    </a:lnTo>
                    <a:lnTo>
                      <a:pt x="39" y="0"/>
                    </a:lnTo>
                    <a:lnTo>
                      <a:pt x="15" y="10"/>
                    </a:lnTo>
                    <a:lnTo>
                      <a:pt x="17" y="36"/>
                    </a:lnTo>
                    <a:lnTo>
                      <a:pt x="0" y="45"/>
                    </a:lnTo>
                    <a:lnTo>
                      <a:pt x="2" y="58"/>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53" name="Freeform 6198">
                <a:extLst>
                  <a:ext uri="{FF2B5EF4-FFF2-40B4-BE49-F238E27FC236}">
                    <a16:creationId xmlns:a16="http://schemas.microsoft.com/office/drawing/2014/main" id="{8A671446-582A-F7DD-A854-11063A0DEF21}"/>
                  </a:ext>
                </a:extLst>
              </p:cNvPr>
              <p:cNvSpPr>
                <a:spLocks/>
              </p:cNvSpPr>
              <p:nvPr/>
            </p:nvSpPr>
            <p:spPr bwMode="gray">
              <a:xfrm>
                <a:off x="4881433" y="3342080"/>
                <a:ext cx="66634" cy="53891"/>
              </a:xfrm>
              <a:custGeom>
                <a:avLst/>
                <a:gdLst>
                  <a:gd name="T0" fmla="*/ 28 w 60"/>
                  <a:gd name="T1" fmla="*/ 50 h 50"/>
                  <a:gd name="T2" fmla="*/ 51 w 60"/>
                  <a:gd name="T3" fmla="*/ 39 h 50"/>
                  <a:gd name="T4" fmla="*/ 31 w 60"/>
                  <a:gd name="T5" fmla="*/ 20 h 50"/>
                  <a:gd name="T6" fmla="*/ 60 w 60"/>
                  <a:gd name="T7" fmla="*/ 3 h 50"/>
                  <a:gd name="T8" fmla="*/ 0 w 60"/>
                  <a:gd name="T9" fmla="*/ 0 h 50"/>
                  <a:gd name="T10" fmla="*/ 28 w 60"/>
                  <a:gd name="T11" fmla="*/ 50 h 50"/>
                </a:gdLst>
                <a:ahLst/>
                <a:cxnLst>
                  <a:cxn ang="0">
                    <a:pos x="T0" y="T1"/>
                  </a:cxn>
                  <a:cxn ang="0">
                    <a:pos x="T2" y="T3"/>
                  </a:cxn>
                  <a:cxn ang="0">
                    <a:pos x="T4" y="T5"/>
                  </a:cxn>
                  <a:cxn ang="0">
                    <a:pos x="T6" y="T7"/>
                  </a:cxn>
                  <a:cxn ang="0">
                    <a:pos x="T8" y="T9"/>
                  </a:cxn>
                  <a:cxn ang="0">
                    <a:pos x="T10" y="T11"/>
                  </a:cxn>
                </a:cxnLst>
                <a:rect l="0" t="0" r="r" b="b"/>
                <a:pathLst>
                  <a:path w="60" h="50">
                    <a:moveTo>
                      <a:pt x="28" y="50"/>
                    </a:moveTo>
                    <a:lnTo>
                      <a:pt x="51" y="39"/>
                    </a:lnTo>
                    <a:lnTo>
                      <a:pt x="31" y="20"/>
                    </a:lnTo>
                    <a:lnTo>
                      <a:pt x="60" y="3"/>
                    </a:lnTo>
                    <a:lnTo>
                      <a:pt x="0" y="0"/>
                    </a:lnTo>
                    <a:lnTo>
                      <a:pt x="28" y="50"/>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54" name="Freeform 6199">
                <a:extLst>
                  <a:ext uri="{FF2B5EF4-FFF2-40B4-BE49-F238E27FC236}">
                    <a16:creationId xmlns:a16="http://schemas.microsoft.com/office/drawing/2014/main" id="{AF660045-1589-B82D-2C56-18C285027DB7}"/>
                  </a:ext>
                </a:extLst>
              </p:cNvPr>
              <p:cNvSpPr>
                <a:spLocks/>
              </p:cNvSpPr>
              <p:nvPr/>
            </p:nvSpPr>
            <p:spPr bwMode="gray">
              <a:xfrm>
                <a:off x="3748632" y="2896985"/>
                <a:ext cx="965202" cy="582816"/>
              </a:xfrm>
              <a:custGeom>
                <a:avLst/>
                <a:gdLst>
                  <a:gd name="T0" fmla="*/ 867 w 891"/>
                  <a:gd name="T1" fmla="*/ 319 h 547"/>
                  <a:gd name="T2" fmla="*/ 833 w 891"/>
                  <a:gd name="T3" fmla="*/ 340 h 547"/>
                  <a:gd name="T4" fmla="*/ 821 w 891"/>
                  <a:gd name="T5" fmla="*/ 316 h 547"/>
                  <a:gd name="T6" fmla="*/ 797 w 891"/>
                  <a:gd name="T7" fmla="*/ 289 h 547"/>
                  <a:gd name="T8" fmla="*/ 753 w 891"/>
                  <a:gd name="T9" fmla="*/ 279 h 547"/>
                  <a:gd name="T10" fmla="*/ 711 w 891"/>
                  <a:gd name="T11" fmla="*/ 313 h 547"/>
                  <a:gd name="T12" fmla="*/ 764 w 891"/>
                  <a:gd name="T13" fmla="*/ 331 h 547"/>
                  <a:gd name="T14" fmla="*/ 719 w 891"/>
                  <a:gd name="T15" fmla="*/ 354 h 547"/>
                  <a:gd name="T16" fmla="*/ 662 w 891"/>
                  <a:gd name="T17" fmla="*/ 351 h 547"/>
                  <a:gd name="T18" fmla="*/ 624 w 891"/>
                  <a:gd name="T19" fmla="*/ 342 h 547"/>
                  <a:gd name="T20" fmla="*/ 567 w 891"/>
                  <a:gd name="T21" fmla="*/ 346 h 547"/>
                  <a:gd name="T22" fmla="*/ 512 w 891"/>
                  <a:gd name="T23" fmla="*/ 352 h 547"/>
                  <a:gd name="T24" fmla="*/ 477 w 891"/>
                  <a:gd name="T25" fmla="*/ 337 h 547"/>
                  <a:gd name="T26" fmla="*/ 404 w 891"/>
                  <a:gd name="T27" fmla="*/ 354 h 547"/>
                  <a:gd name="T28" fmla="*/ 419 w 891"/>
                  <a:gd name="T29" fmla="*/ 388 h 547"/>
                  <a:gd name="T30" fmla="*/ 461 w 891"/>
                  <a:gd name="T31" fmla="*/ 424 h 547"/>
                  <a:gd name="T32" fmla="*/ 386 w 891"/>
                  <a:gd name="T33" fmla="*/ 483 h 547"/>
                  <a:gd name="T34" fmla="*/ 356 w 891"/>
                  <a:gd name="T35" fmla="*/ 517 h 547"/>
                  <a:gd name="T36" fmla="*/ 321 w 891"/>
                  <a:gd name="T37" fmla="*/ 517 h 547"/>
                  <a:gd name="T38" fmla="*/ 288 w 891"/>
                  <a:gd name="T39" fmla="*/ 478 h 547"/>
                  <a:gd name="T40" fmla="*/ 306 w 891"/>
                  <a:gd name="T41" fmla="*/ 447 h 547"/>
                  <a:gd name="T42" fmla="*/ 281 w 891"/>
                  <a:gd name="T43" fmla="*/ 409 h 547"/>
                  <a:gd name="T44" fmla="*/ 269 w 891"/>
                  <a:gd name="T45" fmla="*/ 358 h 547"/>
                  <a:gd name="T46" fmla="*/ 204 w 891"/>
                  <a:gd name="T47" fmla="*/ 280 h 547"/>
                  <a:gd name="T48" fmla="*/ 215 w 891"/>
                  <a:gd name="T49" fmla="*/ 231 h 547"/>
                  <a:gd name="T50" fmla="*/ 102 w 891"/>
                  <a:gd name="T51" fmla="*/ 183 h 547"/>
                  <a:gd name="T52" fmla="*/ 96 w 891"/>
                  <a:gd name="T53" fmla="*/ 129 h 547"/>
                  <a:gd name="T54" fmla="*/ 191 w 891"/>
                  <a:gd name="T55" fmla="*/ 79 h 547"/>
                  <a:gd name="T56" fmla="*/ 153 w 891"/>
                  <a:gd name="T57" fmla="*/ 52 h 547"/>
                  <a:gd name="T58" fmla="*/ 119 w 891"/>
                  <a:gd name="T59" fmla="*/ 84 h 547"/>
                  <a:gd name="T60" fmla="*/ 90 w 891"/>
                  <a:gd name="T61" fmla="*/ 94 h 547"/>
                  <a:gd name="T62" fmla="*/ 0 w 891"/>
                  <a:gd name="T63" fmla="*/ 34 h 547"/>
                  <a:gd name="T64" fmla="*/ 14 w 891"/>
                  <a:gd name="T65" fmla="*/ 0 h 547"/>
                  <a:gd name="T66" fmla="*/ 86 w 891"/>
                  <a:gd name="T67" fmla="*/ 1 h 547"/>
                  <a:gd name="T68" fmla="*/ 174 w 891"/>
                  <a:gd name="T69" fmla="*/ 27 h 547"/>
                  <a:gd name="T70" fmla="*/ 257 w 891"/>
                  <a:gd name="T71" fmla="*/ 88 h 547"/>
                  <a:gd name="T72" fmla="*/ 339 w 891"/>
                  <a:gd name="T73" fmla="*/ 66 h 547"/>
                  <a:gd name="T74" fmla="*/ 410 w 891"/>
                  <a:gd name="T75" fmla="*/ 36 h 547"/>
                  <a:gd name="T76" fmla="*/ 489 w 891"/>
                  <a:gd name="T77" fmla="*/ 49 h 547"/>
                  <a:gd name="T78" fmla="*/ 551 w 891"/>
                  <a:gd name="T79" fmla="*/ 45 h 547"/>
                  <a:gd name="T80" fmla="*/ 605 w 891"/>
                  <a:gd name="T81" fmla="*/ 73 h 547"/>
                  <a:gd name="T82" fmla="*/ 693 w 891"/>
                  <a:gd name="T83" fmla="*/ 111 h 547"/>
                  <a:gd name="T84" fmla="*/ 821 w 891"/>
                  <a:gd name="T85" fmla="*/ 199 h 547"/>
                  <a:gd name="T86" fmla="*/ 891 w 891"/>
                  <a:gd name="T87" fmla="*/ 28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91" h="547">
                    <a:moveTo>
                      <a:pt x="888" y="307"/>
                    </a:moveTo>
                    <a:lnTo>
                      <a:pt x="867" y="319"/>
                    </a:lnTo>
                    <a:lnTo>
                      <a:pt x="849" y="363"/>
                    </a:lnTo>
                    <a:lnTo>
                      <a:pt x="833" y="340"/>
                    </a:lnTo>
                    <a:lnTo>
                      <a:pt x="819" y="343"/>
                    </a:lnTo>
                    <a:lnTo>
                      <a:pt x="821" y="316"/>
                    </a:lnTo>
                    <a:lnTo>
                      <a:pt x="785" y="315"/>
                    </a:lnTo>
                    <a:lnTo>
                      <a:pt x="797" y="289"/>
                    </a:lnTo>
                    <a:lnTo>
                      <a:pt x="770" y="267"/>
                    </a:lnTo>
                    <a:lnTo>
                      <a:pt x="753" y="279"/>
                    </a:lnTo>
                    <a:lnTo>
                      <a:pt x="720" y="285"/>
                    </a:lnTo>
                    <a:lnTo>
                      <a:pt x="711" y="313"/>
                    </a:lnTo>
                    <a:lnTo>
                      <a:pt x="740" y="300"/>
                    </a:lnTo>
                    <a:lnTo>
                      <a:pt x="764" y="331"/>
                    </a:lnTo>
                    <a:lnTo>
                      <a:pt x="740" y="355"/>
                    </a:lnTo>
                    <a:lnTo>
                      <a:pt x="719" y="354"/>
                    </a:lnTo>
                    <a:lnTo>
                      <a:pt x="687" y="369"/>
                    </a:lnTo>
                    <a:lnTo>
                      <a:pt x="662" y="351"/>
                    </a:lnTo>
                    <a:lnTo>
                      <a:pt x="629" y="357"/>
                    </a:lnTo>
                    <a:lnTo>
                      <a:pt x="624" y="342"/>
                    </a:lnTo>
                    <a:lnTo>
                      <a:pt x="581" y="318"/>
                    </a:lnTo>
                    <a:lnTo>
                      <a:pt x="567" y="346"/>
                    </a:lnTo>
                    <a:lnTo>
                      <a:pt x="521" y="363"/>
                    </a:lnTo>
                    <a:lnTo>
                      <a:pt x="512" y="352"/>
                    </a:lnTo>
                    <a:lnTo>
                      <a:pt x="498" y="357"/>
                    </a:lnTo>
                    <a:lnTo>
                      <a:pt x="477" y="337"/>
                    </a:lnTo>
                    <a:lnTo>
                      <a:pt x="434" y="340"/>
                    </a:lnTo>
                    <a:lnTo>
                      <a:pt x="404" y="354"/>
                    </a:lnTo>
                    <a:lnTo>
                      <a:pt x="402" y="382"/>
                    </a:lnTo>
                    <a:lnTo>
                      <a:pt x="419" y="388"/>
                    </a:lnTo>
                    <a:lnTo>
                      <a:pt x="423" y="406"/>
                    </a:lnTo>
                    <a:lnTo>
                      <a:pt x="461" y="424"/>
                    </a:lnTo>
                    <a:lnTo>
                      <a:pt x="393" y="448"/>
                    </a:lnTo>
                    <a:lnTo>
                      <a:pt x="386" y="483"/>
                    </a:lnTo>
                    <a:lnTo>
                      <a:pt x="363" y="489"/>
                    </a:lnTo>
                    <a:lnTo>
                      <a:pt x="356" y="517"/>
                    </a:lnTo>
                    <a:lnTo>
                      <a:pt x="333" y="547"/>
                    </a:lnTo>
                    <a:lnTo>
                      <a:pt x="321" y="517"/>
                    </a:lnTo>
                    <a:lnTo>
                      <a:pt x="282" y="501"/>
                    </a:lnTo>
                    <a:lnTo>
                      <a:pt x="288" y="478"/>
                    </a:lnTo>
                    <a:lnTo>
                      <a:pt x="288" y="450"/>
                    </a:lnTo>
                    <a:lnTo>
                      <a:pt x="306" y="447"/>
                    </a:lnTo>
                    <a:lnTo>
                      <a:pt x="278" y="421"/>
                    </a:lnTo>
                    <a:lnTo>
                      <a:pt x="281" y="409"/>
                    </a:lnTo>
                    <a:lnTo>
                      <a:pt x="257" y="382"/>
                    </a:lnTo>
                    <a:lnTo>
                      <a:pt x="269" y="358"/>
                    </a:lnTo>
                    <a:lnTo>
                      <a:pt x="270" y="291"/>
                    </a:lnTo>
                    <a:lnTo>
                      <a:pt x="204" y="280"/>
                    </a:lnTo>
                    <a:lnTo>
                      <a:pt x="192" y="235"/>
                    </a:lnTo>
                    <a:lnTo>
                      <a:pt x="215" y="231"/>
                    </a:lnTo>
                    <a:lnTo>
                      <a:pt x="195" y="208"/>
                    </a:lnTo>
                    <a:lnTo>
                      <a:pt x="102" y="183"/>
                    </a:lnTo>
                    <a:lnTo>
                      <a:pt x="81" y="145"/>
                    </a:lnTo>
                    <a:lnTo>
                      <a:pt x="96" y="129"/>
                    </a:lnTo>
                    <a:lnTo>
                      <a:pt x="162" y="162"/>
                    </a:lnTo>
                    <a:lnTo>
                      <a:pt x="191" y="79"/>
                    </a:lnTo>
                    <a:lnTo>
                      <a:pt x="149" y="73"/>
                    </a:lnTo>
                    <a:lnTo>
                      <a:pt x="153" y="52"/>
                    </a:lnTo>
                    <a:lnTo>
                      <a:pt x="132" y="54"/>
                    </a:lnTo>
                    <a:lnTo>
                      <a:pt x="119" y="84"/>
                    </a:lnTo>
                    <a:lnTo>
                      <a:pt x="111" y="78"/>
                    </a:lnTo>
                    <a:lnTo>
                      <a:pt x="90" y="94"/>
                    </a:lnTo>
                    <a:lnTo>
                      <a:pt x="38" y="94"/>
                    </a:lnTo>
                    <a:lnTo>
                      <a:pt x="0" y="34"/>
                    </a:lnTo>
                    <a:lnTo>
                      <a:pt x="2" y="15"/>
                    </a:lnTo>
                    <a:lnTo>
                      <a:pt x="14" y="0"/>
                    </a:lnTo>
                    <a:lnTo>
                      <a:pt x="50" y="9"/>
                    </a:lnTo>
                    <a:lnTo>
                      <a:pt x="86" y="1"/>
                    </a:lnTo>
                    <a:lnTo>
                      <a:pt x="134" y="31"/>
                    </a:lnTo>
                    <a:lnTo>
                      <a:pt x="174" y="27"/>
                    </a:lnTo>
                    <a:lnTo>
                      <a:pt x="221" y="70"/>
                    </a:lnTo>
                    <a:lnTo>
                      <a:pt x="257" y="88"/>
                    </a:lnTo>
                    <a:lnTo>
                      <a:pt x="273" y="88"/>
                    </a:lnTo>
                    <a:lnTo>
                      <a:pt x="339" y="66"/>
                    </a:lnTo>
                    <a:lnTo>
                      <a:pt x="357" y="42"/>
                    </a:lnTo>
                    <a:lnTo>
                      <a:pt x="410" y="36"/>
                    </a:lnTo>
                    <a:lnTo>
                      <a:pt x="459" y="31"/>
                    </a:lnTo>
                    <a:lnTo>
                      <a:pt x="489" y="49"/>
                    </a:lnTo>
                    <a:lnTo>
                      <a:pt x="528" y="45"/>
                    </a:lnTo>
                    <a:lnTo>
                      <a:pt x="551" y="45"/>
                    </a:lnTo>
                    <a:lnTo>
                      <a:pt x="572" y="67"/>
                    </a:lnTo>
                    <a:lnTo>
                      <a:pt x="605" y="73"/>
                    </a:lnTo>
                    <a:lnTo>
                      <a:pt x="644" y="93"/>
                    </a:lnTo>
                    <a:lnTo>
                      <a:pt x="693" y="111"/>
                    </a:lnTo>
                    <a:lnTo>
                      <a:pt x="743" y="150"/>
                    </a:lnTo>
                    <a:lnTo>
                      <a:pt x="821" y="199"/>
                    </a:lnTo>
                    <a:lnTo>
                      <a:pt x="821" y="231"/>
                    </a:lnTo>
                    <a:lnTo>
                      <a:pt x="891" y="289"/>
                    </a:lnTo>
                    <a:lnTo>
                      <a:pt x="888" y="307"/>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55" name="Freeform 6200">
                <a:extLst>
                  <a:ext uri="{FF2B5EF4-FFF2-40B4-BE49-F238E27FC236}">
                    <a16:creationId xmlns:a16="http://schemas.microsoft.com/office/drawing/2014/main" id="{A7285B70-B8E4-1281-E7A0-85A96168648E}"/>
                  </a:ext>
                </a:extLst>
              </p:cNvPr>
              <p:cNvSpPr>
                <a:spLocks/>
              </p:cNvSpPr>
              <p:nvPr/>
            </p:nvSpPr>
            <p:spPr bwMode="gray">
              <a:xfrm>
                <a:off x="3362954" y="2904969"/>
                <a:ext cx="795585" cy="989986"/>
              </a:xfrm>
              <a:custGeom>
                <a:avLst/>
                <a:gdLst>
                  <a:gd name="T0" fmla="*/ 87 w 733"/>
                  <a:gd name="T1" fmla="*/ 213 h 928"/>
                  <a:gd name="T2" fmla="*/ 108 w 733"/>
                  <a:gd name="T3" fmla="*/ 162 h 928"/>
                  <a:gd name="T4" fmla="*/ 172 w 733"/>
                  <a:gd name="T5" fmla="*/ 135 h 928"/>
                  <a:gd name="T6" fmla="*/ 226 w 733"/>
                  <a:gd name="T7" fmla="*/ 121 h 928"/>
                  <a:gd name="T8" fmla="*/ 234 w 733"/>
                  <a:gd name="T9" fmla="*/ 172 h 928"/>
                  <a:gd name="T10" fmla="*/ 223 w 733"/>
                  <a:gd name="T11" fmla="*/ 240 h 928"/>
                  <a:gd name="T12" fmla="*/ 249 w 733"/>
                  <a:gd name="T13" fmla="*/ 174 h 928"/>
                  <a:gd name="T14" fmla="*/ 255 w 733"/>
                  <a:gd name="T15" fmla="*/ 73 h 928"/>
                  <a:gd name="T16" fmla="*/ 286 w 733"/>
                  <a:gd name="T17" fmla="*/ 42 h 928"/>
                  <a:gd name="T18" fmla="*/ 337 w 733"/>
                  <a:gd name="T19" fmla="*/ 4 h 928"/>
                  <a:gd name="T20" fmla="*/ 393 w 733"/>
                  <a:gd name="T21" fmla="*/ 90 h 928"/>
                  <a:gd name="T22" fmla="*/ 469 w 733"/>
                  <a:gd name="T23" fmla="*/ 67 h 928"/>
                  <a:gd name="T24" fmla="*/ 489 w 733"/>
                  <a:gd name="T25" fmla="*/ 46 h 928"/>
                  <a:gd name="T26" fmla="*/ 502 w 733"/>
                  <a:gd name="T27" fmla="*/ 64 h 928"/>
                  <a:gd name="T28" fmla="*/ 516 w 733"/>
                  <a:gd name="T29" fmla="*/ 154 h 928"/>
                  <a:gd name="T30" fmla="*/ 436 w 733"/>
                  <a:gd name="T31" fmla="*/ 136 h 928"/>
                  <a:gd name="T32" fmla="*/ 553 w 733"/>
                  <a:gd name="T33" fmla="*/ 202 h 928"/>
                  <a:gd name="T34" fmla="*/ 547 w 733"/>
                  <a:gd name="T35" fmla="*/ 226 h 928"/>
                  <a:gd name="T36" fmla="*/ 624 w 733"/>
                  <a:gd name="T37" fmla="*/ 280 h 928"/>
                  <a:gd name="T38" fmla="*/ 610 w 733"/>
                  <a:gd name="T39" fmla="*/ 376 h 928"/>
                  <a:gd name="T40" fmla="*/ 631 w 733"/>
                  <a:gd name="T41" fmla="*/ 414 h 928"/>
                  <a:gd name="T42" fmla="*/ 645 w 733"/>
                  <a:gd name="T43" fmla="*/ 441 h 928"/>
                  <a:gd name="T44" fmla="*/ 639 w 733"/>
                  <a:gd name="T45" fmla="*/ 490 h 928"/>
                  <a:gd name="T46" fmla="*/ 687 w 733"/>
                  <a:gd name="T47" fmla="*/ 537 h 928"/>
                  <a:gd name="T48" fmla="*/ 723 w 733"/>
                  <a:gd name="T49" fmla="*/ 658 h 928"/>
                  <a:gd name="T50" fmla="*/ 679 w 733"/>
                  <a:gd name="T51" fmla="*/ 738 h 928"/>
                  <a:gd name="T52" fmla="*/ 610 w 733"/>
                  <a:gd name="T53" fmla="*/ 768 h 928"/>
                  <a:gd name="T54" fmla="*/ 580 w 733"/>
                  <a:gd name="T55" fmla="*/ 759 h 928"/>
                  <a:gd name="T56" fmla="*/ 519 w 733"/>
                  <a:gd name="T57" fmla="*/ 780 h 928"/>
                  <a:gd name="T58" fmla="*/ 450 w 733"/>
                  <a:gd name="T59" fmla="*/ 787 h 928"/>
                  <a:gd name="T60" fmla="*/ 367 w 733"/>
                  <a:gd name="T61" fmla="*/ 748 h 928"/>
                  <a:gd name="T62" fmla="*/ 265 w 733"/>
                  <a:gd name="T63" fmla="*/ 667 h 928"/>
                  <a:gd name="T64" fmla="*/ 220 w 733"/>
                  <a:gd name="T65" fmla="*/ 585 h 928"/>
                  <a:gd name="T66" fmla="*/ 208 w 733"/>
                  <a:gd name="T67" fmla="*/ 579 h 928"/>
                  <a:gd name="T68" fmla="*/ 249 w 733"/>
                  <a:gd name="T69" fmla="*/ 690 h 928"/>
                  <a:gd name="T70" fmla="*/ 327 w 733"/>
                  <a:gd name="T71" fmla="*/ 769 h 928"/>
                  <a:gd name="T72" fmla="*/ 364 w 733"/>
                  <a:gd name="T73" fmla="*/ 783 h 928"/>
                  <a:gd name="T74" fmla="*/ 390 w 733"/>
                  <a:gd name="T75" fmla="*/ 877 h 928"/>
                  <a:gd name="T76" fmla="*/ 369 w 733"/>
                  <a:gd name="T77" fmla="*/ 928 h 928"/>
                  <a:gd name="T78" fmla="*/ 318 w 733"/>
                  <a:gd name="T79" fmla="*/ 900 h 928"/>
                  <a:gd name="T80" fmla="*/ 264 w 733"/>
                  <a:gd name="T81" fmla="*/ 838 h 928"/>
                  <a:gd name="T82" fmla="*/ 216 w 733"/>
                  <a:gd name="T83" fmla="*/ 814 h 928"/>
                  <a:gd name="T84" fmla="*/ 105 w 733"/>
                  <a:gd name="T85" fmla="*/ 813 h 928"/>
                  <a:gd name="T86" fmla="*/ 63 w 733"/>
                  <a:gd name="T87" fmla="*/ 783 h 928"/>
                  <a:gd name="T88" fmla="*/ 46 w 733"/>
                  <a:gd name="T89" fmla="*/ 700 h 928"/>
                  <a:gd name="T90" fmla="*/ 121 w 733"/>
                  <a:gd name="T91" fmla="*/ 627 h 928"/>
                  <a:gd name="T92" fmla="*/ 73 w 733"/>
                  <a:gd name="T93" fmla="*/ 616 h 928"/>
                  <a:gd name="T94" fmla="*/ 49 w 733"/>
                  <a:gd name="T95" fmla="*/ 547 h 928"/>
                  <a:gd name="T96" fmla="*/ 21 w 733"/>
                  <a:gd name="T97" fmla="*/ 513 h 928"/>
                  <a:gd name="T98" fmla="*/ 37 w 733"/>
                  <a:gd name="T99" fmla="*/ 484 h 928"/>
                  <a:gd name="T100" fmla="*/ 37 w 733"/>
                  <a:gd name="T101" fmla="*/ 456 h 928"/>
                  <a:gd name="T102" fmla="*/ 42 w 733"/>
                  <a:gd name="T103" fmla="*/ 418 h 928"/>
                  <a:gd name="T104" fmla="*/ 24 w 733"/>
                  <a:gd name="T105" fmla="*/ 382 h 928"/>
                  <a:gd name="T106" fmla="*/ 9 w 733"/>
                  <a:gd name="T107" fmla="*/ 358 h 928"/>
                  <a:gd name="T108" fmla="*/ 24 w 733"/>
                  <a:gd name="T109" fmla="*/ 313 h 928"/>
                  <a:gd name="T110" fmla="*/ 79 w 733"/>
                  <a:gd name="T111" fmla="*/ 219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3" h="928">
                    <a:moveTo>
                      <a:pt x="79" y="219"/>
                    </a:moveTo>
                    <a:cubicBezTo>
                      <a:pt x="82" y="217"/>
                      <a:pt x="87" y="213"/>
                      <a:pt x="87" y="213"/>
                    </a:cubicBezTo>
                    <a:lnTo>
                      <a:pt x="120" y="202"/>
                    </a:lnTo>
                    <a:lnTo>
                      <a:pt x="108" y="162"/>
                    </a:lnTo>
                    <a:lnTo>
                      <a:pt x="141" y="142"/>
                    </a:lnTo>
                    <a:lnTo>
                      <a:pt x="172" y="135"/>
                    </a:lnTo>
                    <a:lnTo>
                      <a:pt x="181" y="106"/>
                    </a:lnTo>
                    <a:lnTo>
                      <a:pt x="226" y="121"/>
                    </a:lnTo>
                    <a:lnTo>
                      <a:pt x="246" y="150"/>
                    </a:lnTo>
                    <a:lnTo>
                      <a:pt x="234" y="172"/>
                    </a:lnTo>
                    <a:lnTo>
                      <a:pt x="207" y="190"/>
                    </a:lnTo>
                    <a:lnTo>
                      <a:pt x="223" y="240"/>
                    </a:lnTo>
                    <a:lnTo>
                      <a:pt x="240" y="195"/>
                    </a:lnTo>
                    <a:lnTo>
                      <a:pt x="249" y="174"/>
                    </a:lnTo>
                    <a:lnTo>
                      <a:pt x="271" y="133"/>
                    </a:lnTo>
                    <a:lnTo>
                      <a:pt x="255" y="73"/>
                    </a:lnTo>
                    <a:lnTo>
                      <a:pt x="283" y="63"/>
                    </a:lnTo>
                    <a:lnTo>
                      <a:pt x="286" y="42"/>
                    </a:lnTo>
                    <a:lnTo>
                      <a:pt x="300" y="0"/>
                    </a:lnTo>
                    <a:lnTo>
                      <a:pt x="337" y="4"/>
                    </a:lnTo>
                    <a:lnTo>
                      <a:pt x="354" y="24"/>
                    </a:lnTo>
                    <a:lnTo>
                      <a:pt x="393" y="90"/>
                    </a:lnTo>
                    <a:lnTo>
                      <a:pt x="444" y="84"/>
                    </a:lnTo>
                    <a:lnTo>
                      <a:pt x="469" y="67"/>
                    </a:lnTo>
                    <a:lnTo>
                      <a:pt x="474" y="78"/>
                    </a:lnTo>
                    <a:lnTo>
                      <a:pt x="489" y="46"/>
                    </a:lnTo>
                    <a:lnTo>
                      <a:pt x="507" y="43"/>
                    </a:lnTo>
                    <a:lnTo>
                      <a:pt x="502" y="64"/>
                    </a:lnTo>
                    <a:lnTo>
                      <a:pt x="543" y="73"/>
                    </a:lnTo>
                    <a:lnTo>
                      <a:pt x="516" y="154"/>
                    </a:lnTo>
                    <a:lnTo>
                      <a:pt x="450" y="120"/>
                    </a:lnTo>
                    <a:lnTo>
                      <a:pt x="436" y="136"/>
                    </a:lnTo>
                    <a:lnTo>
                      <a:pt x="457" y="175"/>
                    </a:lnTo>
                    <a:lnTo>
                      <a:pt x="553" y="202"/>
                    </a:lnTo>
                    <a:lnTo>
                      <a:pt x="568" y="222"/>
                    </a:lnTo>
                    <a:lnTo>
                      <a:pt x="547" y="226"/>
                    </a:lnTo>
                    <a:lnTo>
                      <a:pt x="559" y="270"/>
                    </a:lnTo>
                    <a:lnTo>
                      <a:pt x="624" y="280"/>
                    </a:lnTo>
                    <a:lnTo>
                      <a:pt x="624" y="351"/>
                    </a:lnTo>
                    <a:lnTo>
                      <a:pt x="610" y="376"/>
                    </a:lnTo>
                    <a:lnTo>
                      <a:pt x="634" y="400"/>
                    </a:lnTo>
                    <a:lnTo>
                      <a:pt x="631" y="414"/>
                    </a:lnTo>
                    <a:lnTo>
                      <a:pt x="664" y="441"/>
                    </a:lnTo>
                    <a:lnTo>
                      <a:pt x="645" y="441"/>
                    </a:lnTo>
                    <a:lnTo>
                      <a:pt x="645" y="468"/>
                    </a:lnTo>
                    <a:lnTo>
                      <a:pt x="639" y="490"/>
                    </a:lnTo>
                    <a:lnTo>
                      <a:pt x="673" y="507"/>
                    </a:lnTo>
                    <a:lnTo>
                      <a:pt x="687" y="537"/>
                    </a:lnTo>
                    <a:lnTo>
                      <a:pt x="733" y="631"/>
                    </a:lnTo>
                    <a:lnTo>
                      <a:pt x="723" y="658"/>
                    </a:lnTo>
                    <a:lnTo>
                      <a:pt x="705" y="660"/>
                    </a:lnTo>
                    <a:lnTo>
                      <a:pt x="679" y="738"/>
                    </a:lnTo>
                    <a:lnTo>
                      <a:pt x="610" y="751"/>
                    </a:lnTo>
                    <a:lnTo>
                      <a:pt x="610" y="768"/>
                    </a:lnTo>
                    <a:lnTo>
                      <a:pt x="585" y="775"/>
                    </a:lnTo>
                    <a:lnTo>
                      <a:pt x="580" y="759"/>
                    </a:lnTo>
                    <a:lnTo>
                      <a:pt x="532" y="760"/>
                    </a:lnTo>
                    <a:lnTo>
                      <a:pt x="519" y="780"/>
                    </a:lnTo>
                    <a:lnTo>
                      <a:pt x="501" y="789"/>
                    </a:lnTo>
                    <a:lnTo>
                      <a:pt x="450" y="787"/>
                    </a:lnTo>
                    <a:lnTo>
                      <a:pt x="417" y="778"/>
                    </a:lnTo>
                    <a:lnTo>
                      <a:pt x="367" y="748"/>
                    </a:lnTo>
                    <a:lnTo>
                      <a:pt x="312" y="726"/>
                    </a:lnTo>
                    <a:lnTo>
                      <a:pt x="265" y="667"/>
                    </a:lnTo>
                    <a:lnTo>
                      <a:pt x="240" y="598"/>
                    </a:lnTo>
                    <a:lnTo>
                      <a:pt x="220" y="585"/>
                    </a:lnTo>
                    <a:lnTo>
                      <a:pt x="217" y="562"/>
                    </a:lnTo>
                    <a:lnTo>
                      <a:pt x="208" y="579"/>
                    </a:lnTo>
                    <a:lnTo>
                      <a:pt x="211" y="610"/>
                    </a:lnTo>
                    <a:lnTo>
                      <a:pt x="249" y="690"/>
                    </a:lnTo>
                    <a:lnTo>
                      <a:pt x="271" y="742"/>
                    </a:lnTo>
                    <a:lnTo>
                      <a:pt x="327" y="769"/>
                    </a:lnTo>
                    <a:lnTo>
                      <a:pt x="343" y="771"/>
                    </a:lnTo>
                    <a:lnTo>
                      <a:pt x="364" y="783"/>
                    </a:lnTo>
                    <a:lnTo>
                      <a:pt x="423" y="847"/>
                    </a:lnTo>
                    <a:lnTo>
                      <a:pt x="390" y="877"/>
                    </a:lnTo>
                    <a:lnTo>
                      <a:pt x="402" y="924"/>
                    </a:lnTo>
                    <a:lnTo>
                      <a:pt x="369" y="928"/>
                    </a:lnTo>
                    <a:lnTo>
                      <a:pt x="364" y="910"/>
                    </a:lnTo>
                    <a:lnTo>
                      <a:pt x="318" y="900"/>
                    </a:lnTo>
                    <a:lnTo>
                      <a:pt x="297" y="847"/>
                    </a:lnTo>
                    <a:lnTo>
                      <a:pt x="264" y="838"/>
                    </a:lnTo>
                    <a:lnTo>
                      <a:pt x="261" y="820"/>
                    </a:lnTo>
                    <a:lnTo>
                      <a:pt x="216" y="814"/>
                    </a:lnTo>
                    <a:lnTo>
                      <a:pt x="147" y="832"/>
                    </a:lnTo>
                    <a:lnTo>
                      <a:pt x="105" y="813"/>
                    </a:lnTo>
                    <a:lnTo>
                      <a:pt x="67" y="807"/>
                    </a:lnTo>
                    <a:lnTo>
                      <a:pt x="63" y="783"/>
                    </a:lnTo>
                    <a:lnTo>
                      <a:pt x="46" y="729"/>
                    </a:lnTo>
                    <a:lnTo>
                      <a:pt x="46" y="700"/>
                    </a:lnTo>
                    <a:lnTo>
                      <a:pt x="91" y="690"/>
                    </a:lnTo>
                    <a:lnTo>
                      <a:pt x="121" y="627"/>
                    </a:lnTo>
                    <a:lnTo>
                      <a:pt x="75" y="639"/>
                    </a:lnTo>
                    <a:lnTo>
                      <a:pt x="73" y="616"/>
                    </a:lnTo>
                    <a:lnTo>
                      <a:pt x="63" y="556"/>
                    </a:lnTo>
                    <a:lnTo>
                      <a:pt x="49" y="547"/>
                    </a:lnTo>
                    <a:lnTo>
                      <a:pt x="46" y="514"/>
                    </a:lnTo>
                    <a:lnTo>
                      <a:pt x="21" y="513"/>
                    </a:lnTo>
                    <a:lnTo>
                      <a:pt x="36" y="504"/>
                    </a:lnTo>
                    <a:lnTo>
                      <a:pt x="37" y="484"/>
                    </a:lnTo>
                    <a:lnTo>
                      <a:pt x="52" y="474"/>
                    </a:lnTo>
                    <a:lnTo>
                      <a:pt x="37" y="456"/>
                    </a:lnTo>
                    <a:lnTo>
                      <a:pt x="31" y="439"/>
                    </a:lnTo>
                    <a:lnTo>
                      <a:pt x="42" y="418"/>
                    </a:lnTo>
                    <a:lnTo>
                      <a:pt x="0" y="387"/>
                    </a:lnTo>
                    <a:lnTo>
                      <a:pt x="24" y="382"/>
                    </a:lnTo>
                    <a:lnTo>
                      <a:pt x="21" y="361"/>
                    </a:lnTo>
                    <a:lnTo>
                      <a:pt x="9" y="358"/>
                    </a:lnTo>
                    <a:lnTo>
                      <a:pt x="9" y="315"/>
                    </a:lnTo>
                    <a:lnTo>
                      <a:pt x="24" y="313"/>
                    </a:lnTo>
                    <a:lnTo>
                      <a:pt x="39" y="283"/>
                    </a:lnTo>
                    <a:lnTo>
                      <a:pt x="79" y="219"/>
                    </a:lnTo>
                    <a:close/>
                  </a:path>
                </a:pathLst>
              </a:custGeom>
              <a:solidFill>
                <a:srgbClr val="65A6FB"/>
              </a:solid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56" name="Freeform 6201">
                <a:extLst>
                  <a:ext uri="{FF2B5EF4-FFF2-40B4-BE49-F238E27FC236}">
                    <a16:creationId xmlns:a16="http://schemas.microsoft.com/office/drawing/2014/main" id="{7132C926-76C4-2F64-2170-2C0F636BA53F}"/>
                  </a:ext>
                </a:extLst>
              </p:cNvPr>
              <p:cNvSpPr>
                <a:spLocks/>
              </p:cNvSpPr>
              <p:nvPr/>
            </p:nvSpPr>
            <p:spPr bwMode="gray">
              <a:xfrm>
                <a:off x="3857670" y="2825131"/>
                <a:ext cx="145387" cy="143708"/>
              </a:xfrm>
              <a:custGeom>
                <a:avLst/>
                <a:gdLst>
                  <a:gd name="T0" fmla="*/ 38 w 134"/>
                  <a:gd name="T1" fmla="*/ 97 h 135"/>
                  <a:gd name="T2" fmla="*/ 42 w 134"/>
                  <a:gd name="T3" fmla="*/ 61 h 135"/>
                  <a:gd name="T4" fmla="*/ 0 w 134"/>
                  <a:gd name="T5" fmla="*/ 52 h 135"/>
                  <a:gd name="T6" fmla="*/ 0 w 134"/>
                  <a:gd name="T7" fmla="*/ 33 h 135"/>
                  <a:gd name="T8" fmla="*/ 51 w 134"/>
                  <a:gd name="T9" fmla="*/ 0 h 135"/>
                  <a:gd name="T10" fmla="*/ 66 w 134"/>
                  <a:gd name="T11" fmla="*/ 15 h 135"/>
                  <a:gd name="T12" fmla="*/ 54 w 134"/>
                  <a:gd name="T13" fmla="*/ 24 h 135"/>
                  <a:gd name="T14" fmla="*/ 96 w 134"/>
                  <a:gd name="T15" fmla="*/ 39 h 135"/>
                  <a:gd name="T16" fmla="*/ 99 w 134"/>
                  <a:gd name="T17" fmla="*/ 54 h 135"/>
                  <a:gd name="T18" fmla="*/ 134 w 134"/>
                  <a:gd name="T19" fmla="*/ 57 h 135"/>
                  <a:gd name="T20" fmla="*/ 131 w 134"/>
                  <a:gd name="T21" fmla="*/ 69 h 135"/>
                  <a:gd name="T22" fmla="*/ 99 w 134"/>
                  <a:gd name="T23" fmla="*/ 73 h 135"/>
                  <a:gd name="T24" fmla="*/ 102 w 134"/>
                  <a:gd name="T25" fmla="*/ 93 h 135"/>
                  <a:gd name="T26" fmla="*/ 129 w 134"/>
                  <a:gd name="T27" fmla="*/ 106 h 135"/>
                  <a:gd name="T28" fmla="*/ 131 w 134"/>
                  <a:gd name="T29" fmla="*/ 120 h 135"/>
                  <a:gd name="T30" fmla="*/ 120 w 134"/>
                  <a:gd name="T31" fmla="*/ 135 h 135"/>
                  <a:gd name="T32" fmla="*/ 74 w 134"/>
                  <a:gd name="T33" fmla="*/ 93 h 135"/>
                  <a:gd name="T34" fmla="*/ 38 w 134"/>
                  <a:gd name="T35" fmla="*/ 9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35">
                    <a:moveTo>
                      <a:pt x="38" y="97"/>
                    </a:moveTo>
                    <a:lnTo>
                      <a:pt x="42" y="61"/>
                    </a:lnTo>
                    <a:lnTo>
                      <a:pt x="0" y="52"/>
                    </a:lnTo>
                    <a:lnTo>
                      <a:pt x="0" y="33"/>
                    </a:lnTo>
                    <a:lnTo>
                      <a:pt x="51" y="0"/>
                    </a:lnTo>
                    <a:lnTo>
                      <a:pt x="66" y="15"/>
                    </a:lnTo>
                    <a:lnTo>
                      <a:pt x="54" y="24"/>
                    </a:lnTo>
                    <a:lnTo>
                      <a:pt x="96" y="39"/>
                    </a:lnTo>
                    <a:lnTo>
                      <a:pt x="99" y="54"/>
                    </a:lnTo>
                    <a:lnTo>
                      <a:pt x="134" y="57"/>
                    </a:lnTo>
                    <a:lnTo>
                      <a:pt x="131" y="69"/>
                    </a:lnTo>
                    <a:lnTo>
                      <a:pt x="99" y="73"/>
                    </a:lnTo>
                    <a:lnTo>
                      <a:pt x="102" y="93"/>
                    </a:lnTo>
                    <a:lnTo>
                      <a:pt x="129" y="106"/>
                    </a:lnTo>
                    <a:lnTo>
                      <a:pt x="131" y="120"/>
                    </a:lnTo>
                    <a:lnTo>
                      <a:pt x="120" y="135"/>
                    </a:lnTo>
                    <a:lnTo>
                      <a:pt x="74" y="93"/>
                    </a:lnTo>
                    <a:lnTo>
                      <a:pt x="38" y="97"/>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57" name="Freeform 6202">
                <a:extLst>
                  <a:ext uri="{FF2B5EF4-FFF2-40B4-BE49-F238E27FC236}">
                    <a16:creationId xmlns:a16="http://schemas.microsoft.com/office/drawing/2014/main" id="{43B366F5-433E-AB6D-FB2F-994FCB707F09}"/>
                  </a:ext>
                </a:extLst>
              </p:cNvPr>
              <p:cNvSpPr>
                <a:spLocks/>
              </p:cNvSpPr>
              <p:nvPr/>
            </p:nvSpPr>
            <p:spPr bwMode="gray">
              <a:xfrm>
                <a:off x="3409398" y="2703379"/>
                <a:ext cx="428080" cy="309371"/>
              </a:xfrm>
              <a:custGeom>
                <a:avLst/>
                <a:gdLst>
                  <a:gd name="T0" fmla="*/ 297 w 395"/>
                  <a:gd name="T1" fmla="*/ 195 h 291"/>
                  <a:gd name="T2" fmla="*/ 308 w 395"/>
                  <a:gd name="T3" fmla="*/ 179 h 291"/>
                  <a:gd name="T4" fmla="*/ 305 w 395"/>
                  <a:gd name="T5" fmla="*/ 156 h 291"/>
                  <a:gd name="T6" fmla="*/ 330 w 395"/>
                  <a:gd name="T7" fmla="*/ 164 h 291"/>
                  <a:gd name="T8" fmla="*/ 359 w 395"/>
                  <a:gd name="T9" fmla="*/ 189 h 291"/>
                  <a:gd name="T10" fmla="*/ 389 w 395"/>
                  <a:gd name="T11" fmla="*/ 155 h 291"/>
                  <a:gd name="T12" fmla="*/ 356 w 395"/>
                  <a:gd name="T13" fmla="*/ 126 h 291"/>
                  <a:gd name="T14" fmla="*/ 380 w 395"/>
                  <a:gd name="T15" fmla="*/ 99 h 291"/>
                  <a:gd name="T16" fmla="*/ 395 w 395"/>
                  <a:gd name="T17" fmla="*/ 104 h 291"/>
                  <a:gd name="T18" fmla="*/ 366 w 395"/>
                  <a:gd name="T19" fmla="*/ 74 h 291"/>
                  <a:gd name="T20" fmla="*/ 350 w 395"/>
                  <a:gd name="T21" fmla="*/ 66 h 291"/>
                  <a:gd name="T22" fmla="*/ 329 w 395"/>
                  <a:gd name="T23" fmla="*/ 83 h 291"/>
                  <a:gd name="T24" fmla="*/ 315 w 395"/>
                  <a:gd name="T25" fmla="*/ 30 h 291"/>
                  <a:gd name="T26" fmla="*/ 287 w 395"/>
                  <a:gd name="T27" fmla="*/ 11 h 291"/>
                  <a:gd name="T28" fmla="*/ 270 w 395"/>
                  <a:gd name="T29" fmla="*/ 18 h 291"/>
                  <a:gd name="T30" fmla="*/ 282 w 395"/>
                  <a:gd name="T31" fmla="*/ 65 h 291"/>
                  <a:gd name="T32" fmla="*/ 267 w 395"/>
                  <a:gd name="T33" fmla="*/ 86 h 291"/>
                  <a:gd name="T34" fmla="*/ 254 w 395"/>
                  <a:gd name="T35" fmla="*/ 62 h 291"/>
                  <a:gd name="T36" fmla="*/ 234 w 395"/>
                  <a:gd name="T37" fmla="*/ 71 h 291"/>
                  <a:gd name="T38" fmla="*/ 257 w 395"/>
                  <a:gd name="T39" fmla="*/ 26 h 291"/>
                  <a:gd name="T40" fmla="*/ 224 w 395"/>
                  <a:gd name="T41" fmla="*/ 5 h 291"/>
                  <a:gd name="T42" fmla="*/ 203 w 395"/>
                  <a:gd name="T43" fmla="*/ 14 h 291"/>
                  <a:gd name="T44" fmla="*/ 180 w 395"/>
                  <a:gd name="T45" fmla="*/ 0 h 291"/>
                  <a:gd name="T46" fmla="*/ 170 w 395"/>
                  <a:gd name="T47" fmla="*/ 23 h 291"/>
                  <a:gd name="T48" fmla="*/ 191 w 395"/>
                  <a:gd name="T49" fmla="*/ 33 h 291"/>
                  <a:gd name="T50" fmla="*/ 194 w 395"/>
                  <a:gd name="T51" fmla="*/ 50 h 291"/>
                  <a:gd name="T52" fmla="*/ 177 w 395"/>
                  <a:gd name="T53" fmla="*/ 50 h 291"/>
                  <a:gd name="T54" fmla="*/ 99 w 395"/>
                  <a:gd name="T55" fmla="*/ 62 h 291"/>
                  <a:gd name="T56" fmla="*/ 86 w 395"/>
                  <a:gd name="T57" fmla="*/ 56 h 291"/>
                  <a:gd name="T58" fmla="*/ 56 w 395"/>
                  <a:gd name="T59" fmla="*/ 104 h 291"/>
                  <a:gd name="T60" fmla="*/ 54 w 395"/>
                  <a:gd name="T61" fmla="*/ 150 h 291"/>
                  <a:gd name="T62" fmla="*/ 5 w 395"/>
                  <a:gd name="T63" fmla="*/ 189 h 291"/>
                  <a:gd name="T64" fmla="*/ 17 w 395"/>
                  <a:gd name="T65" fmla="*/ 218 h 291"/>
                  <a:gd name="T66" fmla="*/ 0 w 395"/>
                  <a:gd name="T67" fmla="*/ 234 h 291"/>
                  <a:gd name="T68" fmla="*/ 6 w 395"/>
                  <a:gd name="T69" fmla="*/ 254 h 291"/>
                  <a:gd name="T70" fmla="*/ 72 w 395"/>
                  <a:gd name="T71" fmla="*/ 266 h 291"/>
                  <a:gd name="T72" fmla="*/ 78 w 395"/>
                  <a:gd name="T73" fmla="*/ 291 h 291"/>
                  <a:gd name="T74" fmla="*/ 104 w 395"/>
                  <a:gd name="T75" fmla="*/ 275 h 291"/>
                  <a:gd name="T76" fmla="*/ 150 w 395"/>
                  <a:gd name="T77" fmla="*/ 282 h 291"/>
                  <a:gd name="T78" fmla="*/ 152 w 395"/>
                  <a:gd name="T79" fmla="*/ 263 h 291"/>
                  <a:gd name="T80" fmla="*/ 173 w 395"/>
                  <a:gd name="T81" fmla="*/ 240 h 291"/>
                  <a:gd name="T82" fmla="*/ 207 w 395"/>
                  <a:gd name="T83" fmla="*/ 248 h 291"/>
                  <a:gd name="T84" fmla="*/ 231 w 395"/>
                  <a:gd name="T85" fmla="*/ 236 h 291"/>
                  <a:gd name="T86" fmla="*/ 243 w 395"/>
                  <a:gd name="T87" fmla="*/ 240 h 291"/>
                  <a:gd name="T88" fmla="*/ 257 w 395"/>
                  <a:gd name="T89" fmla="*/ 191 h 291"/>
                  <a:gd name="T90" fmla="*/ 297 w 395"/>
                  <a:gd name="T91" fmla="*/ 19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5" h="291">
                    <a:moveTo>
                      <a:pt x="297" y="195"/>
                    </a:moveTo>
                    <a:lnTo>
                      <a:pt x="308" y="179"/>
                    </a:lnTo>
                    <a:lnTo>
                      <a:pt x="305" y="156"/>
                    </a:lnTo>
                    <a:lnTo>
                      <a:pt x="330" y="164"/>
                    </a:lnTo>
                    <a:lnTo>
                      <a:pt x="359" y="189"/>
                    </a:lnTo>
                    <a:lnTo>
                      <a:pt x="389" y="155"/>
                    </a:lnTo>
                    <a:lnTo>
                      <a:pt x="356" y="126"/>
                    </a:lnTo>
                    <a:lnTo>
                      <a:pt x="380" y="99"/>
                    </a:lnTo>
                    <a:lnTo>
                      <a:pt x="395" y="104"/>
                    </a:lnTo>
                    <a:lnTo>
                      <a:pt x="366" y="74"/>
                    </a:lnTo>
                    <a:lnTo>
                      <a:pt x="350" y="66"/>
                    </a:lnTo>
                    <a:lnTo>
                      <a:pt x="329" y="83"/>
                    </a:lnTo>
                    <a:lnTo>
                      <a:pt x="315" y="30"/>
                    </a:lnTo>
                    <a:lnTo>
                      <a:pt x="287" y="11"/>
                    </a:lnTo>
                    <a:lnTo>
                      <a:pt x="270" y="18"/>
                    </a:lnTo>
                    <a:lnTo>
                      <a:pt x="282" y="65"/>
                    </a:lnTo>
                    <a:lnTo>
                      <a:pt x="267" y="86"/>
                    </a:lnTo>
                    <a:lnTo>
                      <a:pt x="254" y="62"/>
                    </a:lnTo>
                    <a:lnTo>
                      <a:pt x="234" y="71"/>
                    </a:lnTo>
                    <a:lnTo>
                      <a:pt x="257" y="26"/>
                    </a:lnTo>
                    <a:lnTo>
                      <a:pt x="224" y="5"/>
                    </a:lnTo>
                    <a:lnTo>
                      <a:pt x="203" y="14"/>
                    </a:lnTo>
                    <a:lnTo>
                      <a:pt x="180" y="0"/>
                    </a:lnTo>
                    <a:lnTo>
                      <a:pt x="170" y="23"/>
                    </a:lnTo>
                    <a:lnTo>
                      <a:pt x="191" y="33"/>
                    </a:lnTo>
                    <a:lnTo>
                      <a:pt x="194" y="50"/>
                    </a:lnTo>
                    <a:lnTo>
                      <a:pt x="177" y="50"/>
                    </a:lnTo>
                    <a:lnTo>
                      <a:pt x="99" y="62"/>
                    </a:lnTo>
                    <a:lnTo>
                      <a:pt x="86" y="56"/>
                    </a:lnTo>
                    <a:lnTo>
                      <a:pt x="56" y="104"/>
                    </a:lnTo>
                    <a:lnTo>
                      <a:pt x="54" y="150"/>
                    </a:lnTo>
                    <a:lnTo>
                      <a:pt x="5" y="189"/>
                    </a:lnTo>
                    <a:lnTo>
                      <a:pt x="17" y="218"/>
                    </a:lnTo>
                    <a:lnTo>
                      <a:pt x="0" y="234"/>
                    </a:lnTo>
                    <a:lnTo>
                      <a:pt x="6" y="254"/>
                    </a:lnTo>
                    <a:lnTo>
                      <a:pt x="72" y="266"/>
                    </a:lnTo>
                    <a:lnTo>
                      <a:pt x="78" y="291"/>
                    </a:lnTo>
                    <a:lnTo>
                      <a:pt x="104" y="275"/>
                    </a:lnTo>
                    <a:lnTo>
                      <a:pt x="150" y="282"/>
                    </a:lnTo>
                    <a:lnTo>
                      <a:pt x="152" y="263"/>
                    </a:lnTo>
                    <a:lnTo>
                      <a:pt x="173" y="240"/>
                    </a:lnTo>
                    <a:lnTo>
                      <a:pt x="207" y="248"/>
                    </a:lnTo>
                    <a:lnTo>
                      <a:pt x="231" y="236"/>
                    </a:lnTo>
                    <a:lnTo>
                      <a:pt x="243" y="240"/>
                    </a:lnTo>
                    <a:lnTo>
                      <a:pt x="257" y="191"/>
                    </a:lnTo>
                    <a:lnTo>
                      <a:pt x="297" y="195"/>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67" name="Freeform 6219">
                <a:extLst>
                  <a:ext uri="{FF2B5EF4-FFF2-40B4-BE49-F238E27FC236}">
                    <a16:creationId xmlns:a16="http://schemas.microsoft.com/office/drawing/2014/main" id="{F486E821-3189-87BD-9956-EAC2A21B6812}"/>
                  </a:ext>
                </a:extLst>
              </p:cNvPr>
              <p:cNvSpPr>
                <a:spLocks/>
              </p:cNvSpPr>
              <p:nvPr/>
            </p:nvSpPr>
            <p:spPr bwMode="gray">
              <a:xfrm>
                <a:off x="2517009" y="3888904"/>
                <a:ext cx="32308" cy="25947"/>
              </a:xfrm>
              <a:custGeom>
                <a:avLst/>
                <a:gdLst>
                  <a:gd name="T0" fmla="*/ 0 w 30"/>
                  <a:gd name="T1" fmla="*/ 24 h 24"/>
                  <a:gd name="T2" fmla="*/ 2 w 30"/>
                  <a:gd name="T3" fmla="*/ 10 h 24"/>
                  <a:gd name="T4" fmla="*/ 14 w 30"/>
                  <a:gd name="T5" fmla="*/ 0 h 24"/>
                  <a:gd name="T6" fmla="*/ 30 w 30"/>
                  <a:gd name="T7" fmla="*/ 12 h 24"/>
                  <a:gd name="T8" fmla="*/ 18 w 30"/>
                  <a:gd name="T9" fmla="*/ 24 h 24"/>
                  <a:gd name="T10" fmla="*/ 0 w 30"/>
                  <a:gd name="T11" fmla="*/ 24 h 24"/>
                </a:gdLst>
                <a:ahLst/>
                <a:cxnLst>
                  <a:cxn ang="0">
                    <a:pos x="T0" y="T1"/>
                  </a:cxn>
                  <a:cxn ang="0">
                    <a:pos x="T2" y="T3"/>
                  </a:cxn>
                  <a:cxn ang="0">
                    <a:pos x="T4" y="T5"/>
                  </a:cxn>
                  <a:cxn ang="0">
                    <a:pos x="T6" y="T7"/>
                  </a:cxn>
                  <a:cxn ang="0">
                    <a:pos x="T8" y="T9"/>
                  </a:cxn>
                  <a:cxn ang="0">
                    <a:pos x="T10" y="T11"/>
                  </a:cxn>
                </a:cxnLst>
                <a:rect l="0" t="0" r="r" b="b"/>
                <a:pathLst>
                  <a:path w="30" h="24">
                    <a:moveTo>
                      <a:pt x="0" y="24"/>
                    </a:moveTo>
                    <a:lnTo>
                      <a:pt x="2" y="10"/>
                    </a:lnTo>
                    <a:lnTo>
                      <a:pt x="14" y="0"/>
                    </a:lnTo>
                    <a:lnTo>
                      <a:pt x="30" y="12"/>
                    </a:lnTo>
                    <a:lnTo>
                      <a:pt x="18" y="24"/>
                    </a:lnTo>
                    <a:lnTo>
                      <a:pt x="0" y="24"/>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grpSp>
      </p:grpSp>
      <p:grpSp>
        <p:nvGrpSpPr>
          <p:cNvPr id="78" name="Gruppieren 77">
            <a:extLst>
              <a:ext uri="{FF2B5EF4-FFF2-40B4-BE49-F238E27FC236}">
                <a16:creationId xmlns:a16="http://schemas.microsoft.com/office/drawing/2014/main" id="{077973BD-DCAF-0DA4-8E3B-1CB1EF6811AB}"/>
              </a:ext>
            </a:extLst>
          </p:cNvPr>
          <p:cNvGrpSpPr/>
          <p:nvPr/>
        </p:nvGrpSpPr>
        <p:grpSpPr>
          <a:xfrm>
            <a:off x="6571697" y="2813812"/>
            <a:ext cx="5803331" cy="3768335"/>
            <a:chOff x="5333557" y="1786340"/>
            <a:chExt cx="4456560" cy="2805980"/>
          </a:xfrm>
          <a:solidFill>
            <a:schemeClr val="accent2"/>
          </a:solidFill>
        </p:grpSpPr>
        <p:sp>
          <p:nvSpPr>
            <p:cNvPr id="79" name="Freeform 6163">
              <a:extLst>
                <a:ext uri="{FF2B5EF4-FFF2-40B4-BE49-F238E27FC236}">
                  <a16:creationId xmlns:a16="http://schemas.microsoft.com/office/drawing/2014/main" id="{CE721BA7-0CF1-9528-57AF-4DF632594626}"/>
                </a:ext>
              </a:extLst>
            </p:cNvPr>
            <p:cNvSpPr>
              <a:spLocks/>
            </p:cNvSpPr>
            <p:nvPr/>
          </p:nvSpPr>
          <p:spPr bwMode="gray">
            <a:xfrm>
              <a:off x="7171074" y="2516073"/>
              <a:ext cx="674532" cy="708926"/>
            </a:xfrm>
            <a:custGeom>
              <a:avLst/>
              <a:gdLst>
                <a:gd name="T0" fmla="*/ 0 w 808"/>
                <a:gd name="T1" fmla="*/ 94 h 894"/>
                <a:gd name="T2" fmla="*/ 58 w 808"/>
                <a:gd name="T3" fmla="*/ 294 h 894"/>
                <a:gd name="T4" fmla="*/ 57 w 808"/>
                <a:gd name="T5" fmla="*/ 412 h 894"/>
                <a:gd name="T6" fmla="*/ 93 w 808"/>
                <a:gd name="T7" fmla="*/ 484 h 894"/>
                <a:gd name="T8" fmla="*/ 145 w 808"/>
                <a:gd name="T9" fmla="*/ 562 h 894"/>
                <a:gd name="T10" fmla="*/ 72 w 808"/>
                <a:gd name="T11" fmla="*/ 621 h 894"/>
                <a:gd name="T12" fmla="*/ 75 w 808"/>
                <a:gd name="T13" fmla="*/ 670 h 894"/>
                <a:gd name="T14" fmla="*/ 45 w 808"/>
                <a:gd name="T15" fmla="*/ 699 h 894"/>
                <a:gd name="T16" fmla="*/ 135 w 808"/>
                <a:gd name="T17" fmla="*/ 817 h 894"/>
                <a:gd name="T18" fmla="*/ 235 w 808"/>
                <a:gd name="T19" fmla="*/ 868 h 894"/>
                <a:gd name="T20" fmla="*/ 292 w 808"/>
                <a:gd name="T21" fmla="*/ 831 h 894"/>
                <a:gd name="T22" fmla="*/ 295 w 808"/>
                <a:gd name="T23" fmla="*/ 733 h 894"/>
                <a:gd name="T24" fmla="*/ 310 w 808"/>
                <a:gd name="T25" fmla="*/ 673 h 894"/>
                <a:gd name="T26" fmla="*/ 339 w 808"/>
                <a:gd name="T27" fmla="*/ 655 h 894"/>
                <a:gd name="T28" fmla="*/ 370 w 808"/>
                <a:gd name="T29" fmla="*/ 631 h 894"/>
                <a:gd name="T30" fmla="*/ 388 w 808"/>
                <a:gd name="T31" fmla="*/ 571 h 894"/>
                <a:gd name="T32" fmla="*/ 463 w 808"/>
                <a:gd name="T33" fmla="*/ 553 h 894"/>
                <a:gd name="T34" fmla="*/ 460 w 808"/>
                <a:gd name="T35" fmla="*/ 525 h 894"/>
                <a:gd name="T36" fmla="*/ 508 w 808"/>
                <a:gd name="T37" fmla="*/ 519 h 894"/>
                <a:gd name="T38" fmla="*/ 573 w 808"/>
                <a:gd name="T39" fmla="*/ 502 h 894"/>
                <a:gd name="T40" fmla="*/ 576 w 808"/>
                <a:gd name="T41" fmla="*/ 478 h 894"/>
                <a:gd name="T42" fmla="*/ 603 w 808"/>
                <a:gd name="T43" fmla="*/ 492 h 894"/>
                <a:gd name="T44" fmla="*/ 595 w 808"/>
                <a:gd name="T45" fmla="*/ 424 h 894"/>
                <a:gd name="T46" fmla="*/ 574 w 808"/>
                <a:gd name="T47" fmla="*/ 396 h 894"/>
                <a:gd name="T48" fmla="*/ 630 w 808"/>
                <a:gd name="T49" fmla="*/ 436 h 894"/>
                <a:gd name="T50" fmla="*/ 672 w 808"/>
                <a:gd name="T51" fmla="*/ 390 h 894"/>
                <a:gd name="T52" fmla="*/ 706 w 808"/>
                <a:gd name="T53" fmla="*/ 352 h 894"/>
                <a:gd name="T54" fmla="*/ 708 w 808"/>
                <a:gd name="T55" fmla="*/ 382 h 894"/>
                <a:gd name="T56" fmla="*/ 673 w 808"/>
                <a:gd name="T57" fmla="*/ 436 h 894"/>
                <a:gd name="T58" fmla="*/ 705 w 808"/>
                <a:gd name="T59" fmla="*/ 447 h 894"/>
                <a:gd name="T60" fmla="*/ 762 w 808"/>
                <a:gd name="T61" fmla="*/ 471 h 894"/>
                <a:gd name="T62" fmla="*/ 784 w 808"/>
                <a:gd name="T63" fmla="*/ 496 h 894"/>
                <a:gd name="T64" fmla="*/ 805 w 808"/>
                <a:gd name="T65" fmla="*/ 448 h 894"/>
                <a:gd name="T66" fmla="*/ 738 w 808"/>
                <a:gd name="T67" fmla="*/ 399 h 894"/>
                <a:gd name="T68" fmla="*/ 721 w 808"/>
                <a:gd name="T69" fmla="*/ 355 h 894"/>
                <a:gd name="T70" fmla="*/ 688 w 808"/>
                <a:gd name="T71" fmla="*/ 379 h 894"/>
                <a:gd name="T72" fmla="*/ 664 w 808"/>
                <a:gd name="T73" fmla="*/ 367 h 894"/>
                <a:gd name="T74" fmla="*/ 694 w 808"/>
                <a:gd name="T75" fmla="*/ 322 h 894"/>
                <a:gd name="T76" fmla="*/ 733 w 808"/>
                <a:gd name="T77" fmla="*/ 289 h 894"/>
                <a:gd name="T78" fmla="*/ 775 w 808"/>
                <a:gd name="T79" fmla="*/ 298 h 894"/>
                <a:gd name="T80" fmla="*/ 742 w 808"/>
                <a:gd name="T81" fmla="*/ 276 h 894"/>
                <a:gd name="T82" fmla="*/ 691 w 808"/>
                <a:gd name="T83" fmla="*/ 277 h 894"/>
                <a:gd name="T84" fmla="*/ 678 w 808"/>
                <a:gd name="T85" fmla="*/ 246 h 894"/>
                <a:gd name="T86" fmla="*/ 634 w 808"/>
                <a:gd name="T87" fmla="*/ 235 h 894"/>
                <a:gd name="T88" fmla="*/ 567 w 808"/>
                <a:gd name="T89" fmla="*/ 72 h 894"/>
                <a:gd name="T90" fmla="*/ 553 w 808"/>
                <a:gd name="T91" fmla="*/ 34 h 894"/>
                <a:gd name="T92" fmla="*/ 510 w 808"/>
                <a:gd name="T93" fmla="*/ 7 h 894"/>
                <a:gd name="T94" fmla="*/ 492 w 808"/>
                <a:gd name="T95" fmla="*/ 25 h 894"/>
                <a:gd name="T96" fmla="*/ 469 w 808"/>
                <a:gd name="T97" fmla="*/ 78 h 894"/>
                <a:gd name="T98" fmla="*/ 456 w 808"/>
                <a:gd name="T99" fmla="*/ 84 h 894"/>
                <a:gd name="T100" fmla="*/ 417 w 808"/>
                <a:gd name="T101" fmla="*/ 106 h 894"/>
                <a:gd name="T102" fmla="*/ 399 w 808"/>
                <a:gd name="T103" fmla="*/ 82 h 894"/>
                <a:gd name="T104" fmla="*/ 349 w 808"/>
                <a:gd name="T105" fmla="*/ 78 h 894"/>
                <a:gd name="T106" fmla="*/ 286 w 808"/>
                <a:gd name="T107" fmla="*/ 57 h 894"/>
                <a:gd name="T108" fmla="*/ 273 w 808"/>
                <a:gd name="T109" fmla="*/ 75 h 894"/>
                <a:gd name="T110" fmla="*/ 228 w 808"/>
                <a:gd name="T111" fmla="*/ 58 h 894"/>
                <a:gd name="T112" fmla="*/ 177 w 808"/>
                <a:gd name="T113" fmla="*/ 24 h 894"/>
                <a:gd name="T114" fmla="*/ 162 w 808"/>
                <a:gd name="T115" fmla="*/ 61 h 894"/>
                <a:gd name="T116" fmla="*/ 105 w 808"/>
                <a:gd name="T117" fmla="*/ 78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8" h="894">
                  <a:moveTo>
                    <a:pt x="46" y="88"/>
                  </a:moveTo>
                  <a:lnTo>
                    <a:pt x="0" y="94"/>
                  </a:lnTo>
                  <a:lnTo>
                    <a:pt x="88" y="262"/>
                  </a:lnTo>
                  <a:lnTo>
                    <a:pt x="58" y="294"/>
                  </a:lnTo>
                  <a:lnTo>
                    <a:pt x="70" y="345"/>
                  </a:lnTo>
                  <a:lnTo>
                    <a:pt x="57" y="412"/>
                  </a:lnTo>
                  <a:lnTo>
                    <a:pt x="90" y="457"/>
                  </a:lnTo>
                  <a:lnTo>
                    <a:pt x="93" y="484"/>
                  </a:lnTo>
                  <a:lnTo>
                    <a:pt x="160" y="489"/>
                  </a:lnTo>
                  <a:lnTo>
                    <a:pt x="145" y="562"/>
                  </a:lnTo>
                  <a:lnTo>
                    <a:pt x="106" y="618"/>
                  </a:lnTo>
                  <a:lnTo>
                    <a:pt x="72" y="621"/>
                  </a:lnTo>
                  <a:lnTo>
                    <a:pt x="58" y="663"/>
                  </a:lnTo>
                  <a:lnTo>
                    <a:pt x="75" y="670"/>
                  </a:lnTo>
                  <a:lnTo>
                    <a:pt x="60" y="693"/>
                  </a:lnTo>
                  <a:lnTo>
                    <a:pt x="45" y="699"/>
                  </a:lnTo>
                  <a:lnTo>
                    <a:pt x="67" y="780"/>
                  </a:lnTo>
                  <a:lnTo>
                    <a:pt x="135" y="817"/>
                  </a:lnTo>
                  <a:lnTo>
                    <a:pt x="193" y="894"/>
                  </a:lnTo>
                  <a:lnTo>
                    <a:pt x="235" y="868"/>
                  </a:lnTo>
                  <a:lnTo>
                    <a:pt x="270" y="867"/>
                  </a:lnTo>
                  <a:lnTo>
                    <a:pt x="292" y="831"/>
                  </a:lnTo>
                  <a:lnTo>
                    <a:pt x="270" y="771"/>
                  </a:lnTo>
                  <a:lnTo>
                    <a:pt x="295" y="733"/>
                  </a:lnTo>
                  <a:lnTo>
                    <a:pt x="297" y="673"/>
                  </a:lnTo>
                  <a:lnTo>
                    <a:pt x="310" y="673"/>
                  </a:lnTo>
                  <a:lnTo>
                    <a:pt x="324" y="652"/>
                  </a:lnTo>
                  <a:lnTo>
                    <a:pt x="339" y="655"/>
                  </a:lnTo>
                  <a:lnTo>
                    <a:pt x="345" y="682"/>
                  </a:lnTo>
                  <a:lnTo>
                    <a:pt x="370" y="631"/>
                  </a:lnTo>
                  <a:lnTo>
                    <a:pt x="408" y="607"/>
                  </a:lnTo>
                  <a:lnTo>
                    <a:pt x="388" y="571"/>
                  </a:lnTo>
                  <a:lnTo>
                    <a:pt x="435" y="541"/>
                  </a:lnTo>
                  <a:lnTo>
                    <a:pt x="463" y="553"/>
                  </a:lnTo>
                  <a:lnTo>
                    <a:pt x="484" y="543"/>
                  </a:lnTo>
                  <a:lnTo>
                    <a:pt x="460" y="525"/>
                  </a:lnTo>
                  <a:lnTo>
                    <a:pt x="468" y="502"/>
                  </a:lnTo>
                  <a:lnTo>
                    <a:pt x="508" y="519"/>
                  </a:lnTo>
                  <a:lnTo>
                    <a:pt x="511" y="507"/>
                  </a:lnTo>
                  <a:lnTo>
                    <a:pt x="573" y="502"/>
                  </a:lnTo>
                  <a:lnTo>
                    <a:pt x="565" y="487"/>
                  </a:lnTo>
                  <a:lnTo>
                    <a:pt x="576" y="478"/>
                  </a:lnTo>
                  <a:lnTo>
                    <a:pt x="588" y="498"/>
                  </a:lnTo>
                  <a:lnTo>
                    <a:pt x="603" y="492"/>
                  </a:lnTo>
                  <a:lnTo>
                    <a:pt x="604" y="453"/>
                  </a:lnTo>
                  <a:lnTo>
                    <a:pt x="595" y="424"/>
                  </a:lnTo>
                  <a:lnTo>
                    <a:pt x="570" y="405"/>
                  </a:lnTo>
                  <a:lnTo>
                    <a:pt x="574" y="396"/>
                  </a:lnTo>
                  <a:lnTo>
                    <a:pt x="601" y="406"/>
                  </a:lnTo>
                  <a:lnTo>
                    <a:pt x="630" y="436"/>
                  </a:lnTo>
                  <a:lnTo>
                    <a:pt x="648" y="418"/>
                  </a:lnTo>
                  <a:lnTo>
                    <a:pt x="672" y="390"/>
                  </a:lnTo>
                  <a:lnTo>
                    <a:pt x="691" y="379"/>
                  </a:lnTo>
                  <a:lnTo>
                    <a:pt x="706" y="352"/>
                  </a:lnTo>
                  <a:lnTo>
                    <a:pt x="723" y="355"/>
                  </a:lnTo>
                  <a:lnTo>
                    <a:pt x="708" y="382"/>
                  </a:lnTo>
                  <a:lnTo>
                    <a:pt x="694" y="405"/>
                  </a:lnTo>
                  <a:lnTo>
                    <a:pt x="673" y="436"/>
                  </a:lnTo>
                  <a:lnTo>
                    <a:pt x="670" y="453"/>
                  </a:lnTo>
                  <a:lnTo>
                    <a:pt x="705" y="447"/>
                  </a:lnTo>
                  <a:lnTo>
                    <a:pt x="736" y="448"/>
                  </a:lnTo>
                  <a:lnTo>
                    <a:pt x="762" y="471"/>
                  </a:lnTo>
                  <a:lnTo>
                    <a:pt x="760" y="498"/>
                  </a:lnTo>
                  <a:lnTo>
                    <a:pt x="784" y="496"/>
                  </a:lnTo>
                  <a:lnTo>
                    <a:pt x="808" y="466"/>
                  </a:lnTo>
                  <a:lnTo>
                    <a:pt x="805" y="448"/>
                  </a:lnTo>
                  <a:lnTo>
                    <a:pt x="790" y="448"/>
                  </a:lnTo>
                  <a:lnTo>
                    <a:pt x="738" y="399"/>
                  </a:lnTo>
                  <a:lnTo>
                    <a:pt x="712" y="381"/>
                  </a:lnTo>
                  <a:lnTo>
                    <a:pt x="721" y="355"/>
                  </a:lnTo>
                  <a:lnTo>
                    <a:pt x="705" y="354"/>
                  </a:lnTo>
                  <a:lnTo>
                    <a:pt x="688" y="379"/>
                  </a:lnTo>
                  <a:lnTo>
                    <a:pt x="667" y="390"/>
                  </a:lnTo>
                  <a:lnTo>
                    <a:pt x="664" y="367"/>
                  </a:lnTo>
                  <a:lnTo>
                    <a:pt x="687" y="351"/>
                  </a:lnTo>
                  <a:lnTo>
                    <a:pt x="694" y="322"/>
                  </a:lnTo>
                  <a:lnTo>
                    <a:pt x="717" y="304"/>
                  </a:lnTo>
                  <a:lnTo>
                    <a:pt x="733" y="289"/>
                  </a:lnTo>
                  <a:lnTo>
                    <a:pt x="745" y="301"/>
                  </a:lnTo>
                  <a:lnTo>
                    <a:pt x="775" y="298"/>
                  </a:lnTo>
                  <a:lnTo>
                    <a:pt x="750" y="289"/>
                  </a:lnTo>
                  <a:lnTo>
                    <a:pt x="742" y="276"/>
                  </a:lnTo>
                  <a:lnTo>
                    <a:pt x="721" y="265"/>
                  </a:lnTo>
                  <a:lnTo>
                    <a:pt x="691" y="277"/>
                  </a:lnTo>
                  <a:lnTo>
                    <a:pt x="688" y="237"/>
                  </a:lnTo>
                  <a:lnTo>
                    <a:pt x="678" y="246"/>
                  </a:lnTo>
                  <a:lnTo>
                    <a:pt x="648" y="252"/>
                  </a:lnTo>
                  <a:lnTo>
                    <a:pt x="634" y="235"/>
                  </a:lnTo>
                  <a:lnTo>
                    <a:pt x="601" y="189"/>
                  </a:lnTo>
                  <a:lnTo>
                    <a:pt x="567" y="72"/>
                  </a:lnTo>
                  <a:lnTo>
                    <a:pt x="547" y="45"/>
                  </a:lnTo>
                  <a:lnTo>
                    <a:pt x="553" y="34"/>
                  </a:lnTo>
                  <a:lnTo>
                    <a:pt x="535" y="7"/>
                  </a:lnTo>
                  <a:lnTo>
                    <a:pt x="510" y="7"/>
                  </a:lnTo>
                  <a:lnTo>
                    <a:pt x="501" y="0"/>
                  </a:lnTo>
                  <a:lnTo>
                    <a:pt x="492" y="25"/>
                  </a:lnTo>
                  <a:lnTo>
                    <a:pt x="471" y="25"/>
                  </a:lnTo>
                  <a:lnTo>
                    <a:pt x="469" y="78"/>
                  </a:lnTo>
                  <a:lnTo>
                    <a:pt x="456" y="67"/>
                  </a:lnTo>
                  <a:lnTo>
                    <a:pt x="456" y="84"/>
                  </a:lnTo>
                  <a:lnTo>
                    <a:pt x="436" y="109"/>
                  </a:lnTo>
                  <a:lnTo>
                    <a:pt x="417" y="106"/>
                  </a:lnTo>
                  <a:lnTo>
                    <a:pt x="399" y="102"/>
                  </a:lnTo>
                  <a:lnTo>
                    <a:pt x="399" y="82"/>
                  </a:lnTo>
                  <a:lnTo>
                    <a:pt x="417" y="66"/>
                  </a:lnTo>
                  <a:lnTo>
                    <a:pt x="349" y="78"/>
                  </a:lnTo>
                  <a:lnTo>
                    <a:pt x="309" y="42"/>
                  </a:lnTo>
                  <a:lnTo>
                    <a:pt x="286" y="57"/>
                  </a:lnTo>
                  <a:lnTo>
                    <a:pt x="261" y="54"/>
                  </a:lnTo>
                  <a:lnTo>
                    <a:pt x="273" y="75"/>
                  </a:lnTo>
                  <a:lnTo>
                    <a:pt x="225" y="79"/>
                  </a:lnTo>
                  <a:lnTo>
                    <a:pt x="228" y="58"/>
                  </a:lnTo>
                  <a:lnTo>
                    <a:pt x="199" y="7"/>
                  </a:lnTo>
                  <a:lnTo>
                    <a:pt x="177" y="24"/>
                  </a:lnTo>
                  <a:lnTo>
                    <a:pt x="151" y="27"/>
                  </a:lnTo>
                  <a:lnTo>
                    <a:pt x="162" y="61"/>
                  </a:lnTo>
                  <a:lnTo>
                    <a:pt x="124" y="96"/>
                  </a:lnTo>
                  <a:lnTo>
                    <a:pt x="105" y="78"/>
                  </a:lnTo>
                  <a:lnTo>
                    <a:pt x="46" y="88"/>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80" name="Freeform 6164">
              <a:extLst>
                <a:ext uri="{FF2B5EF4-FFF2-40B4-BE49-F238E27FC236}">
                  <a16:creationId xmlns:a16="http://schemas.microsoft.com/office/drawing/2014/main" id="{47965D67-8F67-87DB-9D31-3453498537B1}"/>
                </a:ext>
              </a:extLst>
            </p:cNvPr>
            <p:cNvSpPr>
              <a:spLocks/>
            </p:cNvSpPr>
            <p:nvPr/>
          </p:nvSpPr>
          <p:spPr bwMode="gray">
            <a:xfrm>
              <a:off x="5333557" y="3849211"/>
              <a:ext cx="358199" cy="260088"/>
            </a:xfrm>
            <a:custGeom>
              <a:avLst/>
              <a:gdLst>
                <a:gd name="T0" fmla="*/ 206 w 430"/>
                <a:gd name="T1" fmla="*/ 0 h 328"/>
                <a:gd name="T2" fmla="*/ 202 w 430"/>
                <a:gd name="T3" fmla="*/ 40 h 328"/>
                <a:gd name="T4" fmla="*/ 184 w 430"/>
                <a:gd name="T5" fmla="*/ 70 h 328"/>
                <a:gd name="T6" fmla="*/ 196 w 430"/>
                <a:gd name="T7" fmla="*/ 98 h 328"/>
                <a:gd name="T8" fmla="*/ 206 w 430"/>
                <a:gd name="T9" fmla="*/ 128 h 328"/>
                <a:gd name="T10" fmla="*/ 188 w 430"/>
                <a:gd name="T11" fmla="*/ 144 h 328"/>
                <a:gd name="T12" fmla="*/ 168 w 430"/>
                <a:gd name="T13" fmla="*/ 126 h 328"/>
                <a:gd name="T14" fmla="*/ 132 w 430"/>
                <a:gd name="T15" fmla="*/ 130 h 328"/>
                <a:gd name="T16" fmla="*/ 114 w 430"/>
                <a:gd name="T17" fmla="*/ 152 h 328"/>
                <a:gd name="T18" fmla="*/ 102 w 430"/>
                <a:gd name="T19" fmla="*/ 142 h 328"/>
                <a:gd name="T20" fmla="*/ 50 w 430"/>
                <a:gd name="T21" fmla="*/ 168 h 328"/>
                <a:gd name="T22" fmla="*/ 44 w 430"/>
                <a:gd name="T23" fmla="*/ 182 h 328"/>
                <a:gd name="T24" fmla="*/ 22 w 430"/>
                <a:gd name="T25" fmla="*/ 176 h 328"/>
                <a:gd name="T26" fmla="*/ 14 w 430"/>
                <a:gd name="T27" fmla="*/ 218 h 328"/>
                <a:gd name="T28" fmla="*/ 56 w 430"/>
                <a:gd name="T29" fmla="*/ 236 h 328"/>
                <a:gd name="T30" fmla="*/ 36 w 430"/>
                <a:gd name="T31" fmla="*/ 248 h 328"/>
                <a:gd name="T32" fmla="*/ 0 w 430"/>
                <a:gd name="T33" fmla="*/ 328 h 328"/>
                <a:gd name="T34" fmla="*/ 38 w 430"/>
                <a:gd name="T35" fmla="*/ 324 h 328"/>
                <a:gd name="T36" fmla="*/ 40 w 430"/>
                <a:gd name="T37" fmla="*/ 300 h 328"/>
                <a:gd name="T38" fmla="*/ 100 w 430"/>
                <a:gd name="T39" fmla="*/ 310 h 328"/>
                <a:gd name="T40" fmla="*/ 108 w 430"/>
                <a:gd name="T41" fmla="*/ 326 h 328"/>
                <a:gd name="T42" fmla="*/ 124 w 430"/>
                <a:gd name="T43" fmla="*/ 314 h 328"/>
                <a:gd name="T44" fmla="*/ 124 w 430"/>
                <a:gd name="T45" fmla="*/ 294 h 328"/>
                <a:gd name="T46" fmla="*/ 176 w 430"/>
                <a:gd name="T47" fmla="*/ 296 h 328"/>
                <a:gd name="T48" fmla="*/ 214 w 430"/>
                <a:gd name="T49" fmla="*/ 316 h 328"/>
                <a:gd name="T50" fmla="*/ 288 w 430"/>
                <a:gd name="T51" fmla="*/ 272 h 328"/>
                <a:gd name="T52" fmla="*/ 288 w 430"/>
                <a:gd name="T53" fmla="*/ 248 h 328"/>
                <a:gd name="T54" fmla="*/ 352 w 430"/>
                <a:gd name="T55" fmla="*/ 190 h 328"/>
                <a:gd name="T56" fmla="*/ 412 w 430"/>
                <a:gd name="T57" fmla="*/ 172 h 328"/>
                <a:gd name="T58" fmla="*/ 430 w 430"/>
                <a:gd name="T59" fmla="*/ 116 h 328"/>
                <a:gd name="T60" fmla="*/ 404 w 430"/>
                <a:gd name="T61" fmla="*/ 100 h 328"/>
                <a:gd name="T62" fmla="*/ 386 w 430"/>
                <a:gd name="T63" fmla="*/ 120 h 328"/>
                <a:gd name="T64" fmla="*/ 354 w 430"/>
                <a:gd name="T65" fmla="*/ 76 h 328"/>
                <a:gd name="T66" fmla="*/ 368 w 430"/>
                <a:gd name="T67" fmla="*/ 60 h 328"/>
                <a:gd name="T68" fmla="*/ 354 w 430"/>
                <a:gd name="T69" fmla="*/ 32 h 328"/>
                <a:gd name="T70" fmla="*/ 324 w 430"/>
                <a:gd name="T71" fmla="*/ 74 h 328"/>
                <a:gd name="T72" fmla="*/ 300 w 430"/>
                <a:gd name="T73" fmla="*/ 102 h 328"/>
                <a:gd name="T74" fmla="*/ 290 w 430"/>
                <a:gd name="T75" fmla="*/ 150 h 328"/>
                <a:gd name="T76" fmla="*/ 256 w 430"/>
                <a:gd name="T77" fmla="*/ 194 h 328"/>
                <a:gd name="T78" fmla="*/ 238 w 430"/>
                <a:gd name="T79" fmla="*/ 186 h 328"/>
                <a:gd name="T80" fmla="*/ 248 w 430"/>
                <a:gd name="T81" fmla="*/ 104 h 328"/>
                <a:gd name="T82" fmla="*/ 268 w 430"/>
                <a:gd name="T83" fmla="*/ 76 h 328"/>
                <a:gd name="T84" fmla="*/ 270 w 430"/>
                <a:gd name="T85" fmla="*/ 30 h 328"/>
                <a:gd name="T86" fmla="*/ 206 w 430"/>
                <a:gd name="T87"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0" h="328">
                  <a:moveTo>
                    <a:pt x="206" y="0"/>
                  </a:moveTo>
                  <a:lnTo>
                    <a:pt x="202" y="40"/>
                  </a:lnTo>
                  <a:lnTo>
                    <a:pt x="184" y="70"/>
                  </a:lnTo>
                  <a:lnTo>
                    <a:pt x="196" y="98"/>
                  </a:lnTo>
                  <a:lnTo>
                    <a:pt x="206" y="128"/>
                  </a:lnTo>
                  <a:lnTo>
                    <a:pt x="188" y="144"/>
                  </a:lnTo>
                  <a:lnTo>
                    <a:pt x="168" y="126"/>
                  </a:lnTo>
                  <a:lnTo>
                    <a:pt x="132" y="130"/>
                  </a:lnTo>
                  <a:lnTo>
                    <a:pt x="114" y="152"/>
                  </a:lnTo>
                  <a:lnTo>
                    <a:pt x="102" y="142"/>
                  </a:lnTo>
                  <a:lnTo>
                    <a:pt x="50" y="168"/>
                  </a:lnTo>
                  <a:lnTo>
                    <a:pt x="44" y="182"/>
                  </a:lnTo>
                  <a:lnTo>
                    <a:pt x="22" y="176"/>
                  </a:lnTo>
                  <a:lnTo>
                    <a:pt x="14" y="218"/>
                  </a:lnTo>
                  <a:lnTo>
                    <a:pt x="56" y="236"/>
                  </a:lnTo>
                  <a:lnTo>
                    <a:pt x="36" y="248"/>
                  </a:lnTo>
                  <a:lnTo>
                    <a:pt x="0" y="328"/>
                  </a:lnTo>
                  <a:lnTo>
                    <a:pt x="38" y="324"/>
                  </a:lnTo>
                  <a:lnTo>
                    <a:pt x="40" y="300"/>
                  </a:lnTo>
                  <a:lnTo>
                    <a:pt x="100" y="310"/>
                  </a:lnTo>
                  <a:lnTo>
                    <a:pt x="108" y="326"/>
                  </a:lnTo>
                  <a:lnTo>
                    <a:pt x="124" y="314"/>
                  </a:lnTo>
                  <a:lnTo>
                    <a:pt x="124" y="294"/>
                  </a:lnTo>
                  <a:lnTo>
                    <a:pt x="176" y="296"/>
                  </a:lnTo>
                  <a:lnTo>
                    <a:pt x="214" y="316"/>
                  </a:lnTo>
                  <a:lnTo>
                    <a:pt x="288" y="272"/>
                  </a:lnTo>
                  <a:lnTo>
                    <a:pt x="288" y="248"/>
                  </a:lnTo>
                  <a:lnTo>
                    <a:pt x="352" y="190"/>
                  </a:lnTo>
                  <a:lnTo>
                    <a:pt x="412" y="172"/>
                  </a:lnTo>
                  <a:lnTo>
                    <a:pt x="430" y="116"/>
                  </a:lnTo>
                  <a:lnTo>
                    <a:pt x="404" y="100"/>
                  </a:lnTo>
                  <a:lnTo>
                    <a:pt x="386" y="120"/>
                  </a:lnTo>
                  <a:lnTo>
                    <a:pt x="354" y="76"/>
                  </a:lnTo>
                  <a:lnTo>
                    <a:pt x="368" y="60"/>
                  </a:lnTo>
                  <a:lnTo>
                    <a:pt x="354" y="32"/>
                  </a:lnTo>
                  <a:lnTo>
                    <a:pt x="324" y="74"/>
                  </a:lnTo>
                  <a:lnTo>
                    <a:pt x="300" y="102"/>
                  </a:lnTo>
                  <a:lnTo>
                    <a:pt x="290" y="150"/>
                  </a:lnTo>
                  <a:lnTo>
                    <a:pt x="256" y="194"/>
                  </a:lnTo>
                  <a:lnTo>
                    <a:pt x="238" y="186"/>
                  </a:lnTo>
                  <a:lnTo>
                    <a:pt x="248" y="104"/>
                  </a:lnTo>
                  <a:lnTo>
                    <a:pt x="268" y="76"/>
                  </a:lnTo>
                  <a:lnTo>
                    <a:pt x="270" y="30"/>
                  </a:lnTo>
                  <a:lnTo>
                    <a:pt x="206" y="0"/>
                  </a:lnTo>
                  <a:close/>
                </a:path>
              </a:pathLst>
            </a:custGeom>
            <a:grpFill/>
            <a:ln w="12700">
              <a:solidFill>
                <a:schemeClr val="accent2"/>
              </a:solidFill>
              <a:round/>
              <a:headEnd/>
              <a:tailEn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81" name="Freeform 6165">
              <a:extLst>
                <a:ext uri="{FF2B5EF4-FFF2-40B4-BE49-F238E27FC236}">
                  <a16:creationId xmlns:a16="http://schemas.microsoft.com/office/drawing/2014/main" id="{DC6D9B88-5362-093F-C26F-30ADC7779195}"/>
                </a:ext>
              </a:extLst>
            </p:cNvPr>
            <p:cNvSpPr>
              <a:spLocks/>
            </p:cNvSpPr>
            <p:nvPr/>
          </p:nvSpPr>
          <p:spPr bwMode="gray">
            <a:xfrm>
              <a:off x="5559951" y="3785304"/>
              <a:ext cx="43418" cy="32697"/>
            </a:xfrm>
            <a:custGeom>
              <a:avLst/>
              <a:gdLst>
                <a:gd name="T0" fmla="*/ 36 w 50"/>
                <a:gd name="T1" fmla="*/ 40 h 40"/>
                <a:gd name="T2" fmla="*/ 0 w 50"/>
                <a:gd name="T3" fmla="*/ 18 h 40"/>
                <a:gd name="T4" fmla="*/ 18 w 50"/>
                <a:gd name="T5" fmla="*/ 0 h 40"/>
                <a:gd name="T6" fmla="*/ 50 w 50"/>
                <a:gd name="T7" fmla="*/ 16 h 40"/>
                <a:gd name="T8" fmla="*/ 36 w 50"/>
                <a:gd name="T9" fmla="*/ 40 h 40"/>
              </a:gdLst>
              <a:ahLst/>
              <a:cxnLst>
                <a:cxn ang="0">
                  <a:pos x="T0" y="T1"/>
                </a:cxn>
                <a:cxn ang="0">
                  <a:pos x="T2" y="T3"/>
                </a:cxn>
                <a:cxn ang="0">
                  <a:pos x="T4" y="T5"/>
                </a:cxn>
                <a:cxn ang="0">
                  <a:pos x="T6" y="T7"/>
                </a:cxn>
                <a:cxn ang="0">
                  <a:pos x="T8" y="T9"/>
                </a:cxn>
              </a:cxnLst>
              <a:rect l="0" t="0" r="r" b="b"/>
              <a:pathLst>
                <a:path w="50" h="40">
                  <a:moveTo>
                    <a:pt x="36" y="40"/>
                  </a:moveTo>
                  <a:lnTo>
                    <a:pt x="0" y="18"/>
                  </a:lnTo>
                  <a:lnTo>
                    <a:pt x="18" y="0"/>
                  </a:lnTo>
                  <a:lnTo>
                    <a:pt x="50" y="16"/>
                  </a:lnTo>
                  <a:lnTo>
                    <a:pt x="36" y="40"/>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82" name="Freeform 6166">
              <a:extLst>
                <a:ext uri="{FF2B5EF4-FFF2-40B4-BE49-F238E27FC236}">
                  <a16:creationId xmlns:a16="http://schemas.microsoft.com/office/drawing/2014/main" id="{E0FD9ECA-7071-6B21-7F67-876084BEEA83}"/>
                </a:ext>
              </a:extLst>
            </p:cNvPr>
            <p:cNvSpPr>
              <a:spLocks/>
            </p:cNvSpPr>
            <p:nvPr/>
          </p:nvSpPr>
          <p:spPr bwMode="gray">
            <a:xfrm>
              <a:off x="5456058" y="3009498"/>
              <a:ext cx="1167637" cy="1019546"/>
            </a:xfrm>
            <a:custGeom>
              <a:avLst/>
              <a:gdLst>
                <a:gd name="T0" fmla="*/ 129 w 1404"/>
                <a:gd name="T1" fmla="*/ 996 h 1287"/>
                <a:gd name="T2" fmla="*/ 227 w 1404"/>
                <a:gd name="T3" fmla="*/ 933 h 1287"/>
                <a:gd name="T4" fmla="*/ 254 w 1404"/>
                <a:gd name="T5" fmla="*/ 913 h 1287"/>
                <a:gd name="T6" fmla="*/ 350 w 1404"/>
                <a:gd name="T7" fmla="*/ 817 h 1287"/>
                <a:gd name="T8" fmla="*/ 429 w 1404"/>
                <a:gd name="T9" fmla="*/ 801 h 1287"/>
                <a:gd name="T10" fmla="*/ 488 w 1404"/>
                <a:gd name="T11" fmla="*/ 769 h 1287"/>
                <a:gd name="T12" fmla="*/ 593 w 1404"/>
                <a:gd name="T13" fmla="*/ 736 h 1287"/>
                <a:gd name="T14" fmla="*/ 657 w 1404"/>
                <a:gd name="T15" fmla="*/ 738 h 1287"/>
                <a:gd name="T16" fmla="*/ 779 w 1404"/>
                <a:gd name="T17" fmla="*/ 777 h 1287"/>
                <a:gd name="T18" fmla="*/ 876 w 1404"/>
                <a:gd name="T19" fmla="*/ 807 h 1287"/>
                <a:gd name="T20" fmla="*/ 933 w 1404"/>
                <a:gd name="T21" fmla="*/ 834 h 1287"/>
                <a:gd name="T22" fmla="*/ 969 w 1404"/>
                <a:gd name="T23" fmla="*/ 856 h 1287"/>
                <a:gd name="T24" fmla="*/ 1008 w 1404"/>
                <a:gd name="T25" fmla="*/ 876 h 1287"/>
                <a:gd name="T26" fmla="*/ 948 w 1404"/>
                <a:gd name="T27" fmla="*/ 940 h 1287"/>
                <a:gd name="T28" fmla="*/ 977 w 1404"/>
                <a:gd name="T29" fmla="*/ 993 h 1287"/>
                <a:gd name="T30" fmla="*/ 992 w 1404"/>
                <a:gd name="T31" fmla="*/ 1036 h 1287"/>
                <a:gd name="T32" fmla="*/ 1032 w 1404"/>
                <a:gd name="T33" fmla="*/ 1098 h 1287"/>
                <a:gd name="T34" fmla="*/ 1067 w 1404"/>
                <a:gd name="T35" fmla="*/ 1129 h 1287"/>
                <a:gd name="T36" fmla="*/ 1116 w 1404"/>
                <a:gd name="T37" fmla="*/ 1224 h 1287"/>
                <a:gd name="T38" fmla="*/ 1154 w 1404"/>
                <a:gd name="T39" fmla="*/ 1287 h 1287"/>
                <a:gd name="T40" fmla="*/ 1236 w 1404"/>
                <a:gd name="T41" fmla="*/ 1251 h 1287"/>
                <a:gd name="T42" fmla="*/ 1277 w 1404"/>
                <a:gd name="T43" fmla="*/ 1198 h 1287"/>
                <a:gd name="T44" fmla="*/ 1367 w 1404"/>
                <a:gd name="T45" fmla="*/ 1045 h 1287"/>
                <a:gd name="T46" fmla="*/ 1332 w 1404"/>
                <a:gd name="T47" fmla="*/ 960 h 1287"/>
                <a:gd name="T48" fmla="*/ 1341 w 1404"/>
                <a:gd name="T49" fmla="*/ 852 h 1287"/>
                <a:gd name="T50" fmla="*/ 1371 w 1404"/>
                <a:gd name="T51" fmla="*/ 775 h 1287"/>
                <a:gd name="T52" fmla="*/ 1389 w 1404"/>
                <a:gd name="T53" fmla="*/ 652 h 1287"/>
                <a:gd name="T54" fmla="*/ 1278 w 1404"/>
                <a:gd name="T55" fmla="*/ 705 h 1287"/>
                <a:gd name="T56" fmla="*/ 1179 w 1404"/>
                <a:gd name="T57" fmla="*/ 775 h 1287"/>
                <a:gd name="T58" fmla="*/ 1086 w 1404"/>
                <a:gd name="T59" fmla="*/ 862 h 1287"/>
                <a:gd name="T60" fmla="*/ 1043 w 1404"/>
                <a:gd name="T61" fmla="*/ 756 h 1287"/>
                <a:gd name="T62" fmla="*/ 971 w 1404"/>
                <a:gd name="T63" fmla="*/ 727 h 1287"/>
                <a:gd name="T64" fmla="*/ 911 w 1404"/>
                <a:gd name="T65" fmla="*/ 732 h 1287"/>
                <a:gd name="T66" fmla="*/ 897 w 1404"/>
                <a:gd name="T67" fmla="*/ 682 h 1287"/>
                <a:gd name="T68" fmla="*/ 995 w 1404"/>
                <a:gd name="T69" fmla="*/ 657 h 1287"/>
                <a:gd name="T70" fmla="*/ 936 w 1404"/>
                <a:gd name="T71" fmla="*/ 609 h 1287"/>
                <a:gd name="T72" fmla="*/ 863 w 1404"/>
                <a:gd name="T73" fmla="*/ 618 h 1287"/>
                <a:gd name="T74" fmla="*/ 895 w 1404"/>
                <a:gd name="T75" fmla="*/ 497 h 1287"/>
                <a:gd name="T76" fmla="*/ 949 w 1404"/>
                <a:gd name="T77" fmla="*/ 423 h 1287"/>
                <a:gd name="T78" fmla="*/ 1025 w 1404"/>
                <a:gd name="T79" fmla="*/ 309 h 1287"/>
                <a:gd name="T80" fmla="*/ 1023 w 1404"/>
                <a:gd name="T81" fmla="*/ 295 h 1287"/>
                <a:gd name="T82" fmla="*/ 1059 w 1404"/>
                <a:gd name="T83" fmla="*/ 209 h 1287"/>
                <a:gd name="T84" fmla="*/ 1099 w 1404"/>
                <a:gd name="T85" fmla="*/ 183 h 1287"/>
                <a:gd name="T86" fmla="*/ 1067 w 1404"/>
                <a:gd name="T87" fmla="*/ 85 h 1287"/>
                <a:gd name="T88" fmla="*/ 983 w 1404"/>
                <a:gd name="T89" fmla="*/ 78 h 1287"/>
                <a:gd name="T90" fmla="*/ 987 w 1404"/>
                <a:gd name="T91" fmla="*/ 130 h 1287"/>
                <a:gd name="T92" fmla="*/ 1004 w 1404"/>
                <a:gd name="T93" fmla="*/ 165 h 1287"/>
                <a:gd name="T94" fmla="*/ 1034 w 1404"/>
                <a:gd name="T95" fmla="*/ 234 h 1287"/>
                <a:gd name="T96" fmla="*/ 939 w 1404"/>
                <a:gd name="T97" fmla="*/ 258 h 1287"/>
                <a:gd name="T98" fmla="*/ 851 w 1404"/>
                <a:gd name="T99" fmla="*/ 243 h 1287"/>
                <a:gd name="T100" fmla="*/ 767 w 1404"/>
                <a:gd name="T101" fmla="*/ 231 h 1287"/>
                <a:gd name="T102" fmla="*/ 672 w 1404"/>
                <a:gd name="T103" fmla="*/ 234 h 1287"/>
                <a:gd name="T104" fmla="*/ 800 w 1404"/>
                <a:gd name="T105" fmla="*/ 114 h 1287"/>
                <a:gd name="T106" fmla="*/ 783 w 1404"/>
                <a:gd name="T107" fmla="*/ 0 h 1287"/>
                <a:gd name="T108" fmla="*/ 633 w 1404"/>
                <a:gd name="T109" fmla="*/ 91 h 1287"/>
                <a:gd name="T110" fmla="*/ 471 w 1404"/>
                <a:gd name="T111" fmla="*/ 147 h 1287"/>
                <a:gd name="T112" fmla="*/ 462 w 1404"/>
                <a:gd name="T113" fmla="*/ 250 h 1287"/>
                <a:gd name="T114" fmla="*/ 383 w 1404"/>
                <a:gd name="T115" fmla="*/ 354 h 1287"/>
                <a:gd name="T116" fmla="*/ 240 w 1404"/>
                <a:gd name="T117" fmla="*/ 432 h 1287"/>
                <a:gd name="T118" fmla="*/ 77 w 1404"/>
                <a:gd name="T119" fmla="*/ 586 h 1287"/>
                <a:gd name="T120" fmla="*/ 51 w 1404"/>
                <a:gd name="T121" fmla="*/ 736 h 1287"/>
                <a:gd name="T122" fmla="*/ 21 w 1404"/>
                <a:gd name="T123" fmla="*/ 849 h 1287"/>
                <a:gd name="T124" fmla="*/ 59 w 1404"/>
                <a:gd name="T125" fmla="*/ 1065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04" h="1287">
                  <a:moveTo>
                    <a:pt x="125" y="1092"/>
                  </a:moveTo>
                  <a:lnTo>
                    <a:pt x="165" y="1021"/>
                  </a:lnTo>
                  <a:lnTo>
                    <a:pt x="129" y="996"/>
                  </a:lnTo>
                  <a:lnTo>
                    <a:pt x="147" y="982"/>
                  </a:lnTo>
                  <a:lnTo>
                    <a:pt x="177" y="997"/>
                  </a:lnTo>
                  <a:lnTo>
                    <a:pt x="227" y="933"/>
                  </a:lnTo>
                  <a:lnTo>
                    <a:pt x="245" y="942"/>
                  </a:lnTo>
                  <a:lnTo>
                    <a:pt x="255" y="934"/>
                  </a:lnTo>
                  <a:lnTo>
                    <a:pt x="254" y="913"/>
                  </a:lnTo>
                  <a:lnTo>
                    <a:pt x="281" y="876"/>
                  </a:lnTo>
                  <a:lnTo>
                    <a:pt x="330" y="825"/>
                  </a:lnTo>
                  <a:lnTo>
                    <a:pt x="350" y="817"/>
                  </a:lnTo>
                  <a:lnTo>
                    <a:pt x="383" y="814"/>
                  </a:lnTo>
                  <a:lnTo>
                    <a:pt x="398" y="825"/>
                  </a:lnTo>
                  <a:lnTo>
                    <a:pt x="429" y="801"/>
                  </a:lnTo>
                  <a:lnTo>
                    <a:pt x="465" y="795"/>
                  </a:lnTo>
                  <a:lnTo>
                    <a:pt x="474" y="771"/>
                  </a:lnTo>
                  <a:lnTo>
                    <a:pt x="488" y="769"/>
                  </a:lnTo>
                  <a:lnTo>
                    <a:pt x="524" y="720"/>
                  </a:lnTo>
                  <a:lnTo>
                    <a:pt x="566" y="745"/>
                  </a:lnTo>
                  <a:lnTo>
                    <a:pt x="593" y="736"/>
                  </a:lnTo>
                  <a:lnTo>
                    <a:pt x="614" y="723"/>
                  </a:lnTo>
                  <a:lnTo>
                    <a:pt x="639" y="735"/>
                  </a:lnTo>
                  <a:lnTo>
                    <a:pt x="657" y="738"/>
                  </a:lnTo>
                  <a:lnTo>
                    <a:pt x="708" y="748"/>
                  </a:lnTo>
                  <a:lnTo>
                    <a:pt x="738" y="756"/>
                  </a:lnTo>
                  <a:lnTo>
                    <a:pt x="779" y="777"/>
                  </a:lnTo>
                  <a:lnTo>
                    <a:pt x="800" y="775"/>
                  </a:lnTo>
                  <a:lnTo>
                    <a:pt x="843" y="801"/>
                  </a:lnTo>
                  <a:lnTo>
                    <a:pt x="876" y="807"/>
                  </a:lnTo>
                  <a:lnTo>
                    <a:pt x="906" y="811"/>
                  </a:lnTo>
                  <a:lnTo>
                    <a:pt x="915" y="826"/>
                  </a:lnTo>
                  <a:lnTo>
                    <a:pt x="933" y="834"/>
                  </a:lnTo>
                  <a:lnTo>
                    <a:pt x="935" y="844"/>
                  </a:lnTo>
                  <a:lnTo>
                    <a:pt x="947" y="846"/>
                  </a:lnTo>
                  <a:lnTo>
                    <a:pt x="969" y="856"/>
                  </a:lnTo>
                  <a:lnTo>
                    <a:pt x="989" y="856"/>
                  </a:lnTo>
                  <a:lnTo>
                    <a:pt x="996" y="873"/>
                  </a:lnTo>
                  <a:lnTo>
                    <a:pt x="1008" y="876"/>
                  </a:lnTo>
                  <a:lnTo>
                    <a:pt x="1019" y="921"/>
                  </a:lnTo>
                  <a:lnTo>
                    <a:pt x="1008" y="936"/>
                  </a:lnTo>
                  <a:lnTo>
                    <a:pt x="948" y="940"/>
                  </a:lnTo>
                  <a:lnTo>
                    <a:pt x="951" y="951"/>
                  </a:lnTo>
                  <a:lnTo>
                    <a:pt x="972" y="967"/>
                  </a:lnTo>
                  <a:lnTo>
                    <a:pt x="977" y="993"/>
                  </a:lnTo>
                  <a:lnTo>
                    <a:pt x="974" y="1005"/>
                  </a:lnTo>
                  <a:lnTo>
                    <a:pt x="983" y="1020"/>
                  </a:lnTo>
                  <a:lnTo>
                    <a:pt x="992" y="1036"/>
                  </a:lnTo>
                  <a:lnTo>
                    <a:pt x="1011" y="1033"/>
                  </a:lnTo>
                  <a:lnTo>
                    <a:pt x="1032" y="1069"/>
                  </a:lnTo>
                  <a:lnTo>
                    <a:pt x="1032" y="1098"/>
                  </a:lnTo>
                  <a:lnTo>
                    <a:pt x="1044" y="1114"/>
                  </a:lnTo>
                  <a:lnTo>
                    <a:pt x="1061" y="1116"/>
                  </a:lnTo>
                  <a:lnTo>
                    <a:pt x="1067" y="1129"/>
                  </a:lnTo>
                  <a:lnTo>
                    <a:pt x="1071" y="1155"/>
                  </a:lnTo>
                  <a:lnTo>
                    <a:pt x="1098" y="1185"/>
                  </a:lnTo>
                  <a:lnTo>
                    <a:pt x="1116" y="1224"/>
                  </a:lnTo>
                  <a:lnTo>
                    <a:pt x="1122" y="1261"/>
                  </a:lnTo>
                  <a:lnTo>
                    <a:pt x="1145" y="1276"/>
                  </a:lnTo>
                  <a:lnTo>
                    <a:pt x="1154" y="1287"/>
                  </a:lnTo>
                  <a:lnTo>
                    <a:pt x="1196" y="1267"/>
                  </a:lnTo>
                  <a:lnTo>
                    <a:pt x="1212" y="1269"/>
                  </a:lnTo>
                  <a:lnTo>
                    <a:pt x="1236" y="1251"/>
                  </a:lnTo>
                  <a:lnTo>
                    <a:pt x="1253" y="1233"/>
                  </a:lnTo>
                  <a:lnTo>
                    <a:pt x="1266" y="1200"/>
                  </a:lnTo>
                  <a:lnTo>
                    <a:pt x="1277" y="1198"/>
                  </a:lnTo>
                  <a:lnTo>
                    <a:pt x="1326" y="1149"/>
                  </a:lnTo>
                  <a:lnTo>
                    <a:pt x="1332" y="1086"/>
                  </a:lnTo>
                  <a:lnTo>
                    <a:pt x="1367" y="1045"/>
                  </a:lnTo>
                  <a:lnTo>
                    <a:pt x="1364" y="985"/>
                  </a:lnTo>
                  <a:lnTo>
                    <a:pt x="1353" y="966"/>
                  </a:lnTo>
                  <a:lnTo>
                    <a:pt x="1332" y="960"/>
                  </a:lnTo>
                  <a:lnTo>
                    <a:pt x="1353" y="904"/>
                  </a:lnTo>
                  <a:lnTo>
                    <a:pt x="1338" y="874"/>
                  </a:lnTo>
                  <a:lnTo>
                    <a:pt x="1341" y="852"/>
                  </a:lnTo>
                  <a:lnTo>
                    <a:pt x="1371" y="855"/>
                  </a:lnTo>
                  <a:lnTo>
                    <a:pt x="1379" y="817"/>
                  </a:lnTo>
                  <a:lnTo>
                    <a:pt x="1371" y="775"/>
                  </a:lnTo>
                  <a:lnTo>
                    <a:pt x="1383" y="774"/>
                  </a:lnTo>
                  <a:lnTo>
                    <a:pt x="1404" y="718"/>
                  </a:lnTo>
                  <a:lnTo>
                    <a:pt x="1389" y="652"/>
                  </a:lnTo>
                  <a:lnTo>
                    <a:pt x="1349" y="693"/>
                  </a:lnTo>
                  <a:lnTo>
                    <a:pt x="1337" y="678"/>
                  </a:lnTo>
                  <a:lnTo>
                    <a:pt x="1278" y="705"/>
                  </a:lnTo>
                  <a:lnTo>
                    <a:pt x="1253" y="750"/>
                  </a:lnTo>
                  <a:lnTo>
                    <a:pt x="1212" y="780"/>
                  </a:lnTo>
                  <a:lnTo>
                    <a:pt x="1179" y="775"/>
                  </a:lnTo>
                  <a:lnTo>
                    <a:pt x="1134" y="811"/>
                  </a:lnTo>
                  <a:lnTo>
                    <a:pt x="1128" y="847"/>
                  </a:lnTo>
                  <a:lnTo>
                    <a:pt x="1086" y="862"/>
                  </a:lnTo>
                  <a:lnTo>
                    <a:pt x="1086" y="837"/>
                  </a:lnTo>
                  <a:lnTo>
                    <a:pt x="1070" y="775"/>
                  </a:lnTo>
                  <a:lnTo>
                    <a:pt x="1043" y="756"/>
                  </a:lnTo>
                  <a:lnTo>
                    <a:pt x="989" y="733"/>
                  </a:lnTo>
                  <a:lnTo>
                    <a:pt x="974" y="750"/>
                  </a:lnTo>
                  <a:lnTo>
                    <a:pt x="971" y="727"/>
                  </a:lnTo>
                  <a:lnTo>
                    <a:pt x="938" y="762"/>
                  </a:lnTo>
                  <a:lnTo>
                    <a:pt x="927" y="760"/>
                  </a:lnTo>
                  <a:lnTo>
                    <a:pt x="911" y="732"/>
                  </a:lnTo>
                  <a:lnTo>
                    <a:pt x="887" y="721"/>
                  </a:lnTo>
                  <a:lnTo>
                    <a:pt x="888" y="702"/>
                  </a:lnTo>
                  <a:lnTo>
                    <a:pt x="897" y="682"/>
                  </a:lnTo>
                  <a:lnTo>
                    <a:pt x="932" y="682"/>
                  </a:lnTo>
                  <a:lnTo>
                    <a:pt x="941" y="703"/>
                  </a:lnTo>
                  <a:lnTo>
                    <a:pt x="995" y="657"/>
                  </a:lnTo>
                  <a:lnTo>
                    <a:pt x="989" y="631"/>
                  </a:lnTo>
                  <a:lnTo>
                    <a:pt x="957" y="637"/>
                  </a:lnTo>
                  <a:lnTo>
                    <a:pt x="936" y="609"/>
                  </a:lnTo>
                  <a:lnTo>
                    <a:pt x="911" y="609"/>
                  </a:lnTo>
                  <a:lnTo>
                    <a:pt x="897" y="609"/>
                  </a:lnTo>
                  <a:lnTo>
                    <a:pt x="863" y="618"/>
                  </a:lnTo>
                  <a:lnTo>
                    <a:pt x="875" y="571"/>
                  </a:lnTo>
                  <a:lnTo>
                    <a:pt x="871" y="499"/>
                  </a:lnTo>
                  <a:lnTo>
                    <a:pt x="895" y="497"/>
                  </a:lnTo>
                  <a:lnTo>
                    <a:pt x="907" y="471"/>
                  </a:lnTo>
                  <a:lnTo>
                    <a:pt x="947" y="479"/>
                  </a:lnTo>
                  <a:lnTo>
                    <a:pt x="949" y="423"/>
                  </a:lnTo>
                  <a:lnTo>
                    <a:pt x="969" y="427"/>
                  </a:lnTo>
                  <a:lnTo>
                    <a:pt x="1035" y="335"/>
                  </a:lnTo>
                  <a:lnTo>
                    <a:pt x="1025" y="309"/>
                  </a:lnTo>
                  <a:lnTo>
                    <a:pt x="1003" y="309"/>
                  </a:lnTo>
                  <a:lnTo>
                    <a:pt x="1003" y="295"/>
                  </a:lnTo>
                  <a:lnTo>
                    <a:pt x="1023" y="295"/>
                  </a:lnTo>
                  <a:lnTo>
                    <a:pt x="1041" y="263"/>
                  </a:lnTo>
                  <a:lnTo>
                    <a:pt x="1071" y="237"/>
                  </a:lnTo>
                  <a:lnTo>
                    <a:pt x="1059" y="209"/>
                  </a:lnTo>
                  <a:lnTo>
                    <a:pt x="1067" y="185"/>
                  </a:lnTo>
                  <a:lnTo>
                    <a:pt x="1093" y="193"/>
                  </a:lnTo>
                  <a:lnTo>
                    <a:pt x="1099" y="183"/>
                  </a:lnTo>
                  <a:lnTo>
                    <a:pt x="1085" y="157"/>
                  </a:lnTo>
                  <a:lnTo>
                    <a:pt x="1092" y="106"/>
                  </a:lnTo>
                  <a:lnTo>
                    <a:pt x="1067" y="85"/>
                  </a:lnTo>
                  <a:lnTo>
                    <a:pt x="1058" y="115"/>
                  </a:lnTo>
                  <a:lnTo>
                    <a:pt x="1017" y="51"/>
                  </a:lnTo>
                  <a:lnTo>
                    <a:pt x="983" y="78"/>
                  </a:lnTo>
                  <a:lnTo>
                    <a:pt x="1017" y="105"/>
                  </a:lnTo>
                  <a:lnTo>
                    <a:pt x="978" y="117"/>
                  </a:lnTo>
                  <a:lnTo>
                    <a:pt x="987" y="130"/>
                  </a:lnTo>
                  <a:lnTo>
                    <a:pt x="1008" y="129"/>
                  </a:lnTo>
                  <a:lnTo>
                    <a:pt x="1023" y="139"/>
                  </a:lnTo>
                  <a:lnTo>
                    <a:pt x="1004" y="165"/>
                  </a:lnTo>
                  <a:lnTo>
                    <a:pt x="1005" y="228"/>
                  </a:lnTo>
                  <a:lnTo>
                    <a:pt x="1022" y="214"/>
                  </a:lnTo>
                  <a:lnTo>
                    <a:pt x="1034" y="234"/>
                  </a:lnTo>
                  <a:lnTo>
                    <a:pt x="1001" y="268"/>
                  </a:lnTo>
                  <a:lnTo>
                    <a:pt x="969" y="277"/>
                  </a:lnTo>
                  <a:lnTo>
                    <a:pt x="939" y="258"/>
                  </a:lnTo>
                  <a:lnTo>
                    <a:pt x="900" y="280"/>
                  </a:lnTo>
                  <a:lnTo>
                    <a:pt x="879" y="262"/>
                  </a:lnTo>
                  <a:lnTo>
                    <a:pt x="851" y="243"/>
                  </a:lnTo>
                  <a:lnTo>
                    <a:pt x="843" y="219"/>
                  </a:lnTo>
                  <a:lnTo>
                    <a:pt x="809" y="234"/>
                  </a:lnTo>
                  <a:lnTo>
                    <a:pt x="767" y="231"/>
                  </a:lnTo>
                  <a:lnTo>
                    <a:pt x="695" y="267"/>
                  </a:lnTo>
                  <a:lnTo>
                    <a:pt x="674" y="255"/>
                  </a:lnTo>
                  <a:lnTo>
                    <a:pt x="672" y="234"/>
                  </a:lnTo>
                  <a:lnTo>
                    <a:pt x="729" y="195"/>
                  </a:lnTo>
                  <a:lnTo>
                    <a:pt x="818" y="114"/>
                  </a:lnTo>
                  <a:lnTo>
                    <a:pt x="800" y="114"/>
                  </a:lnTo>
                  <a:lnTo>
                    <a:pt x="807" y="72"/>
                  </a:lnTo>
                  <a:lnTo>
                    <a:pt x="782" y="49"/>
                  </a:lnTo>
                  <a:lnTo>
                    <a:pt x="783" y="0"/>
                  </a:lnTo>
                  <a:lnTo>
                    <a:pt x="728" y="21"/>
                  </a:lnTo>
                  <a:lnTo>
                    <a:pt x="674" y="81"/>
                  </a:lnTo>
                  <a:lnTo>
                    <a:pt x="633" y="91"/>
                  </a:lnTo>
                  <a:lnTo>
                    <a:pt x="555" y="136"/>
                  </a:lnTo>
                  <a:lnTo>
                    <a:pt x="504" y="157"/>
                  </a:lnTo>
                  <a:lnTo>
                    <a:pt x="471" y="147"/>
                  </a:lnTo>
                  <a:lnTo>
                    <a:pt x="440" y="181"/>
                  </a:lnTo>
                  <a:lnTo>
                    <a:pt x="435" y="237"/>
                  </a:lnTo>
                  <a:lnTo>
                    <a:pt x="462" y="250"/>
                  </a:lnTo>
                  <a:lnTo>
                    <a:pt x="429" y="313"/>
                  </a:lnTo>
                  <a:lnTo>
                    <a:pt x="381" y="328"/>
                  </a:lnTo>
                  <a:lnTo>
                    <a:pt x="383" y="354"/>
                  </a:lnTo>
                  <a:lnTo>
                    <a:pt x="357" y="355"/>
                  </a:lnTo>
                  <a:lnTo>
                    <a:pt x="356" y="376"/>
                  </a:lnTo>
                  <a:lnTo>
                    <a:pt x="240" y="432"/>
                  </a:lnTo>
                  <a:lnTo>
                    <a:pt x="239" y="457"/>
                  </a:lnTo>
                  <a:lnTo>
                    <a:pt x="144" y="547"/>
                  </a:lnTo>
                  <a:lnTo>
                    <a:pt x="77" y="586"/>
                  </a:lnTo>
                  <a:lnTo>
                    <a:pt x="53" y="622"/>
                  </a:lnTo>
                  <a:lnTo>
                    <a:pt x="105" y="678"/>
                  </a:lnTo>
                  <a:lnTo>
                    <a:pt x="51" y="736"/>
                  </a:lnTo>
                  <a:lnTo>
                    <a:pt x="50" y="766"/>
                  </a:lnTo>
                  <a:lnTo>
                    <a:pt x="2" y="826"/>
                  </a:lnTo>
                  <a:lnTo>
                    <a:pt x="21" y="849"/>
                  </a:lnTo>
                  <a:lnTo>
                    <a:pt x="0" y="894"/>
                  </a:lnTo>
                  <a:lnTo>
                    <a:pt x="110" y="978"/>
                  </a:lnTo>
                  <a:lnTo>
                    <a:pt x="59" y="1065"/>
                  </a:lnTo>
                  <a:lnTo>
                    <a:pt x="125" y="1090"/>
                  </a:lnTo>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83" name="Freeform 6167">
              <a:extLst>
                <a:ext uri="{FF2B5EF4-FFF2-40B4-BE49-F238E27FC236}">
                  <a16:creationId xmlns:a16="http://schemas.microsoft.com/office/drawing/2014/main" id="{FFA20C6B-DCEC-7A39-A4AB-1D579440364A}"/>
                </a:ext>
              </a:extLst>
            </p:cNvPr>
            <p:cNvSpPr>
              <a:spLocks/>
            </p:cNvSpPr>
            <p:nvPr/>
          </p:nvSpPr>
          <p:spPr bwMode="gray">
            <a:xfrm>
              <a:off x="6341478" y="2950049"/>
              <a:ext cx="131805" cy="182805"/>
            </a:xfrm>
            <a:custGeom>
              <a:avLst/>
              <a:gdLst>
                <a:gd name="T0" fmla="*/ 0 w 159"/>
                <a:gd name="T1" fmla="*/ 83 h 231"/>
                <a:gd name="T2" fmla="*/ 12 w 159"/>
                <a:gd name="T3" fmla="*/ 95 h 231"/>
                <a:gd name="T4" fmla="*/ 22 w 159"/>
                <a:gd name="T5" fmla="*/ 89 h 231"/>
                <a:gd name="T6" fmla="*/ 39 w 159"/>
                <a:gd name="T7" fmla="*/ 111 h 231"/>
                <a:gd name="T8" fmla="*/ 31 w 159"/>
                <a:gd name="T9" fmla="*/ 123 h 231"/>
                <a:gd name="T10" fmla="*/ 46 w 159"/>
                <a:gd name="T11" fmla="*/ 155 h 231"/>
                <a:gd name="T12" fmla="*/ 42 w 159"/>
                <a:gd name="T13" fmla="*/ 170 h 231"/>
                <a:gd name="T14" fmla="*/ 49 w 159"/>
                <a:gd name="T15" fmla="*/ 180 h 231"/>
                <a:gd name="T16" fmla="*/ 69 w 159"/>
                <a:gd name="T17" fmla="*/ 170 h 231"/>
                <a:gd name="T18" fmla="*/ 90 w 159"/>
                <a:gd name="T19" fmla="*/ 182 h 231"/>
                <a:gd name="T20" fmla="*/ 87 w 159"/>
                <a:gd name="T21" fmla="*/ 225 h 231"/>
                <a:gd name="T22" fmla="*/ 100 w 159"/>
                <a:gd name="T23" fmla="*/ 231 h 231"/>
                <a:gd name="T24" fmla="*/ 130 w 159"/>
                <a:gd name="T25" fmla="*/ 189 h 231"/>
                <a:gd name="T26" fmla="*/ 121 w 159"/>
                <a:gd name="T27" fmla="*/ 156 h 231"/>
                <a:gd name="T28" fmla="*/ 159 w 159"/>
                <a:gd name="T29" fmla="*/ 120 h 231"/>
                <a:gd name="T30" fmla="*/ 144 w 159"/>
                <a:gd name="T31" fmla="*/ 104 h 231"/>
                <a:gd name="T32" fmla="*/ 108 w 159"/>
                <a:gd name="T33" fmla="*/ 129 h 231"/>
                <a:gd name="T34" fmla="*/ 97 w 159"/>
                <a:gd name="T35" fmla="*/ 122 h 231"/>
                <a:gd name="T36" fmla="*/ 81 w 159"/>
                <a:gd name="T37" fmla="*/ 102 h 231"/>
                <a:gd name="T38" fmla="*/ 115 w 159"/>
                <a:gd name="T39" fmla="*/ 69 h 231"/>
                <a:gd name="T40" fmla="*/ 118 w 159"/>
                <a:gd name="T41" fmla="*/ 15 h 231"/>
                <a:gd name="T42" fmla="*/ 108 w 159"/>
                <a:gd name="T43" fmla="*/ 6 h 231"/>
                <a:gd name="T44" fmla="*/ 90 w 159"/>
                <a:gd name="T45" fmla="*/ 0 h 231"/>
                <a:gd name="T46" fmla="*/ 79 w 159"/>
                <a:gd name="T47" fmla="*/ 23 h 231"/>
                <a:gd name="T48" fmla="*/ 55 w 159"/>
                <a:gd name="T49" fmla="*/ 38 h 231"/>
                <a:gd name="T50" fmla="*/ 22 w 159"/>
                <a:gd name="T51" fmla="*/ 57 h 231"/>
                <a:gd name="T52" fmla="*/ 0 w 159"/>
                <a:gd name="T53" fmla="*/ 8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9" h="231">
                  <a:moveTo>
                    <a:pt x="0" y="83"/>
                  </a:moveTo>
                  <a:lnTo>
                    <a:pt x="12" y="95"/>
                  </a:lnTo>
                  <a:lnTo>
                    <a:pt x="22" y="89"/>
                  </a:lnTo>
                  <a:lnTo>
                    <a:pt x="39" y="111"/>
                  </a:lnTo>
                  <a:lnTo>
                    <a:pt x="31" y="123"/>
                  </a:lnTo>
                  <a:lnTo>
                    <a:pt x="46" y="155"/>
                  </a:lnTo>
                  <a:lnTo>
                    <a:pt x="42" y="170"/>
                  </a:lnTo>
                  <a:lnTo>
                    <a:pt x="49" y="180"/>
                  </a:lnTo>
                  <a:lnTo>
                    <a:pt x="69" y="170"/>
                  </a:lnTo>
                  <a:lnTo>
                    <a:pt x="90" y="182"/>
                  </a:lnTo>
                  <a:lnTo>
                    <a:pt x="87" y="225"/>
                  </a:lnTo>
                  <a:lnTo>
                    <a:pt x="100" y="231"/>
                  </a:lnTo>
                  <a:lnTo>
                    <a:pt x="130" y="189"/>
                  </a:lnTo>
                  <a:lnTo>
                    <a:pt x="121" y="156"/>
                  </a:lnTo>
                  <a:lnTo>
                    <a:pt x="159" y="120"/>
                  </a:lnTo>
                  <a:lnTo>
                    <a:pt x="144" y="104"/>
                  </a:lnTo>
                  <a:lnTo>
                    <a:pt x="108" y="129"/>
                  </a:lnTo>
                  <a:lnTo>
                    <a:pt x="97" y="122"/>
                  </a:lnTo>
                  <a:lnTo>
                    <a:pt x="81" y="102"/>
                  </a:lnTo>
                  <a:lnTo>
                    <a:pt x="115" y="69"/>
                  </a:lnTo>
                  <a:lnTo>
                    <a:pt x="118" y="15"/>
                  </a:lnTo>
                  <a:lnTo>
                    <a:pt x="108" y="6"/>
                  </a:lnTo>
                  <a:lnTo>
                    <a:pt x="90" y="0"/>
                  </a:lnTo>
                  <a:lnTo>
                    <a:pt x="79" y="23"/>
                  </a:lnTo>
                  <a:lnTo>
                    <a:pt x="55" y="38"/>
                  </a:lnTo>
                  <a:lnTo>
                    <a:pt x="22" y="57"/>
                  </a:lnTo>
                  <a:lnTo>
                    <a:pt x="0" y="83"/>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84" name="Freeform 6168">
              <a:extLst>
                <a:ext uri="{FF2B5EF4-FFF2-40B4-BE49-F238E27FC236}">
                  <a16:creationId xmlns:a16="http://schemas.microsoft.com/office/drawing/2014/main" id="{BC517E0F-E7CE-9378-DEF6-EEB7B81E16E8}"/>
                </a:ext>
              </a:extLst>
            </p:cNvPr>
            <p:cNvSpPr>
              <a:spLocks/>
            </p:cNvSpPr>
            <p:nvPr/>
          </p:nvSpPr>
          <p:spPr bwMode="gray">
            <a:xfrm>
              <a:off x="6138343" y="3257696"/>
              <a:ext cx="31013" cy="44587"/>
            </a:xfrm>
            <a:custGeom>
              <a:avLst/>
              <a:gdLst>
                <a:gd name="T0" fmla="*/ 26 w 38"/>
                <a:gd name="T1" fmla="*/ 0 h 57"/>
                <a:gd name="T2" fmla="*/ 0 w 38"/>
                <a:gd name="T3" fmla="*/ 36 h 57"/>
                <a:gd name="T4" fmla="*/ 12 w 38"/>
                <a:gd name="T5" fmla="*/ 57 h 57"/>
                <a:gd name="T6" fmla="*/ 38 w 38"/>
                <a:gd name="T7" fmla="*/ 21 h 57"/>
                <a:gd name="T8" fmla="*/ 38 w 38"/>
                <a:gd name="T9" fmla="*/ 11 h 57"/>
                <a:gd name="T10" fmla="*/ 26 w 38"/>
                <a:gd name="T11" fmla="*/ 0 h 57"/>
              </a:gdLst>
              <a:ahLst/>
              <a:cxnLst>
                <a:cxn ang="0">
                  <a:pos x="T0" y="T1"/>
                </a:cxn>
                <a:cxn ang="0">
                  <a:pos x="T2" y="T3"/>
                </a:cxn>
                <a:cxn ang="0">
                  <a:pos x="T4" y="T5"/>
                </a:cxn>
                <a:cxn ang="0">
                  <a:pos x="T6" y="T7"/>
                </a:cxn>
                <a:cxn ang="0">
                  <a:pos x="T8" y="T9"/>
                </a:cxn>
                <a:cxn ang="0">
                  <a:pos x="T10" y="T11"/>
                </a:cxn>
              </a:cxnLst>
              <a:rect l="0" t="0" r="r" b="b"/>
              <a:pathLst>
                <a:path w="38" h="57">
                  <a:moveTo>
                    <a:pt x="26" y="0"/>
                  </a:moveTo>
                  <a:lnTo>
                    <a:pt x="0" y="36"/>
                  </a:lnTo>
                  <a:lnTo>
                    <a:pt x="12" y="57"/>
                  </a:lnTo>
                  <a:lnTo>
                    <a:pt x="38" y="21"/>
                  </a:lnTo>
                  <a:lnTo>
                    <a:pt x="38" y="11"/>
                  </a:lnTo>
                  <a:lnTo>
                    <a:pt x="26" y="0"/>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85" name="Freeform 6169">
              <a:extLst>
                <a:ext uri="{FF2B5EF4-FFF2-40B4-BE49-F238E27FC236}">
                  <a16:creationId xmlns:a16="http://schemas.microsoft.com/office/drawing/2014/main" id="{165CE781-1F3B-3AE2-5CB7-FC7D158D0555}"/>
                </a:ext>
              </a:extLst>
            </p:cNvPr>
            <p:cNvSpPr>
              <a:spLocks/>
            </p:cNvSpPr>
            <p:nvPr/>
          </p:nvSpPr>
          <p:spPr bwMode="gray">
            <a:xfrm>
              <a:off x="6174008" y="3233917"/>
              <a:ext cx="93039" cy="60935"/>
            </a:xfrm>
            <a:custGeom>
              <a:avLst/>
              <a:gdLst>
                <a:gd name="T0" fmla="*/ 0 w 111"/>
                <a:gd name="T1" fmla="*/ 60 h 78"/>
                <a:gd name="T2" fmla="*/ 42 w 111"/>
                <a:gd name="T3" fmla="*/ 45 h 78"/>
                <a:gd name="T4" fmla="*/ 68 w 111"/>
                <a:gd name="T5" fmla="*/ 0 h 78"/>
                <a:gd name="T6" fmla="*/ 111 w 111"/>
                <a:gd name="T7" fmla="*/ 39 h 78"/>
                <a:gd name="T8" fmla="*/ 83 w 111"/>
                <a:gd name="T9" fmla="*/ 78 h 78"/>
                <a:gd name="T10" fmla="*/ 71 w 111"/>
                <a:gd name="T11" fmla="*/ 78 h 78"/>
                <a:gd name="T12" fmla="*/ 50 w 111"/>
                <a:gd name="T13" fmla="*/ 59 h 78"/>
                <a:gd name="T14" fmla="*/ 18 w 111"/>
                <a:gd name="T15" fmla="*/ 74 h 78"/>
                <a:gd name="T16" fmla="*/ 2 w 111"/>
                <a:gd name="T17" fmla="*/ 75 h 78"/>
                <a:gd name="T18" fmla="*/ 0 w 111"/>
                <a:gd name="T19" fmla="*/ 6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78">
                  <a:moveTo>
                    <a:pt x="0" y="60"/>
                  </a:moveTo>
                  <a:lnTo>
                    <a:pt x="42" y="45"/>
                  </a:lnTo>
                  <a:lnTo>
                    <a:pt x="68" y="0"/>
                  </a:lnTo>
                  <a:lnTo>
                    <a:pt x="111" y="39"/>
                  </a:lnTo>
                  <a:lnTo>
                    <a:pt x="83" y="78"/>
                  </a:lnTo>
                  <a:lnTo>
                    <a:pt x="71" y="78"/>
                  </a:lnTo>
                  <a:lnTo>
                    <a:pt x="50" y="59"/>
                  </a:lnTo>
                  <a:lnTo>
                    <a:pt x="18" y="74"/>
                  </a:lnTo>
                  <a:lnTo>
                    <a:pt x="2" y="75"/>
                  </a:lnTo>
                  <a:lnTo>
                    <a:pt x="0" y="60"/>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86" name="Freeform 6170">
              <a:extLst>
                <a:ext uri="{FF2B5EF4-FFF2-40B4-BE49-F238E27FC236}">
                  <a16:creationId xmlns:a16="http://schemas.microsoft.com/office/drawing/2014/main" id="{DD882771-B3ED-34A1-0B8E-A76C1D2E6207}"/>
                </a:ext>
              </a:extLst>
            </p:cNvPr>
            <p:cNvSpPr>
              <a:spLocks/>
            </p:cNvSpPr>
            <p:nvPr/>
          </p:nvSpPr>
          <p:spPr bwMode="gray">
            <a:xfrm>
              <a:off x="6460878" y="3049625"/>
              <a:ext cx="24810" cy="20807"/>
            </a:xfrm>
            <a:custGeom>
              <a:avLst/>
              <a:gdLst>
                <a:gd name="T0" fmla="*/ 0 w 30"/>
                <a:gd name="T1" fmla="*/ 12 h 27"/>
                <a:gd name="T2" fmla="*/ 6 w 30"/>
                <a:gd name="T3" fmla="*/ 27 h 27"/>
                <a:gd name="T4" fmla="*/ 30 w 30"/>
                <a:gd name="T5" fmla="*/ 13 h 27"/>
                <a:gd name="T6" fmla="*/ 13 w 30"/>
                <a:gd name="T7" fmla="*/ 0 h 27"/>
                <a:gd name="T8" fmla="*/ 0 w 30"/>
                <a:gd name="T9" fmla="*/ 12 h 27"/>
              </a:gdLst>
              <a:ahLst/>
              <a:cxnLst>
                <a:cxn ang="0">
                  <a:pos x="T0" y="T1"/>
                </a:cxn>
                <a:cxn ang="0">
                  <a:pos x="T2" y="T3"/>
                </a:cxn>
                <a:cxn ang="0">
                  <a:pos x="T4" y="T5"/>
                </a:cxn>
                <a:cxn ang="0">
                  <a:pos x="T6" y="T7"/>
                </a:cxn>
                <a:cxn ang="0">
                  <a:pos x="T8" y="T9"/>
                </a:cxn>
              </a:cxnLst>
              <a:rect l="0" t="0" r="r" b="b"/>
              <a:pathLst>
                <a:path w="30" h="27">
                  <a:moveTo>
                    <a:pt x="0" y="12"/>
                  </a:moveTo>
                  <a:lnTo>
                    <a:pt x="6" y="27"/>
                  </a:lnTo>
                  <a:lnTo>
                    <a:pt x="30" y="13"/>
                  </a:lnTo>
                  <a:lnTo>
                    <a:pt x="13" y="0"/>
                  </a:lnTo>
                  <a:lnTo>
                    <a:pt x="0" y="12"/>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87" name="Freeform 6171">
              <a:extLst>
                <a:ext uri="{FF2B5EF4-FFF2-40B4-BE49-F238E27FC236}">
                  <a16:creationId xmlns:a16="http://schemas.microsoft.com/office/drawing/2014/main" id="{B07B00B7-BC4C-526E-3EB1-4338E54D44CD}"/>
                </a:ext>
              </a:extLst>
            </p:cNvPr>
            <p:cNvSpPr>
              <a:spLocks/>
            </p:cNvSpPr>
            <p:nvPr/>
          </p:nvSpPr>
          <p:spPr bwMode="gray">
            <a:xfrm>
              <a:off x="6487239" y="3030305"/>
              <a:ext cx="26361" cy="22293"/>
            </a:xfrm>
            <a:custGeom>
              <a:avLst/>
              <a:gdLst>
                <a:gd name="T0" fmla="*/ 0 w 32"/>
                <a:gd name="T1" fmla="*/ 7 h 28"/>
                <a:gd name="T2" fmla="*/ 9 w 32"/>
                <a:gd name="T3" fmla="*/ 28 h 28"/>
                <a:gd name="T4" fmla="*/ 32 w 32"/>
                <a:gd name="T5" fmla="*/ 21 h 28"/>
                <a:gd name="T6" fmla="*/ 27 w 32"/>
                <a:gd name="T7" fmla="*/ 0 h 28"/>
                <a:gd name="T8" fmla="*/ 0 w 32"/>
                <a:gd name="T9" fmla="*/ 7 h 28"/>
              </a:gdLst>
              <a:ahLst/>
              <a:cxnLst>
                <a:cxn ang="0">
                  <a:pos x="T0" y="T1"/>
                </a:cxn>
                <a:cxn ang="0">
                  <a:pos x="T2" y="T3"/>
                </a:cxn>
                <a:cxn ang="0">
                  <a:pos x="T4" y="T5"/>
                </a:cxn>
                <a:cxn ang="0">
                  <a:pos x="T6" y="T7"/>
                </a:cxn>
                <a:cxn ang="0">
                  <a:pos x="T8" y="T9"/>
                </a:cxn>
              </a:cxnLst>
              <a:rect l="0" t="0" r="r" b="b"/>
              <a:pathLst>
                <a:path w="32" h="28">
                  <a:moveTo>
                    <a:pt x="0" y="7"/>
                  </a:moveTo>
                  <a:lnTo>
                    <a:pt x="9" y="28"/>
                  </a:lnTo>
                  <a:lnTo>
                    <a:pt x="32" y="21"/>
                  </a:lnTo>
                  <a:lnTo>
                    <a:pt x="27" y="0"/>
                  </a:lnTo>
                  <a:lnTo>
                    <a:pt x="0" y="7"/>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88" name="Freeform 6172">
              <a:extLst>
                <a:ext uri="{FF2B5EF4-FFF2-40B4-BE49-F238E27FC236}">
                  <a16:creationId xmlns:a16="http://schemas.microsoft.com/office/drawing/2014/main" id="{5DB12FB4-D125-D34E-A780-B68290AA64A6}"/>
                </a:ext>
              </a:extLst>
            </p:cNvPr>
            <p:cNvSpPr>
              <a:spLocks/>
            </p:cNvSpPr>
            <p:nvPr/>
          </p:nvSpPr>
          <p:spPr bwMode="gray">
            <a:xfrm>
              <a:off x="5815808" y="2695906"/>
              <a:ext cx="648171" cy="439921"/>
            </a:xfrm>
            <a:custGeom>
              <a:avLst/>
              <a:gdLst>
                <a:gd name="T0" fmla="*/ 38 w 780"/>
                <a:gd name="T1" fmla="*/ 542 h 556"/>
                <a:gd name="T2" fmla="*/ 42 w 780"/>
                <a:gd name="T3" fmla="*/ 480 h 556"/>
                <a:gd name="T4" fmla="*/ 0 w 780"/>
                <a:gd name="T5" fmla="*/ 406 h 556"/>
                <a:gd name="T6" fmla="*/ 46 w 780"/>
                <a:gd name="T7" fmla="*/ 384 h 556"/>
                <a:gd name="T8" fmla="*/ 62 w 780"/>
                <a:gd name="T9" fmla="*/ 332 h 556"/>
                <a:gd name="T10" fmla="*/ 80 w 780"/>
                <a:gd name="T11" fmla="*/ 322 h 556"/>
                <a:gd name="T12" fmla="*/ 90 w 780"/>
                <a:gd name="T13" fmla="*/ 342 h 556"/>
                <a:gd name="T14" fmla="*/ 162 w 780"/>
                <a:gd name="T15" fmla="*/ 318 h 556"/>
                <a:gd name="T16" fmla="*/ 198 w 780"/>
                <a:gd name="T17" fmla="*/ 302 h 556"/>
                <a:gd name="T18" fmla="*/ 242 w 780"/>
                <a:gd name="T19" fmla="*/ 300 h 556"/>
                <a:gd name="T20" fmla="*/ 256 w 780"/>
                <a:gd name="T21" fmla="*/ 264 h 556"/>
                <a:gd name="T22" fmla="*/ 274 w 780"/>
                <a:gd name="T23" fmla="*/ 234 h 556"/>
                <a:gd name="T24" fmla="*/ 316 w 780"/>
                <a:gd name="T25" fmla="*/ 214 h 556"/>
                <a:gd name="T26" fmla="*/ 330 w 780"/>
                <a:gd name="T27" fmla="*/ 222 h 556"/>
                <a:gd name="T28" fmla="*/ 348 w 780"/>
                <a:gd name="T29" fmla="*/ 194 h 556"/>
                <a:gd name="T30" fmla="*/ 306 w 780"/>
                <a:gd name="T31" fmla="*/ 168 h 556"/>
                <a:gd name="T32" fmla="*/ 322 w 780"/>
                <a:gd name="T33" fmla="*/ 146 h 556"/>
                <a:gd name="T34" fmla="*/ 324 w 780"/>
                <a:gd name="T35" fmla="*/ 130 h 556"/>
                <a:gd name="T36" fmla="*/ 360 w 780"/>
                <a:gd name="T37" fmla="*/ 116 h 556"/>
                <a:gd name="T38" fmla="*/ 364 w 780"/>
                <a:gd name="T39" fmla="*/ 92 h 556"/>
                <a:gd name="T40" fmla="*/ 432 w 780"/>
                <a:gd name="T41" fmla="*/ 56 h 556"/>
                <a:gd name="T42" fmla="*/ 496 w 780"/>
                <a:gd name="T43" fmla="*/ 0 h 556"/>
                <a:gd name="T44" fmla="*/ 546 w 780"/>
                <a:gd name="T45" fmla="*/ 46 h 556"/>
                <a:gd name="T46" fmla="*/ 526 w 780"/>
                <a:gd name="T47" fmla="*/ 128 h 556"/>
                <a:gd name="T48" fmla="*/ 612 w 780"/>
                <a:gd name="T49" fmla="*/ 88 h 556"/>
                <a:gd name="T50" fmla="*/ 714 w 780"/>
                <a:gd name="T51" fmla="*/ 70 h 556"/>
                <a:gd name="T52" fmla="*/ 704 w 780"/>
                <a:gd name="T53" fmla="*/ 90 h 556"/>
                <a:gd name="T54" fmla="*/ 708 w 780"/>
                <a:gd name="T55" fmla="*/ 102 h 556"/>
                <a:gd name="T56" fmla="*/ 724 w 780"/>
                <a:gd name="T57" fmla="*/ 92 h 556"/>
                <a:gd name="T58" fmla="*/ 764 w 780"/>
                <a:gd name="T59" fmla="*/ 116 h 556"/>
                <a:gd name="T60" fmla="*/ 780 w 780"/>
                <a:gd name="T61" fmla="*/ 144 h 556"/>
                <a:gd name="T62" fmla="*/ 758 w 780"/>
                <a:gd name="T63" fmla="*/ 150 h 556"/>
                <a:gd name="T64" fmla="*/ 776 w 780"/>
                <a:gd name="T65" fmla="*/ 174 h 556"/>
                <a:gd name="T66" fmla="*/ 754 w 780"/>
                <a:gd name="T67" fmla="*/ 188 h 556"/>
                <a:gd name="T68" fmla="*/ 754 w 780"/>
                <a:gd name="T69" fmla="*/ 204 h 556"/>
                <a:gd name="T70" fmla="*/ 704 w 780"/>
                <a:gd name="T71" fmla="*/ 230 h 556"/>
                <a:gd name="T72" fmla="*/ 704 w 780"/>
                <a:gd name="T73" fmla="*/ 278 h 556"/>
                <a:gd name="T74" fmla="*/ 686 w 780"/>
                <a:gd name="T75" fmla="*/ 282 h 556"/>
                <a:gd name="T76" fmla="*/ 644 w 780"/>
                <a:gd name="T77" fmla="*/ 268 h 556"/>
                <a:gd name="T78" fmla="*/ 608 w 780"/>
                <a:gd name="T79" fmla="*/ 292 h 556"/>
                <a:gd name="T80" fmla="*/ 520 w 780"/>
                <a:gd name="T81" fmla="*/ 332 h 556"/>
                <a:gd name="T82" fmla="*/ 522 w 780"/>
                <a:gd name="T83" fmla="*/ 380 h 556"/>
                <a:gd name="T84" fmla="*/ 488 w 780"/>
                <a:gd name="T85" fmla="*/ 392 h 556"/>
                <a:gd name="T86" fmla="*/ 484 w 780"/>
                <a:gd name="T87" fmla="*/ 412 h 556"/>
                <a:gd name="T88" fmla="*/ 466 w 780"/>
                <a:gd name="T89" fmla="*/ 416 h 556"/>
                <a:gd name="T90" fmla="*/ 394 w 780"/>
                <a:gd name="T91" fmla="*/ 480 h 556"/>
                <a:gd name="T92" fmla="*/ 382 w 780"/>
                <a:gd name="T93" fmla="*/ 508 h 556"/>
                <a:gd name="T94" fmla="*/ 368 w 780"/>
                <a:gd name="T95" fmla="*/ 506 h 556"/>
                <a:gd name="T96" fmla="*/ 374 w 780"/>
                <a:gd name="T97" fmla="*/ 468 h 556"/>
                <a:gd name="T98" fmla="*/ 344 w 780"/>
                <a:gd name="T99" fmla="*/ 438 h 556"/>
                <a:gd name="T100" fmla="*/ 348 w 780"/>
                <a:gd name="T101" fmla="*/ 396 h 556"/>
                <a:gd name="T102" fmla="*/ 294 w 780"/>
                <a:gd name="T103" fmla="*/ 418 h 556"/>
                <a:gd name="T104" fmla="*/ 240 w 780"/>
                <a:gd name="T105" fmla="*/ 478 h 556"/>
                <a:gd name="T106" fmla="*/ 198 w 780"/>
                <a:gd name="T107" fmla="*/ 488 h 556"/>
                <a:gd name="T108" fmla="*/ 68 w 780"/>
                <a:gd name="T109" fmla="*/ 556 h 556"/>
                <a:gd name="T110" fmla="*/ 38 w 780"/>
                <a:gd name="T111" fmla="*/ 542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0" h="556">
                  <a:moveTo>
                    <a:pt x="38" y="542"/>
                  </a:moveTo>
                  <a:lnTo>
                    <a:pt x="42" y="480"/>
                  </a:lnTo>
                  <a:lnTo>
                    <a:pt x="0" y="406"/>
                  </a:lnTo>
                  <a:lnTo>
                    <a:pt x="46" y="384"/>
                  </a:lnTo>
                  <a:lnTo>
                    <a:pt x="62" y="332"/>
                  </a:lnTo>
                  <a:lnTo>
                    <a:pt x="80" y="322"/>
                  </a:lnTo>
                  <a:lnTo>
                    <a:pt x="90" y="342"/>
                  </a:lnTo>
                  <a:lnTo>
                    <a:pt x="162" y="318"/>
                  </a:lnTo>
                  <a:lnTo>
                    <a:pt x="198" y="302"/>
                  </a:lnTo>
                  <a:lnTo>
                    <a:pt x="242" y="300"/>
                  </a:lnTo>
                  <a:lnTo>
                    <a:pt x="256" y="264"/>
                  </a:lnTo>
                  <a:lnTo>
                    <a:pt x="274" y="234"/>
                  </a:lnTo>
                  <a:lnTo>
                    <a:pt x="316" y="214"/>
                  </a:lnTo>
                  <a:lnTo>
                    <a:pt x="330" y="222"/>
                  </a:lnTo>
                  <a:lnTo>
                    <a:pt x="348" y="194"/>
                  </a:lnTo>
                  <a:lnTo>
                    <a:pt x="306" y="168"/>
                  </a:lnTo>
                  <a:lnTo>
                    <a:pt x="322" y="146"/>
                  </a:lnTo>
                  <a:lnTo>
                    <a:pt x="324" y="130"/>
                  </a:lnTo>
                  <a:lnTo>
                    <a:pt x="360" y="116"/>
                  </a:lnTo>
                  <a:lnTo>
                    <a:pt x="364" y="92"/>
                  </a:lnTo>
                  <a:lnTo>
                    <a:pt x="432" y="56"/>
                  </a:lnTo>
                  <a:lnTo>
                    <a:pt x="496" y="0"/>
                  </a:lnTo>
                  <a:lnTo>
                    <a:pt x="546" y="46"/>
                  </a:lnTo>
                  <a:lnTo>
                    <a:pt x="526" y="128"/>
                  </a:lnTo>
                  <a:lnTo>
                    <a:pt x="612" y="88"/>
                  </a:lnTo>
                  <a:lnTo>
                    <a:pt x="714" y="70"/>
                  </a:lnTo>
                  <a:lnTo>
                    <a:pt x="704" y="90"/>
                  </a:lnTo>
                  <a:lnTo>
                    <a:pt x="708" y="102"/>
                  </a:lnTo>
                  <a:lnTo>
                    <a:pt x="724" y="92"/>
                  </a:lnTo>
                  <a:lnTo>
                    <a:pt x="764" y="116"/>
                  </a:lnTo>
                  <a:lnTo>
                    <a:pt x="780" y="144"/>
                  </a:lnTo>
                  <a:lnTo>
                    <a:pt x="758" y="150"/>
                  </a:lnTo>
                  <a:lnTo>
                    <a:pt x="776" y="174"/>
                  </a:lnTo>
                  <a:lnTo>
                    <a:pt x="754" y="188"/>
                  </a:lnTo>
                  <a:lnTo>
                    <a:pt x="754" y="204"/>
                  </a:lnTo>
                  <a:lnTo>
                    <a:pt x="704" y="230"/>
                  </a:lnTo>
                  <a:lnTo>
                    <a:pt x="704" y="278"/>
                  </a:lnTo>
                  <a:lnTo>
                    <a:pt x="686" y="282"/>
                  </a:lnTo>
                  <a:lnTo>
                    <a:pt x="644" y="268"/>
                  </a:lnTo>
                  <a:lnTo>
                    <a:pt x="608" y="292"/>
                  </a:lnTo>
                  <a:lnTo>
                    <a:pt x="520" y="332"/>
                  </a:lnTo>
                  <a:lnTo>
                    <a:pt x="522" y="380"/>
                  </a:lnTo>
                  <a:lnTo>
                    <a:pt x="488" y="392"/>
                  </a:lnTo>
                  <a:lnTo>
                    <a:pt x="484" y="412"/>
                  </a:lnTo>
                  <a:lnTo>
                    <a:pt x="466" y="416"/>
                  </a:lnTo>
                  <a:lnTo>
                    <a:pt x="394" y="480"/>
                  </a:lnTo>
                  <a:lnTo>
                    <a:pt x="382" y="508"/>
                  </a:lnTo>
                  <a:lnTo>
                    <a:pt x="368" y="506"/>
                  </a:lnTo>
                  <a:lnTo>
                    <a:pt x="374" y="468"/>
                  </a:lnTo>
                  <a:lnTo>
                    <a:pt x="344" y="438"/>
                  </a:lnTo>
                  <a:lnTo>
                    <a:pt x="348" y="396"/>
                  </a:lnTo>
                  <a:lnTo>
                    <a:pt x="294" y="418"/>
                  </a:lnTo>
                  <a:lnTo>
                    <a:pt x="240" y="478"/>
                  </a:lnTo>
                  <a:lnTo>
                    <a:pt x="198" y="488"/>
                  </a:lnTo>
                  <a:lnTo>
                    <a:pt x="68" y="556"/>
                  </a:lnTo>
                  <a:lnTo>
                    <a:pt x="38" y="542"/>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89" name="Freeform 6173">
              <a:extLst>
                <a:ext uri="{FF2B5EF4-FFF2-40B4-BE49-F238E27FC236}">
                  <a16:creationId xmlns:a16="http://schemas.microsoft.com/office/drawing/2014/main" id="{E8A78883-E175-CF63-FB4E-64D5466274DD}"/>
                </a:ext>
              </a:extLst>
            </p:cNvPr>
            <p:cNvSpPr>
              <a:spLocks/>
            </p:cNvSpPr>
            <p:nvPr/>
          </p:nvSpPr>
          <p:spPr bwMode="gray">
            <a:xfrm>
              <a:off x="6409706" y="2975315"/>
              <a:ext cx="96140" cy="78770"/>
            </a:xfrm>
            <a:custGeom>
              <a:avLst/>
              <a:gdLst>
                <a:gd name="T0" fmla="*/ 0 w 114"/>
                <a:gd name="T1" fmla="*/ 66 h 98"/>
                <a:gd name="T2" fmla="*/ 32 w 114"/>
                <a:gd name="T3" fmla="*/ 36 h 98"/>
                <a:gd name="T4" fmla="*/ 94 w 114"/>
                <a:gd name="T5" fmla="*/ 0 h 98"/>
                <a:gd name="T6" fmla="*/ 114 w 114"/>
                <a:gd name="T7" fmla="*/ 36 h 98"/>
                <a:gd name="T8" fmla="*/ 58 w 114"/>
                <a:gd name="T9" fmla="*/ 74 h 98"/>
                <a:gd name="T10" fmla="*/ 24 w 114"/>
                <a:gd name="T11" fmla="*/ 98 h 98"/>
                <a:gd name="T12" fmla="*/ 0 w 114"/>
                <a:gd name="T13" fmla="*/ 66 h 98"/>
              </a:gdLst>
              <a:ahLst/>
              <a:cxnLst>
                <a:cxn ang="0">
                  <a:pos x="T0" y="T1"/>
                </a:cxn>
                <a:cxn ang="0">
                  <a:pos x="T2" y="T3"/>
                </a:cxn>
                <a:cxn ang="0">
                  <a:pos x="T4" y="T5"/>
                </a:cxn>
                <a:cxn ang="0">
                  <a:pos x="T6" y="T7"/>
                </a:cxn>
                <a:cxn ang="0">
                  <a:pos x="T8" y="T9"/>
                </a:cxn>
                <a:cxn ang="0">
                  <a:pos x="T10" y="T11"/>
                </a:cxn>
                <a:cxn ang="0">
                  <a:pos x="T12" y="T13"/>
                </a:cxn>
              </a:cxnLst>
              <a:rect l="0" t="0" r="r" b="b"/>
              <a:pathLst>
                <a:path w="114" h="98">
                  <a:moveTo>
                    <a:pt x="0" y="66"/>
                  </a:moveTo>
                  <a:lnTo>
                    <a:pt x="32" y="36"/>
                  </a:lnTo>
                  <a:lnTo>
                    <a:pt x="94" y="0"/>
                  </a:lnTo>
                  <a:lnTo>
                    <a:pt x="114" y="36"/>
                  </a:lnTo>
                  <a:lnTo>
                    <a:pt x="58" y="74"/>
                  </a:lnTo>
                  <a:lnTo>
                    <a:pt x="24" y="98"/>
                  </a:lnTo>
                  <a:lnTo>
                    <a:pt x="0" y="66"/>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90" name="Freeform 6174">
              <a:extLst>
                <a:ext uri="{FF2B5EF4-FFF2-40B4-BE49-F238E27FC236}">
                  <a16:creationId xmlns:a16="http://schemas.microsoft.com/office/drawing/2014/main" id="{669AD7F9-BF37-8BE1-D3B2-9399F7493BAD}"/>
                </a:ext>
              </a:extLst>
            </p:cNvPr>
            <p:cNvSpPr>
              <a:spLocks/>
            </p:cNvSpPr>
            <p:nvPr/>
          </p:nvSpPr>
          <p:spPr bwMode="gray">
            <a:xfrm>
              <a:off x="6160052" y="3068946"/>
              <a:ext cx="155065" cy="160512"/>
            </a:xfrm>
            <a:custGeom>
              <a:avLst/>
              <a:gdLst>
                <a:gd name="T0" fmla="*/ 29 w 186"/>
                <a:gd name="T1" fmla="*/ 97 h 205"/>
                <a:gd name="T2" fmla="*/ 0 w 186"/>
                <a:gd name="T3" fmla="*/ 145 h 205"/>
                <a:gd name="T4" fmla="*/ 5 w 186"/>
                <a:gd name="T5" fmla="*/ 166 h 205"/>
                <a:gd name="T6" fmla="*/ 54 w 186"/>
                <a:gd name="T7" fmla="*/ 205 h 205"/>
                <a:gd name="T8" fmla="*/ 92 w 186"/>
                <a:gd name="T9" fmla="*/ 183 h 205"/>
                <a:gd name="T10" fmla="*/ 122 w 186"/>
                <a:gd name="T11" fmla="*/ 204 h 205"/>
                <a:gd name="T12" fmla="*/ 149 w 186"/>
                <a:gd name="T13" fmla="*/ 195 h 205"/>
                <a:gd name="T14" fmla="*/ 158 w 186"/>
                <a:gd name="T15" fmla="*/ 193 h 205"/>
                <a:gd name="T16" fmla="*/ 186 w 186"/>
                <a:gd name="T17" fmla="*/ 159 h 205"/>
                <a:gd name="T18" fmla="*/ 176 w 186"/>
                <a:gd name="T19" fmla="*/ 141 h 205"/>
                <a:gd name="T20" fmla="*/ 158 w 186"/>
                <a:gd name="T21" fmla="*/ 151 h 205"/>
                <a:gd name="T22" fmla="*/ 159 w 186"/>
                <a:gd name="T23" fmla="*/ 90 h 205"/>
                <a:gd name="T24" fmla="*/ 174 w 186"/>
                <a:gd name="T25" fmla="*/ 67 h 205"/>
                <a:gd name="T26" fmla="*/ 167 w 186"/>
                <a:gd name="T27" fmla="*/ 55 h 205"/>
                <a:gd name="T28" fmla="*/ 140 w 186"/>
                <a:gd name="T29" fmla="*/ 55 h 205"/>
                <a:gd name="T30" fmla="*/ 134 w 186"/>
                <a:gd name="T31" fmla="*/ 43 h 205"/>
                <a:gd name="T32" fmla="*/ 170 w 186"/>
                <a:gd name="T33" fmla="*/ 31 h 205"/>
                <a:gd name="T34" fmla="*/ 143 w 186"/>
                <a:gd name="T35" fmla="*/ 6 h 205"/>
                <a:gd name="T36" fmla="*/ 140 w 186"/>
                <a:gd name="T37" fmla="*/ 0 h 205"/>
                <a:gd name="T38" fmla="*/ 68 w 186"/>
                <a:gd name="T39" fmla="*/ 81 h 205"/>
                <a:gd name="T40" fmla="*/ 29 w 186"/>
                <a:gd name="T41" fmla="*/ 9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6" h="205">
                  <a:moveTo>
                    <a:pt x="29" y="97"/>
                  </a:moveTo>
                  <a:lnTo>
                    <a:pt x="0" y="145"/>
                  </a:lnTo>
                  <a:lnTo>
                    <a:pt x="5" y="166"/>
                  </a:lnTo>
                  <a:lnTo>
                    <a:pt x="54" y="205"/>
                  </a:lnTo>
                  <a:lnTo>
                    <a:pt x="92" y="183"/>
                  </a:lnTo>
                  <a:lnTo>
                    <a:pt x="122" y="204"/>
                  </a:lnTo>
                  <a:lnTo>
                    <a:pt x="149" y="195"/>
                  </a:lnTo>
                  <a:lnTo>
                    <a:pt x="158" y="193"/>
                  </a:lnTo>
                  <a:lnTo>
                    <a:pt x="186" y="159"/>
                  </a:lnTo>
                  <a:lnTo>
                    <a:pt x="176" y="141"/>
                  </a:lnTo>
                  <a:lnTo>
                    <a:pt x="158" y="151"/>
                  </a:lnTo>
                  <a:lnTo>
                    <a:pt x="159" y="90"/>
                  </a:lnTo>
                  <a:lnTo>
                    <a:pt x="174" y="67"/>
                  </a:lnTo>
                  <a:lnTo>
                    <a:pt x="167" y="55"/>
                  </a:lnTo>
                  <a:lnTo>
                    <a:pt x="140" y="55"/>
                  </a:lnTo>
                  <a:lnTo>
                    <a:pt x="134" y="43"/>
                  </a:lnTo>
                  <a:lnTo>
                    <a:pt x="170" y="31"/>
                  </a:lnTo>
                  <a:lnTo>
                    <a:pt x="143" y="6"/>
                  </a:lnTo>
                  <a:lnTo>
                    <a:pt x="140" y="0"/>
                  </a:lnTo>
                  <a:lnTo>
                    <a:pt x="68" y="81"/>
                  </a:lnTo>
                  <a:lnTo>
                    <a:pt x="29" y="97"/>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91" name="Freeform 6175">
              <a:extLst>
                <a:ext uri="{FF2B5EF4-FFF2-40B4-BE49-F238E27FC236}">
                  <a16:creationId xmlns:a16="http://schemas.microsoft.com/office/drawing/2014/main" id="{8E6D201C-81CC-D806-9CF0-38A7D0B9824E}"/>
                </a:ext>
              </a:extLst>
            </p:cNvPr>
            <p:cNvSpPr>
              <a:spLocks/>
            </p:cNvSpPr>
            <p:nvPr/>
          </p:nvSpPr>
          <p:spPr bwMode="gray">
            <a:xfrm>
              <a:off x="6174008" y="2909921"/>
              <a:ext cx="572189" cy="783237"/>
            </a:xfrm>
            <a:custGeom>
              <a:avLst/>
              <a:gdLst>
                <a:gd name="T0" fmla="*/ 198 w 687"/>
                <a:gd name="T1" fmla="*/ 243 h 987"/>
                <a:gd name="T2" fmla="*/ 228 w 687"/>
                <a:gd name="T3" fmla="*/ 230 h 987"/>
                <a:gd name="T4" fmla="*/ 237 w 687"/>
                <a:gd name="T5" fmla="*/ 306 h 987"/>
                <a:gd name="T6" fmla="*/ 207 w 687"/>
                <a:gd name="T7" fmla="*/ 312 h 987"/>
                <a:gd name="T8" fmla="*/ 207 w 687"/>
                <a:gd name="T9" fmla="*/ 365 h 987"/>
                <a:gd name="T10" fmla="*/ 157 w 687"/>
                <a:gd name="T11" fmla="*/ 423 h 987"/>
                <a:gd name="T12" fmla="*/ 142 w 687"/>
                <a:gd name="T13" fmla="*/ 434 h 987"/>
                <a:gd name="T14" fmla="*/ 177 w 687"/>
                <a:gd name="T15" fmla="*/ 462 h 987"/>
                <a:gd name="T16" fmla="*/ 85 w 687"/>
                <a:gd name="T17" fmla="*/ 546 h 987"/>
                <a:gd name="T18" fmla="*/ 45 w 687"/>
                <a:gd name="T19" fmla="*/ 597 h 987"/>
                <a:gd name="T20" fmla="*/ 10 w 687"/>
                <a:gd name="T21" fmla="*/ 623 h 987"/>
                <a:gd name="T22" fmla="*/ 0 w 687"/>
                <a:gd name="T23" fmla="*/ 746 h 987"/>
                <a:gd name="T24" fmla="*/ 75 w 687"/>
                <a:gd name="T25" fmla="*/ 734 h 987"/>
                <a:gd name="T26" fmla="*/ 126 w 687"/>
                <a:gd name="T27" fmla="*/ 759 h 987"/>
                <a:gd name="T28" fmla="*/ 78 w 687"/>
                <a:gd name="T29" fmla="*/ 830 h 987"/>
                <a:gd name="T30" fmla="*/ 37 w 687"/>
                <a:gd name="T31" fmla="*/ 807 h 987"/>
                <a:gd name="T32" fmla="*/ 28 w 687"/>
                <a:gd name="T33" fmla="*/ 849 h 987"/>
                <a:gd name="T34" fmla="*/ 70 w 687"/>
                <a:gd name="T35" fmla="*/ 893 h 987"/>
                <a:gd name="T36" fmla="*/ 112 w 687"/>
                <a:gd name="T37" fmla="*/ 873 h 987"/>
                <a:gd name="T38" fmla="*/ 177 w 687"/>
                <a:gd name="T39" fmla="*/ 879 h 987"/>
                <a:gd name="T40" fmla="*/ 222 w 687"/>
                <a:gd name="T41" fmla="*/ 956 h 987"/>
                <a:gd name="T42" fmla="*/ 268 w 687"/>
                <a:gd name="T43" fmla="*/ 974 h 987"/>
                <a:gd name="T44" fmla="*/ 315 w 687"/>
                <a:gd name="T45" fmla="*/ 897 h 987"/>
                <a:gd name="T46" fmla="*/ 391 w 687"/>
                <a:gd name="T47" fmla="*/ 873 h 987"/>
                <a:gd name="T48" fmla="*/ 472 w 687"/>
                <a:gd name="T49" fmla="*/ 806 h 987"/>
                <a:gd name="T50" fmla="*/ 576 w 687"/>
                <a:gd name="T51" fmla="*/ 732 h 987"/>
                <a:gd name="T52" fmla="*/ 622 w 687"/>
                <a:gd name="T53" fmla="*/ 710 h 987"/>
                <a:gd name="T54" fmla="*/ 631 w 687"/>
                <a:gd name="T55" fmla="*/ 635 h 987"/>
                <a:gd name="T56" fmla="*/ 652 w 687"/>
                <a:gd name="T57" fmla="*/ 611 h 987"/>
                <a:gd name="T58" fmla="*/ 681 w 687"/>
                <a:gd name="T59" fmla="*/ 605 h 987"/>
                <a:gd name="T60" fmla="*/ 651 w 687"/>
                <a:gd name="T61" fmla="*/ 531 h 987"/>
                <a:gd name="T62" fmla="*/ 597 w 687"/>
                <a:gd name="T63" fmla="*/ 492 h 987"/>
                <a:gd name="T64" fmla="*/ 607 w 687"/>
                <a:gd name="T65" fmla="*/ 431 h 987"/>
                <a:gd name="T66" fmla="*/ 601 w 687"/>
                <a:gd name="T67" fmla="*/ 395 h 987"/>
                <a:gd name="T68" fmla="*/ 625 w 687"/>
                <a:gd name="T69" fmla="*/ 314 h 987"/>
                <a:gd name="T70" fmla="*/ 600 w 687"/>
                <a:gd name="T71" fmla="*/ 270 h 987"/>
                <a:gd name="T72" fmla="*/ 633 w 687"/>
                <a:gd name="T73" fmla="*/ 252 h 987"/>
                <a:gd name="T74" fmla="*/ 657 w 687"/>
                <a:gd name="T75" fmla="*/ 266 h 987"/>
                <a:gd name="T76" fmla="*/ 657 w 687"/>
                <a:gd name="T77" fmla="*/ 210 h 987"/>
                <a:gd name="T78" fmla="*/ 529 w 687"/>
                <a:gd name="T79" fmla="*/ 177 h 987"/>
                <a:gd name="T80" fmla="*/ 468 w 687"/>
                <a:gd name="T81" fmla="*/ 174 h 987"/>
                <a:gd name="T82" fmla="*/ 489 w 687"/>
                <a:gd name="T83" fmla="*/ 147 h 987"/>
                <a:gd name="T84" fmla="*/ 484 w 687"/>
                <a:gd name="T85" fmla="*/ 90 h 987"/>
                <a:gd name="T86" fmla="*/ 463 w 687"/>
                <a:gd name="T87" fmla="*/ 72 h 987"/>
                <a:gd name="T88" fmla="*/ 522 w 687"/>
                <a:gd name="T89" fmla="*/ 36 h 987"/>
                <a:gd name="T90" fmla="*/ 394 w 687"/>
                <a:gd name="T91" fmla="*/ 44 h 987"/>
                <a:gd name="T92" fmla="*/ 316 w 687"/>
                <a:gd name="T93" fmla="*/ 62 h 987"/>
                <a:gd name="T94" fmla="*/ 376 w 687"/>
                <a:gd name="T95" fmla="*/ 84 h 987"/>
                <a:gd name="T96" fmla="*/ 343 w 687"/>
                <a:gd name="T97" fmla="*/ 155 h 987"/>
                <a:gd name="T98" fmla="*/ 376 w 687"/>
                <a:gd name="T99" fmla="*/ 189 h 987"/>
                <a:gd name="T100" fmla="*/ 342 w 687"/>
                <a:gd name="T101" fmla="*/ 189 h 987"/>
                <a:gd name="T102" fmla="*/ 330 w 687"/>
                <a:gd name="T103" fmla="*/ 243 h 987"/>
                <a:gd name="T104" fmla="*/ 289 w 687"/>
                <a:gd name="T105" fmla="*/ 281 h 987"/>
                <a:gd name="T106" fmla="*/ 268 w 687"/>
                <a:gd name="T107" fmla="*/ 219 h 987"/>
                <a:gd name="T108" fmla="*/ 244 w 687"/>
                <a:gd name="T109" fmla="*/ 221 h 987"/>
                <a:gd name="T110" fmla="*/ 232 w 687"/>
                <a:gd name="T111" fmla="*/ 171 h 987"/>
                <a:gd name="T112" fmla="*/ 225 w 687"/>
                <a:gd name="T113" fmla="*/ 141 h 987"/>
                <a:gd name="T114" fmla="*/ 202 w 687"/>
                <a:gd name="T115" fmla="*/ 137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7" h="987">
                  <a:moveTo>
                    <a:pt x="156" y="177"/>
                  </a:moveTo>
                  <a:lnTo>
                    <a:pt x="198" y="243"/>
                  </a:lnTo>
                  <a:lnTo>
                    <a:pt x="204" y="210"/>
                  </a:lnTo>
                  <a:lnTo>
                    <a:pt x="228" y="230"/>
                  </a:lnTo>
                  <a:lnTo>
                    <a:pt x="222" y="282"/>
                  </a:lnTo>
                  <a:lnTo>
                    <a:pt x="237" y="306"/>
                  </a:lnTo>
                  <a:lnTo>
                    <a:pt x="234" y="318"/>
                  </a:lnTo>
                  <a:lnTo>
                    <a:pt x="207" y="312"/>
                  </a:lnTo>
                  <a:lnTo>
                    <a:pt x="198" y="333"/>
                  </a:lnTo>
                  <a:lnTo>
                    <a:pt x="207" y="365"/>
                  </a:lnTo>
                  <a:lnTo>
                    <a:pt x="178" y="387"/>
                  </a:lnTo>
                  <a:lnTo>
                    <a:pt x="157" y="423"/>
                  </a:lnTo>
                  <a:lnTo>
                    <a:pt x="141" y="422"/>
                  </a:lnTo>
                  <a:lnTo>
                    <a:pt x="142" y="434"/>
                  </a:lnTo>
                  <a:lnTo>
                    <a:pt x="159" y="432"/>
                  </a:lnTo>
                  <a:lnTo>
                    <a:pt x="177" y="462"/>
                  </a:lnTo>
                  <a:lnTo>
                    <a:pt x="105" y="555"/>
                  </a:lnTo>
                  <a:lnTo>
                    <a:pt x="85" y="546"/>
                  </a:lnTo>
                  <a:lnTo>
                    <a:pt x="85" y="605"/>
                  </a:lnTo>
                  <a:lnTo>
                    <a:pt x="45" y="597"/>
                  </a:lnTo>
                  <a:lnTo>
                    <a:pt x="31" y="623"/>
                  </a:lnTo>
                  <a:lnTo>
                    <a:pt x="10" y="623"/>
                  </a:lnTo>
                  <a:lnTo>
                    <a:pt x="10" y="696"/>
                  </a:lnTo>
                  <a:lnTo>
                    <a:pt x="0" y="746"/>
                  </a:lnTo>
                  <a:lnTo>
                    <a:pt x="33" y="734"/>
                  </a:lnTo>
                  <a:lnTo>
                    <a:pt x="75" y="734"/>
                  </a:lnTo>
                  <a:lnTo>
                    <a:pt x="94" y="765"/>
                  </a:lnTo>
                  <a:lnTo>
                    <a:pt x="126" y="759"/>
                  </a:lnTo>
                  <a:lnTo>
                    <a:pt x="132" y="783"/>
                  </a:lnTo>
                  <a:lnTo>
                    <a:pt x="78" y="830"/>
                  </a:lnTo>
                  <a:lnTo>
                    <a:pt x="69" y="804"/>
                  </a:lnTo>
                  <a:lnTo>
                    <a:pt x="37" y="807"/>
                  </a:lnTo>
                  <a:lnTo>
                    <a:pt x="24" y="825"/>
                  </a:lnTo>
                  <a:lnTo>
                    <a:pt x="28" y="849"/>
                  </a:lnTo>
                  <a:lnTo>
                    <a:pt x="51" y="858"/>
                  </a:lnTo>
                  <a:lnTo>
                    <a:pt x="70" y="893"/>
                  </a:lnTo>
                  <a:lnTo>
                    <a:pt x="106" y="852"/>
                  </a:lnTo>
                  <a:lnTo>
                    <a:pt x="112" y="873"/>
                  </a:lnTo>
                  <a:lnTo>
                    <a:pt x="124" y="858"/>
                  </a:lnTo>
                  <a:lnTo>
                    <a:pt x="177" y="879"/>
                  </a:lnTo>
                  <a:lnTo>
                    <a:pt x="207" y="903"/>
                  </a:lnTo>
                  <a:lnTo>
                    <a:pt x="222" y="956"/>
                  </a:lnTo>
                  <a:lnTo>
                    <a:pt x="223" y="987"/>
                  </a:lnTo>
                  <a:lnTo>
                    <a:pt x="268" y="974"/>
                  </a:lnTo>
                  <a:lnTo>
                    <a:pt x="273" y="936"/>
                  </a:lnTo>
                  <a:lnTo>
                    <a:pt x="315" y="897"/>
                  </a:lnTo>
                  <a:lnTo>
                    <a:pt x="351" y="903"/>
                  </a:lnTo>
                  <a:lnTo>
                    <a:pt x="391" y="873"/>
                  </a:lnTo>
                  <a:lnTo>
                    <a:pt x="417" y="828"/>
                  </a:lnTo>
                  <a:lnTo>
                    <a:pt x="472" y="806"/>
                  </a:lnTo>
                  <a:lnTo>
                    <a:pt x="484" y="816"/>
                  </a:lnTo>
                  <a:lnTo>
                    <a:pt x="576" y="732"/>
                  </a:lnTo>
                  <a:lnTo>
                    <a:pt x="595" y="735"/>
                  </a:lnTo>
                  <a:lnTo>
                    <a:pt x="622" y="710"/>
                  </a:lnTo>
                  <a:lnTo>
                    <a:pt x="615" y="635"/>
                  </a:lnTo>
                  <a:lnTo>
                    <a:pt x="631" y="635"/>
                  </a:lnTo>
                  <a:lnTo>
                    <a:pt x="624" y="606"/>
                  </a:lnTo>
                  <a:lnTo>
                    <a:pt x="652" y="611"/>
                  </a:lnTo>
                  <a:lnTo>
                    <a:pt x="657" y="641"/>
                  </a:lnTo>
                  <a:lnTo>
                    <a:pt x="681" y="605"/>
                  </a:lnTo>
                  <a:lnTo>
                    <a:pt x="687" y="542"/>
                  </a:lnTo>
                  <a:lnTo>
                    <a:pt x="651" y="531"/>
                  </a:lnTo>
                  <a:lnTo>
                    <a:pt x="655" y="504"/>
                  </a:lnTo>
                  <a:lnTo>
                    <a:pt x="597" y="492"/>
                  </a:lnTo>
                  <a:lnTo>
                    <a:pt x="595" y="471"/>
                  </a:lnTo>
                  <a:lnTo>
                    <a:pt x="607" y="431"/>
                  </a:lnTo>
                  <a:lnTo>
                    <a:pt x="589" y="407"/>
                  </a:lnTo>
                  <a:lnTo>
                    <a:pt x="601" y="395"/>
                  </a:lnTo>
                  <a:lnTo>
                    <a:pt x="621" y="332"/>
                  </a:lnTo>
                  <a:lnTo>
                    <a:pt x="625" y="314"/>
                  </a:lnTo>
                  <a:lnTo>
                    <a:pt x="637" y="306"/>
                  </a:lnTo>
                  <a:lnTo>
                    <a:pt x="600" y="270"/>
                  </a:lnTo>
                  <a:lnTo>
                    <a:pt x="616" y="248"/>
                  </a:lnTo>
                  <a:lnTo>
                    <a:pt x="633" y="252"/>
                  </a:lnTo>
                  <a:lnTo>
                    <a:pt x="628" y="267"/>
                  </a:lnTo>
                  <a:lnTo>
                    <a:pt x="657" y="266"/>
                  </a:lnTo>
                  <a:lnTo>
                    <a:pt x="669" y="249"/>
                  </a:lnTo>
                  <a:lnTo>
                    <a:pt x="657" y="210"/>
                  </a:lnTo>
                  <a:lnTo>
                    <a:pt x="583" y="206"/>
                  </a:lnTo>
                  <a:lnTo>
                    <a:pt x="529" y="177"/>
                  </a:lnTo>
                  <a:lnTo>
                    <a:pt x="469" y="186"/>
                  </a:lnTo>
                  <a:lnTo>
                    <a:pt x="468" y="174"/>
                  </a:lnTo>
                  <a:lnTo>
                    <a:pt x="487" y="168"/>
                  </a:lnTo>
                  <a:lnTo>
                    <a:pt x="489" y="147"/>
                  </a:lnTo>
                  <a:lnTo>
                    <a:pt x="492" y="134"/>
                  </a:lnTo>
                  <a:lnTo>
                    <a:pt x="484" y="90"/>
                  </a:lnTo>
                  <a:lnTo>
                    <a:pt x="469" y="89"/>
                  </a:lnTo>
                  <a:lnTo>
                    <a:pt x="463" y="72"/>
                  </a:lnTo>
                  <a:lnTo>
                    <a:pt x="487" y="72"/>
                  </a:lnTo>
                  <a:lnTo>
                    <a:pt x="522" y="36"/>
                  </a:lnTo>
                  <a:lnTo>
                    <a:pt x="501" y="0"/>
                  </a:lnTo>
                  <a:lnTo>
                    <a:pt x="394" y="44"/>
                  </a:lnTo>
                  <a:lnTo>
                    <a:pt x="292" y="50"/>
                  </a:lnTo>
                  <a:lnTo>
                    <a:pt x="316" y="62"/>
                  </a:lnTo>
                  <a:lnTo>
                    <a:pt x="316" y="120"/>
                  </a:lnTo>
                  <a:lnTo>
                    <a:pt x="376" y="84"/>
                  </a:lnTo>
                  <a:lnTo>
                    <a:pt x="399" y="120"/>
                  </a:lnTo>
                  <a:lnTo>
                    <a:pt x="343" y="155"/>
                  </a:lnTo>
                  <a:lnTo>
                    <a:pt x="358" y="173"/>
                  </a:lnTo>
                  <a:lnTo>
                    <a:pt x="376" y="189"/>
                  </a:lnTo>
                  <a:lnTo>
                    <a:pt x="351" y="203"/>
                  </a:lnTo>
                  <a:lnTo>
                    <a:pt x="342" y="189"/>
                  </a:lnTo>
                  <a:lnTo>
                    <a:pt x="324" y="207"/>
                  </a:lnTo>
                  <a:lnTo>
                    <a:pt x="330" y="243"/>
                  </a:lnTo>
                  <a:lnTo>
                    <a:pt x="301" y="281"/>
                  </a:lnTo>
                  <a:lnTo>
                    <a:pt x="289" y="281"/>
                  </a:lnTo>
                  <a:lnTo>
                    <a:pt x="291" y="236"/>
                  </a:lnTo>
                  <a:lnTo>
                    <a:pt x="268" y="219"/>
                  </a:lnTo>
                  <a:lnTo>
                    <a:pt x="253" y="228"/>
                  </a:lnTo>
                  <a:lnTo>
                    <a:pt x="244" y="221"/>
                  </a:lnTo>
                  <a:lnTo>
                    <a:pt x="249" y="206"/>
                  </a:lnTo>
                  <a:lnTo>
                    <a:pt x="232" y="171"/>
                  </a:lnTo>
                  <a:lnTo>
                    <a:pt x="241" y="161"/>
                  </a:lnTo>
                  <a:lnTo>
                    <a:pt x="225" y="141"/>
                  </a:lnTo>
                  <a:lnTo>
                    <a:pt x="211" y="144"/>
                  </a:lnTo>
                  <a:lnTo>
                    <a:pt x="202" y="137"/>
                  </a:lnTo>
                  <a:lnTo>
                    <a:pt x="156" y="177"/>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92" name="Freeform 6176">
              <a:extLst>
                <a:ext uri="{FF2B5EF4-FFF2-40B4-BE49-F238E27FC236}">
                  <a16:creationId xmlns:a16="http://schemas.microsoft.com/office/drawing/2014/main" id="{FE493B27-1203-D504-1AB9-E4699FEB6B98}"/>
                </a:ext>
              </a:extLst>
            </p:cNvPr>
            <p:cNvSpPr>
              <a:spLocks/>
            </p:cNvSpPr>
            <p:nvPr/>
          </p:nvSpPr>
          <p:spPr bwMode="gray">
            <a:xfrm>
              <a:off x="6231382" y="2440276"/>
              <a:ext cx="1563052" cy="1395559"/>
            </a:xfrm>
            <a:custGeom>
              <a:avLst/>
              <a:gdLst>
                <a:gd name="T0" fmla="*/ 27 w 1879"/>
                <a:gd name="T1" fmla="*/ 451 h 1758"/>
                <a:gd name="T2" fmla="*/ 225 w 1879"/>
                <a:gd name="T3" fmla="*/ 416 h 1758"/>
                <a:gd name="T4" fmla="*/ 277 w 1879"/>
                <a:gd name="T5" fmla="*/ 496 h 1758"/>
                <a:gd name="T6" fmla="*/ 205 w 1879"/>
                <a:gd name="T7" fmla="*/ 598 h 1758"/>
                <a:gd name="T8" fmla="*/ 429 w 1879"/>
                <a:gd name="T9" fmla="*/ 590 h 1758"/>
                <a:gd name="T10" fmla="*/ 401 w 1879"/>
                <a:gd name="T11" fmla="*/ 678 h 1758"/>
                <a:gd name="T12" fmla="*/ 401 w 1879"/>
                <a:gd name="T13" fmla="*/ 768 h 1758"/>
                <a:gd name="T14" fmla="*/ 585 w 1879"/>
                <a:gd name="T15" fmla="*/ 798 h 1758"/>
                <a:gd name="T16" fmla="*/ 561 w 1879"/>
                <a:gd name="T17" fmla="*/ 842 h 1758"/>
                <a:gd name="T18" fmla="*/ 555 w 1879"/>
                <a:gd name="T19" fmla="*/ 906 h 1758"/>
                <a:gd name="T20" fmla="*/ 525 w 1879"/>
                <a:gd name="T21" fmla="*/ 1064 h 1758"/>
                <a:gd name="T22" fmla="*/ 615 w 1879"/>
                <a:gd name="T23" fmla="*/ 1132 h 1758"/>
                <a:gd name="T24" fmla="*/ 555 w 1879"/>
                <a:gd name="T25" fmla="*/ 1200 h 1758"/>
                <a:gd name="T26" fmla="*/ 525 w 1879"/>
                <a:gd name="T27" fmla="*/ 1326 h 1758"/>
                <a:gd name="T28" fmla="*/ 453 w 1879"/>
                <a:gd name="T29" fmla="*/ 1492 h 1758"/>
                <a:gd name="T30" fmla="*/ 409 w 1879"/>
                <a:gd name="T31" fmla="*/ 1568 h 1758"/>
                <a:gd name="T32" fmla="*/ 425 w 1879"/>
                <a:gd name="T33" fmla="*/ 1686 h 1758"/>
                <a:gd name="T34" fmla="*/ 529 w 1879"/>
                <a:gd name="T35" fmla="*/ 1694 h 1758"/>
                <a:gd name="T36" fmla="*/ 743 w 1879"/>
                <a:gd name="T37" fmla="*/ 1660 h 1758"/>
                <a:gd name="T38" fmla="*/ 879 w 1879"/>
                <a:gd name="T39" fmla="*/ 1614 h 1758"/>
                <a:gd name="T40" fmla="*/ 1215 w 1879"/>
                <a:gd name="T41" fmla="*/ 1500 h 1758"/>
                <a:gd name="T42" fmla="*/ 1363 w 1879"/>
                <a:gd name="T43" fmla="*/ 1344 h 1758"/>
                <a:gd name="T44" fmla="*/ 1723 w 1879"/>
                <a:gd name="T45" fmla="*/ 1360 h 1758"/>
                <a:gd name="T46" fmla="*/ 1811 w 1879"/>
                <a:gd name="T47" fmla="*/ 1146 h 1758"/>
                <a:gd name="T48" fmla="*/ 1857 w 1879"/>
                <a:gd name="T49" fmla="*/ 1026 h 1758"/>
                <a:gd name="T50" fmla="*/ 1663 w 1879"/>
                <a:gd name="T51" fmla="*/ 1012 h 1758"/>
                <a:gd name="T52" fmla="*/ 1529 w 1879"/>
                <a:gd name="T53" fmla="*/ 1010 h 1758"/>
                <a:gd name="T54" fmla="*/ 1263 w 1879"/>
                <a:gd name="T55" fmla="*/ 908 h 1758"/>
                <a:gd name="T56" fmla="*/ 1205 w 1879"/>
                <a:gd name="T57" fmla="*/ 762 h 1758"/>
                <a:gd name="T58" fmla="*/ 1277 w 1879"/>
                <a:gd name="T59" fmla="*/ 650 h 1758"/>
                <a:gd name="T60" fmla="*/ 1187 w 1879"/>
                <a:gd name="T61" fmla="*/ 506 h 1758"/>
                <a:gd name="T62" fmla="*/ 1117 w 1879"/>
                <a:gd name="T63" fmla="*/ 160 h 1758"/>
                <a:gd name="T64" fmla="*/ 1065 w 1879"/>
                <a:gd name="T65" fmla="*/ 138 h 1758"/>
                <a:gd name="T66" fmla="*/ 893 w 1879"/>
                <a:gd name="T67" fmla="*/ 204 h 1758"/>
                <a:gd name="T68" fmla="*/ 955 w 1879"/>
                <a:gd name="T69" fmla="*/ 314 h 1758"/>
                <a:gd name="T70" fmla="*/ 861 w 1879"/>
                <a:gd name="T71" fmla="*/ 342 h 1758"/>
                <a:gd name="T72" fmla="*/ 785 w 1879"/>
                <a:gd name="T73" fmla="*/ 352 h 1758"/>
                <a:gd name="T74" fmla="*/ 675 w 1879"/>
                <a:gd name="T75" fmla="*/ 424 h 1758"/>
                <a:gd name="T76" fmla="*/ 641 w 1879"/>
                <a:gd name="T77" fmla="*/ 396 h 1758"/>
                <a:gd name="T78" fmla="*/ 705 w 1879"/>
                <a:gd name="T79" fmla="*/ 324 h 1758"/>
                <a:gd name="T80" fmla="*/ 727 w 1879"/>
                <a:gd name="T81" fmla="*/ 276 h 1758"/>
                <a:gd name="T82" fmla="*/ 623 w 1879"/>
                <a:gd name="T83" fmla="*/ 282 h 1758"/>
                <a:gd name="T84" fmla="*/ 671 w 1879"/>
                <a:gd name="T85" fmla="*/ 184 h 1758"/>
                <a:gd name="T86" fmla="*/ 739 w 1879"/>
                <a:gd name="T87" fmla="*/ 114 h 1758"/>
                <a:gd name="T88" fmla="*/ 837 w 1879"/>
                <a:gd name="T89" fmla="*/ 26 h 1758"/>
                <a:gd name="T90" fmla="*/ 743 w 1879"/>
                <a:gd name="T91" fmla="*/ 76 h 1758"/>
                <a:gd name="T92" fmla="*/ 553 w 1879"/>
                <a:gd name="T93" fmla="*/ 98 h 1758"/>
                <a:gd name="T94" fmla="*/ 365 w 1879"/>
                <a:gd name="T95" fmla="*/ 90 h 1758"/>
                <a:gd name="T96" fmla="*/ 279 w 1879"/>
                <a:gd name="T97" fmla="*/ 192 h 1758"/>
                <a:gd name="T98" fmla="*/ 171 w 1879"/>
                <a:gd name="T99" fmla="*/ 274 h 1758"/>
                <a:gd name="T100" fmla="*/ 29 w 1879"/>
                <a:gd name="T101" fmla="*/ 310 h 1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79" h="1758">
                  <a:moveTo>
                    <a:pt x="29" y="310"/>
                  </a:moveTo>
                  <a:lnTo>
                    <a:pt x="0" y="323"/>
                  </a:lnTo>
                  <a:lnTo>
                    <a:pt x="49" y="368"/>
                  </a:lnTo>
                  <a:lnTo>
                    <a:pt x="27" y="451"/>
                  </a:lnTo>
                  <a:lnTo>
                    <a:pt x="111" y="412"/>
                  </a:lnTo>
                  <a:lnTo>
                    <a:pt x="215" y="390"/>
                  </a:lnTo>
                  <a:lnTo>
                    <a:pt x="207" y="420"/>
                  </a:lnTo>
                  <a:lnTo>
                    <a:pt x="225" y="416"/>
                  </a:lnTo>
                  <a:lnTo>
                    <a:pt x="269" y="440"/>
                  </a:lnTo>
                  <a:lnTo>
                    <a:pt x="277" y="466"/>
                  </a:lnTo>
                  <a:lnTo>
                    <a:pt x="259" y="470"/>
                  </a:lnTo>
                  <a:lnTo>
                    <a:pt x="277" y="496"/>
                  </a:lnTo>
                  <a:lnTo>
                    <a:pt x="255" y="506"/>
                  </a:lnTo>
                  <a:lnTo>
                    <a:pt x="255" y="526"/>
                  </a:lnTo>
                  <a:lnTo>
                    <a:pt x="205" y="550"/>
                  </a:lnTo>
                  <a:lnTo>
                    <a:pt x="205" y="598"/>
                  </a:lnTo>
                  <a:lnTo>
                    <a:pt x="219" y="602"/>
                  </a:lnTo>
                  <a:lnTo>
                    <a:pt x="223" y="640"/>
                  </a:lnTo>
                  <a:lnTo>
                    <a:pt x="329" y="634"/>
                  </a:lnTo>
                  <a:lnTo>
                    <a:pt x="429" y="590"/>
                  </a:lnTo>
                  <a:lnTo>
                    <a:pt x="453" y="624"/>
                  </a:lnTo>
                  <a:lnTo>
                    <a:pt x="415" y="662"/>
                  </a:lnTo>
                  <a:lnTo>
                    <a:pt x="393" y="660"/>
                  </a:lnTo>
                  <a:lnTo>
                    <a:pt x="401" y="678"/>
                  </a:lnTo>
                  <a:lnTo>
                    <a:pt x="417" y="684"/>
                  </a:lnTo>
                  <a:lnTo>
                    <a:pt x="421" y="724"/>
                  </a:lnTo>
                  <a:lnTo>
                    <a:pt x="413" y="762"/>
                  </a:lnTo>
                  <a:lnTo>
                    <a:pt x="401" y="768"/>
                  </a:lnTo>
                  <a:lnTo>
                    <a:pt x="401" y="780"/>
                  </a:lnTo>
                  <a:lnTo>
                    <a:pt x="459" y="768"/>
                  </a:lnTo>
                  <a:lnTo>
                    <a:pt x="513" y="798"/>
                  </a:lnTo>
                  <a:lnTo>
                    <a:pt x="585" y="798"/>
                  </a:lnTo>
                  <a:lnTo>
                    <a:pt x="599" y="840"/>
                  </a:lnTo>
                  <a:lnTo>
                    <a:pt x="585" y="860"/>
                  </a:lnTo>
                  <a:lnTo>
                    <a:pt x="557" y="856"/>
                  </a:lnTo>
                  <a:lnTo>
                    <a:pt x="561" y="842"/>
                  </a:lnTo>
                  <a:lnTo>
                    <a:pt x="549" y="836"/>
                  </a:lnTo>
                  <a:lnTo>
                    <a:pt x="527" y="862"/>
                  </a:lnTo>
                  <a:lnTo>
                    <a:pt x="567" y="896"/>
                  </a:lnTo>
                  <a:lnTo>
                    <a:pt x="555" y="906"/>
                  </a:lnTo>
                  <a:lnTo>
                    <a:pt x="529" y="990"/>
                  </a:lnTo>
                  <a:lnTo>
                    <a:pt x="517" y="998"/>
                  </a:lnTo>
                  <a:lnTo>
                    <a:pt x="539" y="1018"/>
                  </a:lnTo>
                  <a:lnTo>
                    <a:pt x="525" y="1064"/>
                  </a:lnTo>
                  <a:lnTo>
                    <a:pt x="529" y="1082"/>
                  </a:lnTo>
                  <a:lnTo>
                    <a:pt x="585" y="1094"/>
                  </a:lnTo>
                  <a:lnTo>
                    <a:pt x="581" y="1120"/>
                  </a:lnTo>
                  <a:lnTo>
                    <a:pt x="615" y="1132"/>
                  </a:lnTo>
                  <a:lnTo>
                    <a:pt x="609" y="1192"/>
                  </a:lnTo>
                  <a:lnTo>
                    <a:pt x="589" y="1230"/>
                  </a:lnTo>
                  <a:lnTo>
                    <a:pt x="583" y="1204"/>
                  </a:lnTo>
                  <a:lnTo>
                    <a:pt x="555" y="1200"/>
                  </a:lnTo>
                  <a:lnTo>
                    <a:pt x="559" y="1224"/>
                  </a:lnTo>
                  <a:lnTo>
                    <a:pt x="543" y="1228"/>
                  </a:lnTo>
                  <a:lnTo>
                    <a:pt x="551" y="1296"/>
                  </a:lnTo>
                  <a:lnTo>
                    <a:pt x="525" y="1326"/>
                  </a:lnTo>
                  <a:lnTo>
                    <a:pt x="507" y="1322"/>
                  </a:lnTo>
                  <a:lnTo>
                    <a:pt x="457" y="1370"/>
                  </a:lnTo>
                  <a:lnTo>
                    <a:pt x="471" y="1432"/>
                  </a:lnTo>
                  <a:lnTo>
                    <a:pt x="453" y="1492"/>
                  </a:lnTo>
                  <a:lnTo>
                    <a:pt x="439" y="1494"/>
                  </a:lnTo>
                  <a:lnTo>
                    <a:pt x="447" y="1534"/>
                  </a:lnTo>
                  <a:lnTo>
                    <a:pt x="439" y="1568"/>
                  </a:lnTo>
                  <a:lnTo>
                    <a:pt x="409" y="1568"/>
                  </a:lnTo>
                  <a:lnTo>
                    <a:pt x="405" y="1588"/>
                  </a:lnTo>
                  <a:lnTo>
                    <a:pt x="419" y="1614"/>
                  </a:lnTo>
                  <a:lnTo>
                    <a:pt x="399" y="1670"/>
                  </a:lnTo>
                  <a:lnTo>
                    <a:pt x="425" y="1686"/>
                  </a:lnTo>
                  <a:lnTo>
                    <a:pt x="437" y="1758"/>
                  </a:lnTo>
                  <a:lnTo>
                    <a:pt x="475" y="1756"/>
                  </a:lnTo>
                  <a:lnTo>
                    <a:pt x="487" y="1700"/>
                  </a:lnTo>
                  <a:lnTo>
                    <a:pt x="529" y="1694"/>
                  </a:lnTo>
                  <a:lnTo>
                    <a:pt x="549" y="1678"/>
                  </a:lnTo>
                  <a:lnTo>
                    <a:pt x="539" y="1726"/>
                  </a:lnTo>
                  <a:lnTo>
                    <a:pt x="649" y="1678"/>
                  </a:lnTo>
                  <a:lnTo>
                    <a:pt x="743" y="1660"/>
                  </a:lnTo>
                  <a:lnTo>
                    <a:pt x="751" y="1690"/>
                  </a:lnTo>
                  <a:lnTo>
                    <a:pt x="825" y="1670"/>
                  </a:lnTo>
                  <a:lnTo>
                    <a:pt x="797" y="1630"/>
                  </a:lnTo>
                  <a:lnTo>
                    <a:pt x="879" y="1614"/>
                  </a:lnTo>
                  <a:lnTo>
                    <a:pt x="905" y="1562"/>
                  </a:lnTo>
                  <a:lnTo>
                    <a:pt x="1017" y="1610"/>
                  </a:lnTo>
                  <a:lnTo>
                    <a:pt x="1177" y="1496"/>
                  </a:lnTo>
                  <a:lnTo>
                    <a:pt x="1215" y="1500"/>
                  </a:lnTo>
                  <a:lnTo>
                    <a:pt x="1291" y="1442"/>
                  </a:lnTo>
                  <a:lnTo>
                    <a:pt x="1315" y="1430"/>
                  </a:lnTo>
                  <a:lnTo>
                    <a:pt x="1303" y="1398"/>
                  </a:lnTo>
                  <a:lnTo>
                    <a:pt x="1363" y="1344"/>
                  </a:lnTo>
                  <a:lnTo>
                    <a:pt x="1423" y="1366"/>
                  </a:lnTo>
                  <a:lnTo>
                    <a:pt x="1559" y="1420"/>
                  </a:lnTo>
                  <a:lnTo>
                    <a:pt x="1657" y="1398"/>
                  </a:lnTo>
                  <a:lnTo>
                    <a:pt x="1723" y="1360"/>
                  </a:lnTo>
                  <a:lnTo>
                    <a:pt x="1773" y="1316"/>
                  </a:lnTo>
                  <a:lnTo>
                    <a:pt x="1787" y="1224"/>
                  </a:lnTo>
                  <a:lnTo>
                    <a:pt x="1825" y="1184"/>
                  </a:lnTo>
                  <a:lnTo>
                    <a:pt x="1811" y="1146"/>
                  </a:lnTo>
                  <a:lnTo>
                    <a:pt x="1809" y="1114"/>
                  </a:lnTo>
                  <a:lnTo>
                    <a:pt x="1869" y="1122"/>
                  </a:lnTo>
                  <a:lnTo>
                    <a:pt x="1879" y="1092"/>
                  </a:lnTo>
                  <a:lnTo>
                    <a:pt x="1857" y="1026"/>
                  </a:lnTo>
                  <a:lnTo>
                    <a:pt x="1869" y="978"/>
                  </a:lnTo>
                  <a:lnTo>
                    <a:pt x="1805" y="984"/>
                  </a:lnTo>
                  <a:lnTo>
                    <a:pt x="1769" y="950"/>
                  </a:lnTo>
                  <a:lnTo>
                    <a:pt x="1663" y="1012"/>
                  </a:lnTo>
                  <a:lnTo>
                    <a:pt x="1625" y="990"/>
                  </a:lnTo>
                  <a:lnTo>
                    <a:pt x="1605" y="998"/>
                  </a:lnTo>
                  <a:lnTo>
                    <a:pt x="1567" y="996"/>
                  </a:lnTo>
                  <a:lnTo>
                    <a:pt x="1529" y="1010"/>
                  </a:lnTo>
                  <a:lnTo>
                    <a:pt x="1453" y="960"/>
                  </a:lnTo>
                  <a:lnTo>
                    <a:pt x="1369" y="960"/>
                  </a:lnTo>
                  <a:lnTo>
                    <a:pt x="1325" y="984"/>
                  </a:lnTo>
                  <a:lnTo>
                    <a:pt x="1263" y="908"/>
                  </a:lnTo>
                  <a:lnTo>
                    <a:pt x="1197" y="868"/>
                  </a:lnTo>
                  <a:lnTo>
                    <a:pt x="1175" y="792"/>
                  </a:lnTo>
                  <a:lnTo>
                    <a:pt x="1195" y="780"/>
                  </a:lnTo>
                  <a:lnTo>
                    <a:pt x="1205" y="762"/>
                  </a:lnTo>
                  <a:lnTo>
                    <a:pt x="1187" y="756"/>
                  </a:lnTo>
                  <a:lnTo>
                    <a:pt x="1203" y="716"/>
                  </a:lnTo>
                  <a:lnTo>
                    <a:pt x="1243" y="708"/>
                  </a:lnTo>
                  <a:lnTo>
                    <a:pt x="1277" y="650"/>
                  </a:lnTo>
                  <a:lnTo>
                    <a:pt x="1291" y="582"/>
                  </a:lnTo>
                  <a:lnTo>
                    <a:pt x="1223" y="580"/>
                  </a:lnTo>
                  <a:lnTo>
                    <a:pt x="1219" y="548"/>
                  </a:lnTo>
                  <a:lnTo>
                    <a:pt x="1187" y="506"/>
                  </a:lnTo>
                  <a:lnTo>
                    <a:pt x="1203" y="438"/>
                  </a:lnTo>
                  <a:lnTo>
                    <a:pt x="1189" y="388"/>
                  </a:lnTo>
                  <a:lnTo>
                    <a:pt x="1217" y="358"/>
                  </a:lnTo>
                  <a:lnTo>
                    <a:pt x="1117" y="160"/>
                  </a:lnTo>
                  <a:lnTo>
                    <a:pt x="1127" y="150"/>
                  </a:lnTo>
                  <a:lnTo>
                    <a:pt x="1109" y="126"/>
                  </a:lnTo>
                  <a:lnTo>
                    <a:pt x="1087" y="152"/>
                  </a:lnTo>
                  <a:lnTo>
                    <a:pt x="1065" y="138"/>
                  </a:lnTo>
                  <a:lnTo>
                    <a:pt x="1033" y="150"/>
                  </a:lnTo>
                  <a:lnTo>
                    <a:pt x="973" y="96"/>
                  </a:lnTo>
                  <a:lnTo>
                    <a:pt x="851" y="126"/>
                  </a:lnTo>
                  <a:lnTo>
                    <a:pt x="893" y="204"/>
                  </a:lnTo>
                  <a:lnTo>
                    <a:pt x="915" y="204"/>
                  </a:lnTo>
                  <a:lnTo>
                    <a:pt x="931" y="252"/>
                  </a:lnTo>
                  <a:lnTo>
                    <a:pt x="959" y="268"/>
                  </a:lnTo>
                  <a:lnTo>
                    <a:pt x="955" y="314"/>
                  </a:lnTo>
                  <a:lnTo>
                    <a:pt x="937" y="310"/>
                  </a:lnTo>
                  <a:lnTo>
                    <a:pt x="925" y="338"/>
                  </a:lnTo>
                  <a:lnTo>
                    <a:pt x="891" y="330"/>
                  </a:lnTo>
                  <a:lnTo>
                    <a:pt x="861" y="342"/>
                  </a:lnTo>
                  <a:lnTo>
                    <a:pt x="843" y="312"/>
                  </a:lnTo>
                  <a:lnTo>
                    <a:pt x="817" y="300"/>
                  </a:lnTo>
                  <a:lnTo>
                    <a:pt x="775" y="324"/>
                  </a:lnTo>
                  <a:lnTo>
                    <a:pt x="785" y="352"/>
                  </a:lnTo>
                  <a:lnTo>
                    <a:pt x="719" y="408"/>
                  </a:lnTo>
                  <a:lnTo>
                    <a:pt x="725" y="450"/>
                  </a:lnTo>
                  <a:lnTo>
                    <a:pt x="689" y="472"/>
                  </a:lnTo>
                  <a:lnTo>
                    <a:pt x="675" y="424"/>
                  </a:lnTo>
                  <a:lnTo>
                    <a:pt x="623" y="438"/>
                  </a:lnTo>
                  <a:lnTo>
                    <a:pt x="605" y="384"/>
                  </a:lnTo>
                  <a:lnTo>
                    <a:pt x="621" y="380"/>
                  </a:lnTo>
                  <a:lnTo>
                    <a:pt x="641" y="396"/>
                  </a:lnTo>
                  <a:lnTo>
                    <a:pt x="683" y="386"/>
                  </a:lnTo>
                  <a:lnTo>
                    <a:pt x="667" y="364"/>
                  </a:lnTo>
                  <a:lnTo>
                    <a:pt x="689" y="336"/>
                  </a:lnTo>
                  <a:lnTo>
                    <a:pt x="705" y="324"/>
                  </a:lnTo>
                  <a:lnTo>
                    <a:pt x="727" y="336"/>
                  </a:lnTo>
                  <a:lnTo>
                    <a:pt x="753" y="306"/>
                  </a:lnTo>
                  <a:lnTo>
                    <a:pt x="729" y="294"/>
                  </a:lnTo>
                  <a:lnTo>
                    <a:pt x="727" y="276"/>
                  </a:lnTo>
                  <a:lnTo>
                    <a:pt x="703" y="282"/>
                  </a:lnTo>
                  <a:lnTo>
                    <a:pt x="657" y="328"/>
                  </a:lnTo>
                  <a:lnTo>
                    <a:pt x="629" y="332"/>
                  </a:lnTo>
                  <a:lnTo>
                    <a:pt x="623" y="282"/>
                  </a:lnTo>
                  <a:lnTo>
                    <a:pt x="587" y="262"/>
                  </a:lnTo>
                  <a:lnTo>
                    <a:pt x="573" y="212"/>
                  </a:lnTo>
                  <a:lnTo>
                    <a:pt x="613" y="214"/>
                  </a:lnTo>
                  <a:lnTo>
                    <a:pt x="671" y="184"/>
                  </a:lnTo>
                  <a:lnTo>
                    <a:pt x="665" y="158"/>
                  </a:lnTo>
                  <a:lnTo>
                    <a:pt x="691" y="142"/>
                  </a:lnTo>
                  <a:lnTo>
                    <a:pt x="719" y="142"/>
                  </a:lnTo>
                  <a:lnTo>
                    <a:pt x="739" y="114"/>
                  </a:lnTo>
                  <a:lnTo>
                    <a:pt x="779" y="92"/>
                  </a:lnTo>
                  <a:lnTo>
                    <a:pt x="821" y="74"/>
                  </a:lnTo>
                  <a:lnTo>
                    <a:pt x="819" y="48"/>
                  </a:lnTo>
                  <a:lnTo>
                    <a:pt x="837" y="26"/>
                  </a:lnTo>
                  <a:lnTo>
                    <a:pt x="813" y="0"/>
                  </a:lnTo>
                  <a:lnTo>
                    <a:pt x="787" y="36"/>
                  </a:lnTo>
                  <a:lnTo>
                    <a:pt x="817" y="48"/>
                  </a:lnTo>
                  <a:lnTo>
                    <a:pt x="743" y="76"/>
                  </a:lnTo>
                  <a:lnTo>
                    <a:pt x="619" y="58"/>
                  </a:lnTo>
                  <a:lnTo>
                    <a:pt x="609" y="34"/>
                  </a:lnTo>
                  <a:lnTo>
                    <a:pt x="595" y="60"/>
                  </a:lnTo>
                  <a:lnTo>
                    <a:pt x="553" y="98"/>
                  </a:lnTo>
                  <a:lnTo>
                    <a:pt x="477" y="106"/>
                  </a:lnTo>
                  <a:lnTo>
                    <a:pt x="419" y="102"/>
                  </a:lnTo>
                  <a:lnTo>
                    <a:pt x="417" y="90"/>
                  </a:lnTo>
                  <a:lnTo>
                    <a:pt x="365" y="90"/>
                  </a:lnTo>
                  <a:lnTo>
                    <a:pt x="369" y="120"/>
                  </a:lnTo>
                  <a:lnTo>
                    <a:pt x="345" y="138"/>
                  </a:lnTo>
                  <a:lnTo>
                    <a:pt x="359" y="170"/>
                  </a:lnTo>
                  <a:lnTo>
                    <a:pt x="279" y="192"/>
                  </a:lnTo>
                  <a:lnTo>
                    <a:pt x="275" y="172"/>
                  </a:lnTo>
                  <a:lnTo>
                    <a:pt x="249" y="184"/>
                  </a:lnTo>
                  <a:lnTo>
                    <a:pt x="207" y="266"/>
                  </a:lnTo>
                  <a:lnTo>
                    <a:pt x="171" y="274"/>
                  </a:lnTo>
                  <a:lnTo>
                    <a:pt x="163" y="298"/>
                  </a:lnTo>
                  <a:lnTo>
                    <a:pt x="115" y="276"/>
                  </a:lnTo>
                  <a:lnTo>
                    <a:pt x="51" y="338"/>
                  </a:lnTo>
                  <a:lnTo>
                    <a:pt x="29" y="310"/>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93" name="Freeform 6177">
              <a:extLst>
                <a:ext uri="{FF2B5EF4-FFF2-40B4-BE49-F238E27FC236}">
                  <a16:creationId xmlns:a16="http://schemas.microsoft.com/office/drawing/2014/main" id="{D1EEB395-CEBA-3F71-938D-7EEFC0B144CC}"/>
                </a:ext>
              </a:extLst>
            </p:cNvPr>
            <p:cNvSpPr>
              <a:spLocks/>
            </p:cNvSpPr>
            <p:nvPr/>
          </p:nvSpPr>
          <p:spPr bwMode="gray">
            <a:xfrm>
              <a:off x="6209673" y="2229233"/>
              <a:ext cx="697791" cy="483021"/>
            </a:xfrm>
            <a:custGeom>
              <a:avLst/>
              <a:gdLst>
                <a:gd name="T0" fmla="*/ 186 w 840"/>
                <a:gd name="T1" fmla="*/ 74 h 608"/>
                <a:gd name="T2" fmla="*/ 196 w 840"/>
                <a:gd name="T3" fmla="*/ 98 h 608"/>
                <a:gd name="T4" fmla="*/ 96 w 840"/>
                <a:gd name="T5" fmla="*/ 176 h 608"/>
                <a:gd name="T6" fmla="*/ 56 w 840"/>
                <a:gd name="T7" fmla="*/ 268 h 608"/>
                <a:gd name="T8" fmla="*/ 110 w 840"/>
                <a:gd name="T9" fmla="*/ 264 h 608"/>
                <a:gd name="T10" fmla="*/ 258 w 840"/>
                <a:gd name="T11" fmla="*/ 256 h 608"/>
                <a:gd name="T12" fmla="*/ 260 w 840"/>
                <a:gd name="T13" fmla="*/ 298 h 608"/>
                <a:gd name="T14" fmla="*/ 192 w 840"/>
                <a:gd name="T15" fmla="*/ 354 h 608"/>
                <a:gd name="T16" fmla="*/ 120 w 840"/>
                <a:gd name="T17" fmla="*/ 394 h 608"/>
                <a:gd name="T18" fmla="*/ 46 w 840"/>
                <a:gd name="T19" fmla="*/ 530 h 608"/>
                <a:gd name="T20" fmla="*/ 0 w 840"/>
                <a:gd name="T21" fmla="*/ 574 h 608"/>
                <a:gd name="T22" fmla="*/ 32 w 840"/>
                <a:gd name="T23" fmla="*/ 588 h 608"/>
                <a:gd name="T24" fmla="*/ 80 w 840"/>
                <a:gd name="T25" fmla="*/ 608 h 608"/>
                <a:gd name="T26" fmla="*/ 188 w 840"/>
                <a:gd name="T27" fmla="*/ 564 h 608"/>
                <a:gd name="T28" fmla="*/ 236 w 840"/>
                <a:gd name="T29" fmla="*/ 534 h 608"/>
                <a:gd name="T30" fmla="*/ 304 w 840"/>
                <a:gd name="T31" fmla="*/ 442 h 608"/>
                <a:gd name="T32" fmla="*/ 388 w 840"/>
                <a:gd name="T33" fmla="*/ 438 h 608"/>
                <a:gd name="T34" fmla="*/ 402 w 840"/>
                <a:gd name="T35" fmla="*/ 384 h 608"/>
                <a:gd name="T36" fmla="*/ 440 w 840"/>
                <a:gd name="T37" fmla="*/ 356 h 608"/>
                <a:gd name="T38" fmla="*/ 510 w 840"/>
                <a:gd name="T39" fmla="*/ 374 h 608"/>
                <a:gd name="T40" fmla="*/ 626 w 840"/>
                <a:gd name="T41" fmla="*/ 322 h 608"/>
                <a:gd name="T42" fmla="*/ 644 w 840"/>
                <a:gd name="T43" fmla="*/ 324 h 608"/>
                <a:gd name="T44" fmla="*/ 840 w 840"/>
                <a:gd name="T45" fmla="*/ 316 h 608"/>
                <a:gd name="T46" fmla="*/ 836 w 840"/>
                <a:gd name="T47" fmla="*/ 270 h 608"/>
                <a:gd name="T48" fmla="*/ 744 w 840"/>
                <a:gd name="T49" fmla="*/ 230 h 608"/>
                <a:gd name="T50" fmla="*/ 682 w 840"/>
                <a:gd name="T51" fmla="*/ 206 h 608"/>
                <a:gd name="T52" fmla="*/ 650 w 840"/>
                <a:gd name="T53" fmla="*/ 166 h 608"/>
                <a:gd name="T54" fmla="*/ 618 w 840"/>
                <a:gd name="T55" fmla="*/ 155 h 608"/>
                <a:gd name="T56" fmla="*/ 478 w 840"/>
                <a:gd name="T57" fmla="*/ 142 h 608"/>
                <a:gd name="T58" fmla="*/ 470 w 840"/>
                <a:gd name="T59" fmla="*/ 104 h 608"/>
                <a:gd name="T60" fmla="*/ 396 w 840"/>
                <a:gd name="T61" fmla="*/ 100 h 608"/>
                <a:gd name="T62" fmla="*/ 388 w 840"/>
                <a:gd name="T63" fmla="*/ 30 h 608"/>
                <a:gd name="T64" fmla="*/ 310 w 840"/>
                <a:gd name="T65" fmla="*/ 20 h 608"/>
                <a:gd name="T66" fmla="*/ 270 w 840"/>
                <a:gd name="T67" fmla="*/ 16 h 608"/>
                <a:gd name="T68" fmla="*/ 220 w 840"/>
                <a:gd name="T6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0" h="608">
                  <a:moveTo>
                    <a:pt x="180" y="20"/>
                  </a:moveTo>
                  <a:lnTo>
                    <a:pt x="186" y="74"/>
                  </a:lnTo>
                  <a:lnTo>
                    <a:pt x="198" y="72"/>
                  </a:lnTo>
                  <a:lnTo>
                    <a:pt x="196" y="98"/>
                  </a:lnTo>
                  <a:lnTo>
                    <a:pt x="132" y="128"/>
                  </a:lnTo>
                  <a:lnTo>
                    <a:pt x="96" y="176"/>
                  </a:lnTo>
                  <a:lnTo>
                    <a:pt x="60" y="230"/>
                  </a:lnTo>
                  <a:lnTo>
                    <a:pt x="56" y="268"/>
                  </a:lnTo>
                  <a:lnTo>
                    <a:pt x="82" y="254"/>
                  </a:lnTo>
                  <a:lnTo>
                    <a:pt x="110" y="264"/>
                  </a:lnTo>
                  <a:lnTo>
                    <a:pt x="212" y="244"/>
                  </a:lnTo>
                  <a:lnTo>
                    <a:pt x="258" y="256"/>
                  </a:lnTo>
                  <a:lnTo>
                    <a:pt x="260" y="272"/>
                  </a:lnTo>
                  <a:lnTo>
                    <a:pt x="260" y="298"/>
                  </a:lnTo>
                  <a:lnTo>
                    <a:pt x="206" y="310"/>
                  </a:lnTo>
                  <a:lnTo>
                    <a:pt x="192" y="354"/>
                  </a:lnTo>
                  <a:lnTo>
                    <a:pt x="134" y="366"/>
                  </a:lnTo>
                  <a:lnTo>
                    <a:pt x="120" y="394"/>
                  </a:lnTo>
                  <a:lnTo>
                    <a:pt x="132" y="454"/>
                  </a:lnTo>
                  <a:lnTo>
                    <a:pt x="46" y="530"/>
                  </a:lnTo>
                  <a:lnTo>
                    <a:pt x="44" y="562"/>
                  </a:lnTo>
                  <a:lnTo>
                    <a:pt x="0" y="574"/>
                  </a:lnTo>
                  <a:lnTo>
                    <a:pt x="10" y="596"/>
                  </a:lnTo>
                  <a:lnTo>
                    <a:pt x="32" y="588"/>
                  </a:lnTo>
                  <a:lnTo>
                    <a:pt x="52" y="580"/>
                  </a:lnTo>
                  <a:lnTo>
                    <a:pt x="80" y="608"/>
                  </a:lnTo>
                  <a:lnTo>
                    <a:pt x="142" y="546"/>
                  </a:lnTo>
                  <a:lnTo>
                    <a:pt x="188" y="564"/>
                  </a:lnTo>
                  <a:lnTo>
                    <a:pt x="202" y="540"/>
                  </a:lnTo>
                  <a:lnTo>
                    <a:pt x="236" y="534"/>
                  </a:lnTo>
                  <a:lnTo>
                    <a:pt x="278" y="448"/>
                  </a:lnTo>
                  <a:lnTo>
                    <a:pt x="304" y="442"/>
                  </a:lnTo>
                  <a:lnTo>
                    <a:pt x="308" y="460"/>
                  </a:lnTo>
                  <a:lnTo>
                    <a:pt x="388" y="438"/>
                  </a:lnTo>
                  <a:lnTo>
                    <a:pt x="372" y="404"/>
                  </a:lnTo>
                  <a:lnTo>
                    <a:pt x="402" y="384"/>
                  </a:lnTo>
                  <a:lnTo>
                    <a:pt x="392" y="356"/>
                  </a:lnTo>
                  <a:lnTo>
                    <a:pt x="440" y="356"/>
                  </a:lnTo>
                  <a:lnTo>
                    <a:pt x="450" y="372"/>
                  </a:lnTo>
                  <a:lnTo>
                    <a:pt x="510" y="374"/>
                  </a:lnTo>
                  <a:lnTo>
                    <a:pt x="582" y="366"/>
                  </a:lnTo>
                  <a:lnTo>
                    <a:pt x="626" y="322"/>
                  </a:lnTo>
                  <a:lnTo>
                    <a:pt x="636" y="304"/>
                  </a:lnTo>
                  <a:lnTo>
                    <a:pt x="644" y="324"/>
                  </a:lnTo>
                  <a:lnTo>
                    <a:pt x="772" y="342"/>
                  </a:lnTo>
                  <a:lnTo>
                    <a:pt x="840" y="316"/>
                  </a:lnTo>
                  <a:lnTo>
                    <a:pt x="814" y="304"/>
                  </a:lnTo>
                  <a:lnTo>
                    <a:pt x="836" y="270"/>
                  </a:lnTo>
                  <a:lnTo>
                    <a:pt x="810" y="224"/>
                  </a:lnTo>
                  <a:lnTo>
                    <a:pt x="744" y="230"/>
                  </a:lnTo>
                  <a:lnTo>
                    <a:pt x="708" y="212"/>
                  </a:lnTo>
                  <a:lnTo>
                    <a:pt x="682" y="206"/>
                  </a:lnTo>
                  <a:lnTo>
                    <a:pt x="676" y="186"/>
                  </a:lnTo>
                  <a:lnTo>
                    <a:pt x="650" y="166"/>
                  </a:lnTo>
                  <a:lnTo>
                    <a:pt x="638" y="156"/>
                  </a:lnTo>
                  <a:lnTo>
                    <a:pt x="618" y="155"/>
                  </a:lnTo>
                  <a:lnTo>
                    <a:pt x="573" y="111"/>
                  </a:lnTo>
                  <a:lnTo>
                    <a:pt x="478" y="142"/>
                  </a:lnTo>
                  <a:lnTo>
                    <a:pt x="480" y="114"/>
                  </a:lnTo>
                  <a:lnTo>
                    <a:pt x="470" y="104"/>
                  </a:lnTo>
                  <a:lnTo>
                    <a:pt x="430" y="118"/>
                  </a:lnTo>
                  <a:lnTo>
                    <a:pt x="396" y="100"/>
                  </a:lnTo>
                  <a:lnTo>
                    <a:pt x="434" y="24"/>
                  </a:lnTo>
                  <a:lnTo>
                    <a:pt x="388" y="30"/>
                  </a:lnTo>
                  <a:lnTo>
                    <a:pt x="346" y="4"/>
                  </a:lnTo>
                  <a:lnTo>
                    <a:pt x="310" y="20"/>
                  </a:lnTo>
                  <a:lnTo>
                    <a:pt x="290" y="32"/>
                  </a:lnTo>
                  <a:lnTo>
                    <a:pt x="270" y="16"/>
                  </a:lnTo>
                  <a:lnTo>
                    <a:pt x="236" y="14"/>
                  </a:lnTo>
                  <a:lnTo>
                    <a:pt x="220" y="0"/>
                  </a:lnTo>
                  <a:lnTo>
                    <a:pt x="180" y="20"/>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94" name="Freeform 6178">
              <a:extLst>
                <a:ext uri="{FF2B5EF4-FFF2-40B4-BE49-F238E27FC236}">
                  <a16:creationId xmlns:a16="http://schemas.microsoft.com/office/drawing/2014/main" id="{FC951A09-8370-A853-2BA8-CDFF2F481067}"/>
                </a:ext>
              </a:extLst>
            </p:cNvPr>
            <p:cNvSpPr>
              <a:spLocks/>
            </p:cNvSpPr>
            <p:nvPr/>
          </p:nvSpPr>
          <p:spPr bwMode="gray">
            <a:xfrm>
              <a:off x="6687272" y="2125198"/>
              <a:ext cx="615607" cy="332913"/>
            </a:xfrm>
            <a:custGeom>
              <a:avLst/>
              <a:gdLst>
                <a:gd name="T0" fmla="*/ 108 w 740"/>
                <a:gd name="T1" fmla="*/ 336 h 418"/>
                <a:gd name="T2" fmla="*/ 66 w 740"/>
                <a:gd name="T3" fmla="*/ 284 h 418"/>
                <a:gd name="T4" fmla="*/ 0 w 740"/>
                <a:gd name="T5" fmla="*/ 242 h 418"/>
                <a:gd name="T6" fmla="*/ 34 w 740"/>
                <a:gd name="T7" fmla="*/ 244 h 418"/>
                <a:gd name="T8" fmla="*/ 66 w 740"/>
                <a:gd name="T9" fmla="*/ 284 h 418"/>
                <a:gd name="T10" fmla="*/ 152 w 740"/>
                <a:gd name="T11" fmla="*/ 250 h 418"/>
                <a:gd name="T12" fmla="*/ 120 w 740"/>
                <a:gd name="T13" fmla="*/ 234 h 418"/>
                <a:gd name="T14" fmla="*/ 140 w 740"/>
                <a:gd name="T15" fmla="*/ 192 h 418"/>
                <a:gd name="T16" fmla="*/ 164 w 740"/>
                <a:gd name="T17" fmla="*/ 226 h 418"/>
                <a:gd name="T18" fmla="*/ 242 w 740"/>
                <a:gd name="T19" fmla="*/ 188 h 418"/>
                <a:gd name="T20" fmla="*/ 220 w 740"/>
                <a:gd name="T21" fmla="*/ 140 h 418"/>
                <a:gd name="T22" fmla="*/ 228 w 740"/>
                <a:gd name="T23" fmla="*/ 112 h 418"/>
                <a:gd name="T24" fmla="*/ 200 w 740"/>
                <a:gd name="T25" fmla="*/ 92 h 418"/>
                <a:gd name="T26" fmla="*/ 258 w 740"/>
                <a:gd name="T27" fmla="*/ 28 h 418"/>
                <a:gd name="T28" fmla="*/ 270 w 740"/>
                <a:gd name="T29" fmla="*/ 54 h 418"/>
                <a:gd name="T30" fmla="*/ 312 w 740"/>
                <a:gd name="T31" fmla="*/ 96 h 418"/>
                <a:gd name="T32" fmla="*/ 346 w 740"/>
                <a:gd name="T33" fmla="*/ 40 h 418"/>
                <a:gd name="T34" fmla="*/ 414 w 740"/>
                <a:gd name="T35" fmla="*/ 72 h 418"/>
                <a:gd name="T36" fmla="*/ 476 w 740"/>
                <a:gd name="T37" fmla="*/ 80 h 418"/>
                <a:gd name="T38" fmla="*/ 538 w 740"/>
                <a:gd name="T39" fmla="*/ 144 h 418"/>
                <a:gd name="T40" fmla="*/ 594 w 740"/>
                <a:gd name="T41" fmla="*/ 92 h 418"/>
                <a:gd name="T42" fmla="*/ 620 w 740"/>
                <a:gd name="T43" fmla="*/ 72 h 418"/>
                <a:gd name="T44" fmla="*/ 722 w 740"/>
                <a:gd name="T45" fmla="*/ 154 h 418"/>
                <a:gd name="T46" fmla="*/ 738 w 740"/>
                <a:gd name="T47" fmla="*/ 206 h 418"/>
                <a:gd name="T48" fmla="*/ 740 w 740"/>
                <a:gd name="T49" fmla="*/ 276 h 418"/>
                <a:gd name="T50" fmla="*/ 686 w 740"/>
                <a:gd name="T51" fmla="*/ 312 h 418"/>
                <a:gd name="T52" fmla="*/ 634 w 740"/>
                <a:gd name="T53" fmla="*/ 316 h 418"/>
                <a:gd name="T54" fmla="*/ 600 w 740"/>
                <a:gd name="T55" fmla="*/ 352 h 418"/>
                <a:gd name="T56" fmla="*/ 540 w 740"/>
                <a:gd name="T57" fmla="*/ 418 h 418"/>
                <a:gd name="T58" fmla="*/ 472 w 740"/>
                <a:gd name="T59" fmla="*/ 356 h 418"/>
                <a:gd name="T60" fmla="*/ 376 w 740"/>
                <a:gd name="T61" fmla="*/ 360 h 418"/>
                <a:gd name="T62" fmla="*/ 402 w 740"/>
                <a:gd name="T63" fmla="*/ 286 h 418"/>
                <a:gd name="T64" fmla="*/ 424 w 740"/>
                <a:gd name="T65" fmla="*/ 214 h 418"/>
                <a:gd name="T66" fmla="*/ 448 w 740"/>
                <a:gd name="T67" fmla="*/ 166 h 418"/>
                <a:gd name="T68" fmla="*/ 400 w 740"/>
                <a:gd name="T69" fmla="*/ 138 h 418"/>
                <a:gd name="T70" fmla="*/ 384 w 740"/>
                <a:gd name="T71" fmla="*/ 160 h 418"/>
                <a:gd name="T72" fmla="*/ 322 w 740"/>
                <a:gd name="T73" fmla="*/ 144 h 418"/>
                <a:gd name="T74" fmla="*/ 350 w 740"/>
                <a:gd name="T75" fmla="*/ 198 h 418"/>
                <a:gd name="T76" fmla="*/ 284 w 740"/>
                <a:gd name="T77" fmla="*/ 252 h 418"/>
                <a:gd name="T78" fmla="*/ 240 w 740"/>
                <a:gd name="T79" fmla="*/ 284 h 418"/>
                <a:gd name="T80" fmla="*/ 228 w 740"/>
                <a:gd name="T81" fmla="*/ 325 h 418"/>
                <a:gd name="T82" fmla="*/ 148 w 740"/>
                <a:gd name="T83" fmla="*/ 306 h 418"/>
                <a:gd name="T84" fmla="*/ 132 w 740"/>
                <a:gd name="T85" fmla="*/ 34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40" h="418">
                  <a:moveTo>
                    <a:pt x="132" y="342"/>
                  </a:moveTo>
                  <a:lnTo>
                    <a:pt x="108" y="336"/>
                  </a:lnTo>
                  <a:lnTo>
                    <a:pt x="100" y="312"/>
                  </a:lnTo>
                  <a:lnTo>
                    <a:pt x="66" y="284"/>
                  </a:lnTo>
                  <a:lnTo>
                    <a:pt x="44" y="284"/>
                  </a:lnTo>
                  <a:lnTo>
                    <a:pt x="0" y="242"/>
                  </a:lnTo>
                  <a:lnTo>
                    <a:pt x="10" y="230"/>
                  </a:lnTo>
                  <a:lnTo>
                    <a:pt x="34" y="244"/>
                  </a:lnTo>
                  <a:lnTo>
                    <a:pt x="74" y="250"/>
                  </a:lnTo>
                  <a:lnTo>
                    <a:pt x="66" y="284"/>
                  </a:lnTo>
                  <a:lnTo>
                    <a:pt x="146" y="286"/>
                  </a:lnTo>
                  <a:lnTo>
                    <a:pt x="152" y="250"/>
                  </a:lnTo>
                  <a:lnTo>
                    <a:pt x="134" y="234"/>
                  </a:lnTo>
                  <a:lnTo>
                    <a:pt x="120" y="234"/>
                  </a:lnTo>
                  <a:lnTo>
                    <a:pt x="113" y="216"/>
                  </a:lnTo>
                  <a:lnTo>
                    <a:pt x="140" y="192"/>
                  </a:lnTo>
                  <a:lnTo>
                    <a:pt x="154" y="216"/>
                  </a:lnTo>
                  <a:lnTo>
                    <a:pt x="164" y="226"/>
                  </a:lnTo>
                  <a:lnTo>
                    <a:pt x="246" y="206"/>
                  </a:lnTo>
                  <a:lnTo>
                    <a:pt x="242" y="188"/>
                  </a:lnTo>
                  <a:lnTo>
                    <a:pt x="250" y="136"/>
                  </a:lnTo>
                  <a:lnTo>
                    <a:pt x="220" y="140"/>
                  </a:lnTo>
                  <a:lnTo>
                    <a:pt x="196" y="106"/>
                  </a:lnTo>
                  <a:lnTo>
                    <a:pt x="228" y="112"/>
                  </a:lnTo>
                  <a:lnTo>
                    <a:pt x="232" y="78"/>
                  </a:lnTo>
                  <a:lnTo>
                    <a:pt x="200" y="92"/>
                  </a:lnTo>
                  <a:lnTo>
                    <a:pt x="202" y="64"/>
                  </a:lnTo>
                  <a:lnTo>
                    <a:pt x="258" y="28"/>
                  </a:lnTo>
                  <a:lnTo>
                    <a:pt x="272" y="0"/>
                  </a:lnTo>
                  <a:lnTo>
                    <a:pt x="270" y="54"/>
                  </a:lnTo>
                  <a:lnTo>
                    <a:pt x="306" y="56"/>
                  </a:lnTo>
                  <a:lnTo>
                    <a:pt x="312" y="96"/>
                  </a:lnTo>
                  <a:lnTo>
                    <a:pt x="348" y="62"/>
                  </a:lnTo>
                  <a:lnTo>
                    <a:pt x="346" y="40"/>
                  </a:lnTo>
                  <a:lnTo>
                    <a:pt x="378" y="34"/>
                  </a:lnTo>
                  <a:lnTo>
                    <a:pt x="414" y="72"/>
                  </a:lnTo>
                  <a:lnTo>
                    <a:pt x="438" y="64"/>
                  </a:lnTo>
                  <a:lnTo>
                    <a:pt x="476" y="80"/>
                  </a:lnTo>
                  <a:lnTo>
                    <a:pt x="540" y="100"/>
                  </a:lnTo>
                  <a:lnTo>
                    <a:pt x="538" y="144"/>
                  </a:lnTo>
                  <a:lnTo>
                    <a:pt x="564" y="140"/>
                  </a:lnTo>
                  <a:lnTo>
                    <a:pt x="594" y="92"/>
                  </a:lnTo>
                  <a:lnTo>
                    <a:pt x="596" y="70"/>
                  </a:lnTo>
                  <a:lnTo>
                    <a:pt x="620" y="72"/>
                  </a:lnTo>
                  <a:lnTo>
                    <a:pt x="678" y="156"/>
                  </a:lnTo>
                  <a:lnTo>
                    <a:pt x="722" y="154"/>
                  </a:lnTo>
                  <a:lnTo>
                    <a:pt x="720" y="192"/>
                  </a:lnTo>
                  <a:lnTo>
                    <a:pt x="738" y="206"/>
                  </a:lnTo>
                  <a:lnTo>
                    <a:pt x="726" y="234"/>
                  </a:lnTo>
                  <a:lnTo>
                    <a:pt x="740" y="276"/>
                  </a:lnTo>
                  <a:lnTo>
                    <a:pt x="730" y="296"/>
                  </a:lnTo>
                  <a:lnTo>
                    <a:pt x="686" y="312"/>
                  </a:lnTo>
                  <a:lnTo>
                    <a:pt x="654" y="286"/>
                  </a:lnTo>
                  <a:lnTo>
                    <a:pt x="634" y="316"/>
                  </a:lnTo>
                  <a:lnTo>
                    <a:pt x="642" y="338"/>
                  </a:lnTo>
                  <a:lnTo>
                    <a:pt x="600" y="352"/>
                  </a:lnTo>
                  <a:lnTo>
                    <a:pt x="554" y="370"/>
                  </a:lnTo>
                  <a:lnTo>
                    <a:pt x="540" y="418"/>
                  </a:lnTo>
                  <a:lnTo>
                    <a:pt x="514" y="404"/>
                  </a:lnTo>
                  <a:lnTo>
                    <a:pt x="472" y="356"/>
                  </a:lnTo>
                  <a:lnTo>
                    <a:pt x="436" y="352"/>
                  </a:lnTo>
                  <a:lnTo>
                    <a:pt x="376" y="360"/>
                  </a:lnTo>
                  <a:lnTo>
                    <a:pt x="360" y="288"/>
                  </a:lnTo>
                  <a:lnTo>
                    <a:pt x="402" y="286"/>
                  </a:lnTo>
                  <a:lnTo>
                    <a:pt x="426" y="262"/>
                  </a:lnTo>
                  <a:lnTo>
                    <a:pt x="424" y="214"/>
                  </a:lnTo>
                  <a:lnTo>
                    <a:pt x="450" y="184"/>
                  </a:lnTo>
                  <a:lnTo>
                    <a:pt x="448" y="166"/>
                  </a:lnTo>
                  <a:lnTo>
                    <a:pt x="404" y="152"/>
                  </a:lnTo>
                  <a:lnTo>
                    <a:pt x="400" y="138"/>
                  </a:lnTo>
                  <a:lnTo>
                    <a:pt x="384" y="142"/>
                  </a:lnTo>
                  <a:lnTo>
                    <a:pt x="384" y="160"/>
                  </a:lnTo>
                  <a:lnTo>
                    <a:pt x="352" y="160"/>
                  </a:lnTo>
                  <a:lnTo>
                    <a:pt x="322" y="144"/>
                  </a:lnTo>
                  <a:lnTo>
                    <a:pt x="320" y="188"/>
                  </a:lnTo>
                  <a:lnTo>
                    <a:pt x="350" y="198"/>
                  </a:lnTo>
                  <a:lnTo>
                    <a:pt x="338" y="250"/>
                  </a:lnTo>
                  <a:lnTo>
                    <a:pt x="284" y="252"/>
                  </a:lnTo>
                  <a:lnTo>
                    <a:pt x="300" y="278"/>
                  </a:lnTo>
                  <a:lnTo>
                    <a:pt x="240" y="284"/>
                  </a:lnTo>
                  <a:lnTo>
                    <a:pt x="245" y="309"/>
                  </a:lnTo>
                  <a:lnTo>
                    <a:pt x="228" y="325"/>
                  </a:lnTo>
                  <a:lnTo>
                    <a:pt x="182" y="325"/>
                  </a:lnTo>
                  <a:lnTo>
                    <a:pt x="148" y="306"/>
                  </a:lnTo>
                  <a:lnTo>
                    <a:pt x="134" y="330"/>
                  </a:lnTo>
                  <a:lnTo>
                    <a:pt x="132" y="342"/>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95" name="Freeform 6179">
              <a:extLst>
                <a:ext uri="{FF2B5EF4-FFF2-40B4-BE49-F238E27FC236}">
                  <a16:creationId xmlns:a16="http://schemas.microsoft.com/office/drawing/2014/main" id="{50F363D9-008E-B884-E2FF-007B076CF0FB}"/>
                </a:ext>
              </a:extLst>
            </p:cNvPr>
            <p:cNvSpPr>
              <a:spLocks/>
            </p:cNvSpPr>
            <p:nvPr/>
          </p:nvSpPr>
          <p:spPr bwMode="gray">
            <a:xfrm>
              <a:off x="6910565" y="2101418"/>
              <a:ext cx="134906" cy="98090"/>
            </a:xfrm>
            <a:custGeom>
              <a:avLst/>
              <a:gdLst>
                <a:gd name="T0" fmla="*/ 0 w 162"/>
                <a:gd name="T1" fmla="*/ 30 h 124"/>
                <a:gd name="T2" fmla="*/ 2 w 162"/>
                <a:gd name="T3" fmla="*/ 86 h 124"/>
                <a:gd name="T4" fmla="*/ 38 w 162"/>
                <a:gd name="T5" fmla="*/ 90 h 124"/>
                <a:gd name="T6" fmla="*/ 46 w 162"/>
                <a:gd name="T7" fmla="*/ 124 h 124"/>
                <a:gd name="T8" fmla="*/ 80 w 162"/>
                <a:gd name="T9" fmla="*/ 96 h 124"/>
                <a:gd name="T10" fmla="*/ 82 w 162"/>
                <a:gd name="T11" fmla="*/ 74 h 124"/>
                <a:gd name="T12" fmla="*/ 106 w 162"/>
                <a:gd name="T13" fmla="*/ 66 h 124"/>
                <a:gd name="T14" fmla="*/ 156 w 162"/>
                <a:gd name="T15" fmla="*/ 54 h 124"/>
                <a:gd name="T16" fmla="*/ 158 w 162"/>
                <a:gd name="T17" fmla="*/ 26 h 124"/>
                <a:gd name="T18" fmla="*/ 142 w 162"/>
                <a:gd name="T19" fmla="*/ 18 h 124"/>
                <a:gd name="T20" fmla="*/ 162 w 162"/>
                <a:gd name="T21" fmla="*/ 2 h 124"/>
                <a:gd name="T22" fmla="*/ 108 w 162"/>
                <a:gd name="T23" fmla="*/ 0 h 124"/>
                <a:gd name="T24" fmla="*/ 68 w 162"/>
                <a:gd name="T25" fmla="*/ 28 h 124"/>
                <a:gd name="T26" fmla="*/ 56 w 162"/>
                <a:gd name="T27" fmla="*/ 26 h 124"/>
                <a:gd name="T28" fmla="*/ 24 w 162"/>
                <a:gd name="T29" fmla="*/ 8 h 124"/>
                <a:gd name="T30" fmla="*/ 22 w 162"/>
                <a:gd name="T31" fmla="*/ 34 h 124"/>
                <a:gd name="T32" fmla="*/ 0 w 162"/>
                <a:gd name="T33" fmla="*/ 3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 h="124">
                  <a:moveTo>
                    <a:pt x="0" y="30"/>
                  </a:moveTo>
                  <a:lnTo>
                    <a:pt x="2" y="86"/>
                  </a:lnTo>
                  <a:lnTo>
                    <a:pt x="38" y="90"/>
                  </a:lnTo>
                  <a:lnTo>
                    <a:pt x="46" y="124"/>
                  </a:lnTo>
                  <a:lnTo>
                    <a:pt x="80" y="96"/>
                  </a:lnTo>
                  <a:lnTo>
                    <a:pt x="82" y="74"/>
                  </a:lnTo>
                  <a:lnTo>
                    <a:pt x="106" y="66"/>
                  </a:lnTo>
                  <a:lnTo>
                    <a:pt x="156" y="54"/>
                  </a:lnTo>
                  <a:lnTo>
                    <a:pt x="158" y="26"/>
                  </a:lnTo>
                  <a:lnTo>
                    <a:pt x="142" y="18"/>
                  </a:lnTo>
                  <a:lnTo>
                    <a:pt x="162" y="2"/>
                  </a:lnTo>
                  <a:lnTo>
                    <a:pt x="108" y="0"/>
                  </a:lnTo>
                  <a:lnTo>
                    <a:pt x="68" y="28"/>
                  </a:lnTo>
                  <a:lnTo>
                    <a:pt x="56" y="26"/>
                  </a:lnTo>
                  <a:lnTo>
                    <a:pt x="24" y="8"/>
                  </a:lnTo>
                  <a:lnTo>
                    <a:pt x="22" y="34"/>
                  </a:lnTo>
                  <a:lnTo>
                    <a:pt x="0" y="30"/>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96" name="Freeform 6180">
              <a:extLst>
                <a:ext uri="{FF2B5EF4-FFF2-40B4-BE49-F238E27FC236}">
                  <a16:creationId xmlns:a16="http://schemas.microsoft.com/office/drawing/2014/main" id="{4AC5B48F-C6D2-3F78-4BF8-FED0EC5BF3DF}"/>
                </a:ext>
              </a:extLst>
            </p:cNvPr>
            <p:cNvSpPr>
              <a:spLocks/>
            </p:cNvSpPr>
            <p:nvPr/>
          </p:nvSpPr>
          <p:spPr bwMode="gray">
            <a:xfrm>
              <a:off x="6783412" y="2238150"/>
              <a:ext cx="111647" cy="68366"/>
            </a:xfrm>
            <a:custGeom>
              <a:avLst/>
              <a:gdLst>
                <a:gd name="T0" fmla="*/ 102 w 134"/>
                <a:gd name="T1" fmla="*/ 6 h 86"/>
                <a:gd name="T2" fmla="*/ 134 w 134"/>
                <a:gd name="T3" fmla="*/ 0 h 86"/>
                <a:gd name="T4" fmla="*/ 126 w 134"/>
                <a:gd name="T5" fmla="*/ 46 h 86"/>
                <a:gd name="T6" fmla="*/ 130 w 134"/>
                <a:gd name="T7" fmla="*/ 66 h 86"/>
                <a:gd name="T8" fmla="*/ 48 w 134"/>
                <a:gd name="T9" fmla="*/ 86 h 86"/>
                <a:gd name="T10" fmla="*/ 24 w 134"/>
                <a:gd name="T11" fmla="*/ 52 h 86"/>
                <a:gd name="T12" fmla="*/ 0 w 134"/>
                <a:gd name="T13" fmla="*/ 28 h 86"/>
                <a:gd name="T14" fmla="*/ 16 w 134"/>
                <a:gd name="T15" fmla="*/ 2 h 86"/>
                <a:gd name="T16" fmla="*/ 64 w 134"/>
                <a:gd name="T17" fmla="*/ 28 h 86"/>
                <a:gd name="T18" fmla="*/ 102 w 134"/>
                <a:gd name="T19" fmla="*/ 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86">
                  <a:moveTo>
                    <a:pt x="102" y="6"/>
                  </a:moveTo>
                  <a:lnTo>
                    <a:pt x="134" y="0"/>
                  </a:lnTo>
                  <a:lnTo>
                    <a:pt x="126" y="46"/>
                  </a:lnTo>
                  <a:lnTo>
                    <a:pt x="130" y="66"/>
                  </a:lnTo>
                  <a:lnTo>
                    <a:pt x="48" y="86"/>
                  </a:lnTo>
                  <a:lnTo>
                    <a:pt x="24" y="52"/>
                  </a:lnTo>
                  <a:lnTo>
                    <a:pt x="0" y="28"/>
                  </a:lnTo>
                  <a:lnTo>
                    <a:pt x="16" y="2"/>
                  </a:lnTo>
                  <a:lnTo>
                    <a:pt x="64" y="28"/>
                  </a:lnTo>
                  <a:lnTo>
                    <a:pt x="102" y="6"/>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97" name="Freeform 6181">
              <a:extLst>
                <a:ext uri="{FF2B5EF4-FFF2-40B4-BE49-F238E27FC236}">
                  <a16:creationId xmlns:a16="http://schemas.microsoft.com/office/drawing/2014/main" id="{564DFCF3-C648-9E33-243C-309A2FFC553D}"/>
                </a:ext>
              </a:extLst>
            </p:cNvPr>
            <p:cNvSpPr>
              <a:spLocks/>
            </p:cNvSpPr>
            <p:nvPr/>
          </p:nvSpPr>
          <p:spPr bwMode="gray">
            <a:xfrm>
              <a:off x="6743095" y="2297599"/>
              <a:ext cx="69779" cy="54990"/>
            </a:xfrm>
            <a:custGeom>
              <a:avLst/>
              <a:gdLst>
                <a:gd name="T0" fmla="*/ 44 w 84"/>
                <a:gd name="T1" fmla="*/ 0 h 72"/>
                <a:gd name="T2" fmla="*/ 44 w 84"/>
                <a:gd name="T3" fmla="*/ 16 h 72"/>
                <a:gd name="T4" fmla="*/ 68 w 84"/>
                <a:gd name="T5" fmla="*/ 24 h 72"/>
                <a:gd name="T6" fmla="*/ 84 w 84"/>
                <a:gd name="T7" fmla="*/ 34 h 72"/>
                <a:gd name="T8" fmla="*/ 78 w 84"/>
                <a:gd name="T9" fmla="*/ 72 h 72"/>
                <a:gd name="T10" fmla="*/ 0 w 84"/>
                <a:gd name="T11" fmla="*/ 72 h 72"/>
                <a:gd name="T12" fmla="*/ 6 w 84"/>
                <a:gd name="T13" fmla="*/ 40 h 72"/>
                <a:gd name="T14" fmla="*/ 44 w 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72">
                  <a:moveTo>
                    <a:pt x="44" y="0"/>
                  </a:moveTo>
                  <a:lnTo>
                    <a:pt x="44" y="16"/>
                  </a:lnTo>
                  <a:lnTo>
                    <a:pt x="68" y="24"/>
                  </a:lnTo>
                  <a:lnTo>
                    <a:pt x="84" y="34"/>
                  </a:lnTo>
                  <a:lnTo>
                    <a:pt x="78" y="72"/>
                  </a:lnTo>
                  <a:lnTo>
                    <a:pt x="0" y="72"/>
                  </a:lnTo>
                  <a:lnTo>
                    <a:pt x="6" y="40"/>
                  </a:lnTo>
                  <a:lnTo>
                    <a:pt x="44" y="0"/>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98" name="Freeform 6182">
              <a:extLst>
                <a:ext uri="{FF2B5EF4-FFF2-40B4-BE49-F238E27FC236}">
                  <a16:creationId xmlns:a16="http://schemas.microsoft.com/office/drawing/2014/main" id="{905E0C4C-4D6F-FF19-1AB8-978C23877E0F}"/>
                </a:ext>
              </a:extLst>
            </p:cNvPr>
            <p:cNvSpPr>
              <a:spLocks/>
            </p:cNvSpPr>
            <p:nvPr/>
          </p:nvSpPr>
          <p:spPr bwMode="gray">
            <a:xfrm>
              <a:off x="6707430" y="2236664"/>
              <a:ext cx="659025" cy="576653"/>
            </a:xfrm>
            <a:custGeom>
              <a:avLst/>
              <a:gdLst>
                <a:gd name="T0" fmla="*/ 126 w 794"/>
                <a:gd name="T1" fmla="*/ 166 h 730"/>
                <a:gd name="T2" fmla="*/ 204 w 794"/>
                <a:gd name="T3" fmla="*/ 186 h 730"/>
                <a:gd name="T4" fmla="*/ 218 w 794"/>
                <a:gd name="T5" fmla="*/ 146 h 730"/>
                <a:gd name="T6" fmla="*/ 262 w 794"/>
                <a:gd name="T7" fmla="*/ 114 h 730"/>
                <a:gd name="T8" fmla="*/ 322 w 794"/>
                <a:gd name="T9" fmla="*/ 60 h 730"/>
                <a:gd name="T10" fmla="*/ 300 w 794"/>
                <a:gd name="T11" fmla="*/ 6 h 730"/>
                <a:gd name="T12" fmla="*/ 358 w 794"/>
                <a:gd name="T13" fmla="*/ 24 h 730"/>
                <a:gd name="T14" fmla="*/ 374 w 794"/>
                <a:gd name="T15" fmla="*/ 0 h 730"/>
                <a:gd name="T16" fmla="*/ 422 w 794"/>
                <a:gd name="T17" fmla="*/ 30 h 730"/>
                <a:gd name="T18" fmla="*/ 402 w 794"/>
                <a:gd name="T19" fmla="*/ 78 h 730"/>
                <a:gd name="T20" fmla="*/ 376 w 794"/>
                <a:gd name="T21" fmla="*/ 154 h 730"/>
                <a:gd name="T22" fmla="*/ 356 w 794"/>
                <a:gd name="T23" fmla="*/ 222 h 730"/>
                <a:gd name="T24" fmla="*/ 444 w 794"/>
                <a:gd name="T25" fmla="*/ 218 h 730"/>
                <a:gd name="T26" fmla="*/ 520 w 794"/>
                <a:gd name="T27" fmla="*/ 278 h 730"/>
                <a:gd name="T28" fmla="*/ 616 w 794"/>
                <a:gd name="T29" fmla="*/ 200 h 730"/>
                <a:gd name="T30" fmla="*/ 630 w 794"/>
                <a:gd name="T31" fmla="*/ 148 h 730"/>
                <a:gd name="T32" fmla="*/ 706 w 794"/>
                <a:gd name="T33" fmla="*/ 160 h 730"/>
                <a:gd name="T34" fmla="*/ 702 w 794"/>
                <a:gd name="T35" fmla="*/ 94 h 730"/>
                <a:gd name="T36" fmla="*/ 730 w 794"/>
                <a:gd name="T37" fmla="*/ 62 h 730"/>
                <a:gd name="T38" fmla="*/ 732 w 794"/>
                <a:gd name="T39" fmla="*/ 126 h 730"/>
                <a:gd name="T40" fmla="*/ 794 w 794"/>
                <a:gd name="T41" fmla="*/ 202 h 730"/>
                <a:gd name="T42" fmla="*/ 706 w 794"/>
                <a:gd name="T43" fmla="*/ 306 h 730"/>
                <a:gd name="T44" fmla="*/ 650 w 794"/>
                <a:gd name="T45" fmla="*/ 264 h 730"/>
                <a:gd name="T46" fmla="*/ 598 w 794"/>
                <a:gd name="T47" fmla="*/ 324 h 730"/>
                <a:gd name="T48" fmla="*/ 538 w 794"/>
                <a:gd name="T49" fmla="*/ 388 h 730"/>
                <a:gd name="T50" fmla="*/ 492 w 794"/>
                <a:gd name="T51" fmla="*/ 402 h 730"/>
                <a:gd name="T52" fmla="*/ 400 w 794"/>
                <a:gd name="T53" fmla="*/ 354 h 730"/>
                <a:gd name="T54" fmla="*/ 322 w 794"/>
                <a:gd name="T55" fmla="*/ 468 h 730"/>
                <a:gd name="T56" fmla="*/ 360 w 794"/>
                <a:gd name="T57" fmla="*/ 514 h 730"/>
                <a:gd name="T58" fmla="*/ 386 w 794"/>
                <a:gd name="T59" fmla="*/ 572 h 730"/>
                <a:gd name="T60" fmla="*/ 354 w 794"/>
                <a:gd name="T61" fmla="*/ 598 h 730"/>
                <a:gd name="T62" fmla="*/ 296 w 794"/>
                <a:gd name="T63" fmla="*/ 602 h 730"/>
                <a:gd name="T64" fmla="*/ 246 w 794"/>
                <a:gd name="T65" fmla="*/ 562 h 730"/>
                <a:gd name="T66" fmla="*/ 213 w 794"/>
                <a:gd name="T67" fmla="*/ 610 h 730"/>
                <a:gd name="T68" fmla="*/ 154 w 794"/>
                <a:gd name="T69" fmla="*/ 714 h 730"/>
                <a:gd name="T70" fmla="*/ 106 w 794"/>
                <a:gd name="T71" fmla="*/ 686 h 730"/>
                <a:gd name="T72" fmla="*/ 36 w 794"/>
                <a:gd name="T73" fmla="*/ 644 h 730"/>
                <a:gd name="T74" fmla="*/ 114 w 794"/>
                <a:gd name="T75" fmla="*/ 648 h 730"/>
                <a:gd name="T76" fmla="*/ 132 w 794"/>
                <a:gd name="T77" fmla="*/ 586 h 730"/>
                <a:gd name="T78" fmla="*/ 182 w 794"/>
                <a:gd name="T79" fmla="*/ 568 h 730"/>
                <a:gd name="T80" fmla="*/ 154 w 794"/>
                <a:gd name="T81" fmla="*/ 536 h 730"/>
                <a:gd name="T82" fmla="*/ 86 w 794"/>
                <a:gd name="T83" fmla="*/ 588 h 730"/>
                <a:gd name="T84" fmla="*/ 48 w 794"/>
                <a:gd name="T85" fmla="*/ 542 h 730"/>
                <a:gd name="T86" fmla="*/ 0 w 794"/>
                <a:gd name="T87" fmla="*/ 476 h 730"/>
                <a:gd name="T88" fmla="*/ 100 w 794"/>
                <a:gd name="T89" fmla="*/ 440 h 730"/>
                <a:gd name="T90" fmla="*/ 118 w 794"/>
                <a:gd name="T91" fmla="*/ 402 h 730"/>
                <a:gd name="T92" fmla="*/ 168 w 794"/>
                <a:gd name="T93" fmla="*/ 374 h 730"/>
                <a:gd name="T94" fmla="*/ 246 w 794"/>
                <a:gd name="T95" fmla="*/ 306 h 730"/>
                <a:gd name="T96" fmla="*/ 240 w 794"/>
                <a:gd name="T97" fmla="*/ 260 h 730"/>
                <a:gd name="T98" fmla="*/ 140 w 794"/>
                <a:gd name="T99" fmla="*/ 225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4" h="730">
                  <a:moveTo>
                    <a:pt x="108" y="205"/>
                  </a:moveTo>
                  <a:lnTo>
                    <a:pt x="126" y="166"/>
                  </a:lnTo>
                  <a:lnTo>
                    <a:pt x="168" y="190"/>
                  </a:lnTo>
                  <a:lnTo>
                    <a:pt x="204" y="186"/>
                  </a:lnTo>
                  <a:lnTo>
                    <a:pt x="220" y="168"/>
                  </a:lnTo>
                  <a:lnTo>
                    <a:pt x="218" y="146"/>
                  </a:lnTo>
                  <a:lnTo>
                    <a:pt x="274" y="140"/>
                  </a:lnTo>
                  <a:lnTo>
                    <a:pt x="262" y="114"/>
                  </a:lnTo>
                  <a:lnTo>
                    <a:pt x="314" y="112"/>
                  </a:lnTo>
                  <a:lnTo>
                    <a:pt x="322" y="60"/>
                  </a:lnTo>
                  <a:lnTo>
                    <a:pt x="294" y="48"/>
                  </a:lnTo>
                  <a:lnTo>
                    <a:pt x="300" y="6"/>
                  </a:lnTo>
                  <a:lnTo>
                    <a:pt x="332" y="22"/>
                  </a:lnTo>
                  <a:lnTo>
                    <a:pt x="358" y="24"/>
                  </a:lnTo>
                  <a:lnTo>
                    <a:pt x="360" y="0"/>
                  </a:lnTo>
                  <a:lnTo>
                    <a:pt x="374" y="0"/>
                  </a:lnTo>
                  <a:lnTo>
                    <a:pt x="376" y="16"/>
                  </a:lnTo>
                  <a:lnTo>
                    <a:pt x="422" y="30"/>
                  </a:lnTo>
                  <a:lnTo>
                    <a:pt x="422" y="50"/>
                  </a:lnTo>
                  <a:lnTo>
                    <a:pt x="402" y="78"/>
                  </a:lnTo>
                  <a:lnTo>
                    <a:pt x="402" y="122"/>
                  </a:lnTo>
                  <a:lnTo>
                    <a:pt x="376" y="154"/>
                  </a:lnTo>
                  <a:lnTo>
                    <a:pt x="336" y="150"/>
                  </a:lnTo>
                  <a:lnTo>
                    <a:pt x="356" y="222"/>
                  </a:lnTo>
                  <a:lnTo>
                    <a:pt x="422" y="214"/>
                  </a:lnTo>
                  <a:lnTo>
                    <a:pt x="444" y="218"/>
                  </a:lnTo>
                  <a:lnTo>
                    <a:pt x="492" y="270"/>
                  </a:lnTo>
                  <a:lnTo>
                    <a:pt x="520" y="278"/>
                  </a:lnTo>
                  <a:lnTo>
                    <a:pt x="528" y="231"/>
                  </a:lnTo>
                  <a:lnTo>
                    <a:pt x="616" y="200"/>
                  </a:lnTo>
                  <a:lnTo>
                    <a:pt x="612" y="176"/>
                  </a:lnTo>
                  <a:lnTo>
                    <a:pt x="630" y="148"/>
                  </a:lnTo>
                  <a:lnTo>
                    <a:pt x="660" y="174"/>
                  </a:lnTo>
                  <a:lnTo>
                    <a:pt x="706" y="160"/>
                  </a:lnTo>
                  <a:lnTo>
                    <a:pt x="712" y="140"/>
                  </a:lnTo>
                  <a:lnTo>
                    <a:pt x="702" y="94"/>
                  </a:lnTo>
                  <a:lnTo>
                    <a:pt x="712" y="72"/>
                  </a:lnTo>
                  <a:lnTo>
                    <a:pt x="730" y="62"/>
                  </a:lnTo>
                  <a:lnTo>
                    <a:pt x="752" y="118"/>
                  </a:lnTo>
                  <a:lnTo>
                    <a:pt x="732" y="126"/>
                  </a:lnTo>
                  <a:lnTo>
                    <a:pt x="790" y="174"/>
                  </a:lnTo>
                  <a:lnTo>
                    <a:pt x="794" y="202"/>
                  </a:lnTo>
                  <a:lnTo>
                    <a:pt x="772" y="268"/>
                  </a:lnTo>
                  <a:lnTo>
                    <a:pt x="706" y="306"/>
                  </a:lnTo>
                  <a:lnTo>
                    <a:pt x="704" y="276"/>
                  </a:lnTo>
                  <a:lnTo>
                    <a:pt x="650" y="264"/>
                  </a:lnTo>
                  <a:lnTo>
                    <a:pt x="634" y="312"/>
                  </a:lnTo>
                  <a:lnTo>
                    <a:pt x="598" y="324"/>
                  </a:lnTo>
                  <a:lnTo>
                    <a:pt x="554" y="390"/>
                  </a:lnTo>
                  <a:lnTo>
                    <a:pt x="538" y="388"/>
                  </a:lnTo>
                  <a:lnTo>
                    <a:pt x="518" y="410"/>
                  </a:lnTo>
                  <a:lnTo>
                    <a:pt x="492" y="402"/>
                  </a:lnTo>
                  <a:lnTo>
                    <a:pt x="466" y="412"/>
                  </a:lnTo>
                  <a:lnTo>
                    <a:pt x="400" y="354"/>
                  </a:lnTo>
                  <a:lnTo>
                    <a:pt x="284" y="388"/>
                  </a:lnTo>
                  <a:lnTo>
                    <a:pt x="322" y="468"/>
                  </a:lnTo>
                  <a:lnTo>
                    <a:pt x="344" y="466"/>
                  </a:lnTo>
                  <a:lnTo>
                    <a:pt x="360" y="514"/>
                  </a:lnTo>
                  <a:lnTo>
                    <a:pt x="388" y="530"/>
                  </a:lnTo>
                  <a:lnTo>
                    <a:pt x="386" y="572"/>
                  </a:lnTo>
                  <a:lnTo>
                    <a:pt x="370" y="572"/>
                  </a:lnTo>
                  <a:lnTo>
                    <a:pt x="354" y="598"/>
                  </a:lnTo>
                  <a:lnTo>
                    <a:pt x="324" y="592"/>
                  </a:lnTo>
                  <a:lnTo>
                    <a:pt x="296" y="602"/>
                  </a:lnTo>
                  <a:lnTo>
                    <a:pt x="268" y="570"/>
                  </a:lnTo>
                  <a:lnTo>
                    <a:pt x="246" y="562"/>
                  </a:lnTo>
                  <a:lnTo>
                    <a:pt x="206" y="584"/>
                  </a:lnTo>
                  <a:lnTo>
                    <a:pt x="213" y="610"/>
                  </a:lnTo>
                  <a:lnTo>
                    <a:pt x="146" y="670"/>
                  </a:lnTo>
                  <a:lnTo>
                    <a:pt x="154" y="714"/>
                  </a:lnTo>
                  <a:lnTo>
                    <a:pt x="116" y="730"/>
                  </a:lnTo>
                  <a:lnTo>
                    <a:pt x="106" y="686"/>
                  </a:lnTo>
                  <a:lnTo>
                    <a:pt x="54" y="696"/>
                  </a:lnTo>
                  <a:lnTo>
                    <a:pt x="36" y="644"/>
                  </a:lnTo>
                  <a:lnTo>
                    <a:pt x="76" y="656"/>
                  </a:lnTo>
                  <a:lnTo>
                    <a:pt x="114" y="648"/>
                  </a:lnTo>
                  <a:lnTo>
                    <a:pt x="99" y="625"/>
                  </a:lnTo>
                  <a:lnTo>
                    <a:pt x="132" y="586"/>
                  </a:lnTo>
                  <a:lnTo>
                    <a:pt x="156" y="598"/>
                  </a:lnTo>
                  <a:lnTo>
                    <a:pt x="182" y="568"/>
                  </a:lnTo>
                  <a:lnTo>
                    <a:pt x="160" y="550"/>
                  </a:lnTo>
                  <a:lnTo>
                    <a:pt x="154" y="536"/>
                  </a:lnTo>
                  <a:lnTo>
                    <a:pt x="129" y="546"/>
                  </a:lnTo>
                  <a:lnTo>
                    <a:pt x="86" y="588"/>
                  </a:lnTo>
                  <a:lnTo>
                    <a:pt x="58" y="592"/>
                  </a:lnTo>
                  <a:lnTo>
                    <a:pt x="48" y="542"/>
                  </a:lnTo>
                  <a:lnTo>
                    <a:pt x="18" y="524"/>
                  </a:lnTo>
                  <a:lnTo>
                    <a:pt x="0" y="476"/>
                  </a:lnTo>
                  <a:lnTo>
                    <a:pt x="34" y="476"/>
                  </a:lnTo>
                  <a:lnTo>
                    <a:pt x="100" y="440"/>
                  </a:lnTo>
                  <a:lnTo>
                    <a:pt x="94" y="416"/>
                  </a:lnTo>
                  <a:lnTo>
                    <a:pt x="118" y="402"/>
                  </a:lnTo>
                  <a:lnTo>
                    <a:pt x="146" y="406"/>
                  </a:lnTo>
                  <a:lnTo>
                    <a:pt x="168" y="374"/>
                  </a:lnTo>
                  <a:lnTo>
                    <a:pt x="250" y="334"/>
                  </a:lnTo>
                  <a:lnTo>
                    <a:pt x="246" y="306"/>
                  </a:lnTo>
                  <a:lnTo>
                    <a:pt x="264" y="284"/>
                  </a:lnTo>
                  <a:lnTo>
                    <a:pt x="240" y="260"/>
                  </a:lnTo>
                  <a:lnTo>
                    <a:pt x="212" y="218"/>
                  </a:lnTo>
                  <a:lnTo>
                    <a:pt x="140" y="225"/>
                  </a:lnTo>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99" name="Freeform 6183">
              <a:extLst>
                <a:ext uri="{FF2B5EF4-FFF2-40B4-BE49-F238E27FC236}">
                  <a16:creationId xmlns:a16="http://schemas.microsoft.com/office/drawing/2014/main" id="{0106066C-EA6E-D021-03AE-48EBB5B5F519}"/>
                </a:ext>
              </a:extLst>
            </p:cNvPr>
            <p:cNvSpPr>
              <a:spLocks/>
            </p:cNvSpPr>
            <p:nvPr/>
          </p:nvSpPr>
          <p:spPr bwMode="gray">
            <a:xfrm>
              <a:off x="7048573" y="2053859"/>
              <a:ext cx="733456" cy="662853"/>
            </a:xfrm>
            <a:custGeom>
              <a:avLst/>
              <a:gdLst>
                <a:gd name="T0" fmla="*/ 26 w 882"/>
                <a:gd name="T1" fmla="*/ 149 h 837"/>
                <a:gd name="T2" fmla="*/ 101 w 882"/>
                <a:gd name="T3" fmla="*/ 192 h 837"/>
                <a:gd name="T4" fmla="*/ 161 w 882"/>
                <a:gd name="T5" fmla="*/ 180 h 837"/>
                <a:gd name="T6" fmla="*/ 242 w 882"/>
                <a:gd name="T7" fmla="*/ 246 h 837"/>
                <a:gd name="T8" fmla="*/ 305 w 882"/>
                <a:gd name="T9" fmla="*/ 303 h 837"/>
                <a:gd name="T10" fmla="*/ 326 w 882"/>
                <a:gd name="T11" fmla="*/ 357 h 837"/>
                <a:gd name="T12" fmla="*/ 359 w 882"/>
                <a:gd name="T13" fmla="*/ 503 h 837"/>
                <a:gd name="T14" fmla="*/ 242 w 882"/>
                <a:gd name="T15" fmla="*/ 494 h 837"/>
                <a:gd name="T16" fmla="*/ 141 w 882"/>
                <a:gd name="T17" fmla="*/ 620 h 837"/>
                <a:gd name="T18" fmla="*/ 138 w 882"/>
                <a:gd name="T19" fmla="*/ 653 h 837"/>
                <a:gd name="T20" fmla="*/ 252 w 882"/>
                <a:gd name="T21" fmla="*/ 662 h 837"/>
                <a:gd name="T22" fmla="*/ 300 w 882"/>
                <a:gd name="T23" fmla="*/ 609 h 837"/>
                <a:gd name="T24" fmla="*/ 377 w 882"/>
                <a:gd name="T25" fmla="*/ 644 h 837"/>
                <a:gd name="T26" fmla="*/ 411 w 882"/>
                <a:gd name="T27" fmla="*/ 636 h 837"/>
                <a:gd name="T28" fmla="*/ 503 w 882"/>
                <a:gd name="T29" fmla="*/ 662 h 837"/>
                <a:gd name="T30" fmla="*/ 546 w 882"/>
                <a:gd name="T31" fmla="*/ 684 h 837"/>
                <a:gd name="T32" fmla="*/ 603 w 882"/>
                <a:gd name="T33" fmla="*/ 662 h 837"/>
                <a:gd name="T34" fmla="*/ 585 w 882"/>
                <a:gd name="T35" fmla="*/ 588 h 837"/>
                <a:gd name="T36" fmla="*/ 599 w 882"/>
                <a:gd name="T37" fmla="*/ 539 h 837"/>
                <a:gd name="T38" fmla="*/ 641 w 882"/>
                <a:gd name="T39" fmla="*/ 608 h 837"/>
                <a:gd name="T40" fmla="*/ 668 w 882"/>
                <a:gd name="T41" fmla="*/ 593 h 837"/>
                <a:gd name="T42" fmla="*/ 695 w 882"/>
                <a:gd name="T43" fmla="*/ 627 h 837"/>
                <a:gd name="T44" fmla="*/ 792 w 882"/>
                <a:gd name="T45" fmla="*/ 834 h 837"/>
                <a:gd name="T46" fmla="*/ 827 w 882"/>
                <a:gd name="T47" fmla="*/ 812 h 837"/>
                <a:gd name="T48" fmla="*/ 816 w 882"/>
                <a:gd name="T49" fmla="*/ 758 h 837"/>
                <a:gd name="T50" fmla="*/ 806 w 882"/>
                <a:gd name="T51" fmla="*/ 693 h 837"/>
                <a:gd name="T52" fmla="*/ 809 w 882"/>
                <a:gd name="T53" fmla="*/ 608 h 837"/>
                <a:gd name="T54" fmla="*/ 882 w 882"/>
                <a:gd name="T55" fmla="*/ 504 h 837"/>
                <a:gd name="T56" fmla="*/ 831 w 882"/>
                <a:gd name="T57" fmla="*/ 489 h 837"/>
                <a:gd name="T58" fmla="*/ 810 w 882"/>
                <a:gd name="T59" fmla="*/ 390 h 837"/>
                <a:gd name="T60" fmla="*/ 798 w 882"/>
                <a:gd name="T61" fmla="*/ 378 h 837"/>
                <a:gd name="T62" fmla="*/ 800 w 882"/>
                <a:gd name="T63" fmla="*/ 336 h 837"/>
                <a:gd name="T64" fmla="*/ 762 w 882"/>
                <a:gd name="T65" fmla="*/ 261 h 837"/>
                <a:gd name="T66" fmla="*/ 773 w 882"/>
                <a:gd name="T67" fmla="*/ 236 h 837"/>
                <a:gd name="T68" fmla="*/ 797 w 882"/>
                <a:gd name="T69" fmla="*/ 162 h 837"/>
                <a:gd name="T70" fmla="*/ 800 w 882"/>
                <a:gd name="T71" fmla="*/ 75 h 837"/>
                <a:gd name="T72" fmla="*/ 710 w 882"/>
                <a:gd name="T73" fmla="*/ 71 h 837"/>
                <a:gd name="T74" fmla="*/ 644 w 882"/>
                <a:gd name="T75" fmla="*/ 12 h 837"/>
                <a:gd name="T76" fmla="*/ 575 w 882"/>
                <a:gd name="T77" fmla="*/ 2 h 837"/>
                <a:gd name="T78" fmla="*/ 504 w 882"/>
                <a:gd name="T79" fmla="*/ 53 h 837"/>
                <a:gd name="T80" fmla="*/ 449 w 882"/>
                <a:gd name="T81" fmla="*/ 113 h 837"/>
                <a:gd name="T82" fmla="*/ 348 w 882"/>
                <a:gd name="T83" fmla="*/ 113 h 837"/>
                <a:gd name="T84" fmla="*/ 246 w 882"/>
                <a:gd name="T85" fmla="*/ 132 h 837"/>
                <a:gd name="T86" fmla="*/ 209 w 882"/>
                <a:gd name="T87" fmla="*/ 56 h 837"/>
                <a:gd name="T88" fmla="*/ 117 w 882"/>
                <a:gd name="T89" fmla="*/ 84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2" h="837">
                  <a:moveTo>
                    <a:pt x="108" y="126"/>
                  </a:moveTo>
                  <a:lnTo>
                    <a:pt x="69" y="143"/>
                  </a:lnTo>
                  <a:lnTo>
                    <a:pt x="26" y="149"/>
                  </a:lnTo>
                  <a:lnTo>
                    <a:pt x="0" y="156"/>
                  </a:lnTo>
                  <a:lnTo>
                    <a:pt x="42" y="173"/>
                  </a:lnTo>
                  <a:lnTo>
                    <a:pt x="101" y="192"/>
                  </a:lnTo>
                  <a:lnTo>
                    <a:pt x="102" y="237"/>
                  </a:lnTo>
                  <a:lnTo>
                    <a:pt x="126" y="234"/>
                  </a:lnTo>
                  <a:lnTo>
                    <a:pt x="161" y="180"/>
                  </a:lnTo>
                  <a:lnTo>
                    <a:pt x="161" y="164"/>
                  </a:lnTo>
                  <a:lnTo>
                    <a:pt x="180" y="162"/>
                  </a:lnTo>
                  <a:lnTo>
                    <a:pt x="242" y="246"/>
                  </a:lnTo>
                  <a:lnTo>
                    <a:pt x="285" y="248"/>
                  </a:lnTo>
                  <a:lnTo>
                    <a:pt x="287" y="284"/>
                  </a:lnTo>
                  <a:lnTo>
                    <a:pt x="305" y="303"/>
                  </a:lnTo>
                  <a:lnTo>
                    <a:pt x="317" y="294"/>
                  </a:lnTo>
                  <a:lnTo>
                    <a:pt x="339" y="347"/>
                  </a:lnTo>
                  <a:lnTo>
                    <a:pt x="326" y="357"/>
                  </a:lnTo>
                  <a:lnTo>
                    <a:pt x="383" y="405"/>
                  </a:lnTo>
                  <a:lnTo>
                    <a:pt x="380" y="440"/>
                  </a:lnTo>
                  <a:lnTo>
                    <a:pt x="359" y="503"/>
                  </a:lnTo>
                  <a:lnTo>
                    <a:pt x="296" y="539"/>
                  </a:lnTo>
                  <a:lnTo>
                    <a:pt x="294" y="510"/>
                  </a:lnTo>
                  <a:lnTo>
                    <a:pt x="242" y="494"/>
                  </a:lnTo>
                  <a:lnTo>
                    <a:pt x="224" y="539"/>
                  </a:lnTo>
                  <a:lnTo>
                    <a:pt x="188" y="555"/>
                  </a:lnTo>
                  <a:lnTo>
                    <a:pt x="141" y="620"/>
                  </a:lnTo>
                  <a:lnTo>
                    <a:pt x="128" y="621"/>
                  </a:lnTo>
                  <a:lnTo>
                    <a:pt x="144" y="638"/>
                  </a:lnTo>
                  <a:lnTo>
                    <a:pt x="138" y="653"/>
                  </a:lnTo>
                  <a:lnTo>
                    <a:pt x="153" y="677"/>
                  </a:lnTo>
                  <a:lnTo>
                    <a:pt x="188" y="677"/>
                  </a:lnTo>
                  <a:lnTo>
                    <a:pt x="252" y="662"/>
                  </a:lnTo>
                  <a:lnTo>
                    <a:pt x="275" y="680"/>
                  </a:lnTo>
                  <a:lnTo>
                    <a:pt x="311" y="647"/>
                  </a:lnTo>
                  <a:lnTo>
                    <a:pt x="300" y="609"/>
                  </a:lnTo>
                  <a:lnTo>
                    <a:pt x="329" y="606"/>
                  </a:lnTo>
                  <a:lnTo>
                    <a:pt x="345" y="590"/>
                  </a:lnTo>
                  <a:lnTo>
                    <a:pt x="377" y="644"/>
                  </a:lnTo>
                  <a:lnTo>
                    <a:pt x="375" y="663"/>
                  </a:lnTo>
                  <a:lnTo>
                    <a:pt x="420" y="663"/>
                  </a:lnTo>
                  <a:lnTo>
                    <a:pt x="411" y="636"/>
                  </a:lnTo>
                  <a:lnTo>
                    <a:pt x="435" y="641"/>
                  </a:lnTo>
                  <a:lnTo>
                    <a:pt x="459" y="627"/>
                  </a:lnTo>
                  <a:lnTo>
                    <a:pt x="503" y="662"/>
                  </a:lnTo>
                  <a:lnTo>
                    <a:pt x="567" y="650"/>
                  </a:lnTo>
                  <a:lnTo>
                    <a:pt x="545" y="668"/>
                  </a:lnTo>
                  <a:lnTo>
                    <a:pt x="546" y="684"/>
                  </a:lnTo>
                  <a:lnTo>
                    <a:pt x="569" y="692"/>
                  </a:lnTo>
                  <a:lnTo>
                    <a:pt x="585" y="692"/>
                  </a:lnTo>
                  <a:lnTo>
                    <a:pt x="603" y="662"/>
                  </a:lnTo>
                  <a:lnTo>
                    <a:pt x="606" y="648"/>
                  </a:lnTo>
                  <a:lnTo>
                    <a:pt x="603" y="638"/>
                  </a:lnTo>
                  <a:lnTo>
                    <a:pt x="585" y="588"/>
                  </a:lnTo>
                  <a:lnTo>
                    <a:pt x="584" y="554"/>
                  </a:lnTo>
                  <a:lnTo>
                    <a:pt x="587" y="530"/>
                  </a:lnTo>
                  <a:lnTo>
                    <a:pt x="599" y="539"/>
                  </a:lnTo>
                  <a:lnTo>
                    <a:pt x="611" y="591"/>
                  </a:lnTo>
                  <a:lnTo>
                    <a:pt x="618" y="611"/>
                  </a:lnTo>
                  <a:lnTo>
                    <a:pt x="641" y="608"/>
                  </a:lnTo>
                  <a:lnTo>
                    <a:pt x="641" y="594"/>
                  </a:lnTo>
                  <a:lnTo>
                    <a:pt x="654" y="581"/>
                  </a:lnTo>
                  <a:lnTo>
                    <a:pt x="668" y="593"/>
                  </a:lnTo>
                  <a:lnTo>
                    <a:pt x="686" y="591"/>
                  </a:lnTo>
                  <a:lnTo>
                    <a:pt x="705" y="614"/>
                  </a:lnTo>
                  <a:lnTo>
                    <a:pt x="695" y="627"/>
                  </a:lnTo>
                  <a:lnTo>
                    <a:pt x="716" y="656"/>
                  </a:lnTo>
                  <a:lnTo>
                    <a:pt x="752" y="774"/>
                  </a:lnTo>
                  <a:lnTo>
                    <a:pt x="792" y="834"/>
                  </a:lnTo>
                  <a:lnTo>
                    <a:pt x="824" y="837"/>
                  </a:lnTo>
                  <a:lnTo>
                    <a:pt x="830" y="827"/>
                  </a:lnTo>
                  <a:lnTo>
                    <a:pt x="827" y="812"/>
                  </a:lnTo>
                  <a:lnTo>
                    <a:pt x="833" y="792"/>
                  </a:lnTo>
                  <a:lnTo>
                    <a:pt x="821" y="774"/>
                  </a:lnTo>
                  <a:lnTo>
                    <a:pt x="816" y="758"/>
                  </a:lnTo>
                  <a:lnTo>
                    <a:pt x="816" y="741"/>
                  </a:lnTo>
                  <a:lnTo>
                    <a:pt x="812" y="713"/>
                  </a:lnTo>
                  <a:lnTo>
                    <a:pt x="806" y="693"/>
                  </a:lnTo>
                  <a:lnTo>
                    <a:pt x="807" y="680"/>
                  </a:lnTo>
                  <a:lnTo>
                    <a:pt x="824" y="653"/>
                  </a:lnTo>
                  <a:lnTo>
                    <a:pt x="809" y="608"/>
                  </a:lnTo>
                  <a:lnTo>
                    <a:pt x="804" y="576"/>
                  </a:lnTo>
                  <a:lnTo>
                    <a:pt x="848" y="567"/>
                  </a:lnTo>
                  <a:lnTo>
                    <a:pt x="882" y="504"/>
                  </a:lnTo>
                  <a:lnTo>
                    <a:pt x="834" y="515"/>
                  </a:lnTo>
                  <a:lnTo>
                    <a:pt x="836" y="501"/>
                  </a:lnTo>
                  <a:lnTo>
                    <a:pt x="831" y="489"/>
                  </a:lnTo>
                  <a:lnTo>
                    <a:pt x="824" y="434"/>
                  </a:lnTo>
                  <a:lnTo>
                    <a:pt x="810" y="425"/>
                  </a:lnTo>
                  <a:lnTo>
                    <a:pt x="810" y="390"/>
                  </a:lnTo>
                  <a:lnTo>
                    <a:pt x="780" y="392"/>
                  </a:lnTo>
                  <a:lnTo>
                    <a:pt x="782" y="380"/>
                  </a:lnTo>
                  <a:lnTo>
                    <a:pt x="798" y="378"/>
                  </a:lnTo>
                  <a:lnTo>
                    <a:pt x="795" y="359"/>
                  </a:lnTo>
                  <a:lnTo>
                    <a:pt x="815" y="350"/>
                  </a:lnTo>
                  <a:lnTo>
                    <a:pt x="800" y="336"/>
                  </a:lnTo>
                  <a:lnTo>
                    <a:pt x="792" y="312"/>
                  </a:lnTo>
                  <a:lnTo>
                    <a:pt x="803" y="293"/>
                  </a:lnTo>
                  <a:lnTo>
                    <a:pt x="762" y="261"/>
                  </a:lnTo>
                  <a:lnTo>
                    <a:pt x="785" y="258"/>
                  </a:lnTo>
                  <a:lnTo>
                    <a:pt x="783" y="237"/>
                  </a:lnTo>
                  <a:lnTo>
                    <a:pt x="773" y="236"/>
                  </a:lnTo>
                  <a:lnTo>
                    <a:pt x="771" y="192"/>
                  </a:lnTo>
                  <a:lnTo>
                    <a:pt x="785" y="191"/>
                  </a:lnTo>
                  <a:lnTo>
                    <a:pt x="797" y="162"/>
                  </a:lnTo>
                  <a:lnTo>
                    <a:pt x="840" y="96"/>
                  </a:lnTo>
                  <a:lnTo>
                    <a:pt x="824" y="84"/>
                  </a:lnTo>
                  <a:lnTo>
                    <a:pt x="800" y="75"/>
                  </a:lnTo>
                  <a:lnTo>
                    <a:pt x="779" y="90"/>
                  </a:lnTo>
                  <a:lnTo>
                    <a:pt x="731" y="83"/>
                  </a:lnTo>
                  <a:lnTo>
                    <a:pt x="710" y="71"/>
                  </a:lnTo>
                  <a:lnTo>
                    <a:pt x="698" y="53"/>
                  </a:lnTo>
                  <a:lnTo>
                    <a:pt x="692" y="26"/>
                  </a:lnTo>
                  <a:lnTo>
                    <a:pt x="644" y="12"/>
                  </a:lnTo>
                  <a:lnTo>
                    <a:pt x="611" y="18"/>
                  </a:lnTo>
                  <a:lnTo>
                    <a:pt x="593" y="0"/>
                  </a:lnTo>
                  <a:lnTo>
                    <a:pt x="575" y="2"/>
                  </a:lnTo>
                  <a:lnTo>
                    <a:pt x="543" y="42"/>
                  </a:lnTo>
                  <a:lnTo>
                    <a:pt x="527" y="50"/>
                  </a:lnTo>
                  <a:lnTo>
                    <a:pt x="504" y="53"/>
                  </a:lnTo>
                  <a:lnTo>
                    <a:pt x="486" y="65"/>
                  </a:lnTo>
                  <a:lnTo>
                    <a:pt x="461" y="72"/>
                  </a:lnTo>
                  <a:lnTo>
                    <a:pt x="449" y="113"/>
                  </a:lnTo>
                  <a:lnTo>
                    <a:pt x="420" y="96"/>
                  </a:lnTo>
                  <a:lnTo>
                    <a:pt x="366" y="125"/>
                  </a:lnTo>
                  <a:lnTo>
                    <a:pt x="348" y="113"/>
                  </a:lnTo>
                  <a:lnTo>
                    <a:pt x="282" y="116"/>
                  </a:lnTo>
                  <a:lnTo>
                    <a:pt x="284" y="135"/>
                  </a:lnTo>
                  <a:lnTo>
                    <a:pt x="246" y="132"/>
                  </a:lnTo>
                  <a:lnTo>
                    <a:pt x="252" y="92"/>
                  </a:lnTo>
                  <a:lnTo>
                    <a:pt x="237" y="65"/>
                  </a:lnTo>
                  <a:lnTo>
                    <a:pt x="209" y="56"/>
                  </a:lnTo>
                  <a:lnTo>
                    <a:pt x="162" y="72"/>
                  </a:lnTo>
                  <a:lnTo>
                    <a:pt x="135" y="63"/>
                  </a:lnTo>
                  <a:lnTo>
                    <a:pt x="117" y="84"/>
                  </a:lnTo>
                  <a:lnTo>
                    <a:pt x="108" y="126"/>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00" name="Freeform 6184">
              <a:extLst>
                <a:ext uri="{FF2B5EF4-FFF2-40B4-BE49-F238E27FC236}">
                  <a16:creationId xmlns:a16="http://schemas.microsoft.com/office/drawing/2014/main" id="{B27851A1-E000-39AE-6A06-F14506EE476F}"/>
                </a:ext>
              </a:extLst>
            </p:cNvPr>
            <p:cNvSpPr>
              <a:spLocks/>
            </p:cNvSpPr>
            <p:nvPr/>
          </p:nvSpPr>
          <p:spPr bwMode="gray">
            <a:xfrm>
              <a:off x="7554084" y="2902490"/>
              <a:ext cx="355098" cy="319537"/>
            </a:xfrm>
            <a:custGeom>
              <a:avLst/>
              <a:gdLst>
                <a:gd name="T0" fmla="*/ 24 w 426"/>
                <a:gd name="T1" fmla="*/ 57 h 404"/>
                <a:gd name="T2" fmla="*/ 0 w 426"/>
                <a:gd name="T3" fmla="*/ 39 h 404"/>
                <a:gd name="T4" fmla="*/ 11 w 426"/>
                <a:gd name="T5" fmla="*/ 15 h 404"/>
                <a:gd name="T6" fmla="*/ 48 w 426"/>
                <a:gd name="T7" fmla="*/ 32 h 404"/>
                <a:gd name="T8" fmla="*/ 57 w 426"/>
                <a:gd name="T9" fmla="*/ 17 h 404"/>
                <a:gd name="T10" fmla="*/ 111 w 426"/>
                <a:gd name="T11" fmla="*/ 17 h 404"/>
                <a:gd name="T12" fmla="*/ 111 w 426"/>
                <a:gd name="T13" fmla="*/ 32 h 404"/>
                <a:gd name="T14" fmla="*/ 122 w 426"/>
                <a:gd name="T15" fmla="*/ 47 h 404"/>
                <a:gd name="T16" fmla="*/ 140 w 426"/>
                <a:gd name="T17" fmla="*/ 45 h 404"/>
                <a:gd name="T18" fmla="*/ 182 w 426"/>
                <a:gd name="T19" fmla="*/ 2 h 404"/>
                <a:gd name="T20" fmla="*/ 276 w 426"/>
                <a:gd name="T21" fmla="*/ 0 h 404"/>
                <a:gd name="T22" fmla="*/ 285 w 426"/>
                <a:gd name="T23" fmla="*/ 11 h 404"/>
                <a:gd name="T24" fmla="*/ 257 w 426"/>
                <a:gd name="T25" fmla="*/ 15 h 404"/>
                <a:gd name="T26" fmla="*/ 237 w 426"/>
                <a:gd name="T27" fmla="*/ 29 h 404"/>
                <a:gd name="T28" fmla="*/ 243 w 426"/>
                <a:gd name="T29" fmla="*/ 45 h 404"/>
                <a:gd name="T30" fmla="*/ 255 w 426"/>
                <a:gd name="T31" fmla="*/ 50 h 404"/>
                <a:gd name="T32" fmla="*/ 288 w 426"/>
                <a:gd name="T33" fmla="*/ 53 h 404"/>
                <a:gd name="T34" fmla="*/ 315 w 426"/>
                <a:gd name="T35" fmla="*/ 65 h 404"/>
                <a:gd name="T36" fmla="*/ 350 w 426"/>
                <a:gd name="T37" fmla="*/ 66 h 404"/>
                <a:gd name="T38" fmla="*/ 411 w 426"/>
                <a:gd name="T39" fmla="*/ 32 h 404"/>
                <a:gd name="T40" fmla="*/ 426 w 426"/>
                <a:gd name="T41" fmla="*/ 30 h 404"/>
                <a:gd name="T42" fmla="*/ 402 w 426"/>
                <a:gd name="T43" fmla="*/ 65 h 404"/>
                <a:gd name="T44" fmla="*/ 392 w 426"/>
                <a:gd name="T45" fmla="*/ 111 h 404"/>
                <a:gd name="T46" fmla="*/ 371 w 426"/>
                <a:gd name="T47" fmla="*/ 131 h 404"/>
                <a:gd name="T48" fmla="*/ 339 w 426"/>
                <a:gd name="T49" fmla="*/ 143 h 404"/>
                <a:gd name="T50" fmla="*/ 324 w 426"/>
                <a:gd name="T51" fmla="*/ 143 h 404"/>
                <a:gd name="T52" fmla="*/ 279 w 426"/>
                <a:gd name="T53" fmla="*/ 191 h 404"/>
                <a:gd name="T54" fmla="*/ 297 w 426"/>
                <a:gd name="T55" fmla="*/ 203 h 404"/>
                <a:gd name="T56" fmla="*/ 299 w 426"/>
                <a:gd name="T57" fmla="*/ 248 h 404"/>
                <a:gd name="T58" fmla="*/ 248 w 426"/>
                <a:gd name="T59" fmla="*/ 263 h 404"/>
                <a:gd name="T60" fmla="*/ 239 w 426"/>
                <a:gd name="T61" fmla="*/ 239 h 404"/>
                <a:gd name="T62" fmla="*/ 200 w 426"/>
                <a:gd name="T63" fmla="*/ 254 h 404"/>
                <a:gd name="T64" fmla="*/ 195 w 426"/>
                <a:gd name="T65" fmla="*/ 228 h 404"/>
                <a:gd name="T66" fmla="*/ 186 w 426"/>
                <a:gd name="T67" fmla="*/ 213 h 404"/>
                <a:gd name="T68" fmla="*/ 182 w 426"/>
                <a:gd name="T69" fmla="*/ 224 h 404"/>
                <a:gd name="T70" fmla="*/ 180 w 426"/>
                <a:gd name="T71" fmla="*/ 269 h 404"/>
                <a:gd name="T72" fmla="*/ 186 w 426"/>
                <a:gd name="T73" fmla="*/ 314 h 404"/>
                <a:gd name="T74" fmla="*/ 188 w 426"/>
                <a:gd name="T75" fmla="*/ 326 h 404"/>
                <a:gd name="T76" fmla="*/ 215 w 426"/>
                <a:gd name="T77" fmla="*/ 353 h 404"/>
                <a:gd name="T78" fmla="*/ 246 w 426"/>
                <a:gd name="T79" fmla="*/ 365 h 404"/>
                <a:gd name="T80" fmla="*/ 254 w 426"/>
                <a:gd name="T81" fmla="*/ 396 h 404"/>
                <a:gd name="T82" fmla="*/ 216 w 426"/>
                <a:gd name="T83" fmla="*/ 404 h 404"/>
                <a:gd name="T84" fmla="*/ 180 w 426"/>
                <a:gd name="T85" fmla="*/ 371 h 404"/>
                <a:gd name="T86" fmla="*/ 125 w 426"/>
                <a:gd name="T87" fmla="*/ 321 h 404"/>
                <a:gd name="T88" fmla="*/ 132 w 426"/>
                <a:gd name="T89" fmla="*/ 305 h 404"/>
                <a:gd name="T90" fmla="*/ 141 w 426"/>
                <a:gd name="T91" fmla="*/ 242 h 404"/>
                <a:gd name="T92" fmla="*/ 137 w 426"/>
                <a:gd name="T93" fmla="*/ 204 h 404"/>
                <a:gd name="T94" fmla="*/ 150 w 426"/>
                <a:gd name="T95" fmla="*/ 137 h 404"/>
                <a:gd name="T96" fmla="*/ 137 w 426"/>
                <a:gd name="T97" fmla="*/ 131 h 404"/>
                <a:gd name="T98" fmla="*/ 114 w 426"/>
                <a:gd name="T99" fmla="*/ 134 h 404"/>
                <a:gd name="T100" fmla="*/ 102 w 426"/>
                <a:gd name="T101" fmla="*/ 132 h 404"/>
                <a:gd name="T102" fmla="*/ 90 w 426"/>
                <a:gd name="T103" fmla="*/ 113 h 404"/>
                <a:gd name="T104" fmla="*/ 116 w 426"/>
                <a:gd name="T105" fmla="*/ 81 h 404"/>
                <a:gd name="T106" fmla="*/ 120 w 426"/>
                <a:gd name="T107" fmla="*/ 72 h 404"/>
                <a:gd name="T108" fmla="*/ 135 w 426"/>
                <a:gd name="T109" fmla="*/ 66 h 404"/>
                <a:gd name="T110" fmla="*/ 134 w 426"/>
                <a:gd name="T111" fmla="*/ 53 h 404"/>
                <a:gd name="T112" fmla="*/ 114 w 426"/>
                <a:gd name="T113" fmla="*/ 59 h 404"/>
                <a:gd name="T114" fmla="*/ 107 w 426"/>
                <a:gd name="T115" fmla="*/ 45 h 404"/>
                <a:gd name="T116" fmla="*/ 92 w 426"/>
                <a:gd name="T117" fmla="*/ 45 h 404"/>
                <a:gd name="T118" fmla="*/ 69 w 426"/>
                <a:gd name="T119" fmla="*/ 42 h 404"/>
                <a:gd name="T120" fmla="*/ 24 w 426"/>
                <a:gd name="T121" fmla="*/ 5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6" h="404">
                  <a:moveTo>
                    <a:pt x="24" y="57"/>
                  </a:moveTo>
                  <a:lnTo>
                    <a:pt x="0" y="39"/>
                  </a:lnTo>
                  <a:lnTo>
                    <a:pt x="11" y="15"/>
                  </a:lnTo>
                  <a:lnTo>
                    <a:pt x="48" y="32"/>
                  </a:lnTo>
                  <a:lnTo>
                    <a:pt x="57" y="17"/>
                  </a:lnTo>
                  <a:lnTo>
                    <a:pt x="111" y="17"/>
                  </a:lnTo>
                  <a:lnTo>
                    <a:pt x="111" y="32"/>
                  </a:lnTo>
                  <a:lnTo>
                    <a:pt x="122" y="47"/>
                  </a:lnTo>
                  <a:lnTo>
                    <a:pt x="140" y="45"/>
                  </a:lnTo>
                  <a:lnTo>
                    <a:pt x="182" y="2"/>
                  </a:lnTo>
                  <a:lnTo>
                    <a:pt x="276" y="0"/>
                  </a:lnTo>
                  <a:lnTo>
                    <a:pt x="285" y="11"/>
                  </a:lnTo>
                  <a:lnTo>
                    <a:pt x="257" y="15"/>
                  </a:lnTo>
                  <a:lnTo>
                    <a:pt x="237" y="29"/>
                  </a:lnTo>
                  <a:lnTo>
                    <a:pt x="243" y="45"/>
                  </a:lnTo>
                  <a:lnTo>
                    <a:pt x="255" y="50"/>
                  </a:lnTo>
                  <a:lnTo>
                    <a:pt x="288" y="53"/>
                  </a:lnTo>
                  <a:lnTo>
                    <a:pt x="315" y="65"/>
                  </a:lnTo>
                  <a:lnTo>
                    <a:pt x="350" y="66"/>
                  </a:lnTo>
                  <a:lnTo>
                    <a:pt x="411" y="32"/>
                  </a:lnTo>
                  <a:lnTo>
                    <a:pt x="426" y="30"/>
                  </a:lnTo>
                  <a:lnTo>
                    <a:pt x="402" y="65"/>
                  </a:lnTo>
                  <a:lnTo>
                    <a:pt x="392" y="111"/>
                  </a:lnTo>
                  <a:lnTo>
                    <a:pt x="371" y="131"/>
                  </a:lnTo>
                  <a:lnTo>
                    <a:pt x="339" y="143"/>
                  </a:lnTo>
                  <a:lnTo>
                    <a:pt x="324" y="143"/>
                  </a:lnTo>
                  <a:lnTo>
                    <a:pt x="279" y="191"/>
                  </a:lnTo>
                  <a:lnTo>
                    <a:pt x="297" y="203"/>
                  </a:lnTo>
                  <a:lnTo>
                    <a:pt x="299" y="248"/>
                  </a:lnTo>
                  <a:lnTo>
                    <a:pt x="248" y="263"/>
                  </a:lnTo>
                  <a:lnTo>
                    <a:pt x="239" y="239"/>
                  </a:lnTo>
                  <a:lnTo>
                    <a:pt x="200" y="254"/>
                  </a:lnTo>
                  <a:lnTo>
                    <a:pt x="195" y="228"/>
                  </a:lnTo>
                  <a:lnTo>
                    <a:pt x="186" y="213"/>
                  </a:lnTo>
                  <a:lnTo>
                    <a:pt x="182" y="224"/>
                  </a:lnTo>
                  <a:lnTo>
                    <a:pt x="180" y="269"/>
                  </a:lnTo>
                  <a:lnTo>
                    <a:pt x="186" y="314"/>
                  </a:lnTo>
                  <a:lnTo>
                    <a:pt x="188" y="326"/>
                  </a:lnTo>
                  <a:lnTo>
                    <a:pt x="215" y="353"/>
                  </a:lnTo>
                  <a:lnTo>
                    <a:pt x="246" y="365"/>
                  </a:lnTo>
                  <a:lnTo>
                    <a:pt x="254" y="396"/>
                  </a:lnTo>
                  <a:lnTo>
                    <a:pt x="216" y="404"/>
                  </a:lnTo>
                  <a:lnTo>
                    <a:pt x="180" y="371"/>
                  </a:lnTo>
                  <a:lnTo>
                    <a:pt x="125" y="321"/>
                  </a:lnTo>
                  <a:lnTo>
                    <a:pt x="132" y="305"/>
                  </a:lnTo>
                  <a:lnTo>
                    <a:pt x="141" y="242"/>
                  </a:lnTo>
                  <a:lnTo>
                    <a:pt x="137" y="204"/>
                  </a:lnTo>
                  <a:lnTo>
                    <a:pt x="150" y="137"/>
                  </a:lnTo>
                  <a:lnTo>
                    <a:pt x="137" y="131"/>
                  </a:lnTo>
                  <a:lnTo>
                    <a:pt x="114" y="134"/>
                  </a:lnTo>
                  <a:lnTo>
                    <a:pt x="102" y="132"/>
                  </a:lnTo>
                  <a:lnTo>
                    <a:pt x="90" y="113"/>
                  </a:lnTo>
                  <a:lnTo>
                    <a:pt x="116" y="81"/>
                  </a:lnTo>
                  <a:lnTo>
                    <a:pt x="120" y="72"/>
                  </a:lnTo>
                  <a:lnTo>
                    <a:pt x="135" y="66"/>
                  </a:lnTo>
                  <a:lnTo>
                    <a:pt x="134" y="53"/>
                  </a:lnTo>
                  <a:lnTo>
                    <a:pt x="114" y="59"/>
                  </a:lnTo>
                  <a:lnTo>
                    <a:pt x="107" y="45"/>
                  </a:lnTo>
                  <a:lnTo>
                    <a:pt x="92" y="45"/>
                  </a:lnTo>
                  <a:lnTo>
                    <a:pt x="69" y="42"/>
                  </a:lnTo>
                  <a:lnTo>
                    <a:pt x="24" y="57"/>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01" name="Freeform 6185">
              <a:extLst>
                <a:ext uri="{FF2B5EF4-FFF2-40B4-BE49-F238E27FC236}">
                  <a16:creationId xmlns:a16="http://schemas.microsoft.com/office/drawing/2014/main" id="{58A19232-07F6-92CD-9342-E1FE6E9305BC}"/>
                </a:ext>
              </a:extLst>
            </p:cNvPr>
            <p:cNvSpPr>
              <a:spLocks/>
            </p:cNvSpPr>
            <p:nvPr/>
          </p:nvSpPr>
          <p:spPr bwMode="gray">
            <a:xfrm>
              <a:off x="7395918" y="2936673"/>
              <a:ext cx="310129" cy="307647"/>
            </a:xfrm>
            <a:custGeom>
              <a:avLst/>
              <a:gdLst>
                <a:gd name="T0" fmla="*/ 266 w 374"/>
                <a:gd name="T1" fmla="*/ 0 h 388"/>
                <a:gd name="T2" fmla="*/ 218 w 374"/>
                <a:gd name="T3" fmla="*/ 12 h 388"/>
                <a:gd name="T4" fmla="*/ 194 w 374"/>
                <a:gd name="T5" fmla="*/ 22 h 388"/>
                <a:gd name="T6" fmla="*/ 165 w 374"/>
                <a:gd name="T7" fmla="*/ 13 h 388"/>
                <a:gd name="T8" fmla="*/ 119 w 374"/>
                <a:gd name="T9" fmla="*/ 42 h 388"/>
                <a:gd name="T10" fmla="*/ 140 w 374"/>
                <a:gd name="T11" fmla="*/ 76 h 388"/>
                <a:gd name="T12" fmla="*/ 107 w 374"/>
                <a:gd name="T13" fmla="*/ 99 h 388"/>
                <a:gd name="T14" fmla="*/ 77 w 374"/>
                <a:gd name="T15" fmla="*/ 151 h 388"/>
                <a:gd name="T16" fmla="*/ 71 w 374"/>
                <a:gd name="T17" fmla="*/ 124 h 388"/>
                <a:gd name="T18" fmla="*/ 50 w 374"/>
                <a:gd name="T19" fmla="*/ 123 h 388"/>
                <a:gd name="T20" fmla="*/ 42 w 374"/>
                <a:gd name="T21" fmla="*/ 142 h 388"/>
                <a:gd name="T22" fmla="*/ 26 w 374"/>
                <a:gd name="T23" fmla="*/ 144 h 388"/>
                <a:gd name="T24" fmla="*/ 27 w 374"/>
                <a:gd name="T25" fmla="*/ 207 h 388"/>
                <a:gd name="T26" fmla="*/ 0 w 374"/>
                <a:gd name="T27" fmla="*/ 243 h 388"/>
                <a:gd name="T28" fmla="*/ 23 w 374"/>
                <a:gd name="T29" fmla="*/ 303 h 388"/>
                <a:gd name="T30" fmla="*/ 3 w 374"/>
                <a:gd name="T31" fmla="*/ 337 h 388"/>
                <a:gd name="T32" fmla="*/ 54 w 374"/>
                <a:gd name="T33" fmla="*/ 337 h 388"/>
                <a:gd name="T34" fmla="*/ 128 w 374"/>
                <a:gd name="T35" fmla="*/ 385 h 388"/>
                <a:gd name="T36" fmla="*/ 171 w 374"/>
                <a:gd name="T37" fmla="*/ 373 h 388"/>
                <a:gd name="T38" fmla="*/ 215 w 374"/>
                <a:gd name="T39" fmla="*/ 370 h 388"/>
                <a:gd name="T40" fmla="*/ 231 w 374"/>
                <a:gd name="T41" fmla="*/ 366 h 388"/>
                <a:gd name="T42" fmla="*/ 266 w 374"/>
                <a:gd name="T43" fmla="*/ 388 h 388"/>
                <a:gd name="T44" fmla="*/ 374 w 374"/>
                <a:gd name="T45" fmla="*/ 325 h 388"/>
                <a:gd name="T46" fmla="*/ 318 w 374"/>
                <a:gd name="T47" fmla="*/ 279 h 388"/>
                <a:gd name="T48" fmla="*/ 327 w 374"/>
                <a:gd name="T49" fmla="*/ 259 h 388"/>
                <a:gd name="T50" fmla="*/ 335 w 374"/>
                <a:gd name="T51" fmla="*/ 192 h 388"/>
                <a:gd name="T52" fmla="*/ 327 w 374"/>
                <a:gd name="T53" fmla="*/ 160 h 388"/>
                <a:gd name="T54" fmla="*/ 342 w 374"/>
                <a:gd name="T55" fmla="*/ 94 h 388"/>
                <a:gd name="T56" fmla="*/ 329 w 374"/>
                <a:gd name="T57" fmla="*/ 90 h 388"/>
                <a:gd name="T58" fmla="*/ 293 w 374"/>
                <a:gd name="T59" fmla="*/ 90 h 388"/>
                <a:gd name="T60" fmla="*/ 282 w 374"/>
                <a:gd name="T61" fmla="*/ 67 h 388"/>
                <a:gd name="T62" fmla="*/ 317 w 374"/>
                <a:gd name="T63" fmla="*/ 27 h 388"/>
                <a:gd name="T64" fmla="*/ 329 w 374"/>
                <a:gd name="T65" fmla="*/ 22 h 388"/>
                <a:gd name="T66" fmla="*/ 329 w 374"/>
                <a:gd name="T67" fmla="*/ 7 h 388"/>
                <a:gd name="T68" fmla="*/ 306 w 374"/>
                <a:gd name="T69" fmla="*/ 15 h 388"/>
                <a:gd name="T70" fmla="*/ 299 w 374"/>
                <a:gd name="T71" fmla="*/ 3 h 388"/>
                <a:gd name="T72" fmla="*/ 279 w 374"/>
                <a:gd name="T73" fmla="*/ 3 h 388"/>
                <a:gd name="T74" fmla="*/ 266 w 374"/>
                <a:gd name="T75"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4" h="388">
                  <a:moveTo>
                    <a:pt x="266" y="0"/>
                  </a:moveTo>
                  <a:lnTo>
                    <a:pt x="218" y="12"/>
                  </a:lnTo>
                  <a:lnTo>
                    <a:pt x="194" y="22"/>
                  </a:lnTo>
                  <a:lnTo>
                    <a:pt x="165" y="13"/>
                  </a:lnTo>
                  <a:lnTo>
                    <a:pt x="119" y="42"/>
                  </a:lnTo>
                  <a:lnTo>
                    <a:pt x="140" y="76"/>
                  </a:lnTo>
                  <a:lnTo>
                    <a:pt x="107" y="99"/>
                  </a:lnTo>
                  <a:lnTo>
                    <a:pt x="77" y="151"/>
                  </a:lnTo>
                  <a:lnTo>
                    <a:pt x="71" y="124"/>
                  </a:lnTo>
                  <a:lnTo>
                    <a:pt x="50" y="123"/>
                  </a:lnTo>
                  <a:lnTo>
                    <a:pt x="42" y="142"/>
                  </a:lnTo>
                  <a:lnTo>
                    <a:pt x="26" y="144"/>
                  </a:lnTo>
                  <a:lnTo>
                    <a:pt x="27" y="207"/>
                  </a:lnTo>
                  <a:lnTo>
                    <a:pt x="0" y="243"/>
                  </a:lnTo>
                  <a:lnTo>
                    <a:pt x="23" y="303"/>
                  </a:lnTo>
                  <a:lnTo>
                    <a:pt x="3" y="337"/>
                  </a:lnTo>
                  <a:lnTo>
                    <a:pt x="54" y="337"/>
                  </a:lnTo>
                  <a:lnTo>
                    <a:pt x="128" y="385"/>
                  </a:lnTo>
                  <a:lnTo>
                    <a:pt x="171" y="373"/>
                  </a:lnTo>
                  <a:lnTo>
                    <a:pt x="215" y="370"/>
                  </a:lnTo>
                  <a:lnTo>
                    <a:pt x="231" y="366"/>
                  </a:lnTo>
                  <a:lnTo>
                    <a:pt x="266" y="388"/>
                  </a:lnTo>
                  <a:lnTo>
                    <a:pt x="374" y="325"/>
                  </a:lnTo>
                  <a:lnTo>
                    <a:pt x="318" y="279"/>
                  </a:lnTo>
                  <a:lnTo>
                    <a:pt x="327" y="259"/>
                  </a:lnTo>
                  <a:lnTo>
                    <a:pt x="335" y="192"/>
                  </a:lnTo>
                  <a:lnTo>
                    <a:pt x="327" y="160"/>
                  </a:lnTo>
                  <a:lnTo>
                    <a:pt x="342" y="94"/>
                  </a:lnTo>
                  <a:lnTo>
                    <a:pt x="329" y="90"/>
                  </a:lnTo>
                  <a:lnTo>
                    <a:pt x="293" y="90"/>
                  </a:lnTo>
                  <a:lnTo>
                    <a:pt x="282" y="67"/>
                  </a:lnTo>
                  <a:lnTo>
                    <a:pt x="317" y="27"/>
                  </a:lnTo>
                  <a:lnTo>
                    <a:pt x="329" y="22"/>
                  </a:lnTo>
                  <a:lnTo>
                    <a:pt x="329" y="7"/>
                  </a:lnTo>
                  <a:lnTo>
                    <a:pt x="306" y="15"/>
                  </a:lnTo>
                  <a:lnTo>
                    <a:pt x="299" y="3"/>
                  </a:lnTo>
                  <a:lnTo>
                    <a:pt x="279" y="3"/>
                  </a:lnTo>
                  <a:lnTo>
                    <a:pt x="266" y="0"/>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02" name="Freeform 6186">
              <a:extLst>
                <a:ext uri="{FF2B5EF4-FFF2-40B4-BE49-F238E27FC236}">
                  <a16:creationId xmlns:a16="http://schemas.microsoft.com/office/drawing/2014/main" id="{DC30A333-5657-38E6-B0F9-92A9CC593714}"/>
                </a:ext>
              </a:extLst>
            </p:cNvPr>
            <p:cNvSpPr>
              <a:spLocks/>
            </p:cNvSpPr>
            <p:nvPr/>
          </p:nvSpPr>
          <p:spPr bwMode="gray">
            <a:xfrm>
              <a:off x="7706047" y="3071919"/>
              <a:ext cx="134906" cy="150108"/>
            </a:xfrm>
            <a:custGeom>
              <a:avLst/>
              <a:gdLst>
                <a:gd name="T0" fmla="*/ 19 w 162"/>
                <a:gd name="T1" fmla="*/ 37 h 189"/>
                <a:gd name="T2" fmla="*/ 57 w 162"/>
                <a:gd name="T3" fmla="*/ 22 h 189"/>
                <a:gd name="T4" fmla="*/ 69 w 162"/>
                <a:gd name="T5" fmla="*/ 52 h 189"/>
                <a:gd name="T6" fmla="*/ 117 w 162"/>
                <a:gd name="T7" fmla="*/ 33 h 189"/>
                <a:gd name="T8" fmla="*/ 144 w 162"/>
                <a:gd name="T9" fmla="*/ 36 h 189"/>
                <a:gd name="T10" fmla="*/ 162 w 162"/>
                <a:gd name="T11" fmla="*/ 63 h 189"/>
                <a:gd name="T12" fmla="*/ 139 w 162"/>
                <a:gd name="T13" fmla="*/ 82 h 189"/>
                <a:gd name="T14" fmla="*/ 136 w 162"/>
                <a:gd name="T15" fmla="*/ 124 h 189"/>
                <a:gd name="T16" fmla="*/ 135 w 162"/>
                <a:gd name="T17" fmla="*/ 148 h 189"/>
                <a:gd name="T18" fmla="*/ 147 w 162"/>
                <a:gd name="T19" fmla="*/ 178 h 189"/>
                <a:gd name="T20" fmla="*/ 123 w 162"/>
                <a:gd name="T21" fmla="*/ 189 h 189"/>
                <a:gd name="T22" fmla="*/ 96 w 162"/>
                <a:gd name="T23" fmla="*/ 184 h 189"/>
                <a:gd name="T24" fmla="*/ 64 w 162"/>
                <a:gd name="T25" fmla="*/ 184 h 189"/>
                <a:gd name="T26" fmla="*/ 73 w 162"/>
                <a:gd name="T27" fmla="*/ 175 h 189"/>
                <a:gd name="T28" fmla="*/ 63 w 162"/>
                <a:gd name="T29" fmla="*/ 150 h 189"/>
                <a:gd name="T30" fmla="*/ 34 w 162"/>
                <a:gd name="T31" fmla="*/ 139 h 189"/>
                <a:gd name="T32" fmla="*/ 6 w 162"/>
                <a:gd name="T33" fmla="*/ 111 h 189"/>
                <a:gd name="T34" fmla="*/ 0 w 162"/>
                <a:gd name="T35" fmla="*/ 46 h 189"/>
                <a:gd name="T36" fmla="*/ 0 w 162"/>
                <a:gd name="T37" fmla="*/ 4 h 189"/>
                <a:gd name="T38" fmla="*/ 9 w 162"/>
                <a:gd name="T39" fmla="*/ 0 h 189"/>
                <a:gd name="T40" fmla="*/ 19 w 162"/>
                <a:gd name="T41" fmla="*/ 3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 h="189">
                  <a:moveTo>
                    <a:pt x="19" y="37"/>
                  </a:moveTo>
                  <a:lnTo>
                    <a:pt x="57" y="22"/>
                  </a:lnTo>
                  <a:lnTo>
                    <a:pt x="69" y="52"/>
                  </a:lnTo>
                  <a:lnTo>
                    <a:pt x="117" y="33"/>
                  </a:lnTo>
                  <a:lnTo>
                    <a:pt x="144" y="36"/>
                  </a:lnTo>
                  <a:lnTo>
                    <a:pt x="162" y="63"/>
                  </a:lnTo>
                  <a:lnTo>
                    <a:pt x="139" y="82"/>
                  </a:lnTo>
                  <a:lnTo>
                    <a:pt x="136" y="124"/>
                  </a:lnTo>
                  <a:lnTo>
                    <a:pt x="135" y="148"/>
                  </a:lnTo>
                  <a:lnTo>
                    <a:pt x="147" y="178"/>
                  </a:lnTo>
                  <a:lnTo>
                    <a:pt x="123" y="189"/>
                  </a:lnTo>
                  <a:lnTo>
                    <a:pt x="96" y="184"/>
                  </a:lnTo>
                  <a:lnTo>
                    <a:pt x="64" y="184"/>
                  </a:lnTo>
                  <a:lnTo>
                    <a:pt x="73" y="175"/>
                  </a:lnTo>
                  <a:lnTo>
                    <a:pt x="63" y="150"/>
                  </a:lnTo>
                  <a:lnTo>
                    <a:pt x="34" y="139"/>
                  </a:lnTo>
                  <a:lnTo>
                    <a:pt x="6" y="111"/>
                  </a:lnTo>
                  <a:lnTo>
                    <a:pt x="0" y="46"/>
                  </a:lnTo>
                  <a:lnTo>
                    <a:pt x="0" y="4"/>
                  </a:lnTo>
                  <a:lnTo>
                    <a:pt x="9" y="0"/>
                  </a:lnTo>
                  <a:lnTo>
                    <a:pt x="19" y="37"/>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03" name="Freeform 6187">
              <a:extLst>
                <a:ext uri="{FF2B5EF4-FFF2-40B4-BE49-F238E27FC236}">
                  <a16:creationId xmlns:a16="http://schemas.microsoft.com/office/drawing/2014/main" id="{29E574C7-EA01-6C05-A6C9-18871ACF2839}"/>
                </a:ext>
              </a:extLst>
            </p:cNvPr>
            <p:cNvSpPr>
              <a:spLocks/>
            </p:cNvSpPr>
            <p:nvPr/>
          </p:nvSpPr>
          <p:spPr bwMode="gray">
            <a:xfrm>
              <a:off x="6152299" y="3382538"/>
              <a:ext cx="1680902" cy="1108719"/>
            </a:xfrm>
            <a:custGeom>
              <a:avLst/>
              <a:gdLst>
                <a:gd name="T0" fmla="*/ 105 w 2019"/>
                <a:gd name="T1" fmla="*/ 474 h 1398"/>
                <a:gd name="T2" fmla="*/ 138 w 2019"/>
                <a:gd name="T3" fmla="*/ 534 h 1398"/>
                <a:gd name="T4" fmla="*/ 177 w 2019"/>
                <a:gd name="T5" fmla="*/ 558 h 1398"/>
                <a:gd name="T6" fmla="*/ 198 w 2019"/>
                <a:gd name="T7" fmla="*/ 632 h 1398"/>
                <a:gd name="T8" fmla="*/ 234 w 2019"/>
                <a:gd name="T9" fmla="*/ 684 h 1398"/>
                <a:gd name="T10" fmla="*/ 279 w 2019"/>
                <a:gd name="T11" fmla="*/ 765 h 1398"/>
                <a:gd name="T12" fmla="*/ 318 w 2019"/>
                <a:gd name="T13" fmla="*/ 813 h 1398"/>
                <a:gd name="T14" fmla="*/ 392 w 2019"/>
                <a:gd name="T15" fmla="*/ 791 h 1398"/>
                <a:gd name="T16" fmla="*/ 489 w 2019"/>
                <a:gd name="T17" fmla="*/ 675 h 1398"/>
                <a:gd name="T18" fmla="*/ 530 w 2019"/>
                <a:gd name="T19" fmla="*/ 570 h 1398"/>
                <a:gd name="T20" fmla="*/ 582 w 2019"/>
                <a:gd name="T21" fmla="*/ 512 h 1398"/>
                <a:gd name="T22" fmla="*/ 642 w 2019"/>
                <a:gd name="T23" fmla="*/ 495 h 1398"/>
                <a:gd name="T24" fmla="*/ 741 w 2019"/>
                <a:gd name="T25" fmla="*/ 491 h 1398"/>
                <a:gd name="T26" fmla="*/ 843 w 2019"/>
                <a:gd name="T27" fmla="*/ 501 h 1398"/>
                <a:gd name="T28" fmla="*/ 894 w 2019"/>
                <a:gd name="T29" fmla="*/ 441 h 1398"/>
                <a:gd name="T30" fmla="*/ 999 w 2019"/>
                <a:gd name="T31" fmla="*/ 375 h 1398"/>
                <a:gd name="T32" fmla="*/ 1269 w 2019"/>
                <a:gd name="T33" fmla="*/ 312 h 1398"/>
                <a:gd name="T34" fmla="*/ 1388 w 2019"/>
                <a:gd name="T35" fmla="*/ 254 h 1398"/>
                <a:gd name="T36" fmla="*/ 1398 w 2019"/>
                <a:gd name="T37" fmla="*/ 210 h 1398"/>
                <a:gd name="T38" fmla="*/ 1554 w 2019"/>
                <a:gd name="T39" fmla="*/ 192 h 1398"/>
                <a:gd name="T40" fmla="*/ 1772 w 2019"/>
                <a:gd name="T41" fmla="*/ 203 h 1398"/>
                <a:gd name="T42" fmla="*/ 1820 w 2019"/>
                <a:gd name="T43" fmla="*/ 174 h 1398"/>
                <a:gd name="T44" fmla="*/ 1865 w 2019"/>
                <a:gd name="T45" fmla="*/ 132 h 1398"/>
                <a:gd name="T46" fmla="*/ 1923 w 2019"/>
                <a:gd name="T47" fmla="*/ 0 h 1398"/>
                <a:gd name="T48" fmla="*/ 1920 w 2019"/>
                <a:gd name="T49" fmla="*/ 120 h 1398"/>
                <a:gd name="T50" fmla="*/ 1992 w 2019"/>
                <a:gd name="T51" fmla="*/ 210 h 1398"/>
                <a:gd name="T52" fmla="*/ 1956 w 2019"/>
                <a:gd name="T53" fmla="*/ 267 h 1398"/>
                <a:gd name="T54" fmla="*/ 1884 w 2019"/>
                <a:gd name="T55" fmla="*/ 351 h 1398"/>
                <a:gd name="T56" fmla="*/ 1824 w 2019"/>
                <a:gd name="T57" fmla="*/ 462 h 1398"/>
                <a:gd name="T58" fmla="*/ 1743 w 2019"/>
                <a:gd name="T59" fmla="*/ 546 h 1398"/>
                <a:gd name="T60" fmla="*/ 1602 w 2019"/>
                <a:gd name="T61" fmla="*/ 618 h 1398"/>
                <a:gd name="T62" fmla="*/ 1578 w 2019"/>
                <a:gd name="T63" fmla="*/ 717 h 1398"/>
                <a:gd name="T64" fmla="*/ 1611 w 2019"/>
                <a:gd name="T65" fmla="*/ 897 h 1398"/>
                <a:gd name="T66" fmla="*/ 1485 w 2019"/>
                <a:gd name="T67" fmla="*/ 975 h 1398"/>
                <a:gd name="T68" fmla="*/ 1455 w 2019"/>
                <a:gd name="T69" fmla="*/ 1113 h 1398"/>
                <a:gd name="T70" fmla="*/ 1347 w 2019"/>
                <a:gd name="T71" fmla="*/ 1155 h 1398"/>
                <a:gd name="T72" fmla="*/ 1197 w 2019"/>
                <a:gd name="T73" fmla="*/ 1272 h 1398"/>
                <a:gd name="T74" fmla="*/ 1110 w 2019"/>
                <a:gd name="T75" fmla="*/ 1266 h 1398"/>
                <a:gd name="T76" fmla="*/ 1041 w 2019"/>
                <a:gd name="T77" fmla="*/ 1197 h 1398"/>
                <a:gd name="T78" fmla="*/ 942 w 2019"/>
                <a:gd name="T79" fmla="*/ 1167 h 1398"/>
                <a:gd name="T80" fmla="*/ 897 w 2019"/>
                <a:gd name="T81" fmla="*/ 1224 h 1398"/>
                <a:gd name="T82" fmla="*/ 831 w 2019"/>
                <a:gd name="T83" fmla="*/ 1236 h 1398"/>
                <a:gd name="T84" fmla="*/ 711 w 2019"/>
                <a:gd name="T85" fmla="*/ 1329 h 1398"/>
                <a:gd name="T86" fmla="*/ 570 w 2019"/>
                <a:gd name="T87" fmla="*/ 1347 h 1398"/>
                <a:gd name="T88" fmla="*/ 510 w 2019"/>
                <a:gd name="T89" fmla="*/ 1341 h 1398"/>
                <a:gd name="T90" fmla="*/ 444 w 2019"/>
                <a:gd name="T91" fmla="*/ 1359 h 1398"/>
                <a:gd name="T92" fmla="*/ 258 w 2019"/>
                <a:gd name="T93" fmla="*/ 1182 h 1398"/>
                <a:gd name="T94" fmla="*/ 180 w 2019"/>
                <a:gd name="T95" fmla="*/ 1044 h 1398"/>
                <a:gd name="T96" fmla="*/ 111 w 2019"/>
                <a:gd name="T97" fmla="*/ 1026 h 1398"/>
                <a:gd name="T98" fmla="*/ 21 w 2019"/>
                <a:gd name="T99" fmla="*/ 918 h 1398"/>
                <a:gd name="T100" fmla="*/ 24 w 2019"/>
                <a:gd name="T101" fmla="*/ 804 h 1398"/>
                <a:gd name="T102" fmla="*/ 93 w 2019"/>
                <a:gd name="T103" fmla="*/ 657 h 1398"/>
                <a:gd name="T104" fmla="*/ 6 w 2019"/>
                <a:gd name="T105" fmla="*/ 552 h 1398"/>
                <a:gd name="T106" fmla="*/ 21 w 2019"/>
                <a:gd name="T107" fmla="*/ 474 h 1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19" h="1398">
                  <a:moveTo>
                    <a:pt x="21" y="474"/>
                  </a:moveTo>
                  <a:lnTo>
                    <a:pt x="105" y="474"/>
                  </a:lnTo>
                  <a:lnTo>
                    <a:pt x="132" y="495"/>
                  </a:lnTo>
                  <a:lnTo>
                    <a:pt x="138" y="534"/>
                  </a:lnTo>
                  <a:lnTo>
                    <a:pt x="156" y="567"/>
                  </a:lnTo>
                  <a:lnTo>
                    <a:pt x="177" y="558"/>
                  </a:lnTo>
                  <a:lnTo>
                    <a:pt x="192" y="585"/>
                  </a:lnTo>
                  <a:lnTo>
                    <a:pt x="198" y="632"/>
                  </a:lnTo>
                  <a:lnTo>
                    <a:pt x="222" y="648"/>
                  </a:lnTo>
                  <a:lnTo>
                    <a:pt x="234" y="684"/>
                  </a:lnTo>
                  <a:lnTo>
                    <a:pt x="264" y="714"/>
                  </a:lnTo>
                  <a:lnTo>
                    <a:pt x="279" y="765"/>
                  </a:lnTo>
                  <a:lnTo>
                    <a:pt x="290" y="795"/>
                  </a:lnTo>
                  <a:lnTo>
                    <a:pt x="318" y="813"/>
                  </a:lnTo>
                  <a:lnTo>
                    <a:pt x="363" y="795"/>
                  </a:lnTo>
                  <a:lnTo>
                    <a:pt x="392" y="791"/>
                  </a:lnTo>
                  <a:lnTo>
                    <a:pt x="424" y="737"/>
                  </a:lnTo>
                  <a:lnTo>
                    <a:pt x="489" y="675"/>
                  </a:lnTo>
                  <a:lnTo>
                    <a:pt x="498" y="609"/>
                  </a:lnTo>
                  <a:lnTo>
                    <a:pt x="530" y="570"/>
                  </a:lnTo>
                  <a:lnTo>
                    <a:pt x="569" y="567"/>
                  </a:lnTo>
                  <a:lnTo>
                    <a:pt x="582" y="512"/>
                  </a:lnTo>
                  <a:lnTo>
                    <a:pt x="627" y="507"/>
                  </a:lnTo>
                  <a:lnTo>
                    <a:pt x="642" y="495"/>
                  </a:lnTo>
                  <a:lnTo>
                    <a:pt x="635" y="539"/>
                  </a:lnTo>
                  <a:lnTo>
                    <a:pt x="741" y="491"/>
                  </a:lnTo>
                  <a:lnTo>
                    <a:pt x="837" y="473"/>
                  </a:lnTo>
                  <a:lnTo>
                    <a:pt x="843" y="501"/>
                  </a:lnTo>
                  <a:lnTo>
                    <a:pt x="918" y="486"/>
                  </a:lnTo>
                  <a:lnTo>
                    <a:pt x="894" y="441"/>
                  </a:lnTo>
                  <a:lnTo>
                    <a:pt x="975" y="429"/>
                  </a:lnTo>
                  <a:lnTo>
                    <a:pt x="999" y="375"/>
                  </a:lnTo>
                  <a:lnTo>
                    <a:pt x="1109" y="422"/>
                  </a:lnTo>
                  <a:lnTo>
                    <a:pt x="1269" y="312"/>
                  </a:lnTo>
                  <a:lnTo>
                    <a:pt x="1317" y="309"/>
                  </a:lnTo>
                  <a:lnTo>
                    <a:pt x="1388" y="254"/>
                  </a:lnTo>
                  <a:lnTo>
                    <a:pt x="1409" y="243"/>
                  </a:lnTo>
                  <a:lnTo>
                    <a:pt x="1398" y="210"/>
                  </a:lnTo>
                  <a:lnTo>
                    <a:pt x="1460" y="161"/>
                  </a:lnTo>
                  <a:lnTo>
                    <a:pt x="1554" y="192"/>
                  </a:lnTo>
                  <a:lnTo>
                    <a:pt x="1653" y="234"/>
                  </a:lnTo>
                  <a:lnTo>
                    <a:pt x="1772" y="203"/>
                  </a:lnTo>
                  <a:lnTo>
                    <a:pt x="1782" y="195"/>
                  </a:lnTo>
                  <a:lnTo>
                    <a:pt x="1820" y="174"/>
                  </a:lnTo>
                  <a:lnTo>
                    <a:pt x="1845" y="147"/>
                  </a:lnTo>
                  <a:lnTo>
                    <a:pt x="1865" y="132"/>
                  </a:lnTo>
                  <a:lnTo>
                    <a:pt x="1887" y="33"/>
                  </a:lnTo>
                  <a:lnTo>
                    <a:pt x="1923" y="0"/>
                  </a:lnTo>
                  <a:lnTo>
                    <a:pt x="1932" y="57"/>
                  </a:lnTo>
                  <a:lnTo>
                    <a:pt x="1920" y="120"/>
                  </a:lnTo>
                  <a:lnTo>
                    <a:pt x="1953" y="195"/>
                  </a:lnTo>
                  <a:lnTo>
                    <a:pt x="1992" y="210"/>
                  </a:lnTo>
                  <a:lnTo>
                    <a:pt x="2019" y="207"/>
                  </a:lnTo>
                  <a:lnTo>
                    <a:pt x="1956" y="267"/>
                  </a:lnTo>
                  <a:lnTo>
                    <a:pt x="1908" y="261"/>
                  </a:lnTo>
                  <a:lnTo>
                    <a:pt x="1884" y="351"/>
                  </a:lnTo>
                  <a:lnTo>
                    <a:pt x="1797" y="426"/>
                  </a:lnTo>
                  <a:lnTo>
                    <a:pt x="1824" y="462"/>
                  </a:lnTo>
                  <a:lnTo>
                    <a:pt x="1773" y="507"/>
                  </a:lnTo>
                  <a:lnTo>
                    <a:pt x="1743" y="546"/>
                  </a:lnTo>
                  <a:lnTo>
                    <a:pt x="1683" y="603"/>
                  </a:lnTo>
                  <a:lnTo>
                    <a:pt x="1602" y="618"/>
                  </a:lnTo>
                  <a:lnTo>
                    <a:pt x="1545" y="687"/>
                  </a:lnTo>
                  <a:lnTo>
                    <a:pt x="1578" y="717"/>
                  </a:lnTo>
                  <a:lnTo>
                    <a:pt x="1644" y="822"/>
                  </a:lnTo>
                  <a:lnTo>
                    <a:pt x="1611" y="897"/>
                  </a:lnTo>
                  <a:lnTo>
                    <a:pt x="1557" y="951"/>
                  </a:lnTo>
                  <a:lnTo>
                    <a:pt x="1485" y="975"/>
                  </a:lnTo>
                  <a:lnTo>
                    <a:pt x="1482" y="1071"/>
                  </a:lnTo>
                  <a:lnTo>
                    <a:pt x="1455" y="1113"/>
                  </a:lnTo>
                  <a:lnTo>
                    <a:pt x="1416" y="1155"/>
                  </a:lnTo>
                  <a:lnTo>
                    <a:pt x="1347" y="1155"/>
                  </a:lnTo>
                  <a:lnTo>
                    <a:pt x="1287" y="1266"/>
                  </a:lnTo>
                  <a:lnTo>
                    <a:pt x="1197" y="1272"/>
                  </a:lnTo>
                  <a:lnTo>
                    <a:pt x="1167" y="1248"/>
                  </a:lnTo>
                  <a:lnTo>
                    <a:pt x="1110" y="1266"/>
                  </a:lnTo>
                  <a:lnTo>
                    <a:pt x="1083" y="1218"/>
                  </a:lnTo>
                  <a:lnTo>
                    <a:pt x="1041" y="1197"/>
                  </a:lnTo>
                  <a:lnTo>
                    <a:pt x="954" y="1188"/>
                  </a:lnTo>
                  <a:lnTo>
                    <a:pt x="942" y="1167"/>
                  </a:lnTo>
                  <a:lnTo>
                    <a:pt x="903" y="1182"/>
                  </a:lnTo>
                  <a:lnTo>
                    <a:pt x="897" y="1224"/>
                  </a:lnTo>
                  <a:lnTo>
                    <a:pt x="858" y="1218"/>
                  </a:lnTo>
                  <a:lnTo>
                    <a:pt x="831" y="1236"/>
                  </a:lnTo>
                  <a:lnTo>
                    <a:pt x="828" y="1260"/>
                  </a:lnTo>
                  <a:lnTo>
                    <a:pt x="711" y="1329"/>
                  </a:lnTo>
                  <a:lnTo>
                    <a:pt x="603" y="1278"/>
                  </a:lnTo>
                  <a:lnTo>
                    <a:pt x="570" y="1347"/>
                  </a:lnTo>
                  <a:lnTo>
                    <a:pt x="546" y="1332"/>
                  </a:lnTo>
                  <a:lnTo>
                    <a:pt x="510" y="1341"/>
                  </a:lnTo>
                  <a:lnTo>
                    <a:pt x="474" y="1389"/>
                  </a:lnTo>
                  <a:lnTo>
                    <a:pt x="444" y="1359"/>
                  </a:lnTo>
                  <a:lnTo>
                    <a:pt x="384" y="1398"/>
                  </a:lnTo>
                  <a:lnTo>
                    <a:pt x="258" y="1182"/>
                  </a:lnTo>
                  <a:lnTo>
                    <a:pt x="279" y="1140"/>
                  </a:lnTo>
                  <a:lnTo>
                    <a:pt x="180" y="1044"/>
                  </a:lnTo>
                  <a:lnTo>
                    <a:pt x="120" y="1065"/>
                  </a:lnTo>
                  <a:lnTo>
                    <a:pt x="111" y="1026"/>
                  </a:lnTo>
                  <a:lnTo>
                    <a:pt x="141" y="927"/>
                  </a:lnTo>
                  <a:lnTo>
                    <a:pt x="21" y="918"/>
                  </a:lnTo>
                  <a:lnTo>
                    <a:pt x="9" y="852"/>
                  </a:lnTo>
                  <a:lnTo>
                    <a:pt x="24" y="804"/>
                  </a:lnTo>
                  <a:lnTo>
                    <a:pt x="78" y="702"/>
                  </a:lnTo>
                  <a:lnTo>
                    <a:pt x="93" y="657"/>
                  </a:lnTo>
                  <a:lnTo>
                    <a:pt x="81" y="636"/>
                  </a:lnTo>
                  <a:lnTo>
                    <a:pt x="6" y="552"/>
                  </a:lnTo>
                  <a:lnTo>
                    <a:pt x="0" y="519"/>
                  </a:lnTo>
                  <a:lnTo>
                    <a:pt x="21" y="474"/>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04" name="Freeform 6188">
              <a:extLst>
                <a:ext uri="{FF2B5EF4-FFF2-40B4-BE49-F238E27FC236}">
                  <a16:creationId xmlns:a16="http://schemas.microsoft.com/office/drawing/2014/main" id="{AC42002E-FCF1-C388-1E2A-EC75775F2CDD}"/>
                </a:ext>
              </a:extLst>
            </p:cNvPr>
            <p:cNvSpPr>
              <a:spLocks/>
            </p:cNvSpPr>
            <p:nvPr/>
          </p:nvSpPr>
          <p:spPr bwMode="gray">
            <a:xfrm>
              <a:off x="7720003" y="3394428"/>
              <a:ext cx="790830" cy="1117636"/>
            </a:xfrm>
            <a:custGeom>
              <a:avLst/>
              <a:gdLst>
                <a:gd name="T0" fmla="*/ 106 w 950"/>
                <a:gd name="T1" fmla="*/ 338 h 1408"/>
                <a:gd name="T2" fmla="*/ 112 w 950"/>
                <a:gd name="T3" fmla="*/ 474 h 1408"/>
                <a:gd name="T4" fmla="*/ 66 w 950"/>
                <a:gd name="T5" fmla="*/ 600 h 1408"/>
                <a:gd name="T6" fmla="*/ 88 w 950"/>
                <a:gd name="T7" fmla="*/ 684 h 1408"/>
                <a:gd name="T8" fmla="*/ 212 w 950"/>
                <a:gd name="T9" fmla="*/ 782 h 1408"/>
                <a:gd name="T10" fmla="*/ 286 w 950"/>
                <a:gd name="T11" fmla="*/ 884 h 1408"/>
                <a:gd name="T12" fmla="*/ 398 w 950"/>
                <a:gd name="T13" fmla="*/ 934 h 1408"/>
                <a:gd name="T14" fmla="*/ 440 w 950"/>
                <a:gd name="T15" fmla="*/ 834 h 1408"/>
                <a:gd name="T16" fmla="*/ 508 w 950"/>
                <a:gd name="T17" fmla="*/ 838 h 1408"/>
                <a:gd name="T18" fmla="*/ 526 w 950"/>
                <a:gd name="T19" fmla="*/ 802 h 1408"/>
                <a:gd name="T20" fmla="*/ 580 w 950"/>
                <a:gd name="T21" fmla="*/ 840 h 1408"/>
                <a:gd name="T22" fmla="*/ 520 w 950"/>
                <a:gd name="T23" fmla="*/ 860 h 1408"/>
                <a:gd name="T24" fmla="*/ 486 w 950"/>
                <a:gd name="T25" fmla="*/ 944 h 1408"/>
                <a:gd name="T26" fmla="*/ 564 w 950"/>
                <a:gd name="T27" fmla="*/ 1012 h 1408"/>
                <a:gd name="T28" fmla="*/ 518 w 950"/>
                <a:gd name="T29" fmla="*/ 1070 h 1408"/>
                <a:gd name="T30" fmla="*/ 570 w 950"/>
                <a:gd name="T31" fmla="*/ 1146 h 1408"/>
                <a:gd name="T32" fmla="*/ 627 w 950"/>
                <a:gd name="T33" fmla="*/ 1239 h 1408"/>
                <a:gd name="T34" fmla="*/ 654 w 950"/>
                <a:gd name="T35" fmla="*/ 1388 h 1408"/>
                <a:gd name="T36" fmla="*/ 726 w 950"/>
                <a:gd name="T37" fmla="*/ 1386 h 1408"/>
                <a:gd name="T38" fmla="*/ 768 w 950"/>
                <a:gd name="T39" fmla="*/ 1408 h 1408"/>
                <a:gd name="T40" fmla="*/ 822 w 950"/>
                <a:gd name="T41" fmla="*/ 1350 h 1408"/>
                <a:gd name="T42" fmla="*/ 868 w 950"/>
                <a:gd name="T43" fmla="*/ 1262 h 1408"/>
                <a:gd name="T44" fmla="*/ 768 w 950"/>
                <a:gd name="T45" fmla="*/ 1150 h 1408"/>
                <a:gd name="T46" fmla="*/ 794 w 950"/>
                <a:gd name="T47" fmla="*/ 1096 h 1408"/>
                <a:gd name="T48" fmla="*/ 734 w 950"/>
                <a:gd name="T49" fmla="*/ 1132 h 1408"/>
                <a:gd name="T50" fmla="*/ 736 w 950"/>
                <a:gd name="T51" fmla="*/ 1250 h 1408"/>
                <a:gd name="T52" fmla="*/ 720 w 950"/>
                <a:gd name="T53" fmla="*/ 1222 h 1408"/>
                <a:gd name="T54" fmla="*/ 666 w 950"/>
                <a:gd name="T55" fmla="*/ 1240 h 1408"/>
                <a:gd name="T56" fmla="*/ 628 w 950"/>
                <a:gd name="T57" fmla="*/ 1186 h 1408"/>
                <a:gd name="T58" fmla="*/ 620 w 950"/>
                <a:gd name="T59" fmla="*/ 1144 h 1408"/>
                <a:gd name="T60" fmla="*/ 658 w 950"/>
                <a:gd name="T61" fmla="*/ 1106 h 1408"/>
                <a:gd name="T62" fmla="*/ 642 w 950"/>
                <a:gd name="T63" fmla="*/ 1206 h 1408"/>
                <a:gd name="T64" fmla="*/ 688 w 950"/>
                <a:gd name="T65" fmla="*/ 1176 h 1408"/>
                <a:gd name="T66" fmla="*/ 686 w 950"/>
                <a:gd name="T67" fmla="*/ 1104 h 1408"/>
                <a:gd name="T68" fmla="*/ 726 w 950"/>
                <a:gd name="T69" fmla="*/ 1104 h 1408"/>
                <a:gd name="T70" fmla="*/ 776 w 950"/>
                <a:gd name="T71" fmla="*/ 1050 h 1408"/>
                <a:gd name="T72" fmla="*/ 788 w 950"/>
                <a:gd name="T73" fmla="*/ 994 h 1408"/>
                <a:gd name="T74" fmla="*/ 856 w 950"/>
                <a:gd name="T75" fmla="*/ 906 h 1408"/>
                <a:gd name="T76" fmla="*/ 916 w 950"/>
                <a:gd name="T77" fmla="*/ 838 h 1408"/>
                <a:gd name="T78" fmla="*/ 920 w 950"/>
                <a:gd name="T79" fmla="*/ 778 h 1408"/>
                <a:gd name="T80" fmla="*/ 837 w 950"/>
                <a:gd name="T81" fmla="*/ 651 h 1408"/>
                <a:gd name="T82" fmla="*/ 826 w 950"/>
                <a:gd name="T83" fmla="*/ 550 h 1408"/>
                <a:gd name="T84" fmla="*/ 854 w 950"/>
                <a:gd name="T85" fmla="*/ 374 h 1408"/>
                <a:gd name="T86" fmla="*/ 819 w 950"/>
                <a:gd name="T87" fmla="*/ 265 h 1408"/>
                <a:gd name="T88" fmla="*/ 752 w 950"/>
                <a:gd name="T89" fmla="*/ 160 h 1408"/>
                <a:gd name="T90" fmla="*/ 708 w 950"/>
                <a:gd name="T91" fmla="*/ 32 h 1408"/>
                <a:gd name="T92" fmla="*/ 665 w 950"/>
                <a:gd name="T93" fmla="*/ 18 h 1408"/>
                <a:gd name="T94" fmla="*/ 622 w 950"/>
                <a:gd name="T95" fmla="*/ 86 h 1408"/>
                <a:gd name="T96" fmla="*/ 510 w 950"/>
                <a:gd name="T97" fmla="*/ 118 h 1408"/>
                <a:gd name="T98" fmla="*/ 358 w 950"/>
                <a:gd name="T99" fmla="*/ 98 h 1408"/>
                <a:gd name="T100" fmla="*/ 256 w 950"/>
                <a:gd name="T101" fmla="*/ 106 h 1408"/>
                <a:gd name="T102" fmla="*/ 172 w 950"/>
                <a:gd name="T103" fmla="*/ 176 h 1408"/>
                <a:gd name="T104" fmla="*/ 24 w 950"/>
                <a:gd name="T105" fmla="*/ 244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0" h="1408">
                  <a:moveTo>
                    <a:pt x="0" y="336"/>
                  </a:moveTo>
                  <a:lnTo>
                    <a:pt x="88" y="308"/>
                  </a:lnTo>
                  <a:lnTo>
                    <a:pt x="106" y="338"/>
                  </a:lnTo>
                  <a:lnTo>
                    <a:pt x="108" y="418"/>
                  </a:lnTo>
                  <a:lnTo>
                    <a:pt x="94" y="430"/>
                  </a:lnTo>
                  <a:lnTo>
                    <a:pt x="112" y="474"/>
                  </a:lnTo>
                  <a:lnTo>
                    <a:pt x="100" y="546"/>
                  </a:lnTo>
                  <a:lnTo>
                    <a:pt x="84" y="562"/>
                  </a:lnTo>
                  <a:lnTo>
                    <a:pt x="66" y="600"/>
                  </a:lnTo>
                  <a:lnTo>
                    <a:pt x="94" y="652"/>
                  </a:lnTo>
                  <a:lnTo>
                    <a:pt x="72" y="672"/>
                  </a:lnTo>
                  <a:lnTo>
                    <a:pt x="88" y="684"/>
                  </a:lnTo>
                  <a:lnTo>
                    <a:pt x="118" y="702"/>
                  </a:lnTo>
                  <a:lnTo>
                    <a:pt x="186" y="730"/>
                  </a:lnTo>
                  <a:lnTo>
                    <a:pt x="212" y="782"/>
                  </a:lnTo>
                  <a:lnTo>
                    <a:pt x="262" y="838"/>
                  </a:lnTo>
                  <a:lnTo>
                    <a:pt x="276" y="852"/>
                  </a:lnTo>
                  <a:lnTo>
                    <a:pt x="286" y="884"/>
                  </a:lnTo>
                  <a:lnTo>
                    <a:pt x="296" y="900"/>
                  </a:lnTo>
                  <a:lnTo>
                    <a:pt x="340" y="898"/>
                  </a:lnTo>
                  <a:lnTo>
                    <a:pt x="398" y="934"/>
                  </a:lnTo>
                  <a:lnTo>
                    <a:pt x="396" y="898"/>
                  </a:lnTo>
                  <a:lnTo>
                    <a:pt x="432" y="861"/>
                  </a:lnTo>
                  <a:lnTo>
                    <a:pt x="440" y="834"/>
                  </a:lnTo>
                  <a:lnTo>
                    <a:pt x="470" y="832"/>
                  </a:lnTo>
                  <a:lnTo>
                    <a:pt x="492" y="846"/>
                  </a:lnTo>
                  <a:lnTo>
                    <a:pt x="508" y="838"/>
                  </a:lnTo>
                  <a:lnTo>
                    <a:pt x="518" y="824"/>
                  </a:lnTo>
                  <a:lnTo>
                    <a:pt x="514" y="810"/>
                  </a:lnTo>
                  <a:lnTo>
                    <a:pt x="526" y="802"/>
                  </a:lnTo>
                  <a:lnTo>
                    <a:pt x="554" y="792"/>
                  </a:lnTo>
                  <a:lnTo>
                    <a:pt x="576" y="816"/>
                  </a:lnTo>
                  <a:lnTo>
                    <a:pt x="580" y="840"/>
                  </a:lnTo>
                  <a:lnTo>
                    <a:pt x="552" y="856"/>
                  </a:lnTo>
                  <a:lnTo>
                    <a:pt x="532" y="856"/>
                  </a:lnTo>
                  <a:lnTo>
                    <a:pt x="520" y="860"/>
                  </a:lnTo>
                  <a:lnTo>
                    <a:pt x="495" y="897"/>
                  </a:lnTo>
                  <a:lnTo>
                    <a:pt x="458" y="922"/>
                  </a:lnTo>
                  <a:lnTo>
                    <a:pt x="486" y="944"/>
                  </a:lnTo>
                  <a:lnTo>
                    <a:pt x="528" y="934"/>
                  </a:lnTo>
                  <a:lnTo>
                    <a:pt x="578" y="970"/>
                  </a:lnTo>
                  <a:lnTo>
                    <a:pt x="564" y="1012"/>
                  </a:lnTo>
                  <a:lnTo>
                    <a:pt x="552" y="1010"/>
                  </a:lnTo>
                  <a:lnTo>
                    <a:pt x="542" y="1058"/>
                  </a:lnTo>
                  <a:lnTo>
                    <a:pt x="518" y="1070"/>
                  </a:lnTo>
                  <a:lnTo>
                    <a:pt x="502" y="1114"/>
                  </a:lnTo>
                  <a:lnTo>
                    <a:pt x="552" y="1132"/>
                  </a:lnTo>
                  <a:lnTo>
                    <a:pt x="570" y="1146"/>
                  </a:lnTo>
                  <a:lnTo>
                    <a:pt x="604" y="1178"/>
                  </a:lnTo>
                  <a:lnTo>
                    <a:pt x="628" y="1190"/>
                  </a:lnTo>
                  <a:lnTo>
                    <a:pt x="627" y="1239"/>
                  </a:lnTo>
                  <a:lnTo>
                    <a:pt x="664" y="1254"/>
                  </a:lnTo>
                  <a:lnTo>
                    <a:pt x="682" y="1350"/>
                  </a:lnTo>
                  <a:lnTo>
                    <a:pt x="654" y="1388"/>
                  </a:lnTo>
                  <a:lnTo>
                    <a:pt x="684" y="1388"/>
                  </a:lnTo>
                  <a:lnTo>
                    <a:pt x="694" y="1368"/>
                  </a:lnTo>
                  <a:lnTo>
                    <a:pt x="726" y="1386"/>
                  </a:lnTo>
                  <a:lnTo>
                    <a:pt x="750" y="1378"/>
                  </a:lnTo>
                  <a:lnTo>
                    <a:pt x="758" y="1390"/>
                  </a:lnTo>
                  <a:lnTo>
                    <a:pt x="768" y="1408"/>
                  </a:lnTo>
                  <a:lnTo>
                    <a:pt x="800" y="1400"/>
                  </a:lnTo>
                  <a:lnTo>
                    <a:pt x="808" y="1368"/>
                  </a:lnTo>
                  <a:lnTo>
                    <a:pt x="822" y="1350"/>
                  </a:lnTo>
                  <a:lnTo>
                    <a:pt x="824" y="1312"/>
                  </a:lnTo>
                  <a:lnTo>
                    <a:pt x="840" y="1302"/>
                  </a:lnTo>
                  <a:lnTo>
                    <a:pt x="868" y="1262"/>
                  </a:lnTo>
                  <a:lnTo>
                    <a:pt x="788" y="1216"/>
                  </a:lnTo>
                  <a:lnTo>
                    <a:pt x="772" y="1182"/>
                  </a:lnTo>
                  <a:lnTo>
                    <a:pt x="768" y="1150"/>
                  </a:lnTo>
                  <a:lnTo>
                    <a:pt x="758" y="1142"/>
                  </a:lnTo>
                  <a:lnTo>
                    <a:pt x="760" y="1116"/>
                  </a:lnTo>
                  <a:lnTo>
                    <a:pt x="794" y="1096"/>
                  </a:lnTo>
                  <a:lnTo>
                    <a:pt x="784" y="1086"/>
                  </a:lnTo>
                  <a:lnTo>
                    <a:pt x="748" y="1112"/>
                  </a:lnTo>
                  <a:lnTo>
                    <a:pt x="734" y="1132"/>
                  </a:lnTo>
                  <a:lnTo>
                    <a:pt x="720" y="1180"/>
                  </a:lnTo>
                  <a:lnTo>
                    <a:pt x="730" y="1222"/>
                  </a:lnTo>
                  <a:lnTo>
                    <a:pt x="736" y="1250"/>
                  </a:lnTo>
                  <a:lnTo>
                    <a:pt x="724" y="1256"/>
                  </a:lnTo>
                  <a:lnTo>
                    <a:pt x="726" y="1242"/>
                  </a:lnTo>
                  <a:lnTo>
                    <a:pt x="720" y="1222"/>
                  </a:lnTo>
                  <a:lnTo>
                    <a:pt x="696" y="1200"/>
                  </a:lnTo>
                  <a:lnTo>
                    <a:pt x="684" y="1214"/>
                  </a:lnTo>
                  <a:lnTo>
                    <a:pt x="666" y="1240"/>
                  </a:lnTo>
                  <a:lnTo>
                    <a:pt x="654" y="1248"/>
                  </a:lnTo>
                  <a:lnTo>
                    <a:pt x="626" y="1238"/>
                  </a:lnTo>
                  <a:lnTo>
                    <a:pt x="628" y="1186"/>
                  </a:lnTo>
                  <a:lnTo>
                    <a:pt x="608" y="1176"/>
                  </a:lnTo>
                  <a:lnTo>
                    <a:pt x="624" y="1158"/>
                  </a:lnTo>
                  <a:lnTo>
                    <a:pt x="620" y="1144"/>
                  </a:lnTo>
                  <a:lnTo>
                    <a:pt x="630" y="1122"/>
                  </a:lnTo>
                  <a:lnTo>
                    <a:pt x="646" y="1094"/>
                  </a:lnTo>
                  <a:lnTo>
                    <a:pt x="658" y="1106"/>
                  </a:lnTo>
                  <a:lnTo>
                    <a:pt x="644" y="1140"/>
                  </a:lnTo>
                  <a:lnTo>
                    <a:pt x="640" y="1180"/>
                  </a:lnTo>
                  <a:lnTo>
                    <a:pt x="642" y="1206"/>
                  </a:lnTo>
                  <a:lnTo>
                    <a:pt x="652" y="1226"/>
                  </a:lnTo>
                  <a:lnTo>
                    <a:pt x="676" y="1200"/>
                  </a:lnTo>
                  <a:lnTo>
                    <a:pt x="688" y="1176"/>
                  </a:lnTo>
                  <a:lnTo>
                    <a:pt x="692" y="1158"/>
                  </a:lnTo>
                  <a:lnTo>
                    <a:pt x="692" y="1124"/>
                  </a:lnTo>
                  <a:lnTo>
                    <a:pt x="686" y="1104"/>
                  </a:lnTo>
                  <a:lnTo>
                    <a:pt x="710" y="1078"/>
                  </a:lnTo>
                  <a:lnTo>
                    <a:pt x="714" y="1092"/>
                  </a:lnTo>
                  <a:lnTo>
                    <a:pt x="726" y="1104"/>
                  </a:lnTo>
                  <a:lnTo>
                    <a:pt x="754" y="1084"/>
                  </a:lnTo>
                  <a:lnTo>
                    <a:pt x="772" y="1064"/>
                  </a:lnTo>
                  <a:lnTo>
                    <a:pt x="776" y="1050"/>
                  </a:lnTo>
                  <a:lnTo>
                    <a:pt x="766" y="1040"/>
                  </a:lnTo>
                  <a:lnTo>
                    <a:pt x="770" y="1008"/>
                  </a:lnTo>
                  <a:lnTo>
                    <a:pt x="788" y="994"/>
                  </a:lnTo>
                  <a:lnTo>
                    <a:pt x="814" y="984"/>
                  </a:lnTo>
                  <a:lnTo>
                    <a:pt x="846" y="978"/>
                  </a:lnTo>
                  <a:lnTo>
                    <a:pt x="856" y="906"/>
                  </a:lnTo>
                  <a:lnTo>
                    <a:pt x="838" y="884"/>
                  </a:lnTo>
                  <a:lnTo>
                    <a:pt x="870" y="866"/>
                  </a:lnTo>
                  <a:lnTo>
                    <a:pt x="916" y="838"/>
                  </a:lnTo>
                  <a:lnTo>
                    <a:pt x="932" y="818"/>
                  </a:lnTo>
                  <a:lnTo>
                    <a:pt x="950" y="790"/>
                  </a:lnTo>
                  <a:lnTo>
                    <a:pt x="920" y="778"/>
                  </a:lnTo>
                  <a:lnTo>
                    <a:pt x="894" y="754"/>
                  </a:lnTo>
                  <a:lnTo>
                    <a:pt x="843" y="708"/>
                  </a:lnTo>
                  <a:lnTo>
                    <a:pt x="837" y="651"/>
                  </a:lnTo>
                  <a:lnTo>
                    <a:pt x="830" y="628"/>
                  </a:lnTo>
                  <a:lnTo>
                    <a:pt x="809" y="592"/>
                  </a:lnTo>
                  <a:lnTo>
                    <a:pt x="826" y="550"/>
                  </a:lnTo>
                  <a:lnTo>
                    <a:pt x="822" y="524"/>
                  </a:lnTo>
                  <a:lnTo>
                    <a:pt x="842" y="490"/>
                  </a:lnTo>
                  <a:lnTo>
                    <a:pt x="854" y="374"/>
                  </a:lnTo>
                  <a:lnTo>
                    <a:pt x="842" y="334"/>
                  </a:lnTo>
                  <a:lnTo>
                    <a:pt x="849" y="283"/>
                  </a:lnTo>
                  <a:lnTo>
                    <a:pt x="819" y="265"/>
                  </a:lnTo>
                  <a:lnTo>
                    <a:pt x="794" y="272"/>
                  </a:lnTo>
                  <a:lnTo>
                    <a:pt x="760" y="218"/>
                  </a:lnTo>
                  <a:lnTo>
                    <a:pt x="752" y="160"/>
                  </a:lnTo>
                  <a:lnTo>
                    <a:pt x="783" y="63"/>
                  </a:lnTo>
                  <a:lnTo>
                    <a:pt x="748" y="52"/>
                  </a:lnTo>
                  <a:lnTo>
                    <a:pt x="708" y="32"/>
                  </a:lnTo>
                  <a:lnTo>
                    <a:pt x="690" y="44"/>
                  </a:lnTo>
                  <a:lnTo>
                    <a:pt x="684" y="0"/>
                  </a:lnTo>
                  <a:lnTo>
                    <a:pt x="665" y="18"/>
                  </a:lnTo>
                  <a:lnTo>
                    <a:pt x="641" y="22"/>
                  </a:lnTo>
                  <a:lnTo>
                    <a:pt x="632" y="54"/>
                  </a:lnTo>
                  <a:lnTo>
                    <a:pt x="622" y="86"/>
                  </a:lnTo>
                  <a:lnTo>
                    <a:pt x="538" y="124"/>
                  </a:lnTo>
                  <a:lnTo>
                    <a:pt x="530" y="121"/>
                  </a:lnTo>
                  <a:lnTo>
                    <a:pt x="510" y="118"/>
                  </a:lnTo>
                  <a:lnTo>
                    <a:pt x="458" y="109"/>
                  </a:lnTo>
                  <a:lnTo>
                    <a:pt x="399" y="102"/>
                  </a:lnTo>
                  <a:lnTo>
                    <a:pt x="358" y="98"/>
                  </a:lnTo>
                  <a:lnTo>
                    <a:pt x="318" y="128"/>
                  </a:lnTo>
                  <a:lnTo>
                    <a:pt x="296" y="116"/>
                  </a:lnTo>
                  <a:lnTo>
                    <a:pt x="256" y="106"/>
                  </a:lnTo>
                  <a:lnTo>
                    <a:pt x="186" y="94"/>
                  </a:lnTo>
                  <a:lnTo>
                    <a:pt x="170" y="146"/>
                  </a:lnTo>
                  <a:lnTo>
                    <a:pt x="172" y="176"/>
                  </a:lnTo>
                  <a:lnTo>
                    <a:pt x="136" y="188"/>
                  </a:lnTo>
                  <a:lnTo>
                    <a:pt x="71" y="249"/>
                  </a:lnTo>
                  <a:lnTo>
                    <a:pt x="24" y="244"/>
                  </a:lnTo>
                  <a:lnTo>
                    <a:pt x="0" y="336"/>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05" name="Freeform 6189">
              <a:extLst>
                <a:ext uri="{FF2B5EF4-FFF2-40B4-BE49-F238E27FC236}">
                  <a16:creationId xmlns:a16="http://schemas.microsoft.com/office/drawing/2014/main" id="{E532B3F7-FB9E-27E3-E0C6-16D5AAD7919A}"/>
                </a:ext>
              </a:extLst>
            </p:cNvPr>
            <p:cNvSpPr>
              <a:spLocks/>
            </p:cNvSpPr>
            <p:nvPr/>
          </p:nvSpPr>
          <p:spPr bwMode="gray">
            <a:xfrm>
              <a:off x="7737060" y="2923297"/>
              <a:ext cx="544277" cy="627184"/>
            </a:xfrm>
            <a:custGeom>
              <a:avLst/>
              <a:gdLst>
                <a:gd name="T0" fmla="*/ 314 w 653"/>
                <a:gd name="T1" fmla="*/ 66 h 791"/>
                <a:gd name="T2" fmla="*/ 365 w 653"/>
                <a:gd name="T3" fmla="*/ 116 h 791"/>
                <a:gd name="T4" fmla="*/ 482 w 653"/>
                <a:gd name="T5" fmla="*/ 75 h 791"/>
                <a:gd name="T6" fmla="*/ 513 w 653"/>
                <a:gd name="T7" fmla="*/ 125 h 791"/>
                <a:gd name="T8" fmla="*/ 530 w 653"/>
                <a:gd name="T9" fmla="*/ 162 h 791"/>
                <a:gd name="T10" fmla="*/ 635 w 653"/>
                <a:gd name="T11" fmla="*/ 129 h 791"/>
                <a:gd name="T12" fmla="*/ 653 w 653"/>
                <a:gd name="T13" fmla="*/ 182 h 791"/>
                <a:gd name="T14" fmla="*/ 570 w 653"/>
                <a:gd name="T15" fmla="*/ 260 h 791"/>
                <a:gd name="T16" fmla="*/ 501 w 653"/>
                <a:gd name="T17" fmla="*/ 324 h 791"/>
                <a:gd name="T18" fmla="*/ 447 w 653"/>
                <a:gd name="T19" fmla="*/ 431 h 791"/>
                <a:gd name="T20" fmla="*/ 398 w 653"/>
                <a:gd name="T21" fmla="*/ 459 h 791"/>
                <a:gd name="T22" fmla="*/ 327 w 653"/>
                <a:gd name="T23" fmla="*/ 497 h 791"/>
                <a:gd name="T24" fmla="*/ 299 w 653"/>
                <a:gd name="T25" fmla="*/ 600 h 791"/>
                <a:gd name="T26" fmla="*/ 339 w 653"/>
                <a:gd name="T27" fmla="*/ 692 h 791"/>
                <a:gd name="T28" fmla="*/ 275 w 653"/>
                <a:gd name="T29" fmla="*/ 711 h 791"/>
                <a:gd name="T30" fmla="*/ 149 w 653"/>
                <a:gd name="T31" fmla="*/ 747 h 791"/>
                <a:gd name="T32" fmla="*/ 98 w 653"/>
                <a:gd name="T33" fmla="*/ 791 h 791"/>
                <a:gd name="T34" fmla="*/ 15 w 653"/>
                <a:gd name="T35" fmla="*/ 698 h 791"/>
                <a:gd name="T36" fmla="*/ 20 w 653"/>
                <a:gd name="T37" fmla="*/ 579 h 791"/>
                <a:gd name="T38" fmla="*/ 0 w 653"/>
                <a:gd name="T39" fmla="*/ 507 h 791"/>
                <a:gd name="T40" fmla="*/ 69 w 653"/>
                <a:gd name="T41" fmla="*/ 485 h 791"/>
                <a:gd name="T42" fmla="*/ 62 w 653"/>
                <a:gd name="T43" fmla="*/ 372 h 791"/>
                <a:gd name="T44" fmla="*/ 110 w 653"/>
                <a:gd name="T45" fmla="*/ 368 h 791"/>
                <a:gd name="T46" fmla="*/ 102 w 653"/>
                <a:gd name="T47" fmla="*/ 275 h 791"/>
                <a:gd name="T48" fmla="*/ 110 w 653"/>
                <a:gd name="T49" fmla="*/ 224 h 791"/>
                <a:gd name="T50" fmla="*/ 78 w 653"/>
                <a:gd name="T51" fmla="*/ 176 h 791"/>
                <a:gd name="T52" fmla="*/ 104 w 653"/>
                <a:gd name="T53" fmla="*/ 116 h 791"/>
                <a:gd name="T54" fmla="*/ 171 w 653"/>
                <a:gd name="T55" fmla="*/ 87 h 791"/>
                <a:gd name="T56" fmla="*/ 182 w 653"/>
                <a:gd name="T57" fmla="*/ 33 h 791"/>
                <a:gd name="T58" fmla="*/ 219 w 653"/>
                <a:gd name="T59" fmla="*/ 29 h 791"/>
                <a:gd name="T60" fmla="*/ 224 w 653"/>
                <a:gd name="T61" fmla="*/ 116 h 791"/>
                <a:gd name="T62" fmla="*/ 233 w 653"/>
                <a:gd name="T63" fmla="*/ 168 h 791"/>
                <a:gd name="T64" fmla="*/ 257 w 653"/>
                <a:gd name="T65" fmla="*/ 149 h 791"/>
                <a:gd name="T66" fmla="*/ 252 w 653"/>
                <a:gd name="T67" fmla="*/ 66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3" h="791">
                  <a:moveTo>
                    <a:pt x="251" y="48"/>
                  </a:moveTo>
                  <a:lnTo>
                    <a:pt x="314" y="66"/>
                  </a:lnTo>
                  <a:lnTo>
                    <a:pt x="347" y="65"/>
                  </a:lnTo>
                  <a:lnTo>
                    <a:pt x="365" y="116"/>
                  </a:lnTo>
                  <a:lnTo>
                    <a:pt x="440" y="69"/>
                  </a:lnTo>
                  <a:lnTo>
                    <a:pt x="482" y="75"/>
                  </a:lnTo>
                  <a:lnTo>
                    <a:pt x="504" y="87"/>
                  </a:lnTo>
                  <a:lnTo>
                    <a:pt x="513" y="125"/>
                  </a:lnTo>
                  <a:lnTo>
                    <a:pt x="525" y="111"/>
                  </a:lnTo>
                  <a:lnTo>
                    <a:pt x="530" y="162"/>
                  </a:lnTo>
                  <a:lnTo>
                    <a:pt x="630" y="98"/>
                  </a:lnTo>
                  <a:lnTo>
                    <a:pt x="635" y="129"/>
                  </a:lnTo>
                  <a:lnTo>
                    <a:pt x="647" y="137"/>
                  </a:lnTo>
                  <a:lnTo>
                    <a:pt x="653" y="182"/>
                  </a:lnTo>
                  <a:lnTo>
                    <a:pt x="552" y="239"/>
                  </a:lnTo>
                  <a:lnTo>
                    <a:pt x="570" y="260"/>
                  </a:lnTo>
                  <a:lnTo>
                    <a:pt x="560" y="293"/>
                  </a:lnTo>
                  <a:lnTo>
                    <a:pt x="501" y="324"/>
                  </a:lnTo>
                  <a:lnTo>
                    <a:pt x="476" y="425"/>
                  </a:lnTo>
                  <a:lnTo>
                    <a:pt x="447" y="431"/>
                  </a:lnTo>
                  <a:lnTo>
                    <a:pt x="435" y="405"/>
                  </a:lnTo>
                  <a:lnTo>
                    <a:pt x="398" y="459"/>
                  </a:lnTo>
                  <a:lnTo>
                    <a:pt x="362" y="488"/>
                  </a:lnTo>
                  <a:lnTo>
                    <a:pt x="327" y="497"/>
                  </a:lnTo>
                  <a:lnTo>
                    <a:pt x="332" y="567"/>
                  </a:lnTo>
                  <a:lnTo>
                    <a:pt x="299" y="600"/>
                  </a:lnTo>
                  <a:lnTo>
                    <a:pt x="327" y="633"/>
                  </a:lnTo>
                  <a:lnTo>
                    <a:pt x="339" y="692"/>
                  </a:lnTo>
                  <a:lnTo>
                    <a:pt x="296" y="726"/>
                  </a:lnTo>
                  <a:lnTo>
                    <a:pt x="275" y="711"/>
                  </a:lnTo>
                  <a:lnTo>
                    <a:pt x="167" y="692"/>
                  </a:lnTo>
                  <a:lnTo>
                    <a:pt x="149" y="747"/>
                  </a:lnTo>
                  <a:lnTo>
                    <a:pt x="152" y="771"/>
                  </a:lnTo>
                  <a:lnTo>
                    <a:pt x="98" y="791"/>
                  </a:lnTo>
                  <a:lnTo>
                    <a:pt x="50" y="777"/>
                  </a:lnTo>
                  <a:lnTo>
                    <a:pt x="15" y="698"/>
                  </a:lnTo>
                  <a:lnTo>
                    <a:pt x="26" y="629"/>
                  </a:lnTo>
                  <a:lnTo>
                    <a:pt x="20" y="579"/>
                  </a:lnTo>
                  <a:lnTo>
                    <a:pt x="2" y="540"/>
                  </a:lnTo>
                  <a:lnTo>
                    <a:pt x="0" y="507"/>
                  </a:lnTo>
                  <a:lnTo>
                    <a:pt x="59" y="515"/>
                  </a:lnTo>
                  <a:lnTo>
                    <a:pt x="69" y="485"/>
                  </a:lnTo>
                  <a:lnTo>
                    <a:pt x="45" y="419"/>
                  </a:lnTo>
                  <a:lnTo>
                    <a:pt x="62" y="372"/>
                  </a:lnTo>
                  <a:lnTo>
                    <a:pt x="90" y="377"/>
                  </a:lnTo>
                  <a:lnTo>
                    <a:pt x="110" y="368"/>
                  </a:lnTo>
                  <a:lnTo>
                    <a:pt x="98" y="339"/>
                  </a:lnTo>
                  <a:lnTo>
                    <a:pt x="102" y="275"/>
                  </a:lnTo>
                  <a:lnTo>
                    <a:pt x="125" y="249"/>
                  </a:lnTo>
                  <a:lnTo>
                    <a:pt x="110" y="224"/>
                  </a:lnTo>
                  <a:lnTo>
                    <a:pt x="78" y="222"/>
                  </a:lnTo>
                  <a:lnTo>
                    <a:pt x="78" y="176"/>
                  </a:lnTo>
                  <a:lnTo>
                    <a:pt x="63" y="164"/>
                  </a:lnTo>
                  <a:lnTo>
                    <a:pt x="104" y="116"/>
                  </a:lnTo>
                  <a:lnTo>
                    <a:pt x="132" y="116"/>
                  </a:lnTo>
                  <a:lnTo>
                    <a:pt x="171" y="87"/>
                  </a:lnTo>
                  <a:lnTo>
                    <a:pt x="186" y="38"/>
                  </a:lnTo>
                  <a:lnTo>
                    <a:pt x="182" y="33"/>
                  </a:lnTo>
                  <a:lnTo>
                    <a:pt x="215" y="0"/>
                  </a:lnTo>
                  <a:lnTo>
                    <a:pt x="219" y="29"/>
                  </a:lnTo>
                  <a:lnTo>
                    <a:pt x="204" y="92"/>
                  </a:lnTo>
                  <a:lnTo>
                    <a:pt x="224" y="116"/>
                  </a:lnTo>
                  <a:lnTo>
                    <a:pt x="222" y="156"/>
                  </a:lnTo>
                  <a:lnTo>
                    <a:pt x="233" y="168"/>
                  </a:lnTo>
                  <a:lnTo>
                    <a:pt x="246" y="153"/>
                  </a:lnTo>
                  <a:lnTo>
                    <a:pt x="257" y="149"/>
                  </a:lnTo>
                  <a:lnTo>
                    <a:pt x="243" y="98"/>
                  </a:lnTo>
                  <a:lnTo>
                    <a:pt x="252" y="66"/>
                  </a:lnTo>
                  <a:lnTo>
                    <a:pt x="251" y="48"/>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06" name="Freeform 6190">
              <a:extLst>
                <a:ext uri="{FF2B5EF4-FFF2-40B4-BE49-F238E27FC236}">
                  <a16:creationId xmlns:a16="http://schemas.microsoft.com/office/drawing/2014/main" id="{1D1B9605-5D03-829E-E8E2-1445FCDD1451}"/>
                </a:ext>
              </a:extLst>
            </p:cNvPr>
            <p:cNvSpPr>
              <a:spLocks/>
            </p:cNvSpPr>
            <p:nvPr/>
          </p:nvSpPr>
          <p:spPr bwMode="gray">
            <a:xfrm>
              <a:off x="7985164" y="2791024"/>
              <a:ext cx="1804953" cy="1233561"/>
            </a:xfrm>
            <a:custGeom>
              <a:avLst/>
              <a:gdLst>
                <a:gd name="T0" fmla="*/ 0 w 2170"/>
                <a:gd name="T1" fmla="*/ 768 h 1556"/>
                <a:gd name="T2" fmla="*/ 68 w 2170"/>
                <a:gd name="T3" fmla="*/ 656 h 1556"/>
                <a:gd name="T4" fmla="*/ 148 w 2170"/>
                <a:gd name="T5" fmla="*/ 600 h 1556"/>
                <a:gd name="T6" fmla="*/ 262 w 2170"/>
                <a:gd name="T7" fmla="*/ 462 h 1556"/>
                <a:gd name="T8" fmla="*/ 320 w 2170"/>
                <a:gd name="T9" fmla="*/ 474 h 1556"/>
                <a:gd name="T10" fmla="*/ 460 w 2170"/>
                <a:gd name="T11" fmla="*/ 348 h 1556"/>
                <a:gd name="T12" fmla="*/ 588 w 2170"/>
                <a:gd name="T13" fmla="*/ 338 h 1556"/>
                <a:gd name="T14" fmla="*/ 692 w 2170"/>
                <a:gd name="T15" fmla="*/ 264 h 1556"/>
                <a:gd name="T16" fmla="*/ 892 w 2170"/>
                <a:gd name="T17" fmla="*/ 304 h 1556"/>
                <a:gd name="T18" fmla="*/ 1040 w 2170"/>
                <a:gd name="T19" fmla="*/ 152 h 1556"/>
                <a:gd name="T20" fmla="*/ 1048 w 2170"/>
                <a:gd name="T21" fmla="*/ 32 h 1556"/>
                <a:gd name="T22" fmla="*/ 1148 w 2170"/>
                <a:gd name="T23" fmla="*/ 0 h 1556"/>
                <a:gd name="T24" fmla="*/ 1278 w 2170"/>
                <a:gd name="T25" fmla="*/ 36 h 1556"/>
                <a:gd name="T26" fmla="*/ 1412 w 2170"/>
                <a:gd name="T27" fmla="*/ 58 h 1556"/>
                <a:gd name="T28" fmla="*/ 1436 w 2170"/>
                <a:gd name="T29" fmla="*/ 112 h 1556"/>
                <a:gd name="T30" fmla="*/ 1494 w 2170"/>
                <a:gd name="T31" fmla="*/ 238 h 1556"/>
                <a:gd name="T32" fmla="*/ 1594 w 2170"/>
                <a:gd name="T33" fmla="*/ 256 h 1556"/>
                <a:gd name="T34" fmla="*/ 1686 w 2170"/>
                <a:gd name="T35" fmla="*/ 322 h 1556"/>
                <a:gd name="T36" fmla="*/ 1798 w 2170"/>
                <a:gd name="T37" fmla="*/ 310 h 1556"/>
                <a:gd name="T38" fmla="*/ 1914 w 2170"/>
                <a:gd name="T39" fmla="*/ 216 h 1556"/>
                <a:gd name="T40" fmla="*/ 1940 w 2170"/>
                <a:gd name="T41" fmla="*/ 154 h 1556"/>
                <a:gd name="T42" fmla="*/ 2062 w 2170"/>
                <a:gd name="T43" fmla="*/ 114 h 1556"/>
                <a:gd name="T44" fmla="*/ 2124 w 2170"/>
                <a:gd name="T45" fmla="*/ 272 h 1556"/>
                <a:gd name="T46" fmla="*/ 2110 w 2170"/>
                <a:gd name="T47" fmla="*/ 496 h 1556"/>
                <a:gd name="T48" fmla="*/ 2030 w 2170"/>
                <a:gd name="T49" fmla="*/ 624 h 1556"/>
                <a:gd name="T50" fmla="*/ 2170 w 2170"/>
                <a:gd name="T51" fmla="*/ 732 h 1556"/>
                <a:gd name="T52" fmla="*/ 2042 w 2170"/>
                <a:gd name="T53" fmla="*/ 860 h 1556"/>
                <a:gd name="T54" fmla="*/ 1934 w 2170"/>
                <a:gd name="T55" fmla="*/ 864 h 1556"/>
                <a:gd name="T56" fmla="*/ 1888 w 2170"/>
                <a:gd name="T57" fmla="*/ 756 h 1556"/>
                <a:gd name="T58" fmla="*/ 1710 w 2170"/>
                <a:gd name="T59" fmla="*/ 760 h 1556"/>
                <a:gd name="T60" fmla="*/ 1662 w 2170"/>
                <a:gd name="T61" fmla="*/ 1046 h 1556"/>
                <a:gd name="T62" fmla="*/ 1788 w 2170"/>
                <a:gd name="T63" fmla="*/ 1120 h 1556"/>
                <a:gd name="T64" fmla="*/ 1736 w 2170"/>
                <a:gd name="T65" fmla="*/ 1212 h 1556"/>
                <a:gd name="T66" fmla="*/ 1744 w 2170"/>
                <a:gd name="T67" fmla="*/ 1434 h 1556"/>
                <a:gd name="T68" fmla="*/ 1674 w 2170"/>
                <a:gd name="T69" fmla="*/ 1368 h 1556"/>
                <a:gd name="T70" fmla="*/ 1576 w 2170"/>
                <a:gd name="T71" fmla="*/ 1254 h 1556"/>
                <a:gd name="T72" fmla="*/ 1446 w 2170"/>
                <a:gd name="T73" fmla="*/ 1190 h 1556"/>
                <a:gd name="T74" fmla="*/ 1284 w 2170"/>
                <a:gd name="T75" fmla="*/ 1226 h 1556"/>
                <a:gd name="T76" fmla="*/ 1230 w 2170"/>
                <a:gd name="T77" fmla="*/ 1332 h 1556"/>
                <a:gd name="T78" fmla="*/ 1068 w 2170"/>
                <a:gd name="T79" fmla="*/ 1306 h 1556"/>
                <a:gd name="T80" fmla="*/ 958 w 2170"/>
                <a:gd name="T81" fmla="*/ 1124 h 1556"/>
                <a:gd name="T82" fmla="*/ 918 w 2170"/>
                <a:gd name="T83" fmla="*/ 986 h 1556"/>
                <a:gd name="T84" fmla="*/ 852 w 2170"/>
                <a:gd name="T85" fmla="*/ 978 h 1556"/>
                <a:gd name="T86" fmla="*/ 760 w 2170"/>
                <a:gd name="T87" fmla="*/ 980 h 1556"/>
                <a:gd name="T88" fmla="*/ 708 w 2170"/>
                <a:gd name="T89" fmla="*/ 1098 h 1556"/>
                <a:gd name="T90" fmla="*/ 748 w 2170"/>
                <a:gd name="T91" fmla="*/ 1174 h 1556"/>
                <a:gd name="T92" fmla="*/ 774 w 2170"/>
                <a:gd name="T93" fmla="*/ 1264 h 1556"/>
                <a:gd name="T94" fmla="*/ 720 w 2170"/>
                <a:gd name="T95" fmla="*/ 1458 h 1556"/>
                <a:gd name="T96" fmla="*/ 628 w 2170"/>
                <a:gd name="T97" fmla="*/ 1556 h 1556"/>
                <a:gd name="T98" fmla="*/ 514 w 2170"/>
                <a:gd name="T99" fmla="*/ 1390 h 1556"/>
                <a:gd name="T100" fmla="*/ 506 w 2170"/>
                <a:gd name="T101" fmla="*/ 1292 h 1556"/>
                <a:gd name="T102" fmla="*/ 524 w 2170"/>
                <a:gd name="T103" fmla="*/ 1094 h 1556"/>
                <a:gd name="T104" fmla="*/ 476 w 2170"/>
                <a:gd name="T105" fmla="*/ 1034 h 1556"/>
                <a:gd name="T106" fmla="*/ 466 w 2170"/>
                <a:gd name="T107" fmla="*/ 830 h 1556"/>
                <a:gd name="T108" fmla="*/ 364 w 2170"/>
                <a:gd name="T109" fmla="*/ 770 h 1556"/>
                <a:gd name="T110" fmla="*/ 310 w 2170"/>
                <a:gd name="T111" fmla="*/ 824 h 1556"/>
                <a:gd name="T112" fmla="*/ 198 w 2170"/>
                <a:gd name="T113" fmla="*/ 880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70" h="1556">
                  <a:moveTo>
                    <a:pt x="40" y="862"/>
                  </a:moveTo>
                  <a:lnTo>
                    <a:pt x="30" y="798"/>
                  </a:lnTo>
                  <a:lnTo>
                    <a:pt x="0" y="768"/>
                  </a:lnTo>
                  <a:lnTo>
                    <a:pt x="34" y="734"/>
                  </a:lnTo>
                  <a:lnTo>
                    <a:pt x="32" y="664"/>
                  </a:lnTo>
                  <a:lnTo>
                    <a:pt x="68" y="656"/>
                  </a:lnTo>
                  <a:lnTo>
                    <a:pt x="100" y="626"/>
                  </a:lnTo>
                  <a:lnTo>
                    <a:pt x="134" y="578"/>
                  </a:lnTo>
                  <a:lnTo>
                    <a:pt x="148" y="600"/>
                  </a:lnTo>
                  <a:lnTo>
                    <a:pt x="178" y="592"/>
                  </a:lnTo>
                  <a:lnTo>
                    <a:pt x="204" y="490"/>
                  </a:lnTo>
                  <a:lnTo>
                    <a:pt x="262" y="462"/>
                  </a:lnTo>
                  <a:lnTo>
                    <a:pt x="268" y="448"/>
                  </a:lnTo>
                  <a:lnTo>
                    <a:pt x="310" y="450"/>
                  </a:lnTo>
                  <a:lnTo>
                    <a:pt x="320" y="474"/>
                  </a:lnTo>
                  <a:lnTo>
                    <a:pt x="432" y="442"/>
                  </a:lnTo>
                  <a:lnTo>
                    <a:pt x="436" y="408"/>
                  </a:lnTo>
                  <a:lnTo>
                    <a:pt x="460" y="348"/>
                  </a:lnTo>
                  <a:lnTo>
                    <a:pt x="496" y="342"/>
                  </a:lnTo>
                  <a:lnTo>
                    <a:pt x="524" y="380"/>
                  </a:lnTo>
                  <a:lnTo>
                    <a:pt x="588" y="338"/>
                  </a:lnTo>
                  <a:lnTo>
                    <a:pt x="584" y="326"/>
                  </a:lnTo>
                  <a:lnTo>
                    <a:pt x="640" y="330"/>
                  </a:lnTo>
                  <a:lnTo>
                    <a:pt x="692" y="264"/>
                  </a:lnTo>
                  <a:lnTo>
                    <a:pt x="716" y="290"/>
                  </a:lnTo>
                  <a:lnTo>
                    <a:pt x="786" y="286"/>
                  </a:lnTo>
                  <a:lnTo>
                    <a:pt x="892" y="304"/>
                  </a:lnTo>
                  <a:lnTo>
                    <a:pt x="928" y="332"/>
                  </a:lnTo>
                  <a:lnTo>
                    <a:pt x="1006" y="158"/>
                  </a:lnTo>
                  <a:lnTo>
                    <a:pt x="1040" y="152"/>
                  </a:lnTo>
                  <a:lnTo>
                    <a:pt x="954" y="20"/>
                  </a:lnTo>
                  <a:lnTo>
                    <a:pt x="1022" y="8"/>
                  </a:lnTo>
                  <a:lnTo>
                    <a:pt x="1048" y="32"/>
                  </a:lnTo>
                  <a:lnTo>
                    <a:pt x="1096" y="4"/>
                  </a:lnTo>
                  <a:lnTo>
                    <a:pt x="1144" y="28"/>
                  </a:lnTo>
                  <a:lnTo>
                    <a:pt x="1148" y="0"/>
                  </a:lnTo>
                  <a:lnTo>
                    <a:pt x="1196" y="2"/>
                  </a:lnTo>
                  <a:lnTo>
                    <a:pt x="1240" y="28"/>
                  </a:lnTo>
                  <a:lnTo>
                    <a:pt x="1278" y="36"/>
                  </a:lnTo>
                  <a:lnTo>
                    <a:pt x="1306" y="34"/>
                  </a:lnTo>
                  <a:lnTo>
                    <a:pt x="1366" y="76"/>
                  </a:lnTo>
                  <a:lnTo>
                    <a:pt x="1412" y="58"/>
                  </a:lnTo>
                  <a:lnTo>
                    <a:pt x="1426" y="74"/>
                  </a:lnTo>
                  <a:lnTo>
                    <a:pt x="1412" y="90"/>
                  </a:lnTo>
                  <a:lnTo>
                    <a:pt x="1436" y="112"/>
                  </a:lnTo>
                  <a:lnTo>
                    <a:pt x="1410" y="164"/>
                  </a:lnTo>
                  <a:lnTo>
                    <a:pt x="1424" y="218"/>
                  </a:lnTo>
                  <a:lnTo>
                    <a:pt x="1494" y="238"/>
                  </a:lnTo>
                  <a:lnTo>
                    <a:pt x="1548" y="238"/>
                  </a:lnTo>
                  <a:lnTo>
                    <a:pt x="1576" y="264"/>
                  </a:lnTo>
                  <a:lnTo>
                    <a:pt x="1594" y="256"/>
                  </a:lnTo>
                  <a:lnTo>
                    <a:pt x="1632" y="314"/>
                  </a:lnTo>
                  <a:lnTo>
                    <a:pt x="1636" y="336"/>
                  </a:lnTo>
                  <a:lnTo>
                    <a:pt x="1686" y="322"/>
                  </a:lnTo>
                  <a:lnTo>
                    <a:pt x="1704" y="356"/>
                  </a:lnTo>
                  <a:lnTo>
                    <a:pt x="1752" y="334"/>
                  </a:lnTo>
                  <a:lnTo>
                    <a:pt x="1798" y="310"/>
                  </a:lnTo>
                  <a:lnTo>
                    <a:pt x="1840" y="302"/>
                  </a:lnTo>
                  <a:lnTo>
                    <a:pt x="1846" y="196"/>
                  </a:lnTo>
                  <a:lnTo>
                    <a:pt x="1914" y="216"/>
                  </a:lnTo>
                  <a:lnTo>
                    <a:pt x="1930" y="206"/>
                  </a:lnTo>
                  <a:lnTo>
                    <a:pt x="1924" y="168"/>
                  </a:lnTo>
                  <a:lnTo>
                    <a:pt x="1940" y="154"/>
                  </a:lnTo>
                  <a:lnTo>
                    <a:pt x="1968" y="88"/>
                  </a:lnTo>
                  <a:lnTo>
                    <a:pt x="2024" y="70"/>
                  </a:lnTo>
                  <a:lnTo>
                    <a:pt x="2062" y="114"/>
                  </a:lnTo>
                  <a:lnTo>
                    <a:pt x="2062" y="140"/>
                  </a:lnTo>
                  <a:lnTo>
                    <a:pt x="2158" y="168"/>
                  </a:lnTo>
                  <a:lnTo>
                    <a:pt x="2124" y="272"/>
                  </a:lnTo>
                  <a:lnTo>
                    <a:pt x="2120" y="350"/>
                  </a:lnTo>
                  <a:lnTo>
                    <a:pt x="2074" y="436"/>
                  </a:lnTo>
                  <a:lnTo>
                    <a:pt x="2110" y="496"/>
                  </a:lnTo>
                  <a:lnTo>
                    <a:pt x="2054" y="528"/>
                  </a:lnTo>
                  <a:lnTo>
                    <a:pt x="2074" y="584"/>
                  </a:lnTo>
                  <a:lnTo>
                    <a:pt x="2030" y="624"/>
                  </a:lnTo>
                  <a:lnTo>
                    <a:pt x="2060" y="704"/>
                  </a:lnTo>
                  <a:lnTo>
                    <a:pt x="2114" y="692"/>
                  </a:lnTo>
                  <a:lnTo>
                    <a:pt x="2170" y="732"/>
                  </a:lnTo>
                  <a:lnTo>
                    <a:pt x="2138" y="866"/>
                  </a:lnTo>
                  <a:lnTo>
                    <a:pt x="2070" y="846"/>
                  </a:lnTo>
                  <a:lnTo>
                    <a:pt x="2042" y="860"/>
                  </a:lnTo>
                  <a:lnTo>
                    <a:pt x="2012" y="836"/>
                  </a:lnTo>
                  <a:lnTo>
                    <a:pt x="1990" y="876"/>
                  </a:lnTo>
                  <a:lnTo>
                    <a:pt x="1934" y="864"/>
                  </a:lnTo>
                  <a:lnTo>
                    <a:pt x="1924" y="806"/>
                  </a:lnTo>
                  <a:lnTo>
                    <a:pt x="1886" y="820"/>
                  </a:lnTo>
                  <a:lnTo>
                    <a:pt x="1888" y="756"/>
                  </a:lnTo>
                  <a:lnTo>
                    <a:pt x="1854" y="718"/>
                  </a:lnTo>
                  <a:lnTo>
                    <a:pt x="1828" y="752"/>
                  </a:lnTo>
                  <a:lnTo>
                    <a:pt x="1710" y="760"/>
                  </a:lnTo>
                  <a:lnTo>
                    <a:pt x="1706" y="812"/>
                  </a:lnTo>
                  <a:lnTo>
                    <a:pt x="1644" y="882"/>
                  </a:lnTo>
                  <a:lnTo>
                    <a:pt x="1662" y="1046"/>
                  </a:lnTo>
                  <a:lnTo>
                    <a:pt x="1710" y="1078"/>
                  </a:lnTo>
                  <a:lnTo>
                    <a:pt x="1772" y="1062"/>
                  </a:lnTo>
                  <a:lnTo>
                    <a:pt x="1788" y="1120"/>
                  </a:lnTo>
                  <a:lnTo>
                    <a:pt x="1786" y="1152"/>
                  </a:lnTo>
                  <a:lnTo>
                    <a:pt x="1754" y="1168"/>
                  </a:lnTo>
                  <a:lnTo>
                    <a:pt x="1736" y="1212"/>
                  </a:lnTo>
                  <a:lnTo>
                    <a:pt x="1788" y="1306"/>
                  </a:lnTo>
                  <a:lnTo>
                    <a:pt x="1814" y="1356"/>
                  </a:lnTo>
                  <a:lnTo>
                    <a:pt x="1744" y="1434"/>
                  </a:lnTo>
                  <a:lnTo>
                    <a:pt x="1686" y="1440"/>
                  </a:lnTo>
                  <a:lnTo>
                    <a:pt x="1658" y="1402"/>
                  </a:lnTo>
                  <a:lnTo>
                    <a:pt x="1674" y="1368"/>
                  </a:lnTo>
                  <a:lnTo>
                    <a:pt x="1596" y="1324"/>
                  </a:lnTo>
                  <a:lnTo>
                    <a:pt x="1596" y="1278"/>
                  </a:lnTo>
                  <a:lnTo>
                    <a:pt x="1576" y="1254"/>
                  </a:lnTo>
                  <a:lnTo>
                    <a:pt x="1594" y="1210"/>
                  </a:lnTo>
                  <a:lnTo>
                    <a:pt x="1536" y="1166"/>
                  </a:lnTo>
                  <a:lnTo>
                    <a:pt x="1446" y="1190"/>
                  </a:lnTo>
                  <a:lnTo>
                    <a:pt x="1374" y="1228"/>
                  </a:lnTo>
                  <a:lnTo>
                    <a:pt x="1326" y="1252"/>
                  </a:lnTo>
                  <a:lnTo>
                    <a:pt x="1284" y="1226"/>
                  </a:lnTo>
                  <a:lnTo>
                    <a:pt x="1274" y="1270"/>
                  </a:lnTo>
                  <a:lnTo>
                    <a:pt x="1276" y="1330"/>
                  </a:lnTo>
                  <a:lnTo>
                    <a:pt x="1230" y="1332"/>
                  </a:lnTo>
                  <a:lnTo>
                    <a:pt x="1164" y="1344"/>
                  </a:lnTo>
                  <a:lnTo>
                    <a:pt x="1094" y="1318"/>
                  </a:lnTo>
                  <a:lnTo>
                    <a:pt x="1068" y="1306"/>
                  </a:lnTo>
                  <a:lnTo>
                    <a:pt x="998" y="1218"/>
                  </a:lnTo>
                  <a:lnTo>
                    <a:pt x="956" y="1190"/>
                  </a:lnTo>
                  <a:lnTo>
                    <a:pt x="958" y="1124"/>
                  </a:lnTo>
                  <a:lnTo>
                    <a:pt x="954" y="1018"/>
                  </a:lnTo>
                  <a:lnTo>
                    <a:pt x="954" y="972"/>
                  </a:lnTo>
                  <a:lnTo>
                    <a:pt x="918" y="986"/>
                  </a:lnTo>
                  <a:lnTo>
                    <a:pt x="902" y="1038"/>
                  </a:lnTo>
                  <a:lnTo>
                    <a:pt x="836" y="994"/>
                  </a:lnTo>
                  <a:lnTo>
                    <a:pt x="852" y="978"/>
                  </a:lnTo>
                  <a:lnTo>
                    <a:pt x="842" y="962"/>
                  </a:lnTo>
                  <a:lnTo>
                    <a:pt x="816" y="980"/>
                  </a:lnTo>
                  <a:lnTo>
                    <a:pt x="760" y="980"/>
                  </a:lnTo>
                  <a:lnTo>
                    <a:pt x="730" y="1070"/>
                  </a:lnTo>
                  <a:lnTo>
                    <a:pt x="706" y="1076"/>
                  </a:lnTo>
                  <a:lnTo>
                    <a:pt x="708" y="1098"/>
                  </a:lnTo>
                  <a:lnTo>
                    <a:pt x="744" y="1128"/>
                  </a:lnTo>
                  <a:lnTo>
                    <a:pt x="752" y="1160"/>
                  </a:lnTo>
                  <a:lnTo>
                    <a:pt x="748" y="1174"/>
                  </a:lnTo>
                  <a:lnTo>
                    <a:pt x="746" y="1226"/>
                  </a:lnTo>
                  <a:lnTo>
                    <a:pt x="770" y="1232"/>
                  </a:lnTo>
                  <a:lnTo>
                    <a:pt x="774" y="1264"/>
                  </a:lnTo>
                  <a:lnTo>
                    <a:pt x="764" y="1302"/>
                  </a:lnTo>
                  <a:lnTo>
                    <a:pt x="714" y="1408"/>
                  </a:lnTo>
                  <a:lnTo>
                    <a:pt x="720" y="1458"/>
                  </a:lnTo>
                  <a:lnTo>
                    <a:pt x="688" y="1456"/>
                  </a:lnTo>
                  <a:lnTo>
                    <a:pt x="670" y="1540"/>
                  </a:lnTo>
                  <a:lnTo>
                    <a:pt x="628" y="1556"/>
                  </a:lnTo>
                  <a:lnTo>
                    <a:pt x="600" y="1544"/>
                  </a:lnTo>
                  <a:lnTo>
                    <a:pt x="528" y="1476"/>
                  </a:lnTo>
                  <a:lnTo>
                    <a:pt x="514" y="1390"/>
                  </a:lnTo>
                  <a:lnTo>
                    <a:pt x="490" y="1362"/>
                  </a:lnTo>
                  <a:lnTo>
                    <a:pt x="506" y="1318"/>
                  </a:lnTo>
                  <a:lnTo>
                    <a:pt x="506" y="1292"/>
                  </a:lnTo>
                  <a:lnTo>
                    <a:pt x="522" y="1256"/>
                  </a:lnTo>
                  <a:lnTo>
                    <a:pt x="536" y="1142"/>
                  </a:lnTo>
                  <a:lnTo>
                    <a:pt x="524" y="1094"/>
                  </a:lnTo>
                  <a:lnTo>
                    <a:pt x="534" y="1048"/>
                  </a:lnTo>
                  <a:lnTo>
                    <a:pt x="494" y="1026"/>
                  </a:lnTo>
                  <a:lnTo>
                    <a:pt x="476" y="1034"/>
                  </a:lnTo>
                  <a:lnTo>
                    <a:pt x="440" y="982"/>
                  </a:lnTo>
                  <a:lnTo>
                    <a:pt x="434" y="920"/>
                  </a:lnTo>
                  <a:lnTo>
                    <a:pt x="466" y="830"/>
                  </a:lnTo>
                  <a:lnTo>
                    <a:pt x="386" y="794"/>
                  </a:lnTo>
                  <a:lnTo>
                    <a:pt x="374" y="810"/>
                  </a:lnTo>
                  <a:lnTo>
                    <a:pt x="364" y="770"/>
                  </a:lnTo>
                  <a:lnTo>
                    <a:pt x="344" y="784"/>
                  </a:lnTo>
                  <a:lnTo>
                    <a:pt x="322" y="790"/>
                  </a:lnTo>
                  <a:lnTo>
                    <a:pt x="310" y="824"/>
                  </a:lnTo>
                  <a:lnTo>
                    <a:pt x="306" y="850"/>
                  </a:lnTo>
                  <a:lnTo>
                    <a:pt x="220" y="886"/>
                  </a:lnTo>
                  <a:lnTo>
                    <a:pt x="198" y="880"/>
                  </a:lnTo>
                  <a:lnTo>
                    <a:pt x="40" y="862"/>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07" name="Freeform 6191">
              <a:extLst>
                <a:ext uri="{FF2B5EF4-FFF2-40B4-BE49-F238E27FC236}">
                  <a16:creationId xmlns:a16="http://schemas.microsoft.com/office/drawing/2014/main" id="{B2B31277-CDEB-C510-8246-AF8DD75E627F}"/>
                </a:ext>
              </a:extLst>
            </p:cNvPr>
            <p:cNvSpPr>
              <a:spLocks/>
            </p:cNvSpPr>
            <p:nvPr/>
          </p:nvSpPr>
          <p:spPr bwMode="gray">
            <a:xfrm>
              <a:off x="8197602" y="2658750"/>
              <a:ext cx="361301" cy="506800"/>
            </a:xfrm>
            <a:custGeom>
              <a:avLst/>
              <a:gdLst>
                <a:gd name="T0" fmla="*/ 78 w 433"/>
                <a:gd name="T1" fmla="*/ 433 h 640"/>
                <a:gd name="T2" fmla="*/ 102 w 433"/>
                <a:gd name="T3" fmla="*/ 418 h 640"/>
                <a:gd name="T4" fmla="*/ 91 w 433"/>
                <a:gd name="T5" fmla="*/ 400 h 640"/>
                <a:gd name="T6" fmla="*/ 105 w 433"/>
                <a:gd name="T7" fmla="*/ 361 h 640"/>
                <a:gd name="T8" fmla="*/ 75 w 433"/>
                <a:gd name="T9" fmla="*/ 349 h 640"/>
                <a:gd name="T10" fmla="*/ 36 w 433"/>
                <a:gd name="T11" fmla="*/ 261 h 640"/>
                <a:gd name="T12" fmla="*/ 15 w 433"/>
                <a:gd name="T13" fmla="*/ 262 h 640"/>
                <a:gd name="T14" fmla="*/ 27 w 433"/>
                <a:gd name="T15" fmla="*/ 235 h 640"/>
                <a:gd name="T16" fmla="*/ 79 w 433"/>
                <a:gd name="T17" fmla="*/ 220 h 640"/>
                <a:gd name="T18" fmla="*/ 76 w 433"/>
                <a:gd name="T19" fmla="*/ 196 h 640"/>
                <a:gd name="T20" fmla="*/ 100 w 433"/>
                <a:gd name="T21" fmla="*/ 150 h 640"/>
                <a:gd name="T22" fmla="*/ 82 w 433"/>
                <a:gd name="T23" fmla="*/ 147 h 640"/>
                <a:gd name="T24" fmla="*/ 108 w 433"/>
                <a:gd name="T25" fmla="*/ 115 h 640"/>
                <a:gd name="T26" fmla="*/ 100 w 433"/>
                <a:gd name="T27" fmla="*/ 67 h 640"/>
                <a:gd name="T28" fmla="*/ 144 w 433"/>
                <a:gd name="T29" fmla="*/ 0 h 640"/>
                <a:gd name="T30" fmla="*/ 211 w 433"/>
                <a:gd name="T31" fmla="*/ 61 h 640"/>
                <a:gd name="T32" fmla="*/ 250 w 433"/>
                <a:gd name="T33" fmla="*/ 66 h 640"/>
                <a:gd name="T34" fmla="*/ 273 w 433"/>
                <a:gd name="T35" fmla="*/ 76 h 640"/>
                <a:gd name="T36" fmla="*/ 297 w 433"/>
                <a:gd name="T37" fmla="*/ 75 h 640"/>
                <a:gd name="T38" fmla="*/ 348 w 433"/>
                <a:gd name="T39" fmla="*/ 90 h 640"/>
                <a:gd name="T40" fmla="*/ 358 w 433"/>
                <a:gd name="T41" fmla="*/ 93 h 640"/>
                <a:gd name="T42" fmla="*/ 364 w 433"/>
                <a:gd name="T43" fmla="*/ 165 h 640"/>
                <a:gd name="T44" fmla="*/ 346 w 433"/>
                <a:gd name="T45" fmla="*/ 196 h 640"/>
                <a:gd name="T46" fmla="*/ 312 w 433"/>
                <a:gd name="T47" fmla="*/ 223 h 640"/>
                <a:gd name="T48" fmla="*/ 354 w 433"/>
                <a:gd name="T49" fmla="*/ 249 h 640"/>
                <a:gd name="T50" fmla="*/ 373 w 433"/>
                <a:gd name="T51" fmla="*/ 234 h 640"/>
                <a:gd name="T52" fmla="*/ 400 w 433"/>
                <a:gd name="T53" fmla="*/ 235 h 640"/>
                <a:gd name="T54" fmla="*/ 424 w 433"/>
                <a:gd name="T55" fmla="*/ 268 h 640"/>
                <a:gd name="T56" fmla="*/ 426 w 433"/>
                <a:gd name="T57" fmla="*/ 318 h 640"/>
                <a:gd name="T58" fmla="*/ 412 w 433"/>
                <a:gd name="T59" fmla="*/ 385 h 640"/>
                <a:gd name="T60" fmla="*/ 433 w 433"/>
                <a:gd name="T61" fmla="*/ 435 h 640"/>
                <a:gd name="T62" fmla="*/ 382 w 433"/>
                <a:gd name="T63" fmla="*/ 498 h 640"/>
                <a:gd name="T64" fmla="*/ 328 w 433"/>
                <a:gd name="T65" fmla="*/ 493 h 640"/>
                <a:gd name="T66" fmla="*/ 331 w 433"/>
                <a:gd name="T67" fmla="*/ 507 h 640"/>
                <a:gd name="T68" fmla="*/ 267 w 433"/>
                <a:gd name="T69" fmla="*/ 547 h 640"/>
                <a:gd name="T70" fmla="*/ 241 w 433"/>
                <a:gd name="T71" fmla="*/ 508 h 640"/>
                <a:gd name="T72" fmla="*/ 202 w 433"/>
                <a:gd name="T73" fmla="*/ 514 h 640"/>
                <a:gd name="T74" fmla="*/ 177 w 433"/>
                <a:gd name="T75" fmla="*/ 588 h 640"/>
                <a:gd name="T76" fmla="*/ 175 w 433"/>
                <a:gd name="T77" fmla="*/ 607 h 640"/>
                <a:gd name="T78" fmla="*/ 63 w 433"/>
                <a:gd name="T79" fmla="*/ 640 h 640"/>
                <a:gd name="T80" fmla="*/ 57 w 433"/>
                <a:gd name="T81" fmla="*/ 618 h 640"/>
                <a:gd name="T82" fmla="*/ 15 w 433"/>
                <a:gd name="T83" fmla="*/ 615 h 640"/>
                <a:gd name="T84" fmla="*/ 15 w 433"/>
                <a:gd name="T85" fmla="*/ 595 h 640"/>
                <a:gd name="T86" fmla="*/ 0 w 433"/>
                <a:gd name="T87" fmla="*/ 573 h 640"/>
                <a:gd name="T88" fmla="*/ 99 w 433"/>
                <a:gd name="T89" fmla="*/ 516 h 640"/>
                <a:gd name="T90" fmla="*/ 91 w 433"/>
                <a:gd name="T91" fmla="*/ 471 h 640"/>
                <a:gd name="T92" fmla="*/ 79 w 433"/>
                <a:gd name="T93" fmla="*/ 460 h 640"/>
                <a:gd name="T94" fmla="*/ 78 w 433"/>
                <a:gd name="T95" fmla="*/ 433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3" h="640">
                  <a:moveTo>
                    <a:pt x="78" y="433"/>
                  </a:moveTo>
                  <a:lnTo>
                    <a:pt x="102" y="418"/>
                  </a:lnTo>
                  <a:lnTo>
                    <a:pt x="91" y="400"/>
                  </a:lnTo>
                  <a:lnTo>
                    <a:pt x="105" y="361"/>
                  </a:lnTo>
                  <a:lnTo>
                    <a:pt x="75" y="349"/>
                  </a:lnTo>
                  <a:lnTo>
                    <a:pt x="36" y="261"/>
                  </a:lnTo>
                  <a:lnTo>
                    <a:pt x="15" y="262"/>
                  </a:lnTo>
                  <a:lnTo>
                    <a:pt x="27" y="235"/>
                  </a:lnTo>
                  <a:lnTo>
                    <a:pt x="79" y="220"/>
                  </a:lnTo>
                  <a:lnTo>
                    <a:pt x="76" y="196"/>
                  </a:lnTo>
                  <a:lnTo>
                    <a:pt x="100" y="150"/>
                  </a:lnTo>
                  <a:lnTo>
                    <a:pt x="82" y="147"/>
                  </a:lnTo>
                  <a:lnTo>
                    <a:pt x="108" y="115"/>
                  </a:lnTo>
                  <a:lnTo>
                    <a:pt x="100" y="67"/>
                  </a:lnTo>
                  <a:lnTo>
                    <a:pt x="144" y="0"/>
                  </a:lnTo>
                  <a:lnTo>
                    <a:pt x="211" y="61"/>
                  </a:lnTo>
                  <a:lnTo>
                    <a:pt x="250" y="66"/>
                  </a:lnTo>
                  <a:lnTo>
                    <a:pt x="273" y="76"/>
                  </a:lnTo>
                  <a:lnTo>
                    <a:pt x="297" y="75"/>
                  </a:lnTo>
                  <a:lnTo>
                    <a:pt x="348" y="90"/>
                  </a:lnTo>
                  <a:lnTo>
                    <a:pt x="358" y="93"/>
                  </a:lnTo>
                  <a:lnTo>
                    <a:pt x="364" y="165"/>
                  </a:lnTo>
                  <a:lnTo>
                    <a:pt x="346" y="196"/>
                  </a:lnTo>
                  <a:lnTo>
                    <a:pt x="312" y="223"/>
                  </a:lnTo>
                  <a:lnTo>
                    <a:pt x="354" y="249"/>
                  </a:lnTo>
                  <a:lnTo>
                    <a:pt x="373" y="234"/>
                  </a:lnTo>
                  <a:lnTo>
                    <a:pt x="400" y="235"/>
                  </a:lnTo>
                  <a:lnTo>
                    <a:pt x="424" y="268"/>
                  </a:lnTo>
                  <a:lnTo>
                    <a:pt x="426" y="318"/>
                  </a:lnTo>
                  <a:lnTo>
                    <a:pt x="412" y="385"/>
                  </a:lnTo>
                  <a:lnTo>
                    <a:pt x="433" y="435"/>
                  </a:lnTo>
                  <a:lnTo>
                    <a:pt x="382" y="498"/>
                  </a:lnTo>
                  <a:lnTo>
                    <a:pt x="328" y="493"/>
                  </a:lnTo>
                  <a:lnTo>
                    <a:pt x="331" y="507"/>
                  </a:lnTo>
                  <a:lnTo>
                    <a:pt x="267" y="547"/>
                  </a:lnTo>
                  <a:lnTo>
                    <a:pt x="241" y="508"/>
                  </a:lnTo>
                  <a:lnTo>
                    <a:pt x="202" y="514"/>
                  </a:lnTo>
                  <a:lnTo>
                    <a:pt x="177" y="588"/>
                  </a:lnTo>
                  <a:lnTo>
                    <a:pt x="175" y="607"/>
                  </a:lnTo>
                  <a:lnTo>
                    <a:pt x="63" y="640"/>
                  </a:lnTo>
                  <a:lnTo>
                    <a:pt x="57" y="618"/>
                  </a:lnTo>
                  <a:lnTo>
                    <a:pt x="15" y="615"/>
                  </a:lnTo>
                  <a:lnTo>
                    <a:pt x="15" y="595"/>
                  </a:lnTo>
                  <a:lnTo>
                    <a:pt x="0" y="573"/>
                  </a:lnTo>
                  <a:lnTo>
                    <a:pt x="99" y="516"/>
                  </a:lnTo>
                  <a:lnTo>
                    <a:pt x="91" y="471"/>
                  </a:lnTo>
                  <a:lnTo>
                    <a:pt x="79" y="460"/>
                  </a:lnTo>
                  <a:lnTo>
                    <a:pt x="78" y="433"/>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08" name="Freeform 6192">
              <a:extLst>
                <a:ext uri="{FF2B5EF4-FFF2-40B4-BE49-F238E27FC236}">
                  <a16:creationId xmlns:a16="http://schemas.microsoft.com/office/drawing/2014/main" id="{C181A465-963E-91CD-585D-1D218A07FA14}"/>
                </a:ext>
              </a:extLst>
            </p:cNvPr>
            <p:cNvSpPr>
              <a:spLocks/>
            </p:cNvSpPr>
            <p:nvPr/>
          </p:nvSpPr>
          <p:spPr bwMode="gray">
            <a:xfrm>
              <a:off x="7724655" y="2593356"/>
              <a:ext cx="593898" cy="459241"/>
            </a:xfrm>
            <a:custGeom>
              <a:avLst/>
              <a:gdLst>
                <a:gd name="T0" fmla="*/ 695 w 713"/>
                <a:gd name="T1" fmla="*/ 59 h 579"/>
                <a:gd name="T2" fmla="*/ 657 w 713"/>
                <a:gd name="T3" fmla="*/ 30 h 579"/>
                <a:gd name="T4" fmla="*/ 630 w 713"/>
                <a:gd name="T5" fmla="*/ 0 h 579"/>
                <a:gd name="T6" fmla="*/ 605 w 713"/>
                <a:gd name="T7" fmla="*/ 20 h 579"/>
                <a:gd name="T8" fmla="*/ 558 w 713"/>
                <a:gd name="T9" fmla="*/ 26 h 579"/>
                <a:gd name="T10" fmla="*/ 522 w 713"/>
                <a:gd name="T11" fmla="*/ 60 h 579"/>
                <a:gd name="T12" fmla="*/ 477 w 713"/>
                <a:gd name="T13" fmla="*/ 38 h 579"/>
                <a:gd name="T14" fmla="*/ 476 w 713"/>
                <a:gd name="T15" fmla="*/ 14 h 579"/>
                <a:gd name="T16" fmla="*/ 452 w 713"/>
                <a:gd name="T17" fmla="*/ 30 h 579"/>
                <a:gd name="T18" fmla="*/ 395 w 713"/>
                <a:gd name="T19" fmla="*/ 32 h 579"/>
                <a:gd name="T20" fmla="*/ 369 w 713"/>
                <a:gd name="T21" fmla="*/ 39 h 579"/>
                <a:gd name="T22" fmla="*/ 342 w 713"/>
                <a:gd name="T23" fmla="*/ 86 h 579"/>
                <a:gd name="T24" fmla="*/ 338 w 713"/>
                <a:gd name="T25" fmla="*/ 143 h 579"/>
                <a:gd name="T26" fmla="*/ 311 w 713"/>
                <a:gd name="T27" fmla="*/ 186 h 579"/>
                <a:gd name="T28" fmla="*/ 254 w 713"/>
                <a:gd name="T29" fmla="*/ 230 h 579"/>
                <a:gd name="T30" fmla="*/ 200 w 713"/>
                <a:gd name="T31" fmla="*/ 234 h 579"/>
                <a:gd name="T32" fmla="*/ 149 w 713"/>
                <a:gd name="T33" fmla="*/ 258 h 579"/>
                <a:gd name="T34" fmla="*/ 147 w 713"/>
                <a:gd name="T35" fmla="*/ 287 h 579"/>
                <a:gd name="T36" fmla="*/ 111 w 713"/>
                <a:gd name="T37" fmla="*/ 204 h 579"/>
                <a:gd name="T38" fmla="*/ 69 w 713"/>
                <a:gd name="T39" fmla="*/ 195 h 579"/>
                <a:gd name="T40" fmla="*/ 26 w 713"/>
                <a:gd name="T41" fmla="*/ 255 h 579"/>
                <a:gd name="T42" fmla="*/ 0 w 713"/>
                <a:gd name="T43" fmla="*/ 293 h 579"/>
                <a:gd name="T44" fmla="*/ 45 w 713"/>
                <a:gd name="T45" fmla="*/ 257 h 579"/>
                <a:gd name="T46" fmla="*/ 53 w 713"/>
                <a:gd name="T47" fmla="*/ 284 h 579"/>
                <a:gd name="T48" fmla="*/ 119 w 713"/>
                <a:gd name="T49" fmla="*/ 348 h 579"/>
                <a:gd name="T50" fmla="*/ 143 w 713"/>
                <a:gd name="T51" fmla="*/ 371 h 579"/>
                <a:gd name="T52" fmla="*/ 174 w 713"/>
                <a:gd name="T53" fmla="*/ 413 h 579"/>
                <a:gd name="T54" fmla="*/ 240 w 713"/>
                <a:gd name="T55" fmla="*/ 396 h 579"/>
                <a:gd name="T56" fmla="*/ 261 w 713"/>
                <a:gd name="T57" fmla="*/ 467 h 579"/>
                <a:gd name="T58" fmla="*/ 362 w 713"/>
                <a:gd name="T59" fmla="*/ 482 h 579"/>
                <a:gd name="T60" fmla="*/ 456 w 713"/>
                <a:gd name="T61" fmla="*/ 486 h 579"/>
                <a:gd name="T62" fmla="*/ 519 w 713"/>
                <a:gd name="T63" fmla="*/ 506 h 579"/>
                <a:gd name="T64" fmla="*/ 539 w 713"/>
                <a:gd name="T65" fmla="*/ 531 h 579"/>
                <a:gd name="T66" fmla="*/ 672 w 713"/>
                <a:gd name="T67" fmla="*/ 500 h 579"/>
                <a:gd name="T68" fmla="*/ 675 w 713"/>
                <a:gd name="T69" fmla="*/ 443 h 579"/>
                <a:gd name="T70" fmla="*/ 603 w 713"/>
                <a:gd name="T71" fmla="*/ 344 h 579"/>
                <a:gd name="T72" fmla="*/ 597 w 713"/>
                <a:gd name="T73" fmla="*/ 318 h 579"/>
                <a:gd name="T74" fmla="*/ 645 w 713"/>
                <a:gd name="T75" fmla="*/ 281 h 579"/>
                <a:gd name="T76" fmla="*/ 654 w 713"/>
                <a:gd name="T77" fmla="*/ 228 h 579"/>
                <a:gd name="T78" fmla="*/ 672 w 713"/>
                <a:gd name="T79" fmla="*/ 149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3" h="579">
                  <a:moveTo>
                    <a:pt x="713" y="81"/>
                  </a:moveTo>
                  <a:lnTo>
                    <a:pt x="695" y="59"/>
                  </a:lnTo>
                  <a:lnTo>
                    <a:pt x="656" y="66"/>
                  </a:lnTo>
                  <a:lnTo>
                    <a:pt x="657" y="30"/>
                  </a:lnTo>
                  <a:lnTo>
                    <a:pt x="674" y="8"/>
                  </a:lnTo>
                  <a:lnTo>
                    <a:pt x="630" y="0"/>
                  </a:lnTo>
                  <a:lnTo>
                    <a:pt x="632" y="12"/>
                  </a:lnTo>
                  <a:lnTo>
                    <a:pt x="605" y="20"/>
                  </a:lnTo>
                  <a:lnTo>
                    <a:pt x="575" y="29"/>
                  </a:lnTo>
                  <a:lnTo>
                    <a:pt x="558" y="26"/>
                  </a:lnTo>
                  <a:lnTo>
                    <a:pt x="540" y="35"/>
                  </a:lnTo>
                  <a:lnTo>
                    <a:pt x="522" y="60"/>
                  </a:lnTo>
                  <a:lnTo>
                    <a:pt x="495" y="50"/>
                  </a:lnTo>
                  <a:lnTo>
                    <a:pt x="477" y="38"/>
                  </a:lnTo>
                  <a:lnTo>
                    <a:pt x="462" y="35"/>
                  </a:lnTo>
                  <a:lnTo>
                    <a:pt x="476" y="14"/>
                  </a:lnTo>
                  <a:lnTo>
                    <a:pt x="467" y="6"/>
                  </a:lnTo>
                  <a:lnTo>
                    <a:pt x="452" y="30"/>
                  </a:lnTo>
                  <a:lnTo>
                    <a:pt x="417" y="30"/>
                  </a:lnTo>
                  <a:lnTo>
                    <a:pt x="395" y="32"/>
                  </a:lnTo>
                  <a:lnTo>
                    <a:pt x="381" y="42"/>
                  </a:lnTo>
                  <a:lnTo>
                    <a:pt x="369" y="39"/>
                  </a:lnTo>
                  <a:lnTo>
                    <a:pt x="336" y="74"/>
                  </a:lnTo>
                  <a:lnTo>
                    <a:pt x="342" y="86"/>
                  </a:lnTo>
                  <a:lnTo>
                    <a:pt x="354" y="131"/>
                  </a:lnTo>
                  <a:lnTo>
                    <a:pt x="338" y="143"/>
                  </a:lnTo>
                  <a:lnTo>
                    <a:pt x="338" y="159"/>
                  </a:lnTo>
                  <a:lnTo>
                    <a:pt x="311" y="186"/>
                  </a:lnTo>
                  <a:lnTo>
                    <a:pt x="296" y="219"/>
                  </a:lnTo>
                  <a:lnTo>
                    <a:pt x="254" y="230"/>
                  </a:lnTo>
                  <a:lnTo>
                    <a:pt x="203" y="252"/>
                  </a:lnTo>
                  <a:lnTo>
                    <a:pt x="200" y="234"/>
                  </a:lnTo>
                  <a:lnTo>
                    <a:pt x="155" y="239"/>
                  </a:lnTo>
                  <a:lnTo>
                    <a:pt x="149" y="258"/>
                  </a:lnTo>
                  <a:lnTo>
                    <a:pt x="156" y="275"/>
                  </a:lnTo>
                  <a:lnTo>
                    <a:pt x="147" y="287"/>
                  </a:lnTo>
                  <a:lnTo>
                    <a:pt x="83" y="236"/>
                  </a:lnTo>
                  <a:lnTo>
                    <a:pt x="111" y="204"/>
                  </a:lnTo>
                  <a:lnTo>
                    <a:pt x="80" y="203"/>
                  </a:lnTo>
                  <a:lnTo>
                    <a:pt x="69" y="195"/>
                  </a:lnTo>
                  <a:lnTo>
                    <a:pt x="27" y="227"/>
                  </a:lnTo>
                  <a:lnTo>
                    <a:pt x="26" y="255"/>
                  </a:lnTo>
                  <a:lnTo>
                    <a:pt x="3" y="270"/>
                  </a:lnTo>
                  <a:lnTo>
                    <a:pt x="0" y="293"/>
                  </a:lnTo>
                  <a:lnTo>
                    <a:pt x="27" y="284"/>
                  </a:lnTo>
                  <a:lnTo>
                    <a:pt x="45" y="257"/>
                  </a:lnTo>
                  <a:lnTo>
                    <a:pt x="57" y="260"/>
                  </a:lnTo>
                  <a:lnTo>
                    <a:pt x="53" y="284"/>
                  </a:lnTo>
                  <a:lnTo>
                    <a:pt x="86" y="312"/>
                  </a:lnTo>
                  <a:lnTo>
                    <a:pt x="119" y="348"/>
                  </a:lnTo>
                  <a:lnTo>
                    <a:pt x="140" y="350"/>
                  </a:lnTo>
                  <a:lnTo>
                    <a:pt x="143" y="371"/>
                  </a:lnTo>
                  <a:lnTo>
                    <a:pt x="119" y="399"/>
                  </a:lnTo>
                  <a:lnTo>
                    <a:pt x="174" y="413"/>
                  </a:lnTo>
                  <a:lnTo>
                    <a:pt x="221" y="395"/>
                  </a:lnTo>
                  <a:lnTo>
                    <a:pt x="240" y="396"/>
                  </a:lnTo>
                  <a:lnTo>
                    <a:pt x="255" y="422"/>
                  </a:lnTo>
                  <a:lnTo>
                    <a:pt x="261" y="467"/>
                  </a:lnTo>
                  <a:lnTo>
                    <a:pt x="321" y="482"/>
                  </a:lnTo>
                  <a:lnTo>
                    <a:pt x="362" y="482"/>
                  </a:lnTo>
                  <a:lnTo>
                    <a:pt x="377" y="531"/>
                  </a:lnTo>
                  <a:lnTo>
                    <a:pt x="456" y="486"/>
                  </a:lnTo>
                  <a:lnTo>
                    <a:pt x="492" y="492"/>
                  </a:lnTo>
                  <a:lnTo>
                    <a:pt x="519" y="506"/>
                  </a:lnTo>
                  <a:lnTo>
                    <a:pt x="527" y="543"/>
                  </a:lnTo>
                  <a:lnTo>
                    <a:pt x="539" y="531"/>
                  </a:lnTo>
                  <a:lnTo>
                    <a:pt x="546" y="579"/>
                  </a:lnTo>
                  <a:lnTo>
                    <a:pt x="672" y="500"/>
                  </a:lnTo>
                  <a:lnTo>
                    <a:pt x="660" y="485"/>
                  </a:lnTo>
                  <a:lnTo>
                    <a:pt x="675" y="443"/>
                  </a:lnTo>
                  <a:lnTo>
                    <a:pt x="642" y="434"/>
                  </a:lnTo>
                  <a:lnTo>
                    <a:pt x="603" y="344"/>
                  </a:lnTo>
                  <a:lnTo>
                    <a:pt x="582" y="344"/>
                  </a:lnTo>
                  <a:lnTo>
                    <a:pt x="597" y="318"/>
                  </a:lnTo>
                  <a:lnTo>
                    <a:pt x="650" y="305"/>
                  </a:lnTo>
                  <a:lnTo>
                    <a:pt x="645" y="281"/>
                  </a:lnTo>
                  <a:lnTo>
                    <a:pt x="671" y="231"/>
                  </a:lnTo>
                  <a:lnTo>
                    <a:pt x="654" y="228"/>
                  </a:lnTo>
                  <a:lnTo>
                    <a:pt x="675" y="200"/>
                  </a:lnTo>
                  <a:lnTo>
                    <a:pt x="672" y="149"/>
                  </a:lnTo>
                  <a:lnTo>
                    <a:pt x="713" y="81"/>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09" name="Freeform 6193">
              <a:extLst>
                <a:ext uri="{FF2B5EF4-FFF2-40B4-BE49-F238E27FC236}">
                  <a16:creationId xmlns:a16="http://schemas.microsoft.com/office/drawing/2014/main" id="{F44C3934-5239-6A18-89C2-F3975A59FE65}"/>
                </a:ext>
              </a:extLst>
            </p:cNvPr>
            <p:cNvSpPr>
              <a:spLocks/>
            </p:cNvSpPr>
            <p:nvPr/>
          </p:nvSpPr>
          <p:spPr bwMode="gray">
            <a:xfrm>
              <a:off x="7718452" y="2571063"/>
              <a:ext cx="297724" cy="219960"/>
            </a:xfrm>
            <a:custGeom>
              <a:avLst/>
              <a:gdLst>
                <a:gd name="T0" fmla="*/ 16 w 358"/>
                <a:gd name="T1" fmla="*/ 0 h 279"/>
                <a:gd name="T2" fmla="*/ 1 w 358"/>
                <a:gd name="T3" fmla="*/ 27 h 279"/>
                <a:gd name="T4" fmla="*/ 0 w 358"/>
                <a:gd name="T5" fmla="*/ 45 h 279"/>
                <a:gd name="T6" fmla="*/ 10 w 358"/>
                <a:gd name="T7" fmla="*/ 72 h 279"/>
                <a:gd name="T8" fmla="*/ 9 w 358"/>
                <a:gd name="T9" fmla="*/ 118 h 279"/>
                <a:gd name="T10" fmla="*/ 28 w 358"/>
                <a:gd name="T11" fmla="*/ 136 h 279"/>
                <a:gd name="T12" fmla="*/ 21 w 358"/>
                <a:gd name="T13" fmla="*/ 171 h 279"/>
                <a:gd name="T14" fmla="*/ 33 w 358"/>
                <a:gd name="T15" fmla="*/ 171 h 279"/>
                <a:gd name="T16" fmla="*/ 34 w 358"/>
                <a:gd name="T17" fmla="*/ 208 h 279"/>
                <a:gd name="T18" fmla="*/ 63 w 358"/>
                <a:gd name="T19" fmla="*/ 198 h 279"/>
                <a:gd name="T20" fmla="*/ 82 w 358"/>
                <a:gd name="T21" fmla="*/ 208 h 279"/>
                <a:gd name="T22" fmla="*/ 93 w 358"/>
                <a:gd name="T23" fmla="*/ 181 h 279"/>
                <a:gd name="T24" fmla="*/ 81 w 358"/>
                <a:gd name="T25" fmla="*/ 180 h 279"/>
                <a:gd name="T26" fmla="*/ 78 w 358"/>
                <a:gd name="T27" fmla="*/ 154 h 279"/>
                <a:gd name="T28" fmla="*/ 69 w 358"/>
                <a:gd name="T29" fmla="*/ 127 h 279"/>
                <a:gd name="T30" fmla="*/ 79 w 358"/>
                <a:gd name="T31" fmla="*/ 112 h 279"/>
                <a:gd name="T32" fmla="*/ 105 w 358"/>
                <a:gd name="T33" fmla="*/ 112 h 279"/>
                <a:gd name="T34" fmla="*/ 133 w 358"/>
                <a:gd name="T35" fmla="*/ 124 h 279"/>
                <a:gd name="T36" fmla="*/ 145 w 358"/>
                <a:gd name="T37" fmla="*/ 141 h 279"/>
                <a:gd name="T38" fmla="*/ 126 w 358"/>
                <a:gd name="T39" fmla="*/ 213 h 279"/>
                <a:gd name="T40" fmla="*/ 154 w 358"/>
                <a:gd name="T41" fmla="*/ 277 h 279"/>
                <a:gd name="T42" fmla="*/ 165 w 358"/>
                <a:gd name="T43" fmla="*/ 265 h 279"/>
                <a:gd name="T44" fmla="*/ 207 w 358"/>
                <a:gd name="T45" fmla="*/ 264 h 279"/>
                <a:gd name="T46" fmla="*/ 211 w 358"/>
                <a:gd name="T47" fmla="*/ 279 h 279"/>
                <a:gd name="T48" fmla="*/ 261 w 358"/>
                <a:gd name="T49" fmla="*/ 258 h 279"/>
                <a:gd name="T50" fmla="*/ 304 w 358"/>
                <a:gd name="T51" fmla="*/ 249 h 279"/>
                <a:gd name="T52" fmla="*/ 319 w 358"/>
                <a:gd name="T53" fmla="*/ 211 h 279"/>
                <a:gd name="T54" fmla="*/ 343 w 358"/>
                <a:gd name="T55" fmla="*/ 187 h 279"/>
                <a:gd name="T56" fmla="*/ 345 w 358"/>
                <a:gd name="T57" fmla="*/ 169 h 279"/>
                <a:gd name="T58" fmla="*/ 358 w 358"/>
                <a:gd name="T59" fmla="*/ 159 h 279"/>
                <a:gd name="T60" fmla="*/ 357 w 358"/>
                <a:gd name="T61" fmla="*/ 148 h 279"/>
                <a:gd name="T62" fmla="*/ 324 w 358"/>
                <a:gd name="T63" fmla="*/ 150 h 279"/>
                <a:gd name="T64" fmla="*/ 318 w 358"/>
                <a:gd name="T65" fmla="*/ 132 h 279"/>
                <a:gd name="T66" fmla="*/ 276 w 358"/>
                <a:gd name="T67" fmla="*/ 121 h 279"/>
                <a:gd name="T68" fmla="*/ 252 w 358"/>
                <a:gd name="T69" fmla="*/ 70 h 279"/>
                <a:gd name="T70" fmla="*/ 231 w 358"/>
                <a:gd name="T71" fmla="*/ 61 h 279"/>
                <a:gd name="T72" fmla="*/ 219 w 358"/>
                <a:gd name="T73" fmla="*/ 61 h 279"/>
                <a:gd name="T74" fmla="*/ 214 w 358"/>
                <a:gd name="T75" fmla="*/ 45 h 279"/>
                <a:gd name="T76" fmla="*/ 172 w 358"/>
                <a:gd name="T77" fmla="*/ 39 h 279"/>
                <a:gd name="T78" fmla="*/ 108 w 358"/>
                <a:gd name="T79" fmla="*/ 55 h 279"/>
                <a:gd name="T80" fmla="*/ 64 w 358"/>
                <a:gd name="T81" fmla="*/ 37 h 279"/>
                <a:gd name="T82" fmla="*/ 21 w 358"/>
                <a:gd name="T83" fmla="*/ 34 h 279"/>
                <a:gd name="T84" fmla="*/ 16 w 358"/>
                <a:gd name="T85"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8" h="279">
                  <a:moveTo>
                    <a:pt x="16" y="0"/>
                  </a:moveTo>
                  <a:lnTo>
                    <a:pt x="1" y="27"/>
                  </a:lnTo>
                  <a:lnTo>
                    <a:pt x="0" y="45"/>
                  </a:lnTo>
                  <a:lnTo>
                    <a:pt x="10" y="72"/>
                  </a:lnTo>
                  <a:lnTo>
                    <a:pt x="9" y="118"/>
                  </a:lnTo>
                  <a:lnTo>
                    <a:pt x="28" y="136"/>
                  </a:lnTo>
                  <a:lnTo>
                    <a:pt x="21" y="171"/>
                  </a:lnTo>
                  <a:lnTo>
                    <a:pt x="33" y="171"/>
                  </a:lnTo>
                  <a:lnTo>
                    <a:pt x="34" y="208"/>
                  </a:lnTo>
                  <a:lnTo>
                    <a:pt x="63" y="198"/>
                  </a:lnTo>
                  <a:lnTo>
                    <a:pt x="82" y="208"/>
                  </a:lnTo>
                  <a:lnTo>
                    <a:pt x="93" y="181"/>
                  </a:lnTo>
                  <a:lnTo>
                    <a:pt x="81" y="180"/>
                  </a:lnTo>
                  <a:lnTo>
                    <a:pt x="78" y="154"/>
                  </a:lnTo>
                  <a:lnTo>
                    <a:pt x="69" y="127"/>
                  </a:lnTo>
                  <a:lnTo>
                    <a:pt x="79" y="112"/>
                  </a:lnTo>
                  <a:lnTo>
                    <a:pt x="105" y="112"/>
                  </a:lnTo>
                  <a:lnTo>
                    <a:pt x="133" y="124"/>
                  </a:lnTo>
                  <a:lnTo>
                    <a:pt x="145" y="141"/>
                  </a:lnTo>
                  <a:lnTo>
                    <a:pt x="126" y="213"/>
                  </a:lnTo>
                  <a:lnTo>
                    <a:pt x="154" y="277"/>
                  </a:lnTo>
                  <a:lnTo>
                    <a:pt x="165" y="265"/>
                  </a:lnTo>
                  <a:lnTo>
                    <a:pt x="207" y="264"/>
                  </a:lnTo>
                  <a:lnTo>
                    <a:pt x="211" y="279"/>
                  </a:lnTo>
                  <a:lnTo>
                    <a:pt x="261" y="258"/>
                  </a:lnTo>
                  <a:lnTo>
                    <a:pt x="304" y="249"/>
                  </a:lnTo>
                  <a:lnTo>
                    <a:pt x="319" y="211"/>
                  </a:lnTo>
                  <a:lnTo>
                    <a:pt x="343" y="187"/>
                  </a:lnTo>
                  <a:lnTo>
                    <a:pt x="345" y="169"/>
                  </a:lnTo>
                  <a:lnTo>
                    <a:pt x="358" y="159"/>
                  </a:lnTo>
                  <a:lnTo>
                    <a:pt x="357" y="148"/>
                  </a:lnTo>
                  <a:lnTo>
                    <a:pt x="324" y="150"/>
                  </a:lnTo>
                  <a:lnTo>
                    <a:pt x="318" y="132"/>
                  </a:lnTo>
                  <a:lnTo>
                    <a:pt x="276" y="121"/>
                  </a:lnTo>
                  <a:lnTo>
                    <a:pt x="252" y="70"/>
                  </a:lnTo>
                  <a:lnTo>
                    <a:pt x="231" y="61"/>
                  </a:lnTo>
                  <a:lnTo>
                    <a:pt x="219" y="61"/>
                  </a:lnTo>
                  <a:lnTo>
                    <a:pt x="214" y="45"/>
                  </a:lnTo>
                  <a:lnTo>
                    <a:pt x="172" y="39"/>
                  </a:lnTo>
                  <a:lnTo>
                    <a:pt x="108" y="55"/>
                  </a:lnTo>
                  <a:lnTo>
                    <a:pt x="64" y="37"/>
                  </a:lnTo>
                  <a:lnTo>
                    <a:pt x="21" y="34"/>
                  </a:lnTo>
                  <a:lnTo>
                    <a:pt x="16" y="0"/>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10" name="Freeform 6194">
              <a:extLst>
                <a:ext uri="{FF2B5EF4-FFF2-40B4-BE49-F238E27FC236}">
                  <a16:creationId xmlns:a16="http://schemas.microsoft.com/office/drawing/2014/main" id="{577DFE7A-70D4-1DD7-0C26-25F296EACFBE}"/>
                </a:ext>
              </a:extLst>
            </p:cNvPr>
            <p:cNvSpPr>
              <a:spLocks/>
            </p:cNvSpPr>
            <p:nvPr/>
          </p:nvSpPr>
          <p:spPr bwMode="gray">
            <a:xfrm>
              <a:off x="8113867" y="2157895"/>
              <a:ext cx="835799" cy="897676"/>
            </a:xfrm>
            <a:custGeom>
              <a:avLst/>
              <a:gdLst>
                <a:gd name="T0" fmla="*/ 15 w 1005"/>
                <a:gd name="T1" fmla="*/ 529 h 1134"/>
                <a:gd name="T2" fmla="*/ 47 w 1005"/>
                <a:gd name="T3" fmla="*/ 562 h 1134"/>
                <a:gd name="T4" fmla="*/ 89 w 1005"/>
                <a:gd name="T5" fmla="*/ 561 h 1134"/>
                <a:gd name="T6" fmla="*/ 204 w 1005"/>
                <a:gd name="T7" fmla="*/ 556 h 1134"/>
                <a:gd name="T8" fmla="*/ 192 w 1005"/>
                <a:gd name="T9" fmla="*/ 618 h 1134"/>
                <a:gd name="T10" fmla="*/ 315 w 1005"/>
                <a:gd name="T11" fmla="*/ 697 h 1134"/>
                <a:gd name="T12" fmla="*/ 369 w 1005"/>
                <a:gd name="T13" fmla="*/ 688 h 1134"/>
                <a:gd name="T14" fmla="*/ 578 w 1005"/>
                <a:gd name="T15" fmla="*/ 699 h 1134"/>
                <a:gd name="T16" fmla="*/ 581 w 1005"/>
                <a:gd name="T17" fmla="*/ 723 h 1134"/>
                <a:gd name="T18" fmla="*/ 534 w 1005"/>
                <a:gd name="T19" fmla="*/ 723 h 1134"/>
                <a:gd name="T20" fmla="*/ 492 w 1005"/>
                <a:gd name="T21" fmla="*/ 730 h 1134"/>
                <a:gd name="T22" fmla="*/ 456 w 1005"/>
                <a:gd name="T23" fmla="*/ 730 h 1134"/>
                <a:gd name="T24" fmla="*/ 444 w 1005"/>
                <a:gd name="T25" fmla="*/ 834 h 1134"/>
                <a:gd name="T26" fmla="*/ 458 w 1005"/>
                <a:gd name="T27" fmla="*/ 882 h 1134"/>
                <a:gd name="T28" fmla="*/ 500 w 1005"/>
                <a:gd name="T29" fmla="*/ 868 h 1134"/>
                <a:gd name="T30" fmla="*/ 528 w 1005"/>
                <a:gd name="T31" fmla="*/ 960 h 1134"/>
                <a:gd name="T32" fmla="*/ 534 w 1005"/>
                <a:gd name="T33" fmla="*/ 1066 h 1134"/>
                <a:gd name="T34" fmla="*/ 639 w 1005"/>
                <a:gd name="T35" fmla="*/ 1087 h 1134"/>
                <a:gd name="T36" fmla="*/ 773 w 1005"/>
                <a:gd name="T37" fmla="*/ 1134 h 1134"/>
                <a:gd name="T38" fmla="*/ 885 w 1005"/>
                <a:gd name="T39" fmla="*/ 954 h 1134"/>
                <a:gd name="T40" fmla="*/ 806 w 1005"/>
                <a:gd name="T41" fmla="*/ 795 h 1134"/>
                <a:gd name="T42" fmla="*/ 846 w 1005"/>
                <a:gd name="T43" fmla="*/ 667 h 1134"/>
                <a:gd name="T44" fmla="*/ 854 w 1005"/>
                <a:gd name="T45" fmla="*/ 459 h 1134"/>
                <a:gd name="T46" fmla="*/ 921 w 1005"/>
                <a:gd name="T47" fmla="*/ 378 h 1134"/>
                <a:gd name="T48" fmla="*/ 962 w 1005"/>
                <a:gd name="T49" fmla="*/ 274 h 1134"/>
                <a:gd name="T50" fmla="*/ 1005 w 1005"/>
                <a:gd name="T51" fmla="*/ 225 h 1134"/>
                <a:gd name="T52" fmla="*/ 984 w 1005"/>
                <a:gd name="T53" fmla="*/ 126 h 1134"/>
                <a:gd name="T54" fmla="*/ 914 w 1005"/>
                <a:gd name="T55" fmla="*/ 99 h 1134"/>
                <a:gd name="T56" fmla="*/ 852 w 1005"/>
                <a:gd name="T57" fmla="*/ 64 h 1134"/>
                <a:gd name="T58" fmla="*/ 792 w 1005"/>
                <a:gd name="T59" fmla="*/ 85 h 1134"/>
                <a:gd name="T60" fmla="*/ 752 w 1005"/>
                <a:gd name="T61" fmla="*/ 79 h 1134"/>
                <a:gd name="T62" fmla="*/ 741 w 1005"/>
                <a:gd name="T63" fmla="*/ 51 h 1134"/>
                <a:gd name="T64" fmla="*/ 702 w 1005"/>
                <a:gd name="T65" fmla="*/ 54 h 1134"/>
                <a:gd name="T66" fmla="*/ 668 w 1005"/>
                <a:gd name="T67" fmla="*/ 78 h 1134"/>
                <a:gd name="T68" fmla="*/ 656 w 1005"/>
                <a:gd name="T69" fmla="*/ 52 h 1134"/>
                <a:gd name="T70" fmla="*/ 633 w 1005"/>
                <a:gd name="T71" fmla="*/ 24 h 1134"/>
                <a:gd name="T72" fmla="*/ 582 w 1005"/>
                <a:gd name="T73" fmla="*/ 19 h 1134"/>
                <a:gd name="T74" fmla="*/ 543 w 1005"/>
                <a:gd name="T75" fmla="*/ 46 h 1134"/>
                <a:gd name="T76" fmla="*/ 585 w 1005"/>
                <a:gd name="T77" fmla="*/ 48 h 1134"/>
                <a:gd name="T78" fmla="*/ 572 w 1005"/>
                <a:gd name="T79" fmla="*/ 90 h 1134"/>
                <a:gd name="T80" fmla="*/ 524 w 1005"/>
                <a:gd name="T81" fmla="*/ 106 h 1134"/>
                <a:gd name="T82" fmla="*/ 477 w 1005"/>
                <a:gd name="T83" fmla="*/ 85 h 1134"/>
                <a:gd name="T84" fmla="*/ 458 w 1005"/>
                <a:gd name="T85" fmla="*/ 78 h 1134"/>
                <a:gd name="T86" fmla="*/ 404 w 1005"/>
                <a:gd name="T87" fmla="*/ 84 h 1134"/>
                <a:gd name="T88" fmla="*/ 345 w 1005"/>
                <a:gd name="T89" fmla="*/ 87 h 1134"/>
                <a:gd name="T90" fmla="*/ 314 w 1005"/>
                <a:gd name="T91" fmla="*/ 75 h 1134"/>
                <a:gd name="T92" fmla="*/ 234 w 1005"/>
                <a:gd name="T93" fmla="*/ 93 h 1134"/>
                <a:gd name="T94" fmla="*/ 257 w 1005"/>
                <a:gd name="T95" fmla="*/ 124 h 1134"/>
                <a:gd name="T96" fmla="*/ 297 w 1005"/>
                <a:gd name="T97" fmla="*/ 160 h 1134"/>
                <a:gd name="T98" fmla="*/ 219 w 1005"/>
                <a:gd name="T99" fmla="*/ 216 h 1134"/>
                <a:gd name="T100" fmla="*/ 191 w 1005"/>
                <a:gd name="T101" fmla="*/ 256 h 1134"/>
                <a:gd name="T102" fmla="*/ 195 w 1005"/>
                <a:gd name="T103" fmla="*/ 330 h 1134"/>
                <a:gd name="T104" fmla="*/ 201 w 1005"/>
                <a:gd name="T105" fmla="*/ 403 h 1134"/>
                <a:gd name="T106" fmla="*/ 173 w 1005"/>
                <a:gd name="T107" fmla="*/ 433 h 1134"/>
                <a:gd name="T108" fmla="*/ 90 w 1005"/>
                <a:gd name="T109" fmla="*/ 496 h 1134"/>
                <a:gd name="T110" fmla="*/ 63 w 1005"/>
                <a:gd name="T111" fmla="*/ 519 h 1134"/>
                <a:gd name="T112" fmla="*/ 11 w 1005"/>
                <a:gd name="T113" fmla="*/ 504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5" h="1134">
                  <a:moveTo>
                    <a:pt x="0" y="523"/>
                  </a:moveTo>
                  <a:lnTo>
                    <a:pt x="15" y="529"/>
                  </a:lnTo>
                  <a:lnTo>
                    <a:pt x="15" y="549"/>
                  </a:lnTo>
                  <a:lnTo>
                    <a:pt x="47" y="562"/>
                  </a:lnTo>
                  <a:lnTo>
                    <a:pt x="57" y="553"/>
                  </a:lnTo>
                  <a:lnTo>
                    <a:pt x="89" y="561"/>
                  </a:lnTo>
                  <a:lnTo>
                    <a:pt x="137" y="543"/>
                  </a:lnTo>
                  <a:lnTo>
                    <a:pt x="204" y="556"/>
                  </a:lnTo>
                  <a:lnTo>
                    <a:pt x="191" y="580"/>
                  </a:lnTo>
                  <a:lnTo>
                    <a:pt x="192" y="618"/>
                  </a:lnTo>
                  <a:lnTo>
                    <a:pt x="225" y="609"/>
                  </a:lnTo>
                  <a:lnTo>
                    <a:pt x="315" y="697"/>
                  </a:lnTo>
                  <a:lnTo>
                    <a:pt x="351" y="699"/>
                  </a:lnTo>
                  <a:lnTo>
                    <a:pt x="369" y="688"/>
                  </a:lnTo>
                  <a:lnTo>
                    <a:pt x="480" y="702"/>
                  </a:lnTo>
                  <a:lnTo>
                    <a:pt x="578" y="699"/>
                  </a:lnTo>
                  <a:lnTo>
                    <a:pt x="585" y="709"/>
                  </a:lnTo>
                  <a:lnTo>
                    <a:pt x="581" y="723"/>
                  </a:lnTo>
                  <a:lnTo>
                    <a:pt x="557" y="727"/>
                  </a:lnTo>
                  <a:lnTo>
                    <a:pt x="534" y="723"/>
                  </a:lnTo>
                  <a:lnTo>
                    <a:pt x="513" y="730"/>
                  </a:lnTo>
                  <a:lnTo>
                    <a:pt x="492" y="730"/>
                  </a:lnTo>
                  <a:lnTo>
                    <a:pt x="480" y="723"/>
                  </a:lnTo>
                  <a:lnTo>
                    <a:pt x="456" y="730"/>
                  </a:lnTo>
                  <a:lnTo>
                    <a:pt x="465" y="801"/>
                  </a:lnTo>
                  <a:lnTo>
                    <a:pt x="444" y="834"/>
                  </a:lnTo>
                  <a:lnTo>
                    <a:pt x="414" y="858"/>
                  </a:lnTo>
                  <a:lnTo>
                    <a:pt x="458" y="882"/>
                  </a:lnTo>
                  <a:lnTo>
                    <a:pt x="471" y="868"/>
                  </a:lnTo>
                  <a:lnTo>
                    <a:pt x="500" y="868"/>
                  </a:lnTo>
                  <a:lnTo>
                    <a:pt x="524" y="901"/>
                  </a:lnTo>
                  <a:lnTo>
                    <a:pt x="528" y="960"/>
                  </a:lnTo>
                  <a:lnTo>
                    <a:pt x="513" y="1015"/>
                  </a:lnTo>
                  <a:lnTo>
                    <a:pt x="534" y="1066"/>
                  </a:lnTo>
                  <a:lnTo>
                    <a:pt x="563" y="1089"/>
                  </a:lnTo>
                  <a:lnTo>
                    <a:pt x="639" y="1087"/>
                  </a:lnTo>
                  <a:lnTo>
                    <a:pt x="743" y="1105"/>
                  </a:lnTo>
                  <a:lnTo>
                    <a:pt x="773" y="1134"/>
                  </a:lnTo>
                  <a:lnTo>
                    <a:pt x="852" y="957"/>
                  </a:lnTo>
                  <a:lnTo>
                    <a:pt x="885" y="954"/>
                  </a:lnTo>
                  <a:lnTo>
                    <a:pt x="801" y="816"/>
                  </a:lnTo>
                  <a:lnTo>
                    <a:pt x="806" y="795"/>
                  </a:lnTo>
                  <a:lnTo>
                    <a:pt x="855" y="747"/>
                  </a:lnTo>
                  <a:lnTo>
                    <a:pt x="846" y="667"/>
                  </a:lnTo>
                  <a:lnTo>
                    <a:pt x="809" y="606"/>
                  </a:lnTo>
                  <a:lnTo>
                    <a:pt x="854" y="459"/>
                  </a:lnTo>
                  <a:lnTo>
                    <a:pt x="887" y="393"/>
                  </a:lnTo>
                  <a:lnTo>
                    <a:pt x="921" y="378"/>
                  </a:lnTo>
                  <a:lnTo>
                    <a:pt x="935" y="304"/>
                  </a:lnTo>
                  <a:lnTo>
                    <a:pt x="962" y="274"/>
                  </a:lnTo>
                  <a:lnTo>
                    <a:pt x="999" y="262"/>
                  </a:lnTo>
                  <a:lnTo>
                    <a:pt x="1005" y="225"/>
                  </a:lnTo>
                  <a:lnTo>
                    <a:pt x="978" y="147"/>
                  </a:lnTo>
                  <a:lnTo>
                    <a:pt x="984" y="126"/>
                  </a:lnTo>
                  <a:lnTo>
                    <a:pt x="930" y="88"/>
                  </a:lnTo>
                  <a:lnTo>
                    <a:pt x="914" y="99"/>
                  </a:lnTo>
                  <a:lnTo>
                    <a:pt x="867" y="48"/>
                  </a:lnTo>
                  <a:lnTo>
                    <a:pt x="852" y="64"/>
                  </a:lnTo>
                  <a:lnTo>
                    <a:pt x="836" y="82"/>
                  </a:lnTo>
                  <a:lnTo>
                    <a:pt x="792" y="85"/>
                  </a:lnTo>
                  <a:lnTo>
                    <a:pt x="768" y="69"/>
                  </a:lnTo>
                  <a:lnTo>
                    <a:pt x="752" y="79"/>
                  </a:lnTo>
                  <a:lnTo>
                    <a:pt x="741" y="67"/>
                  </a:lnTo>
                  <a:lnTo>
                    <a:pt x="741" y="51"/>
                  </a:lnTo>
                  <a:lnTo>
                    <a:pt x="725" y="43"/>
                  </a:lnTo>
                  <a:lnTo>
                    <a:pt x="702" y="54"/>
                  </a:lnTo>
                  <a:lnTo>
                    <a:pt x="684" y="96"/>
                  </a:lnTo>
                  <a:lnTo>
                    <a:pt x="668" y="78"/>
                  </a:lnTo>
                  <a:lnTo>
                    <a:pt x="653" y="75"/>
                  </a:lnTo>
                  <a:lnTo>
                    <a:pt x="656" y="52"/>
                  </a:lnTo>
                  <a:lnTo>
                    <a:pt x="617" y="49"/>
                  </a:lnTo>
                  <a:lnTo>
                    <a:pt x="633" y="24"/>
                  </a:lnTo>
                  <a:lnTo>
                    <a:pt x="603" y="0"/>
                  </a:lnTo>
                  <a:lnTo>
                    <a:pt x="582" y="19"/>
                  </a:lnTo>
                  <a:lnTo>
                    <a:pt x="555" y="18"/>
                  </a:lnTo>
                  <a:lnTo>
                    <a:pt x="543" y="46"/>
                  </a:lnTo>
                  <a:lnTo>
                    <a:pt x="572" y="34"/>
                  </a:lnTo>
                  <a:lnTo>
                    <a:pt x="585" y="48"/>
                  </a:lnTo>
                  <a:lnTo>
                    <a:pt x="600" y="69"/>
                  </a:lnTo>
                  <a:lnTo>
                    <a:pt x="572" y="90"/>
                  </a:lnTo>
                  <a:lnTo>
                    <a:pt x="551" y="90"/>
                  </a:lnTo>
                  <a:lnTo>
                    <a:pt x="524" y="106"/>
                  </a:lnTo>
                  <a:lnTo>
                    <a:pt x="501" y="88"/>
                  </a:lnTo>
                  <a:lnTo>
                    <a:pt x="477" y="85"/>
                  </a:lnTo>
                  <a:lnTo>
                    <a:pt x="464" y="94"/>
                  </a:lnTo>
                  <a:lnTo>
                    <a:pt x="458" y="78"/>
                  </a:lnTo>
                  <a:lnTo>
                    <a:pt x="414" y="52"/>
                  </a:lnTo>
                  <a:lnTo>
                    <a:pt x="404" y="84"/>
                  </a:lnTo>
                  <a:lnTo>
                    <a:pt x="356" y="99"/>
                  </a:lnTo>
                  <a:lnTo>
                    <a:pt x="345" y="87"/>
                  </a:lnTo>
                  <a:lnTo>
                    <a:pt x="327" y="93"/>
                  </a:lnTo>
                  <a:lnTo>
                    <a:pt x="314" y="75"/>
                  </a:lnTo>
                  <a:lnTo>
                    <a:pt x="269" y="76"/>
                  </a:lnTo>
                  <a:lnTo>
                    <a:pt x="234" y="93"/>
                  </a:lnTo>
                  <a:lnTo>
                    <a:pt x="236" y="117"/>
                  </a:lnTo>
                  <a:lnTo>
                    <a:pt x="257" y="124"/>
                  </a:lnTo>
                  <a:lnTo>
                    <a:pt x="260" y="141"/>
                  </a:lnTo>
                  <a:lnTo>
                    <a:pt x="297" y="160"/>
                  </a:lnTo>
                  <a:lnTo>
                    <a:pt x="230" y="183"/>
                  </a:lnTo>
                  <a:lnTo>
                    <a:pt x="219" y="216"/>
                  </a:lnTo>
                  <a:lnTo>
                    <a:pt x="200" y="222"/>
                  </a:lnTo>
                  <a:lnTo>
                    <a:pt x="191" y="256"/>
                  </a:lnTo>
                  <a:lnTo>
                    <a:pt x="168" y="282"/>
                  </a:lnTo>
                  <a:lnTo>
                    <a:pt x="195" y="330"/>
                  </a:lnTo>
                  <a:lnTo>
                    <a:pt x="212" y="378"/>
                  </a:lnTo>
                  <a:lnTo>
                    <a:pt x="201" y="403"/>
                  </a:lnTo>
                  <a:lnTo>
                    <a:pt x="185" y="403"/>
                  </a:lnTo>
                  <a:lnTo>
                    <a:pt x="173" y="433"/>
                  </a:lnTo>
                  <a:lnTo>
                    <a:pt x="159" y="481"/>
                  </a:lnTo>
                  <a:lnTo>
                    <a:pt x="90" y="496"/>
                  </a:lnTo>
                  <a:lnTo>
                    <a:pt x="89" y="514"/>
                  </a:lnTo>
                  <a:lnTo>
                    <a:pt x="63" y="519"/>
                  </a:lnTo>
                  <a:lnTo>
                    <a:pt x="60" y="499"/>
                  </a:lnTo>
                  <a:lnTo>
                    <a:pt x="11" y="504"/>
                  </a:lnTo>
                  <a:lnTo>
                    <a:pt x="0" y="523"/>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11" name="Freeform 6195">
              <a:extLst>
                <a:ext uri="{FF2B5EF4-FFF2-40B4-BE49-F238E27FC236}">
                  <a16:creationId xmlns:a16="http://schemas.microsoft.com/office/drawing/2014/main" id="{47D8A267-93A1-E9CC-871B-BC5F29172D66}"/>
                </a:ext>
              </a:extLst>
            </p:cNvPr>
            <p:cNvSpPr>
              <a:spLocks/>
            </p:cNvSpPr>
            <p:nvPr/>
          </p:nvSpPr>
          <p:spPr bwMode="gray">
            <a:xfrm>
              <a:off x="8489124" y="2238150"/>
              <a:ext cx="414023" cy="303189"/>
            </a:xfrm>
            <a:custGeom>
              <a:avLst/>
              <a:gdLst>
                <a:gd name="T0" fmla="*/ 389 w 498"/>
                <a:gd name="T1" fmla="*/ 0 h 384"/>
                <a:gd name="T2" fmla="*/ 384 w 498"/>
                <a:gd name="T3" fmla="*/ 25 h 384"/>
                <a:gd name="T4" fmla="*/ 285 w 498"/>
                <a:gd name="T5" fmla="*/ 66 h 384"/>
                <a:gd name="T6" fmla="*/ 270 w 498"/>
                <a:gd name="T7" fmla="*/ 111 h 384"/>
                <a:gd name="T8" fmla="*/ 236 w 498"/>
                <a:gd name="T9" fmla="*/ 118 h 384"/>
                <a:gd name="T10" fmla="*/ 207 w 498"/>
                <a:gd name="T11" fmla="*/ 112 h 384"/>
                <a:gd name="T12" fmla="*/ 134 w 498"/>
                <a:gd name="T13" fmla="*/ 133 h 384"/>
                <a:gd name="T14" fmla="*/ 104 w 498"/>
                <a:gd name="T15" fmla="*/ 124 h 384"/>
                <a:gd name="T16" fmla="*/ 50 w 498"/>
                <a:gd name="T17" fmla="*/ 130 h 384"/>
                <a:gd name="T18" fmla="*/ 23 w 498"/>
                <a:gd name="T19" fmla="*/ 195 h 384"/>
                <a:gd name="T20" fmla="*/ 0 w 498"/>
                <a:gd name="T21" fmla="*/ 199 h 384"/>
                <a:gd name="T22" fmla="*/ 23 w 498"/>
                <a:gd name="T23" fmla="*/ 231 h 384"/>
                <a:gd name="T24" fmla="*/ 38 w 498"/>
                <a:gd name="T25" fmla="*/ 225 h 384"/>
                <a:gd name="T26" fmla="*/ 48 w 498"/>
                <a:gd name="T27" fmla="*/ 243 h 384"/>
                <a:gd name="T28" fmla="*/ 26 w 498"/>
                <a:gd name="T29" fmla="*/ 267 h 384"/>
                <a:gd name="T30" fmla="*/ 42 w 498"/>
                <a:gd name="T31" fmla="*/ 319 h 384"/>
                <a:gd name="T32" fmla="*/ 17 w 498"/>
                <a:gd name="T33" fmla="*/ 354 h 384"/>
                <a:gd name="T34" fmla="*/ 56 w 498"/>
                <a:gd name="T35" fmla="*/ 370 h 384"/>
                <a:gd name="T36" fmla="*/ 80 w 498"/>
                <a:gd name="T37" fmla="*/ 367 h 384"/>
                <a:gd name="T38" fmla="*/ 102 w 498"/>
                <a:gd name="T39" fmla="*/ 354 h 384"/>
                <a:gd name="T40" fmla="*/ 161 w 498"/>
                <a:gd name="T41" fmla="*/ 384 h 384"/>
                <a:gd name="T42" fmla="*/ 174 w 498"/>
                <a:gd name="T43" fmla="*/ 382 h 384"/>
                <a:gd name="T44" fmla="*/ 168 w 498"/>
                <a:gd name="T45" fmla="*/ 340 h 384"/>
                <a:gd name="T46" fmla="*/ 149 w 498"/>
                <a:gd name="T47" fmla="*/ 313 h 384"/>
                <a:gd name="T48" fmla="*/ 147 w 498"/>
                <a:gd name="T49" fmla="*/ 246 h 384"/>
                <a:gd name="T50" fmla="*/ 161 w 498"/>
                <a:gd name="T51" fmla="*/ 246 h 384"/>
                <a:gd name="T52" fmla="*/ 197 w 498"/>
                <a:gd name="T53" fmla="*/ 199 h 384"/>
                <a:gd name="T54" fmla="*/ 170 w 498"/>
                <a:gd name="T55" fmla="*/ 148 h 384"/>
                <a:gd name="T56" fmla="*/ 212 w 498"/>
                <a:gd name="T57" fmla="*/ 145 h 384"/>
                <a:gd name="T58" fmla="*/ 218 w 498"/>
                <a:gd name="T59" fmla="*/ 163 h 384"/>
                <a:gd name="T60" fmla="*/ 242 w 498"/>
                <a:gd name="T61" fmla="*/ 163 h 384"/>
                <a:gd name="T62" fmla="*/ 263 w 498"/>
                <a:gd name="T63" fmla="*/ 174 h 384"/>
                <a:gd name="T64" fmla="*/ 296 w 498"/>
                <a:gd name="T65" fmla="*/ 196 h 384"/>
                <a:gd name="T66" fmla="*/ 320 w 498"/>
                <a:gd name="T67" fmla="*/ 208 h 384"/>
                <a:gd name="T68" fmla="*/ 362 w 498"/>
                <a:gd name="T69" fmla="*/ 210 h 384"/>
                <a:gd name="T70" fmla="*/ 362 w 498"/>
                <a:gd name="T71" fmla="*/ 162 h 384"/>
                <a:gd name="T72" fmla="*/ 372 w 498"/>
                <a:gd name="T73" fmla="*/ 121 h 384"/>
                <a:gd name="T74" fmla="*/ 372 w 498"/>
                <a:gd name="T75" fmla="*/ 109 h 384"/>
                <a:gd name="T76" fmla="*/ 389 w 498"/>
                <a:gd name="T77" fmla="*/ 103 h 384"/>
                <a:gd name="T78" fmla="*/ 386 w 498"/>
                <a:gd name="T79" fmla="*/ 81 h 384"/>
                <a:gd name="T80" fmla="*/ 414 w 498"/>
                <a:gd name="T81" fmla="*/ 67 h 384"/>
                <a:gd name="T82" fmla="*/ 426 w 498"/>
                <a:gd name="T83" fmla="*/ 81 h 384"/>
                <a:gd name="T84" fmla="*/ 437 w 498"/>
                <a:gd name="T85" fmla="*/ 88 h 384"/>
                <a:gd name="T86" fmla="*/ 435 w 498"/>
                <a:gd name="T87" fmla="*/ 103 h 384"/>
                <a:gd name="T88" fmla="*/ 413 w 498"/>
                <a:gd name="T89" fmla="*/ 99 h 384"/>
                <a:gd name="T90" fmla="*/ 425 w 498"/>
                <a:gd name="T91" fmla="*/ 123 h 384"/>
                <a:gd name="T92" fmla="*/ 458 w 498"/>
                <a:gd name="T93" fmla="*/ 96 h 384"/>
                <a:gd name="T94" fmla="*/ 432 w 498"/>
                <a:gd name="T95" fmla="*/ 52 h 384"/>
                <a:gd name="T96" fmla="*/ 488 w 498"/>
                <a:gd name="T97" fmla="*/ 55 h 384"/>
                <a:gd name="T98" fmla="*/ 498 w 498"/>
                <a:gd name="T99" fmla="*/ 42 h 384"/>
                <a:gd name="T100" fmla="*/ 440 w 498"/>
                <a:gd name="T101" fmla="*/ 9 h 384"/>
                <a:gd name="T102" fmla="*/ 410 w 498"/>
                <a:gd name="T103" fmla="*/ 12 h 384"/>
                <a:gd name="T104" fmla="*/ 389 w 498"/>
                <a:gd name="T105"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8" h="384">
                  <a:moveTo>
                    <a:pt x="389" y="0"/>
                  </a:moveTo>
                  <a:lnTo>
                    <a:pt x="384" y="25"/>
                  </a:lnTo>
                  <a:lnTo>
                    <a:pt x="285" y="66"/>
                  </a:lnTo>
                  <a:lnTo>
                    <a:pt x="270" y="111"/>
                  </a:lnTo>
                  <a:lnTo>
                    <a:pt x="236" y="118"/>
                  </a:lnTo>
                  <a:lnTo>
                    <a:pt x="207" y="112"/>
                  </a:lnTo>
                  <a:lnTo>
                    <a:pt x="134" y="133"/>
                  </a:lnTo>
                  <a:lnTo>
                    <a:pt x="104" y="124"/>
                  </a:lnTo>
                  <a:lnTo>
                    <a:pt x="50" y="130"/>
                  </a:lnTo>
                  <a:lnTo>
                    <a:pt x="23" y="195"/>
                  </a:lnTo>
                  <a:lnTo>
                    <a:pt x="0" y="199"/>
                  </a:lnTo>
                  <a:lnTo>
                    <a:pt x="23" y="231"/>
                  </a:lnTo>
                  <a:lnTo>
                    <a:pt x="38" y="225"/>
                  </a:lnTo>
                  <a:lnTo>
                    <a:pt x="48" y="243"/>
                  </a:lnTo>
                  <a:lnTo>
                    <a:pt x="26" y="267"/>
                  </a:lnTo>
                  <a:lnTo>
                    <a:pt x="42" y="319"/>
                  </a:lnTo>
                  <a:lnTo>
                    <a:pt x="17" y="354"/>
                  </a:lnTo>
                  <a:lnTo>
                    <a:pt x="56" y="370"/>
                  </a:lnTo>
                  <a:lnTo>
                    <a:pt x="80" y="367"/>
                  </a:lnTo>
                  <a:lnTo>
                    <a:pt x="102" y="354"/>
                  </a:lnTo>
                  <a:lnTo>
                    <a:pt x="161" y="384"/>
                  </a:lnTo>
                  <a:lnTo>
                    <a:pt x="174" y="382"/>
                  </a:lnTo>
                  <a:lnTo>
                    <a:pt x="168" y="340"/>
                  </a:lnTo>
                  <a:lnTo>
                    <a:pt x="149" y="313"/>
                  </a:lnTo>
                  <a:lnTo>
                    <a:pt x="147" y="246"/>
                  </a:lnTo>
                  <a:lnTo>
                    <a:pt x="161" y="246"/>
                  </a:lnTo>
                  <a:lnTo>
                    <a:pt x="197" y="199"/>
                  </a:lnTo>
                  <a:lnTo>
                    <a:pt x="170" y="148"/>
                  </a:lnTo>
                  <a:lnTo>
                    <a:pt x="212" y="145"/>
                  </a:lnTo>
                  <a:lnTo>
                    <a:pt x="218" y="163"/>
                  </a:lnTo>
                  <a:lnTo>
                    <a:pt x="242" y="163"/>
                  </a:lnTo>
                  <a:lnTo>
                    <a:pt x="263" y="174"/>
                  </a:lnTo>
                  <a:lnTo>
                    <a:pt x="296" y="196"/>
                  </a:lnTo>
                  <a:lnTo>
                    <a:pt x="320" y="208"/>
                  </a:lnTo>
                  <a:lnTo>
                    <a:pt x="362" y="210"/>
                  </a:lnTo>
                  <a:lnTo>
                    <a:pt x="362" y="162"/>
                  </a:lnTo>
                  <a:lnTo>
                    <a:pt x="372" y="121"/>
                  </a:lnTo>
                  <a:lnTo>
                    <a:pt x="372" y="109"/>
                  </a:lnTo>
                  <a:lnTo>
                    <a:pt x="389" y="103"/>
                  </a:lnTo>
                  <a:lnTo>
                    <a:pt x="386" y="81"/>
                  </a:lnTo>
                  <a:lnTo>
                    <a:pt x="414" y="67"/>
                  </a:lnTo>
                  <a:lnTo>
                    <a:pt x="426" y="81"/>
                  </a:lnTo>
                  <a:lnTo>
                    <a:pt x="437" y="88"/>
                  </a:lnTo>
                  <a:lnTo>
                    <a:pt x="435" y="103"/>
                  </a:lnTo>
                  <a:lnTo>
                    <a:pt x="413" y="99"/>
                  </a:lnTo>
                  <a:lnTo>
                    <a:pt x="425" y="123"/>
                  </a:lnTo>
                  <a:lnTo>
                    <a:pt x="458" y="96"/>
                  </a:lnTo>
                  <a:lnTo>
                    <a:pt x="432" y="52"/>
                  </a:lnTo>
                  <a:lnTo>
                    <a:pt x="488" y="55"/>
                  </a:lnTo>
                  <a:lnTo>
                    <a:pt x="498" y="42"/>
                  </a:lnTo>
                  <a:lnTo>
                    <a:pt x="440" y="9"/>
                  </a:lnTo>
                  <a:lnTo>
                    <a:pt x="410" y="12"/>
                  </a:lnTo>
                  <a:lnTo>
                    <a:pt x="389" y="0"/>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12" name="Freeform 6196">
              <a:extLst>
                <a:ext uri="{FF2B5EF4-FFF2-40B4-BE49-F238E27FC236}">
                  <a16:creationId xmlns:a16="http://schemas.microsoft.com/office/drawing/2014/main" id="{82364EA5-E236-7999-541E-AA5E6F5972A8}"/>
                </a:ext>
              </a:extLst>
            </p:cNvPr>
            <p:cNvSpPr>
              <a:spLocks/>
            </p:cNvSpPr>
            <p:nvPr/>
          </p:nvSpPr>
          <p:spPr bwMode="gray">
            <a:xfrm>
              <a:off x="8611625" y="2352589"/>
              <a:ext cx="175223" cy="209557"/>
            </a:xfrm>
            <a:custGeom>
              <a:avLst/>
              <a:gdLst>
                <a:gd name="T0" fmla="*/ 210 w 210"/>
                <a:gd name="T1" fmla="*/ 65 h 264"/>
                <a:gd name="T2" fmla="*/ 168 w 210"/>
                <a:gd name="T3" fmla="*/ 65 h 264"/>
                <a:gd name="T4" fmla="*/ 93 w 210"/>
                <a:gd name="T5" fmla="*/ 17 h 264"/>
                <a:gd name="T6" fmla="*/ 67 w 210"/>
                <a:gd name="T7" fmla="*/ 18 h 264"/>
                <a:gd name="T8" fmla="*/ 61 w 210"/>
                <a:gd name="T9" fmla="*/ 0 h 264"/>
                <a:gd name="T10" fmla="*/ 24 w 210"/>
                <a:gd name="T11" fmla="*/ 5 h 264"/>
                <a:gd name="T12" fmla="*/ 51 w 210"/>
                <a:gd name="T13" fmla="*/ 57 h 264"/>
                <a:gd name="T14" fmla="*/ 40 w 210"/>
                <a:gd name="T15" fmla="*/ 63 h 264"/>
                <a:gd name="T16" fmla="*/ 13 w 210"/>
                <a:gd name="T17" fmla="*/ 99 h 264"/>
                <a:gd name="T18" fmla="*/ 0 w 210"/>
                <a:gd name="T19" fmla="*/ 102 h 264"/>
                <a:gd name="T20" fmla="*/ 0 w 210"/>
                <a:gd name="T21" fmla="*/ 173 h 264"/>
                <a:gd name="T22" fmla="*/ 19 w 210"/>
                <a:gd name="T23" fmla="*/ 194 h 264"/>
                <a:gd name="T24" fmla="*/ 27 w 210"/>
                <a:gd name="T25" fmla="*/ 237 h 264"/>
                <a:gd name="T26" fmla="*/ 85 w 210"/>
                <a:gd name="T27" fmla="*/ 264 h 264"/>
                <a:gd name="T28" fmla="*/ 118 w 210"/>
                <a:gd name="T29" fmla="*/ 239 h 264"/>
                <a:gd name="T30" fmla="*/ 190 w 210"/>
                <a:gd name="T31" fmla="*/ 183 h 264"/>
                <a:gd name="T32" fmla="*/ 210 w 210"/>
                <a:gd name="T33" fmla="*/ 65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264">
                  <a:moveTo>
                    <a:pt x="210" y="65"/>
                  </a:moveTo>
                  <a:lnTo>
                    <a:pt x="168" y="65"/>
                  </a:lnTo>
                  <a:lnTo>
                    <a:pt x="93" y="17"/>
                  </a:lnTo>
                  <a:lnTo>
                    <a:pt x="67" y="18"/>
                  </a:lnTo>
                  <a:lnTo>
                    <a:pt x="61" y="0"/>
                  </a:lnTo>
                  <a:lnTo>
                    <a:pt x="24" y="5"/>
                  </a:lnTo>
                  <a:lnTo>
                    <a:pt x="51" y="57"/>
                  </a:lnTo>
                  <a:lnTo>
                    <a:pt x="40" y="63"/>
                  </a:lnTo>
                  <a:lnTo>
                    <a:pt x="13" y="99"/>
                  </a:lnTo>
                  <a:lnTo>
                    <a:pt x="0" y="102"/>
                  </a:lnTo>
                  <a:lnTo>
                    <a:pt x="0" y="173"/>
                  </a:lnTo>
                  <a:lnTo>
                    <a:pt x="19" y="194"/>
                  </a:lnTo>
                  <a:lnTo>
                    <a:pt x="27" y="237"/>
                  </a:lnTo>
                  <a:lnTo>
                    <a:pt x="85" y="264"/>
                  </a:lnTo>
                  <a:lnTo>
                    <a:pt x="118" y="239"/>
                  </a:lnTo>
                  <a:lnTo>
                    <a:pt x="190" y="183"/>
                  </a:lnTo>
                  <a:lnTo>
                    <a:pt x="210" y="65"/>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13" name="Freeform 6197">
              <a:extLst>
                <a:ext uri="{FF2B5EF4-FFF2-40B4-BE49-F238E27FC236}">
                  <a16:creationId xmlns:a16="http://schemas.microsoft.com/office/drawing/2014/main" id="{110CDF80-C6C9-8775-AC42-7417F43D2DA4}"/>
                </a:ext>
              </a:extLst>
            </p:cNvPr>
            <p:cNvSpPr>
              <a:spLocks/>
            </p:cNvSpPr>
            <p:nvPr/>
          </p:nvSpPr>
          <p:spPr bwMode="gray">
            <a:xfrm>
              <a:off x="8797703" y="2293140"/>
              <a:ext cx="55823" cy="52018"/>
            </a:xfrm>
            <a:custGeom>
              <a:avLst/>
              <a:gdLst>
                <a:gd name="T0" fmla="*/ 2 w 65"/>
                <a:gd name="T1" fmla="*/ 58 h 66"/>
                <a:gd name="T2" fmla="*/ 30 w 65"/>
                <a:gd name="T3" fmla="*/ 52 h 66"/>
                <a:gd name="T4" fmla="*/ 41 w 65"/>
                <a:gd name="T5" fmla="*/ 66 h 66"/>
                <a:gd name="T6" fmla="*/ 56 w 65"/>
                <a:gd name="T7" fmla="*/ 52 h 66"/>
                <a:gd name="T8" fmla="*/ 42 w 65"/>
                <a:gd name="T9" fmla="*/ 30 h 66"/>
                <a:gd name="T10" fmla="*/ 60 w 65"/>
                <a:gd name="T11" fmla="*/ 36 h 66"/>
                <a:gd name="T12" fmla="*/ 65 w 65"/>
                <a:gd name="T13" fmla="*/ 18 h 66"/>
                <a:gd name="T14" fmla="*/ 39 w 65"/>
                <a:gd name="T15" fmla="*/ 0 h 66"/>
                <a:gd name="T16" fmla="*/ 15 w 65"/>
                <a:gd name="T17" fmla="*/ 10 h 66"/>
                <a:gd name="T18" fmla="*/ 17 w 65"/>
                <a:gd name="T19" fmla="*/ 36 h 66"/>
                <a:gd name="T20" fmla="*/ 0 w 65"/>
                <a:gd name="T21" fmla="*/ 45 h 66"/>
                <a:gd name="T22" fmla="*/ 2 w 65"/>
                <a:gd name="T23"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66">
                  <a:moveTo>
                    <a:pt x="2" y="58"/>
                  </a:moveTo>
                  <a:lnTo>
                    <a:pt x="30" y="52"/>
                  </a:lnTo>
                  <a:lnTo>
                    <a:pt x="41" y="66"/>
                  </a:lnTo>
                  <a:lnTo>
                    <a:pt x="56" y="52"/>
                  </a:lnTo>
                  <a:lnTo>
                    <a:pt x="42" y="30"/>
                  </a:lnTo>
                  <a:lnTo>
                    <a:pt x="60" y="36"/>
                  </a:lnTo>
                  <a:lnTo>
                    <a:pt x="65" y="18"/>
                  </a:lnTo>
                  <a:lnTo>
                    <a:pt x="39" y="0"/>
                  </a:lnTo>
                  <a:lnTo>
                    <a:pt x="15" y="10"/>
                  </a:lnTo>
                  <a:lnTo>
                    <a:pt x="17" y="36"/>
                  </a:lnTo>
                  <a:lnTo>
                    <a:pt x="0" y="45"/>
                  </a:lnTo>
                  <a:lnTo>
                    <a:pt x="2" y="58"/>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14" name="Freeform 6198">
              <a:extLst>
                <a:ext uri="{FF2B5EF4-FFF2-40B4-BE49-F238E27FC236}">
                  <a16:creationId xmlns:a16="http://schemas.microsoft.com/office/drawing/2014/main" id="{60E8B630-2F67-AE52-B55C-DA629E3C0868}"/>
                </a:ext>
              </a:extLst>
            </p:cNvPr>
            <p:cNvSpPr>
              <a:spLocks/>
            </p:cNvSpPr>
            <p:nvPr/>
          </p:nvSpPr>
          <p:spPr bwMode="gray">
            <a:xfrm>
              <a:off x="8847324" y="2279764"/>
              <a:ext cx="51171" cy="40128"/>
            </a:xfrm>
            <a:custGeom>
              <a:avLst/>
              <a:gdLst>
                <a:gd name="T0" fmla="*/ 28 w 60"/>
                <a:gd name="T1" fmla="*/ 50 h 50"/>
                <a:gd name="T2" fmla="*/ 51 w 60"/>
                <a:gd name="T3" fmla="*/ 39 h 50"/>
                <a:gd name="T4" fmla="*/ 31 w 60"/>
                <a:gd name="T5" fmla="*/ 20 h 50"/>
                <a:gd name="T6" fmla="*/ 60 w 60"/>
                <a:gd name="T7" fmla="*/ 3 h 50"/>
                <a:gd name="T8" fmla="*/ 0 w 60"/>
                <a:gd name="T9" fmla="*/ 0 h 50"/>
                <a:gd name="T10" fmla="*/ 28 w 60"/>
                <a:gd name="T11" fmla="*/ 50 h 50"/>
              </a:gdLst>
              <a:ahLst/>
              <a:cxnLst>
                <a:cxn ang="0">
                  <a:pos x="T0" y="T1"/>
                </a:cxn>
                <a:cxn ang="0">
                  <a:pos x="T2" y="T3"/>
                </a:cxn>
                <a:cxn ang="0">
                  <a:pos x="T4" y="T5"/>
                </a:cxn>
                <a:cxn ang="0">
                  <a:pos x="T6" y="T7"/>
                </a:cxn>
                <a:cxn ang="0">
                  <a:pos x="T8" y="T9"/>
                </a:cxn>
                <a:cxn ang="0">
                  <a:pos x="T10" y="T11"/>
                </a:cxn>
              </a:cxnLst>
              <a:rect l="0" t="0" r="r" b="b"/>
              <a:pathLst>
                <a:path w="60" h="50">
                  <a:moveTo>
                    <a:pt x="28" y="50"/>
                  </a:moveTo>
                  <a:lnTo>
                    <a:pt x="51" y="39"/>
                  </a:lnTo>
                  <a:lnTo>
                    <a:pt x="31" y="20"/>
                  </a:lnTo>
                  <a:lnTo>
                    <a:pt x="60" y="3"/>
                  </a:lnTo>
                  <a:lnTo>
                    <a:pt x="0" y="0"/>
                  </a:lnTo>
                  <a:lnTo>
                    <a:pt x="28" y="50"/>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15" name="Freeform 6199">
              <a:extLst>
                <a:ext uri="{FF2B5EF4-FFF2-40B4-BE49-F238E27FC236}">
                  <a16:creationId xmlns:a16="http://schemas.microsoft.com/office/drawing/2014/main" id="{8279D35B-5C82-6B25-CD72-E1733A425893}"/>
                </a:ext>
              </a:extLst>
            </p:cNvPr>
            <p:cNvSpPr>
              <a:spLocks/>
            </p:cNvSpPr>
            <p:nvPr/>
          </p:nvSpPr>
          <p:spPr bwMode="gray">
            <a:xfrm>
              <a:off x="7977410" y="1948338"/>
              <a:ext cx="741209" cy="433976"/>
            </a:xfrm>
            <a:custGeom>
              <a:avLst/>
              <a:gdLst>
                <a:gd name="T0" fmla="*/ 867 w 891"/>
                <a:gd name="T1" fmla="*/ 319 h 547"/>
                <a:gd name="T2" fmla="*/ 833 w 891"/>
                <a:gd name="T3" fmla="*/ 340 h 547"/>
                <a:gd name="T4" fmla="*/ 821 w 891"/>
                <a:gd name="T5" fmla="*/ 316 h 547"/>
                <a:gd name="T6" fmla="*/ 797 w 891"/>
                <a:gd name="T7" fmla="*/ 289 h 547"/>
                <a:gd name="T8" fmla="*/ 753 w 891"/>
                <a:gd name="T9" fmla="*/ 279 h 547"/>
                <a:gd name="T10" fmla="*/ 711 w 891"/>
                <a:gd name="T11" fmla="*/ 313 h 547"/>
                <a:gd name="T12" fmla="*/ 764 w 891"/>
                <a:gd name="T13" fmla="*/ 331 h 547"/>
                <a:gd name="T14" fmla="*/ 719 w 891"/>
                <a:gd name="T15" fmla="*/ 354 h 547"/>
                <a:gd name="T16" fmla="*/ 662 w 891"/>
                <a:gd name="T17" fmla="*/ 351 h 547"/>
                <a:gd name="T18" fmla="*/ 624 w 891"/>
                <a:gd name="T19" fmla="*/ 342 h 547"/>
                <a:gd name="T20" fmla="*/ 567 w 891"/>
                <a:gd name="T21" fmla="*/ 346 h 547"/>
                <a:gd name="T22" fmla="*/ 512 w 891"/>
                <a:gd name="T23" fmla="*/ 352 h 547"/>
                <a:gd name="T24" fmla="*/ 477 w 891"/>
                <a:gd name="T25" fmla="*/ 337 h 547"/>
                <a:gd name="T26" fmla="*/ 404 w 891"/>
                <a:gd name="T27" fmla="*/ 354 h 547"/>
                <a:gd name="T28" fmla="*/ 419 w 891"/>
                <a:gd name="T29" fmla="*/ 388 h 547"/>
                <a:gd name="T30" fmla="*/ 461 w 891"/>
                <a:gd name="T31" fmla="*/ 424 h 547"/>
                <a:gd name="T32" fmla="*/ 386 w 891"/>
                <a:gd name="T33" fmla="*/ 483 h 547"/>
                <a:gd name="T34" fmla="*/ 356 w 891"/>
                <a:gd name="T35" fmla="*/ 517 h 547"/>
                <a:gd name="T36" fmla="*/ 321 w 891"/>
                <a:gd name="T37" fmla="*/ 517 h 547"/>
                <a:gd name="T38" fmla="*/ 288 w 891"/>
                <a:gd name="T39" fmla="*/ 478 h 547"/>
                <a:gd name="T40" fmla="*/ 306 w 891"/>
                <a:gd name="T41" fmla="*/ 447 h 547"/>
                <a:gd name="T42" fmla="*/ 281 w 891"/>
                <a:gd name="T43" fmla="*/ 409 h 547"/>
                <a:gd name="T44" fmla="*/ 269 w 891"/>
                <a:gd name="T45" fmla="*/ 358 h 547"/>
                <a:gd name="T46" fmla="*/ 204 w 891"/>
                <a:gd name="T47" fmla="*/ 280 h 547"/>
                <a:gd name="T48" fmla="*/ 215 w 891"/>
                <a:gd name="T49" fmla="*/ 231 h 547"/>
                <a:gd name="T50" fmla="*/ 102 w 891"/>
                <a:gd name="T51" fmla="*/ 183 h 547"/>
                <a:gd name="T52" fmla="*/ 96 w 891"/>
                <a:gd name="T53" fmla="*/ 129 h 547"/>
                <a:gd name="T54" fmla="*/ 191 w 891"/>
                <a:gd name="T55" fmla="*/ 79 h 547"/>
                <a:gd name="T56" fmla="*/ 153 w 891"/>
                <a:gd name="T57" fmla="*/ 52 h 547"/>
                <a:gd name="T58" fmla="*/ 119 w 891"/>
                <a:gd name="T59" fmla="*/ 84 h 547"/>
                <a:gd name="T60" fmla="*/ 90 w 891"/>
                <a:gd name="T61" fmla="*/ 94 h 547"/>
                <a:gd name="T62" fmla="*/ 0 w 891"/>
                <a:gd name="T63" fmla="*/ 34 h 547"/>
                <a:gd name="T64" fmla="*/ 14 w 891"/>
                <a:gd name="T65" fmla="*/ 0 h 547"/>
                <a:gd name="T66" fmla="*/ 86 w 891"/>
                <a:gd name="T67" fmla="*/ 1 h 547"/>
                <a:gd name="T68" fmla="*/ 174 w 891"/>
                <a:gd name="T69" fmla="*/ 27 h 547"/>
                <a:gd name="T70" fmla="*/ 257 w 891"/>
                <a:gd name="T71" fmla="*/ 88 h 547"/>
                <a:gd name="T72" fmla="*/ 339 w 891"/>
                <a:gd name="T73" fmla="*/ 66 h 547"/>
                <a:gd name="T74" fmla="*/ 410 w 891"/>
                <a:gd name="T75" fmla="*/ 36 h 547"/>
                <a:gd name="T76" fmla="*/ 489 w 891"/>
                <a:gd name="T77" fmla="*/ 49 h 547"/>
                <a:gd name="T78" fmla="*/ 551 w 891"/>
                <a:gd name="T79" fmla="*/ 45 h 547"/>
                <a:gd name="T80" fmla="*/ 605 w 891"/>
                <a:gd name="T81" fmla="*/ 73 h 547"/>
                <a:gd name="T82" fmla="*/ 693 w 891"/>
                <a:gd name="T83" fmla="*/ 111 h 547"/>
                <a:gd name="T84" fmla="*/ 821 w 891"/>
                <a:gd name="T85" fmla="*/ 199 h 547"/>
                <a:gd name="T86" fmla="*/ 891 w 891"/>
                <a:gd name="T87" fmla="*/ 28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91" h="547">
                  <a:moveTo>
                    <a:pt x="888" y="307"/>
                  </a:moveTo>
                  <a:lnTo>
                    <a:pt x="867" y="319"/>
                  </a:lnTo>
                  <a:lnTo>
                    <a:pt x="849" y="363"/>
                  </a:lnTo>
                  <a:lnTo>
                    <a:pt x="833" y="340"/>
                  </a:lnTo>
                  <a:lnTo>
                    <a:pt x="819" y="343"/>
                  </a:lnTo>
                  <a:lnTo>
                    <a:pt x="821" y="316"/>
                  </a:lnTo>
                  <a:lnTo>
                    <a:pt x="785" y="315"/>
                  </a:lnTo>
                  <a:lnTo>
                    <a:pt x="797" y="289"/>
                  </a:lnTo>
                  <a:lnTo>
                    <a:pt x="770" y="267"/>
                  </a:lnTo>
                  <a:lnTo>
                    <a:pt x="753" y="279"/>
                  </a:lnTo>
                  <a:lnTo>
                    <a:pt x="720" y="285"/>
                  </a:lnTo>
                  <a:lnTo>
                    <a:pt x="711" y="313"/>
                  </a:lnTo>
                  <a:lnTo>
                    <a:pt x="740" y="300"/>
                  </a:lnTo>
                  <a:lnTo>
                    <a:pt x="764" y="331"/>
                  </a:lnTo>
                  <a:lnTo>
                    <a:pt x="740" y="355"/>
                  </a:lnTo>
                  <a:lnTo>
                    <a:pt x="719" y="354"/>
                  </a:lnTo>
                  <a:lnTo>
                    <a:pt x="687" y="369"/>
                  </a:lnTo>
                  <a:lnTo>
                    <a:pt x="662" y="351"/>
                  </a:lnTo>
                  <a:lnTo>
                    <a:pt x="629" y="357"/>
                  </a:lnTo>
                  <a:lnTo>
                    <a:pt x="624" y="342"/>
                  </a:lnTo>
                  <a:lnTo>
                    <a:pt x="581" y="318"/>
                  </a:lnTo>
                  <a:lnTo>
                    <a:pt x="567" y="346"/>
                  </a:lnTo>
                  <a:lnTo>
                    <a:pt x="521" y="363"/>
                  </a:lnTo>
                  <a:lnTo>
                    <a:pt x="512" y="352"/>
                  </a:lnTo>
                  <a:lnTo>
                    <a:pt x="498" y="357"/>
                  </a:lnTo>
                  <a:lnTo>
                    <a:pt x="477" y="337"/>
                  </a:lnTo>
                  <a:lnTo>
                    <a:pt x="434" y="340"/>
                  </a:lnTo>
                  <a:lnTo>
                    <a:pt x="404" y="354"/>
                  </a:lnTo>
                  <a:lnTo>
                    <a:pt x="402" y="382"/>
                  </a:lnTo>
                  <a:lnTo>
                    <a:pt x="419" y="388"/>
                  </a:lnTo>
                  <a:lnTo>
                    <a:pt x="423" y="406"/>
                  </a:lnTo>
                  <a:lnTo>
                    <a:pt x="461" y="424"/>
                  </a:lnTo>
                  <a:lnTo>
                    <a:pt x="393" y="448"/>
                  </a:lnTo>
                  <a:lnTo>
                    <a:pt x="386" y="483"/>
                  </a:lnTo>
                  <a:lnTo>
                    <a:pt x="363" y="489"/>
                  </a:lnTo>
                  <a:lnTo>
                    <a:pt x="356" y="517"/>
                  </a:lnTo>
                  <a:lnTo>
                    <a:pt x="333" y="547"/>
                  </a:lnTo>
                  <a:lnTo>
                    <a:pt x="321" y="517"/>
                  </a:lnTo>
                  <a:lnTo>
                    <a:pt x="282" y="501"/>
                  </a:lnTo>
                  <a:lnTo>
                    <a:pt x="288" y="478"/>
                  </a:lnTo>
                  <a:lnTo>
                    <a:pt x="288" y="450"/>
                  </a:lnTo>
                  <a:lnTo>
                    <a:pt x="306" y="447"/>
                  </a:lnTo>
                  <a:lnTo>
                    <a:pt x="278" y="421"/>
                  </a:lnTo>
                  <a:lnTo>
                    <a:pt x="281" y="409"/>
                  </a:lnTo>
                  <a:lnTo>
                    <a:pt x="257" y="382"/>
                  </a:lnTo>
                  <a:lnTo>
                    <a:pt x="269" y="358"/>
                  </a:lnTo>
                  <a:lnTo>
                    <a:pt x="270" y="291"/>
                  </a:lnTo>
                  <a:lnTo>
                    <a:pt x="204" y="280"/>
                  </a:lnTo>
                  <a:lnTo>
                    <a:pt x="192" y="235"/>
                  </a:lnTo>
                  <a:lnTo>
                    <a:pt x="215" y="231"/>
                  </a:lnTo>
                  <a:lnTo>
                    <a:pt x="195" y="208"/>
                  </a:lnTo>
                  <a:lnTo>
                    <a:pt x="102" y="183"/>
                  </a:lnTo>
                  <a:lnTo>
                    <a:pt x="81" y="145"/>
                  </a:lnTo>
                  <a:lnTo>
                    <a:pt x="96" y="129"/>
                  </a:lnTo>
                  <a:lnTo>
                    <a:pt x="162" y="162"/>
                  </a:lnTo>
                  <a:lnTo>
                    <a:pt x="191" y="79"/>
                  </a:lnTo>
                  <a:lnTo>
                    <a:pt x="149" y="73"/>
                  </a:lnTo>
                  <a:lnTo>
                    <a:pt x="153" y="52"/>
                  </a:lnTo>
                  <a:lnTo>
                    <a:pt x="132" y="54"/>
                  </a:lnTo>
                  <a:lnTo>
                    <a:pt x="119" y="84"/>
                  </a:lnTo>
                  <a:lnTo>
                    <a:pt x="111" y="78"/>
                  </a:lnTo>
                  <a:lnTo>
                    <a:pt x="90" y="94"/>
                  </a:lnTo>
                  <a:lnTo>
                    <a:pt x="38" y="94"/>
                  </a:lnTo>
                  <a:lnTo>
                    <a:pt x="0" y="34"/>
                  </a:lnTo>
                  <a:lnTo>
                    <a:pt x="2" y="15"/>
                  </a:lnTo>
                  <a:lnTo>
                    <a:pt x="14" y="0"/>
                  </a:lnTo>
                  <a:lnTo>
                    <a:pt x="50" y="9"/>
                  </a:lnTo>
                  <a:lnTo>
                    <a:pt x="86" y="1"/>
                  </a:lnTo>
                  <a:lnTo>
                    <a:pt x="134" y="31"/>
                  </a:lnTo>
                  <a:lnTo>
                    <a:pt x="174" y="27"/>
                  </a:lnTo>
                  <a:lnTo>
                    <a:pt x="221" y="70"/>
                  </a:lnTo>
                  <a:lnTo>
                    <a:pt x="257" y="88"/>
                  </a:lnTo>
                  <a:lnTo>
                    <a:pt x="273" y="88"/>
                  </a:lnTo>
                  <a:lnTo>
                    <a:pt x="339" y="66"/>
                  </a:lnTo>
                  <a:lnTo>
                    <a:pt x="357" y="42"/>
                  </a:lnTo>
                  <a:lnTo>
                    <a:pt x="410" y="36"/>
                  </a:lnTo>
                  <a:lnTo>
                    <a:pt x="459" y="31"/>
                  </a:lnTo>
                  <a:lnTo>
                    <a:pt x="489" y="49"/>
                  </a:lnTo>
                  <a:lnTo>
                    <a:pt x="528" y="45"/>
                  </a:lnTo>
                  <a:lnTo>
                    <a:pt x="551" y="45"/>
                  </a:lnTo>
                  <a:lnTo>
                    <a:pt x="572" y="67"/>
                  </a:lnTo>
                  <a:lnTo>
                    <a:pt x="605" y="73"/>
                  </a:lnTo>
                  <a:lnTo>
                    <a:pt x="644" y="93"/>
                  </a:lnTo>
                  <a:lnTo>
                    <a:pt x="693" y="111"/>
                  </a:lnTo>
                  <a:lnTo>
                    <a:pt x="743" y="150"/>
                  </a:lnTo>
                  <a:lnTo>
                    <a:pt x="821" y="199"/>
                  </a:lnTo>
                  <a:lnTo>
                    <a:pt x="821" y="231"/>
                  </a:lnTo>
                  <a:lnTo>
                    <a:pt x="891" y="289"/>
                  </a:lnTo>
                  <a:lnTo>
                    <a:pt x="888" y="307"/>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16" name="Freeform 6200">
              <a:extLst>
                <a:ext uri="{FF2B5EF4-FFF2-40B4-BE49-F238E27FC236}">
                  <a16:creationId xmlns:a16="http://schemas.microsoft.com/office/drawing/2014/main" id="{AD37D8A8-9FF0-FA45-4AAD-D6177A866E71}"/>
                </a:ext>
              </a:extLst>
            </p:cNvPr>
            <p:cNvSpPr>
              <a:spLocks/>
            </p:cNvSpPr>
            <p:nvPr/>
          </p:nvSpPr>
          <p:spPr bwMode="gray">
            <a:xfrm>
              <a:off x="7681237" y="1954283"/>
              <a:ext cx="610955" cy="737164"/>
            </a:xfrm>
            <a:custGeom>
              <a:avLst/>
              <a:gdLst>
                <a:gd name="T0" fmla="*/ 87 w 733"/>
                <a:gd name="T1" fmla="*/ 213 h 928"/>
                <a:gd name="T2" fmla="*/ 108 w 733"/>
                <a:gd name="T3" fmla="*/ 162 h 928"/>
                <a:gd name="T4" fmla="*/ 172 w 733"/>
                <a:gd name="T5" fmla="*/ 135 h 928"/>
                <a:gd name="T6" fmla="*/ 226 w 733"/>
                <a:gd name="T7" fmla="*/ 121 h 928"/>
                <a:gd name="T8" fmla="*/ 234 w 733"/>
                <a:gd name="T9" fmla="*/ 172 h 928"/>
                <a:gd name="T10" fmla="*/ 223 w 733"/>
                <a:gd name="T11" fmla="*/ 240 h 928"/>
                <a:gd name="T12" fmla="*/ 249 w 733"/>
                <a:gd name="T13" fmla="*/ 174 h 928"/>
                <a:gd name="T14" fmla="*/ 255 w 733"/>
                <a:gd name="T15" fmla="*/ 73 h 928"/>
                <a:gd name="T16" fmla="*/ 286 w 733"/>
                <a:gd name="T17" fmla="*/ 42 h 928"/>
                <a:gd name="T18" fmla="*/ 337 w 733"/>
                <a:gd name="T19" fmla="*/ 4 h 928"/>
                <a:gd name="T20" fmla="*/ 393 w 733"/>
                <a:gd name="T21" fmla="*/ 90 h 928"/>
                <a:gd name="T22" fmla="*/ 469 w 733"/>
                <a:gd name="T23" fmla="*/ 67 h 928"/>
                <a:gd name="T24" fmla="*/ 489 w 733"/>
                <a:gd name="T25" fmla="*/ 46 h 928"/>
                <a:gd name="T26" fmla="*/ 502 w 733"/>
                <a:gd name="T27" fmla="*/ 64 h 928"/>
                <a:gd name="T28" fmla="*/ 516 w 733"/>
                <a:gd name="T29" fmla="*/ 154 h 928"/>
                <a:gd name="T30" fmla="*/ 436 w 733"/>
                <a:gd name="T31" fmla="*/ 136 h 928"/>
                <a:gd name="T32" fmla="*/ 553 w 733"/>
                <a:gd name="T33" fmla="*/ 202 h 928"/>
                <a:gd name="T34" fmla="*/ 547 w 733"/>
                <a:gd name="T35" fmla="*/ 226 h 928"/>
                <a:gd name="T36" fmla="*/ 624 w 733"/>
                <a:gd name="T37" fmla="*/ 280 h 928"/>
                <a:gd name="T38" fmla="*/ 610 w 733"/>
                <a:gd name="T39" fmla="*/ 376 h 928"/>
                <a:gd name="T40" fmla="*/ 631 w 733"/>
                <a:gd name="T41" fmla="*/ 414 h 928"/>
                <a:gd name="T42" fmla="*/ 645 w 733"/>
                <a:gd name="T43" fmla="*/ 441 h 928"/>
                <a:gd name="T44" fmla="*/ 639 w 733"/>
                <a:gd name="T45" fmla="*/ 490 h 928"/>
                <a:gd name="T46" fmla="*/ 687 w 733"/>
                <a:gd name="T47" fmla="*/ 537 h 928"/>
                <a:gd name="T48" fmla="*/ 723 w 733"/>
                <a:gd name="T49" fmla="*/ 658 h 928"/>
                <a:gd name="T50" fmla="*/ 679 w 733"/>
                <a:gd name="T51" fmla="*/ 738 h 928"/>
                <a:gd name="T52" fmla="*/ 610 w 733"/>
                <a:gd name="T53" fmla="*/ 768 h 928"/>
                <a:gd name="T54" fmla="*/ 580 w 733"/>
                <a:gd name="T55" fmla="*/ 759 h 928"/>
                <a:gd name="T56" fmla="*/ 519 w 733"/>
                <a:gd name="T57" fmla="*/ 780 h 928"/>
                <a:gd name="T58" fmla="*/ 450 w 733"/>
                <a:gd name="T59" fmla="*/ 787 h 928"/>
                <a:gd name="T60" fmla="*/ 367 w 733"/>
                <a:gd name="T61" fmla="*/ 748 h 928"/>
                <a:gd name="T62" fmla="*/ 265 w 733"/>
                <a:gd name="T63" fmla="*/ 667 h 928"/>
                <a:gd name="T64" fmla="*/ 220 w 733"/>
                <a:gd name="T65" fmla="*/ 585 h 928"/>
                <a:gd name="T66" fmla="*/ 208 w 733"/>
                <a:gd name="T67" fmla="*/ 579 h 928"/>
                <a:gd name="T68" fmla="*/ 249 w 733"/>
                <a:gd name="T69" fmla="*/ 690 h 928"/>
                <a:gd name="T70" fmla="*/ 327 w 733"/>
                <a:gd name="T71" fmla="*/ 769 h 928"/>
                <a:gd name="T72" fmla="*/ 364 w 733"/>
                <a:gd name="T73" fmla="*/ 783 h 928"/>
                <a:gd name="T74" fmla="*/ 390 w 733"/>
                <a:gd name="T75" fmla="*/ 877 h 928"/>
                <a:gd name="T76" fmla="*/ 369 w 733"/>
                <a:gd name="T77" fmla="*/ 928 h 928"/>
                <a:gd name="T78" fmla="*/ 318 w 733"/>
                <a:gd name="T79" fmla="*/ 900 h 928"/>
                <a:gd name="T80" fmla="*/ 264 w 733"/>
                <a:gd name="T81" fmla="*/ 838 h 928"/>
                <a:gd name="T82" fmla="*/ 216 w 733"/>
                <a:gd name="T83" fmla="*/ 814 h 928"/>
                <a:gd name="T84" fmla="*/ 105 w 733"/>
                <a:gd name="T85" fmla="*/ 813 h 928"/>
                <a:gd name="T86" fmla="*/ 63 w 733"/>
                <a:gd name="T87" fmla="*/ 783 h 928"/>
                <a:gd name="T88" fmla="*/ 46 w 733"/>
                <a:gd name="T89" fmla="*/ 700 h 928"/>
                <a:gd name="T90" fmla="*/ 121 w 733"/>
                <a:gd name="T91" fmla="*/ 627 h 928"/>
                <a:gd name="T92" fmla="*/ 73 w 733"/>
                <a:gd name="T93" fmla="*/ 616 h 928"/>
                <a:gd name="T94" fmla="*/ 49 w 733"/>
                <a:gd name="T95" fmla="*/ 547 h 928"/>
                <a:gd name="T96" fmla="*/ 21 w 733"/>
                <a:gd name="T97" fmla="*/ 513 h 928"/>
                <a:gd name="T98" fmla="*/ 37 w 733"/>
                <a:gd name="T99" fmla="*/ 484 h 928"/>
                <a:gd name="T100" fmla="*/ 37 w 733"/>
                <a:gd name="T101" fmla="*/ 456 h 928"/>
                <a:gd name="T102" fmla="*/ 42 w 733"/>
                <a:gd name="T103" fmla="*/ 418 h 928"/>
                <a:gd name="T104" fmla="*/ 24 w 733"/>
                <a:gd name="T105" fmla="*/ 382 h 928"/>
                <a:gd name="T106" fmla="*/ 9 w 733"/>
                <a:gd name="T107" fmla="*/ 358 h 928"/>
                <a:gd name="T108" fmla="*/ 24 w 733"/>
                <a:gd name="T109" fmla="*/ 313 h 928"/>
                <a:gd name="T110" fmla="*/ 79 w 733"/>
                <a:gd name="T111" fmla="*/ 219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3" h="928">
                  <a:moveTo>
                    <a:pt x="79" y="219"/>
                  </a:moveTo>
                  <a:cubicBezTo>
                    <a:pt x="82" y="217"/>
                    <a:pt x="87" y="213"/>
                    <a:pt x="87" y="213"/>
                  </a:cubicBezTo>
                  <a:lnTo>
                    <a:pt x="120" y="202"/>
                  </a:lnTo>
                  <a:lnTo>
                    <a:pt x="108" y="162"/>
                  </a:lnTo>
                  <a:lnTo>
                    <a:pt x="141" y="142"/>
                  </a:lnTo>
                  <a:lnTo>
                    <a:pt x="172" y="135"/>
                  </a:lnTo>
                  <a:lnTo>
                    <a:pt x="181" y="106"/>
                  </a:lnTo>
                  <a:lnTo>
                    <a:pt x="226" y="121"/>
                  </a:lnTo>
                  <a:lnTo>
                    <a:pt x="246" y="150"/>
                  </a:lnTo>
                  <a:lnTo>
                    <a:pt x="234" y="172"/>
                  </a:lnTo>
                  <a:lnTo>
                    <a:pt x="207" y="190"/>
                  </a:lnTo>
                  <a:lnTo>
                    <a:pt x="223" y="240"/>
                  </a:lnTo>
                  <a:lnTo>
                    <a:pt x="240" y="195"/>
                  </a:lnTo>
                  <a:lnTo>
                    <a:pt x="249" y="174"/>
                  </a:lnTo>
                  <a:lnTo>
                    <a:pt x="271" y="133"/>
                  </a:lnTo>
                  <a:lnTo>
                    <a:pt x="255" y="73"/>
                  </a:lnTo>
                  <a:lnTo>
                    <a:pt x="283" y="63"/>
                  </a:lnTo>
                  <a:lnTo>
                    <a:pt x="286" y="42"/>
                  </a:lnTo>
                  <a:lnTo>
                    <a:pt x="300" y="0"/>
                  </a:lnTo>
                  <a:lnTo>
                    <a:pt x="337" y="4"/>
                  </a:lnTo>
                  <a:lnTo>
                    <a:pt x="354" y="24"/>
                  </a:lnTo>
                  <a:lnTo>
                    <a:pt x="393" y="90"/>
                  </a:lnTo>
                  <a:lnTo>
                    <a:pt x="444" y="84"/>
                  </a:lnTo>
                  <a:lnTo>
                    <a:pt x="469" y="67"/>
                  </a:lnTo>
                  <a:lnTo>
                    <a:pt x="474" y="78"/>
                  </a:lnTo>
                  <a:lnTo>
                    <a:pt x="489" y="46"/>
                  </a:lnTo>
                  <a:lnTo>
                    <a:pt x="507" y="43"/>
                  </a:lnTo>
                  <a:lnTo>
                    <a:pt x="502" y="64"/>
                  </a:lnTo>
                  <a:lnTo>
                    <a:pt x="543" y="73"/>
                  </a:lnTo>
                  <a:lnTo>
                    <a:pt x="516" y="154"/>
                  </a:lnTo>
                  <a:lnTo>
                    <a:pt x="450" y="120"/>
                  </a:lnTo>
                  <a:lnTo>
                    <a:pt x="436" y="136"/>
                  </a:lnTo>
                  <a:lnTo>
                    <a:pt x="457" y="175"/>
                  </a:lnTo>
                  <a:lnTo>
                    <a:pt x="553" y="202"/>
                  </a:lnTo>
                  <a:lnTo>
                    <a:pt x="568" y="222"/>
                  </a:lnTo>
                  <a:lnTo>
                    <a:pt x="547" y="226"/>
                  </a:lnTo>
                  <a:lnTo>
                    <a:pt x="559" y="270"/>
                  </a:lnTo>
                  <a:lnTo>
                    <a:pt x="624" y="280"/>
                  </a:lnTo>
                  <a:lnTo>
                    <a:pt x="624" y="351"/>
                  </a:lnTo>
                  <a:lnTo>
                    <a:pt x="610" y="376"/>
                  </a:lnTo>
                  <a:lnTo>
                    <a:pt x="634" y="400"/>
                  </a:lnTo>
                  <a:lnTo>
                    <a:pt x="631" y="414"/>
                  </a:lnTo>
                  <a:lnTo>
                    <a:pt x="664" y="441"/>
                  </a:lnTo>
                  <a:lnTo>
                    <a:pt x="645" y="441"/>
                  </a:lnTo>
                  <a:lnTo>
                    <a:pt x="645" y="468"/>
                  </a:lnTo>
                  <a:lnTo>
                    <a:pt x="639" y="490"/>
                  </a:lnTo>
                  <a:lnTo>
                    <a:pt x="673" y="507"/>
                  </a:lnTo>
                  <a:lnTo>
                    <a:pt x="687" y="537"/>
                  </a:lnTo>
                  <a:lnTo>
                    <a:pt x="733" y="631"/>
                  </a:lnTo>
                  <a:lnTo>
                    <a:pt x="723" y="658"/>
                  </a:lnTo>
                  <a:lnTo>
                    <a:pt x="705" y="660"/>
                  </a:lnTo>
                  <a:lnTo>
                    <a:pt x="679" y="738"/>
                  </a:lnTo>
                  <a:lnTo>
                    <a:pt x="610" y="751"/>
                  </a:lnTo>
                  <a:lnTo>
                    <a:pt x="610" y="768"/>
                  </a:lnTo>
                  <a:lnTo>
                    <a:pt x="585" y="775"/>
                  </a:lnTo>
                  <a:lnTo>
                    <a:pt x="580" y="759"/>
                  </a:lnTo>
                  <a:lnTo>
                    <a:pt x="532" y="760"/>
                  </a:lnTo>
                  <a:lnTo>
                    <a:pt x="519" y="780"/>
                  </a:lnTo>
                  <a:lnTo>
                    <a:pt x="501" y="789"/>
                  </a:lnTo>
                  <a:lnTo>
                    <a:pt x="450" y="787"/>
                  </a:lnTo>
                  <a:lnTo>
                    <a:pt x="417" y="778"/>
                  </a:lnTo>
                  <a:lnTo>
                    <a:pt x="367" y="748"/>
                  </a:lnTo>
                  <a:lnTo>
                    <a:pt x="312" y="726"/>
                  </a:lnTo>
                  <a:lnTo>
                    <a:pt x="265" y="667"/>
                  </a:lnTo>
                  <a:lnTo>
                    <a:pt x="240" y="598"/>
                  </a:lnTo>
                  <a:lnTo>
                    <a:pt x="220" y="585"/>
                  </a:lnTo>
                  <a:lnTo>
                    <a:pt x="217" y="562"/>
                  </a:lnTo>
                  <a:lnTo>
                    <a:pt x="208" y="579"/>
                  </a:lnTo>
                  <a:lnTo>
                    <a:pt x="211" y="610"/>
                  </a:lnTo>
                  <a:lnTo>
                    <a:pt x="249" y="690"/>
                  </a:lnTo>
                  <a:lnTo>
                    <a:pt x="271" y="742"/>
                  </a:lnTo>
                  <a:lnTo>
                    <a:pt x="327" y="769"/>
                  </a:lnTo>
                  <a:lnTo>
                    <a:pt x="343" y="771"/>
                  </a:lnTo>
                  <a:lnTo>
                    <a:pt x="364" y="783"/>
                  </a:lnTo>
                  <a:lnTo>
                    <a:pt x="423" y="847"/>
                  </a:lnTo>
                  <a:lnTo>
                    <a:pt x="390" y="877"/>
                  </a:lnTo>
                  <a:lnTo>
                    <a:pt x="402" y="924"/>
                  </a:lnTo>
                  <a:lnTo>
                    <a:pt x="369" y="928"/>
                  </a:lnTo>
                  <a:lnTo>
                    <a:pt x="364" y="910"/>
                  </a:lnTo>
                  <a:lnTo>
                    <a:pt x="318" y="900"/>
                  </a:lnTo>
                  <a:lnTo>
                    <a:pt x="297" y="847"/>
                  </a:lnTo>
                  <a:lnTo>
                    <a:pt x="264" y="838"/>
                  </a:lnTo>
                  <a:lnTo>
                    <a:pt x="261" y="820"/>
                  </a:lnTo>
                  <a:lnTo>
                    <a:pt x="216" y="814"/>
                  </a:lnTo>
                  <a:lnTo>
                    <a:pt x="147" y="832"/>
                  </a:lnTo>
                  <a:lnTo>
                    <a:pt x="105" y="813"/>
                  </a:lnTo>
                  <a:lnTo>
                    <a:pt x="67" y="807"/>
                  </a:lnTo>
                  <a:lnTo>
                    <a:pt x="63" y="783"/>
                  </a:lnTo>
                  <a:lnTo>
                    <a:pt x="46" y="729"/>
                  </a:lnTo>
                  <a:lnTo>
                    <a:pt x="46" y="700"/>
                  </a:lnTo>
                  <a:lnTo>
                    <a:pt x="91" y="690"/>
                  </a:lnTo>
                  <a:lnTo>
                    <a:pt x="121" y="627"/>
                  </a:lnTo>
                  <a:lnTo>
                    <a:pt x="75" y="639"/>
                  </a:lnTo>
                  <a:lnTo>
                    <a:pt x="73" y="616"/>
                  </a:lnTo>
                  <a:lnTo>
                    <a:pt x="63" y="556"/>
                  </a:lnTo>
                  <a:lnTo>
                    <a:pt x="49" y="547"/>
                  </a:lnTo>
                  <a:lnTo>
                    <a:pt x="46" y="514"/>
                  </a:lnTo>
                  <a:lnTo>
                    <a:pt x="21" y="513"/>
                  </a:lnTo>
                  <a:lnTo>
                    <a:pt x="36" y="504"/>
                  </a:lnTo>
                  <a:lnTo>
                    <a:pt x="37" y="484"/>
                  </a:lnTo>
                  <a:lnTo>
                    <a:pt x="52" y="474"/>
                  </a:lnTo>
                  <a:lnTo>
                    <a:pt x="37" y="456"/>
                  </a:lnTo>
                  <a:lnTo>
                    <a:pt x="31" y="439"/>
                  </a:lnTo>
                  <a:lnTo>
                    <a:pt x="42" y="418"/>
                  </a:lnTo>
                  <a:lnTo>
                    <a:pt x="0" y="387"/>
                  </a:lnTo>
                  <a:lnTo>
                    <a:pt x="24" y="382"/>
                  </a:lnTo>
                  <a:lnTo>
                    <a:pt x="21" y="361"/>
                  </a:lnTo>
                  <a:lnTo>
                    <a:pt x="9" y="358"/>
                  </a:lnTo>
                  <a:lnTo>
                    <a:pt x="9" y="315"/>
                  </a:lnTo>
                  <a:lnTo>
                    <a:pt x="24" y="313"/>
                  </a:lnTo>
                  <a:lnTo>
                    <a:pt x="39" y="283"/>
                  </a:lnTo>
                  <a:lnTo>
                    <a:pt x="79" y="219"/>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17" name="Freeform 6201">
              <a:extLst>
                <a:ext uri="{FF2B5EF4-FFF2-40B4-BE49-F238E27FC236}">
                  <a16:creationId xmlns:a16="http://schemas.microsoft.com/office/drawing/2014/main" id="{A2D1F035-298D-4987-8B46-B68C4F64E60A}"/>
                </a:ext>
              </a:extLst>
            </p:cNvPr>
            <p:cNvSpPr>
              <a:spLocks/>
            </p:cNvSpPr>
            <p:nvPr/>
          </p:nvSpPr>
          <p:spPr bwMode="gray">
            <a:xfrm>
              <a:off x="8061145" y="1894834"/>
              <a:ext cx="111647" cy="107008"/>
            </a:xfrm>
            <a:custGeom>
              <a:avLst/>
              <a:gdLst>
                <a:gd name="T0" fmla="*/ 38 w 134"/>
                <a:gd name="T1" fmla="*/ 97 h 135"/>
                <a:gd name="T2" fmla="*/ 42 w 134"/>
                <a:gd name="T3" fmla="*/ 61 h 135"/>
                <a:gd name="T4" fmla="*/ 0 w 134"/>
                <a:gd name="T5" fmla="*/ 52 h 135"/>
                <a:gd name="T6" fmla="*/ 0 w 134"/>
                <a:gd name="T7" fmla="*/ 33 h 135"/>
                <a:gd name="T8" fmla="*/ 51 w 134"/>
                <a:gd name="T9" fmla="*/ 0 h 135"/>
                <a:gd name="T10" fmla="*/ 66 w 134"/>
                <a:gd name="T11" fmla="*/ 15 h 135"/>
                <a:gd name="T12" fmla="*/ 54 w 134"/>
                <a:gd name="T13" fmla="*/ 24 h 135"/>
                <a:gd name="T14" fmla="*/ 96 w 134"/>
                <a:gd name="T15" fmla="*/ 39 h 135"/>
                <a:gd name="T16" fmla="*/ 99 w 134"/>
                <a:gd name="T17" fmla="*/ 54 h 135"/>
                <a:gd name="T18" fmla="*/ 134 w 134"/>
                <a:gd name="T19" fmla="*/ 57 h 135"/>
                <a:gd name="T20" fmla="*/ 131 w 134"/>
                <a:gd name="T21" fmla="*/ 69 h 135"/>
                <a:gd name="T22" fmla="*/ 99 w 134"/>
                <a:gd name="T23" fmla="*/ 73 h 135"/>
                <a:gd name="T24" fmla="*/ 102 w 134"/>
                <a:gd name="T25" fmla="*/ 93 h 135"/>
                <a:gd name="T26" fmla="*/ 129 w 134"/>
                <a:gd name="T27" fmla="*/ 106 h 135"/>
                <a:gd name="T28" fmla="*/ 131 w 134"/>
                <a:gd name="T29" fmla="*/ 120 h 135"/>
                <a:gd name="T30" fmla="*/ 120 w 134"/>
                <a:gd name="T31" fmla="*/ 135 h 135"/>
                <a:gd name="T32" fmla="*/ 74 w 134"/>
                <a:gd name="T33" fmla="*/ 93 h 135"/>
                <a:gd name="T34" fmla="*/ 38 w 134"/>
                <a:gd name="T35" fmla="*/ 9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35">
                  <a:moveTo>
                    <a:pt x="38" y="97"/>
                  </a:moveTo>
                  <a:lnTo>
                    <a:pt x="42" y="61"/>
                  </a:lnTo>
                  <a:lnTo>
                    <a:pt x="0" y="52"/>
                  </a:lnTo>
                  <a:lnTo>
                    <a:pt x="0" y="33"/>
                  </a:lnTo>
                  <a:lnTo>
                    <a:pt x="51" y="0"/>
                  </a:lnTo>
                  <a:lnTo>
                    <a:pt x="66" y="15"/>
                  </a:lnTo>
                  <a:lnTo>
                    <a:pt x="54" y="24"/>
                  </a:lnTo>
                  <a:lnTo>
                    <a:pt x="96" y="39"/>
                  </a:lnTo>
                  <a:lnTo>
                    <a:pt x="99" y="54"/>
                  </a:lnTo>
                  <a:lnTo>
                    <a:pt x="134" y="57"/>
                  </a:lnTo>
                  <a:lnTo>
                    <a:pt x="131" y="69"/>
                  </a:lnTo>
                  <a:lnTo>
                    <a:pt x="99" y="73"/>
                  </a:lnTo>
                  <a:lnTo>
                    <a:pt x="102" y="93"/>
                  </a:lnTo>
                  <a:lnTo>
                    <a:pt x="129" y="106"/>
                  </a:lnTo>
                  <a:lnTo>
                    <a:pt x="131" y="120"/>
                  </a:lnTo>
                  <a:lnTo>
                    <a:pt x="120" y="135"/>
                  </a:lnTo>
                  <a:lnTo>
                    <a:pt x="74" y="93"/>
                  </a:lnTo>
                  <a:lnTo>
                    <a:pt x="38" y="97"/>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18" name="Freeform 6202">
              <a:extLst>
                <a:ext uri="{FF2B5EF4-FFF2-40B4-BE49-F238E27FC236}">
                  <a16:creationId xmlns:a16="http://schemas.microsoft.com/office/drawing/2014/main" id="{B80A80B0-7AB8-997B-A3DB-7A5DD0FB61BC}"/>
                </a:ext>
              </a:extLst>
            </p:cNvPr>
            <p:cNvSpPr>
              <a:spLocks/>
            </p:cNvSpPr>
            <p:nvPr/>
          </p:nvSpPr>
          <p:spPr bwMode="gray">
            <a:xfrm>
              <a:off x="7716902" y="1804175"/>
              <a:ext cx="328737" cy="230364"/>
            </a:xfrm>
            <a:custGeom>
              <a:avLst/>
              <a:gdLst>
                <a:gd name="T0" fmla="*/ 297 w 395"/>
                <a:gd name="T1" fmla="*/ 195 h 291"/>
                <a:gd name="T2" fmla="*/ 308 w 395"/>
                <a:gd name="T3" fmla="*/ 179 h 291"/>
                <a:gd name="T4" fmla="*/ 305 w 395"/>
                <a:gd name="T5" fmla="*/ 156 h 291"/>
                <a:gd name="T6" fmla="*/ 330 w 395"/>
                <a:gd name="T7" fmla="*/ 164 h 291"/>
                <a:gd name="T8" fmla="*/ 359 w 395"/>
                <a:gd name="T9" fmla="*/ 189 h 291"/>
                <a:gd name="T10" fmla="*/ 389 w 395"/>
                <a:gd name="T11" fmla="*/ 155 h 291"/>
                <a:gd name="T12" fmla="*/ 356 w 395"/>
                <a:gd name="T13" fmla="*/ 126 h 291"/>
                <a:gd name="T14" fmla="*/ 380 w 395"/>
                <a:gd name="T15" fmla="*/ 99 h 291"/>
                <a:gd name="T16" fmla="*/ 395 w 395"/>
                <a:gd name="T17" fmla="*/ 104 h 291"/>
                <a:gd name="T18" fmla="*/ 366 w 395"/>
                <a:gd name="T19" fmla="*/ 74 h 291"/>
                <a:gd name="T20" fmla="*/ 350 w 395"/>
                <a:gd name="T21" fmla="*/ 66 h 291"/>
                <a:gd name="T22" fmla="*/ 329 w 395"/>
                <a:gd name="T23" fmla="*/ 83 h 291"/>
                <a:gd name="T24" fmla="*/ 315 w 395"/>
                <a:gd name="T25" fmla="*/ 30 h 291"/>
                <a:gd name="T26" fmla="*/ 287 w 395"/>
                <a:gd name="T27" fmla="*/ 11 h 291"/>
                <a:gd name="T28" fmla="*/ 270 w 395"/>
                <a:gd name="T29" fmla="*/ 18 h 291"/>
                <a:gd name="T30" fmla="*/ 282 w 395"/>
                <a:gd name="T31" fmla="*/ 65 h 291"/>
                <a:gd name="T32" fmla="*/ 267 w 395"/>
                <a:gd name="T33" fmla="*/ 86 h 291"/>
                <a:gd name="T34" fmla="*/ 254 w 395"/>
                <a:gd name="T35" fmla="*/ 62 h 291"/>
                <a:gd name="T36" fmla="*/ 234 w 395"/>
                <a:gd name="T37" fmla="*/ 71 h 291"/>
                <a:gd name="T38" fmla="*/ 257 w 395"/>
                <a:gd name="T39" fmla="*/ 26 h 291"/>
                <a:gd name="T40" fmla="*/ 224 w 395"/>
                <a:gd name="T41" fmla="*/ 5 h 291"/>
                <a:gd name="T42" fmla="*/ 203 w 395"/>
                <a:gd name="T43" fmla="*/ 14 h 291"/>
                <a:gd name="T44" fmla="*/ 180 w 395"/>
                <a:gd name="T45" fmla="*/ 0 h 291"/>
                <a:gd name="T46" fmla="*/ 170 w 395"/>
                <a:gd name="T47" fmla="*/ 23 h 291"/>
                <a:gd name="T48" fmla="*/ 191 w 395"/>
                <a:gd name="T49" fmla="*/ 33 h 291"/>
                <a:gd name="T50" fmla="*/ 194 w 395"/>
                <a:gd name="T51" fmla="*/ 50 h 291"/>
                <a:gd name="T52" fmla="*/ 177 w 395"/>
                <a:gd name="T53" fmla="*/ 50 h 291"/>
                <a:gd name="T54" fmla="*/ 99 w 395"/>
                <a:gd name="T55" fmla="*/ 62 h 291"/>
                <a:gd name="T56" fmla="*/ 86 w 395"/>
                <a:gd name="T57" fmla="*/ 56 h 291"/>
                <a:gd name="T58" fmla="*/ 56 w 395"/>
                <a:gd name="T59" fmla="*/ 104 h 291"/>
                <a:gd name="T60" fmla="*/ 54 w 395"/>
                <a:gd name="T61" fmla="*/ 150 h 291"/>
                <a:gd name="T62" fmla="*/ 5 w 395"/>
                <a:gd name="T63" fmla="*/ 189 h 291"/>
                <a:gd name="T64" fmla="*/ 17 w 395"/>
                <a:gd name="T65" fmla="*/ 218 h 291"/>
                <a:gd name="T66" fmla="*/ 0 w 395"/>
                <a:gd name="T67" fmla="*/ 234 h 291"/>
                <a:gd name="T68" fmla="*/ 6 w 395"/>
                <a:gd name="T69" fmla="*/ 254 h 291"/>
                <a:gd name="T70" fmla="*/ 72 w 395"/>
                <a:gd name="T71" fmla="*/ 266 h 291"/>
                <a:gd name="T72" fmla="*/ 78 w 395"/>
                <a:gd name="T73" fmla="*/ 291 h 291"/>
                <a:gd name="T74" fmla="*/ 104 w 395"/>
                <a:gd name="T75" fmla="*/ 275 h 291"/>
                <a:gd name="T76" fmla="*/ 150 w 395"/>
                <a:gd name="T77" fmla="*/ 282 h 291"/>
                <a:gd name="T78" fmla="*/ 152 w 395"/>
                <a:gd name="T79" fmla="*/ 263 h 291"/>
                <a:gd name="T80" fmla="*/ 173 w 395"/>
                <a:gd name="T81" fmla="*/ 240 h 291"/>
                <a:gd name="T82" fmla="*/ 207 w 395"/>
                <a:gd name="T83" fmla="*/ 248 h 291"/>
                <a:gd name="T84" fmla="*/ 231 w 395"/>
                <a:gd name="T85" fmla="*/ 236 h 291"/>
                <a:gd name="T86" fmla="*/ 243 w 395"/>
                <a:gd name="T87" fmla="*/ 240 h 291"/>
                <a:gd name="T88" fmla="*/ 257 w 395"/>
                <a:gd name="T89" fmla="*/ 191 h 291"/>
                <a:gd name="T90" fmla="*/ 297 w 395"/>
                <a:gd name="T91" fmla="*/ 19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5" h="291">
                  <a:moveTo>
                    <a:pt x="297" y="195"/>
                  </a:moveTo>
                  <a:lnTo>
                    <a:pt x="308" y="179"/>
                  </a:lnTo>
                  <a:lnTo>
                    <a:pt x="305" y="156"/>
                  </a:lnTo>
                  <a:lnTo>
                    <a:pt x="330" y="164"/>
                  </a:lnTo>
                  <a:lnTo>
                    <a:pt x="359" y="189"/>
                  </a:lnTo>
                  <a:lnTo>
                    <a:pt x="389" y="155"/>
                  </a:lnTo>
                  <a:lnTo>
                    <a:pt x="356" y="126"/>
                  </a:lnTo>
                  <a:lnTo>
                    <a:pt x="380" y="99"/>
                  </a:lnTo>
                  <a:lnTo>
                    <a:pt x="395" y="104"/>
                  </a:lnTo>
                  <a:lnTo>
                    <a:pt x="366" y="74"/>
                  </a:lnTo>
                  <a:lnTo>
                    <a:pt x="350" y="66"/>
                  </a:lnTo>
                  <a:lnTo>
                    <a:pt x="329" y="83"/>
                  </a:lnTo>
                  <a:lnTo>
                    <a:pt x="315" y="30"/>
                  </a:lnTo>
                  <a:lnTo>
                    <a:pt x="287" y="11"/>
                  </a:lnTo>
                  <a:lnTo>
                    <a:pt x="270" y="18"/>
                  </a:lnTo>
                  <a:lnTo>
                    <a:pt x="282" y="65"/>
                  </a:lnTo>
                  <a:lnTo>
                    <a:pt x="267" y="86"/>
                  </a:lnTo>
                  <a:lnTo>
                    <a:pt x="254" y="62"/>
                  </a:lnTo>
                  <a:lnTo>
                    <a:pt x="234" y="71"/>
                  </a:lnTo>
                  <a:lnTo>
                    <a:pt x="257" y="26"/>
                  </a:lnTo>
                  <a:lnTo>
                    <a:pt x="224" y="5"/>
                  </a:lnTo>
                  <a:lnTo>
                    <a:pt x="203" y="14"/>
                  </a:lnTo>
                  <a:lnTo>
                    <a:pt x="180" y="0"/>
                  </a:lnTo>
                  <a:lnTo>
                    <a:pt x="170" y="23"/>
                  </a:lnTo>
                  <a:lnTo>
                    <a:pt x="191" y="33"/>
                  </a:lnTo>
                  <a:lnTo>
                    <a:pt x="194" y="50"/>
                  </a:lnTo>
                  <a:lnTo>
                    <a:pt x="177" y="50"/>
                  </a:lnTo>
                  <a:lnTo>
                    <a:pt x="99" y="62"/>
                  </a:lnTo>
                  <a:lnTo>
                    <a:pt x="86" y="56"/>
                  </a:lnTo>
                  <a:lnTo>
                    <a:pt x="56" y="104"/>
                  </a:lnTo>
                  <a:lnTo>
                    <a:pt x="54" y="150"/>
                  </a:lnTo>
                  <a:lnTo>
                    <a:pt x="5" y="189"/>
                  </a:lnTo>
                  <a:lnTo>
                    <a:pt x="17" y="218"/>
                  </a:lnTo>
                  <a:lnTo>
                    <a:pt x="0" y="234"/>
                  </a:lnTo>
                  <a:lnTo>
                    <a:pt x="6" y="254"/>
                  </a:lnTo>
                  <a:lnTo>
                    <a:pt x="72" y="266"/>
                  </a:lnTo>
                  <a:lnTo>
                    <a:pt x="78" y="291"/>
                  </a:lnTo>
                  <a:lnTo>
                    <a:pt x="104" y="275"/>
                  </a:lnTo>
                  <a:lnTo>
                    <a:pt x="150" y="282"/>
                  </a:lnTo>
                  <a:lnTo>
                    <a:pt x="152" y="263"/>
                  </a:lnTo>
                  <a:lnTo>
                    <a:pt x="173" y="240"/>
                  </a:lnTo>
                  <a:lnTo>
                    <a:pt x="207" y="248"/>
                  </a:lnTo>
                  <a:lnTo>
                    <a:pt x="231" y="236"/>
                  </a:lnTo>
                  <a:lnTo>
                    <a:pt x="243" y="240"/>
                  </a:lnTo>
                  <a:lnTo>
                    <a:pt x="257" y="191"/>
                  </a:lnTo>
                  <a:lnTo>
                    <a:pt x="297" y="195"/>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19" name="Freeform 6209">
              <a:extLst>
                <a:ext uri="{FF2B5EF4-FFF2-40B4-BE49-F238E27FC236}">
                  <a16:creationId xmlns:a16="http://schemas.microsoft.com/office/drawing/2014/main" id="{213AA2FA-9B08-2B54-32A9-52724734A4ED}"/>
                </a:ext>
              </a:extLst>
            </p:cNvPr>
            <p:cNvSpPr>
              <a:spLocks/>
            </p:cNvSpPr>
            <p:nvPr/>
          </p:nvSpPr>
          <p:spPr bwMode="gray">
            <a:xfrm>
              <a:off x="7533925" y="2478918"/>
              <a:ext cx="29462" cy="98090"/>
            </a:xfrm>
            <a:custGeom>
              <a:avLst/>
              <a:gdLst>
                <a:gd name="T0" fmla="*/ 22 w 34"/>
                <a:gd name="T1" fmla="*/ 113 h 123"/>
                <a:gd name="T2" fmla="*/ 0 w 34"/>
                <a:gd name="T3" fmla="*/ 53 h 123"/>
                <a:gd name="T4" fmla="*/ 1 w 34"/>
                <a:gd name="T5" fmla="*/ 0 h 123"/>
                <a:gd name="T6" fmla="*/ 15 w 34"/>
                <a:gd name="T7" fmla="*/ 2 h 123"/>
                <a:gd name="T8" fmla="*/ 18 w 34"/>
                <a:gd name="T9" fmla="*/ 23 h 123"/>
                <a:gd name="T10" fmla="*/ 34 w 34"/>
                <a:gd name="T11" fmla="*/ 72 h 123"/>
                <a:gd name="T12" fmla="*/ 34 w 34"/>
                <a:gd name="T13" fmla="*/ 90 h 123"/>
                <a:gd name="T14" fmla="*/ 33 w 34"/>
                <a:gd name="T15" fmla="*/ 123 h 123"/>
                <a:gd name="T16" fmla="*/ 22 w 34"/>
                <a:gd name="T17"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23">
                  <a:moveTo>
                    <a:pt x="22" y="113"/>
                  </a:moveTo>
                  <a:lnTo>
                    <a:pt x="0" y="53"/>
                  </a:lnTo>
                  <a:lnTo>
                    <a:pt x="1" y="0"/>
                  </a:lnTo>
                  <a:lnTo>
                    <a:pt x="15" y="2"/>
                  </a:lnTo>
                  <a:lnTo>
                    <a:pt x="18" y="23"/>
                  </a:lnTo>
                  <a:lnTo>
                    <a:pt x="34" y="72"/>
                  </a:lnTo>
                  <a:lnTo>
                    <a:pt x="34" y="90"/>
                  </a:lnTo>
                  <a:lnTo>
                    <a:pt x="33" y="123"/>
                  </a:lnTo>
                  <a:lnTo>
                    <a:pt x="22" y="113"/>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20" name="Freeform 6210">
              <a:extLst>
                <a:ext uri="{FF2B5EF4-FFF2-40B4-BE49-F238E27FC236}">
                  <a16:creationId xmlns:a16="http://schemas.microsoft.com/office/drawing/2014/main" id="{038D79DA-44DD-4C9A-FB55-66FBFC5FDB4A}"/>
                </a:ext>
              </a:extLst>
            </p:cNvPr>
            <p:cNvSpPr>
              <a:spLocks/>
            </p:cNvSpPr>
            <p:nvPr/>
          </p:nvSpPr>
          <p:spPr bwMode="gray">
            <a:xfrm>
              <a:off x="7575793" y="2611191"/>
              <a:ext cx="35665" cy="54990"/>
            </a:xfrm>
            <a:custGeom>
              <a:avLst/>
              <a:gdLst>
                <a:gd name="T0" fmla="*/ 6 w 44"/>
                <a:gd name="T1" fmla="*/ 0 h 71"/>
                <a:gd name="T2" fmla="*/ 0 w 44"/>
                <a:gd name="T3" fmla="*/ 14 h 71"/>
                <a:gd name="T4" fmla="*/ 6 w 44"/>
                <a:gd name="T5" fmla="*/ 36 h 71"/>
                <a:gd name="T6" fmla="*/ 23 w 44"/>
                <a:gd name="T7" fmla="*/ 66 h 71"/>
                <a:gd name="T8" fmla="*/ 33 w 44"/>
                <a:gd name="T9" fmla="*/ 71 h 71"/>
                <a:gd name="T10" fmla="*/ 44 w 44"/>
                <a:gd name="T11" fmla="*/ 54 h 71"/>
                <a:gd name="T12" fmla="*/ 30 w 44"/>
                <a:gd name="T13" fmla="*/ 21 h 71"/>
                <a:gd name="T14" fmla="*/ 6 w 44"/>
                <a:gd name="T15" fmla="*/ 0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71">
                  <a:moveTo>
                    <a:pt x="6" y="0"/>
                  </a:moveTo>
                  <a:lnTo>
                    <a:pt x="0" y="14"/>
                  </a:lnTo>
                  <a:lnTo>
                    <a:pt x="6" y="36"/>
                  </a:lnTo>
                  <a:lnTo>
                    <a:pt x="23" y="66"/>
                  </a:lnTo>
                  <a:lnTo>
                    <a:pt x="33" y="71"/>
                  </a:lnTo>
                  <a:lnTo>
                    <a:pt x="44" y="54"/>
                  </a:lnTo>
                  <a:lnTo>
                    <a:pt x="30" y="21"/>
                  </a:lnTo>
                  <a:lnTo>
                    <a:pt x="6" y="0"/>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21" name="Freeform 6211">
              <a:extLst>
                <a:ext uri="{FF2B5EF4-FFF2-40B4-BE49-F238E27FC236}">
                  <a16:creationId xmlns:a16="http://schemas.microsoft.com/office/drawing/2014/main" id="{FC16CA89-B9E0-4ECE-EE95-9FC069FD94C8}"/>
                </a:ext>
              </a:extLst>
            </p:cNvPr>
            <p:cNvSpPr>
              <a:spLocks/>
            </p:cNvSpPr>
            <p:nvPr/>
          </p:nvSpPr>
          <p:spPr bwMode="gray">
            <a:xfrm>
              <a:off x="7459494" y="2679557"/>
              <a:ext cx="66678" cy="71338"/>
            </a:xfrm>
            <a:custGeom>
              <a:avLst/>
              <a:gdLst>
                <a:gd name="T0" fmla="*/ 3 w 81"/>
                <a:gd name="T1" fmla="*/ 36 h 93"/>
                <a:gd name="T2" fmla="*/ 0 w 81"/>
                <a:gd name="T3" fmla="*/ 16 h 93"/>
                <a:gd name="T4" fmla="*/ 3 w 81"/>
                <a:gd name="T5" fmla="*/ 0 h 93"/>
                <a:gd name="T6" fmla="*/ 13 w 81"/>
                <a:gd name="T7" fmla="*/ 0 h 93"/>
                <a:gd name="T8" fmla="*/ 27 w 81"/>
                <a:gd name="T9" fmla="*/ 16 h 93"/>
                <a:gd name="T10" fmla="*/ 54 w 81"/>
                <a:gd name="T11" fmla="*/ 37 h 93"/>
                <a:gd name="T12" fmla="*/ 79 w 81"/>
                <a:gd name="T13" fmla="*/ 61 h 93"/>
                <a:gd name="T14" fmla="*/ 81 w 81"/>
                <a:gd name="T15" fmla="*/ 75 h 93"/>
                <a:gd name="T16" fmla="*/ 75 w 81"/>
                <a:gd name="T17" fmla="*/ 85 h 93"/>
                <a:gd name="T18" fmla="*/ 67 w 81"/>
                <a:gd name="T19" fmla="*/ 93 h 93"/>
                <a:gd name="T20" fmla="*/ 57 w 81"/>
                <a:gd name="T21" fmla="*/ 91 h 93"/>
                <a:gd name="T22" fmla="*/ 16 w 81"/>
                <a:gd name="T23" fmla="*/ 51 h 93"/>
                <a:gd name="T24" fmla="*/ 3 w 81"/>
                <a:gd name="T25" fmla="*/ 3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3">
                  <a:moveTo>
                    <a:pt x="3" y="36"/>
                  </a:moveTo>
                  <a:lnTo>
                    <a:pt x="0" y="16"/>
                  </a:lnTo>
                  <a:lnTo>
                    <a:pt x="3" y="0"/>
                  </a:lnTo>
                  <a:lnTo>
                    <a:pt x="13" y="0"/>
                  </a:lnTo>
                  <a:lnTo>
                    <a:pt x="27" y="16"/>
                  </a:lnTo>
                  <a:lnTo>
                    <a:pt x="54" y="37"/>
                  </a:lnTo>
                  <a:lnTo>
                    <a:pt x="79" y="61"/>
                  </a:lnTo>
                  <a:lnTo>
                    <a:pt x="81" y="75"/>
                  </a:lnTo>
                  <a:lnTo>
                    <a:pt x="75" y="85"/>
                  </a:lnTo>
                  <a:lnTo>
                    <a:pt x="67" y="93"/>
                  </a:lnTo>
                  <a:lnTo>
                    <a:pt x="57" y="91"/>
                  </a:lnTo>
                  <a:lnTo>
                    <a:pt x="16" y="51"/>
                  </a:lnTo>
                  <a:lnTo>
                    <a:pt x="3" y="36"/>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22" name="Freeform 6212">
              <a:extLst>
                <a:ext uri="{FF2B5EF4-FFF2-40B4-BE49-F238E27FC236}">
                  <a16:creationId xmlns:a16="http://schemas.microsoft.com/office/drawing/2014/main" id="{8557AF71-AA0A-727B-FA1A-72F2B691641D}"/>
                </a:ext>
              </a:extLst>
            </p:cNvPr>
            <p:cNvSpPr>
              <a:spLocks/>
            </p:cNvSpPr>
            <p:nvPr/>
          </p:nvSpPr>
          <p:spPr bwMode="gray">
            <a:xfrm>
              <a:off x="7644021" y="2798455"/>
              <a:ext cx="308579" cy="260088"/>
            </a:xfrm>
            <a:custGeom>
              <a:avLst/>
              <a:gdLst>
                <a:gd name="T0" fmla="*/ 7 w 370"/>
                <a:gd name="T1" fmla="*/ 150 h 330"/>
                <a:gd name="T2" fmla="*/ 0 w 370"/>
                <a:gd name="T3" fmla="*/ 133 h 330"/>
                <a:gd name="T4" fmla="*/ 10 w 370"/>
                <a:gd name="T5" fmla="*/ 126 h 330"/>
                <a:gd name="T6" fmla="*/ 24 w 370"/>
                <a:gd name="T7" fmla="*/ 145 h 330"/>
                <a:gd name="T8" fmla="*/ 37 w 370"/>
                <a:gd name="T9" fmla="*/ 138 h 330"/>
                <a:gd name="T10" fmla="*/ 36 w 370"/>
                <a:gd name="T11" fmla="*/ 105 h 330"/>
                <a:gd name="T12" fmla="*/ 27 w 370"/>
                <a:gd name="T13" fmla="*/ 69 h 330"/>
                <a:gd name="T14" fmla="*/ 6 w 370"/>
                <a:gd name="T15" fmla="*/ 49 h 330"/>
                <a:gd name="T16" fmla="*/ 36 w 370"/>
                <a:gd name="T17" fmla="*/ 52 h 330"/>
                <a:gd name="T18" fmla="*/ 63 w 370"/>
                <a:gd name="T19" fmla="*/ 81 h 330"/>
                <a:gd name="T20" fmla="*/ 105 w 370"/>
                <a:gd name="T21" fmla="*/ 36 h 330"/>
                <a:gd name="T22" fmla="*/ 121 w 370"/>
                <a:gd name="T23" fmla="*/ 25 h 330"/>
                <a:gd name="T24" fmla="*/ 138 w 370"/>
                <a:gd name="T25" fmla="*/ 3 h 330"/>
                <a:gd name="T26" fmla="*/ 148 w 370"/>
                <a:gd name="T27" fmla="*/ 0 h 330"/>
                <a:gd name="T28" fmla="*/ 148 w 370"/>
                <a:gd name="T29" fmla="*/ 24 h 330"/>
                <a:gd name="T30" fmla="*/ 106 w 370"/>
                <a:gd name="T31" fmla="*/ 82 h 330"/>
                <a:gd name="T32" fmla="*/ 106 w 370"/>
                <a:gd name="T33" fmla="*/ 96 h 330"/>
                <a:gd name="T34" fmla="*/ 151 w 370"/>
                <a:gd name="T35" fmla="*/ 94 h 330"/>
                <a:gd name="T36" fmla="*/ 169 w 370"/>
                <a:gd name="T37" fmla="*/ 93 h 330"/>
                <a:gd name="T38" fmla="*/ 195 w 370"/>
                <a:gd name="T39" fmla="*/ 117 h 330"/>
                <a:gd name="T40" fmla="*/ 196 w 370"/>
                <a:gd name="T41" fmla="*/ 132 h 330"/>
                <a:gd name="T42" fmla="*/ 190 w 370"/>
                <a:gd name="T43" fmla="*/ 144 h 330"/>
                <a:gd name="T44" fmla="*/ 208 w 370"/>
                <a:gd name="T45" fmla="*/ 142 h 330"/>
                <a:gd name="T46" fmla="*/ 241 w 370"/>
                <a:gd name="T47" fmla="*/ 150 h 330"/>
                <a:gd name="T48" fmla="*/ 271 w 370"/>
                <a:gd name="T49" fmla="*/ 156 h 330"/>
                <a:gd name="T50" fmla="*/ 301 w 370"/>
                <a:gd name="T51" fmla="*/ 144 h 330"/>
                <a:gd name="T52" fmla="*/ 319 w 370"/>
                <a:gd name="T53" fmla="*/ 136 h 330"/>
                <a:gd name="T54" fmla="*/ 339 w 370"/>
                <a:gd name="T55" fmla="*/ 141 h 330"/>
                <a:gd name="T56" fmla="*/ 354 w 370"/>
                <a:gd name="T57" fmla="*/ 166 h 330"/>
                <a:gd name="T58" fmla="*/ 358 w 370"/>
                <a:gd name="T59" fmla="*/ 211 h 330"/>
                <a:gd name="T60" fmla="*/ 363 w 370"/>
                <a:gd name="T61" fmla="*/ 229 h 330"/>
                <a:gd name="T62" fmla="*/ 354 w 370"/>
                <a:gd name="T63" fmla="*/ 259 h 330"/>
                <a:gd name="T64" fmla="*/ 361 w 370"/>
                <a:gd name="T65" fmla="*/ 274 h 330"/>
                <a:gd name="T66" fmla="*/ 370 w 370"/>
                <a:gd name="T67" fmla="*/ 306 h 330"/>
                <a:gd name="T68" fmla="*/ 351 w 370"/>
                <a:gd name="T69" fmla="*/ 315 h 330"/>
                <a:gd name="T70" fmla="*/ 340 w 370"/>
                <a:gd name="T71" fmla="*/ 330 h 330"/>
                <a:gd name="T72" fmla="*/ 334 w 370"/>
                <a:gd name="T73" fmla="*/ 318 h 330"/>
                <a:gd name="T74" fmla="*/ 333 w 370"/>
                <a:gd name="T75" fmla="*/ 273 h 330"/>
                <a:gd name="T76" fmla="*/ 318 w 370"/>
                <a:gd name="T77" fmla="*/ 247 h 330"/>
                <a:gd name="T78" fmla="*/ 331 w 370"/>
                <a:gd name="T79" fmla="*/ 187 h 330"/>
                <a:gd name="T80" fmla="*/ 330 w 370"/>
                <a:gd name="T81" fmla="*/ 162 h 330"/>
                <a:gd name="T82" fmla="*/ 303 w 370"/>
                <a:gd name="T83" fmla="*/ 165 h 330"/>
                <a:gd name="T84" fmla="*/ 241 w 370"/>
                <a:gd name="T85" fmla="*/ 198 h 330"/>
                <a:gd name="T86" fmla="*/ 214 w 370"/>
                <a:gd name="T87" fmla="*/ 199 h 330"/>
                <a:gd name="T88" fmla="*/ 187 w 370"/>
                <a:gd name="T89" fmla="*/ 192 h 330"/>
                <a:gd name="T90" fmla="*/ 174 w 370"/>
                <a:gd name="T91" fmla="*/ 183 h 330"/>
                <a:gd name="T92" fmla="*/ 157 w 370"/>
                <a:gd name="T93" fmla="*/ 184 h 330"/>
                <a:gd name="T94" fmla="*/ 136 w 370"/>
                <a:gd name="T95" fmla="*/ 178 h 330"/>
                <a:gd name="T96" fmla="*/ 132 w 370"/>
                <a:gd name="T97" fmla="*/ 162 h 330"/>
                <a:gd name="T98" fmla="*/ 148 w 370"/>
                <a:gd name="T99" fmla="*/ 151 h 330"/>
                <a:gd name="T100" fmla="*/ 163 w 370"/>
                <a:gd name="T101" fmla="*/ 147 h 330"/>
                <a:gd name="T102" fmla="*/ 181 w 370"/>
                <a:gd name="T103" fmla="*/ 142 h 330"/>
                <a:gd name="T104" fmla="*/ 165 w 370"/>
                <a:gd name="T105" fmla="*/ 133 h 330"/>
                <a:gd name="T106" fmla="*/ 121 w 370"/>
                <a:gd name="T107" fmla="*/ 135 h 330"/>
                <a:gd name="T108" fmla="*/ 73 w 370"/>
                <a:gd name="T109" fmla="*/ 136 h 330"/>
                <a:gd name="T110" fmla="*/ 51 w 370"/>
                <a:gd name="T111" fmla="*/ 157 h 330"/>
                <a:gd name="T112" fmla="*/ 34 w 370"/>
                <a:gd name="T113" fmla="*/ 177 h 330"/>
                <a:gd name="T114" fmla="*/ 16 w 370"/>
                <a:gd name="T115" fmla="*/ 178 h 330"/>
                <a:gd name="T116" fmla="*/ 4 w 370"/>
                <a:gd name="T117" fmla="*/ 169 h 330"/>
                <a:gd name="T118" fmla="*/ 7 w 370"/>
                <a:gd name="T119" fmla="*/ 15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330">
                  <a:moveTo>
                    <a:pt x="7" y="150"/>
                  </a:moveTo>
                  <a:lnTo>
                    <a:pt x="0" y="133"/>
                  </a:lnTo>
                  <a:lnTo>
                    <a:pt x="10" y="126"/>
                  </a:lnTo>
                  <a:lnTo>
                    <a:pt x="24" y="145"/>
                  </a:lnTo>
                  <a:lnTo>
                    <a:pt x="37" y="138"/>
                  </a:lnTo>
                  <a:lnTo>
                    <a:pt x="36" y="105"/>
                  </a:lnTo>
                  <a:lnTo>
                    <a:pt x="27" y="69"/>
                  </a:lnTo>
                  <a:lnTo>
                    <a:pt x="6" y="49"/>
                  </a:lnTo>
                  <a:lnTo>
                    <a:pt x="36" y="52"/>
                  </a:lnTo>
                  <a:lnTo>
                    <a:pt x="63" y="81"/>
                  </a:lnTo>
                  <a:lnTo>
                    <a:pt x="105" y="36"/>
                  </a:lnTo>
                  <a:lnTo>
                    <a:pt x="121" y="25"/>
                  </a:lnTo>
                  <a:lnTo>
                    <a:pt x="138" y="3"/>
                  </a:lnTo>
                  <a:lnTo>
                    <a:pt x="148" y="0"/>
                  </a:lnTo>
                  <a:lnTo>
                    <a:pt x="148" y="24"/>
                  </a:lnTo>
                  <a:lnTo>
                    <a:pt x="106" y="82"/>
                  </a:lnTo>
                  <a:lnTo>
                    <a:pt x="106" y="96"/>
                  </a:lnTo>
                  <a:lnTo>
                    <a:pt x="151" y="94"/>
                  </a:lnTo>
                  <a:lnTo>
                    <a:pt x="169" y="93"/>
                  </a:lnTo>
                  <a:lnTo>
                    <a:pt x="195" y="117"/>
                  </a:lnTo>
                  <a:lnTo>
                    <a:pt x="196" y="132"/>
                  </a:lnTo>
                  <a:lnTo>
                    <a:pt x="190" y="144"/>
                  </a:lnTo>
                  <a:lnTo>
                    <a:pt x="208" y="142"/>
                  </a:lnTo>
                  <a:lnTo>
                    <a:pt x="241" y="150"/>
                  </a:lnTo>
                  <a:lnTo>
                    <a:pt x="271" y="156"/>
                  </a:lnTo>
                  <a:lnTo>
                    <a:pt x="301" y="144"/>
                  </a:lnTo>
                  <a:lnTo>
                    <a:pt x="319" y="136"/>
                  </a:lnTo>
                  <a:lnTo>
                    <a:pt x="339" y="141"/>
                  </a:lnTo>
                  <a:lnTo>
                    <a:pt x="354" y="166"/>
                  </a:lnTo>
                  <a:lnTo>
                    <a:pt x="358" y="211"/>
                  </a:lnTo>
                  <a:lnTo>
                    <a:pt x="363" y="229"/>
                  </a:lnTo>
                  <a:lnTo>
                    <a:pt x="354" y="259"/>
                  </a:lnTo>
                  <a:lnTo>
                    <a:pt x="361" y="274"/>
                  </a:lnTo>
                  <a:lnTo>
                    <a:pt x="370" y="306"/>
                  </a:lnTo>
                  <a:lnTo>
                    <a:pt x="351" y="315"/>
                  </a:lnTo>
                  <a:lnTo>
                    <a:pt x="340" y="330"/>
                  </a:lnTo>
                  <a:lnTo>
                    <a:pt x="334" y="318"/>
                  </a:lnTo>
                  <a:lnTo>
                    <a:pt x="333" y="273"/>
                  </a:lnTo>
                  <a:lnTo>
                    <a:pt x="318" y="247"/>
                  </a:lnTo>
                  <a:lnTo>
                    <a:pt x="331" y="187"/>
                  </a:lnTo>
                  <a:lnTo>
                    <a:pt x="330" y="162"/>
                  </a:lnTo>
                  <a:lnTo>
                    <a:pt x="303" y="165"/>
                  </a:lnTo>
                  <a:lnTo>
                    <a:pt x="241" y="198"/>
                  </a:lnTo>
                  <a:lnTo>
                    <a:pt x="214" y="199"/>
                  </a:lnTo>
                  <a:lnTo>
                    <a:pt x="187" y="192"/>
                  </a:lnTo>
                  <a:lnTo>
                    <a:pt x="174" y="183"/>
                  </a:lnTo>
                  <a:lnTo>
                    <a:pt x="157" y="184"/>
                  </a:lnTo>
                  <a:lnTo>
                    <a:pt x="136" y="178"/>
                  </a:lnTo>
                  <a:lnTo>
                    <a:pt x="132" y="162"/>
                  </a:lnTo>
                  <a:lnTo>
                    <a:pt x="148" y="151"/>
                  </a:lnTo>
                  <a:lnTo>
                    <a:pt x="163" y="147"/>
                  </a:lnTo>
                  <a:lnTo>
                    <a:pt x="181" y="142"/>
                  </a:lnTo>
                  <a:lnTo>
                    <a:pt x="165" y="133"/>
                  </a:lnTo>
                  <a:lnTo>
                    <a:pt x="121" y="135"/>
                  </a:lnTo>
                  <a:lnTo>
                    <a:pt x="73" y="136"/>
                  </a:lnTo>
                  <a:lnTo>
                    <a:pt x="51" y="157"/>
                  </a:lnTo>
                  <a:lnTo>
                    <a:pt x="34" y="177"/>
                  </a:lnTo>
                  <a:lnTo>
                    <a:pt x="16" y="178"/>
                  </a:lnTo>
                  <a:lnTo>
                    <a:pt x="4" y="169"/>
                  </a:lnTo>
                  <a:lnTo>
                    <a:pt x="7" y="150"/>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23" name="Freeform 6213">
              <a:extLst>
                <a:ext uri="{FF2B5EF4-FFF2-40B4-BE49-F238E27FC236}">
                  <a16:creationId xmlns:a16="http://schemas.microsoft.com/office/drawing/2014/main" id="{57CA5535-3619-FF2F-0983-E725B5F6F888}"/>
                </a:ext>
              </a:extLst>
            </p:cNvPr>
            <p:cNvSpPr>
              <a:spLocks/>
            </p:cNvSpPr>
            <p:nvPr/>
          </p:nvSpPr>
          <p:spPr bwMode="gray">
            <a:xfrm>
              <a:off x="7842504" y="4023098"/>
              <a:ext cx="358199" cy="569222"/>
            </a:xfrm>
            <a:custGeom>
              <a:avLst/>
              <a:gdLst>
                <a:gd name="T0" fmla="*/ 252 w 432"/>
                <a:gd name="T1" fmla="*/ 142 h 718"/>
                <a:gd name="T2" fmla="*/ 252 w 432"/>
                <a:gd name="T3" fmla="*/ 110 h 718"/>
                <a:gd name="T4" fmla="*/ 286 w 432"/>
                <a:gd name="T5" fmla="*/ 68 h 718"/>
                <a:gd name="T6" fmla="*/ 296 w 432"/>
                <a:gd name="T7" fmla="*/ 44 h 718"/>
                <a:gd name="T8" fmla="*/ 324 w 432"/>
                <a:gd name="T9" fmla="*/ 40 h 718"/>
                <a:gd name="T10" fmla="*/ 354 w 432"/>
                <a:gd name="T11" fmla="*/ 56 h 718"/>
                <a:gd name="T12" fmla="*/ 362 w 432"/>
                <a:gd name="T13" fmla="*/ 44 h 718"/>
                <a:gd name="T14" fmla="*/ 372 w 432"/>
                <a:gd name="T15" fmla="*/ 36 h 718"/>
                <a:gd name="T16" fmla="*/ 370 w 432"/>
                <a:gd name="T17" fmla="*/ 20 h 718"/>
                <a:gd name="T18" fmla="*/ 384 w 432"/>
                <a:gd name="T19" fmla="*/ 12 h 718"/>
                <a:gd name="T20" fmla="*/ 406 w 432"/>
                <a:gd name="T21" fmla="*/ 0 h 718"/>
                <a:gd name="T22" fmla="*/ 432 w 432"/>
                <a:gd name="T23" fmla="*/ 26 h 718"/>
                <a:gd name="T24" fmla="*/ 432 w 432"/>
                <a:gd name="T25" fmla="*/ 52 h 718"/>
                <a:gd name="T26" fmla="*/ 410 w 432"/>
                <a:gd name="T27" fmla="*/ 64 h 718"/>
                <a:gd name="T28" fmla="*/ 388 w 432"/>
                <a:gd name="T29" fmla="*/ 68 h 718"/>
                <a:gd name="T30" fmla="*/ 372 w 432"/>
                <a:gd name="T31" fmla="*/ 72 h 718"/>
                <a:gd name="T32" fmla="*/ 346 w 432"/>
                <a:gd name="T33" fmla="*/ 108 h 718"/>
                <a:gd name="T34" fmla="*/ 320 w 432"/>
                <a:gd name="T35" fmla="*/ 128 h 718"/>
                <a:gd name="T36" fmla="*/ 300 w 432"/>
                <a:gd name="T37" fmla="*/ 134 h 718"/>
                <a:gd name="T38" fmla="*/ 270 w 432"/>
                <a:gd name="T39" fmla="*/ 172 h 718"/>
                <a:gd name="T40" fmla="*/ 290 w 432"/>
                <a:gd name="T41" fmla="*/ 206 h 718"/>
                <a:gd name="T42" fmla="*/ 296 w 432"/>
                <a:gd name="T43" fmla="*/ 248 h 718"/>
                <a:gd name="T44" fmla="*/ 310 w 432"/>
                <a:gd name="T45" fmla="*/ 280 h 718"/>
                <a:gd name="T46" fmla="*/ 288 w 432"/>
                <a:gd name="T47" fmla="*/ 318 h 718"/>
                <a:gd name="T48" fmla="*/ 230 w 432"/>
                <a:gd name="T49" fmla="*/ 384 h 718"/>
                <a:gd name="T50" fmla="*/ 196 w 432"/>
                <a:gd name="T51" fmla="*/ 420 h 718"/>
                <a:gd name="T52" fmla="*/ 152 w 432"/>
                <a:gd name="T53" fmla="*/ 462 h 718"/>
                <a:gd name="T54" fmla="*/ 134 w 432"/>
                <a:gd name="T55" fmla="*/ 492 h 718"/>
                <a:gd name="T56" fmla="*/ 142 w 432"/>
                <a:gd name="T57" fmla="*/ 540 h 718"/>
                <a:gd name="T58" fmla="*/ 160 w 432"/>
                <a:gd name="T59" fmla="*/ 590 h 718"/>
                <a:gd name="T60" fmla="*/ 156 w 432"/>
                <a:gd name="T61" fmla="*/ 628 h 718"/>
                <a:gd name="T62" fmla="*/ 122 w 432"/>
                <a:gd name="T63" fmla="*/ 672 h 718"/>
                <a:gd name="T64" fmla="*/ 110 w 432"/>
                <a:gd name="T65" fmla="*/ 668 h 718"/>
                <a:gd name="T66" fmla="*/ 92 w 432"/>
                <a:gd name="T67" fmla="*/ 700 h 718"/>
                <a:gd name="T68" fmla="*/ 114 w 432"/>
                <a:gd name="T69" fmla="*/ 714 h 718"/>
                <a:gd name="T70" fmla="*/ 90 w 432"/>
                <a:gd name="T71" fmla="*/ 718 h 718"/>
                <a:gd name="T72" fmla="*/ 68 w 432"/>
                <a:gd name="T73" fmla="*/ 700 h 718"/>
                <a:gd name="T74" fmla="*/ 68 w 432"/>
                <a:gd name="T75" fmla="*/ 642 h 718"/>
                <a:gd name="T76" fmla="*/ 90 w 432"/>
                <a:gd name="T77" fmla="*/ 628 h 718"/>
                <a:gd name="T78" fmla="*/ 98 w 432"/>
                <a:gd name="T79" fmla="*/ 568 h 718"/>
                <a:gd name="T80" fmla="*/ 78 w 432"/>
                <a:gd name="T81" fmla="*/ 528 h 718"/>
                <a:gd name="T82" fmla="*/ 44 w 432"/>
                <a:gd name="T83" fmla="*/ 496 h 718"/>
                <a:gd name="T84" fmla="*/ 0 w 432"/>
                <a:gd name="T85" fmla="*/ 442 h 718"/>
                <a:gd name="T86" fmla="*/ 4 w 432"/>
                <a:gd name="T87" fmla="*/ 424 h 718"/>
                <a:gd name="T88" fmla="*/ 14 w 432"/>
                <a:gd name="T89" fmla="*/ 418 h 718"/>
                <a:gd name="T90" fmla="*/ 26 w 432"/>
                <a:gd name="T91" fmla="*/ 416 h 718"/>
                <a:gd name="T92" fmla="*/ 66 w 432"/>
                <a:gd name="T93" fmla="*/ 436 h 718"/>
                <a:gd name="T94" fmla="*/ 96 w 432"/>
                <a:gd name="T95" fmla="*/ 458 h 718"/>
                <a:gd name="T96" fmla="*/ 98 w 432"/>
                <a:gd name="T97" fmla="*/ 424 h 718"/>
                <a:gd name="T98" fmla="*/ 162 w 432"/>
                <a:gd name="T99" fmla="*/ 392 h 718"/>
                <a:gd name="T100" fmla="*/ 168 w 432"/>
                <a:gd name="T101" fmla="*/ 374 h 718"/>
                <a:gd name="T102" fmla="*/ 220 w 432"/>
                <a:gd name="T103" fmla="*/ 288 h 718"/>
                <a:gd name="T104" fmla="*/ 254 w 432"/>
                <a:gd name="T105" fmla="*/ 262 h 718"/>
                <a:gd name="T106" fmla="*/ 260 w 432"/>
                <a:gd name="T107" fmla="*/ 248 h 718"/>
                <a:gd name="T108" fmla="*/ 244 w 432"/>
                <a:gd name="T109" fmla="*/ 192 h 718"/>
                <a:gd name="T110" fmla="*/ 252 w 432"/>
                <a:gd name="T111" fmla="*/ 142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2" h="718">
                  <a:moveTo>
                    <a:pt x="252" y="142"/>
                  </a:moveTo>
                  <a:lnTo>
                    <a:pt x="252" y="110"/>
                  </a:lnTo>
                  <a:lnTo>
                    <a:pt x="286" y="68"/>
                  </a:lnTo>
                  <a:lnTo>
                    <a:pt x="296" y="44"/>
                  </a:lnTo>
                  <a:lnTo>
                    <a:pt x="324" y="40"/>
                  </a:lnTo>
                  <a:lnTo>
                    <a:pt x="354" y="56"/>
                  </a:lnTo>
                  <a:lnTo>
                    <a:pt x="362" y="44"/>
                  </a:lnTo>
                  <a:lnTo>
                    <a:pt x="372" y="36"/>
                  </a:lnTo>
                  <a:lnTo>
                    <a:pt x="370" y="20"/>
                  </a:lnTo>
                  <a:lnTo>
                    <a:pt x="384" y="12"/>
                  </a:lnTo>
                  <a:lnTo>
                    <a:pt x="406" y="0"/>
                  </a:lnTo>
                  <a:lnTo>
                    <a:pt x="432" y="26"/>
                  </a:lnTo>
                  <a:lnTo>
                    <a:pt x="432" y="52"/>
                  </a:lnTo>
                  <a:lnTo>
                    <a:pt x="410" y="64"/>
                  </a:lnTo>
                  <a:lnTo>
                    <a:pt x="388" y="68"/>
                  </a:lnTo>
                  <a:lnTo>
                    <a:pt x="372" y="72"/>
                  </a:lnTo>
                  <a:lnTo>
                    <a:pt x="346" y="108"/>
                  </a:lnTo>
                  <a:lnTo>
                    <a:pt x="320" y="128"/>
                  </a:lnTo>
                  <a:lnTo>
                    <a:pt x="300" y="134"/>
                  </a:lnTo>
                  <a:lnTo>
                    <a:pt x="270" y="172"/>
                  </a:lnTo>
                  <a:lnTo>
                    <a:pt x="290" y="206"/>
                  </a:lnTo>
                  <a:lnTo>
                    <a:pt x="296" y="248"/>
                  </a:lnTo>
                  <a:lnTo>
                    <a:pt x="310" y="280"/>
                  </a:lnTo>
                  <a:lnTo>
                    <a:pt x="288" y="318"/>
                  </a:lnTo>
                  <a:lnTo>
                    <a:pt x="230" y="384"/>
                  </a:lnTo>
                  <a:lnTo>
                    <a:pt x="196" y="420"/>
                  </a:lnTo>
                  <a:lnTo>
                    <a:pt x="152" y="462"/>
                  </a:lnTo>
                  <a:lnTo>
                    <a:pt x="134" y="492"/>
                  </a:lnTo>
                  <a:lnTo>
                    <a:pt x="142" y="540"/>
                  </a:lnTo>
                  <a:lnTo>
                    <a:pt x="160" y="590"/>
                  </a:lnTo>
                  <a:lnTo>
                    <a:pt x="156" y="628"/>
                  </a:lnTo>
                  <a:lnTo>
                    <a:pt x="122" y="672"/>
                  </a:lnTo>
                  <a:lnTo>
                    <a:pt x="110" y="668"/>
                  </a:lnTo>
                  <a:lnTo>
                    <a:pt x="92" y="700"/>
                  </a:lnTo>
                  <a:lnTo>
                    <a:pt x="114" y="714"/>
                  </a:lnTo>
                  <a:lnTo>
                    <a:pt x="90" y="718"/>
                  </a:lnTo>
                  <a:lnTo>
                    <a:pt x="68" y="700"/>
                  </a:lnTo>
                  <a:lnTo>
                    <a:pt x="68" y="642"/>
                  </a:lnTo>
                  <a:lnTo>
                    <a:pt x="90" y="628"/>
                  </a:lnTo>
                  <a:lnTo>
                    <a:pt x="98" y="568"/>
                  </a:lnTo>
                  <a:lnTo>
                    <a:pt x="78" y="528"/>
                  </a:lnTo>
                  <a:lnTo>
                    <a:pt x="44" y="496"/>
                  </a:lnTo>
                  <a:lnTo>
                    <a:pt x="0" y="442"/>
                  </a:lnTo>
                  <a:lnTo>
                    <a:pt x="4" y="424"/>
                  </a:lnTo>
                  <a:lnTo>
                    <a:pt x="14" y="418"/>
                  </a:lnTo>
                  <a:lnTo>
                    <a:pt x="26" y="416"/>
                  </a:lnTo>
                  <a:lnTo>
                    <a:pt x="66" y="436"/>
                  </a:lnTo>
                  <a:lnTo>
                    <a:pt x="96" y="458"/>
                  </a:lnTo>
                  <a:lnTo>
                    <a:pt x="98" y="424"/>
                  </a:lnTo>
                  <a:lnTo>
                    <a:pt x="162" y="392"/>
                  </a:lnTo>
                  <a:lnTo>
                    <a:pt x="168" y="374"/>
                  </a:lnTo>
                  <a:lnTo>
                    <a:pt x="220" y="288"/>
                  </a:lnTo>
                  <a:lnTo>
                    <a:pt x="254" y="262"/>
                  </a:lnTo>
                  <a:lnTo>
                    <a:pt x="260" y="248"/>
                  </a:lnTo>
                  <a:lnTo>
                    <a:pt x="244" y="192"/>
                  </a:lnTo>
                  <a:lnTo>
                    <a:pt x="252" y="142"/>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24" name="Freeform 6214">
              <a:extLst>
                <a:ext uri="{FF2B5EF4-FFF2-40B4-BE49-F238E27FC236}">
                  <a16:creationId xmlns:a16="http://schemas.microsoft.com/office/drawing/2014/main" id="{6253037B-50CB-97FD-4C82-4C1293DEBC73}"/>
                </a:ext>
              </a:extLst>
            </p:cNvPr>
            <p:cNvSpPr>
              <a:spLocks/>
            </p:cNvSpPr>
            <p:nvPr/>
          </p:nvSpPr>
          <p:spPr bwMode="gray">
            <a:xfrm>
              <a:off x="8223963" y="4211848"/>
              <a:ext cx="245002" cy="181319"/>
            </a:xfrm>
            <a:custGeom>
              <a:avLst/>
              <a:gdLst>
                <a:gd name="T0" fmla="*/ 294 w 294"/>
                <a:gd name="T1" fmla="*/ 12 h 232"/>
                <a:gd name="T2" fmla="*/ 288 w 294"/>
                <a:gd name="T3" fmla="*/ 0 h 232"/>
                <a:gd name="T4" fmla="*/ 274 w 294"/>
                <a:gd name="T5" fmla="*/ 4 h 232"/>
                <a:gd name="T6" fmla="*/ 256 w 294"/>
                <a:gd name="T7" fmla="*/ 24 h 232"/>
                <a:gd name="T8" fmla="*/ 220 w 294"/>
                <a:gd name="T9" fmla="*/ 32 h 232"/>
                <a:gd name="T10" fmla="*/ 178 w 294"/>
                <a:gd name="T11" fmla="*/ 30 h 232"/>
                <a:gd name="T12" fmla="*/ 168 w 294"/>
                <a:gd name="T13" fmla="*/ 36 h 232"/>
                <a:gd name="T14" fmla="*/ 126 w 294"/>
                <a:gd name="T15" fmla="*/ 74 h 232"/>
                <a:gd name="T16" fmla="*/ 102 w 294"/>
                <a:gd name="T17" fmla="*/ 56 h 232"/>
                <a:gd name="T18" fmla="*/ 78 w 294"/>
                <a:gd name="T19" fmla="*/ 78 h 232"/>
                <a:gd name="T20" fmla="*/ 86 w 294"/>
                <a:gd name="T21" fmla="*/ 98 h 232"/>
                <a:gd name="T22" fmla="*/ 84 w 294"/>
                <a:gd name="T23" fmla="*/ 150 h 232"/>
                <a:gd name="T24" fmla="*/ 60 w 294"/>
                <a:gd name="T25" fmla="*/ 184 h 232"/>
                <a:gd name="T26" fmla="*/ 42 w 294"/>
                <a:gd name="T27" fmla="*/ 202 h 232"/>
                <a:gd name="T28" fmla="*/ 32 w 294"/>
                <a:gd name="T29" fmla="*/ 164 h 232"/>
                <a:gd name="T30" fmla="*/ 36 w 294"/>
                <a:gd name="T31" fmla="*/ 134 h 232"/>
                <a:gd name="T32" fmla="*/ 42 w 294"/>
                <a:gd name="T33" fmla="*/ 102 h 232"/>
                <a:gd name="T34" fmla="*/ 50 w 294"/>
                <a:gd name="T35" fmla="*/ 80 h 232"/>
                <a:gd name="T36" fmla="*/ 42 w 294"/>
                <a:gd name="T37" fmla="*/ 70 h 232"/>
                <a:gd name="T38" fmla="*/ 28 w 294"/>
                <a:gd name="T39" fmla="*/ 90 h 232"/>
                <a:gd name="T40" fmla="*/ 16 w 294"/>
                <a:gd name="T41" fmla="*/ 124 h 232"/>
                <a:gd name="T42" fmla="*/ 18 w 294"/>
                <a:gd name="T43" fmla="*/ 136 h 232"/>
                <a:gd name="T44" fmla="*/ 0 w 294"/>
                <a:gd name="T45" fmla="*/ 148 h 232"/>
                <a:gd name="T46" fmla="*/ 20 w 294"/>
                <a:gd name="T47" fmla="*/ 162 h 232"/>
                <a:gd name="T48" fmla="*/ 20 w 294"/>
                <a:gd name="T49" fmla="*/ 210 h 232"/>
                <a:gd name="T50" fmla="*/ 54 w 294"/>
                <a:gd name="T51" fmla="*/ 224 h 232"/>
                <a:gd name="T52" fmla="*/ 62 w 294"/>
                <a:gd name="T53" fmla="*/ 208 h 232"/>
                <a:gd name="T54" fmla="*/ 94 w 294"/>
                <a:gd name="T55" fmla="*/ 172 h 232"/>
                <a:gd name="T56" fmla="*/ 108 w 294"/>
                <a:gd name="T57" fmla="*/ 192 h 232"/>
                <a:gd name="T58" fmla="*/ 114 w 294"/>
                <a:gd name="T59" fmla="*/ 204 h 232"/>
                <a:gd name="T60" fmla="*/ 122 w 294"/>
                <a:gd name="T61" fmla="*/ 232 h 232"/>
                <a:gd name="T62" fmla="*/ 130 w 294"/>
                <a:gd name="T63" fmla="*/ 220 h 232"/>
                <a:gd name="T64" fmla="*/ 118 w 294"/>
                <a:gd name="T65" fmla="*/ 164 h 232"/>
                <a:gd name="T66" fmla="*/ 114 w 294"/>
                <a:gd name="T67" fmla="*/ 152 h 232"/>
                <a:gd name="T68" fmla="*/ 124 w 294"/>
                <a:gd name="T69" fmla="*/ 114 h 232"/>
                <a:gd name="T70" fmla="*/ 134 w 294"/>
                <a:gd name="T71" fmla="*/ 100 h 232"/>
                <a:gd name="T72" fmla="*/ 162 w 294"/>
                <a:gd name="T73" fmla="*/ 72 h 232"/>
                <a:gd name="T74" fmla="*/ 180 w 294"/>
                <a:gd name="T75" fmla="*/ 58 h 232"/>
                <a:gd name="T76" fmla="*/ 194 w 294"/>
                <a:gd name="T77" fmla="*/ 44 h 232"/>
                <a:gd name="T78" fmla="*/ 242 w 294"/>
                <a:gd name="T79" fmla="*/ 48 h 232"/>
                <a:gd name="T80" fmla="*/ 292 w 294"/>
                <a:gd name="T81" fmla="*/ 32 h 232"/>
                <a:gd name="T82" fmla="*/ 294 w 294"/>
                <a:gd name="T83" fmla="*/ 1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4" h="232">
                  <a:moveTo>
                    <a:pt x="294" y="12"/>
                  </a:moveTo>
                  <a:lnTo>
                    <a:pt x="288" y="0"/>
                  </a:lnTo>
                  <a:lnTo>
                    <a:pt x="274" y="4"/>
                  </a:lnTo>
                  <a:lnTo>
                    <a:pt x="256" y="24"/>
                  </a:lnTo>
                  <a:lnTo>
                    <a:pt x="220" y="32"/>
                  </a:lnTo>
                  <a:lnTo>
                    <a:pt x="178" y="30"/>
                  </a:lnTo>
                  <a:lnTo>
                    <a:pt x="168" y="36"/>
                  </a:lnTo>
                  <a:lnTo>
                    <a:pt x="126" y="74"/>
                  </a:lnTo>
                  <a:lnTo>
                    <a:pt x="102" y="56"/>
                  </a:lnTo>
                  <a:lnTo>
                    <a:pt x="78" y="78"/>
                  </a:lnTo>
                  <a:lnTo>
                    <a:pt x="86" y="98"/>
                  </a:lnTo>
                  <a:lnTo>
                    <a:pt x="84" y="150"/>
                  </a:lnTo>
                  <a:lnTo>
                    <a:pt x="60" y="184"/>
                  </a:lnTo>
                  <a:lnTo>
                    <a:pt x="42" y="202"/>
                  </a:lnTo>
                  <a:lnTo>
                    <a:pt x="32" y="164"/>
                  </a:lnTo>
                  <a:lnTo>
                    <a:pt x="36" y="134"/>
                  </a:lnTo>
                  <a:lnTo>
                    <a:pt x="42" y="102"/>
                  </a:lnTo>
                  <a:lnTo>
                    <a:pt x="50" y="80"/>
                  </a:lnTo>
                  <a:lnTo>
                    <a:pt x="42" y="70"/>
                  </a:lnTo>
                  <a:lnTo>
                    <a:pt x="28" y="90"/>
                  </a:lnTo>
                  <a:lnTo>
                    <a:pt x="16" y="124"/>
                  </a:lnTo>
                  <a:lnTo>
                    <a:pt x="18" y="136"/>
                  </a:lnTo>
                  <a:lnTo>
                    <a:pt x="0" y="148"/>
                  </a:lnTo>
                  <a:lnTo>
                    <a:pt x="20" y="162"/>
                  </a:lnTo>
                  <a:lnTo>
                    <a:pt x="20" y="210"/>
                  </a:lnTo>
                  <a:lnTo>
                    <a:pt x="54" y="224"/>
                  </a:lnTo>
                  <a:lnTo>
                    <a:pt x="62" y="208"/>
                  </a:lnTo>
                  <a:lnTo>
                    <a:pt x="94" y="172"/>
                  </a:lnTo>
                  <a:lnTo>
                    <a:pt x="108" y="192"/>
                  </a:lnTo>
                  <a:lnTo>
                    <a:pt x="114" y="204"/>
                  </a:lnTo>
                  <a:lnTo>
                    <a:pt x="122" y="232"/>
                  </a:lnTo>
                  <a:lnTo>
                    <a:pt x="130" y="220"/>
                  </a:lnTo>
                  <a:lnTo>
                    <a:pt x="118" y="164"/>
                  </a:lnTo>
                  <a:lnTo>
                    <a:pt x="114" y="152"/>
                  </a:lnTo>
                  <a:lnTo>
                    <a:pt x="124" y="114"/>
                  </a:lnTo>
                  <a:lnTo>
                    <a:pt x="134" y="100"/>
                  </a:lnTo>
                  <a:lnTo>
                    <a:pt x="162" y="72"/>
                  </a:lnTo>
                  <a:lnTo>
                    <a:pt x="180" y="58"/>
                  </a:lnTo>
                  <a:lnTo>
                    <a:pt x="194" y="44"/>
                  </a:lnTo>
                  <a:lnTo>
                    <a:pt x="242" y="48"/>
                  </a:lnTo>
                  <a:lnTo>
                    <a:pt x="292" y="32"/>
                  </a:lnTo>
                  <a:lnTo>
                    <a:pt x="294" y="12"/>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25" name="Freeform 6215">
              <a:extLst>
                <a:ext uri="{FF2B5EF4-FFF2-40B4-BE49-F238E27FC236}">
                  <a16:creationId xmlns:a16="http://schemas.microsoft.com/office/drawing/2014/main" id="{D38A2F39-621E-D436-C4DE-874AA1CF1315}"/>
                </a:ext>
              </a:extLst>
            </p:cNvPr>
            <p:cNvSpPr>
              <a:spLocks/>
            </p:cNvSpPr>
            <p:nvPr/>
          </p:nvSpPr>
          <p:spPr bwMode="gray">
            <a:xfrm>
              <a:off x="8406940" y="2704823"/>
              <a:ext cx="195382" cy="32697"/>
            </a:xfrm>
            <a:custGeom>
              <a:avLst/>
              <a:gdLst>
                <a:gd name="T0" fmla="*/ 0 w 236"/>
                <a:gd name="T1" fmla="*/ 6 h 39"/>
                <a:gd name="T2" fmla="*/ 17 w 236"/>
                <a:gd name="T3" fmla="*/ 0 h 39"/>
                <a:gd name="T4" fmla="*/ 48 w 236"/>
                <a:gd name="T5" fmla="*/ 2 h 39"/>
                <a:gd name="T6" fmla="*/ 104 w 236"/>
                <a:gd name="T7" fmla="*/ 6 h 39"/>
                <a:gd name="T8" fmla="*/ 140 w 236"/>
                <a:gd name="T9" fmla="*/ 11 h 39"/>
                <a:gd name="T10" fmla="*/ 227 w 236"/>
                <a:gd name="T11" fmla="*/ 6 h 39"/>
                <a:gd name="T12" fmla="*/ 236 w 236"/>
                <a:gd name="T13" fmla="*/ 14 h 39"/>
                <a:gd name="T14" fmla="*/ 231 w 236"/>
                <a:gd name="T15" fmla="*/ 29 h 39"/>
                <a:gd name="T16" fmla="*/ 203 w 236"/>
                <a:gd name="T17" fmla="*/ 36 h 39"/>
                <a:gd name="T18" fmla="*/ 180 w 236"/>
                <a:gd name="T19" fmla="*/ 30 h 39"/>
                <a:gd name="T20" fmla="*/ 162 w 236"/>
                <a:gd name="T21" fmla="*/ 39 h 39"/>
                <a:gd name="T22" fmla="*/ 144 w 236"/>
                <a:gd name="T23" fmla="*/ 38 h 39"/>
                <a:gd name="T24" fmla="*/ 129 w 236"/>
                <a:gd name="T25" fmla="*/ 30 h 39"/>
                <a:gd name="T26" fmla="*/ 107 w 236"/>
                <a:gd name="T27" fmla="*/ 35 h 39"/>
                <a:gd name="T28" fmla="*/ 95 w 236"/>
                <a:gd name="T29" fmla="*/ 33 h 39"/>
                <a:gd name="T30" fmla="*/ 48 w 236"/>
                <a:gd name="T31" fmla="*/ 17 h 39"/>
                <a:gd name="T32" fmla="*/ 23 w 236"/>
                <a:gd name="T33" fmla="*/ 18 h 39"/>
                <a:gd name="T34" fmla="*/ 0 w 236"/>
                <a:gd name="T35"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6" h="39">
                  <a:moveTo>
                    <a:pt x="0" y="6"/>
                  </a:moveTo>
                  <a:lnTo>
                    <a:pt x="17" y="0"/>
                  </a:lnTo>
                  <a:lnTo>
                    <a:pt x="48" y="2"/>
                  </a:lnTo>
                  <a:lnTo>
                    <a:pt x="104" y="6"/>
                  </a:lnTo>
                  <a:lnTo>
                    <a:pt x="140" y="11"/>
                  </a:lnTo>
                  <a:lnTo>
                    <a:pt x="227" y="6"/>
                  </a:lnTo>
                  <a:lnTo>
                    <a:pt x="236" y="14"/>
                  </a:lnTo>
                  <a:lnTo>
                    <a:pt x="231" y="29"/>
                  </a:lnTo>
                  <a:lnTo>
                    <a:pt x="203" y="36"/>
                  </a:lnTo>
                  <a:lnTo>
                    <a:pt x="180" y="30"/>
                  </a:lnTo>
                  <a:lnTo>
                    <a:pt x="162" y="39"/>
                  </a:lnTo>
                  <a:lnTo>
                    <a:pt x="144" y="38"/>
                  </a:lnTo>
                  <a:lnTo>
                    <a:pt x="129" y="30"/>
                  </a:lnTo>
                  <a:lnTo>
                    <a:pt x="107" y="35"/>
                  </a:lnTo>
                  <a:lnTo>
                    <a:pt x="95" y="33"/>
                  </a:lnTo>
                  <a:lnTo>
                    <a:pt x="48" y="17"/>
                  </a:lnTo>
                  <a:lnTo>
                    <a:pt x="23" y="18"/>
                  </a:lnTo>
                  <a:lnTo>
                    <a:pt x="0" y="6"/>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26" name="Freeform 6216">
              <a:extLst>
                <a:ext uri="{FF2B5EF4-FFF2-40B4-BE49-F238E27FC236}">
                  <a16:creationId xmlns:a16="http://schemas.microsoft.com/office/drawing/2014/main" id="{05309502-73F3-5019-AFF4-E4D0C8776837}"/>
                </a:ext>
              </a:extLst>
            </p:cNvPr>
            <p:cNvSpPr>
              <a:spLocks/>
            </p:cNvSpPr>
            <p:nvPr/>
          </p:nvSpPr>
          <p:spPr bwMode="gray">
            <a:xfrm>
              <a:off x="8075101" y="2692933"/>
              <a:ext cx="62026" cy="90659"/>
            </a:xfrm>
            <a:custGeom>
              <a:avLst/>
              <a:gdLst>
                <a:gd name="T0" fmla="*/ 0 w 73"/>
                <a:gd name="T1" fmla="*/ 17 h 114"/>
                <a:gd name="T2" fmla="*/ 13 w 73"/>
                <a:gd name="T3" fmla="*/ 5 h 114"/>
                <a:gd name="T4" fmla="*/ 33 w 73"/>
                <a:gd name="T5" fmla="*/ 0 h 114"/>
                <a:gd name="T6" fmla="*/ 42 w 73"/>
                <a:gd name="T7" fmla="*/ 51 h 114"/>
                <a:gd name="T8" fmla="*/ 43 w 73"/>
                <a:gd name="T9" fmla="*/ 81 h 114"/>
                <a:gd name="T10" fmla="*/ 73 w 73"/>
                <a:gd name="T11" fmla="*/ 107 h 114"/>
                <a:gd name="T12" fmla="*/ 63 w 73"/>
                <a:gd name="T13" fmla="*/ 114 h 114"/>
                <a:gd name="T14" fmla="*/ 31 w 73"/>
                <a:gd name="T15" fmla="*/ 86 h 114"/>
                <a:gd name="T16" fmla="*/ 22 w 73"/>
                <a:gd name="T17" fmla="*/ 60 h 114"/>
                <a:gd name="T18" fmla="*/ 0 w 73"/>
                <a:gd name="T19" fmla="*/ 1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114">
                  <a:moveTo>
                    <a:pt x="0" y="17"/>
                  </a:moveTo>
                  <a:lnTo>
                    <a:pt x="13" y="5"/>
                  </a:lnTo>
                  <a:lnTo>
                    <a:pt x="33" y="0"/>
                  </a:lnTo>
                  <a:lnTo>
                    <a:pt x="42" y="51"/>
                  </a:lnTo>
                  <a:lnTo>
                    <a:pt x="43" y="81"/>
                  </a:lnTo>
                  <a:lnTo>
                    <a:pt x="73" y="107"/>
                  </a:lnTo>
                  <a:lnTo>
                    <a:pt x="63" y="114"/>
                  </a:lnTo>
                  <a:lnTo>
                    <a:pt x="31" y="86"/>
                  </a:lnTo>
                  <a:lnTo>
                    <a:pt x="22" y="60"/>
                  </a:lnTo>
                  <a:lnTo>
                    <a:pt x="0" y="17"/>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grpSp>
          <p:nvGrpSpPr>
            <p:cNvPr id="127" name="Gruppieren 126">
              <a:extLst>
                <a:ext uri="{FF2B5EF4-FFF2-40B4-BE49-F238E27FC236}">
                  <a16:creationId xmlns:a16="http://schemas.microsoft.com/office/drawing/2014/main" id="{39EF67D9-86C1-E5AD-F3C7-FC7397C4309B}"/>
                </a:ext>
              </a:extLst>
            </p:cNvPr>
            <p:cNvGrpSpPr/>
            <p:nvPr/>
          </p:nvGrpSpPr>
          <p:grpSpPr>
            <a:xfrm>
              <a:off x="5533590" y="1786340"/>
              <a:ext cx="3484305" cy="2217437"/>
              <a:chOff x="5533590" y="1816820"/>
              <a:chExt cx="3484305" cy="2217437"/>
            </a:xfrm>
            <a:grpFill/>
          </p:grpSpPr>
          <p:sp>
            <p:nvSpPr>
              <p:cNvPr id="129" name="Freeform 6203">
                <a:extLst>
                  <a:ext uri="{FF2B5EF4-FFF2-40B4-BE49-F238E27FC236}">
                    <a16:creationId xmlns:a16="http://schemas.microsoft.com/office/drawing/2014/main" id="{6A1950ED-6697-9A78-5E98-BE5C23B858D7}"/>
                  </a:ext>
                </a:extLst>
              </p:cNvPr>
              <p:cNvSpPr>
                <a:spLocks/>
              </p:cNvSpPr>
              <p:nvPr/>
            </p:nvSpPr>
            <p:spPr bwMode="gray">
              <a:xfrm>
                <a:off x="7778928" y="2689230"/>
                <a:ext cx="74431" cy="163484"/>
              </a:xfrm>
              <a:custGeom>
                <a:avLst/>
                <a:gdLst>
                  <a:gd name="T0" fmla="*/ 20 w 92"/>
                  <a:gd name="T1" fmla="*/ 153 h 205"/>
                  <a:gd name="T2" fmla="*/ 48 w 92"/>
                  <a:gd name="T3" fmla="*/ 121 h 205"/>
                  <a:gd name="T4" fmla="*/ 29 w 92"/>
                  <a:gd name="T5" fmla="*/ 112 h 205"/>
                  <a:gd name="T6" fmla="*/ 15 w 92"/>
                  <a:gd name="T7" fmla="*/ 97 h 205"/>
                  <a:gd name="T8" fmla="*/ 21 w 92"/>
                  <a:gd name="T9" fmla="*/ 70 h 205"/>
                  <a:gd name="T10" fmla="*/ 11 w 92"/>
                  <a:gd name="T11" fmla="*/ 70 h 205"/>
                  <a:gd name="T12" fmla="*/ 9 w 92"/>
                  <a:gd name="T13" fmla="*/ 45 h 205"/>
                  <a:gd name="T14" fmla="*/ 0 w 92"/>
                  <a:gd name="T15" fmla="*/ 16 h 205"/>
                  <a:gd name="T16" fmla="*/ 8 w 92"/>
                  <a:gd name="T17" fmla="*/ 0 h 205"/>
                  <a:gd name="T18" fmla="*/ 38 w 92"/>
                  <a:gd name="T19" fmla="*/ 1 h 205"/>
                  <a:gd name="T20" fmla="*/ 65 w 92"/>
                  <a:gd name="T21" fmla="*/ 10 h 205"/>
                  <a:gd name="T22" fmla="*/ 74 w 92"/>
                  <a:gd name="T23" fmla="*/ 28 h 205"/>
                  <a:gd name="T24" fmla="*/ 56 w 92"/>
                  <a:gd name="T25" fmla="*/ 102 h 205"/>
                  <a:gd name="T26" fmla="*/ 83 w 92"/>
                  <a:gd name="T27" fmla="*/ 162 h 205"/>
                  <a:gd name="T28" fmla="*/ 92 w 92"/>
                  <a:gd name="T29" fmla="*/ 189 h 205"/>
                  <a:gd name="T30" fmla="*/ 81 w 92"/>
                  <a:gd name="T31" fmla="*/ 205 h 205"/>
                  <a:gd name="T32" fmla="*/ 20 w 92"/>
                  <a:gd name="T33" fmla="*/ 15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205">
                    <a:moveTo>
                      <a:pt x="20" y="153"/>
                    </a:moveTo>
                    <a:lnTo>
                      <a:pt x="48" y="121"/>
                    </a:lnTo>
                    <a:lnTo>
                      <a:pt x="29" y="112"/>
                    </a:lnTo>
                    <a:lnTo>
                      <a:pt x="15" y="97"/>
                    </a:lnTo>
                    <a:lnTo>
                      <a:pt x="21" y="70"/>
                    </a:lnTo>
                    <a:lnTo>
                      <a:pt x="11" y="70"/>
                    </a:lnTo>
                    <a:lnTo>
                      <a:pt x="9" y="45"/>
                    </a:lnTo>
                    <a:lnTo>
                      <a:pt x="0" y="16"/>
                    </a:lnTo>
                    <a:lnTo>
                      <a:pt x="8" y="0"/>
                    </a:lnTo>
                    <a:lnTo>
                      <a:pt x="38" y="1"/>
                    </a:lnTo>
                    <a:lnTo>
                      <a:pt x="65" y="10"/>
                    </a:lnTo>
                    <a:lnTo>
                      <a:pt x="74" y="28"/>
                    </a:lnTo>
                    <a:lnTo>
                      <a:pt x="56" y="102"/>
                    </a:lnTo>
                    <a:lnTo>
                      <a:pt x="83" y="162"/>
                    </a:lnTo>
                    <a:lnTo>
                      <a:pt x="92" y="189"/>
                    </a:lnTo>
                    <a:lnTo>
                      <a:pt x="81" y="205"/>
                    </a:lnTo>
                    <a:lnTo>
                      <a:pt x="20" y="153"/>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30" name="Freeform 6204">
                <a:extLst>
                  <a:ext uri="{FF2B5EF4-FFF2-40B4-BE49-F238E27FC236}">
                    <a16:creationId xmlns:a16="http://schemas.microsoft.com/office/drawing/2014/main" id="{9EF0A594-E1B8-2BF5-B31D-B07D716B9008}"/>
                  </a:ext>
                </a:extLst>
              </p:cNvPr>
              <p:cNvSpPr>
                <a:spLocks/>
              </p:cNvSpPr>
              <p:nvPr/>
            </p:nvSpPr>
            <p:spPr bwMode="gray">
              <a:xfrm>
                <a:off x="5533590" y="3609199"/>
                <a:ext cx="769121" cy="425058"/>
              </a:xfrm>
              <a:custGeom>
                <a:avLst/>
                <a:gdLst>
                  <a:gd name="T0" fmla="*/ 8 w 926"/>
                  <a:gd name="T1" fmla="*/ 445 h 535"/>
                  <a:gd name="T2" fmla="*/ 30 w 926"/>
                  <a:gd name="T3" fmla="*/ 372 h 535"/>
                  <a:gd name="T4" fmla="*/ 84 w 926"/>
                  <a:gd name="T5" fmla="*/ 274 h 535"/>
                  <a:gd name="T6" fmla="*/ 149 w 926"/>
                  <a:gd name="T7" fmla="*/ 220 h 535"/>
                  <a:gd name="T8" fmla="*/ 162 w 926"/>
                  <a:gd name="T9" fmla="*/ 193 h 535"/>
                  <a:gd name="T10" fmla="*/ 242 w 926"/>
                  <a:gd name="T11" fmla="*/ 100 h 535"/>
                  <a:gd name="T12" fmla="*/ 291 w 926"/>
                  <a:gd name="T13" fmla="*/ 94 h 535"/>
                  <a:gd name="T14" fmla="*/ 335 w 926"/>
                  <a:gd name="T15" fmla="*/ 79 h 535"/>
                  <a:gd name="T16" fmla="*/ 372 w 926"/>
                  <a:gd name="T17" fmla="*/ 75 h 535"/>
                  <a:gd name="T18" fmla="*/ 399 w 926"/>
                  <a:gd name="T19" fmla="*/ 46 h 535"/>
                  <a:gd name="T20" fmla="*/ 474 w 926"/>
                  <a:gd name="T21" fmla="*/ 25 h 535"/>
                  <a:gd name="T22" fmla="*/ 521 w 926"/>
                  <a:gd name="T23" fmla="*/ 3 h 535"/>
                  <a:gd name="T24" fmla="*/ 600 w 926"/>
                  <a:gd name="T25" fmla="*/ 25 h 535"/>
                  <a:gd name="T26" fmla="*/ 686 w 926"/>
                  <a:gd name="T27" fmla="*/ 57 h 535"/>
                  <a:gd name="T28" fmla="*/ 752 w 926"/>
                  <a:gd name="T29" fmla="*/ 81 h 535"/>
                  <a:gd name="T30" fmla="*/ 824 w 926"/>
                  <a:gd name="T31" fmla="*/ 108 h 535"/>
                  <a:gd name="T32" fmla="*/ 845 w 926"/>
                  <a:gd name="T33" fmla="*/ 126 h 535"/>
                  <a:gd name="T34" fmla="*/ 896 w 926"/>
                  <a:gd name="T35" fmla="*/ 136 h 535"/>
                  <a:gd name="T36" fmla="*/ 917 w 926"/>
                  <a:gd name="T37" fmla="*/ 159 h 535"/>
                  <a:gd name="T38" fmla="*/ 917 w 926"/>
                  <a:gd name="T39" fmla="*/ 217 h 535"/>
                  <a:gd name="T40" fmla="*/ 848 w 926"/>
                  <a:gd name="T41" fmla="*/ 228 h 535"/>
                  <a:gd name="T42" fmla="*/ 768 w 926"/>
                  <a:gd name="T43" fmla="*/ 223 h 535"/>
                  <a:gd name="T44" fmla="*/ 575 w 926"/>
                  <a:gd name="T45" fmla="*/ 198 h 535"/>
                  <a:gd name="T46" fmla="*/ 441 w 926"/>
                  <a:gd name="T47" fmla="*/ 201 h 535"/>
                  <a:gd name="T48" fmla="*/ 401 w 926"/>
                  <a:gd name="T49" fmla="*/ 216 h 535"/>
                  <a:gd name="T50" fmla="*/ 353 w 926"/>
                  <a:gd name="T51" fmla="*/ 262 h 535"/>
                  <a:gd name="T52" fmla="*/ 284 w 926"/>
                  <a:gd name="T53" fmla="*/ 304 h 535"/>
                  <a:gd name="T54" fmla="*/ 246 w 926"/>
                  <a:gd name="T55" fmla="*/ 291 h 535"/>
                  <a:gd name="T56" fmla="*/ 198 w 926"/>
                  <a:gd name="T57" fmla="*/ 256 h 535"/>
                  <a:gd name="T58" fmla="*/ 141 w 926"/>
                  <a:gd name="T59" fmla="*/ 319 h 535"/>
                  <a:gd name="T60" fmla="*/ 101 w 926"/>
                  <a:gd name="T61" fmla="*/ 393 h 535"/>
                  <a:gd name="T62" fmla="*/ 50 w 926"/>
                  <a:gd name="T63" fmla="*/ 495 h 535"/>
                  <a:gd name="T64" fmla="*/ 0 w 926"/>
                  <a:gd name="T65" fmla="*/ 526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6" h="535">
                    <a:moveTo>
                      <a:pt x="0" y="526"/>
                    </a:moveTo>
                    <a:lnTo>
                      <a:pt x="8" y="445"/>
                    </a:lnTo>
                    <a:lnTo>
                      <a:pt x="30" y="418"/>
                    </a:lnTo>
                    <a:lnTo>
                      <a:pt x="30" y="372"/>
                    </a:lnTo>
                    <a:lnTo>
                      <a:pt x="74" y="300"/>
                    </a:lnTo>
                    <a:lnTo>
                      <a:pt x="84" y="274"/>
                    </a:lnTo>
                    <a:lnTo>
                      <a:pt x="137" y="211"/>
                    </a:lnTo>
                    <a:lnTo>
                      <a:pt x="149" y="220"/>
                    </a:lnTo>
                    <a:lnTo>
                      <a:pt x="161" y="216"/>
                    </a:lnTo>
                    <a:lnTo>
                      <a:pt x="162" y="193"/>
                    </a:lnTo>
                    <a:lnTo>
                      <a:pt x="189" y="154"/>
                    </a:lnTo>
                    <a:lnTo>
                      <a:pt x="242" y="100"/>
                    </a:lnTo>
                    <a:lnTo>
                      <a:pt x="264" y="94"/>
                    </a:lnTo>
                    <a:lnTo>
                      <a:pt x="291" y="94"/>
                    </a:lnTo>
                    <a:lnTo>
                      <a:pt x="303" y="103"/>
                    </a:lnTo>
                    <a:lnTo>
                      <a:pt x="335" y="79"/>
                    </a:lnTo>
                    <a:lnTo>
                      <a:pt x="357" y="76"/>
                    </a:lnTo>
                    <a:lnTo>
                      <a:pt x="372" y="75"/>
                    </a:lnTo>
                    <a:lnTo>
                      <a:pt x="384" y="51"/>
                    </a:lnTo>
                    <a:lnTo>
                      <a:pt x="399" y="46"/>
                    </a:lnTo>
                    <a:lnTo>
                      <a:pt x="431" y="0"/>
                    </a:lnTo>
                    <a:lnTo>
                      <a:pt x="474" y="25"/>
                    </a:lnTo>
                    <a:lnTo>
                      <a:pt x="504" y="13"/>
                    </a:lnTo>
                    <a:lnTo>
                      <a:pt x="521" y="3"/>
                    </a:lnTo>
                    <a:lnTo>
                      <a:pt x="546" y="16"/>
                    </a:lnTo>
                    <a:lnTo>
                      <a:pt x="600" y="25"/>
                    </a:lnTo>
                    <a:lnTo>
                      <a:pt x="647" y="36"/>
                    </a:lnTo>
                    <a:lnTo>
                      <a:pt x="686" y="57"/>
                    </a:lnTo>
                    <a:lnTo>
                      <a:pt x="708" y="57"/>
                    </a:lnTo>
                    <a:lnTo>
                      <a:pt x="752" y="81"/>
                    </a:lnTo>
                    <a:lnTo>
                      <a:pt x="807" y="91"/>
                    </a:lnTo>
                    <a:lnTo>
                      <a:pt x="824" y="108"/>
                    </a:lnTo>
                    <a:lnTo>
                      <a:pt x="843" y="115"/>
                    </a:lnTo>
                    <a:lnTo>
                      <a:pt x="845" y="126"/>
                    </a:lnTo>
                    <a:lnTo>
                      <a:pt x="876" y="135"/>
                    </a:lnTo>
                    <a:lnTo>
                      <a:pt x="896" y="136"/>
                    </a:lnTo>
                    <a:lnTo>
                      <a:pt x="906" y="156"/>
                    </a:lnTo>
                    <a:lnTo>
                      <a:pt x="917" y="159"/>
                    </a:lnTo>
                    <a:lnTo>
                      <a:pt x="926" y="199"/>
                    </a:lnTo>
                    <a:lnTo>
                      <a:pt x="917" y="217"/>
                    </a:lnTo>
                    <a:lnTo>
                      <a:pt x="858" y="222"/>
                    </a:lnTo>
                    <a:lnTo>
                      <a:pt x="848" y="228"/>
                    </a:lnTo>
                    <a:lnTo>
                      <a:pt x="786" y="226"/>
                    </a:lnTo>
                    <a:lnTo>
                      <a:pt x="768" y="223"/>
                    </a:lnTo>
                    <a:lnTo>
                      <a:pt x="702" y="193"/>
                    </a:lnTo>
                    <a:lnTo>
                      <a:pt x="575" y="198"/>
                    </a:lnTo>
                    <a:lnTo>
                      <a:pt x="471" y="211"/>
                    </a:lnTo>
                    <a:lnTo>
                      <a:pt x="441" y="201"/>
                    </a:lnTo>
                    <a:lnTo>
                      <a:pt x="426" y="195"/>
                    </a:lnTo>
                    <a:lnTo>
                      <a:pt x="401" y="216"/>
                    </a:lnTo>
                    <a:lnTo>
                      <a:pt x="393" y="240"/>
                    </a:lnTo>
                    <a:lnTo>
                      <a:pt x="353" y="262"/>
                    </a:lnTo>
                    <a:lnTo>
                      <a:pt x="314" y="274"/>
                    </a:lnTo>
                    <a:lnTo>
                      <a:pt x="284" y="304"/>
                    </a:lnTo>
                    <a:lnTo>
                      <a:pt x="269" y="304"/>
                    </a:lnTo>
                    <a:lnTo>
                      <a:pt x="246" y="291"/>
                    </a:lnTo>
                    <a:lnTo>
                      <a:pt x="239" y="256"/>
                    </a:lnTo>
                    <a:lnTo>
                      <a:pt x="198" y="256"/>
                    </a:lnTo>
                    <a:lnTo>
                      <a:pt x="156" y="285"/>
                    </a:lnTo>
                    <a:lnTo>
                      <a:pt x="141" y="319"/>
                    </a:lnTo>
                    <a:lnTo>
                      <a:pt x="120" y="367"/>
                    </a:lnTo>
                    <a:lnTo>
                      <a:pt x="101" y="393"/>
                    </a:lnTo>
                    <a:lnTo>
                      <a:pt x="60" y="448"/>
                    </a:lnTo>
                    <a:lnTo>
                      <a:pt x="50" y="495"/>
                    </a:lnTo>
                    <a:lnTo>
                      <a:pt x="14" y="535"/>
                    </a:lnTo>
                    <a:lnTo>
                      <a:pt x="0" y="526"/>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31" name="Freeform 6205">
                <a:extLst>
                  <a:ext uri="{FF2B5EF4-FFF2-40B4-BE49-F238E27FC236}">
                    <a16:creationId xmlns:a16="http://schemas.microsoft.com/office/drawing/2014/main" id="{6F0DC92F-6F8C-89D3-D4C7-BC169A52371D}"/>
                  </a:ext>
                </a:extLst>
              </p:cNvPr>
              <p:cNvSpPr>
                <a:spLocks/>
              </p:cNvSpPr>
              <p:nvPr/>
            </p:nvSpPr>
            <p:spPr bwMode="gray">
              <a:xfrm>
                <a:off x="6017392" y="2937429"/>
                <a:ext cx="398516" cy="313592"/>
              </a:xfrm>
              <a:custGeom>
                <a:avLst/>
                <a:gdLst>
                  <a:gd name="T0" fmla="*/ 0 w 481"/>
                  <a:gd name="T1" fmla="*/ 361 h 396"/>
                  <a:gd name="T2" fmla="*/ 54 w 481"/>
                  <a:gd name="T3" fmla="*/ 327 h 396"/>
                  <a:gd name="T4" fmla="*/ 142 w 481"/>
                  <a:gd name="T5" fmla="*/ 244 h 396"/>
                  <a:gd name="T6" fmla="*/ 160 w 481"/>
                  <a:gd name="T7" fmla="*/ 208 h 396"/>
                  <a:gd name="T8" fmla="*/ 225 w 481"/>
                  <a:gd name="T9" fmla="*/ 148 h 396"/>
                  <a:gd name="T10" fmla="*/ 244 w 481"/>
                  <a:gd name="T11" fmla="*/ 147 h 396"/>
                  <a:gd name="T12" fmla="*/ 249 w 481"/>
                  <a:gd name="T13" fmla="*/ 126 h 396"/>
                  <a:gd name="T14" fmla="*/ 277 w 481"/>
                  <a:gd name="T15" fmla="*/ 112 h 396"/>
                  <a:gd name="T16" fmla="*/ 280 w 481"/>
                  <a:gd name="T17" fmla="*/ 66 h 396"/>
                  <a:gd name="T18" fmla="*/ 360 w 481"/>
                  <a:gd name="T19" fmla="*/ 31 h 396"/>
                  <a:gd name="T20" fmla="*/ 388 w 481"/>
                  <a:gd name="T21" fmla="*/ 10 h 396"/>
                  <a:gd name="T22" fmla="*/ 402 w 481"/>
                  <a:gd name="T23" fmla="*/ 0 h 396"/>
                  <a:gd name="T24" fmla="*/ 432 w 481"/>
                  <a:gd name="T25" fmla="*/ 10 h 396"/>
                  <a:gd name="T26" fmla="*/ 448 w 481"/>
                  <a:gd name="T27" fmla="*/ 18 h 396"/>
                  <a:gd name="T28" fmla="*/ 465 w 481"/>
                  <a:gd name="T29" fmla="*/ 10 h 396"/>
                  <a:gd name="T30" fmla="*/ 478 w 481"/>
                  <a:gd name="T31" fmla="*/ 19 h 396"/>
                  <a:gd name="T32" fmla="*/ 481 w 481"/>
                  <a:gd name="T33" fmla="*/ 58 h 396"/>
                  <a:gd name="T34" fmla="*/ 471 w 481"/>
                  <a:gd name="T35" fmla="*/ 78 h 396"/>
                  <a:gd name="T36" fmla="*/ 417 w 481"/>
                  <a:gd name="T37" fmla="*/ 109 h 396"/>
                  <a:gd name="T38" fmla="*/ 391 w 481"/>
                  <a:gd name="T39" fmla="*/ 138 h 396"/>
                  <a:gd name="T40" fmla="*/ 342 w 481"/>
                  <a:gd name="T41" fmla="*/ 183 h 396"/>
                  <a:gd name="T42" fmla="*/ 309 w 481"/>
                  <a:gd name="T43" fmla="*/ 208 h 396"/>
                  <a:gd name="T44" fmla="*/ 268 w 481"/>
                  <a:gd name="T45" fmla="*/ 255 h 396"/>
                  <a:gd name="T46" fmla="*/ 240 w 481"/>
                  <a:gd name="T47" fmla="*/ 283 h 396"/>
                  <a:gd name="T48" fmla="*/ 202 w 481"/>
                  <a:gd name="T49" fmla="*/ 300 h 396"/>
                  <a:gd name="T50" fmla="*/ 171 w 481"/>
                  <a:gd name="T51" fmla="*/ 351 h 396"/>
                  <a:gd name="T52" fmla="*/ 135 w 481"/>
                  <a:gd name="T53" fmla="*/ 363 h 396"/>
                  <a:gd name="T54" fmla="*/ 94 w 481"/>
                  <a:gd name="T55" fmla="*/ 361 h 396"/>
                  <a:gd name="T56" fmla="*/ 22 w 481"/>
                  <a:gd name="T57" fmla="*/ 396 h 396"/>
                  <a:gd name="T58" fmla="*/ 1 w 481"/>
                  <a:gd name="T59" fmla="*/ 385 h 396"/>
                  <a:gd name="T60" fmla="*/ 0 w 481"/>
                  <a:gd name="T61" fmla="*/ 36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1" h="396">
                    <a:moveTo>
                      <a:pt x="0" y="361"/>
                    </a:moveTo>
                    <a:lnTo>
                      <a:pt x="54" y="327"/>
                    </a:lnTo>
                    <a:lnTo>
                      <a:pt x="142" y="244"/>
                    </a:lnTo>
                    <a:lnTo>
                      <a:pt x="160" y="208"/>
                    </a:lnTo>
                    <a:lnTo>
                      <a:pt x="225" y="148"/>
                    </a:lnTo>
                    <a:lnTo>
                      <a:pt x="244" y="147"/>
                    </a:lnTo>
                    <a:lnTo>
                      <a:pt x="249" y="126"/>
                    </a:lnTo>
                    <a:lnTo>
                      <a:pt x="277" y="112"/>
                    </a:lnTo>
                    <a:lnTo>
                      <a:pt x="280" y="66"/>
                    </a:lnTo>
                    <a:lnTo>
                      <a:pt x="360" y="31"/>
                    </a:lnTo>
                    <a:lnTo>
                      <a:pt x="388" y="10"/>
                    </a:lnTo>
                    <a:lnTo>
                      <a:pt x="402" y="0"/>
                    </a:lnTo>
                    <a:lnTo>
                      <a:pt x="432" y="10"/>
                    </a:lnTo>
                    <a:lnTo>
                      <a:pt x="448" y="18"/>
                    </a:lnTo>
                    <a:lnTo>
                      <a:pt x="465" y="10"/>
                    </a:lnTo>
                    <a:lnTo>
                      <a:pt x="478" y="19"/>
                    </a:lnTo>
                    <a:lnTo>
                      <a:pt x="481" y="58"/>
                    </a:lnTo>
                    <a:lnTo>
                      <a:pt x="471" y="78"/>
                    </a:lnTo>
                    <a:lnTo>
                      <a:pt x="417" y="109"/>
                    </a:lnTo>
                    <a:lnTo>
                      <a:pt x="391" y="138"/>
                    </a:lnTo>
                    <a:lnTo>
                      <a:pt x="342" y="183"/>
                    </a:lnTo>
                    <a:lnTo>
                      <a:pt x="309" y="208"/>
                    </a:lnTo>
                    <a:lnTo>
                      <a:pt x="268" y="255"/>
                    </a:lnTo>
                    <a:lnTo>
                      <a:pt x="240" y="283"/>
                    </a:lnTo>
                    <a:lnTo>
                      <a:pt x="202" y="300"/>
                    </a:lnTo>
                    <a:lnTo>
                      <a:pt x="171" y="351"/>
                    </a:lnTo>
                    <a:lnTo>
                      <a:pt x="135" y="363"/>
                    </a:lnTo>
                    <a:lnTo>
                      <a:pt x="94" y="361"/>
                    </a:lnTo>
                    <a:lnTo>
                      <a:pt x="22" y="396"/>
                    </a:lnTo>
                    <a:lnTo>
                      <a:pt x="1" y="385"/>
                    </a:lnTo>
                    <a:lnTo>
                      <a:pt x="0" y="361"/>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32" name="Freeform 6206">
                <a:extLst>
                  <a:ext uri="{FF2B5EF4-FFF2-40B4-BE49-F238E27FC236}">
                    <a16:creationId xmlns:a16="http://schemas.microsoft.com/office/drawing/2014/main" id="{C7A13138-3E56-6CFA-743E-FB06BDD1D217}"/>
                  </a:ext>
                </a:extLst>
              </p:cNvPr>
              <p:cNvSpPr>
                <a:spLocks/>
              </p:cNvSpPr>
              <p:nvPr/>
            </p:nvSpPr>
            <p:spPr bwMode="gray">
              <a:xfrm>
                <a:off x="6443820" y="2773945"/>
                <a:ext cx="156615" cy="124842"/>
              </a:xfrm>
              <a:custGeom>
                <a:avLst/>
                <a:gdLst>
                  <a:gd name="T0" fmla="*/ 2 w 190"/>
                  <a:gd name="T1" fmla="*/ 124 h 158"/>
                  <a:gd name="T2" fmla="*/ 42 w 190"/>
                  <a:gd name="T3" fmla="*/ 108 h 158"/>
                  <a:gd name="T4" fmla="*/ 54 w 190"/>
                  <a:gd name="T5" fmla="*/ 94 h 158"/>
                  <a:gd name="T6" fmla="*/ 96 w 190"/>
                  <a:gd name="T7" fmla="*/ 74 h 158"/>
                  <a:gd name="T8" fmla="*/ 176 w 190"/>
                  <a:gd name="T9" fmla="*/ 0 h 158"/>
                  <a:gd name="T10" fmla="*/ 190 w 190"/>
                  <a:gd name="T11" fmla="*/ 4 h 158"/>
                  <a:gd name="T12" fmla="*/ 134 w 190"/>
                  <a:gd name="T13" fmla="*/ 108 h 158"/>
                  <a:gd name="T14" fmla="*/ 82 w 190"/>
                  <a:gd name="T15" fmla="*/ 154 h 158"/>
                  <a:gd name="T16" fmla="*/ 44 w 190"/>
                  <a:gd name="T17" fmla="*/ 158 h 158"/>
                  <a:gd name="T18" fmla="*/ 34 w 190"/>
                  <a:gd name="T19" fmla="*/ 152 h 158"/>
                  <a:gd name="T20" fmla="*/ 46 w 190"/>
                  <a:gd name="T21" fmla="*/ 148 h 158"/>
                  <a:gd name="T22" fmla="*/ 84 w 190"/>
                  <a:gd name="T23" fmla="*/ 112 h 158"/>
                  <a:gd name="T24" fmla="*/ 88 w 190"/>
                  <a:gd name="T25" fmla="*/ 98 h 158"/>
                  <a:gd name="T26" fmla="*/ 78 w 190"/>
                  <a:gd name="T27" fmla="*/ 92 h 158"/>
                  <a:gd name="T28" fmla="*/ 70 w 190"/>
                  <a:gd name="T29" fmla="*/ 106 h 158"/>
                  <a:gd name="T30" fmla="*/ 68 w 190"/>
                  <a:gd name="T31" fmla="*/ 118 h 158"/>
                  <a:gd name="T32" fmla="*/ 38 w 190"/>
                  <a:gd name="T33" fmla="*/ 136 h 158"/>
                  <a:gd name="T34" fmla="*/ 12 w 190"/>
                  <a:gd name="T35" fmla="*/ 148 h 158"/>
                  <a:gd name="T36" fmla="*/ 0 w 190"/>
                  <a:gd name="T37" fmla="*/ 138 h 158"/>
                  <a:gd name="T38" fmla="*/ 2 w 190"/>
                  <a:gd name="T39" fmla="*/ 12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0" h="158">
                    <a:moveTo>
                      <a:pt x="2" y="124"/>
                    </a:moveTo>
                    <a:lnTo>
                      <a:pt x="42" y="108"/>
                    </a:lnTo>
                    <a:lnTo>
                      <a:pt x="54" y="94"/>
                    </a:lnTo>
                    <a:lnTo>
                      <a:pt x="96" y="74"/>
                    </a:lnTo>
                    <a:lnTo>
                      <a:pt x="176" y="0"/>
                    </a:lnTo>
                    <a:lnTo>
                      <a:pt x="190" y="4"/>
                    </a:lnTo>
                    <a:lnTo>
                      <a:pt x="134" y="108"/>
                    </a:lnTo>
                    <a:lnTo>
                      <a:pt x="82" y="154"/>
                    </a:lnTo>
                    <a:lnTo>
                      <a:pt x="44" y="158"/>
                    </a:lnTo>
                    <a:lnTo>
                      <a:pt x="34" y="152"/>
                    </a:lnTo>
                    <a:lnTo>
                      <a:pt x="46" y="148"/>
                    </a:lnTo>
                    <a:lnTo>
                      <a:pt x="84" y="112"/>
                    </a:lnTo>
                    <a:lnTo>
                      <a:pt x="88" y="98"/>
                    </a:lnTo>
                    <a:lnTo>
                      <a:pt x="78" y="92"/>
                    </a:lnTo>
                    <a:lnTo>
                      <a:pt x="70" y="106"/>
                    </a:lnTo>
                    <a:lnTo>
                      <a:pt x="68" y="118"/>
                    </a:lnTo>
                    <a:lnTo>
                      <a:pt x="38" y="136"/>
                    </a:lnTo>
                    <a:lnTo>
                      <a:pt x="12" y="148"/>
                    </a:lnTo>
                    <a:lnTo>
                      <a:pt x="0" y="138"/>
                    </a:lnTo>
                    <a:lnTo>
                      <a:pt x="2" y="124"/>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33" name="Freeform 6207">
                <a:extLst>
                  <a:ext uri="{FF2B5EF4-FFF2-40B4-BE49-F238E27FC236}">
                    <a16:creationId xmlns:a16="http://schemas.microsoft.com/office/drawing/2014/main" id="{44D5CE22-C025-4BEE-A8F3-7E88AD987E94}"/>
                  </a:ext>
                </a:extLst>
              </p:cNvPr>
              <p:cNvSpPr>
                <a:spLocks/>
              </p:cNvSpPr>
              <p:nvPr/>
            </p:nvSpPr>
            <p:spPr bwMode="gray">
              <a:xfrm>
                <a:off x="6986547" y="3295607"/>
                <a:ext cx="198483" cy="126329"/>
              </a:xfrm>
              <a:custGeom>
                <a:avLst/>
                <a:gdLst>
                  <a:gd name="T0" fmla="*/ 6 w 238"/>
                  <a:gd name="T1" fmla="*/ 0 h 160"/>
                  <a:gd name="T2" fmla="*/ 0 w 238"/>
                  <a:gd name="T3" fmla="*/ 40 h 160"/>
                  <a:gd name="T4" fmla="*/ 14 w 238"/>
                  <a:gd name="T5" fmla="*/ 58 h 160"/>
                  <a:gd name="T6" fmla="*/ 40 w 238"/>
                  <a:gd name="T7" fmla="*/ 80 h 160"/>
                  <a:gd name="T8" fmla="*/ 86 w 238"/>
                  <a:gd name="T9" fmla="*/ 106 h 160"/>
                  <a:gd name="T10" fmla="*/ 94 w 238"/>
                  <a:gd name="T11" fmla="*/ 134 h 160"/>
                  <a:gd name="T12" fmla="*/ 162 w 238"/>
                  <a:gd name="T13" fmla="*/ 160 h 160"/>
                  <a:gd name="T14" fmla="*/ 222 w 238"/>
                  <a:gd name="T15" fmla="*/ 140 h 160"/>
                  <a:gd name="T16" fmla="*/ 236 w 238"/>
                  <a:gd name="T17" fmla="*/ 144 h 160"/>
                  <a:gd name="T18" fmla="*/ 238 w 238"/>
                  <a:gd name="T19" fmla="*/ 126 h 160"/>
                  <a:gd name="T20" fmla="*/ 204 w 238"/>
                  <a:gd name="T21" fmla="*/ 108 h 160"/>
                  <a:gd name="T22" fmla="*/ 140 w 238"/>
                  <a:gd name="T23" fmla="*/ 108 h 160"/>
                  <a:gd name="T24" fmla="*/ 120 w 238"/>
                  <a:gd name="T25" fmla="*/ 84 h 160"/>
                  <a:gd name="T26" fmla="*/ 96 w 238"/>
                  <a:gd name="T27" fmla="*/ 60 h 160"/>
                  <a:gd name="T28" fmla="*/ 78 w 238"/>
                  <a:gd name="T29" fmla="*/ 58 h 160"/>
                  <a:gd name="T30" fmla="*/ 6 w 238"/>
                  <a:gd name="T31"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8" h="160">
                    <a:moveTo>
                      <a:pt x="6" y="0"/>
                    </a:moveTo>
                    <a:lnTo>
                      <a:pt x="0" y="40"/>
                    </a:lnTo>
                    <a:lnTo>
                      <a:pt x="14" y="58"/>
                    </a:lnTo>
                    <a:lnTo>
                      <a:pt x="40" y="80"/>
                    </a:lnTo>
                    <a:lnTo>
                      <a:pt x="86" y="106"/>
                    </a:lnTo>
                    <a:lnTo>
                      <a:pt x="94" y="134"/>
                    </a:lnTo>
                    <a:lnTo>
                      <a:pt x="162" y="160"/>
                    </a:lnTo>
                    <a:lnTo>
                      <a:pt x="222" y="140"/>
                    </a:lnTo>
                    <a:lnTo>
                      <a:pt x="236" y="144"/>
                    </a:lnTo>
                    <a:lnTo>
                      <a:pt x="238" y="126"/>
                    </a:lnTo>
                    <a:lnTo>
                      <a:pt x="204" y="108"/>
                    </a:lnTo>
                    <a:lnTo>
                      <a:pt x="140" y="108"/>
                    </a:lnTo>
                    <a:lnTo>
                      <a:pt x="120" y="84"/>
                    </a:lnTo>
                    <a:lnTo>
                      <a:pt x="96" y="60"/>
                    </a:lnTo>
                    <a:lnTo>
                      <a:pt x="78" y="58"/>
                    </a:lnTo>
                    <a:lnTo>
                      <a:pt x="6" y="0"/>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34" name="Freeform 6208">
                <a:extLst>
                  <a:ext uri="{FF2B5EF4-FFF2-40B4-BE49-F238E27FC236}">
                    <a16:creationId xmlns:a16="http://schemas.microsoft.com/office/drawing/2014/main" id="{74E068CF-DE7B-F164-3AC6-46AF6B1B18B5}"/>
                  </a:ext>
                </a:extLst>
              </p:cNvPr>
              <p:cNvSpPr>
                <a:spLocks/>
              </p:cNvSpPr>
              <p:nvPr/>
            </p:nvSpPr>
            <p:spPr bwMode="gray">
              <a:xfrm>
                <a:off x="7239302" y="3283717"/>
                <a:ext cx="158166" cy="89173"/>
              </a:xfrm>
              <a:custGeom>
                <a:avLst/>
                <a:gdLst>
                  <a:gd name="T0" fmla="*/ 0 w 190"/>
                  <a:gd name="T1" fmla="*/ 106 h 114"/>
                  <a:gd name="T2" fmla="*/ 16 w 190"/>
                  <a:gd name="T3" fmla="*/ 86 h 114"/>
                  <a:gd name="T4" fmla="*/ 40 w 190"/>
                  <a:gd name="T5" fmla="*/ 76 h 114"/>
                  <a:gd name="T6" fmla="*/ 70 w 190"/>
                  <a:gd name="T7" fmla="*/ 54 h 114"/>
                  <a:gd name="T8" fmla="*/ 90 w 190"/>
                  <a:gd name="T9" fmla="*/ 34 h 114"/>
                  <a:gd name="T10" fmla="*/ 108 w 190"/>
                  <a:gd name="T11" fmla="*/ 16 h 114"/>
                  <a:gd name="T12" fmla="*/ 128 w 190"/>
                  <a:gd name="T13" fmla="*/ 0 h 114"/>
                  <a:gd name="T14" fmla="*/ 168 w 190"/>
                  <a:gd name="T15" fmla="*/ 0 h 114"/>
                  <a:gd name="T16" fmla="*/ 190 w 190"/>
                  <a:gd name="T17" fmla="*/ 12 h 114"/>
                  <a:gd name="T18" fmla="*/ 190 w 190"/>
                  <a:gd name="T19" fmla="*/ 24 h 114"/>
                  <a:gd name="T20" fmla="*/ 140 w 190"/>
                  <a:gd name="T21" fmla="*/ 32 h 114"/>
                  <a:gd name="T22" fmla="*/ 100 w 190"/>
                  <a:gd name="T23" fmla="*/ 72 h 114"/>
                  <a:gd name="T24" fmla="*/ 74 w 190"/>
                  <a:gd name="T25" fmla="*/ 84 h 114"/>
                  <a:gd name="T26" fmla="*/ 58 w 190"/>
                  <a:gd name="T27" fmla="*/ 104 h 114"/>
                  <a:gd name="T28" fmla="*/ 30 w 190"/>
                  <a:gd name="T29" fmla="*/ 114 h 114"/>
                  <a:gd name="T30" fmla="*/ 0 w 190"/>
                  <a:gd name="T31" fmla="*/ 10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0" h="114">
                    <a:moveTo>
                      <a:pt x="0" y="106"/>
                    </a:moveTo>
                    <a:lnTo>
                      <a:pt x="16" y="86"/>
                    </a:lnTo>
                    <a:lnTo>
                      <a:pt x="40" y="76"/>
                    </a:lnTo>
                    <a:lnTo>
                      <a:pt x="70" y="54"/>
                    </a:lnTo>
                    <a:lnTo>
                      <a:pt x="90" y="34"/>
                    </a:lnTo>
                    <a:lnTo>
                      <a:pt x="108" y="16"/>
                    </a:lnTo>
                    <a:lnTo>
                      <a:pt x="128" y="0"/>
                    </a:lnTo>
                    <a:lnTo>
                      <a:pt x="168" y="0"/>
                    </a:lnTo>
                    <a:lnTo>
                      <a:pt x="190" y="12"/>
                    </a:lnTo>
                    <a:lnTo>
                      <a:pt x="190" y="24"/>
                    </a:lnTo>
                    <a:lnTo>
                      <a:pt x="140" y="32"/>
                    </a:lnTo>
                    <a:lnTo>
                      <a:pt x="100" y="72"/>
                    </a:lnTo>
                    <a:lnTo>
                      <a:pt x="74" y="84"/>
                    </a:lnTo>
                    <a:lnTo>
                      <a:pt x="58" y="104"/>
                    </a:lnTo>
                    <a:lnTo>
                      <a:pt x="30" y="114"/>
                    </a:lnTo>
                    <a:lnTo>
                      <a:pt x="0" y="106"/>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35" name="Freeform 6217">
                <a:extLst>
                  <a:ext uri="{FF2B5EF4-FFF2-40B4-BE49-F238E27FC236}">
                    <a16:creationId xmlns:a16="http://schemas.microsoft.com/office/drawing/2014/main" id="{DA0F6B6E-89F1-8417-A99C-9A10F52668A0}"/>
                  </a:ext>
                </a:extLst>
              </p:cNvPr>
              <p:cNvSpPr>
                <a:spLocks/>
              </p:cNvSpPr>
              <p:nvPr/>
            </p:nvSpPr>
            <p:spPr bwMode="gray">
              <a:xfrm>
                <a:off x="7853359" y="2432114"/>
                <a:ext cx="400067" cy="237795"/>
              </a:xfrm>
              <a:custGeom>
                <a:avLst/>
                <a:gdLst>
                  <a:gd name="T0" fmla="*/ 312 w 481"/>
                  <a:gd name="T1" fmla="*/ 218 h 302"/>
                  <a:gd name="T2" fmla="*/ 295 w 481"/>
                  <a:gd name="T3" fmla="*/ 227 h 302"/>
                  <a:gd name="T4" fmla="*/ 241 w 481"/>
                  <a:gd name="T5" fmla="*/ 225 h 302"/>
                  <a:gd name="T6" fmla="*/ 208 w 481"/>
                  <a:gd name="T7" fmla="*/ 216 h 302"/>
                  <a:gd name="T8" fmla="*/ 159 w 481"/>
                  <a:gd name="T9" fmla="*/ 186 h 302"/>
                  <a:gd name="T10" fmla="*/ 102 w 481"/>
                  <a:gd name="T11" fmla="*/ 164 h 302"/>
                  <a:gd name="T12" fmla="*/ 58 w 481"/>
                  <a:gd name="T13" fmla="*/ 104 h 302"/>
                  <a:gd name="T14" fmla="*/ 31 w 481"/>
                  <a:gd name="T15" fmla="*/ 36 h 302"/>
                  <a:gd name="T16" fmla="*/ 13 w 481"/>
                  <a:gd name="T17" fmla="*/ 21 h 302"/>
                  <a:gd name="T18" fmla="*/ 10 w 481"/>
                  <a:gd name="T19" fmla="*/ 0 h 302"/>
                  <a:gd name="T20" fmla="*/ 0 w 481"/>
                  <a:gd name="T21" fmla="*/ 17 h 302"/>
                  <a:gd name="T22" fmla="*/ 4 w 481"/>
                  <a:gd name="T23" fmla="*/ 50 h 302"/>
                  <a:gd name="T24" fmla="*/ 42 w 481"/>
                  <a:gd name="T25" fmla="*/ 131 h 302"/>
                  <a:gd name="T26" fmla="*/ 66 w 481"/>
                  <a:gd name="T27" fmla="*/ 182 h 302"/>
                  <a:gd name="T28" fmla="*/ 120 w 481"/>
                  <a:gd name="T29" fmla="*/ 206 h 302"/>
                  <a:gd name="T30" fmla="*/ 136 w 481"/>
                  <a:gd name="T31" fmla="*/ 207 h 302"/>
                  <a:gd name="T32" fmla="*/ 159 w 481"/>
                  <a:gd name="T33" fmla="*/ 221 h 302"/>
                  <a:gd name="T34" fmla="*/ 216 w 481"/>
                  <a:gd name="T35" fmla="*/ 284 h 302"/>
                  <a:gd name="T36" fmla="*/ 235 w 481"/>
                  <a:gd name="T37" fmla="*/ 284 h 302"/>
                  <a:gd name="T38" fmla="*/ 241 w 481"/>
                  <a:gd name="T39" fmla="*/ 275 h 302"/>
                  <a:gd name="T40" fmla="*/ 300 w 481"/>
                  <a:gd name="T41" fmla="*/ 273 h 302"/>
                  <a:gd name="T42" fmla="*/ 312 w 481"/>
                  <a:gd name="T43" fmla="*/ 251 h 302"/>
                  <a:gd name="T44" fmla="*/ 321 w 481"/>
                  <a:gd name="T45" fmla="*/ 257 h 302"/>
                  <a:gd name="T46" fmla="*/ 310 w 481"/>
                  <a:gd name="T47" fmla="*/ 279 h 302"/>
                  <a:gd name="T48" fmla="*/ 366 w 481"/>
                  <a:gd name="T49" fmla="*/ 302 h 302"/>
                  <a:gd name="T50" fmla="*/ 384 w 481"/>
                  <a:gd name="T51" fmla="*/ 281 h 302"/>
                  <a:gd name="T52" fmla="*/ 406 w 481"/>
                  <a:gd name="T53" fmla="*/ 267 h 302"/>
                  <a:gd name="T54" fmla="*/ 417 w 481"/>
                  <a:gd name="T55" fmla="*/ 270 h 302"/>
                  <a:gd name="T56" fmla="*/ 481 w 481"/>
                  <a:gd name="T57" fmla="*/ 255 h 302"/>
                  <a:gd name="T58" fmla="*/ 475 w 481"/>
                  <a:gd name="T59" fmla="*/ 243 h 302"/>
                  <a:gd name="T60" fmla="*/ 451 w 481"/>
                  <a:gd name="T61" fmla="*/ 237 h 302"/>
                  <a:gd name="T62" fmla="*/ 403 w 481"/>
                  <a:gd name="T63" fmla="*/ 255 h 302"/>
                  <a:gd name="T64" fmla="*/ 366 w 481"/>
                  <a:gd name="T65" fmla="*/ 246 h 302"/>
                  <a:gd name="T66" fmla="*/ 363 w 481"/>
                  <a:gd name="T67" fmla="*/ 257 h 302"/>
                  <a:gd name="T68" fmla="*/ 324 w 481"/>
                  <a:gd name="T69" fmla="*/ 245 h 302"/>
                  <a:gd name="T70" fmla="*/ 325 w 481"/>
                  <a:gd name="T71" fmla="*/ 224 h 302"/>
                  <a:gd name="T72" fmla="*/ 312 w 481"/>
                  <a:gd name="T73" fmla="*/ 21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1" h="302">
                    <a:moveTo>
                      <a:pt x="312" y="218"/>
                    </a:moveTo>
                    <a:lnTo>
                      <a:pt x="295" y="227"/>
                    </a:lnTo>
                    <a:lnTo>
                      <a:pt x="241" y="225"/>
                    </a:lnTo>
                    <a:lnTo>
                      <a:pt x="208" y="216"/>
                    </a:lnTo>
                    <a:lnTo>
                      <a:pt x="159" y="186"/>
                    </a:lnTo>
                    <a:lnTo>
                      <a:pt x="102" y="164"/>
                    </a:lnTo>
                    <a:lnTo>
                      <a:pt x="58" y="104"/>
                    </a:lnTo>
                    <a:lnTo>
                      <a:pt x="31" y="36"/>
                    </a:lnTo>
                    <a:lnTo>
                      <a:pt x="13" y="21"/>
                    </a:lnTo>
                    <a:lnTo>
                      <a:pt x="10" y="0"/>
                    </a:lnTo>
                    <a:lnTo>
                      <a:pt x="0" y="17"/>
                    </a:lnTo>
                    <a:lnTo>
                      <a:pt x="4" y="50"/>
                    </a:lnTo>
                    <a:lnTo>
                      <a:pt x="42" y="131"/>
                    </a:lnTo>
                    <a:lnTo>
                      <a:pt x="66" y="182"/>
                    </a:lnTo>
                    <a:lnTo>
                      <a:pt x="120" y="206"/>
                    </a:lnTo>
                    <a:lnTo>
                      <a:pt x="136" y="207"/>
                    </a:lnTo>
                    <a:lnTo>
                      <a:pt x="159" y="221"/>
                    </a:lnTo>
                    <a:lnTo>
                      <a:pt x="216" y="284"/>
                    </a:lnTo>
                    <a:lnTo>
                      <a:pt x="235" y="284"/>
                    </a:lnTo>
                    <a:lnTo>
                      <a:pt x="241" y="275"/>
                    </a:lnTo>
                    <a:lnTo>
                      <a:pt x="300" y="273"/>
                    </a:lnTo>
                    <a:lnTo>
                      <a:pt x="312" y="251"/>
                    </a:lnTo>
                    <a:lnTo>
                      <a:pt x="321" y="257"/>
                    </a:lnTo>
                    <a:lnTo>
                      <a:pt x="310" y="279"/>
                    </a:lnTo>
                    <a:lnTo>
                      <a:pt x="366" y="302"/>
                    </a:lnTo>
                    <a:lnTo>
                      <a:pt x="384" y="281"/>
                    </a:lnTo>
                    <a:lnTo>
                      <a:pt x="406" y="267"/>
                    </a:lnTo>
                    <a:lnTo>
                      <a:pt x="417" y="270"/>
                    </a:lnTo>
                    <a:lnTo>
                      <a:pt x="481" y="255"/>
                    </a:lnTo>
                    <a:lnTo>
                      <a:pt x="475" y="243"/>
                    </a:lnTo>
                    <a:lnTo>
                      <a:pt x="451" y="237"/>
                    </a:lnTo>
                    <a:lnTo>
                      <a:pt x="403" y="255"/>
                    </a:lnTo>
                    <a:lnTo>
                      <a:pt x="366" y="246"/>
                    </a:lnTo>
                    <a:lnTo>
                      <a:pt x="363" y="257"/>
                    </a:lnTo>
                    <a:lnTo>
                      <a:pt x="324" y="245"/>
                    </a:lnTo>
                    <a:lnTo>
                      <a:pt x="325" y="224"/>
                    </a:lnTo>
                    <a:lnTo>
                      <a:pt x="312" y="218"/>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36" name="Freeform 6218">
                <a:extLst>
                  <a:ext uri="{FF2B5EF4-FFF2-40B4-BE49-F238E27FC236}">
                    <a16:creationId xmlns:a16="http://schemas.microsoft.com/office/drawing/2014/main" id="{FAE407B7-D3AA-DB8A-6085-8BC005C26737}"/>
                  </a:ext>
                </a:extLst>
              </p:cNvPr>
              <p:cNvSpPr>
                <a:spLocks/>
              </p:cNvSpPr>
              <p:nvPr/>
            </p:nvSpPr>
            <p:spPr bwMode="gray">
              <a:xfrm>
                <a:off x="8168140" y="1816820"/>
                <a:ext cx="849755" cy="438434"/>
              </a:xfrm>
              <a:custGeom>
                <a:avLst/>
                <a:gdLst>
                  <a:gd name="T0" fmla="*/ 225 w 1020"/>
                  <a:gd name="T1" fmla="*/ 67 h 553"/>
                  <a:gd name="T2" fmla="*/ 314 w 1020"/>
                  <a:gd name="T3" fmla="*/ 108 h 553"/>
                  <a:gd name="T4" fmla="*/ 351 w 1020"/>
                  <a:gd name="T5" fmla="*/ 184 h 553"/>
                  <a:gd name="T6" fmla="*/ 383 w 1020"/>
                  <a:gd name="T7" fmla="*/ 223 h 553"/>
                  <a:gd name="T8" fmla="*/ 365 w 1020"/>
                  <a:gd name="T9" fmla="*/ 246 h 553"/>
                  <a:gd name="T10" fmla="*/ 324 w 1020"/>
                  <a:gd name="T11" fmla="*/ 234 h 553"/>
                  <a:gd name="T12" fmla="*/ 267 w 1020"/>
                  <a:gd name="T13" fmla="*/ 219 h 553"/>
                  <a:gd name="T14" fmla="*/ 195 w 1020"/>
                  <a:gd name="T15" fmla="*/ 202 h 553"/>
                  <a:gd name="T16" fmla="*/ 231 w 1020"/>
                  <a:gd name="T17" fmla="*/ 199 h 553"/>
                  <a:gd name="T18" fmla="*/ 275 w 1020"/>
                  <a:gd name="T19" fmla="*/ 202 h 553"/>
                  <a:gd name="T20" fmla="*/ 128 w 1020"/>
                  <a:gd name="T21" fmla="*/ 124 h 553"/>
                  <a:gd name="T22" fmla="*/ 93 w 1020"/>
                  <a:gd name="T23" fmla="*/ 129 h 553"/>
                  <a:gd name="T24" fmla="*/ 89 w 1020"/>
                  <a:gd name="T25" fmla="*/ 159 h 553"/>
                  <a:gd name="T26" fmla="*/ 150 w 1020"/>
                  <a:gd name="T27" fmla="*/ 189 h 553"/>
                  <a:gd name="T28" fmla="*/ 125 w 1020"/>
                  <a:gd name="T29" fmla="*/ 229 h 553"/>
                  <a:gd name="T30" fmla="*/ 54 w 1020"/>
                  <a:gd name="T31" fmla="*/ 268 h 553"/>
                  <a:gd name="T32" fmla="*/ 30 w 1020"/>
                  <a:gd name="T33" fmla="*/ 294 h 553"/>
                  <a:gd name="T34" fmla="*/ 126 w 1020"/>
                  <a:gd name="T35" fmla="*/ 246 h 553"/>
                  <a:gd name="T36" fmla="*/ 257 w 1020"/>
                  <a:gd name="T37" fmla="*/ 255 h 553"/>
                  <a:gd name="T38" fmla="*/ 344 w 1020"/>
                  <a:gd name="T39" fmla="*/ 273 h 553"/>
                  <a:gd name="T40" fmla="*/ 423 w 1020"/>
                  <a:gd name="T41" fmla="*/ 303 h 553"/>
                  <a:gd name="T42" fmla="*/ 504 w 1020"/>
                  <a:gd name="T43" fmla="*/ 351 h 553"/>
                  <a:gd name="T44" fmla="*/ 590 w 1020"/>
                  <a:gd name="T45" fmla="*/ 438 h 553"/>
                  <a:gd name="T46" fmla="*/ 659 w 1020"/>
                  <a:gd name="T47" fmla="*/ 514 h 553"/>
                  <a:gd name="T48" fmla="*/ 678 w 1020"/>
                  <a:gd name="T49" fmla="*/ 537 h 553"/>
                  <a:gd name="T50" fmla="*/ 701 w 1020"/>
                  <a:gd name="T51" fmla="*/ 538 h 553"/>
                  <a:gd name="T52" fmla="*/ 773 w 1020"/>
                  <a:gd name="T53" fmla="*/ 552 h 553"/>
                  <a:gd name="T54" fmla="*/ 828 w 1020"/>
                  <a:gd name="T55" fmla="*/ 538 h 553"/>
                  <a:gd name="T56" fmla="*/ 896 w 1020"/>
                  <a:gd name="T57" fmla="*/ 507 h 553"/>
                  <a:gd name="T58" fmla="*/ 930 w 1020"/>
                  <a:gd name="T59" fmla="*/ 520 h 553"/>
                  <a:gd name="T60" fmla="*/ 962 w 1020"/>
                  <a:gd name="T61" fmla="*/ 501 h 553"/>
                  <a:gd name="T62" fmla="*/ 1019 w 1020"/>
                  <a:gd name="T63" fmla="*/ 480 h 553"/>
                  <a:gd name="T64" fmla="*/ 936 w 1020"/>
                  <a:gd name="T65" fmla="*/ 421 h 553"/>
                  <a:gd name="T66" fmla="*/ 828 w 1020"/>
                  <a:gd name="T67" fmla="*/ 363 h 553"/>
                  <a:gd name="T68" fmla="*/ 767 w 1020"/>
                  <a:gd name="T69" fmla="*/ 349 h 553"/>
                  <a:gd name="T70" fmla="*/ 699 w 1020"/>
                  <a:gd name="T71" fmla="*/ 261 h 553"/>
                  <a:gd name="T72" fmla="*/ 620 w 1020"/>
                  <a:gd name="T73" fmla="*/ 238 h 553"/>
                  <a:gd name="T74" fmla="*/ 468 w 1020"/>
                  <a:gd name="T75" fmla="*/ 202 h 553"/>
                  <a:gd name="T76" fmla="*/ 395 w 1020"/>
                  <a:gd name="T77" fmla="*/ 120 h 553"/>
                  <a:gd name="T78" fmla="*/ 303 w 1020"/>
                  <a:gd name="T79" fmla="*/ 69 h 553"/>
                  <a:gd name="T80" fmla="*/ 200 w 1020"/>
                  <a:gd name="T81" fmla="*/ 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20" h="553">
                    <a:moveTo>
                      <a:pt x="173" y="13"/>
                    </a:moveTo>
                    <a:lnTo>
                      <a:pt x="225" y="67"/>
                    </a:lnTo>
                    <a:lnTo>
                      <a:pt x="303" y="108"/>
                    </a:lnTo>
                    <a:lnTo>
                      <a:pt x="314" y="108"/>
                    </a:lnTo>
                    <a:lnTo>
                      <a:pt x="345" y="139"/>
                    </a:lnTo>
                    <a:lnTo>
                      <a:pt x="351" y="184"/>
                    </a:lnTo>
                    <a:lnTo>
                      <a:pt x="372" y="205"/>
                    </a:lnTo>
                    <a:lnTo>
                      <a:pt x="383" y="223"/>
                    </a:lnTo>
                    <a:lnTo>
                      <a:pt x="389" y="247"/>
                    </a:lnTo>
                    <a:lnTo>
                      <a:pt x="365" y="246"/>
                    </a:lnTo>
                    <a:lnTo>
                      <a:pt x="348" y="238"/>
                    </a:lnTo>
                    <a:lnTo>
                      <a:pt x="324" y="234"/>
                    </a:lnTo>
                    <a:lnTo>
                      <a:pt x="297" y="244"/>
                    </a:lnTo>
                    <a:lnTo>
                      <a:pt x="267" y="219"/>
                    </a:lnTo>
                    <a:lnTo>
                      <a:pt x="240" y="217"/>
                    </a:lnTo>
                    <a:lnTo>
                      <a:pt x="195" y="202"/>
                    </a:lnTo>
                    <a:lnTo>
                      <a:pt x="195" y="178"/>
                    </a:lnTo>
                    <a:lnTo>
                      <a:pt x="231" y="199"/>
                    </a:lnTo>
                    <a:lnTo>
                      <a:pt x="251" y="213"/>
                    </a:lnTo>
                    <a:lnTo>
                      <a:pt x="275" y="202"/>
                    </a:lnTo>
                    <a:lnTo>
                      <a:pt x="249" y="174"/>
                    </a:lnTo>
                    <a:lnTo>
                      <a:pt x="128" y="124"/>
                    </a:lnTo>
                    <a:lnTo>
                      <a:pt x="153" y="157"/>
                    </a:lnTo>
                    <a:lnTo>
                      <a:pt x="93" y="129"/>
                    </a:lnTo>
                    <a:lnTo>
                      <a:pt x="69" y="139"/>
                    </a:lnTo>
                    <a:lnTo>
                      <a:pt x="89" y="159"/>
                    </a:lnTo>
                    <a:lnTo>
                      <a:pt x="125" y="181"/>
                    </a:lnTo>
                    <a:lnTo>
                      <a:pt x="150" y="189"/>
                    </a:lnTo>
                    <a:lnTo>
                      <a:pt x="147" y="207"/>
                    </a:lnTo>
                    <a:lnTo>
                      <a:pt x="125" y="229"/>
                    </a:lnTo>
                    <a:lnTo>
                      <a:pt x="92" y="252"/>
                    </a:lnTo>
                    <a:lnTo>
                      <a:pt x="54" y="268"/>
                    </a:lnTo>
                    <a:lnTo>
                      <a:pt x="0" y="277"/>
                    </a:lnTo>
                    <a:lnTo>
                      <a:pt x="30" y="294"/>
                    </a:lnTo>
                    <a:lnTo>
                      <a:pt x="113" y="271"/>
                    </a:lnTo>
                    <a:lnTo>
                      <a:pt x="126" y="246"/>
                    </a:lnTo>
                    <a:lnTo>
                      <a:pt x="234" y="234"/>
                    </a:lnTo>
                    <a:lnTo>
                      <a:pt x="257" y="255"/>
                    </a:lnTo>
                    <a:lnTo>
                      <a:pt x="320" y="247"/>
                    </a:lnTo>
                    <a:lnTo>
                      <a:pt x="344" y="273"/>
                    </a:lnTo>
                    <a:lnTo>
                      <a:pt x="369" y="276"/>
                    </a:lnTo>
                    <a:lnTo>
                      <a:pt x="423" y="303"/>
                    </a:lnTo>
                    <a:lnTo>
                      <a:pt x="467" y="316"/>
                    </a:lnTo>
                    <a:lnTo>
                      <a:pt x="504" y="351"/>
                    </a:lnTo>
                    <a:lnTo>
                      <a:pt x="591" y="403"/>
                    </a:lnTo>
                    <a:lnTo>
                      <a:pt x="590" y="438"/>
                    </a:lnTo>
                    <a:lnTo>
                      <a:pt x="659" y="492"/>
                    </a:lnTo>
                    <a:lnTo>
                      <a:pt x="659" y="514"/>
                    </a:lnTo>
                    <a:lnTo>
                      <a:pt x="674" y="520"/>
                    </a:lnTo>
                    <a:lnTo>
                      <a:pt x="678" y="537"/>
                    </a:lnTo>
                    <a:lnTo>
                      <a:pt x="686" y="543"/>
                    </a:lnTo>
                    <a:lnTo>
                      <a:pt x="701" y="538"/>
                    </a:lnTo>
                    <a:lnTo>
                      <a:pt x="728" y="553"/>
                    </a:lnTo>
                    <a:lnTo>
                      <a:pt x="773" y="552"/>
                    </a:lnTo>
                    <a:lnTo>
                      <a:pt x="803" y="517"/>
                    </a:lnTo>
                    <a:lnTo>
                      <a:pt x="828" y="538"/>
                    </a:lnTo>
                    <a:lnTo>
                      <a:pt x="851" y="535"/>
                    </a:lnTo>
                    <a:lnTo>
                      <a:pt x="896" y="507"/>
                    </a:lnTo>
                    <a:lnTo>
                      <a:pt x="899" y="526"/>
                    </a:lnTo>
                    <a:lnTo>
                      <a:pt x="930" y="520"/>
                    </a:lnTo>
                    <a:lnTo>
                      <a:pt x="938" y="535"/>
                    </a:lnTo>
                    <a:lnTo>
                      <a:pt x="962" y="501"/>
                    </a:lnTo>
                    <a:lnTo>
                      <a:pt x="1020" y="498"/>
                    </a:lnTo>
                    <a:lnTo>
                      <a:pt x="1019" y="480"/>
                    </a:lnTo>
                    <a:lnTo>
                      <a:pt x="963" y="420"/>
                    </a:lnTo>
                    <a:lnTo>
                      <a:pt x="936" y="421"/>
                    </a:lnTo>
                    <a:lnTo>
                      <a:pt x="869" y="397"/>
                    </a:lnTo>
                    <a:lnTo>
                      <a:pt x="828" y="363"/>
                    </a:lnTo>
                    <a:lnTo>
                      <a:pt x="798" y="370"/>
                    </a:lnTo>
                    <a:lnTo>
                      <a:pt x="767" y="349"/>
                    </a:lnTo>
                    <a:lnTo>
                      <a:pt x="734" y="276"/>
                    </a:lnTo>
                    <a:lnTo>
                      <a:pt x="699" y="261"/>
                    </a:lnTo>
                    <a:lnTo>
                      <a:pt x="650" y="258"/>
                    </a:lnTo>
                    <a:lnTo>
                      <a:pt x="620" y="238"/>
                    </a:lnTo>
                    <a:lnTo>
                      <a:pt x="545" y="253"/>
                    </a:lnTo>
                    <a:lnTo>
                      <a:pt x="468" y="202"/>
                    </a:lnTo>
                    <a:lnTo>
                      <a:pt x="402" y="157"/>
                    </a:lnTo>
                    <a:lnTo>
                      <a:pt x="395" y="120"/>
                    </a:lnTo>
                    <a:lnTo>
                      <a:pt x="333" y="84"/>
                    </a:lnTo>
                    <a:lnTo>
                      <a:pt x="303" y="69"/>
                    </a:lnTo>
                    <a:lnTo>
                      <a:pt x="254" y="25"/>
                    </a:lnTo>
                    <a:lnTo>
                      <a:pt x="200" y="0"/>
                    </a:lnTo>
                    <a:lnTo>
                      <a:pt x="173" y="13"/>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grpSp>
        <p:sp>
          <p:nvSpPr>
            <p:cNvPr id="128" name="Freeform 6219">
              <a:extLst>
                <a:ext uri="{FF2B5EF4-FFF2-40B4-BE49-F238E27FC236}">
                  <a16:creationId xmlns:a16="http://schemas.microsoft.com/office/drawing/2014/main" id="{00C74166-61D3-A54F-F72F-7EA8856AF7A1}"/>
                </a:ext>
              </a:extLst>
            </p:cNvPr>
            <p:cNvSpPr>
              <a:spLocks/>
            </p:cNvSpPr>
            <p:nvPr/>
          </p:nvSpPr>
          <p:spPr bwMode="gray">
            <a:xfrm>
              <a:off x="7031516" y="2686988"/>
              <a:ext cx="24810" cy="19321"/>
            </a:xfrm>
            <a:custGeom>
              <a:avLst/>
              <a:gdLst>
                <a:gd name="T0" fmla="*/ 0 w 30"/>
                <a:gd name="T1" fmla="*/ 24 h 24"/>
                <a:gd name="T2" fmla="*/ 2 w 30"/>
                <a:gd name="T3" fmla="*/ 10 h 24"/>
                <a:gd name="T4" fmla="*/ 14 w 30"/>
                <a:gd name="T5" fmla="*/ 0 h 24"/>
                <a:gd name="T6" fmla="*/ 30 w 30"/>
                <a:gd name="T7" fmla="*/ 12 h 24"/>
                <a:gd name="T8" fmla="*/ 18 w 30"/>
                <a:gd name="T9" fmla="*/ 24 h 24"/>
                <a:gd name="T10" fmla="*/ 0 w 30"/>
                <a:gd name="T11" fmla="*/ 24 h 24"/>
              </a:gdLst>
              <a:ahLst/>
              <a:cxnLst>
                <a:cxn ang="0">
                  <a:pos x="T0" y="T1"/>
                </a:cxn>
                <a:cxn ang="0">
                  <a:pos x="T2" y="T3"/>
                </a:cxn>
                <a:cxn ang="0">
                  <a:pos x="T4" y="T5"/>
                </a:cxn>
                <a:cxn ang="0">
                  <a:pos x="T6" y="T7"/>
                </a:cxn>
                <a:cxn ang="0">
                  <a:pos x="T8" y="T9"/>
                </a:cxn>
                <a:cxn ang="0">
                  <a:pos x="T10" y="T11"/>
                </a:cxn>
              </a:cxnLst>
              <a:rect l="0" t="0" r="r" b="b"/>
              <a:pathLst>
                <a:path w="30" h="24">
                  <a:moveTo>
                    <a:pt x="0" y="24"/>
                  </a:moveTo>
                  <a:lnTo>
                    <a:pt x="2" y="10"/>
                  </a:lnTo>
                  <a:lnTo>
                    <a:pt x="14" y="0"/>
                  </a:lnTo>
                  <a:lnTo>
                    <a:pt x="30" y="12"/>
                  </a:lnTo>
                  <a:lnTo>
                    <a:pt x="18" y="24"/>
                  </a:lnTo>
                  <a:lnTo>
                    <a:pt x="0" y="24"/>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grpSp>
      <p:sp>
        <p:nvSpPr>
          <p:cNvPr id="126986" name="Textfeld 6">
            <a:extLst>
              <a:ext uri="{FF2B5EF4-FFF2-40B4-BE49-F238E27FC236}">
                <a16:creationId xmlns:a16="http://schemas.microsoft.com/office/drawing/2014/main" id="{C4723279-8CF7-37E3-AC26-7D65E25BFF01}"/>
              </a:ext>
            </a:extLst>
          </p:cNvPr>
          <p:cNvSpPr txBox="1">
            <a:spLocks noChangeArrowheads="1"/>
          </p:cNvSpPr>
          <p:nvPr/>
        </p:nvSpPr>
        <p:spPr bwMode="auto">
          <a:xfrm>
            <a:off x="1281113" y="4221163"/>
            <a:ext cx="254000" cy="177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NE</a:t>
            </a:r>
          </a:p>
        </p:txBody>
      </p:sp>
      <p:sp>
        <p:nvSpPr>
          <p:cNvPr id="126987" name="Textfeld 8">
            <a:extLst>
              <a:ext uri="{FF2B5EF4-FFF2-40B4-BE49-F238E27FC236}">
                <a16:creationId xmlns:a16="http://schemas.microsoft.com/office/drawing/2014/main" id="{30C47766-C6E8-B1F7-148A-572E8925DBCF}"/>
              </a:ext>
            </a:extLst>
          </p:cNvPr>
          <p:cNvSpPr txBox="1">
            <a:spLocks noChangeArrowheads="1"/>
          </p:cNvSpPr>
          <p:nvPr/>
        </p:nvSpPr>
        <p:spPr bwMode="auto">
          <a:xfrm>
            <a:off x="350838" y="5683250"/>
            <a:ext cx="254000" cy="28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GE</a:t>
            </a:r>
          </a:p>
        </p:txBody>
      </p:sp>
      <p:sp>
        <p:nvSpPr>
          <p:cNvPr id="126988" name="Textfeld 11">
            <a:extLst>
              <a:ext uri="{FF2B5EF4-FFF2-40B4-BE49-F238E27FC236}">
                <a16:creationId xmlns:a16="http://schemas.microsoft.com/office/drawing/2014/main" id="{2661ECFE-5E0B-E34A-5564-87CAFEB67699}"/>
              </a:ext>
            </a:extLst>
          </p:cNvPr>
          <p:cNvSpPr txBox="1">
            <a:spLocks noChangeArrowheads="1"/>
          </p:cNvSpPr>
          <p:nvPr/>
        </p:nvSpPr>
        <p:spPr bwMode="auto">
          <a:xfrm>
            <a:off x="919163" y="4910138"/>
            <a:ext cx="25241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VD</a:t>
            </a:r>
          </a:p>
        </p:txBody>
      </p:sp>
      <p:sp>
        <p:nvSpPr>
          <p:cNvPr id="126989" name="Textfeld 12">
            <a:extLst>
              <a:ext uri="{FF2B5EF4-FFF2-40B4-BE49-F238E27FC236}">
                <a16:creationId xmlns:a16="http://schemas.microsoft.com/office/drawing/2014/main" id="{B65D73AE-EB71-BB2B-ECD3-B04F6AF15053}"/>
              </a:ext>
            </a:extLst>
          </p:cNvPr>
          <p:cNvSpPr txBox="1">
            <a:spLocks noChangeArrowheads="1"/>
          </p:cNvSpPr>
          <p:nvPr/>
        </p:nvSpPr>
        <p:spPr bwMode="auto">
          <a:xfrm>
            <a:off x="1674813" y="4713288"/>
            <a:ext cx="25241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FR</a:t>
            </a:r>
          </a:p>
        </p:txBody>
      </p:sp>
      <p:sp>
        <p:nvSpPr>
          <p:cNvPr id="126990" name="Textfeld 13">
            <a:extLst>
              <a:ext uri="{FF2B5EF4-FFF2-40B4-BE49-F238E27FC236}">
                <a16:creationId xmlns:a16="http://schemas.microsoft.com/office/drawing/2014/main" id="{C96E90F9-2330-3EC2-CFC7-74886867F8E6}"/>
              </a:ext>
            </a:extLst>
          </p:cNvPr>
          <p:cNvSpPr txBox="1">
            <a:spLocks noChangeArrowheads="1"/>
          </p:cNvSpPr>
          <p:nvPr/>
        </p:nvSpPr>
        <p:spPr bwMode="auto">
          <a:xfrm>
            <a:off x="2395538" y="4713288"/>
            <a:ext cx="25241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BE</a:t>
            </a:r>
          </a:p>
        </p:txBody>
      </p:sp>
      <p:sp>
        <p:nvSpPr>
          <p:cNvPr id="126991" name="Textfeld 14">
            <a:extLst>
              <a:ext uri="{FF2B5EF4-FFF2-40B4-BE49-F238E27FC236}">
                <a16:creationId xmlns:a16="http://schemas.microsoft.com/office/drawing/2014/main" id="{9672D944-CA52-58D2-7448-9E676EC41F9B}"/>
              </a:ext>
            </a:extLst>
          </p:cNvPr>
          <p:cNvSpPr txBox="1">
            <a:spLocks noChangeArrowheads="1"/>
          </p:cNvSpPr>
          <p:nvPr/>
        </p:nvSpPr>
        <p:spPr bwMode="auto">
          <a:xfrm>
            <a:off x="1766888" y="3598863"/>
            <a:ext cx="25241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JU</a:t>
            </a:r>
          </a:p>
        </p:txBody>
      </p:sp>
      <p:sp>
        <p:nvSpPr>
          <p:cNvPr id="126992" name="Textfeld 15">
            <a:extLst>
              <a:ext uri="{FF2B5EF4-FFF2-40B4-BE49-F238E27FC236}">
                <a16:creationId xmlns:a16="http://schemas.microsoft.com/office/drawing/2014/main" id="{B49FDC0C-E0D1-74F0-45B7-20A0A7C46AB7}"/>
              </a:ext>
            </a:extLst>
          </p:cNvPr>
          <p:cNvSpPr txBox="1">
            <a:spLocks noChangeArrowheads="1"/>
          </p:cNvSpPr>
          <p:nvPr/>
        </p:nvSpPr>
        <p:spPr bwMode="auto">
          <a:xfrm>
            <a:off x="2527300" y="3397250"/>
            <a:ext cx="252413" cy="177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BL</a:t>
            </a:r>
          </a:p>
        </p:txBody>
      </p:sp>
      <p:sp>
        <p:nvSpPr>
          <p:cNvPr id="126993" name="Textfeld 16">
            <a:extLst>
              <a:ext uri="{FF2B5EF4-FFF2-40B4-BE49-F238E27FC236}">
                <a16:creationId xmlns:a16="http://schemas.microsoft.com/office/drawing/2014/main" id="{876DB55A-D8D4-A7C0-D0E0-6B57569E9CCB}"/>
              </a:ext>
            </a:extLst>
          </p:cNvPr>
          <p:cNvSpPr txBox="1">
            <a:spLocks noChangeArrowheads="1"/>
          </p:cNvSpPr>
          <p:nvPr/>
        </p:nvSpPr>
        <p:spPr bwMode="auto">
          <a:xfrm>
            <a:off x="2265363" y="3171825"/>
            <a:ext cx="252412" cy="176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BS</a:t>
            </a:r>
          </a:p>
        </p:txBody>
      </p:sp>
      <p:sp>
        <p:nvSpPr>
          <p:cNvPr id="126994" name="Textfeld 65">
            <a:extLst>
              <a:ext uri="{FF2B5EF4-FFF2-40B4-BE49-F238E27FC236}">
                <a16:creationId xmlns:a16="http://schemas.microsoft.com/office/drawing/2014/main" id="{EFB4139C-E24C-9F39-DA50-105E42B2A1B2}"/>
              </a:ext>
            </a:extLst>
          </p:cNvPr>
          <p:cNvSpPr txBox="1">
            <a:spLocks noChangeArrowheads="1"/>
          </p:cNvSpPr>
          <p:nvPr/>
        </p:nvSpPr>
        <p:spPr bwMode="auto">
          <a:xfrm>
            <a:off x="3021013" y="3397250"/>
            <a:ext cx="254000" cy="177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AG</a:t>
            </a:r>
          </a:p>
        </p:txBody>
      </p:sp>
      <p:sp>
        <p:nvSpPr>
          <p:cNvPr id="126995" name="Textfeld 75">
            <a:extLst>
              <a:ext uri="{FF2B5EF4-FFF2-40B4-BE49-F238E27FC236}">
                <a16:creationId xmlns:a16="http://schemas.microsoft.com/office/drawing/2014/main" id="{C8079651-E355-26D4-3256-379C3DB78254}"/>
              </a:ext>
            </a:extLst>
          </p:cNvPr>
          <p:cNvSpPr txBox="1">
            <a:spLocks noChangeArrowheads="1"/>
          </p:cNvSpPr>
          <p:nvPr/>
        </p:nvSpPr>
        <p:spPr bwMode="auto">
          <a:xfrm>
            <a:off x="2284413" y="5818188"/>
            <a:ext cx="25241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VS</a:t>
            </a:r>
          </a:p>
        </p:txBody>
      </p:sp>
      <p:sp>
        <p:nvSpPr>
          <p:cNvPr id="126996" name="Textfeld 76">
            <a:extLst>
              <a:ext uri="{FF2B5EF4-FFF2-40B4-BE49-F238E27FC236}">
                <a16:creationId xmlns:a16="http://schemas.microsoft.com/office/drawing/2014/main" id="{AA68ACF9-8A06-E433-3894-C63D23EE75C5}"/>
              </a:ext>
            </a:extLst>
          </p:cNvPr>
          <p:cNvSpPr txBox="1">
            <a:spLocks noChangeArrowheads="1"/>
          </p:cNvSpPr>
          <p:nvPr/>
        </p:nvSpPr>
        <p:spPr bwMode="auto">
          <a:xfrm>
            <a:off x="3835400" y="5383213"/>
            <a:ext cx="254000"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TI</a:t>
            </a:r>
          </a:p>
        </p:txBody>
      </p:sp>
      <p:sp>
        <p:nvSpPr>
          <p:cNvPr id="126997" name="Textfeld 136">
            <a:extLst>
              <a:ext uri="{FF2B5EF4-FFF2-40B4-BE49-F238E27FC236}">
                <a16:creationId xmlns:a16="http://schemas.microsoft.com/office/drawing/2014/main" id="{3BDC2680-1A1E-5722-FADA-1AF46D26CB4B}"/>
              </a:ext>
            </a:extLst>
          </p:cNvPr>
          <p:cNvSpPr txBox="1">
            <a:spLocks noChangeArrowheads="1"/>
          </p:cNvSpPr>
          <p:nvPr/>
        </p:nvSpPr>
        <p:spPr bwMode="auto">
          <a:xfrm>
            <a:off x="4843463" y="4733925"/>
            <a:ext cx="252412" cy="176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GR</a:t>
            </a:r>
          </a:p>
        </p:txBody>
      </p:sp>
      <p:sp>
        <p:nvSpPr>
          <p:cNvPr id="126998" name="Textfeld 137">
            <a:extLst>
              <a:ext uri="{FF2B5EF4-FFF2-40B4-BE49-F238E27FC236}">
                <a16:creationId xmlns:a16="http://schemas.microsoft.com/office/drawing/2014/main" id="{212CDCE9-F922-A342-B77C-0BDE0DF044E1}"/>
              </a:ext>
            </a:extLst>
          </p:cNvPr>
          <p:cNvSpPr txBox="1">
            <a:spLocks noChangeArrowheads="1"/>
          </p:cNvSpPr>
          <p:nvPr/>
        </p:nvSpPr>
        <p:spPr bwMode="auto">
          <a:xfrm>
            <a:off x="4200525" y="3776663"/>
            <a:ext cx="252413" cy="177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SG</a:t>
            </a:r>
          </a:p>
        </p:txBody>
      </p:sp>
      <p:sp>
        <p:nvSpPr>
          <p:cNvPr id="126999" name="Textfeld 138">
            <a:extLst>
              <a:ext uri="{FF2B5EF4-FFF2-40B4-BE49-F238E27FC236}">
                <a16:creationId xmlns:a16="http://schemas.microsoft.com/office/drawing/2014/main" id="{826C0AC0-005A-DDA5-2BCA-DF646985DCFF}"/>
              </a:ext>
            </a:extLst>
          </p:cNvPr>
          <p:cNvSpPr txBox="1">
            <a:spLocks noChangeArrowheads="1"/>
          </p:cNvSpPr>
          <p:nvPr/>
        </p:nvSpPr>
        <p:spPr bwMode="auto">
          <a:xfrm>
            <a:off x="4132263" y="3151188"/>
            <a:ext cx="25241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TG</a:t>
            </a:r>
          </a:p>
        </p:txBody>
      </p:sp>
      <p:sp>
        <p:nvSpPr>
          <p:cNvPr id="127000" name="Textfeld 139">
            <a:extLst>
              <a:ext uri="{FF2B5EF4-FFF2-40B4-BE49-F238E27FC236}">
                <a16:creationId xmlns:a16="http://schemas.microsoft.com/office/drawing/2014/main" id="{ED56CC75-4277-721B-5B95-2B0CAD7A1E29}"/>
              </a:ext>
            </a:extLst>
          </p:cNvPr>
          <p:cNvSpPr txBox="1">
            <a:spLocks noChangeArrowheads="1"/>
          </p:cNvSpPr>
          <p:nvPr/>
        </p:nvSpPr>
        <p:spPr bwMode="auto">
          <a:xfrm>
            <a:off x="3640138" y="3413125"/>
            <a:ext cx="252412" cy="176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ZH</a:t>
            </a:r>
          </a:p>
        </p:txBody>
      </p:sp>
      <p:sp>
        <p:nvSpPr>
          <p:cNvPr id="127001" name="Textfeld 140">
            <a:extLst>
              <a:ext uri="{FF2B5EF4-FFF2-40B4-BE49-F238E27FC236}">
                <a16:creationId xmlns:a16="http://schemas.microsoft.com/office/drawing/2014/main" id="{07E8110C-7DEC-8864-A494-B329A97A96A3}"/>
              </a:ext>
            </a:extLst>
          </p:cNvPr>
          <p:cNvSpPr txBox="1">
            <a:spLocks noChangeArrowheads="1"/>
          </p:cNvSpPr>
          <p:nvPr/>
        </p:nvSpPr>
        <p:spPr bwMode="auto">
          <a:xfrm>
            <a:off x="3494088" y="2889250"/>
            <a:ext cx="252412" cy="176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SH</a:t>
            </a:r>
          </a:p>
        </p:txBody>
      </p:sp>
      <p:sp>
        <p:nvSpPr>
          <p:cNvPr id="127002" name="Textfeld 141">
            <a:extLst>
              <a:ext uri="{FF2B5EF4-FFF2-40B4-BE49-F238E27FC236}">
                <a16:creationId xmlns:a16="http://schemas.microsoft.com/office/drawing/2014/main" id="{23A0193F-7C2C-FF0D-8579-2391B889E3FA}"/>
              </a:ext>
            </a:extLst>
          </p:cNvPr>
          <p:cNvSpPr txBox="1">
            <a:spLocks noChangeArrowheads="1"/>
          </p:cNvSpPr>
          <p:nvPr/>
        </p:nvSpPr>
        <p:spPr bwMode="auto">
          <a:xfrm>
            <a:off x="2335213" y="3633788"/>
            <a:ext cx="25241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SO</a:t>
            </a:r>
          </a:p>
        </p:txBody>
      </p:sp>
      <p:sp>
        <p:nvSpPr>
          <p:cNvPr id="127003" name="Textfeld 142">
            <a:extLst>
              <a:ext uri="{FF2B5EF4-FFF2-40B4-BE49-F238E27FC236}">
                <a16:creationId xmlns:a16="http://schemas.microsoft.com/office/drawing/2014/main" id="{BE44CEDD-071A-0764-115F-787EE0F45D82}"/>
              </a:ext>
            </a:extLst>
          </p:cNvPr>
          <p:cNvSpPr txBox="1">
            <a:spLocks noChangeArrowheads="1"/>
          </p:cNvSpPr>
          <p:nvPr/>
        </p:nvSpPr>
        <p:spPr bwMode="auto">
          <a:xfrm>
            <a:off x="2943225" y="4040188"/>
            <a:ext cx="252413"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LU</a:t>
            </a:r>
          </a:p>
        </p:txBody>
      </p:sp>
      <p:sp>
        <p:nvSpPr>
          <p:cNvPr id="127004" name="Textfeld 144">
            <a:extLst>
              <a:ext uri="{FF2B5EF4-FFF2-40B4-BE49-F238E27FC236}">
                <a16:creationId xmlns:a16="http://schemas.microsoft.com/office/drawing/2014/main" id="{2E41A102-E068-D14B-15F3-5B31BED60E39}"/>
              </a:ext>
            </a:extLst>
          </p:cNvPr>
          <p:cNvSpPr txBox="1">
            <a:spLocks noChangeArrowheads="1"/>
          </p:cNvSpPr>
          <p:nvPr/>
        </p:nvSpPr>
        <p:spPr bwMode="auto">
          <a:xfrm>
            <a:off x="3776663" y="4073525"/>
            <a:ext cx="254000" cy="177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SZ</a:t>
            </a:r>
          </a:p>
        </p:txBody>
      </p:sp>
      <p:sp>
        <p:nvSpPr>
          <p:cNvPr id="127005" name="Textfeld 145">
            <a:extLst>
              <a:ext uri="{FF2B5EF4-FFF2-40B4-BE49-F238E27FC236}">
                <a16:creationId xmlns:a16="http://schemas.microsoft.com/office/drawing/2014/main" id="{A4BBD7F6-DFEB-B222-5C1C-25985304BDA2}"/>
              </a:ext>
            </a:extLst>
          </p:cNvPr>
          <p:cNvSpPr txBox="1">
            <a:spLocks noChangeArrowheads="1"/>
          </p:cNvSpPr>
          <p:nvPr/>
        </p:nvSpPr>
        <p:spPr bwMode="auto">
          <a:xfrm>
            <a:off x="4579938" y="3616325"/>
            <a:ext cx="252412" cy="177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AI</a:t>
            </a:r>
          </a:p>
        </p:txBody>
      </p:sp>
      <p:sp>
        <p:nvSpPr>
          <p:cNvPr id="127006" name="Textfeld 146">
            <a:extLst>
              <a:ext uri="{FF2B5EF4-FFF2-40B4-BE49-F238E27FC236}">
                <a16:creationId xmlns:a16="http://schemas.microsoft.com/office/drawing/2014/main" id="{0BE7D7F1-AFC8-A76F-7F08-645E4A0CC946}"/>
              </a:ext>
            </a:extLst>
          </p:cNvPr>
          <p:cNvSpPr txBox="1">
            <a:spLocks noChangeArrowheads="1"/>
          </p:cNvSpPr>
          <p:nvPr/>
        </p:nvSpPr>
        <p:spPr bwMode="auto">
          <a:xfrm>
            <a:off x="4349750" y="3557588"/>
            <a:ext cx="252413"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AR</a:t>
            </a:r>
          </a:p>
        </p:txBody>
      </p:sp>
      <p:sp>
        <p:nvSpPr>
          <p:cNvPr id="127007" name="Textfeld 147">
            <a:extLst>
              <a:ext uri="{FF2B5EF4-FFF2-40B4-BE49-F238E27FC236}">
                <a16:creationId xmlns:a16="http://schemas.microsoft.com/office/drawing/2014/main" id="{61A6DEB4-1DDC-6D07-C8D0-2FBDFDF4B898}"/>
              </a:ext>
            </a:extLst>
          </p:cNvPr>
          <p:cNvSpPr txBox="1">
            <a:spLocks noChangeArrowheads="1"/>
          </p:cNvSpPr>
          <p:nvPr/>
        </p:nvSpPr>
        <p:spPr bwMode="auto">
          <a:xfrm>
            <a:off x="4160838" y="4227513"/>
            <a:ext cx="25241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GL</a:t>
            </a:r>
          </a:p>
        </p:txBody>
      </p:sp>
      <p:sp>
        <p:nvSpPr>
          <p:cNvPr id="127008" name="Textfeld 148">
            <a:extLst>
              <a:ext uri="{FF2B5EF4-FFF2-40B4-BE49-F238E27FC236}">
                <a16:creationId xmlns:a16="http://schemas.microsoft.com/office/drawing/2014/main" id="{CB74D724-651C-828F-66E7-9A7F323817AB}"/>
              </a:ext>
            </a:extLst>
          </p:cNvPr>
          <p:cNvSpPr txBox="1">
            <a:spLocks noChangeArrowheads="1"/>
          </p:cNvSpPr>
          <p:nvPr/>
        </p:nvSpPr>
        <p:spPr bwMode="auto">
          <a:xfrm>
            <a:off x="3459163" y="3919538"/>
            <a:ext cx="25241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ZG</a:t>
            </a:r>
          </a:p>
        </p:txBody>
      </p:sp>
      <p:sp>
        <p:nvSpPr>
          <p:cNvPr id="127009" name="Textfeld 149">
            <a:extLst>
              <a:ext uri="{FF2B5EF4-FFF2-40B4-BE49-F238E27FC236}">
                <a16:creationId xmlns:a16="http://schemas.microsoft.com/office/drawing/2014/main" id="{0BDF14FE-3E10-36B7-BBD1-13FE3DF2121E}"/>
              </a:ext>
            </a:extLst>
          </p:cNvPr>
          <p:cNvSpPr txBox="1">
            <a:spLocks noChangeArrowheads="1"/>
          </p:cNvSpPr>
          <p:nvPr/>
        </p:nvSpPr>
        <p:spPr bwMode="auto">
          <a:xfrm>
            <a:off x="3073400" y="4527550"/>
            <a:ext cx="252413" cy="177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OW</a:t>
            </a:r>
          </a:p>
        </p:txBody>
      </p:sp>
      <p:sp>
        <p:nvSpPr>
          <p:cNvPr id="127010" name="Textfeld 150">
            <a:extLst>
              <a:ext uri="{FF2B5EF4-FFF2-40B4-BE49-F238E27FC236}">
                <a16:creationId xmlns:a16="http://schemas.microsoft.com/office/drawing/2014/main" id="{F4C7B1C9-7490-03CB-0819-4189484C5360}"/>
              </a:ext>
            </a:extLst>
          </p:cNvPr>
          <p:cNvSpPr txBox="1">
            <a:spLocks noChangeArrowheads="1"/>
          </p:cNvSpPr>
          <p:nvPr/>
        </p:nvSpPr>
        <p:spPr bwMode="auto">
          <a:xfrm>
            <a:off x="3341688" y="4362450"/>
            <a:ext cx="252412" cy="176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NW</a:t>
            </a:r>
          </a:p>
        </p:txBody>
      </p:sp>
      <p:sp>
        <p:nvSpPr>
          <p:cNvPr id="127011" name="Textfeld 151">
            <a:extLst>
              <a:ext uri="{FF2B5EF4-FFF2-40B4-BE49-F238E27FC236}">
                <a16:creationId xmlns:a16="http://schemas.microsoft.com/office/drawing/2014/main" id="{1B330180-011E-D428-F6B9-D6B2F7A590A8}"/>
              </a:ext>
            </a:extLst>
          </p:cNvPr>
          <p:cNvSpPr txBox="1">
            <a:spLocks noChangeArrowheads="1"/>
          </p:cNvSpPr>
          <p:nvPr/>
        </p:nvSpPr>
        <p:spPr bwMode="auto">
          <a:xfrm>
            <a:off x="3606800" y="4600575"/>
            <a:ext cx="252413" cy="176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UR</a:t>
            </a:r>
          </a:p>
        </p:txBody>
      </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8002" name="think-cell data - do not delete" hidden="1">
            <a:extLst>
              <a:ext uri="{FF2B5EF4-FFF2-40B4-BE49-F238E27FC236}">
                <a16:creationId xmlns:a16="http://schemas.microsoft.com/office/drawing/2014/main" id="{379837B8-3C21-2465-2DFF-692BF92538DB}"/>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28002" name="think-cell data - do not delete" hidden="1">
                        <a:extLst>
                          <a:ext uri="{FF2B5EF4-FFF2-40B4-BE49-F238E27FC236}">
                            <a16:creationId xmlns:a16="http://schemas.microsoft.com/office/drawing/2014/main" id="{379837B8-3C21-2465-2DFF-692BF92538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8003" name="Titel 5">
            <a:extLst>
              <a:ext uri="{FF2B5EF4-FFF2-40B4-BE49-F238E27FC236}">
                <a16:creationId xmlns:a16="http://schemas.microsoft.com/office/drawing/2014/main" id="{96690CBF-26F4-4F59-BF23-6C771D867631}"/>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Karte Europa </a:t>
            </a:r>
          </a:p>
        </p:txBody>
      </p:sp>
      <p:sp>
        <p:nvSpPr>
          <p:cNvPr id="128004" name="Foliennummernplatzhalter 8">
            <a:extLst>
              <a:ext uri="{FF2B5EF4-FFF2-40B4-BE49-F238E27FC236}">
                <a16:creationId xmlns:a16="http://schemas.microsoft.com/office/drawing/2014/main" id="{FB7005AD-352B-EA36-3A5C-718C5C68DE87}"/>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763A615E-65D7-41C8-816F-54330D91B78B}" type="slidenum">
              <a:rPr lang="de-CH" altLang="de-DE" sz="1100" smtClean="0">
                <a:solidFill>
                  <a:srgbClr val="003CB4"/>
                </a:solidFill>
                <a:latin typeface="Frutiger for ZKB Light" panose="020B0303030504020204" pitchFamily="34" charset="0"/>
              </a:rPr>
              <a:pPr>
                <a:spcBef>
                  <a:spcPct val="0"/>
                </a:spcBef>
                <a:spcAft>
                  <a:spcPct val="0"/>
                </a:spcAft>
              </a:pPr>
              <a:t>96</a:t>
            </a:fld>
            <a:endParaRPr lang="de-CH" altLang="de-DE" sz="1100" dirty="0">
              <a:solidFill>
                <a:srgbClr val="003CB4"/>
              </a:solidFill>
              <a:latin typeface="Frutiger for ZKB Light" panose="020B0303030504020204" pitchFamily="34" charset="0"/>
            </a:endParaRPr>
          </a:p>
        </p:txBody>
      </p:sp>
      <p:sp>
        <p:nvSpPr>
          <p:cNvPr id="128005" name="Fußzeilenplatzhalter 7">
            <a:extLst>
              <a:ext uri="{FF2B5EF4-FFF2-40B4-BE49-F238E27FC236}">
                <a16:creationId xmlns:a16="http://schemas.microsoft.com/office/drawing/2014/main" id="{8E9F2638-010B-60D3-851F-7D6771108138}"/>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grpSp>
        <p:nvGrpSpPr>
          <p:cNvPr id="128006" name="Gruppieren 704">
            <a:extLst>
              <a:ext uri="{FF2B5EF4-FFF2-40B4-BE49-F238E27FC236}">
                <a16:creationId xmlns:a16="http://schemas.microsoft.com/office/drawing/2014/main" id="{EA633152-DA8B-53A2-AD8C-D7E89C8876A4}"/>
              </a:ext>
            </a:extLst>
          </p:cNvPr>
          <p:cNvGrpSpPr>
            <a:grpSpLocks/>
          </p:cNvGrpSpPr>
          <p:nvPr/>
        </p:nvGrpSpPr>
        <p:grpSpPr bwMode="auto">
          <a:xfrm>
            <a:off x="2773363" y="512763"/>
            <a:ext cx="7308850" cy="6205537"/>
            <a:chOff x="2773775" y="512645"/>
            <a:chExt cx="7308024" cy="6205772"/>
          </a:xfrm>
        </p:grpSpPr>
        <p:sp>
          <p:nvSpPr>
            <p:cNvPr id="14" name="Freihandform: Form 13">
              <a:extLst>
                <a:ext uri="{FF2B5EF4-FFF2-40B4-BE49-F238E27FC236}">
                  <a16:creationId xmlns:a16="http://schemas.microsoft.com/office/drawing/2014/main" id="{3BC61087-D6E8-4CF6-AADA-C029D8C7F774}"/>
                </a:ext>
              </a:extLst>
            </p:cNvPr>
            <p:cNvSpPr/>
            <p:nvPr/>
          </p:nvSpPr>
          <p:spPr>
            <a:xfrm>
              <a:off x="5967464" y="2651088"/>
              <a:ext cx="19048" cy="22226"/>
            </a:xfrm>
            <a:custGeom>
              <a:avLst/>
              <a:gdLst>
                <a:gd name="connsiteX0" fmla="*/ 0 w 15484"/>
                <a:gd name="connsiteY0" fmla="*/ 0 h 17557"/>
                <a:gd name="connsiteX1" fmla="*/ 15484 w 15484"/>
                <a:gd name="connsiteY1" fmla="*/ 0 h 17557"/>
                <a:gd name="connsiteX2" fmla="*/ 15484 w 15484"/>
                <a:gd name="connsiteY2" fmla="*/ 17557 h 17557"/>
                <a:gd name="connsiteX3" fmla="*/ 0 w 15484"/>
                <a:gd name="connsiteY3" fmla="*/ 17557 h 17557"/>
              </a:gdLst>
              <a:ahLst/>
              <a:cxnLst>
                <a:cxn ang="0">
                  <a:pos x="connsiteX0" y="connsiteY0"/>
                </a:cxn>
                <a:cxn ang="0">
                  <a:pos x="connsiteX1" y="connsiteY1"/>
                </a:cxn>
                <a:cxn ang="0">
                  <a:pos x="connsiteX2" y="connsiteY2"/>
                </a:cxn>
                <a:cxn ang="0">
                  <a:pos x="connsiteX3" y="connsiteY3"/>
                </a:cxn>
              </a:cxnLst>
              <a:rect l="l" t="t" r="r" b="b"/>
              <a:pathLst>
                <a:path w="15484" h="17557">
                  <a:moveTo>
                    <a:pt x="0" y="0"/>
                  </a:moveTo>
                  <a:lnTo>
                    <a:pt x="15484" y="0"/>
                  </a:lnTo>
                  <a:lnTo>
                    <a:pt x="15484" y="17557"/>
                  </a:lnTo>
                  <a:lnTo>
                    <a:pt x="0" y="1755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5" name="Freihandform: Form 14">
              <a:extLst>
                <a:ext uri="{FF2B5EF4-FFF2-40B4-BE49-F238E27FC236}">
                  <a16:creationId xmlns:a16="http://schemas.microsoft.com/office/drawing/2014/main" id="{4800FCC9-911B-BA3A-F9EF-DC1DB8316B69}"/>
                </a:ext>
              </a:extLst>
            </p:cNvPr>
            <p:cNvSpPr/>
            <p:nvPr/>
          </p:nvSpPr>
          <p:spPr>
            <a:xfrm>
              <a:off x="5984924" y="2660613"/>
              <a:ext cx="25397" cy="17464"/>
            </a:xfrm>
            <a:custGeom>
              <a:avLst/>
              <a:gdLst>
                <a:gd name="connsiteX0" fmla="*/ 0 w 20651"/>
                <a:gd name="connsiteY0" fmla="*/ 0 h 14442"/>
                <a:gd name="connsiteX1" fmla="*/ 20652 w 20651"/>
                <a:gd name="connsiteY1" fmla="*/ 0 h 14442"/>
                <a:gd name="connsiteX2" fmla="*/ 20652 w 20651"/>
                <a:gd name="connsiteY2" fmla="*/ 14443 h 14442"/>
                <a:gd name="connsiteX3" fmla="*/ 0 w 20651"/>
                <a:gd name="connsiteY3" fmla="*/ 14443 h 14442"/>
              </a:gdLst>
              <a:ahLst/>
              <a:cxnLst>
                <a:cxn ang="0">
                  <a:pos x="connsiteX0" y="connsiteY0"/>
                </a:cxn>
                <a:cxn ang="0">
                  <a:pos x="connsiteX1" y="connsiteY1"/>
                </a:cxn>
                <a:cxn ang="0">
                  <a:pos x="connsiteX2" y="connsiteY2"/>
                </a:cxn>
                <a:cxn ang="0">
                  <a:pos x="connsiteX3" y="connsiteY3"/>
                </a:cxn>
              </a:cxnLst>
              <a:rect l="l" t="t" r="r" b="b"/>
              <a:pathLst>
                <a:path w="20651" h="14442">
                  <a:moveTo>
                    <a:pt x="0" y="0"/>
                  </a:moveTo>
                  <a:lnTo>
                    <a:pt x="20652" y="0"/>
                  </a:lnTo>
                  <a:lnTo>
                    <a:pt x="20652" y="14443"/>
                  </a:lnTo>
                  <a:lnTo>
                    <a:pt x="0" y="1444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6" name="Freihandform: Form 15">
              <a:extLst>
                <a:ext uri="{FF2B5EF4-FFF2-40B4-BE49-F238E27FC236}">
                  <a16:creationId xmlns:a16="http://schemas.microsoft.com/office/drawing/2014/main" id="{51BFD454-CCD4-C66A-2CB2-885D963607A2}"/>
                </a:ext>
              </a:extLst>
            </p:cNvPr>
            <p:cNvSpPr/>
            <p:nvPr/>
          </p:nvSpPr>
          <p:spPr>
            <a:xfrm>
              <a:off x="6018258" y="2663788"/>
              <a:ext cx="6349" cy="12700"/>
            </a:xfrm>
            <a:custGeom>
              <a:avLst/>
              <a:gdLst>
                <a:gd name="connsiteX0" fmla="*/ 0 w 5177"/>
                <a:gd name="connsiteY0" fmla="*/ 0 h 10851"/>
                <a:gd name="connsiteX1" fmla="*/ 5177 w 5177"/>
                <a:gd name="connsiteY1" fmla="*/ 0 h 10851"/>
                <a:gd name="connsiteX2" fmla="*/ 5177 w 5177"/>
                <a:gd name="connsiteY2" fmla="*/ 10851 h 10851"/>
                <a:gd name="connsiteX3" fmla="*/ 0 w 5177"/>
                <a:gd name="connsiteY3" fmla="*/ 10851 h 10851"/>
              </a:gdLst>
              <a:ahLst/>
              <a:cxnLst>
                <a:cxn ang="0">
                  <a:pos x="connsiteX0" y="connsiteY0"/>
                </a:cxn>
                <a:cxn ang="0">
                  <a:pos x="connsiteX1" y="connsiteY1"/>
                </a:cxn>
                <a:cxn ang="0">
                  <a:pos x="connsiteX2" y="connsiteY2"/>
                </a:cxn>
                <a:cxn ang="0">
                  <a:pos x="connsiteX3" y="connsiteY3"/>
                </a:cxn>
              </a:cxnLst>
              <a:rect l="l" t="t" r="r" b="b"/>
              <a:pathLst>
                <a:path w="5177" h="10851">
                  <a:moveTo>
                    <a:pt x="0" y="0"/>
                  </a:moveTo>
                  <a:lnTo>
                    <a:pt x="5177" y="0"/>
                  </a:lnTo>
                  <a:lnTo>
                    <a:pt x="5177" y="10851"/>
                  </a:lnTo>
                  <a:lnTo>
                    <a:pt x="0" y="1085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 name="Freihandform: Form 16">
              <a:extLst>
                <a:ext uri="{FF2B5EF4-FFF2-40B4-BE49-F238E27FC236}">
                  <a16:creationId xmlns:a16="http://schemas.microsoft.com/office/drawing/2014/main" id="{6E4A755A-6540-C09B-4E27-8A4B2974CEFF}"/>
                </a:ext>
              </a:extLst>
            </p:cNvPr>
            <p:cNvSpPr/>
            <p:nvPr/>
          </p:nvSpPr>
          <p:spPr>
            <a:xfrm>
              <a:off x="3230923" y="2679664"/>
              <a:ext cx="19048" cy="22226"/>
            </a:xfrm>
            <a:custGeom>
              <a:avLst/>
              <a:gdLst>
                <a:gd name="connsiteX0" fmla="*/ 14346 w 15010"/>
                <a:gd name="connsiteY0" fmla="*/ 0 h 16891"/>
                <a:gd name="connsiteX1" fmla="*/ 11922 w 15010"/>
                <a:gd name="connsiteY1" fmla="*/ 135 h 16891"/>
                <a:gd name="connsiteX2" fmla="*/ 593 w 15010"/>
                <a:gd name="connsiteY2" fmla="*/ 11420 h 16891"/>
                <a:gd name="connsiteX3" fmla="*/ 0 w 15010"/>
                <a:gd name="connsiteY3" fmla="*/ 11420 h 16891"/>
                <a:gd name="connsiteX4" fmla="*/ 0 w 15010"/>
                <a:gd name="connsiteY4" fmla="*/ 12042 h 16891"/>
                <a:gd name="connsiteX5" fmla="*/ 0 w 15010"/>
                <a:gd name="connsiteY5" fmla="*/ 13994 h 16891"/>
                <a:gd name="connsiteX6" fmla="*/ 0 w 15010"/>
                <a:gd name="connsiteY6" fmla="*/ 14597 h 16891"/>
                <a:gd name="connsiteX7" fmla="*/ 593 w 15010"/>
                <a:gd name="connsiteY7" fmla="*/ 14597 h 16891"/>
                <a:gd name="connsiteX8" fmla="*/ 2377 w 15010"/>
                <a:gd name="connsiteY8" fmla="*/ 16371 h 16891"/>
                <a:gd name="connsiteX9" fmla="*/ 3832 w 15010"/>
                <a:gd name="connsiteY9" fmla="*/ 16892 h 16891"/>
                <a:gd name="connsiteX10" fmla="*/ 5177 w 15010"/>
                <a:gd name="connsiteY10" fmla="*/ 16130 h 16891"/>
                <a:gd name="connsiteX11" fmla="*/ 14689 w 15010"/>
                <a:gd name="connsiteY11" fmla="*/ 2430 h 16891"/>
                <a:gd name="connsiteX12" fmla="*/ 14346 w 15010"/>
                <a:gd name="connsiteY12" fmla="*/ 0 h 16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010" h="16891">
                  <a:moveTo>
                    <a:pt x="14346" y="0"/>
                  </a:moveTo>
                  <a:lnTo>
                    <a:pt x="11922" y="135"/>
                  </a:lnTo>
                  <a:lnTo>
                    <a:pt x="593" y="11420"/>
                  </a:lnTo>
                  <a:lnTo>
                    <a:pt x="0" y="11420"/>
                  </a:lnTo>
                  <a:lnTo>
                    <a:pt x="0" y="12042"/>
                  </a:lnTo>
                  <a:lnTo>
                    <a:pt x="0" y="13994"/>
                  </a:lnTo>
                  <a:lnTo>
                    <a:pt x="0" y="14597"/>
                  </a:lnTo>
                  <a:lnTo>
                    <a:pt x="593" y="14597"/>
                  </a:lnTo>
                  <a:lnTo>
                    <a:pt x="2377" y="16371"/>
                  </a:lnTo>
                  <a:lnTo>
                    <a:pt x="3832" y="16892"/>
                  </a:lnTo>
                  <a:lnTo>
                    <a:pt x="5177" y="16130"/>
                  </a:lnTo>
                  <a:lnTo>
                    <a:pt x="14689" y="2430"/>
                  </a:lnTo>
                  <a:cubicBezTo>
                    <a:pt x="15233" y="1668"/>
                    <a:pt x="15065" y="598"/>
                    <a:pt x="14346"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 name="Freihandform: Form 17">
              <a:extLst>
                <a:ext uri="{FF2B5EF4-FFF2-40B4-BE49-F238E27FC236}">
                  <a16:creationId xmlns:a16="http://schemas.microsoft.com/office/drawing/2014/main" id="{00B76B9E-9732-BC99-9513-8D183D0FBD79}"/>
                </a:ext>
              </a:extLst>
            </p:cNvPr>
            <p:cNvSpPr/>
            <p:nvPr/>
          </p:nvSpPr>
          <p:spPr>
            <a:xfrm>
              <a:off x="5203962" y="2987651"/>
              <a:ext cx="223813" cy="201621"/>
            </a:xfrm>
            <a:custGeom>
              <a:avLst/>
              <a:gdLst>
                <a:gd name="connsiteX0" fmla="*/ 170822 w 175256"/>
                <a:gd name="connsiteY0" fmla="*/ 63489 h 158895"/>
                <a:gd name="connsiteX1" fmla="*/ 170807 w 175256"/>
                <a:gd name="connsiteY1" fmla="*/ 63320 h 158895"/>
                <a:gd name="connsiteX2" fmla="*/ 169645 w 175256"/>
                <a:gd name="connsiteY2" fmla="*/ 57516 h 158895"/>
                <a:gd name="connsiteX3" fmla="*/ 169645 w 175256"/>
                <a:gd name="connsiteY3" fmla="*/ 51317 h 158895"/>
                <a:gd name="connsiteX4" fmla="*/ 170807 w 175256"/>
                <a:gd name="connsiteY4" fmla="*/ 44943 h 158895"/>
                <a:gd name="connsiteX5" fmla="*/ 170769 w 175256"/>
                <a:gd name="connsiteY5" fmla="*/ 44110 h 158895"/>
                <a:gd name="connsiteX6" fmla="*/ 168985 w 175256"/>
                <a:gd name="connsiteY6" fmla="*/ 38118 h 158895"/>
                <a:gd name="connsiteX7" fmla="*/ 168821 w 175256"/>
                <a:gd name="connsiteY7" fmla="*/ 37770 h 158895"/>
                <a:gd name="connsiteX8" fmla="*/ 165297 w 175256"/>
                <a:gd name="connsiteY8" fmla="*/ 31315 h 158895"/>
                <a:gd name="connsiteX9" fmla="*/ 163147 w 175256"/>
                <a:gd name="connsiteY9" fmla="*/ 25902 h 158895"/>
                <a:gd name="connsiteX10" fmla="*/ 163634 w 175256"/>
                <a:gd name="connsiteY10" fmla="*/ 20720 h 158895"/>
                <a:gd name="connsiteX11" fmla="*/ 166980 w 175256"/>
                <a:gd name="connsiteY11" fmla="*/ 14636 h 158895"/>
                <a:gd name="connsiteX12" fmla="*/ 171116 w 175256"/>
                <a:gd name="connsiteY12" fmla="*/ 8755 h 158895"/>
                <a:gd name="connsiteX13" fmla="*/ 175257 w 175256"/>
                <a:gd name="connsiteY13" fmla="*/ 2816 h 158895"/>
                <a:gd name="connsiteX14" fmla="*/ 175257 w 175256"/>
                <a:gd name="connsiteY14" fmla="*/ 689 h 158895"/>
                <a:gd name="connsiteX15" fmla="*/ 173261 w 175256"/>
                <a:gd name="connsiteY15" fmla="*/ 0 h 158895"/>
                <a:gd name="connsiteX16" fmla="*/ 167298 w 175256"/>
                <a:gd name="connsiteY16" fmla="*/ 1817 h 158895"/>
                <a:gd name="connsiteX17" fmla="*/ 166608 w 175256"/>
                <a:gd name="connsiteY17" fmla="*/ 2198 h 158895"/>
                <a:gd name="connsiteX18" fmla="*/ 160081 w 175256"/>
                <a:gd name="connsiteY18" fmla="*/ 8152 h 158895"/>
                <a:gd name="connsiteX19" fmla="*/ 154142 w 175256"/>
                <a:gd name="connsiteY19" fmla="*/ 13469 h 158895"/>
                <a:gd name="connsiteX20" fmla="*/ 148454 w 175256"/>
                <a:gd name="connsiteY20" fmla="*/ 18039 h 158895"/>
                <a:gd name="connsiteX21" fmla="*/ 142992 w 175256"/>
                <a:gd name="connsiteY21" fmla="*/ 20194 h 158895"/>
                <a:gd name="connsiteX22" fmla="*/ 136199 w 175256"/>
                <a:gd name="connsiteY22" fmla="*/ 20763 h 158895"/>
                <a:gd name="connsiteX23" fmla="*/ 130328 w 175256"/>
                <a:gd name="connsiteY23" fmla="*/ 20763 h 158895"/>
                <a:gd name="connsiteX24" fmla="*/ 129986 w 175256"/>
                <a:gd name="connsiteY24" fmla="*/ 20825 h 158895"/>
                <a:gd name="connsiteX25" fmla="*/ 127006 w 175256"/>
                <a:gd name="connsiteY25" fmla="*/ 21409 h 158895"/>
                <a:gd name="connsiteX26" fmla="*/ 125811 w 175256"/>
                <a:gd name="connsiteY26" fmla="*/ 22224 h 158895"/>
                <a:gd name="connsiteX27" fmla="*/ 122870 w 175256"/>
                <a:gd name="connsiteY27" fmla="*/ 26953 h 158895"/>
                <a:gd name="connsiteX28" fmla="*/ 107878 w 175256"/>
                <a:gd name="connsiteY28" fmla="*/ 52160 h 158895"/>
                <a:gd name="connsiteX29" fmla="*/ 78818 w 175256"/>
                <a:gd name="connsiteY29" fmla="*/ 80911 h 158895"/>
                <a:gd name="connsiteX30" fmla="*/ 73188 w 175256"/>
                <a:gd name="connsiteY30" fmla="*/ 82058 h 158895"/>
                <a:gd name="connsiteX31" fmla="*/ 67085 w 175256"/>
                <a:gd name="connsiteY31" fmla="*/ 80930 h 158895"/>
                <a:gd name="connsiteX32" fmla="*/ 61232 w 175256"/>
                <a:gd name="connsiteY32" fmla="*/ 79151 h 158895"/>
                <a:gd name="connsiteX33" fmla="*/ 60722 w 175256"/>
                <a:gd name="connsiteY33" fmla="*/ 79094 h 158895"/>
                <a:gd name="connsiteX34" fmla="*/ 57125 w 175256"/>
                <a:gd name="connsiteY34" fmla="*/ 79094 h 158895"/>
                <a:gd name="connsiteX35" fmla="*/ 56094 w 175256"/>
                <a:gd name="connsiteY35" fmla="*/ 79416 h 158895"/>
                <a:gd name="connsiteX36" fmla="*/ 50357 w 175256"/>
                <a:gd name="connsiteY36" fmla="*/ 83446 h 158895"/>
                <a:gd name="connsiteX37" fmla="*/ 44225 w 175256"/>
                <a:gd name="connsiteY37" fmla="*/ 85654 h 158895"/>
                <a:gd name="connsiteX38" fmla="*/ 39023 w 175256"/>
                <a:gd name="connsiteY38" fmla="*/ 86209 h 158895"/>
                <a:gd name="connsiteX39" fmla="*/ 33566 w 175256"/>
                <a:gd name="connsiteY39" fmla="*/ 83446 h 158895"/>
                <a:gd name="connsiteX40" fmla="*/ 31590 w 175256"/>
                <a:gd name="connsiteY40" fmla="*/ 83659 h 158895"/>
                <a:gd name="connsiteX41" fmla="*/ 25024 w 175256"/>
                <a:gd name="connsiteY41" fmla="*/ 89024 h 158895"/>
                <a:gd name="connsiteX42" fmla="*/ 24668 w 175256"/>
                <a:gd name="connsiteY42" fmla="*/ 89444 h 158895"/>
                <a:gd name="connsiteX43" fmla="*/ 3230 w 175256"/>
                <a:gd name="connsiteY43" fmla="*/ 120990 h 158895"/>
                <a:gd name="connsiteX44" fmla="*/ 3085 w 175256"/>
                <a:gd name="connsiteY44" fmla="*/ 121294 h 158895"/>
                <a:gd name="connsiteX45" fmla="*/ 675 w 175256"/>
                <a:gd name="connsiteY45" fmla="*/ 127219 h 158895"/>
                <a:gd name="connsiteX46" fmla="*/ 559 w 175256"/>
                <a:gd name="connsiteY46" fmla="*/ 127706 h 158895"/>
                <a:gd name="connsiteX47" fmla="*/ 0 w 175256"/>
                <a:gd name="connsiteY47" fmla="*/ 133678 h 158895"/>
                <a:gd name="connsiteX48" fmla="*/ 82 w 175256"/>
                <a:gd name="connsiteY48" fmla="*/ 134387 h 158895"/>
                <a:gd name="connsiteX49" fmla="*/ 1846 w 175256"/>
                <a:gd name="connsiteY49" fmla="*/ 140355 h 158895"/>
                <a:gd name="connsiteX50" fmla="*/ 3408 w 175256"/>
                <a:gd name="connsiteY50" fmla="*/ 141637 h 158895"/>
                <a:gd name="connsiteX51" fmla="*/ 5216 w 175256"/>
                <a:gd name="connsiteY51" fmla="*/ 140630 h 158895"/>
                <a:gd name="connsiteX52" fmla="*/ 6151 w 175256"/>
                <a:gd name="connsiteY52" fmla="*/ 138803 h 158895"/>
                <a:gd name="connsiteX53" fmla="*/ 6599 w 175256"/>
                <a:gd name="connsiteY53" fmla="*/ 140360 h 158895"/>
                <a:gd name="connsiteX54" fmla="*/ 7052 w 175256"/>
                <a:gd name="connsiteY54" fmla="*/ 141102 h 158895"/>
                <a:gd name="connsiteX55" fmla="*/ 13011 w 175256"/>
                <a:gd name="connsiteY55" fmla="*/ 147061 h 158895"/>
                <a:gd name="connsiteX56" fmla="*/ 18237 w 175256"/>
                <a:gd name="connsiteY56" fmla="*/ 152305 h 158895"/>
                <a:gd name="connsiteX57" fmla="*/ 22320 w 175256"/>
                <a:gd name="connsiteY57" fmla="*/ 158100 h 158895"/>
                <a:gd name="connsiteX58" fmla="*/ 23819 w 175256"/>
                <a:gd name="connsiteY58" fmla="*/ 158895 h 158895"/>
                <a:gd name="connsiteX59" fmla="*/ 24426 w 175256"/>
                <a:gd name="connsiteY59" fmla="*/ 158895 h 158895"/>
                <a:gd name="connsiteX60" fmla="*/ 25897 w 175256"/>
                <a:gd name="connsiteY60" fmla="*/ 158148 h 158895"/>
                <a:gd name="connsiteX61" fmla="*/ 26128 w 175256"/>
                <a:gd name="connsiteY61" fmla="*/ 156480 h 158895"/>
                <a:gd name="connsiteX62" fmla="*/ 25810 w 175256"/>
                <a:gd name="connsiteY62" fmla="*/ 155598 h 158895"/>
                <a:gd name="connsiteX63" fmla="*/ 29493 w 175256"/>
                <a:gd name="connsiteY63" fmla="*/ 150377 h 158895"/>
                <a:gd name="connsiteX64" fmla="*/ 29782 w 175256"/>
                <a:gd name="connsiteY64" fmla="*/ 149158 h 158895"/>
                <a:gd name="connsiteX65" fmla="*/ 29194 w 175256"/>
                <a:gd name="connsiteY65" fmla="*/ 143204 h 158895"/>
                <a:gd name="connsiteX66" fmla="*/ 28346 w 175256"/>
                <a:gd name="connsiteY66" fmla="*/ 141825 h 158895"/>
                <a:gd name="connsiteX67" fmla="*/ 26760 w 175256"/>
                <a:gd name="connsiteY67" fmla="*/ 141681 h 158895"/>
                <a:gd name="connsiteX68" fmla="*/ 20695 w 175256"/>
                <a:gd name="connsiteY68" fmla="*/ 143898 h 158895"/>
                <a:gd name="connsiteX69" fmla="*/ 18801 w 175256"/>
                <a:gd name="connsiteY69" fmla="*/ 143493 h 158895"/>
                <a:gd name="connsiteX70" fmla="*/ 23684 w 175256"/>
                <a:gd name="connsiteY70" fmla="*/ 142168 h 158895"/>
                <a:gd name="connsiteX71" fmla="*/ 24831 w 175256"/>
                <a:gd name="connsiteY71" fmla="*/ 141242 h 158895"/>
                <a:gd name="connsiteX72" fmla="*/ 24904 w 175256"/>
                <a:gd name="connsiteY72" fmla="*/ 139733 h 158895"/>
                <a:gd name="connsiteX73" fmla="*/ 22686 w 175256"/>
                <a:gd name="connsiteY73" fmla="*/ 134213 h 158895"/>
                <a:gd name="connsiteX74" fmla="*/ 23178 w 175256"/>
                <a:gd name="connsiteY74" fmla="*/ 129451 h 158895"/>
                <a:gd name="connsiteX75" fmla="*/ 28524 w 175256"/>
                <a:gd name="connsiteY75" fmla="*/ 125175 h 158895"/>
                <a:gd name="connsiteX76" fmla="*/ 29074 w 175256"/>
                <a:gd name="connsiteY76" fmla="*/ 124408 h 158895"/>
                <a:gd name="connsiteX77" fmla="*/ 31373 w 175256"/>
                <a:gd name="connsiteY77" fmla="*/ 118676 h 158895"/>
                <a:gd name="connsiteX78" fmla="*/ 33658 w 175256"/>
                <a:gd name="connsiteY78" fmla="*/ 115249 h 158895"/>
                <a:gd name="connsiteX79" fmla="*/ 33706 w 175256"/>
                <a:gd name="connsiteY79" fmla="*/ 115172 h 158895"/>
                <a:gd name="connsiteX80" fmla="*/ 36811 w 175256"/>
                <a:gd name="connsiteY80" fmla="*/ 109999 h 158895"/>
                <a:gd name="connsiteX81" fmla="*/ 41848 w 175256"/>
                <a:gd name="connsiteY81" fmla="*/ 109503 h 158895"/>
                <a:gd name="connsiteX82" fmla="*/ 43039 w 175256"/>
                <a:gd name="connsiteY82" fmla="*/ 108900 h 158895"/>
                <a:gd name="connsiteX83" fmla="*/ 47898 w 175256"/>
                <a:gd name="connsiteY83" fmla="*/ 103491 h 158895"/>
                <a:gd name="connsiteX84" fmla="*/ 53158 w 175256"/>
                <a:gd name="connsiteY84" fmla="*/ 102971 h 158895"/>
                <a:gd name="connsiteX85" fmla="*/ 53789 w 175256"/>
                <a:gd name="connsiteY85" fmla="*/ 102773 h 158895"/>
                <a:gd name="connsiteX86" fmla="*/ 59415 w 175256"/>
                <a:gd name="connsiteY86" fmla="*/ 99919 h 158895"/>
                <a:gd name="connsiteX87" fmla="*/ 65634 w 175256"/>
                <a:gd name="connsiteY87" fmla="*/ 99389 h 158895"/>
                <a:gd name="connsiteX88" fmla="*/ 67114 w 175256"/>
                <a:gd name="connsiteY88" fmla="*/ 98362 h 158895"/>
                <a:gd name="connsiteX89" fmla="*/ 67292 w 175256"/>
                <a:gd name="connsiteY89" fmla="*/ 98020 h 158895"/>
                <a:gd name="connsiteX90" fmla="*/ 71491 w 175256"/>
                <a:gd name="connsiteY90" fmla="*/ 101399 h 158895"/>
                <a:gd name="connsiteX91" fmla="*/ 72103 w 175256"/>
                <a:gd name="connsiteY91" fmla="*/ 101703 h 158895"/>
                <a:gd name="connsiteX92" fmla="*/ 78047 w 175256"/>
                <a:gd name="connsiteY92" fmla="*/ 103496 h 158895"/>
                <a:gd name="connsiteX93" fmla="*/ 79604 w 175256"/>
                <a:gd name="connsiteY93" fmla="*/ 103245 h 158895"/>
                <a:gd name="connsiteX94" fmla="*/ 82960 w 175256"/>
                <a:gd name="connsiteY94" fmla="*/ 100979 h 158895"/>
                <a:gd name="connsiteX95" fmla="*/ 89178 w 175256"/>
                <a:gd name="connsiteY95" fmla="*/ 98743 h 158895"/>
                <a:gd name="connsiteX96" fmla="*/ 94785 w 175256"/>
                <a:gd name="connsiteY96" fmla="*/ 97619 h 158895"/>
                <a:gd name="connsiteX97" fmla="*/ 100598 w 175256"/>
                <a:gd name="connsiteY97" fmla="*/ 97619 h 158895"/>
                <a:gd name="connsiteX98" fmla="*/ 101514 w 175256"/>
                <a:gd name="connsiteY98" fmla="*/ 97345 h 158895"/>
                <a:gd name="connsiteX99" fmla="*/ 107039 w 175256"/>
                <a:gd name="connsiteY99" fmla="*/ 94038 h 158895"/>
                <a:gd name="connsiteX100" fmla="*/ 113070 w 175256"/>
                <a:gd name="connsiteY100" fmla="*/ 94038 h 158895"/>
                <a:gd name="connsiteX101" fmla="*/ 113595 w 175256"/>
                <a:gd name="connsiteY101" fmla="*/ 93946 h 158895"/>
                <a:gd name="connsiteX102" fmla="*/ 118806 w 175256"/>
                <a:gd name="connsiteY102" fmla="*/ 92394 h 158895"/>
                <a:gd name="connsiteX103" fmla="*/ 124697 w 175256"/>
                <a:gd name="connsiteY103" fmla="*/ 95595 h 158895"/>
                <a:gd name="connsiteX104" fmla="*/ 126365 w 175256"/>
                <a:gd name="connsiteY104" fmla="*/ 95614 h 158895"/>
                <a:gd name="connsiteX105" fmla="*/ 127189 w 175256"/>
                <a:gd name="connsiteY105" fmla="*/ 95228 h 158895"/>
                <a:gd name="connsiteX106" fmla="*/ 127373 w 175256"/>
                <a:gd name="connsiteY106" fmla="*/ 95228 h 158895"/>
                <a:gd name="connsiteX107" fmla="*/ 128641 w 175256"/>
                <a:gd name="connsiteY107" fmla="*/ 94693 h 158895"/>
                <a:gd name="connsiteX108" fmla="*/ 131340 w 175256"/>
                <a:gd name="connsiteY108" fmla="*/ 92008 h 158895"/>
                <a:gd name="connsiteX109" fmla="*/ 136301 w 175256"/>
                <a:gd name="connsiteY109" fmla="*/ 96005 h 158895"/>
                <a:gd name="connsiteX110" fmla="*/ 142230 w 175256"/>
                <a:gd name="connsiteY110" fmla="*/ 101312 h 158895"/>
                <a:gd name="connsiteX111" fmla="*/ 142678 w 175256"/>
                <a:gd name="connsiteY111" fmla="*/ 101606 h 158895"/>
                <a:gd name="connsiteX112" fmla="*/ 149210 w 175256"/>
                <a:gd name="connsiteY112" fmla="*/ 104590 h 158895"/>
                <a:gd name="connsiteX113" fmla="*/ 150502 w 175256"/>
                <a:gd name="connsiteY113" fmla="*/ 104672 h 158895"/>
                <a:gd name="connsiteX114" fmla="*/ 156441 w 175256"/>
                <a:gd name="connsiteY114" fmla="*/ 102864 h 158895"/>
                <a:gd name="connsiteX115" fmla="*/ 157676 w 175256"/>
                <a:gd name="connsiteY115" fmla="*/ 101606 h 158895"/>
                <a:gd name="connsiteX116" fmla="*/ 159459 w 175256"/>
                <a:gd name="connsiteY116" fmla="*/ 95089 h 158895"/>
                <a:gd name="connsiteX117" fmla="*/ 161243 w 175256"/>
                <a:gd name="connsiteY117" fmla="*/ 89159 h 158895"/>
                <a:gd name="connsiteX118" fmla="*/ 161267 w 175256"/>
                <a:gd name="connsiteY118" fmla="*/ 89000 h 158895"/>
                <a:gd name="connsiteX119" fmla="*/ 162443 w 175256"/>
                <a:gd name="connsiteY119" fmla="*/ 83283 h 158895"/>
                <a:gd name="connsiteX120" fmla="*/ 165162 w 175256"/>
                <a:gd name="connsiteY120" fmla="*/ 77802 h 158895"/>
                <a:gd name="connsiteX121" fmla="*/ 170904 w 175256"/>
                <a:gd name="connsiteY121" fmla="*/ 72065 h 158895"/>
                <a:gd name="connsiteX122" fmla="*/ 171424 w 175256"/>
                <a:gd name="connsiteY122" fmla="*/ 70778 h 158895"/>
                <a:gd name="connsiteX123" fmla="*/ 171424 w 175256"/>
                <a:gd name="connsiteY123" fmla="*/ 70180 h 158895"/>
                <a:gd name="connsiteX124" fmla="*/ 171419 w 175256"/>
                <a:gd name="connsiteY124" fmla="*/ 70031 h 158895"/>
                <a:gd name="connsiteX125" fmla="*/ 170822 w 175256"/>
                <a:gd name="connsiteY125" fmla="*/ 63489 h 158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175256" h="158895">
                  <a:moveTo>
                    <a:pt x="170822" y="63489"/>
                  </a:moveTo>
                  <a:lnTo>
                    <a:pt x="170807" y="63320"/>
                  </a:lnTo>
                  <a:lnTo>
                    <a:pt x="169645" y="57516"/>
                  </a:lnTo>
                  <a:lnTo>
                    <a:pt x="169645" y="51317"/>
                  </a:lnTo>
                  <a:lnTo>
                    <a:pt x="170807" y="44943"/>
                  </a:lnTo>
                  <a:lnTo>
                    <a:pt x="170769" y="44110"/>
                  </a:lnTo>
                  <a:lnTo>
                    <a:pt x="168985" y="38118"/>
                  </a:lnTo>
                  <a:lnTo>
                    <a:pt x="168821" y="37770"/>
                  </a:lnTo>
                  <a:lnTo>
                    <a:pt x="165297" y="31315"/>
                  </a:lnTo>
                  <a:lnTo>
                    <a:pt x="163147" y="25902"/>
                  </a:lnTo>
                  <a:lnTo>
                    <a:pt x="163634" y="20720"/>
                  </a:lnTo>
                  <a:lnTo>
                    <a:pt x="166980" y="14636"/>
                  </a:lnTo>
                  <a:lnTo>
                    <a:pt x="171116" y="8755"/>
                  </a:lnTo>
                  <a:lnTo>
                    <a:pt x="175257" y="2816"/>
                  </a:lnTo>
                  <a:lnTo>
                    <a:pt x="175257" y="689"/>
                  </a:lnTo>
                  <a:lnTo>
                    <a:pt x="173261" y="0"/>
                  </a:lnTo>
                  <a:lnTo>
                    <a:pt x="167298" y="1817"/>
                  </a:lnTo>
                  <a:lnTo>
                    <a:pt x="166608" y="2198"/>
                  </a:lnTo>
                  <a:lnTo>
                    <a:pt x="160081" y="8152"/>
                  </a:lnTo>
                  <a:lnTo>
                    <a:pt x="154142" y="13469"/>
                  </a:lnTo>
                  <a:lnTo>
                    <a:pt x="148454" y="18039"/>
                  </a:lnTo>
                  <a:lnTo>
                    <a:pt x="142992" y="20194"/>
                  </a:lnTo>
                  <a:lnTo>
                    <a:pt x="136199" y="20763"/>
                  </a:lnTo>
                  <a:lnTo>
                    <a:pt x="130328" y="20763"/>
                  </a:lnTo>
                  <a:lnTo>
                    <a:pt x="129986" y="20825"/>
                  </a:lnTo>
                  <a:lnTo>
                    <a:pt x="127006" y="21409"/>
                  </a:lnTo>
                  <a:lnTo>
                    <a:pt x="125811" y="22224"/>
                  </a:lnTo>
                  <a:lnTo>
                    <a:pt x="122870" y="26953"/>
                  </a:lnTo>
                  <a:cubicBezTo>
                    <a:pt x="112592" y="41752"/>
                    <a:pt x="114121" y="35509"/>
                    <a:pt x="107878" y="52160"/>
                  </a:cubicBezTo>
                  <a:cubicBezTo>
                    <a:pt x="101567" y="64009"/>
                    <a:pt x="94302" y="80096"/>
                    <a:pt x="78818" y="80911"/>
                  </a:cubicBezTo>
                  <a:lnTo>
                    <a:pt x="73188" y="82058"/>
                  </a:lnTo>
                  <a:lnTo>
                    <a:pt x="67085" y="80930"/>
                  </a:lnTo>
                  <a:lnTo>
                    <a:pt x="61232" y="79151"/>
                  </a:lnTo>
                  <a:lnTo>
                    <a:pt x="60722" y="79094"/>
                  </a:lnTo>
                  <a:lnTo>
                    <a:pt x="57125" y="79094"/>
                  </a:lnTo>
                  <a:lnTo>
                    <a:pt x="56094" y="79416"/>
                  </a:lnTo>
                  <a:lnTo>
                    <a:pt x="50357" y="83446"/>
                  </a:lnTo>
                  <a:lnTo>
                    <a:pt x="44225" y="85654"/>
                  </a:lnTo>
                  <a:lnTo>
                    <a:pt x="39023" y="86209"/>
                  </a:lnTo>
                  <a:lnTo>
                    <a:pt x="33566" y="83446"/>
                  </a:lnTo>
                  <a:lnTo>
                    <a:pt x="31590" y="83659"/>
                  </a:lnTo>
                  <a:lnTo>
                    <a:pt x="25024" y="89024"/>
                  </a:lnTo>
                  <a:lnTo>
                    <a:pt x="24668" y="89444"/>
                  </a:lnTo>
                  <a:cubicBezTo>
                    <a:pt x="15031" y="103269"/>
                    <a:pt x="11623" y="104889"/>
                    <a:pt x="3230" y="120990"/>
                  </a:cubicBezTo>
                  <a:lnTo>
                    <a:pt x="3085" y="121294"/>
                  </a:lnTo>
                  <a:lnTo>
                    <a:pt x="675" y="127219"/>
                  </a:lnTo>
                  <a:lnTo>
                    <a:pt x="559" y="127706"/>
                  </a:lnTo>
                  <a:lnTo>
                    <a:pt x="0" y="133678"/>
                  </a:lnTo>
                  <a:lnTo>
                    <a:pt x="82" y="134387"/>
                  </a:lnTo>
                  <a:lnTo>
                    <a:pt x="1846" y="140355"/>
                  </a:lnTo>
                  <a:lnTo>
                    <a:pt x="3408" y="141637"/>
                  </a:lnTo>
                  <a:lnTo>
                    <a:pt x="5216" y="140630"/>
                  </a:lnTo>
                  <a:lnTo>
                    <a:pt x="6151" y="138803"/>
                  </a:lnTo>
                  <a:lnTo>
                    <a:pt x="6599" y="140360"/>
                  </a:lnTo>
                  <a:lnTo>
                    <a:pt x="7052" y="141102"/>
                  </a:lnTo>
                  <a:lnTo>
                    <a:pt x="13011" y="147061"/>
                  </a:lnTo>
                  <a:lnTo>
                    <a:pt x="18237" y="152305"/>
                  </a:lnTo>
                  <a:lnTo>
                    <a:pt x="22320" y="158100"/>
                  </a:lnTo>
                  <a:lnTo>
                    <a:pt x="23819" y="158895"/>
                  </a:lnTo>
                  <a:lnTo>
                    <a:pt x="24426" y="158895"/>
                  </a:lnTo>
                  <a:lnTo>
                    <a:pt x="25897" y="158148"/>
                  </a:lnTo>
                  <a:lnTo>
                    <a:pt x="26128" y="156480"/>
                  </a:lnTo>
                  <a:lnTo>
                    <a:pt x="25810" y="155598"/>
                  </a:lnTo>
                  <a:lnTo>
                    <a:pt x="29493" y="150377"/>
                  </a:lnTo>
                  <a:lnTo>
                    <a:pt x="29782" y="149158"/>
                  </a:lnTo>
                  <a:lnTo>
                    <a:pt x="29194" y="143204"/>
                  </a:lnTo>
                  <a:lnTo>
                    <a:pt x="28346" y="141825"/>
                  </a:lnTo>
                  <a:lnTo>
                    <a:pt x="26760" y="141681"/>
                  </a:lnTo>
                  <a:lnTo>
                    <a:pt x="20695" y="143898"/>
                  </a:lnTo>
                  <a:lnTo>
                    <a:pt x="18801" y="143493"/>
                  </a:lnTo>
                  <a:lnTo>
                    <a:pt x="23684" y="142168"/>
                  </a:lnTo>
                  <a:lnTo>
                    <a:pt x="24831" y="141242"/>
                  </a:lnTo>
                  <a:lnTo>
                    <a:pt x="24904" y="139733"/>
                  </a:lnTo>
                  <a:lnTo>
                    <a:pt x="22686" y="134213"/>
                  </a:lnTo>
                  <a:lnTo>
                    <a:pt x="23178" y="129451"/>
                  </a:lnTo>
                  <a:lnTo>
                    <a:pt x="28524" y="125175"/>
                  </a:lnTo>
                  <a:lnTo>
                    <a:pt x="29074" y="124408"/>
                  </a:lnTo>
                  <a:lnTo>
                    <a:pt x="31373" y="118676"/>
                  </a:lnTo>
                  <a:lnTo>
                    <a:pt x="33658" y="115249"/>
                  </a:lnTo>
                  <a:lnTo>
                    <a:pt x="33706" y="115172"/>
                  </a:lnTo>
                  <a:lnTo>
                    <a:pt x="36811" y="109999"/>
                  </a:lnTo>
                  <a:lnTo>
                    <a:pt x="41848" y="109503"/>
                  </a:lnTo>
                  <a:lnTo>
                    <a:pt x="43039" y="108900"/>
                  </a:lnTo>
                  <a:lnTo>
                    <a:pt x="47898" y="103491"/>
                  </a:lnTo>
                  <a:lnTo>
                    <a:pt x="53158" y="102971"/>
                  </a:lnTo>
                  <a:lnTo>
                    <a:pt x="53789" y="102773"/>
                  </a:lnTo>
                  <a:lnTo>
                    <a:pt x="59415" y="99919"/>
                  </a:lnTo>
                  <a:lnTo>
                    <a:pt x="65634" y="99389"/>
                  </a:lnTo>
                  <a:lnTo>
                    <a:pt x="67114" y="98362"/>
                  </a:lnTo>
                  <a:lnTo>
                    <a:pt x="67292" y="98020"/>
                  </a:lnTo>
                  <a:lnTo>
                    <a:pt x="71491" y="101399"/>
                  </a:lnTo>
                  <a:lnTo>
                    <a:pt x="72103" y="101703"/>
                  </a:lnTo>
                  <a:lnTo>
                    <a:pt x="78047" y="103496"/>
                  </a:lnTo>
                  <a:lnTo>
                    <a:pt x="79604" y="103245"/>
                  </a:lnTo>
                  <a:lnTo>
                    <a:pt x="82960" y="100979"/>
                  </a:lnTo>
                  <a:lnTo>
                    <a:pt x="89178" y="98743"/>
                  </a:lnTo>
                  <a:lnTo>
                    <a:pt x="94785" y="97619"/>
                  </a:lnTo>
                  <a:lnTo>
                    <a:pt x="100598" y="97619"/>
                  </a:lnTo>
                  <a:lnTo>
                    <a:pt x="101514" y="97345"/>
                  </a:lnTo>
                  <a:lnTo>
                    <a:pt x="107039" y="94038"/>
                  </a:lnTo>
                  <a:lnTo>
                    <a:pt x="113070" y="94038"/>
                  </a:lnTo>
                  <a:lnTo>
                    <a:pt x="113595" y="93946"/>
                  </a:lnTo>
                  <a:lnTo>
                    <a:pt x="118806" y="92394"/>
                  </a:lnTo>
                  <a:lnTo>
                    <a:pt x="124697" y="95595"/>
                  </a:lnTo>
                  <a:lnTo>
                    <a:pt x="126365" y="95614"/>
                  </a:lnTo>
                  <a:lnTo>
                    <a:pt x="127189" y="95228"/>
                  </a:lnTo>
                  <a:lnTo>
                    <a:pt x="127373" y="95228"/>
                  </a:lnTo>
                  <a:lnTo>
                    <a:pt x="128641" y="94693"/>
                  </a:lnTo>
                  <a:lnTo>
                    <a:pt x="131340" y="92008"/>
                  </a:lnTo>
                  <a:lnTo>
                    <a:pt x="136301" y="96005"/>
                  </a:lnTo>
                  <a:lnTo>
                    <a:pt x="142230" y="101312"/>
                  </a:lnTo>
                  <a:lnTo>
                    <a:pt x="142678" y="101606"/>
                  </a:lnTo>
                  <a:lnTo>
                    <a:pt x="149210" y="104590"/>
                  </a:lnTo>
                  <a:lnTo>
                    <a:pt x="150502" y="104672"/>
                  </a:lnTo>
                  <a:lnTo>
                    <a:pt x="156441" y="102864"/>
                  </a:lnTo>
                  <a:lnTo>
                    <a:pt x="157676" y="101606"/>
                  </a:lnTo>
                  <a:lnTo>
                    <a:pt x="159459" y="95089"/>
                  </a:lnTo>
                  <a:lnTo>
                    <a:pt x="161243" y="89159"/>
                  </a:lnTo>
                  <a:lnTo>
                    <a:pt x="161267" y="89000"/>
                  </a:lnTo>
                  <a:lnTo>
                    <a:pt x="162443" y="83283"/>
                  </a:lnTo>
                  <a:lnTo>
                    <a:pt x="165162" y="77802"/>
                  </a:lnTo>
                  <a:lnTo>
                    <a:pt x="170904" y="72065"/>
                  </a:lnTo>
                  <a:lnTo>
                    <a:pt x="171424" y="70778"/>
                  </a:lnTo>
                  <a:lnTo>
                    <a:pt x="171424" y="70180"/>
                  </a:lnTo>
                  <a:lnTo>
                    <a:pt x="171419" y="70031"/>
                  </a:lnTo>
                  <a:lnTo>
                    <a:pt x="170822" y="6348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9" name="Freihandform: Form 18">
              <a:extLst>
                <a:ext uri="{FF2B5EF4-FFF2-40B4-BE49-F238E27FC236}">
                  <a16:creationId xmlns:a16="http://schemas.microsoft.com/office/drawing/2014/main" id="{1B19052A-691C-8C95-A36E-497CCC3582F5}"/>
                </a:ext>
              </a:extLst>
            </p:cNvPr>
            <p:cNvSpPr/>
            <p:nvPr/>
          </p:nvSpPr>
          <p:spPr>
            <a:xfrm>
              <a:off x="5057929" y="2166883"/>
              <a:ext cx="12699" cy="6350"/>
            </a:xfrm>
            <a:custGeom>
              <a:avLst/>
              <a:gdLst>
                <a:gd name="connsiteX0" fmla="*/ 9344 w 9604"/>
                <a:gd name="connsiteY0" fmla="*/ 1791 h 4794"/>
                <a:gd name="connsiteX1" fmla="*/ 9093 w 9604"/>
                <a:gd name="connsiteY1" fmla="*/ 1223 h 4794"/>
                <a:gd name="connsiteX2" fmla="*/ 8529 w 9604"/>
                <a:gd name="connsiteY2" fmla="*/ 924 h 4794"/>
                <a:gd name="connsiteX3" fmla="*/ 7974 w 9604"/>
                <a:gd name="connsiteY3" fmla="*/ 615 h 4794"/>
                <a:gd name="connsiteX4" fmla="*/ 2007 w 9604"/>
                <a:gd name="connsiteY4" fmla="*/ 13 h 4794"/>
                <a:gd name="connsiteX5" fmla="*/ 20 w 9604"/>
                <a:gd name="connsiteY5" fmla="*/ 1546 h 4794"/>
                <a:gd name="connsiteX6" fmla="*/ 1471 w 9604"/>
                <a:gd name="connsiteY6" fmla="*/ 3599 h 4794"/>
                <a:gd name="connsiteX7" fmla="*/ 7410 w 9604"/>
                <a:gd name="connsiteY7" fmla="*/ 4795 h 4794"/>
                <a:gd name="connsiteX8" fmla="*/ 8943 w 9604"/>
                <a:gd name="connsiteY8" fmla="*/ 4409 h 4794"/>
                <a:gd name="connsiteX9" fmla="*/ 9604 w 9604"/>
                <a:gd name="connsiteY9" fmla="*/ 3021 h 4794"/>
                <a:gd name="connsiteX10" fmla="*/ 9604 w 9604"/>
                <a:gd name="connsiteY10" fmla="*/ 2413 h 4794"/>
                <a:gd name="connsiteX11" fmla="*/ 9344 w 9604"/>
                <a:gd name="connsiteY11" fmla="*/ 1791 h 4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04" h="4794">
                  <a:moveTo>
                    <a:pt x="9344" y="1791"/>
                  </a:moveTo>
                  <a:cubicBezTo>
                    <a:pt x="9281" y="1608"/>
                    <a:pt x="9238" y="1391"/>
                    <a:pt x="9093" y="1223"/>
                  </a:cubicBezTo>
                  <a:cubicBezTo>
                    <a:pt x="8958" y="1025"/>
                    <a:pt x="8717" y="977"/>
                    <a:pt x="8529" y="924"/>
                  </a:cubicBezTo>
                  <a:cubicBezTo>
                    <a:pt x="8322" y="798"/>
                    <a:pt x="8182" y="639"/>
                    <a:pt x="7974" y="615"/>
                  </a:cubicBezTo>
                  <a:lnTo>
                    <a:pt x="2007" y="13"/>
                  </a:lnTo>
                  <a:cubicBezTo>
                    <a:pt x="1037" y="-103"/>
                    <a:pt x="189" y="586"/>
                    <a:pt x="20" y="1546"/>
                  </a:cubicBezTo>
                  <a:cubicBezTo>
                    <a:pt x="-124" y="2505"/>
                    <a:pt x="522" y="3402"/>
                    <a:pt x="1471" y="3599"/>
                  </a:cubicBezTo>
                  <a:lnTo>
                    <a:pt x="7410" y="4795"/>
                  </a:lnTo>
                  <a:lnTo>
                    <a:pt x="8943" y="4409"/>
                  </a:lnTo>
                  <a:lnTo>
                    <a:pt x="9604" y="3021"/>
                  </a:lnTo>
                  <a:lnTo>
                    <a:pt x="9604" y="2413"/>
                  </a:lnTo>
                  <a:cubicBezTo>
                    <a:pt x="9609" y="2168"/>
                    <a:pt x="9426" y="2008"/>
                    <a:pt x="9344" y="179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0" name="Freihandform: Form 19">
              <a:extLst>
                <a:ext uri="{FF2B5EF4-FFF2-40B4-BE49-F238E27FC236}">
                  <a16:creationId xmlns:a16="http://schemas.microsoft.com/office/drawing/2014/main" id="{6C25EFD5-BDD2-CF6B-8756-AA7B8ACEF4C8}"/>
                </a:ext>
              </a:extLst>
            </p:cNvPr>
            <p:cNvSpPr/>
            <p:nvPr/>
          </p:nvSpPr>
          <p:spPr>
            <a:xfrm>
              <a:off x="5534125" y="1546146"/>
              <a:ext cx="38096" cy="28576"/>
            </a:xfrm>
            <a:custGeom>
              <a:avLst/>
              <a:gdLst>
                <a:gd name="connsiteX0" fmla="*/ 29532 w 30004"/>
                <a:gd name="connsiteY0" fmla="*/ 386 h 21910"/>
                <a:gd name="connsiteX1" fmla="*/ 27854 w 30004"/>
                <a:gd name="connsiteY1" fmla="*/ 0 h 21910"/>
                <a:gd name="connsiteX2" fmla="*/ 21269 w 30004"/>
                <a:gd name="connsiteY2" fmla="*/ 2217 h 21910"/>
                <a:gd name="connsiteX3" fmla="*/ 20845 w 30004"/>
                <a:gd name="connsiteY3" fmla="*/ 2439 h 21910"/>
                <a:gd name="connsiteX4" fmla="*/ 16762 w 30004"/>
                <a:gd name="connsiteY4" fmla="*/ 5274 h 21910"/>
                <a:gd name="connsiteX5" fmla="*/ 15528 w 30004"/>
                <a:gd name="connsiteY5" fmla="*/ 3413 h 21910"/>
                <a:gd name="connsiteX6" fmla="*/ 14448 w 30004"/>
                <a:gd name="connsiteY6" fmla="*/ 2709 h 21910"/>
                <a:gd name="connsiteX7" fmla="*/ 13161 w 30004"/>
                <a:gd name="connsiteY7" fmla="*/ 2979 h 21910"/>
                <a:gd name="connsiteX8" fmla="*/ 7704 w 30004"/>
                <a:gd name="connsiteY8" fmla="*/ 6821 h 21910"/>
                <a:gd name="connsiteX9" fmla="*/ 7168 w 30004"/>
                <a:gd name="connsiteY9" fmla="*/ 7448 h 21910"/>
                <a:gd name="connsiteX10" fmla="*/ 4479 w 30004"/>
                <a:gd name="connsiteY10" fmla="*/ 12770 h 21910"/>
                <a:gd name="connsiteX11" fmla="*/ 174 w 30004"/>
                <a:gd name="connsiteY11" fmla="*/ 18709 h 21910"/>
                <a:gd name="connsiteX12" fmla="*/ 0 w 30004"/>
                <a:gd name="connsiteY12" fmla="*/ 20377 h 21910"/>
                <a:gd name="connsiteX13" fmla="*/ 1388 w 30004"/>
                <a:gd name="connsiteY13" fmla="*/ 21351 h 21910"/>
                <a:gd name="connsiteX14" fmla="*/ 7973 w 30004"/>
                <a:gd name="connsiteY14" fmla="*/ 21910 h 21910"/>
                <a:gd name="connsiteX15" fmla="*/ 8663 w 30004"/>
                <a:gd name="connsiteY15" fmla="*/ 21910 h 21910"/>
                <a:gd name="connsiteX16" fmla="*/ 9193 w 30004"/>
                <a:gd name="connsiteY16" fmla="*/ 21814 h 21910"/>
                <a:gd name="connsiteX17" fmla="*/ 10822 w 30004"/>
                <a:gd name="connsiteY17" fmla="*/ 21279 h 21910"/>
                <a:gd name="connsiteX18" fmla="*/ 11160 w 30004"/>
                <a:gd name="connsiteY18" fmla="*/ 20975 h 21910"/>
                <a:gd name="connsiteX19" fmla="*/ 11555 w 30004"/>
                <a:gd name="connsiteY19" fmla="*/ 20806 h 21910"/>
                <a:gd name="connsiteX20" fmla="*/ 16318 w 30004"/>
                <a:gd name="connsiteY20" fmla="*/ 15499 h 21910"/>
                <a:gd name="connsiteX21" fmla="*/ 22084 w 30004"/>
                <a:gd name="connsiteY21" fmla="*/ 11816 h 21910"/>
                <a:gd name="connsiteX22" fmla="*/ 27483 w 30004"/>
                <a:gd name="connsiteY22" fmla="*/ 9121 h 21910"/>
                <a:gd name="connsiteX23" fmla="*/ 28370 w 30004"/>
                <a:gd name="connsiteY23" fmla="*/ 8065 h 21910"/>
                <a:gd name="connsiteX24" fmla="*/ 30004 w 30004"/>
                <a:gd name="connsiteY24" fmla="*/ 2058 h 21910"/>
                <a:gd name="connsiteX25" fmla="*/ 29532 w 30004"/>
                <a:gd name="connsiteY25" fmla="*/ 386 h 21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004" h="21910">
                  <a:moveTo>
                    <a:pt x="29532" y="386"/>
                  </a:moveTo>
                  <a:lnTo>
                    <a:pt x="27854" y="0"/>
                  </a:lnTo>
                  <a:lnTo>
                    <a:pt x="21269" y="2217"/>
                  </a:lnTo>
                  <a:lnTo>
                    <a:pt x="20845" y="2439"/>
                  </a:lnTo>
                  <a:lnTo>
                    <a:pt x="16762" y="5274"/>
                  </a:lnTo>
                  <a:lnTo>
                    <a:pt x="15528" y="3413"/>
                  </a:lnTo>
                  <a:lnTo>
                    <a:pt x="14448" y="2709"/>
                  </a:lnTo>
                  <a:lnTo>
                    <a:pt x="13161" y="2979"/>
                  </a:lnTo>
                  <a:lnTo>
                    <a:pt x="7704" y="6821"/>
                  </a:lnTo>
                  <a:lnTo>
                    <a:pt x="7168" y="7448"/>
                  </a:lnTo>
                  <a:lnTo>
                    <a:pt x="4479" y="12770"/>
                  </a:lnTo>
                  <a:lnTo>
                    <a:pt x="174" y="18709"/>
                  </a:lnTo>
                  <a:lnTo>
                    <a:pt x="0" y="20377"/>
                  </a:lnTo>
                  <a:lnTo>
                    <a:pt x="1388" y="21351"/>
                  </a:lnTo>
                  <a:lnTo>
                    <a:pt x="7973" y="21910"/>
                  </a:lnTo>
                  <a:lnTo>
                    <a:pt x="8663" y="21910"/>
                  </a:lnTo>
                  <a:lnTo>
                    <a:pt x="9193" y="21814"/>
                  </a:lnTo>
                  <a:lnTo>
                    <a:pt x="10822" y="21279"/>
                  </a:lnTo>
                  <a:cubicBezTo>
                    <a:pt x="10972" y="21211"/>
                    <a:pt x="11044" y="21057"/>
                    <a:pt x="11160" y="20975"/>
                  </a:cubicBezTo>
                  <a:cubicBezTo>
                    <a:pt x="11281" y="20888"/>
                    <a:pt x="11440" y="20917"/>
                    <a:pt x="11555" y="20806"/>
                  </a:cubicBezTo>
                  <a:lnTo>
                    <a:pt x="16318" y="15499"/>
                  </a:lnTo>
                  <a:lnTo>
                    <a:pt x="22084" y="11816"/>
                  </a:lnTo>
                  <a:lnTo>
                    <a:pt x="27483" y="9121"/>
                  </a:lnTo>
                  <a:lnTo>
                    <a:pt x="28370" y="8065"/>
                  </a:lnTo>
                  <a:lnTo>
                    <a:pt x="30004" y="2058"/>
                  </a:lnTo>
                  <a:lnTo>
                    <a:pt x="29532" y="38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1" name="Freihandform: Form 20">
              <a:extLst>
                <a:ext uri="{FF2B5EF4-FFF2-40B4-BE49-F238E27FC236}">
                  <a16:creationId xmlns:a16="http://schemas.microsoft.com/office/drawing/2014/main" id="{569D35B1-26BC-0497-F955-AF154B1011D8}"/>
                </a:ext>
              </a:extLst>
            </p:cNvPr>
            <p:cNvSpPr/>
            <p:nvPr/>
          </p:nvSpPr>
          <p:spPr>
            <a:xfrm>
              <a:off x="5575395" y="1173070"/>
              <a:ext cx="12699" cy="22226"/>
            </a:xfrm>
            <a:custGeom>
              <a:avLst/>
              <a:gdLst>
                <a:gd name="connsiteX0" fmla="*/ 8735 w 9723"/>
                <a:gd name="connsiteY0" fmla="*/ 8022 h 17561"/>
                <a:gd name="connsiteX1" fmla="*/ 9299 w 9723"/>
                <a:gd name="connsiteY1" fmla="*/ 2136 h 17561"/>
                <a:gd name="connsiteX2" fmla="*/ 9622 w 9723"/>
                <a:gd name="connsiteY2" fmla="*/ 1302 h 17561"/>
                <a:gd name="connsiteX3" fmla="*/ 9724 w 9723"/>
                <a:gd name="connsiteY3" fmla="*/ 1099 h 17561"/>
                <a:gd name="connsiteX4" fmla="*/ 7896 w 9723"/>
                <a:gd name="connsiteY4" fmla="*/ 0 h 17561"/>
                <a:gd name="connsiteX5" fmla="*/ 7573 w 9723"/>
                <a:gd name="connsiteY5" fmla="*/ 3505 h 17561"/>
                <a:gd name="connsiteX6" fmla="*/ 8161 w 9723"/>
                <a:gd name="connsiteY6" fmla="*/ 9246 h 17561"/>
                <a:gd name="connsiteX7" fmla="*/ 6667 w 9723"/>
                <a:gd name="connsiteY7" fmla="*/ 11242 h 17561"/>
                <a:gd name="connsiteX8" fmla="*/ 1234 w 9723"/>
                <a:gd name="connsiteY8" fmla="*/ 12225 h 17561"/>
                <a:gd name="connsiteX9" fmla="*/ 0 w 9723"/>
                <a:gd name="connsiteY9" fmla="*/ 16275 h 17561"/>
                <a:gd name="connsiteX10" fmla="*/ 318 w 9723"/>
                <a:gd name="connsiteY10" fmla="*/ 16737 h 17561"/>
                <a:gd name="connsiteX11" fmla="*/ 4368 w 9723"/>
                <a:gd name="connsiteY11" fmla="*/ 17562 h 17561"/>
                <a:gd name="connsiteX12" fmla="*/ 8161 w 9723"/>
                <a:gd name="connsiteY12" fmla="*/ 12341 h 17561"/>
                <a:gd name="connsiteX13" fmla="*/ 8711 w 9723"/>
                <a:gd name="connsiteY13" fmla="*/ 8022 h 17561"/>
                <a:gd name="connsiteX14" fmla="*/ 8735 w 9723"/>
                <a:gd name="connsiteY14" fmla="*/ 8022 h 17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23" h="17561">
                  <a:moveTo>
                    <a:pt x="8735" y="8022"/>
                  </a:moveTo>
                  <a:lnTo>
                    <a:pt x="9299" y="2136"/>
                  </a:lnTo>
                  <a:lnTo>
                    <a:pt x="9622" y="1302"/>
                  </a:lnTo>
                  <a:lnTo>
                    <a:pt x="9724" y="1099"/>
                  </a:lnTo>
                  <a:lnTo>
                    <a:pt x="7896" y="0"/>
                  </a:lnTo>
                  <a:lnTo>
                    <a:pt x="7573" y="3505"/>
                  </a:lnTo>
                  <a:lnTo>
                    <a:pt x="8161" y="9246"/>
                  </a:lnTo>
                  <a:cubicBezTo>
                    <a:pt x="8258" y="10201"/>
                    <a:pt x="7602" y="11049"/>
                    <a:pt x="6667" y="11242"/>
                  </a:cubicBezTo>
                  <a:lnTo>
                    <a:pt x="1234" y="12225"/>
                  </a:lnTo>
                  <a:lnTo>
                    <a:pt x="0" y="16275"/>
                  </a:lnTo>
                  <a:lnTo>
                    <a:pt x="318" y="16737"/>
                  </a:lnTo>
                  <a:lnTo>
                    <a:pt x="4368" y="17562"/>
                  </a:lnTo>
                  <a:lnTo>
                    <a:pt x="8161" y="12341"/>
                  </a:lnTo>
                  <a:lnTo>
                    <a:pt x="8711" y="8022"/>
                  </a:lnTo>
                  <a:lnTo>
                    <a:pt x="8735" y="802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2" name="Freihandform: Form 21">
              <a:extLst>
                <a:ext uri="{FF2B5EF4-FFF2-40B4-BE49-F238E27FC236}">
                  <a16:creationId xmlns:a16="http://schemas.microsoft.com/office/drawing/2014/main" id="{E19A493F-1F4F-ED6B-7053-0C1008F82103}"/>
                </a:ext>
              </a:extLst>
            </p:cNvPr>
            <p:cNvSpPr/>
            <p:nvPr/>
          </p:nvSpPr>
          <p:spPr>
            <a:xfrm>
              <a:off x="5635714" y="1138144"/>
              <a:ext cx="3175" cy="6350"/>
            </a:xfrm>
            <a:custGeom>
              <a:avLst/>
              <a:gdLst>
                <a:gd name="connsiteX0" fmla="*/ 2825 w 2824"/>
                <a:gd name="connsiteY0" fmla="*/ 1803 h 4955"/>
                <a:gd name="connsiteX1" fmla="*/ 2237 w 2824"/>
                <a:gd name="connsiteY1" fmla="*/ 636 h 4955"/>
                <a:gd name="connsiteX2" fmla="*/ 0 w 2824"/>
                <a:gd name="connsiteY2" fmla="*/ 0 h 4955"/>
                <a:gd name="connsiteX3" fmla="*/ 959 w 2824"/>
                <a:gd name="connsiteY3" fmla="*/ 2444 h 4955"/>
                <a:gd name="connsiteX4" fmla="*/ 2550 w 2824"/>
                <a:gd name="connsiteY4" fmla="*/ 4956 h 4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4" h="4955">
                  <a:moveTo>
                    <a:pt x="2825" y="1803"/>
                  </a:moveTo>
                  <a:lnTo>
                    <a:pt x="2237" y="636"/>
                  </a:lnTo>
                  <a:lnTo>
                    <a:pt x="0" y="0"/>
                  </a:lnTo>
                  <a:lnTo>
                    <a:pt x="959" y="2444"/>
                  </a:lnTo>
                  <a:lnTo>
                    <a:pt x="2550" y="495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3" name="Freihandform: Form 22">
              <a:extLst>
                <a:ext uri="{FF2B5EF4-FFF2-40B4-BE49-F238E27FC236}">
                  <a16:creationId xmlns:a16="http://schemas.microsoft.com/office/drawing/2014/main" id="{4696EFC2-5677-1909-3DA1-1DF16FD4B0E6}"/>
                </a:ext>
              </a:extLst>
            </p:cNvPr>
            <p:cNvSpPr/>
            <p:nvPr/>
          </p:nvSpPr>
          <p:spPr>
            <a:xfrm>
              <a:off x="5554761" y="1182595"/>
              <a:ext cx="15873" cy="41277"/>
            </a:xfrm>
            <a:custGeom>
              <a:avLst/>
              <a:gdLst>
                <a:gd name="connsiteX0" fmla="*/ 11917 w 12167"/>
                <a:gd name="connsiteY0" fmla="*/ 12765 h 32154"/>
                <a:gd name="connsiteX1" fmla="*/ 10721 w 12167"/>
                <a:gd name="connsiteY1" fmla="*/ 6233 h 32154"/>
                <a:gd name="connsiteX2" fmla="*/ 10760 w 12167"/>
                <a:gd name="connsiteY2" fmla="*/ 5380 h 32154"/>
                <a:gd name="connsiteX3" fmla="*/ 12061 w 12167"/>
                <a:gd name="connsiteY3" fmla="*/ 1003 h 32154"/>
                <a:gd name="connsiteX4" fmla="*/ 9525 w 12167"/>
                <a:gd name="connsiteY4" fmla="*/ 0 h 32154"/>
                <a:gd name="connsiteX5" fmla="*/ 4681 w 12167"/>
                <a:gd name="connsiteY5" fmla="*/ 13156 h 32154"/>
                <a:gd name="connsiteX6" fmla="*/ 2348 w 12167"/>
                <a:gd name="connsiteY6" fmla="*/ 18965 h 32154"/>
                <a:gd name="connsiteX7" fmla="*/ 636 w 12167"/>
                <a:gd name="connsiteY7" fmla="*/ 25232 h 32154"/>
                <a:gd name="connsiteX8" fmla="*/ 63 w 12167"/>
                <a:gd name="connsiteY8" fmla="*/ 31629 h 32154"/>
                <a:gd name="connsiteX9" fmla="*/ 0 w 12167"/>
                <a:gd name="connsiteY9" fmla="*/ 32154 h 32154"/>
                <a:gd name="connsiteX10" fmla="*/ 974 w 12167"/>
                <a:gd name="connsiteY10" fmla="*/ 30949 h 32154"/>
                <a:gd name="connsiteX11" fmla="*/ 1277 w 12167"/>
                <a:gd name="connsiteY11" fmla="*/ 30612 h 32154"/>
                <a:gd name="connsiteX12" fmla="*/ 8320 w 12167"/>
                <a:gd name="connsiteY12" fmla="*/ 25227 h 32154"/>
                <a:gd name="connsiteX13" fmla="*/ 8320 w 12167"/>
                <a:gd name="connsiteY13" fmla="*/ 23038 h 32154"/>
                <a:gd name="connsiteX14" fmla="*/ 4401 w 12167"/>
                <a:gd name="connsiteY14" fmla="*/ 16313 h 32154"/>
                <a:gd name="connsiteX15" fmla="*/ 4719 w 12167"/>
                <a:gd name="connsiteY15" fmla="*/ 14067 h 32154"/>
                <a:gd name="connsiteX16" fmla="*/ 6966 w 12167"/>
                <a:gd name="connsiteY16" fmla="*/ 13884 h 32154"/>
                <a:gd name="connsiteX17" fmla="*/ 10615 w 12167"/>
                <a:gd name="connsiteY17" fmla="*/ 16308 h 32154"/>
                <a:gd name="connsiteX18" fmla="*/ 12167 w 12167"/>
                <a:gd name="connsiteY18" fmla="*/ 13223 h 32154"/>
                <a:gd name="connsiteX19" fmla="*/ 11917 w 12167"/>
                <a:gd name="connsiteY19" fmla="*/ 12765 h 3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67" h="32154">
                  <a:moveTo>
                    <a:pt x="11917" y="12765"/>
                  </a:moveTo>
                  <a:lnTo>
                    <a:pt x="10721" y="6233"/>
                  </a:lnTo>
                  <a:lnTo>
                    <a:pt x="10760" y="5380"/>
                  </a:lnTo>
                  <a:lnTo>
                    <a:pt x="12061" y="1003"/>
                  </a:lnTo>
                  <a:lnTo>
                    <a:pt x="9525" y="0"/>
                  </a:lnTo>
                  <a:cubicBezTo>
                    <a:pt x="8176" y="4478"/>
                    <a:pt x="6922" y="8991"/>
                    <a:pt x="4681" y="13156"/>
                  </a:cubicBezTo>
                  <a:lnTo>
                    <a:pt x="2348" y="18965"/>
                  </a:lnTo>
                  <a:lnTo>
                    <a:pt x="636" y="25232"/>
                  </a:lnTo>
                  <a:lnTo>
                    <a:pt x="63" y="31629"/>
                  </a:lnTo>
                  <a:lnTo>
                    <a:pt x="0" y="32154"/>
                  </a:lnTo>
                  <a:lnTo>
                    <a:pt x="974" y="30949"/>
                  </a:lnTo>
                  <a:lnTo>
                    <a:pt x="1277" y="30612"/>
                  </a:lnTo>
                  <a:lnTo>
                    <a:pt x="8320" y="25227"/>
                  </a:lnTo>
                  <a:lnTo>
                    <a:pt x="8320" y="23038"/>
                  </a:lnTo>
                  <a:lnTo>
                    <a:pt x="4401" y="16313"/>
                  </a:lnTo>
                  <a:lnTo>
                    <a:pt x="4719" y="14067"/>
                  </a:lnTo>
                  <a:lnTo>
                    <a:pt x="6966" y="13884"/>
                  </a:lnTo>
                  <a:lnTo>
                    <a:pt x="10615" y="16308"/>
                  </a:lnTo>
                  <a:lnTo>
                    <a:pt x="12167" y="13223"/>
                  </a:lnTo>
                  <a:lnTo>
                    <a:pt x="11917" y="1276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4" name="Freihandform: Form 23">
              <a:extLst>
                <a:ext uri="{FF2B5EF4-FFF2-40B4-BE49-F238E27FC236}">
                  <a16:creationId xmlns:a16="http://schemas.microsoft.com/office/drawing/2014/main" id="{C33D4F45-1DE3-C451-F772-5A35524D5A57}"/>
                </a:ext>
              </a:extLst>
            </p:cNvPr>
            <p:cNvSpPr/>
            <p:nvPr/>
          </p:nvSpPr>
          <p:spPr>
            <a:xfrm>
              <a:off x="5596031" y="1139731"/>
              <a:ext cx="36508" cy="38101"/>
            </a:xfrm>
            <a:custGeom>
              <a:avLst/>
              <a:gdLst>
                <a:gd name="connsiteX0" fmla="*/ 22807 w 27955"/>
                <a:gd name="connsiteY0" fmla="*/ 8653 h 30143"/>
                <a:gd name="connsiteX1" fmla="*/ 16868 w 27955"/>
                <a:gd name="connsiteY1" fmla="*/ 5071 h 30143"/>
                <a:gd name="connsiteX2" fmla="*/ 16082 w 27955"/>
                <a:gd name="connsiteY2" fmla="*/ 2941 h 30143"/>
                <a:gd name="connsiteX3" fmla="*/ 17981 w 27955"/>
                <a:gd name="connsiteY3" fmla="*/ 1692 h 30143"/>
                <a:gd name="connsiteX4" fmla="*/ 21226 w 27955"/>
                <a:gd name="connsiteY4" fmla="*/ 2039 h 30143"/>
                <a:gd name="connsiteX5" fmla="*/ 20637 w 27955"/>
                <a:gd name="connsiteY5" fmla="*/ 0 h 30143"/>
                <a:gd name="connsiteX6" fmla="*/ 16530 w 27955"/>
                <a:gd name="connsiteY6" fmla="*/ 0 h 30143"/>
                <a:gd name="connsiteX7" fmla="*/ 14076 w 27955"/>
                <a:gd name="connsiteY7" fmla="*/ 4917 h 30143"/>
                <a:gd name="connsiteX8" fmla="*/ 11767 w 27955"/>
                <a:gd name="connsiteY8" fmla="*/ 5795 h 30143"/>
                <a:gd name="connsiteX9" fmla="*/ 6648 w 27955"/>
                <a:gd name="connsiteY9" fmla="*/ 3770 h 30143"/>
                <a:gd name="connsiteX10" fmla="*/ 2454 w 27955"/>
                <a:gd name="connsiteY10" fmla="*/ 6262 h 30143"/>
                <a:gd name="connsiteX11" fmla="*/ 2859 w 27955"/>
                <a:gd name="connsiteY11" fmla="*/ 10085 h 30143"/>
                <a:gd name="connsiteX12" fmla="*/ 5529 w 27955"/>
                <a:gd name="connsiteY12" fmla="*/ 11391 h 30143"/>
                <a:gd name="connsiteX13" fmla="*/ 6060 w 27955"/>
                <a:gd name="connsiteY13" fmla="*/ 12057 h 30143"/>
                <a:gd name="connsiteX14" fmla="*/ 6421 w 27955"/>
                <a:gd name="connsiteY14" fmla="*/ 12423 h 30143"/>
                <a:gd name="connsiteX15" fmla="*/ 6421 w 27955"/>
                <a:gd name="connsiteY15" fmla="*/ 12447 h 30143"/>
                <a:gd name="connsiteX16" fmla="*/ 6402 w 27955"/>
                <a:gd name="connsiteY16" fmla="*/ 13132 h 30143"/>
                <a:gd name="connsiteX17" fmla="*/ 6344 w 27955"/>
                <a:gd name="connsiteY17" fmla="*/ 13835 h 30143"/>
                <a:gd name="connsiteX18" fmla="*/ 6344 w 27955"/>
                <a:gd name="connsiteY18" fmla="*/ 13860 h 30143"/>
                <a:gd name="connsiteX19" fmla="*/ 5901 w 27955"/>
                <a:gd name="connsiteY19" fmla="*/ 14221 h 30143"/>
                <a:gd name="connsiteX20" fmla="*/ 5322 w 27955"/>
                <a:gd name="connsiteY20" fmla="*/ 14732 h 30143"/>
                <a:gd name="connsiteX21" fmla="*/ 0 w 27955"/>
                <a:gd name="connsiteY21" fmla="*/ 16709 h 30143"/>
                <a:gd name="connsiteX22" fmla="*/ 0 w 27955"/>
                <a:gd name="connsiteY22" fmla="*/ 20006 h 30143"/>
                <a:gd name="connsiteX23" fmla="*/ 2835 w 27955"/>
                <a:gd name="connsiteY23" fmla="*/ 20840 h 30143"/>
                <a:gd name="connsiteX24" fmla="*/ 4073 w 27955"/>
                <a:gd name="connsiteY24" fmla="*/ 22093 h 30143"/>
                <a:gd name="connsiteX25" fmla="*/ 3611 w 27955"/>
                <a:gd name="connsiteY25" fmla="*/ 23877 h 30143"/>
                <a:gd name="connsiteX26" fmla="*/ 1118 w 27955"/>
                <a:gd name="connsiteY26" fmla="*/ 26355 h 30143"/>
                <a:gd name="connsiteX27" fmla="*/ 1624 w 27955"/>
                <a:gd name="connsiteY27" fmla="*/ 26451 h 30143"/>
                <a:gd name="connsiteX28" fmla="*/ 6648 w 27955"/>
                <a:gd name="connsiteY28" fmla="*/ 30144 h 30143"/>
                <a:gd name="connsiteX29" fmla="*/ 9757 w 27955"/>
                <a:gd name="connsiteY29" fmla="*/ 25685 h 30143"/>
                <a:gd name="connsiteX30" fmla="*/ 9815 w 27955"/>
                <a:gd name="connsiteY30" fmla="*/ 25598 h 30143"/>
                <a:gd name="connsiteX31" fmla="*/ 14607 w 27955"/>
                <a:gd name="connsiteY31" fmla="*/ 19635 h 30143"/>
                <a:gd name="connsiteX32" fmla="*/ 15200 w 27955"/>
                <a:gd name="connsiteY32" fmla="*/ 19172 h 30143"/>
                <a:gd name="connsiteX33" fmla="*/ 20989 w 27955"/>
                <a:gd name="connsiteY33" fmla="*/ 16270 h 30143"/>
                <a:gd name="connsiteX34" fmla="*/ 26470 w 27955"/>
                <a:gd name="connsiteY34" fmla="*/ 11869 h 30143"/>
                <a:gd name="connsiteX35" fmla="*/ 27955 w 27955"/>
                <a:gd name="connsiteY35" fmla="*/ 8918 h 30143"/>
                <a:gd name="connsiteX36" fmla="*/ 23761 w 27955"/>
                <a:gd name="connsiteY36" fmla="*/ 8918 h 30143"/>
                <a:gd name="connsiteX37" fmla="*/ 22807 w 27955"/>
                <a:gd name="connsiteY37" fmla="*/ 8653 h 30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7955" h="30143">
                  <a:moveTo>
                    <a:pt x="22807" y="8653"/>
                  </a:moveTo>
                  <a:lnTo>
                    <a:pt x="16868" y="5071"/>
                  </a:lnTo>
                  <a:cubicBezTo>
                    <a:pt x="16159" y="4642"/>
                    <a:pt x="15812" y="3765"/>
                    <a:pt x="16082" y="2941"/>
                  </a:cubicBezTo>
                  <a:cubicBezTo>
                    <a:pt x="16366" y="2126"/>
                    <a:pt x="17147" y="1634"/>
                    <a:pt x="17981" y="1692"/>
                  </a:cubicBezTo>
                  <a:lnTo>
                    <a:pt x="21226" y="2039"/>
                  </a:lnTo>
                  <a:lnTo>
                    <a:pt x="20637" y="0"/>
                  </a:lnTo>
                  <a:lnTo>
                    <a:pt x="16530" y="0"/>
                  </a:lnTo>
                  <a:lnTo>
                    <a:pt x="14076" y="4917"/>
                  </a:lnTo>
                  <a:cubicBezTo>
                    <a:pt x="13652" y="5766"/>
                    <a:pt x="12645" y="6142"/>
                    <a:pt x="11767" y="5795"/>
                  </a:cubicBezTo>
                  <a:lnTo>
                    <a:pt x="6648" y="3770"/>
                  </a:lnTo>
                  <a:lnTo>
                    <a:pt x="2454" y="6262"/>
                  </a:lnTo>
                  <a:lnTo>
                    <a:pt x="2859" y="10085"/>
                  </a:lnTo>
                  <a:lnTo>
                    <a:pt x="5529" y="11391"/>
                  </a:lnTo>
                  <a:cubicBezTo>
                    <a:pt x="5804" y="11541"/>
                    <a:pt x="5901" y="11816"/>
                    <a:pt x="6060" y="12057"/>
                  </a:cubicBezTo>
                  <a:cubicBezTo>
                    <a:pt x="6161" y="12201"/>
                    <a:pt x="6344" y="12245"/>
                    <a:pt x="6421" y="12423"/>
                  </a:cubicBezTo>
                  <a:lnTo>
                    <a:pt x="6421" y="12447"/>
                  </a:lnTo>
                  <a:cubicBezTo>
                    <a:pt x="6493" y="12650"/>
                    <a:pt x="6402" y="12886"/>
                    <a:pt x="6402" y="13132"/>
                  </a:cubicBezTo>
                  <a:cubicBezTo>
                    <a:pt x="6382" y="13373"/>
                    <a:pt x="6450" y="13619"/>
                    <a:pt x="6344" y="13835"/>
                  </a:cubicBezTo>
                  <a:lnTo>
                    <a:pt x="6344" y="13860"/>
                  </a:lnTo>
                  <a:cubicBezTo>
                    <a:pt x="6243" y="14028"/>
                    <a:pt x="6040" y="14072"/>
                    <a:pt x="5901" y="14221"/>
                  </a:cubicBezTo>
                  <a:cubicBezTo>
                    <a:pt x="5737" y="14404"/>
                    <a:pt x="5616" y="14655"/>
                    <a:pt x="5322" y="14732"/>
                  </a:cubicBezTo>
                  <a:lnTo>
                    <a:pt x="0" y="16709"/>
                  </a:lnTo>
                  <a:lnTo>
                    <a:pt x="0" y="20006"/>
                  </a:lnTo>
                  <a:lnTo>
                    <a:pt x="2835" y="20840"/>
                  </a:lnTo>
                  <a:lnTo>
                    <a:pt x="4073" y="22093"/>
                  </a:lnTo>
                  <a:lnTo>
                    <a:pt x="3611" y="23877"/>
                  </a:lnTo>
                  <a:lnTo>
                    <a:pt x="1118" y="26355"/>
                  </a:lnTo>
                  <a:lnTo>
                    <a:pt x="1624" y="26451"/>
                  </a:lnTo>
                  <a:lnTo>
                    <a:pt x="6648" y="30144"/>
                  </a:lnTo>
                  <a:lnTo>
                    <a:pt x="9757" y="25685"/>
                  </a:lnTo>
                  <a:lnTo>
                    <a:pt x="9815" y="25598"/>
                  </a:lnTo>
                  <a:lnTo>
                    <a:pt x="14607" y="19635"/>
                  </a:lnTo>
                  <a:lnTo>
                    <a:pt x="15200" y="19172"/>
                  </a:lnTo>
                  <a:lnTo>
                    <a:pt x="20989" y="16270"/>
                  </a:lnTo>
                  <a:lnTo>
                    <a:pt x="26470" y="11869"/>
                  </a:lnTo>
                  <a:lnTo>
                    <a:pt x="27955" y="8918"/>
                  </a:lnTo>
                  <a:lnTo>
                    <a:pt x="23761" y="8918"/>
                  </a:lnTo>
                  <a:lnTo>
                    <a:pt x="22807" y="865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5" name="Freihandform: Form 24">
              <a:extLst>
                <a:ext uri="{FF2B5EF4-FFF2-40B4-BE49-F238E27FC236}">
                  <a16:creationId xmlns:a16="http://schemas.microsoft.com/office/drawing/2014/main" id="{AF748A56-5346-7459-F651-EF56078362CC}"/>
                </a:ext>
              </a:extLst>
            </p:cNvPr>
            <p:cNvSpPr/>
            <p:nvPr/>
          </p:nvSpPr>
          <p:spPr>
            <a:xfrm>
              <a:off x="5643651" y="1109568"/>
              <a:ext cx="49206" cy="49214"/>
            </a:xfrm>
            <a:custGeom>
              <a:avLst/>
              <a:gdLst>
                <a:gd name="connsiteX0" fmla="*/ 33981 w 38965"/>
                <a:gd name="connsiteY0" fmla="*/ 1784 h 37794"/>
                <a:gd name="connsiteX1" fmla="*/ 30684 w 38965"/>
                <a:gd name="connsiteY1" fmla="*/ 8402 h 37794"/>
                <a:gd name="connsiteX2" fmla="*/ 29378 w 38965"/>
                <a:gd name="connsiteY2" fmla="*/ 9362 h 37794"/>
                <a:gd name="connsiteX3" fmla="*/ 27869 w 38965"/>
                <a:gd name="connsiteY3" fmla="*/ 8947 h 37794"/>
                <a:gd name="connsiteX4" fmla="*/ 24870 w 38965"/>
                <a:gd name="connsiteY4" fmla="*/ 6330 h 37794"/>
                <a:gd name="connsiteX5" fmla="*/ 22947 w 38965"/>
                <a:gd name="connsiteY5" fmla="*/ 10191 h 37794"/>
                <a:gd name="connsiteX6" fmla="*/ 21717 w 38965"/>
                <a:gd name="connsiteY6" fmla="*/ 11141 h 37794"/>
                <a:gd name="connsiteX7" fmla="*/ 20242 w 38965"/>
                <a:gd name="connsiteY7" fmla="*/ 10837 h 37794"/>
                <a:gd name="connsiteX8" fmla="*/ 16588 w 38965"/>
                <a:gd name="connsiteY8" fmla="*/ 8147 h 37794"/>
                <a:gd name="connsiteX9" fmla="*/ 16588 w 38965"/>
                <a:gd name="connsiteY9" fmla="*/ 11141 h 37794"/>
                <a:gd name="connsiteX10" fmla="*/ 15875 w 38965"/>
                <a:gd name="connsiteY10" fmla="*/ 12611 h 37794"/>
                <a:gd name="connsiteX11" fmla="*/ 14279 w 38965"/>
                <a:gd name="connsiteY11" fmla="*/ 12891 h 37794"/>
                <a:gd name="connsiteX12" fmla="*/ 9646 w 38965"/>
                <a:gd name="connsiteY12" fmla="*/ 11628 h 37794"/>
                <a:gd name="connsiteX13" fmla="*/ 8841 w 38965"/>
                <a:gd name="connsiteY13" fmla="*/ 16140 h 37794"/>
                <a:gd name="connsiteX14" fmla="*/ 8248 w 38965"/>
                <a:gd name="connsiteY14" fmla="*/ 23771 h 37794"/>
                <a:gd name="connsiteX15" fmla="*/ 6778 w 38965"/>
                <a:gd name="connsiteY15" fmla="*/ 25434 h 37794"/>
                <a:gd name="connsiteX16" fmla="*/ 4787 w 38965"/>
                <a:gd name="connsiteY16" fmla="*/ 24398 h 37794"/>
                <a:gd name="connsiteX17" fmla="*/ 3659 w 38965"/>
                <a:gd name="connsiteY17" fmla="*/ 21910 h 37794"/>
                <a:gd name="connsiteX18" fmla="*/ 2844 w 38965"/>
                <a:gd name="connsiteY18" fmla="*/ 24123 h 37794"/>
                <a:gd name="connsiteX19" fmla="*/ 1817 w 38965"/>
                <a:gd name="connsiteY19" fmla="*/ 29734 h 37794"/>
                <a:gd name="connsiteX20" fmla="*/ 2213 w 38965"/>
                <a:gd name="connsiteY20" fmla="*/ 31344 h 37794"/>
                <a:gd name="connsiteX21" fmla="*/ 1601 w 38965"/>
                <a:gd name="connsiteY21" fmla="*/ 33147 h 37794"/>
                <a:gd name="connsiteX22" fmla="*/ 1586 w 38965"/>
                <a:gd name="connsiteY22" fmla="*/ 33234 h 37794"/>
                <a:gd name="connsiteX23" fmla="*/ 0 w 38965"/>
                <a:gd name="connsiteY23" fmla="*/ 37163 h 37794"/>
                <a:gd name="connsiteX24" fmla="*/ 3201 w 38965"/>
                <a:gd name="connsiteY24" fmla="*/ 37794 h 37794"/>
                <a:gd name="connsiteX25" fmla="*/ 8417 w 38965"/>
                <a:gd name="connsiteY25" fmla="*/ 35201 h 37794"/>
                <a:gd name="connsiteX26" fmla="*/ 14665 w 38965"/>
                <a:gd name="connsiteY26" fmla="*/ 30110 h 37794"/>
                <a:gd name="connsiteX27" fmla="*/ 18969 w 38965"/>
                <a:gd name="connsiteY27" fmla="*/ 24696 h 37794"/>
                <a:gd name="connsiteX28" fmla="*/ 19500 w 38965"/>
                <a:gd name="connsiteY28" fmla="*/ 18709 h 37794"/>
                <a:gd name="connsiteX29" fmla="*/ 21231 w 38965"/>
                <a:gd name="connsiteY29" fmla="*/ 17070 h 37794"/>
                <a:gd name="connsiteX30" fmla="*/ 23091 w 38965"/>
                <a:gd name="connsiteY30" fmla="*/ 18550 h 37794"/>
                <a:gd name="connsiteX31" fmla="*/ 23834 w 38965"/>
                <a:gd name="connsiteY31" fmla="*/ 22532 h 37794"/>
                <a:gd name="connsiteX32" fmla="*/ 28476 w 38965"/>
                <a:gd name="connsiteY32" fmla="*/ 19828 h 37794"/>
                <a:gd name="connsiteX33" fmla="*/ 32352 w 38965"/>
                <a:gd name="connsiteY33" fmla="*/ 15407 h 37794"/>
                <a:gd name="connsiteX34" fmla="*/ 35813 w 38965"/>
                <a:gd name="connsiteY34" fmla="*/ 9622 h 37794"/>
                <a:gd name="connsiteX35" fmla="*/ 38966 w 38965"/>
                <a:gd name="connsiteY35" fmla="*/ 3861 h 37794"/>
                <a:gd name="connsiteX36" fmla="*/ 37578 w 38965"/>
                <a:gd name="connsiteY36" fmla="*/ 0 h 37794"/>
                <a:gd name="connsiteX37" fmla="*/ 33981 w 38965"/>
                <a:gd name="connsiteY37" fmla="*/ 1784 h 3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965" h="37794">
                  <a:moveTo>
                    <a:pt x="33981" y="1784"/>
                  </a:moveTo>
                  <a:lnTo>
                    <a:pt x="30684" y="8402"/>
                  </a:lnTo>
                  <a:lnTo>
                    <a:pt x="29378" y="9362"/>
                  </a:lnTo>
                  <a:lnTo>
                    <a:pt x="27869" y="8947"/>
                  </a:lnTo>
                  <a:lnTo>
                    <a:pt x="24870" y="6330"/>
                  </a:lnTo>
                  <a:lnTo>
                    <a:pt x="22947" y="10191"/>
                  </a:lnTo>
                  <a:lnTo>
                    <a:pt x="21717" y="11141"/>
                  </a:lnTo>
                  <a:lnTo>
                    <a:pt x="20242" y="10837"/>
                  </a:lnTo>
                  <a:lnTo>
                    <a:pt x="16588" y="8147"/>
                  </a:lnTo>
                  <a:lnTo>
                    <a:pt x="16588" y="11141"/>
                  </a:lnTo>
                  <a:lnTo>
                    <a:pt x="15875" y="12611"/>
                  </a:lnTo>
                  <a:lnTo>
                    <a:pt x="14279" y="12891"/>
                  </a:lnTo>
                  <a:lnTo>
                    <a:pt x="9646" y="11628"/>
                  </a:lnTo>
                  <a:lnTo>
                    <a:pt x="8841" y="16140"/>
                  </a:lnTo>
                  <a:lnTo>
                    <a:pt x="8248" y="23771"/>
                  </a:lnTo>
                  <a:cubicBezTo>
                    <a:pt x="8191" y="24595"/>
                    <a:pt x="7578" y="25285"/>
                    <a:pt x="6778" y="25434"/>
                  </a:cubicBezTo>
                  <a:cubicBezTo>
                    <a:pt x="5949" y="25579"/>
                    <a:pt x="5125" y="25130"/>
                    <a:pt x="4787" y="24398"/>
                  </a:cubicBezTo>
                  <a:lnTo>
                    <a:pt x="3659" y="21910"/>
                  </a:lnTo>
                  <a:lnTo>
                    <a:pt x="2844" y="24123"/>
                  </a:lnTo>
                  <a:lnTo>
                    <a:pt x="1817" y="29734"/>
                  </a:lnTo>
                  <a:lnTo>
                    <a:pt x="2213" y="31344"/>
                  </a:lnTo>
                  <a:lnTo>
                    <a:pt x="1601" y="33147"/>
                  </a:lnTo>
                  <a:lnTo>
                    <a:pt x="1586" y="33234"/>
                  </a:lnTo>
                  <a:lnTo>
                    <a:pt x="0" y="37163"/>
                  </a:lnTo>
                  <a:lnTo>
                    <a:pt x="3201" y="37794"/>
                  </a:lnTo>
                  <a:lnTo>
                    <a:pt x="8417" y="35201"/>
                  </a:lnTo>
                  <a:lnTo>
                    <a:pt x="14665" y="30110"/>
                  </a:lnTo>
                  <a:lnTo>
                    <a:pt x="18969" y="24696"/>
                  </a:lnTo>
                  <a:lnTo>
                    <a:pt x="19500" y="18709"/>
                  </a:lnTo>
                  <a:cubicBezTo>
                    <a:pt x="19587" y="17803"/>
                    <a:pt x="20329" y="17104"/>
                    <a:pt x="21231" y="17070"/>
                  </a:cubicBezTo>
                  <a:cubicBezTo>
                    <a:pt x="22147" y="17017"/>
                    <a:pt x="22952" y="17639"/>
                    <a:pt x="23091" y="18550"/>
                  </a:cubicBezTo>
                  <a:lnTo>
                    <a:pt x="23834" y="22532"/>
                  </a:lnTo>
                  <a:lnTo>
                    <a:pt x="28476" y="19828"/>
                  </a:lnTo>
                  <a:lnTo>
                    <a:pt x="32352" y="15407"/>
                  </a:lnTo>
                  <a:lnTo>
                    <a:pt x="35813" y="9622"/>
                  </a:lnTo>
                  <a:lnTo>
                    <a:pt x="38966" y="3861"/>
                  </a:lnTo>
                  <a:lnTo>
                    <a:pt x="37578" y="0"/>
                  </a:lnTo>
                  <a:lnTo>
                    <a:pt x="33981" y="178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6" name="Freihandform: Form 25">
              <a:extLst>
                <a:ext uri="{FF2B5EF4-FFF2-40B4-BE49-F238E27FC236}">
                  <a16:creationId xmlns:a16="http://schemas.microsoft.com/office/drawing/2014/main" id="{A1FB04ED-70EA-926B-5037-608EF9031640}"/>
                </a:ext>
              </a:extLst>
            </p:cNvPr>
            <p:cNvSpPr/>
            <p:nvPr/>
          </p:nvSpPr>
          <p:spPr>
            <a:xfrm>
              <a:off x="6434136" y="1606473"/>
              <a:ext cx="22222" cy="19051"/>
            </a:xfrm>
            <a:custGeom>
              <a:avLst/>
              <a:gdLst>
                <a:gd name="connsiteX0" fmla="*/ 15267 w 17079"/>
                <a:gd name="connsiteY0" fmla="*/ 439 h 14693"/>
                <a:gd name="connsiteX1" fmla="*/ 17080 w 17079"/>
                <a:gd name="connsiteY1" fmla="*/ 603 h 14693"/>
                <a:gd name="connsiteX2" fmla="*/ 15566 w 17079"/>
                <a:gd name="connsiteY2" fmla="*/ 0 h 14693"/>
                <a:gd name="connsiteX3" fmla="*/ 8427 w 17079"/>
                <a:gd name="connsiteY3" fmla="*/ 1610 h 14693"/>
                <a:gd name="connsiteX4" fmla="*/ 3134 w 17079"/>
                <a:gd name="connsiteY4" fmla="*/ 3225 h 14693"/>
                <a:gd name="connsiteX5" fmla="*/ 0 w 17079"/>
                <a:gd name="connsiteY5" fmla="*/ 7708 h 14693"/>
                <a:gd name="connsiteX6" fmla="*/ 1682 w 17079"/>
                <a:gd name="connsiteY6" fmla="*/ 10678 h 14693"/>
                <a:gd name="connsiteX7" fmla="*/ 5226 w 17079"/>
                <a:gd name="connsiteY7" fmla="*/ 14192 h 14693"/>
                <a:gd name="connsiteX8" fmla="*/ 10181 w 17079"/>
                <a:gd name="connsiteY8" fmla="*/ 14694 h 14693"/>
                <a:gd name="connsiteX9" fmla="*/ 14959 w 17079"/>
                <a:gd name="connsiteY9" fmla="*/ 13406 h 14693"/>
                <a:gd name="connsiteX10" fmla="*/ 14515 w 17079"/>
                <a:gd name="connsiteY10" fmla="*/ 8451 h 14693"/>
                <a:gd name="connsiteX11" fmla="*/ 13334 w 17079"/>
                <a:gd name="connsiteY11" fmla="*/ 2632 h 14693"/>
                <a:gd name="connsiteX12" fmla="*/ 13749 w 17079"/>
                <a:gd name="connsiteY12" fmla="*/ 1065 h 14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79" h="14693">
                  <a:moveTo>
                    <a:pt x="15267" y="439"/>
                  </a:moveTo>
                  <a:lnTo>
                    <a:pt x="17080" y="603"/>
                  </a:lnTo>
                  <a:lnTo>
                    <a:pt x="15566" y="0"/>
                  </a:lnTo>
                  <a:lnTo>
                    <a:pt x="8427" y="1610"/>
                  </a:lnTo>
                  <a:lnTo>
                    <a:pt x="3134" y="3225"/>
                  </a:lnTo>
                  <a:lnTo>
                    <a:pt x="0" y="7708"/>
                  </a:lnTo>
                  <a:lnTo>
                    <a:pt x="1682" y="10678"/>
                  </a:lnTo>
                  <a:lnTo>
                    <a:pt x="5226" y="14192"/>
                  </a:lnTo>
                  <a:lnTo>
                    <a:pt x="10181" y="14694"/>
                  </a:lnTo>
                  <a:lnTo>
                    <a:pt x="14959" y="13406"/>
                  </a:lnTo>
                  <a:lnTo>
                    <a:pt x="14515" y="8451"/>
                  </a:lnTo>
                  <a:lnTo>
                    <a:pt x="13334" y="2632"/>
                  </a:lnTo>
                  <a:lnTo>
                    <a:pt x="13749" y="106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7" name="Freihandform: Form 26">
              <a:extLst>
                <a:ext uri="{FF2B5EF4-FFF2-40B4-BE49-F238E27FC236}">
                  <a16:creationId xmlns:a16="http://schemas.microsoft.com/office/drawing/2014/main" id="{C4FB7FA8-91B3-F180-12A6-B9081A82843C}"/>
                </a:ext>
              </a:extLst>
            </p:cNvPr>
            <p:cNvSpPr/>
            <p:nvPr/>
          </p:nvSpPr>
          <p:spPr>
            <a:xfrm>
              <a:off x="6429374" y="1601711"/>
              <a:ext cx="36509" cy="28576"/>
            </a:xfrm>
            <a:custGeom>
              <a:avLst/>
              <a:gdLst>
                <a:gd name="connsiteX0" fmla="*/ 27584 w 27791"/>
                <a:gd name="connsiteY0" fmla="*/ 7019 h 21996"/>
                <a:gd name="connsiteX1" fmla="*/ 27791 w 27791"/>
                <a:gd name="connsiteY1" fmla="*/ 6672 h 21996"/>
                <a:gd name="connsiteX2" fmla="*/ 27690 w 27791"/>
                <a:gd name="connsiteY2" fmla="*/ 6387 h 21996"/>
                <a:gd name="connsiteX3" fmla="*/ 27714 w 27791"/>
                <a:gd name="connsiteY3" fmla="*/ 6064 h 21996"/>
                <a:gd name="connsiteX4" fmla="*/ 27141 w 27791"/>
                <a:gd name="connsiteY4" fmla="*/ 3693 h 21996"/>
                <a:gd name="connsiteX5" fmla="*/ 26037 w 27791"/>
                <a:gd name="connsiteY5" fmla="*/ 2439 h 21996"/>
                <a:gd name="connsiteX6" fmla="*/ 20112 w 27791"/>
                <a:gd name="connsiteY6" fmla="*/ 77 h 21996"/>
                <a:gd name="connsiteX7" fmla="*/ 19032 w 27791"/>
                <a:gd name="connsiteY7" fmla="*/ 0 h 21996"/>
                <a:gd name="connsiteX8" fmla="*/ 11271 w 27791"/>
                <a:gd name="connsiteY8" fmla="*/ 1779 h 21996"/>
                <a:gd name="connsiteX9" fmla="*/ 11155 w 27791"/>
                <a:gd name="connsiteY9" fmla="*/ 1803 h 21996"/>
                <a:gd name="connsiteX10" fmla="*/ 5201 w 27791"/>
                <a:gd name="connsiteY10" fmla="*/ 3577 h 21996"/>
                <a:gd name="connsiteX11" fmla="*/ 4247 w 27791"/>
                <a:gd name="connsiteY11" fmla="*/ 4286 h 21996"/>
                <a:gd name="connsiteX12" fmla="*/ 111 w 27791"/>
                <a:gd name="connsiteY12" fmla="*/ 10225 h 21996"/>
                <a:gd name="connsiteX13" fmla="*/ 0 w 27791"/>
                <a:gd name="connsiteY13" fmla="*/ 12168 h 21996"/>
                <a:gd name="connsiteX14" fmla="*/ 2377 w 27791"/>
                <a:gd name="connsiteY14" fmla="*/ 16342 h 21996"/>
                <a:gd name="connsiteX15" fmla="*/ 2675 w 27791"/>
                <a:gd name="connsiteY15" fmla="*/ 16728 h 21996"/>
                <a:gd name="connsiteX16" fmla="*/ 6811 w 27791"/>
                <a:gd name="connsiteY16" fmla="*/ 20883 h 21996"/>
                <a:gd name="connsiteX17" fmla="*/ 7935 w 27791"/>
                <a:gd name="connsiteY17" fmla="*/ 21404 h 21996"/>
                <a:gd name="connsiteX18" fmla="*/ 13903 w 27791"/>
                <a:gd name="connsiteY18" fmla="*/ 21997 h 21996"/>
                <a:gd name="connsiteX19" fmla="*/ 14558 w 27791"/>
                <a:gd name="connsiteY19" fmla="*/ 21954 h 21996"/>
                <a:gd name="connsiteX20" fmla="*/ 21091 w 27791"/>
                <a:gd name="connsiteY20" fmla="*/ 20165 h 21996"/>
                <a:gd name="connsiteX21" fmla="*/ 22431 w 27791"/>
                <a:gd name="connsiteY21" fmla="*/ 18237 h 21996"/>
                <a:gd name="connsiteX22" fmla="*/ 21823 w 27791"/>
                <a:gd name="connsiteY22" fmla="*/ 11705 h 21996"/>
                <a:gd name="connsiteX23" fmla="*/ 21809 w 27791"/>
                <a:gd name="connsiteY23" fmla="*/ 11507 h 21996"/>
                <a:gd name="connsiteX24" fmla="*/ 21091 w 27791"/>
                <a:gd name="connsiteY24" fmla="*/ 7935 h 21996"/>
                <a:gd name="connsiteX25" fmla="*/ 25810 w 27791"/>
                <a:gd name="connsiteY25" fmla="*/ 8311 h 21996"/>
                <a:gd name="connsiteX26" fmla="*/ 26085 w 27791"/>
                <a:gd name="connsiteY26" fmla="*/ 8239 h 21996"/>
                <a:gd name="connsiteX27" fmla="*/ 26403 w 27791"/>
                <a:gd name="connsiteY27" fmla="*/ 8287 h 21996"/>
                <a:gd name="connsiteX28" fmla="*/ 26750 w 27791"/>
                <a:gd name="connsiteY28" fmla="*/ 8051 h 21996"/>
                <a:gd name="connsiteX29" fmla="*/ 27290 w 27791"/>
                <a:gd name="connsiteY29" fmla="*/ 7626 h 21996"/>
                <a:gd name="connsiteX30" fmla="*/ 27584 w 27791"/>
                <a:gd name="connsiteY30" fmla="*/ 7019 h 2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791" h="21996">
                  <a:moveTo>
                    <a:pt x="27584" y="7019"/>
                  </a:moveTo>
                  <a:cubicBezTo>
                    <a:pt x="27651" y="6884"/>
                    <a:pt x="27762" y="6797"/>
                    <a:pt x="27791" y="6672"/>
                  </a:cubicBezTo>
                  <a:cubicBezTo>
                    <a:pt x="27791" y="6561"/>
                    <a:pt x="27690" y="6474"/>
                    <a:pt x="27690" y="6387"/>
                  </a:cubicBezTo>
                  <a:cubicBezTo>
                    <a:pt x="27690" y="6291"/>
                    <a:pt x="27762" y="6171"/>
                    <a:pt x="27714" y="6064"/>
                  </a:cubicBezTo>
                  <a:lnTo>
                    <a:pt x="27141" y="3693"/>
                  </a:lnTo>
                  <a:lnTo>
                    <a:pt x="26037" y="2439"/>
                  </a:lnTo>
                  <a:lnTo>
                    <a:pt x="20112" y="77"/>
                  </a:lnTo>
                  <a:lnTo>
                    <a:pt x="19032" y="0"/>
                  </a:lnTo>
                  <a:lnTo>
                    <a:pt x="11271" y="1779"/>
                  </a:lnTo>
                  <a:lnTo>
                    <a:pt x="11155" y="1803"/>
                  </a:lnTo>
                  <a:lnTo>
                    <a:pt x="5201" y="3577"/>
                  </a:lnTo>
                  <a:lnTo>
                    <a:pt x="4247" y="4286"/>
                  </a:lnTo>
                  <a:lnTo>
                    <a:pt x="111" y="10225"/>
                  </a:lnTo>
                  <a:lnTo>
                    <a:pt x="0" y="12168"/>
                  </a:lnTo>
                  <a:lnTo>
                    <a:pt x="2377" y="16342"/>
                  </a:lnTo>
                  <a:lnTo>
                    <a:pt x="2675" y="16728"/>
                  </a:lnTo>
                  <a:lnTo>
                    <a:pt x="6811" y="20883"/>
                  </a:lnTo>
                  <a:lnTo>
                    <a:pt x="7935" y="21404"/>
                  </a:lnTo>
                  <a:lnTo>
                    <a:pt x="13903" y="21997"/>
                  </a:lnTo>
                  <a:lnTo>
                    <a:pt x="14558" y="21954"/>
                  </a:lnTo>
                  <a:lnTo>
                    <a:pt x="21091" y="20165"/>
                  </a:lnTo>
                  <a:cubicBezTo>
                    <a:pt x="21920" y="19934"/>
                    <a:pt x="22493" y="19138"/>
                    <a:pt x="22431" y="18237"/>
                  </a:cubicBezTo>
                  <a:lnTo>
                    <a:pt x="21823" y="11705"/>
                  </a:lnTo>
                  <a:lnTo>
                    <a:pt x="21809" y="11507"/>
                  </a:lnTo>
                  <a:lnTo>
                    <a:pt x="21091" y="7935"/>
                  </a:lnTo>
                  <a:lnTo>
                    <a:pt x="25810" y="8311"/>
                  </a:lnTo>
                  <a:cubicBezTo>
                    <a:pt x="25916" y="8311"/>
                    <a:pt x="25969" y="8239"/>
                    <a:pt x="26085" y="8239"/>
                  </a:cubicBezTo>
                  <a:cubicBezTo>
                    <a:pt x="26201" y="8239"/>
                    <a:pt x="26292" y="8311"/>
                    <a:pt x="26403" y="8287"/>
                  </a:cubicBezTo>
                  <a:cubicBezTo>
                    <a:pt x="26552" y="8263"/>
                    <a:pt x="26634" y="8094"/>
                    <a:pt x="26750" y="8051"/>
                  </a:cubicBezTo>
                  <a:cubicBezTo>
                    <a:pt x="26943" y="7940"/>
                    <a:pt x="27097" y="7829"/>
                    <a:pt x="27290" y="7626"/>
                  </a:cubicBezTo>
                  <a:cubicBezTo>
                    <a:pt x="27449" y="7429"/>
                    <a:pt x="27531" y="7270"/>
                    <a:pt x="27584" y="701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8" name="Freihandform: Form 27">
              <a:extLst>
                <a:ext uri="{FF2B5EF4-FFF2-40B4-BE49-F238E27FC236}">
                  <a16:creationId xmlns:a16="http://schemas.microsoft.com/office/drawing/2014/main" id="{370D0C6A-C422-47C6-8255-1861A7C6D8EE}"/>
                </a:ext>
              </a:extLst>
            </p:cNvPr>
            <p:cNvSpPr/>
            <p:nvPr/>
          </p:nvSpPr>
          <p:spPr>
            <a:xfrm>
              <a:off x="3576959" y="3238485"/>
              <a:ext cx="9524" cy="6350"/>
            </a:xfrm>
            <a:custGeom>
              <a:avLst/>
              <a:gdLst>
                <a:gd name="connsiteX0" fmla="*/ 7022 w 7132"/>
                <a:gd name="connsiteY0" fmla="*/ 2200 h 4745"/>
                <a:gd name="connsiteX1" fmla="*/ 5971 w 7132"/>
                <a:gd name="connsiteY1" fmla="*/ 1303 h 4745"/>
                <a:gd name="connsiteX2" fmla="*/ 2389 w 7132"/>
                <a:gd name="connsiteY2" fmla="*/ 103 h 4745"/>
                <a:gd name="connsiteX3" fmla="*/ 94 w 7132"/>
                <a:gd name="connsiteY3" fmla="*/ 1245 h 4745"/>
                <a:gd name="connsiteX4" fmla="*/ 1256 w 7132"/>
                <a:gd name="connsiteY4" fmla="*/ 3545 h 4745"/>
                <a:gd name="connsiteX5" fmla="*/ 4804 w 7132"/>
                <a:gd name="connsiteY5" fmla="*/ 4745 h 4745"/>
                <a:gd name="connsiteX6" fmla="*/ 6207 w 7132"/>
                <a:gd name="connsiteY6" fmla="*/ 4639 h 4745"/>
                <a:gd name="connsiteX7" fmla="*/ 7133 w 7132"/>
                <a:gd name="connsiteY7" fmla="*/ 3603 h 4745"/>
                <a:gd name="connsiteX8" fmla="*/ 7022 w 7132"/>
                <a:gd name="connsiteY8" fmla="*/ 2200 h 4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32" h="4745">
                  <a:moveTo>
                    <a:pt x="7022" y="2200"/>
                  </a:moveTo>
                  <a:lnTo>
                    <a:pt x="5971" y="1303"/>
                  </a:lnTo>
                  <a:lnTo>
                    <a:pt x="2389" y="103"/>
                  </a:lnTo>
                  <a:cubicBezTo>
                    <a:pt x="1449" y="-239"/>
                    <a:pt x="432" y="305"/>
                    <a:pt x="94" y="1245"/>
                  </a:cubicBezTo>
                  <a:cubicBezTo>
                    <a:pt x="-224" y="2195"/>
                    <a:pt x="287" y="3246"/>
                    <a:pt x="1256" y="3545"/>
                  </a:cubicBezTo>
                  <a:lnTo>
                    <a:pt x="4804" y="4745"/>
                  </a:lnTo>
                  <a:lnTo>
                    <a:pt x="6207" y="4639"/>
                  </a:lnTo>
                  <a:lnTo>
                    <a:pt x="7133" y="3603"/>
                  </a:lnTo>
                  <a:lnTo>
                    <a:pt x="7022" y="220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9" name="Freihandform: Form 28">
              <a:extLst>
                <a:ext uri="{FF2B5EF4-FFF2-40B4-BE49-F238E27FC236}">
                  <a16:creationId xmlns:a16="http://schemas.microsoft.com/office/drawing/2014/main" id="{1F539E0C-290F-6CD2-2C97-136819590625}"/>
                </a:ext>
              </a:extLst>
            </p:cNvPr>
            <p:cNvSpPr/>
            <p:nvPr/>
          </p:nvSpPr>
          <p:spPr>
            <a:xfrm>
              <a:off x="4372206" y="2432005"/>
              <a:ext cx="60318" cy="130180"/>
            </a:xfrm>
            <a:custGeom>
              <a:avLst/>
              <a:gdLst>
                <a:gd name="connsiteX0" fmla="*/ 47609 w 47609"/>
                <a:gd name="connsiteY0" fmla="*/ 24981 h 101278"/>
                <a:gd name="connsiteX1" fmla="*/ 45305 w 47609"/>
                <a:gd name="connsiteY1" fmla="*/ 24542 h 101278"/>
                <a:gd name="connsiteX2" fmla="*/ 39949 w 47609"/>
                <a:gd name="connsiteY2" fmla="*/ 27762 h 101278"/>
                <a:gd name="connsiteX3" fmla="*/ 37635 w 47609"/>
                <a:gd name="connsiteY3" fmla="*/ 27762 h 101278"/>
                <a:gd name="connsiteX4" fmla="*/ 39670 w 47609"/>
                <a:gd name="connsiteY4" fmla="*/ 24012 h 101278"/>
                <a:gd name="connsiteX5" fmla="*/ 39790 w 47609"/>
                <a:gd name="connsiteY5" fmla="*/ 22561 h 101278"/>
                <a:gd name="connsiteX6" fmla="*/ 38055 w 47609"/>
                <a:gd name="connsiteY6" fmla="*/ 17914 h 101278"/>
                <a:gd name="connsiteX7" fmla="*/ 37100 w 47609"/>
                <a:gd name="connsiteY7" fmla="*/ 16901 h 101278"/>
                <a:gd name="connsiteX8" fmla="*/ 35731 w 47609"/>
                <a:gd name="connsiteY8" fmla="*/ 16901 h 101278"/>
                <a:gd name="connsiteX9" fmla="*/ 28129 w 47609"/>
                <a:gd name="connsiteY9" fmla="*/ 23135 h 101278"/>
                <a:gd name="connsiteX10" fmla="*/ 35211 w 47609"/>
                <a:gd name="connsiteY10" fmla="*/ 2825 h 101278"/>
                <a:gd name="connsiteX11" fmla="*/ 34984 w 47609"/>
                <a:gd name="connsiteY11" fmla="*/ 1355 h 101278"/>
                <a:gd name="connsiteX12" fmla="*/ 33682 w 47609"/>
                <a:gd name="connsiteY12" fmla="*/ 578 h 101278"/>
                <a:gd name="connsiteX13" fmla="*/ 27878 w 47609"/>
                <a:gd name="connsiteY13" fmla="*/ 0 h 101278"/>
                <a:gd name="connsiteX14" fmla="*/ 26528 w 47609"/>
                <a:gd name="connsiteY14" fmla="*/ 434 h 101278"/>
                <a:gd name="connsiteX15" fmla="*/ 20175 w 47609"/>
                <a:gd name="connsiteY15" fmla="*/ 6248 h 101278"/>
                <a:gd name="connsiteX16" fmla="*/ 21775 w 47609"/>
                <a:gd name="connsiteY16" fmla="*/ 12577 h 101278"/>
                <a:gd name="connsiteX17" fmla="*/ 19264 w 47609"/>
                <a:gd name="connsiteY17" fmla="*/ 6450 h 101278"/>
                <a:gd name="connsiteX18" fmla="*/ 17822 w 47609"/>
                <a:gd name="connsiteY18" fmla="*/ 5770 h 101278"/>
                <a:gd name="connsiteX19" fmla="*/ 16448 w 47609"/>
                <a:gd name="connsiteY19" fmla="*/ 6503 h 101278"/>
                <a:gd name="connsiteX20" fmla="*/ 12389 w 47609"/>
                <a:gd name="connsiteY20" fmla="*/ 12307 h 101278"/>
                <a:gd name="connsiteX21" fmla="*/ 12317 w 47609"/>
                <a:gd name="connsiteY21" fmla="*/ 14226 h 101278"/>
                <a:gd name="connsiteX22" fmla="*/ 15793 w 47609"/>
                <a:gd name="connsiteY22" fmla="*/ 19987 h 101278"/>
                <a:gd name="connsiteX23" fmla="*/ 19182 w 47609"/>
                <a:gd name="connsiteY23" fmla="*/ 26234 h 101278"/>
                <a:gd name="connsiteX24" fmla="*/ 21452 w 47609"/>
                <a:gd name="connsiteY24" fmla="*/ 31918 h 101278"/>
                <a:gd name="connsiteX25" fmla="*/ 22248 w 47609"/>
                <a:gd name="connsiteY25" fmla="*/ 32815 h 101278"/>
                <a:gd name="connsiteX26" fmla="*/ 26104 w 47609"/>
                <a:gd name="connsiteY26" fmla="*/ 34931 h 101278"/>
                <a:gd name="connsiteX27" fmla="*/ 23120 w 47609"/>
                <a:gd name="connsiteY27" fmla="*/ 37013 h 101278"/>
                <a:gd name="connsiteX28" fmla="*/ 17904 w 47609"/>
                <a:gd name="connsiteY28" fmla="*/ 37013 h 101278"/>
                <a:gd name="connsiteX29" fmla="*/ 17552 w 47609"/>
                <a:gd name="connsiteY29" fmla="*/ 37028 h 101278"/>
                <a:gd name="connsiteX30" fmla="*/ 11637 w 47609"/>
                <a:gd name="connsiteY30" fmla="*/ 38122 h 101278"/>
                <a:gd name="connsiteX31" fmla="*/ 6238 w 47609"/>
                <a:gd name="connsiteY31" fmla="*/ 36503 h 101278"/>
                <a:gd name="connsiteX32" fmla="*/ 4276 w 47609"/>
                <a:gd name="connsiteY32" fmla="*/ 37197 h 101278"/>
                <a:gd name="connsiteX33" fmla="*/ 236 w 47609"/>
                <a:gd name="connsiteY33" fmla="*/ 42957 h 101278"/>
                <a:gd name="connsiteX34" fmla="*/ 0 w 47609"/>
                <a:gd name="connsiteY34" fmla="*/ 44452 h 101278"/>
                <a:gd name="connsiteX35" fmla="*/ 1721 w 47609"/>
                <a:gd name="connsiteY35" fmla="*/ 50815 h 101278"/>
                <a:gd name="connsiteX36" fmla="*/ 3273 w 47609"/>
                <a:gd name="connsiteY36" fmla="*/ 52097 h 101278"/>
                <a:gd name="connsiteX37" fmla="*/ 8407 w 47609"/>
                <a:gd name="connsiteY37" fmla="*/ 52570 h 101278"/>
                <a:gd name="connsiteX38" fmla="*/ 9815 w 47609"/>
                <a:gd name="connsiteY38" fmla="*/ 57762 h 101278"/>
                <a:gd name="connsiteX39" fmla="*/ 11353 w 47609"/>
                <a:gd name="connsiteY39" fmla="*/ 59049 h 101278"/>
                <a:gd name="connsiteX40" fmla="*/ 17118 w 47609"/>
                <a:gd name="connsiteY40" fmla="*/ 59627 h 101278"/>
                <a:gd name="connsiteX41" fmla="*/ 18772 w 47609"/>
                <a:gd name="connsiteY41" fmla="*/ 58890 h 101278"/>
                <a:gd name="connsiteX42" fmla="*/ 22489 w 47609"/>
                <a:gd name="connsiteY42" fmla="*/ 53558 h 101278"/>
                <a:gd name="connsiteX43" fmla="*/ 23704 w 47609"/>
                <a:gd name="connsiteY43" fmla="*/ 53042 h 101278"/>
                <a:gd name="connsiteX44" fmla="*/ 22648 w 47609"/>
                <a:gd name="connsiteY44" fmla="*/ 55380 h 101278"/>
                <a:gd name="connsiteX45" fmla="*/ 22479 w 47609"/>
                <a:gd name="connsiteY45" fmla="*/ 56128 h 101278"/>
                <a:gd name="connsiteX46" fmla="*/ 22479 w 47609"/>
                <a:gd name="connsiteY46" fmla="*/ 61922 h 101278"/>
                <a:gd name="connsiteX47" fmla="*/ 22503 w 47609"/>
                <a:gd name="connsiteY47" fmla="*/ 62221 h 101278"/>
                <a:gd name="connsiteX48" fmla="*/ 23559 w 47609"/>
                <a:gd name="connsiteY48" fmla="*/ 68044 h 101278"/>
                <a:gd name="connsiteX49" fmla="*/ 20893 w 47609"/>
                <a:gd name="connsiteY49" fmla="*/ 73902 h 101278"/>
                <a:gd name="connsiteX50" fmla="*/ 20888 w 47609"/>
                <a:gd name="connsiteY50" fmla="*/ 73983 h 101278"/>
                <a:gd name="connsiteX51" fmla="*/ 18815 w 47609"/>
                <a:gd name="connsiteY51" fmla="*/ 79161 h 101278"/>
                <a:gd name="connsiteX52" fmla="*/ 18261 w 47609"/>
                <a:gd name="connsiteY52" fmla="*/ 79426 h 101278"/>
                <a:gd name="connsiteX53" fmla="*/ 17282 w 47609"/>
                <a:gd name="connsiteY53" fmla="*/ 80858 h 101278"/>
                <a:gd name="connsiteX54" fmla="*/ 16757 w 47609"/>
                <a:gd name="connsiteY54" fmla="*/ 86672 h 101278"/>
                <a:gd name="connsiteX55" fmla="*/ 12466 w 47609"/>
                <a:gd name="connsiteY55" fmla="*/ 92037 h 101278"/>
                <a:gd name="connsiteX56" fmla="*/ 12293 w 47609"/>
                <a:gd name="connsiteY56" fmla="*/ 93999 h 101278"/>
                <a:gd name="connsiteX57" fmla="*/ 15759 w 47609"/>
                <a:gd name="connsiteY57" fmla="*/ 100372 h 101278"/>
                <a:gd name="connsiteX58" fmla="*/ 17253 w 47609"/>
                <a:gd name="connsiteY58" fmla="*/ 101278 h 101278"/>
                <a:gd name="connsiteX59" fmla="*/ 18815 w 47609"/>
                <a:gd name="connsiteY59" fmla="*/ 100459 h 101278"/>
                <a:gd name="connsiteX60" fmla="*/ 22845 w 47609"/>
                <a:gd name="connsiteY60" fmla="*/ 94081 h 101278"/>
                <a:gd name="connsiteX61" fmla="*/ 23014 w 47609"/>
                <a:gd name="connsiteY61" fmla="*/ 93772 h 101278"/>
                <a:gd name="connsiteX62" fmla="*/ 25208 w 47609"/>
                <a:gd name="connsiteY62" fmla="*/ 87718 h 101278"/>
                <a:gd name="connsiteX63" fmla="*/ 29040 w 47609"/>
                <a:gd name="connsiteY63" fmla="*/ 83345 h 101278"/>
                <a:gd name="connsiteX64" fmla="*/ 29112 w 47609"/>
                <a:gd name="connsiteY64" fmla="*/ 83066 h 101278"/>
                <a:gd name="connsiteX65" fmla="*/ 29320 w 47609"/>
                <a:gd name="connsiteY65" fmla="*/ 82907 h 101278"/>
                <a:gd name="connsiteX66" fmla="*/ 32212 w 47609"/>
                <a:gd name="connsiteY66" fmla="*/ 76538 h 101278"/>
                <a:gd name="connsiteX67" fmla="*/ 32337 w 47609"/>
                <a:gd name="connsiteY67" fmla="*/ 75459 h 101278"/>
                <a:gd name="connsiteX68" fmla="*/ 31344 w 47609"/>
                <a:gd name="connsiteY68" fmla="*/ 70407 h 101278"/>
                <a:gd name="connsiteX69" fmla="*/ 34974 w 47609"/>
                <a:gd name="connsiteY69" fmla="*/ 65239 h 101278"/>
                <a:gd name="connsiteX70" fmla="*/ 35239 w 47609"/>
                <a:gd name="connsiteY70" fmla="*/ 64583 h 101278"/>
                <a:gd name="connsiteX71" fmla="*/ 36411 w 47609"/>
                <a:gd name="connsiteY71" fmla="*/ 58813 h 101278"/>
                <a:gd name="connsiteX72" fmla="*/ 36363 w 47609"/>
                <a:gd name="connsiteY72" fmla="*/ 57935 h 101278"/>
                <a:gd name="connsiteX73" fmla="*/ 35056 w 47609"/>
                <a:gd name="connsiteY73" fmla="*/ 53577 h 101278"/>
                <a:gd name="connsiteX74" fmla="*/ 39506 w 47609"/>
                <a:gd name="connsiteY74" fmla="*/ 51370 h 101278"/>
                <a:gd name="connsiteX75" fmla="*/ 40436 w 47609"/>
                <a:gd name="connsiteY75" fmla="*/ 50116 h 101278"/>
                <a:gd name="connsiteX76" fmla="*/ 41608 w 47609"/>
                <a:gd name="connsiteY76" fmla="*/ 44346 h 101278"/>
                <a:gd name="connsiteX77" fmla="*/ 41338 w 47609"/>
                <a:gd name="connsiteY77" fmla="*/ 43034 h 101278"/>
                <a:gd name="connsiteX78" fmla="*/ 39260 w 47609"/>
                <a:gd name="connsiteY78" fmla="*/ 39752 h 101278"/>
                <a:gd name="connsiteX79" fmla="*/ 41400 w 47609"/>
                <a:gd name="connsiteY79" fmla="*/ 39964 h 101278"/>
                <a:gd name="connsiteX80" fmla="*/ 42895 w 47609"/>
                <a:gd name="connsiteY80" fmla="*/ 39419 h 101278"/>
                <a:gd name="connsiteX81" fmla="*/ 43343 w 47609"/>
                <a:gd name="connsiteY81" fmla="*/ 37891 h 101278"/>
                <a:gd name="connsiteX82" fmla="*/ 42345 w 47609"/>
                <a:gd name="connsiteY82" fmla="*/ 32448 h 101278"/>
                <a:gd name="connsiteX83" fmla="*/ 47470 w 47609"/>
                <a:gd name="connsiteY83" fmla="*/ 27305 h 101278"/>
                <a:gd name="connsiteX84" fmla="*/ 47609 w 47609"/>
                <a:gd name="connsiteY84" fmla="*/ 24981 h 101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47609" h="101278">
                  <a:moveTo>
                    <a:pt x="47609" y="24981"/>
                  </a:moveTo>
                  <a:cubicBezTo>
                    <a:pt x="47069" y="24258"/>
                    <a:pt x="46067" y="24075"/>
                    <a:pt x="45305" y="24542"/>
                  </a:cubicBezTo>
                  <a:lnTo>
                    <a:pt x="39949" y="27762"/>
                  </a:lnTo>
                  <a:lnTo>
                    <a:pt x="37635" y="27762"/>
                  </a:lnTo>
                  <a:lnTo>
                    <a:pt x="39670" y="24012"/>
                  </a:lnTo>
                  <a:lnTo>
                    <a:pt x="39790" y="22561"/>
                  </a:lnTo>
                  <a:lnTo>
                    <a:pt x="38055" y="17914"/>
                  </a:lnTo>
                  <a:lnTo>
                    <a:pt x="37100" y="16901"/>
                  </a:lnTo>
                  <a:lnTo>
                    <a:pt x="35731" y="16901"/>
                  </a:lnTo>
                  <a:lnTo>
                    <a:pt x="28129" y="23135"/>
                  </a:lnTo>
                  <a:cubicBezTo>
                    <a:pt x="29262" y="18198"/>
                    <a:pt x="33007" y="9150"/>
                    <a:pt x="35211" y="2825"/>
                  </a:cubicBezTo>
                  <a:lnTo>
                    <a:pt x="34984" y="1355"/>
                  </a:lnTo>
                  <a:lnTo>
                    <a:pt x="33682" y="578"/>
                  </a:lnTo>
                  <a:lnTo>
                    <a:pt x="27878" y="0"/>
                  </a:lnTo>
                  <a:lnTo>
                    <a:pt x="26528" y="434"/>
                  </a:lnTo>
                  <a:lnTo>
                    <a:pt x="20175" y="6248"/>
                  </a:lnTo>
                  <a:lnTo>
                    <a:pt x="21775" y="12577"/>
                  </a:lnTo>
                  <a:lnTo>
                    <a:pt x="19264" y="6450"/>
                  </a:lnTo>
                  <a:lnTo>
                    <a:pt x="17822" y="5770"/>
                  </a:lnTo>
                  <a:lnTo>
                    <a:pt x="16448" y="6503"/>
                  </a:lnTo>
                  <a:lnTo>
                    <a:pt x="12389" y="12307"/>
                  </a:lnTo>
                  <a:lnTo>
                    <a:pt x="12317" y="14226"/>
                  </a:lnTo>
                  <a:lnTo>
                    <a:pt x="15793" y="19987"/>
                  </a:lnTo>
                  <a:lnTo>
                    <a:pt x="19182" y="26234"/>
                  </a:lnTo>
                  <a:lnTo>
                    <a:pt x="21452" y="31918"/>
                  </a:lnTo>
                  <a:lnTo>
                    <a:pt x="22248" y="32815"/>
                  </a:lnTo>
                  <a:lnTo>
                    <a:pt x="26104" y="34931"/>
                  </a:lnTo>
                  <a:lnTo>
                    <a:pt x="23120" y="37013"/>
                  </a:lnTo>
                  <a:lnTo>
                    <a:pt x="17904" y="37013"/>
                  </a:lnTo>
                  <a:lnTo>
                    <a:pt x="17552" y="37028"/>
                  </a:lnTo>
                  <a:lnTo>
                    <a:pt x="11637" y="38122"/>
                  </a:lnTo>
                  <a:lnTo>
                    <a:pt x="6238" y="36503"/>
                  </a:lnTo>
                  <a:cubicBezTo>
                    <a:pt x="5520" y="36295"/>
                    <a:pt x="4724" y="36560"/>
                    <a:pt x="4276" y="37197"/>
                  </a:cubicBezTo>
                  <a:lnTo>
                    <a:pt x="236" y="42957"/>
                  </a:lnTo>
                  <a:lnTo>
                    <a:pt x="0" y="44452"/>
                  </a:lnTo>
                  <a:lnTo>
                    <a:pt x="1721" y="50815"/>
                  </a:lnTo>
                  <a:cubicBezTo>
                    <a:pt x="1909" y="51529"/>
                    <a:pt x="2516" y="52049"/>
                    <a:pt x="3273" y="52097"/>
                  </a:cubicBezTo>
                  <a:lnTo>
                    <a:pt x="8407" y="52570"/>
                  </a:lnTo>
                  <a:lnTo>
                    <a:pt x="9815" y="57762"/>
                  </a:lnTo>
                  <a:cubicBezTo>
                    <a:pt x="10017" y="58456"/>
                    <a:pt x="10615" y="58977"/>
                    <a:pt x="11353" y="59049"/>
                  </a:cubicBezTo>
                  <a:lnTo>
                    <a:pt x="17118" y="59627"/>
                  </a:lnTo>
                  <a:lnTo>
                    <a:pt x="18772" y="58890"/>
                  </a:lnTo>
                  <a:lnTo>
                    <a:pt x="22489" y="53558"/>
                  </a:lnTo>
                  <a:lnTo>
                    <a:pt x="23704" y="53042"/>
                  </a:lnTo>
                  <a:lnTo>
                    <a:pt x="22648" y="55380"/>
                  </a:lnTo>
                  <a:lnTo>
                    <a:pt x="22479" y="56128"/>
                  </a:lnTo>
                  <a:lnTo>
                    <a:pt x="22479" y="61922"/>
                  </a:lnTo>
                  <a:lnTo>
                    <a:pt x="22503" y="62221"/>
                  </a:lnTo>
                  <a:lnTo>
                    <a:pt x="23559" y="68044"/>
                  </a:lnTo>
                  <a:lnTo>
                    <a:pt x="20893" y="73902"/>
                  </a:lnTo>
                  <a:lnTo>
                    <a:pt x="20888" y="73983"/>
                  </a:lnTo>
                  <a:lnTo>
                    <a:pt x="18815" y="79161"/>
                  </a:lnTo>
                  <a:lnTo>
                    <a:pt x="18261" y="79426"/>
                  </a:lnTo>
                  <a:lnTo>
                    <a:pt x="17282" y="80858"/>
                  </a:lnTo>
                  <a:lnTo>
                    <a:pt x="16757" y="86672"/>
                  </a:lnTo>
                  <a:lnTo>
                    <a:pt x="12466" y="92037"/>
                  </a:lnTo>
                  <a:lnTo>
                    <a:pt x="12293" y="93999"/>
                  </a:lnTo>
                  <a:lnTo>
                    <a:pt x="15759" y="100372"/>
                  </a:lnTo>
                  <a:lnTo>
                    <a:pt x="17253" y="101278"/>
                  </a:lnTo>
                  <a:lnTo>
                    <a:pt x="18815" y="100459"/>
                  </a:lnTo>
                  <a:lnTo>
                    <a:pt x="22845" y="94081"/>
                  </a:lnTo>
                  <a:lnTo>
                    <a:pt x="23014" y="93772"/>
                  </a:lnTo>
                  <a:lnTo>
                    <a:pt x="25208" y="87718"/>
                  </a:lnTo>
                  <a:lnTo>
                    <a:pt x="29040" y="83345"/>
                  </a:lnTo>
                  <a:cubicBezTo>
                    <a:pt x="29103" y="83254"/>
                    <a:pt x="29103" y="83157"/>
                    <a:pt x="29112" y="83066"/>
                  </a:cubicBezTo>
                  <a:cubicBezTo>
                    <a:pt x="29175" y="82988"/>
                    <a:pt x="29281" y="82988"/>
                    <a:pt x="29320" y="82907"/>
                  </a:cubicBezTo>
                  <a:lnTo>
                    <a:pt x="32212" y="76538"/>
                  </a:lnTo>
                  <a:lnTo>
                    <a:pt x="32337" y="75459"/>
                  </a:lnTo>
                  <a:lnTo>
                    <a:pt x="31344" y="70407"/>
                  </a:lnTo>
                  <a:lnTo>
                    <a:pt x="34974" y="65239"/>
                  </a:lnTo>
                  <a:lnTo>
                    <a:pt x="35239" y="64583"/>
                  </a:lnTo>
                  <a:lnTo>
                    <a:pt x="36411" y="58813"/>
                  </a:lnTo>
                  <a:lnTo>
                    <a:pt x="36363" y="57935"/>
                  </a:lnTo>
                  <a:lnTo>
                    <a:pt x="35056" y="53577"/>
                  </a:lnTo>
                  <a:lnTo>
                    <a:pt x="39506" y="51370"/>
                  </a:lnTo>
                  <a:lnTo>
                    <a:pt x="40436" y="50116"/>
                  </a:lnTo>
                  <a:lnTo>
                    <a:pt x="41608" y="44346"/>
                  </a:lnTo>
                  <a:lnTo>
                    <a:pt x="41338" y="43034"/>
                  </a:lnTo>
                  <a:lnTo>
                    <a:pt x="39260" y="39752"/>
                  </a:lnTo>
                  <a:lnTo>
                    <a:pt x="41400" y="39964"/>
                  </a:lnTo>
                  <a:lnTo>
                    <a:pt x="42895" y="39419"/>
                  </a:lnTo>
                  <a:lnTo>
                    <a:pt x="43343" y="37891"/>
                  </a:lnTo>
                  <a:lnTo>
                    <a:pt x="42345" y="32448"/>
                  </a:lnTo>
                  <a:lnTo>
                    <a:pt x="47470" y="27305"/>
                  </a:lnTo>
                  <a:lnTo>
                    <a:pt x="47609" y="2498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0" name="Freihandform: Form 29">
              <a:extLst>
                <a:ext uri="{FF2B5EF4-FFF2-40B4-BE49-F238E27FC236}">
                  <a16:creationId xmlns:a16="http://schemas.microsoft.com/office/drawing/2014/main" id="{C8321F46-D27D-A123-B4DB-96E5055D47AE}"/>
                </a:ext>
              </a:extLst>
            </p:cNvPr>
            <p:cNvSpPr/>
            <p:nvPr/>
          </p:nvSpPr>
          <p:spPr>
            <a:xfrm>
              <a:off x="4959515" y="2708240"/>
              <a:ext cx="6349" cy="7938"/>
            </a:xfrm>
            <a:custGeom>
              <a:avLst/>
              <a:gdLst>
                <a:gd name="connsiteX0" fmla="*/ 5047 w 5076"/>
                <a:gd name="connsiteY0" fmla="*/ 3143 h 6026"/>
                <a:gd name="connsiteX1" fmla="*/ 3273 w 5076"/>
                <a:gd name="connsiteY1" fmla="*/ 747 h 6026"/>
                <a:gd name="connsiteX2" fmla="*/ 3162 w 5076"/>
                <a:gd name="connsiteY2" fmla="*/ 665 h 6026"/>
                <a:gd name="connsiteX3" fmla="*/ 2570 w 5076"/>
                <a:gd name="connsiteY3" fmla="*/ 309 h 6026"/>
                <a:gd name="connsiteX4" fmla="*/ 1943 w 5076"/>
                <a:gd name="connsiteY4" fmla="*/ 58 h 6026"/>
                <a:gd name="connsiteX5" fmla="*/ 1827 w 5076"/>
                <a:gd name="connsiteY5" fmla="*/ 0 h 6026"/>
                <a:gd name="connsiteX6" fmla="*/ 1292 w 5076"/>
                <a:gd name="connsiteY6" fmla="*/ 217 h 6026"/>
                <a:gd name="connsiteX7" fmla="*/ 742 w 5076"/>
                <a:gd name="connsiteY7" fmla="*/ 352 h 6026"/>
                <a:gd name="connsiteX8" fmla="*/ 670 w 5076"/>
                <a:gd name="connsiteY8" fmla="*/ 492 h 6026"/>
                <a:gd name="connsiteX9" fmla="*/ 332 w 5076"/>
                <a:gd name="connsiteY9" fmla="*/ 1065 h 6026"/>
                <a:gd name="connsiteX10" fmla="*/ 58 w 5076"/>
                <a:gd name="connsiteY10" fmla="*/ 1697 h 6026"/>
                <a:gd name="connsiteX11" fmla="*/ 0 w 5076"/>
                <a:gd name="connsiteY11" fmla="*/ 1841 h 6026"/>
                <a:gd name="connsiteX12" fmla="*/ 0 w 5076"/>
                <a:gd name="connsiteY12" fmla="*/ 3630 h 6026"/>
                <a:gd name="connsiteX13" fmla="*/ 1258 w 5076"/>
                <a:gd name="connsiteY13" fmla="*/ 5341 h 6026"/>
                <a:gd name="connsiteX14" fmla="*/ 3051 w 5076"/>
                <a:gd name="connsiteY14" fmla="*/ 5934 h 6026"/>
                <a:gd name="connsiteX15" fmla="*/ 5076 w 5076"/>
                <a:gd name="connsiteY15" fmla="*/ 5293 h 6026"/>
                <a:gd name="connsiteX16" fmla="*/ 5047 w 5076"/>
                <a:gd name="connsiteY16" fmla="*/ 3143 h 6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76" h="6026">
                  <a:moveTo>
                    <a:pt x="5047" y="3143"/>
                  </a:moveTo>
                  <a:lnTo>
                    <a:pt x="3273" y="747"/>
                  </a:lnTo>
                  <a:cubicBezTo>
                    <a:pt x="3249" y="685"/>
                    <a:pt x="3177" y="709"/>
                    <a:pt x="3162" y="665"/>
                  </a:cubicBezTo>
                  <a:cubicBezTo>
                    <a:pt x="3013" y="497"/>
                    <a:pt x="2801" y="429"/>
                    <a:pt x="2570" y="309"/>
                  </a:cubicBezTo>
                  <a:cubicBezTo>
                    <a:pt x="2367" y="217"/>
                    <a:pt x="2174" y="92"/>
                    <a:pt x="1943" y="58"/>
                  </a:cubicBezTo>
                  <a:cubicBezTo>
                    <a:pt x="1909" y="58"/>
                    <a:pt x="1885" y="0"/>
                    <a:pt x="1827" y="0"/>
                  </a:cubicBezTo>
                  <a:cubicBezTo>
                    <a:pt x="1605" y="0"/>
                    <a:pt x="1456" y="169"/>
                    <a:pt x="1292" y="217"/>
                  </a:cubicBezTo>
                  <a:cubicBezTo>
                    <a:pt x="1104" y="265"/>
                    <a:pt x="897" y="246"/>
                    <a:pt x="742" y="352"/>
                  </a:cubicBezTo>
                  <a:cubicBezTo>
                    <a:pt x="699" y="424"/>
                    <a:pt x="699" y="458"/>
                    <a:pt x="670" y="492"/>
                  </a:cubicBezTo>
                  <a:cubicBezTo>
                    <a:pt x="487" y="627"/>
                    <a:pt x="439" y="853"/>
                    <a:pt x="332" y="1065"/>
                  </a:cubicBezTo>
                  <a:cubicBezTo>
                    <a:pt x="212" y="1282"/>
                    <a:pt x="77" y="1441"/>
                    <a:pt x="58" y="1697"/>
                  </a:cubicBezTo>
                  <a:cubicBezTo>
                    <a:pt x="48" y="1750"/>
                    <a:pt x="0" y="1788"/>
                    <a:pt x="0" y="1841"/>
                  </a:cubicBezTo>
                  <a:lnTo>
                    <a:pt x="0" y="3630"/>
                  </a:lnTo>
                  <a:cubicBezTo>
                    <a:pt x="0" y="4401"/>
                    <a:pt x="511" y="5091"/>
                    <a:pt x="1258" y="5341"/>
                  </a:cubicBezTo>
                  <a:lnTo>
                    <a:pt x="3051" y="5934"/>
                  </a:lnTo>
                  <a:cubicBezTo>
                    <a:pt x="3808" y="6185"/>
                    <a:pt x="4628" y="5910"/>
                    <a:pt x="5076" y="5293"/>
                  </a:cubicBezTo>
                  <a:lnTo>
                    <a:pt x="5047" y="314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1" name="Freihandform: Form 30">
              <a:extLst>
                <a:ext uri="{FF2B5EF4-FFF2-40B4-BE49-F238E27FC236}">
                  <a16:creationId xmlns:a16="http://schemas.microsoft.com/office/drawing/2014/main" id="{5353DBEE-D0E7-A3C4-8531-AAB1531F585E}"/>
                </a:ext>
              </a:extLst>
            </p:cNvPr>
            <p:cNvSpPr/>
            <p:nvPr/>
          </p:nvSpPr>
          <p:spPr>
            <a:xfrm>
              <a:off x="5975400" y="3024165"/>
              <a:ext cx="49207" cy="190507"/>
            </a:xfrm>
            <a:custGeom>
              <a:avLst/>
              <a:gdLst>
                <a:gd name="connsiteX0" fmla="*/ 33158 w 38807"/>
                <a:gd name="connsiteY0" fmla="*/ 4358 h 149870"/>
                <a:gd name="connsiteX1" fmla="*/ 31586 w 38807"/>
                <a:gd name="connsiteY1" fmla="*/ 10210 h 149870"/>
                <a:gd name="connsiteX2" fmla="*/ 32126 w 38807"/>
                <a:gd name="connsiteY2" fmla="*/ 15812 h 149870"/>
                <a:gd name="connsiteX3" fmla="*/ 32092 w 38807"/>
                <a:gd name="connsiteY3" fmla="*/ 16458 h 149870"/>
                <a:gd name="connsiteX4" fmla="*/ 30328 w 38807"/>
                <a:gd name="connsiteY4" fmla="*/ 23453 h 149870"/>
                <a:gd name="connsiteX5" fmla="*/ 29740 w 38807"/>
                <a:gd name="connsiteY5" fmla="*/ 30447 h 149870"/>
                <a:gd name="connsiteX6" fmla="*/ 29648 w 38807"/>
                <a:gd name="connsiteY6" fmla="*/ 30925 h 149870"/>
                <a:gd name="connsiteX7" fmla="*/ 27286 w 38807"/>
                <a:gd name="connsiteY7" fmla="*/ 37370 h 149870"/>
                <a:gd name="connsiteX8" fmla="*/ 25522 w 38807"/>
                <a:gd name="connsiteY8" fmla="*/ 43845 h 149870"/>
                <a:gd name="connsiteX9" fmla="*/ 25329 w 38807"/>
                <a:gd name="connsiteY9" fmla="*/ 44312 h 149870"/>
                <a:gd name="connsiteX10" fmla="*/ 21916 w 38807"/>
                <a:gd name="connsiteY10" fmla="*/ 49976 h 149870"/>
                <a:gd name="connsiteX11" fmla="*/ 20759 w 38807"/>
                <a:gd name="connsiteY11" fmla="*/ 55646 h 149870"/>
                <a:gd name="connsiteX12" fmla="*/ 19602 w 38807"/>
                <a:gd name="connsiteY12" fmla="*/ 61589 h 149870"/>
                <a:gd name="connsiteX13" fmla="*/ 18623 w 38807"/>
                <a:gd name="connsiteY13" fmla="*/ 62872 h 149870"/>
                <a:gd name="connsiteX14" fmla="*/ 13364 w 38807"/>
                <a:gd name="connsiteY14" fmla="*/ 65480 h 149870"/>
                <a:gd name="connsiteX15" fmla="*/ 11228 w 38807"/>
                <a:gd name="connsiteY15" fmla="*/ 72465 h 149870"/>
                <a:gd name="connsiteX16" fmla="*/ 11190 w 38807"/>
                <a:gd name="connsiteY16" fmla="*/ 72629 h 149870"/>
                <a:gd name="connsiteX17" fmla="*/ 8828 w 38807"/>
                <a:gd name="connsiteY17" fmla="*/ 78510 h 149870"/>
                <a:gd name="connsiteX18" fmla="*/ 6504 w 38807"/>
                <a:gd name="connsiteY18" fmla="*/ 86580 h 149870"/>
                <a:gd name="connsiteX19" fmla="*/ 5935 w 38807"/>
                <a:gd name="connsiteY19" fmla="*/ 92355 h 149870"/>
                <a:gd name="connsiteX20" fmla="*/ 5906 w 38807"/>
                <a:gd name="connsiteY20" fmla="*/ 92519 h 149870"/>
                <a:gd name="connsiteX21" fmla="*/ 1138 w 38807"/>
                <a:gd name="connsiteY21" fmla="*/ 123367 h 149870"/>
                <a:gd name="connsiteX22" fmla="*/ 3481 w 38807"/>
                <a:gd name="connsiteY22" fmla="*/ 131548 h 149870"/>
                <a:gd name="connsiteX23" fmla="*/ 3563 w 38807"/>
                <a:gd name="connsiteY23" fmla="*/ 132063 h 149870"/>
                <a:gd name="connsiteX24" fmla="*/ 3563 w 38807"/>
                <a:gd name="connsiteY24" fmla="*/ 144722 h 149870"/>
                <a:gd name="connsiteX25" fmla="*/ 3959 w 38807"/>
                <a:gd name="connsiteY25" fmla="*/ 145528 h 149870"/>
                <a:gd name="connsiteX26" fmla="*/ 4108 w 38807"/>
                <a:gd name="connsiteY26" fmla="*/ 145986 h 149870"/>
                <a:gd name="connsiteX27" fmla="*/ 4961 w 38807"/>
                <a:gd name="connsiteY27" fmla="*/ 149871 h 149870"/>
                <a:gd name="connsiteX28" fmla="*/ 13658 w 38807"/>
                <a:gd name="connsiteY28" fmla="*/ 115678 h 149870"/>
                <a:gd name="connsiteX29" fmla="*/ 21424 w 38807"/>
                <a:gd name="connsiteY29" fmla="*/ 77999 h 149870"/>
                <a:gd name="connsiteX30" fmla="*/ 21482 w 38807"/>
                <a:gd name="connsiteY30" fmla="*/ 77830 h 149870"/>
                <a:gd name="connsiteX31" fmla="*/ 23844 w 38807"/>
                <a:gd name="connsiteY31" fmla="*/ 71920 h 149870"/>
                <a:gd name="connsiteX32" fmla="*/ 26182 w 38807"/>
                <a:gd name="connsiteY32" fmla="*/ 64901 h 149870"/>
                <a:gd name="connsiteX33" fmla="*/ 27850 w 38807"/>
                <a:gd name="connsiteY33" fmla="*/ 58798 h 149870"/>
                <a:gd name="connsiteX34" fmla="*/ 26741 w 38807"/>
                <a:gd name="connsiteY34" fmla="*/ 53259 h 149870"/>
                <a:gd name="connsiteX35" fmla="*/ 26770 w 38807"/>
                <a:gd name="connsiteY35" fmla="*/ 52415 h 149870"/>
                <a:gd name="connsiteX36" fmla="*/ 28554 w 38807"/>
                <a:gd name="connsiteY36" fmla="*/ 45884 h 149870"/>
                <a:gd name="connsiteX37" fmla="*/ 28578 w 38807"/>
                <a:gd name="connsiteY37" fmla="*/ 45850 h 149870"/>
                <a:gd name="connsiteX38" fmla="*/ 30338 w 38807"/>
                <a:gd name="connsiteY38" fmla="*/ 39916 h 149870"/>
                <a:gd name="connsiteX39" fmla="*/ 32121 w 38807"/>
                <a:gd name="connsiteY39" fmla="*/ 33388 h 149870"/>
                <a:gd name="connsiteX40" fmla="*/ 32184 w 38807"/>
                <a:gd name="connsiteY40" fmla="*/ 33186 h 149870"/>
                <a:gd name="connsiteX41" fmla="*/ 34517 w 38807"/>
                <a:gd name="connsiteY41" fmla="*/ 27377 h 149870"/>
                <a:gd name="connsiteX42" fmla="*/ 35660 w 38807"/>
                <a:gd name="connsiteY42" fmla="*/ 21626 h 149870"/>
                <a:gd name="connsiteX43" fmla="*/ 35679 w 38807"/>
                <a:gd name="connsiteY43" fmla="*/ 21476 h 149870"/>
                <a:gd name="connsiteX44" fmla="*/ 37318 w 38807"/>
                <a:gd name="connsiteY44" fmla="*/ 15513 h 149870"/>
                <a:gd name="connsiteX45" fmla="*/ 35158 w 38807"/>
                <a:gd name="connsiteY45" fmla="*/ 9478 h 149870"/>
                <a:gd name="connsiteX46" fmla="*/ 35366 w 38807"/>
                <a:gd name="connsiteY46" fmla="*/ 7848 h 149870"/>
                <a:gd name="connsiteX47" fmla="*/ 38808 w 38807"/>
                <a:gd name="connsiteY47" fmla="*/ 2912 h 149870"/>
                <a:gd name="connsiteX48" fmla="*/ 36735 w 38807"/>
                <a:gd name="connsiteY48" fmla="*/ 0 h 149870"/>
                <a:gd name="connsiteX49" fmla="*/ 33158 w 38807"/>
                <a:gd name="connsiteY49" fmla="*/ 4358 h 149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8807" h="149870">
                  <a:moveTo>
                    <a:pt x="33158" y="4358"/>
                  </a:moveTo>
                  <a:lnTo>
                    <a:pt x="31586" y="10210"/>
                  </a:lnTo>
                  <a:lnTo>
                    <a:pt x="32126" y="15812"/>
                  </a:lnTo>
                  <a:lnTo>
                    <a:pt x="32092" y="16458"/>
                  </a:lnTo>
                  <a:lnTo>
                    <a:pt x="30328" y="23453"/>
                  </a:lnTo>
                  <a:lnTo>
                    <a:pt x="29740" y="30447"/>
                  </a:lnTo>
                  <a:lnTo>
                    <a:pt x="29648" y="30925"/>
                  </a:lnTo>
                  <a:lnTo>
                    <a:pt x="27286" y="37370"/>
                  </a:lnTo>
                  <a:lnTo>
                    <a:pt x="25522" y="43845"/>
                  </a:lnTo>
                  <a:lnTo>
                    <a:pt x="25329" y="44312"/>
                  </a:lnTo>
                  <a:lnTo>
                    <a:pt x="21916" y="49976"/>
                  </a:lnTo>
                  <a:lnTo>
                    <a:pt x="20759" y="55646"/>
                  </a:lnTo>
                  <a:lnTo>
                    <a:pt x="19602" y="61589"/>
                  </a:lnTo>
                  <a:lnTo>
                    <a:pt x="18623" y="62872"/>
                  </a:lnTo>
                  <a:lnTo>
                    <a:pt x="13364" y="65480"/>
                  </a:lnTo>
                  <a:lnTo>
                    <a:pt x="11228" y="72465"/>
                  </a:lnTo>
                  <a:lnTo>
                    <a:pt x="11190" y="72629"/>
                  </a:lnTo>
                  <a:lnTo>
                    <a:pt x="8828" y="78510"/>
                  </a:lnTo>
                  <a:lnTo>
                    <a:pt x="6504" y="86580"/>
                  </a:lnTo>
                  <a:lnTo>
                    <a:pt x="5935" y="92355"/>
                  </a:lnTo>
                  <a:lnTo>
                    <a:pt x="5906" y="92519"/>
                  </a:lnTo>
                  <a:cubicBezTo>
                    <a:pt x="4532" y="108760"/>
                    <a:pt x="-2771" y="99490"/>
                    <a:pt x="1138" y="123367"/>
                  </a:cubicBezTo>
                  <a:lnTo>
                    <a:pt x="3481" y="131548"/>
                  </a:lnTo>
                  <a:lnTo>
                    <a:pt x="3563" y="132063"/>
                  </a:lnTo>
                  <a:lnTo>
                    <a:pt x="3563" y="144722"/>
                  </a:lnTo>
                  <a:lnTo>
                    <a:pt x="3959" y="145528"/>
                  </a:lnTo>
                  <a:lnTo>
                    <a:pt x="4108" y="145986"/>
                  </a:lnTo>
                  <a:lnTo>
                    <a:pt x="4961" y="149871"/>
                  </a:lnTo>
                  <a:cubicBezTo>
                    <a:pt x="11113" y="139574"/>
                    <a:pt x="12057" y="127325"/>
                    <a:pt x="13658" y="115678"/>
                  </a:cubicBezTo>
                  <a:cubicBezTo>
                    <a:pt x="17915" y="100941"/>
                    <a:pt x="17939" y="90851"/>
                    <a:pt x="21424" y="77999"/>
                  </a:cubicBezTo>
                  <a:lnTo>
                    <a:pt x="21482" y="77830"/>
                  </a:lnTo>
                  <a:lnTo>
                    <a:pt x="23844" y="71920"/>
                  </a:lnTo>
                  <a:lnTo>
                    <a:pt x="26182" y="64901"/>
                  </a:lnTo>
                  <a:lnTo>
                    <a:pt x="27850" y="58798"/>
                  </a:lnTo>
                  <a:lnTo>
                    <a:pt x="26741" y="53259"/>
                  </a:lnTo>
                  <a:lnTo>
                    <a:pt x="26770" y="52415"/>
                  </a:lnTo>
                  <a:lnTo>
                    <a:pt x="28554" y="45884"/>
                  </a:lnTo>
                  <a:lnTo>
                    <a:pt x="28578" y="45850"/>
                  </a:lnTo>
                  <a:lnTo>
                    <a:pt x="30338" y="39916"/>
                  </a:lnTo>
                  <a:lnTo>
                    <a:pt x="32121" y="33388"/>
                  </a:lnTo>
                  <a:lnTo>
                    <a:pt x="32184" y="33186"/>
                  </a:lnTo>
                  <a:lnTo>
                    <a:pt x="34517" y="27377"/>
                  </a:lnTo>
                  <a:lnTo>
                    <a:pt x="35660" y="21626"/>
                  </a:lnTo>
                  <a:lnTo>
                    <a:pt x="35679" y="21476"/>
                  </a:lnTo>
                  <a:lnTo>
                    <a:pt x="37318" y="15513"/>
                  </a:lnTo>
                  <a:lnTo>
                    <a:pt x="35158" y="9478"/>
                  </a:lnTo>
                  <a:lnTo>
                    <a:pt x="35366" y="7848"/>
                  </a:lnTo>
                  <a:lnTo>
                    <a:pt x="38808" y="2912"/>
                  </a:lnTo>
                  <a:lnTo>
                    <a:pt x="36735" y="0"/>
                  </a:lnTo>
                  <a:lnTo>
                    <a:pt x="33158" y="435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2" name="Freihandform: Form 31">
              <a:extLst>
                <a:ext uri="{FF2B5EF4-FFF2-40B4-BE49-F238E27FC236}">
                  <a16:creationId xmlns:a16="http://schemas.microsoft.com/office/drawing/2014/main" id="{EB8B470F-B0A6-60FF-D73F-827DCFC9D45D}"/>
                </a:ext>
              </a:extLst>
            </p:cNvPr>
            <p:cNvSpPr/>
            <p:nvPr/>
          </p:nvSpPr>
          <p:spPr>
            <a:xfrm>
              <a:off x="5970639" y="3017815"/>
              <a:ext cx="58730" cy="204795"/>
            </a:xfrm>
            <a:custGeom>
              <a:avLst/>
              <a:gdLst>
                <a:gd name="connsiteX0" fmla="*/ 46168 w 46167"/>
                <a:gd name="connsiteY0" fmla="*/ 6715 h 161281"/>
                <a:gd name="connsiteX1" fmla="*/ 41989 w 46167"/>
                <a:gd name="connsiteY1" fmla="*/ 796 h 161281"/>
                <a:gd name="connsiteX2" fmla="*/ 40571 w 46167"/>
                <a:gd name="connsiteY2" fmla="*/ 0 h 161281"/>
                <a:gd name="connsiteX3" fmla="*/ 39101 w 46167"/>
                <a:gd name="connsiteY3" fmla="*/ 646 h 161281"/>
                <a:gd name="connsiteX4" fmla="*/ 33735 w 46167"/>
                <a:gd name="connsiteY4" fmla="*/ 7178 h 161281"/>
                <a:gd name="connsiteX5" fmla="*/ 33388 w 46167"/>
                <a:gd name="connsiteY5" fmla="*/ 7858 h 161281"/>
                <a:gd name="connsiteX6" fmla="*/ 31619 w 46167"/>
                <a:gd name="connsiteY6" fmla="*/ 14404 h 161281"/>
                <a:gd name="connsiteX7" fmla="*/ 31552 w 46167"/>
                <a:gd name="connsiteY7" fmla="*/ 15089 h 161281"/>
                <a:gd name="connsiteX8" fmla="*/ 32120 w 46167"/>
                <a:gd name="connsiteY8" fmla="*/ 20729 h 161281"/>
                <a:gd name="connsiteX9" fmla="*/ 30419 w 46167"/>
                <a:gd name="connsiteY9" fmla="*/ 27560 h 161281"/>
                <a:gd name="connsiteX10" fmla="*/ 30351 w 46167"/>
                <a:gd name="connsiteY10" fmla="*/ 27830 h 161281"/>
                <a:gd name="connsiteX11" fmla="*/ 29792 w 46167"/>
                <a:gd name="connsiteY11" fmla="*/ 34748 h 161281"/>
                <a:gd name="connsiteX12" fmla="*/ 27488 w 46167"/>
                <a:gd name="connsiteY12" fmla="*/ 41077 h 161281"/>
                <a:gd name="connsiteX13" fmla="*/ 27435 w 46167"/>
                <a:gd name="connsiteY13" fmla="*/ 41203 h 161281"/>
                <a:gd name="connsiteX14" fmla="*/ 25714 w 46167"/>
                <a:gd name="connsiteY14" fmla="*/ 47527 h 161281"/>
                <a:gd name="connsiteX15" fmla="*/ 22286 w 46167"/>
                <a:gd name="connsiteY15" fmla="*/ 53240 h 161281"/>
                <a:gd name="connsiteX16" fmla="*/ 22050 w 46167"/>
                <a:gd name="connsiteY16" fmla="*/ 53809 h 161281"/>
                <a:gd name="connsiteX17" fmla="*/ 20854 w 46167"/>
                <a:gd name="connsiteY17" fmla="*/ 59757 h 161281"/>
                <a:gd name="connsiteX18" fmla="*/ 19852 w 46167"/>
                <a:gd name="connsiteY18" fmla="*/ 64819 h 161281"/>
                <a:gd name="connsiteX19" fmla="*/ 14698 w 46167"/>
                <a:gd name="connsiteY19" fmla="*/ 67418 h 161281"/>
                <a:gd name="connsiteX20" fmla="*/ 13753 w 46167"/>
                <a:gd name="connsiteY20" fmla="*/ 68522 h 161281"/>
                <a:gd name="connsiteX21" fmla="*/ 6571 w 46167"/>
                <a:gd name="connsiteY21" fmla="*/ 90909 h 161281"/>
                <a:gd name="connsiteX22" fmla="*/ 5973 w 46167"/>
                <a:gd name="connsiteY22" fmla="*/ 96785 h 161281"/>
                <a:gd name="connsiteX23" fmla="*/ 4831 w 46167"/>
                <a:gd name="connsiteY23" fmla="*/ 102951 h 161281"/>
                <a:gd name="connsiteX24" fmla="*/ 1417 w 46167"/>
                <a:gd name="connsiteY24" fmla="*/ 109252 h 161281"/>
                <a:gd name="connsiteX25" fmla="*/ 1224 w 46167"/>
                <a:gd name="connsiteY25" fmla="*/ 109782 h 161281"/>
                <a:gd name="connsiteX26" fmla="*/ 1215 w 46167"/>
                <a:gd name="connsiteY26" fmla="*/ 128834 h 161281"/>
                <a:gd name="connsiteX27" fmla="*/ 1273 w 46167"/>
                <a:gd name="connsiteY27" fmla="*/ 128945 h 161281"/>
                <a:gd name="connsiteX28" fmla="*/ 1258 w 46167"/>
                <a:gd name="connsiteY28" fmla="*/ 129050 h 161281"/>
                <a:gd name="connsiteX29" fmla="*/ 3577 w 46167"/>
                <a:gd name="connsiteY29" fmla="*/ 137125 h 161281"/>
                <a:gd name="connsiteX30" fmla="*/ 3577 w 46167"/>
                <a:gd name="connsiteY30" fmla="*/ 149992 h 161281"/>
                <a:gd name="connsiteX31" fmla="*/ 3760 w 46167"/>
                <a:gd name="connsiteY31" fmla="*/ 150816 h 161281"/>
                <a:gd name="connsiteX32" fmla="*/ 4266 w 46167"/>
                <a:gd name="connsiteY32" fmla="*/ 151804 h 161281"/>
                <a:gd name="connsiteX33" fmla="*/ 5997 w 46167"/>
                <a:gd name="connsiteY33" fmla="*/ 159888 h 161281"/>
                <a:gd name="connsiteX34" fmla="*/ 7477 w 46167"/>
                <a:gd name="connsiteY34" fmla="*/ 161282 h 161281"/>
                <a:gd name="connsiteX35" fmla="*/ 9318 w 46167"/>
                <a:gd name="connsiteY35" fmla="*/ 160457 h 161281"/>
                <a:gd name="connsiteX36" fmla="*/ 14105 w 46167"/>
                <a:gd name="connsiteY36" fmla="*/ 152730 h 161281"/>
                <a:gd name="connsiteX37" fmla="*/ 14279 w 46167"/>
                <a:gd name="connsiteY37" fmla="*/ 152272 h 161281"/>
                <a:gd name="connsiteX38" fmla="*/ 16063 w 46167"/>
                <a:gd name="connsiteY38" fmla="*/ 146386 h 161281"/>
                <a:gd name="connsiteX39" fmla="*/ 18434 w 46167"/>
                <a:gd name="connsiteY39" fmla="*/ 139887 h 161281"/>
                <a:gd name="connsiteX40" fmla="*/ 18526 w 46167"/>
                <a:gd name="connsiteY40" fmla="*/ 139425 h 161281"/>
                <a:gd name="connsiteX41" fmla="*/ 19100 w 46167"/>
                <a:gd name="connsiteY41" fmla="*/ 132975 h 161281"/>
                <a:gd name="connsiteX42" fmla="*/ 20266 w 46167"/>
                <a:gd name="connsiteY42" fmla="*/ 127113 h 161281"/>
                <a:gd name="connsiteX43" fmla="*/ 26832 w 46167"/>
                <a:gd name="connsiteY43" fmla="*/ 89632 h 161281"/>
                <a:gd name="connsiteX44" fmla="*/ 28548 w 46167"/>
                <a:gd name="connsiteY44" fmla="*/ 83914 h 161281"/>
                <a:gd name="connsiteX45" fmla="*/ 30901 w 46167"/>
                <a:gd name="connsiteY45" fmla="*/ 78057 h 161281"/>
                <a:gd name="connsiteX46" fmla="*/ 30915 w 46167"/>
                <a:gd name="connsiteY46" fmla="*/ 77956 h 161281"/>
                <a:gd name="connsiteX47" fmla="*/ 33311 w 46167"/>
                <a:gd name="connsiteY47" fmla="*/ 70826 h 161281"/>
                <a:gd name="connsiteX48" fmla="*/ 33345 w 46167"/>
                <a:gd name="connsiteY48" fmla="*/ 70710 h 161281"/>
                <a:gd name="connsiteX49" fmla="*/ 35114 w 46167"/>
                <a:gd name="connsiteY49" fmla="*/ 64169 h 161281"/>
                <a:gd name="connsiteX50" fmla="*/ 35129 w 46167"/>
                <a:gd name="connsiteY50" fmla="*/ 63310 h 161281"/>
                <a:gd name="connsiteX51" fmla="*/ 34034 w 46167"/>
                <a:gd name="connsiteY51" fmla="*/ 57805 h 161281"/>
                <a:gd name="connsiteX52" fmla="*/ 35726 w 46167"/>
                <a:gd name="connsiteY52" fmla="*/ 51702 h 161281"/>
                <a:gd name="connsiteX53" fmla="*/ 37486 w 46167"/>
                <a:gd name="connsiteY53" fmla="*/ 45763 h 161281"/>
                <a:gd name="connsiteX54" fmla="*/ 37515 w 46167"/>
                <a:gd name="connsiteY54" fmla="*/ 45720 h 161281"/>
                <a:gd name="connsiteX55" fmla="*/ 39260 w 46167"/>
                <a:gd name="connsiteY55" fmla="*/ 39284 h 161281"/>
                <a:gd name="connsiteX56" fmla="*/ 41608 w 46167"/>
                <a:gd name="connsiteY56" fmla="*/ 33441 h 161281"/>
                <a:gd name="connsiteX57" fmla="*/ 41690 w 46167"/>
                <a:gd name="connsiteY57" fmla="*/ 33114 h 161281"/>
                <a:gd name="connsiteX58" fmla="*/ 42875 w 46167"/>
                <a:gd name="connsiteY58" fmla="*/ 27203 h 161281"/>
                <a:gd name="connsiteX59" fmla="*/ 44625 w 46167"/>
                <a:gd name="connsiteY59" fmla="*/ 20748 h 161281"/>
                <a:gd name="connsiteX60" fmla="*/ 44592 w 46167"/>
                <a:gd name="connsiteY60" fmla="*/ 19630 h 161281"/>
                <a:gd name="connsiteX61" fmla="*/ 42519 w 46167"/>
                <a:gd name="connsiteY61" fmla="*/ 13985 h 161281"/>
                <a:gd name="connsiteX62" fmla="*/ 46163 w 46167"/>
                <a:gd name="connsiteY62" fmla="*/ 8788 h 161281"/>
                <a:gd name="connsiteX63" fmla="*/ 46163 w 46167"/>
                <a:gd name="connsiteY63" fmla="*/ 6715 h 16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6167" h="161281">
                  <a:moveTo>
                    <a:pt x="46168" y="6715"/>
                  </a:moveTo>
                  <a:lnTo>
                    <a:pt x="41989" y="796"/>
                  </a:lnTo>
                  <a:lnTo>
                    <a:pt x="40571" y="0"/>
                  </a:lnTo>
                  <a:lnTo>
                    <a:pt x="39101" y="646"/>
                  </a:lnTo>
                  <a:lnTo>
                    <a:pt x="33735" y="7178"/>
                  </a:lnTo>
                  <a:lnTo>
                    <a:pt x="33388" y="7858"/>
                  </a:lnTo>
                  <a:lnTo>
                    <a:pt x="31619" y="14404"/>
                  </a:lnTo>
                  <a:lnTo>
                    <a:pt x="31552" y="15089"/>
                  </a:lnTo>
                  <a:lnTo>
                    <a:pt x="32120" y="20729"/>
                  </a:lnTo>
                  <a:lnTo>
                    <a:pt x="30419" y="27560"/>
                  </a:lnTo>
                  <a:lnTo>
                    <a:pt x="30351" y="27830"/>
                  </a:lnTo>
                  <a:lnTo>
                    <a:pt x="29792" y="34748"/>
                  </a:lnTo>
                  <a:lnTo>
                    <a:pt x="27488" y="41077"/>
                  </a:lnTo>
                  <a:lnTo>
                    <a:pt x="27435" y="41203"/>
                  </a:lnTo>
                  <a:lnTo>
                    <a:pt x="25714" y="47527"/>
                  </a:lnTo>
                  <a:lnTo>
                    <a:pt x="22286" y="53240"/>
                  </a:lnTo>
                  <a:lnTo>
                    <a:pt x="22050" y="53809"/>
                  </a:lnTo>
                  <a:lnTo>
                    <a:pt x="20854" y="59757"/>
                  </a:lnTo>
                  <a:lnTo>
                    <a:pt x="19852" y="64819"/>
                  </a:lnTo>
                  <a:lnTo>
                    <a:pt x="14698" y="67418"/>
                  </a:lnTo>
                  <a:lnTo>
                    <a:pt x="13753" y="68522"/>
                  </a:lnTo>
                  <a:cubicBezTo>
                    <a:pt x="12211" y="76399"/>
                    <a:pt x="7757" y="82859"/>
                    <a:pt x="6571" y="90909"/>
                  </a:cubicBezTo>
                  <a:lnTo>
                    <a:pt x="5973" y="96785"/>
                  </a:lnTo>
                  <a:lnTo>
                    <a:pt x="4831" y="102951"/>
                  </a:lnTo>
                  <a:lnTo>
                    <a:pt x="1417" y="109252"/>
                  </a:lnTo>
                  <a:lnTo>
                    <a:pt x="1224" y="109782"/>
                  </a:lnTo>
                  <a:cubicBezTo>
                    <a:pt x="-1027" y="116020"/>
                    <a:pt x="352" y="122509"/>
                    <a:pt x="1215" y="128834"/>
                  </a:cubicBezTo>
                  <a:cubicBezTo>
                    <a:pt x="1224" y="128848"/>
                    <a:pt x="1273" y="128891"/>
                    <a:pt x="1273" y="128945"/>
                  </a:cubicBezTo>
                  <a:cubicBezTo>
                    <a:pt x="1282" y="128993"/>
                    <a:pt x="1249" y="129022"/>
                    <a:pt x="1258" y="129050"/>
                  </a:cubicBezTo>
                  <a:lnTo>
                    <a:pt x="3577" y="137125"/>
                  </a:lnTo>
                  <a:lnTo>
                    <a:pt x="3577" y="149992"/>
                  </a:lnTo>
                  <a:lnTo>
                    <a:pt x="3760" y="150816"/>
                  </a:lnTo>
                  <a:lnTo>
                    <a:pt x="4266" y="151804"/>
                  </a:lnTo>
                  <a:lnTo>
                    <a:pt x="5997" y="159888"/>
                  </a:lnTo>
                  <a:lnTo>
                    <a:pt x="7477" y="161282"/>
                  </a:lnTo>
                  <a:lnTo>
                    <a:pt x="9318" y="160457"/>
                  </a:lnTo>
                  <a:lnTo>
                    <a:pt x="14105" y="152730"/>
                  </a:lnTo>
                  <a:lnTo>
                    <a:pt x="14279" y="152272"/>
                  </a:lnTo>
                  <a:lnTo>
                    <a:pt x="16063" y="146386"/>
                  </a:lnTo>
                  <a:lnTo>
                    <a:pt x="18434" y="139887"/>
                  </a:lnTo>
                  <a:lnTo>
                    <a:pt x="18526" y="139425"/>
                  </a:lnTo>
                  <a:lnTo>
                    <a:pt x="19100" y="132975"/>
                  </a:lnTo>
                  <a:lnTo>
                    <a:pt x="20266" y="127113"/>
                  </a:lnTo>
                  <a:cubicBezTo>
                    <a:pt x="21529" y="113417"/>
                    <a:pt x="26292" y="105728"/>
                    <a:pt x="26832" y="89632"/>
                  </a:cubicBezTo>
                  <a:lnTo>
                    <a:pt x="28548" y="83914"/>
                  </a:lnTo>
                  <a:lnTo>
                    <a:pt x="30901" y="78057"/>
                  </a:lnTo>
                  <a:lnTo>
                    <a:pt x="30915" y="77956"/>
                  </a:lnTo>
                  <a:lnTo>
                    <a:pt x="33311" y="70826"/>
                  </a:lnTo>
                  <a:lnTo>
                    <a:pt x="33345" y="70710"/>
                  </a:lnTo>
                  <a:lnTo>
                    <a:pt x="35114" y="64169"/>
                  </a:lnTo>
                  <a:lnTo>
                    <a:pt x="35129" y="63310"/>
                  </a:lnTo>
                  <a:lnTo>
                    <a:pt x="34034" y="57805"/>
                  </a:lnTo>
                  <a:lnTo>
                    <a:pt x="35726" y="51702"/>
                  </a:lnTo>
                  <a:lnTo>
                    <a:pt x="37486" y="45763"/>
                  </a:lnTo>
                  <a:lnTo>
                    <a:pt x="37515" y="45720"/>
                  </a:lnTo>
                  <a:lnTo>
                    <a:pt x="39260" y="39284"/>
                  </a:lnTo>
                  <a:lnTo>
                    <a:pt x="41608" y="33441"/>
                  </a:lnTo>
                  <a:lnTo>
                    <a:pt x="41690" y="33114"/>
                  </a:lnTo>
                  <a:lnTo>
                    <a:pt x="42875" y="27203"/>
                  </a:lnTo>
                  <a:lnTo>
                    <a:pt x="44625" y="20748"/>
                  </a:lnTo>
                  <a:lnTo>
                    <a:pt x="44592" y="19630"/>
                  </a:lnTo>
                  <a:lnTo>
                    <a:pt x="42519" y="13985"/>
                  </a:lnTo>
                  <a:lnTo>
                    <a:pt x="46163" y="8788"/>
                  </a:lnTo>
                  <a:lnTo>
                    <a:pt x="46163" y="671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3" name="Freihandform: Form 32">
              <a:extLst>
                <a:ext uri="{FF2B5EF4-FFF2-40B4-BE49-F238E27FC236}">
                  <a16:creationId xmlns:a16="http://schemas.microsoft.com/office/drawing/2014/main" id="{95881793-D646-DF76-0547-A13E959EE5D0}"/>
                </a:ext>
              </a:extLst>
            </p:cNvPr>
            <p:cNvSpPr/>
            <p:nvPr/>
          </p:nvSpPr>
          <p:spPr>
            <a:xfrm>
              <a:off x="6429374" y="2735229"/>
              <a:ext cx="122224" cy="127005"/>
            </a:xfrm>
            <a:custGeom>
              <a:avLst/>
              <a:gdLst>
                <a:gd name="connsiteX0" fmla="*/ 88542 w 95647"/>
                <a:gd name="connsiteY0" fmla="*/ 10066 h 99817"/>
                <a:gd name="connsiteX1" fmla="*/ 82834 w 95647"/>
                <a:gd name="connsiteY1" fmla="*/ 9502 h 99817"/>
                <a:gd name="connsiteX2" fmla="*/ 81374 w 95647"/>
                <a:gd name="connsiteY2" fmla="*/ 8509 h 99817"/>
                <a:gd name="connsiteX3" fmla="*/ 79850 w 95647"/>
                <a:gd name="connsiteY3" fmla="*/ 5467 h 99817"/>
                <a:gd name="connsiteX4" fmla="*/ 74485 w 95647"/>
                <a:gd name="connsiteY4" fmla="*/ 2801 h 99817"/>
                <a:gd name="connsiteX5" fmla="*/ 67852 w 95647"/>
                <a:gd name="connsiteY5" fmla="*/ 0 h 99817"/>
                <a:gd name="connsiteX6" fmla="*/ 62317 w 95647"/>
                <a:gd name="connsiteY6" fmla="*/ 497 h 99817"/>
                <a:gd name="connsiteX7" fmla="*/ 56831 w 95647"/>
                <a:gd name="connsiteY7" fmla="*/ 5467 h 99817"/>
                <a:gd name="connsiteX8" fmla="*/ 55945 w 95647"/>
                <a:gd name="connsiteY8" fmla="*/ 5925 h 99817"/>
                <a:gd name="connsiteX9" fmla="*/ 49398 w 95647"/>
                <a:gd name="connsiteY9" fmla="*/ 7087 h 99817"/>
                <a:gd name="connsiteX10" fmla="*/ 47928 w 95647"/>
                <a:gd name="connsiteY10" fmla="*/ 6701 h 99817"/>
                <a:gd name="connsiteX11" fmla="*/ 42707 w 95647"/>
                <a:gd name="connsiteY11" fmla="*/ 2444 h 99817"/>
                <a:gd name="connsiteX12" fmla="*/ 38518 w 95647"/>
                <a:gd name="connsiteY12" fmla="*/ 7106 h 99817"/>
                <a:gd name="connsiteX13" fmla="*/ 37915 w 95647"/>
                <a:gd name="connsiteY13" fmla="*/ 7554 h 99817"/>
                <a:gd name="connsiteX14" fmla="*/ 31397 w 95647"/>
                <a:gd name="connsiteY14" fmla="*/ 10509 h 99817"/>
                <a:gd name="connsiteX15" fmla="*/ 26577 w 95647"/>
                <a:gd name="connsiteY15" fmla="*/ 12915 h 99817"/>
                <a:gd name="connsiteX16" fmla="*/ 27097 w 95647"/>
                <a:gd name="connsiteY16" fmla="*/ 18242 h 99817"/>
                <a:gd name="connsiteX17" fmla="*/ 26365 w 95647"/>
                <a:gd name="connsiteY17" fmla="*/ 19857 h 99817"/>
                <a:gd name="connsiteX18" fmla="*/ 24596 w 95647"/>
                <a:gd name="connsiteY18" fmla="*/ 20069 h 99817"/>
                <a:gd name="connsiteX19" fmla="*/ 20093 w 95647"/>
                <a:gd name="connsiteY19" fmla="*/ 18285 h 99817"/>
                <a:gd name="connsiteX20" fmla="*/ 17398 w 95647"/>
                <a:gd name="connsiteY20" fmla="*/ 22783 h 99817"/>
                <a:gd name="connsiteX21" fmla="*/ 15190 w 95647"/>
                <a:gd name="connsiteY21" fmla="*/ 28206 h 99817"/>
                <a:gd name="connsiteX22" fmla="*/ 15783 w 95647"/>
                <a:gd name="connsiteY22" fmla="*/ 34314 h 99817"/>
                <a:gd name="connsiteX23" fmla="*/ 14501 w 95647"/>
                <a:gd name="connsiteY23" fmla="*/ 36223 h 99817"/>
                <a:gd name="connsiteX24" fmla="*/ 12370 w 95647"/>
                <a:gd name="connsiteY24" fmla="*/ 35336 h 99817"/>
                <a:gd name="connsiteX25" fmla="*/ 8952 w 95647"/>
                <a:gd name="connsiteY25" fmla="*/ 29112 h 99817"/>
                <a:gd name="connsiteX26" fmla="*/ 3635 w 95647"/>
                <a:gd name="connsiteY26" fmla="*/ 24754 h 99817"/>
                <a:gd name="connsiteX27" fmla="*/ 0 w 95647"/>
                <a:gd name="connsiteY27" fmla="*/ 26750 h 99817"/>
                <a:gd name="connsiteX28" fmla="*/ 3471 w 95647"/>
                <a:gd name="connsiteY28" fmla="*/ 31551 h 99817"/>
                <a:gd name="connsiteX29" fmla="*/ 8788 w 95647"/>
                <a:gd name="connsiteY29" fmla="*/ 37413 h 99817"/>
                <a:gd name="connsiteX30" fmla="*/ 9203 w 95647"/>
                <a:gd name="connsiteY30" fmla="*/ 38927 h 99817"/>
                <a:gd name="connsiteX31" fmla="*/ 8027 w 95647"/>
                <a:gd name="connsiteY31" fmla="*/ 46062 h 99817"/>
                <a:gd name="connsiteX32" fmla="*/ 7974 w 95647"/>
                <a:gd name="connsiteY32" fmla="*/ 46250 h 99817"/>
                <a:gd name="connsiteX33" fmla="*/ 6171 w 95647"/>
                <a:gd name="connsiteY33" fmla="*/ 52753 h 99817"/>
                <a:gd name="connsiteX34" fmla="*/ 5419 w 95647"/>
                <a:gd name="connsiteY34" fmla="*/ 56783 h 99817"/>
                <a:gd name="connsiteX35" fmla="*/ 10697 w 95647"/>
                <a:gd name="connsiteY35" fmla="*/ 57694 h 99817"/>
                <a:gd name="connsiteX36" fmla="*/ 11536 w 95647"/>
                <a:gd name="connsiteY36" fmla="*/ 58042 h 99817"/>
                <a:gd name="connsiteX37" fmla="*/ 17364 w 95647"/>
                <a:gd name="connsiteY37" fmla="*/ 62713 h 99817"/>
                <a:gd name="connsiteX38" fmla="*/ 23747 w 95647"/>
                <a:gd name="connsiteY38" fmla="*/ 66203 h 99817"/>
                <a:gd name="connsiteX39" fmla="*/ 24509 w 95647"/>
                <a:gd name="connsiteY39" fmla="*/ 66945 h 99817"/>
                <a:gd name="connsiteX40" fmla="*/ 28047 w 95647"/>
                <a:gd name="connsiteY40" fmla="*/ 73473 h 99817"/>
                <a:gd name="connsiteX41" fmla="*/ 27787 w 95647"/>
                <a:gd name="connsiteY41" fmla="*/ 75584 h 99817"/>
                <a:gd name="connsiteX42" fmla="*/ 22725 w 95647"/>
                <a:gd name="connsiteY42" fmla="*/ 81214 h 99817"/>
                <a:gd name="connsiteX43" fmla="*/ 21047 w 95647"/>
                <a:gd name="connsiteY43" fmla="*/ 86744 h 99817"/>
                <a:gd name="connsiteX44" fmla="*/ 19375 w 95647"/>
                <a:gd name="connsiteY44" fmla="*/ 92890 h 99817"/>
                <a:gd name="connsiteX45" fmla="*/ 20382 w 95647"/>
                <a:gd name="connsiteY45" fmla="*/ 98844 h 99817"/>
                <a:gd name="connsiteX46" fmla="*/ 21852 w 95647"/>
                <a:gd name="connsiteY46" fmla="*/ 99818 h 99817"/>
                <a:gd name="connsiteX47" fmla="*/ 25579 w 95647"/>
                <a:gd name="connsiteY47" fmla="*/ 94693 h 99817"/>
                <a:gd name="connsiteX48" fmla="*/ 25632 w 95647"/>
                <a:gd name="connsiteY48" fmla="*/ 94645 h 99817"/>
                <a:gd name="connsiteX49" fmla="*/ 29918 w 95647"/>
                <a:gd name="connsiteY49" fmla="*/ 89251 h 99817"/>
                <a:gd name="connsiteX50" fmla="*/ 29397 w 95647"/>
                <a:gd name="connsiteY50" fmla="*/ 83432 h 99817"/>
                <a:gd name="connsiteX51" fmla="*/ 29474 w 95647"/>
                <a:gd name="connsiteY51" fmla="*/ 82796 h 99817"/>
                <a:gd name="connsiteX52" fmla="*/ 31200 w 95647"/>
                <a:gd name="connsiteY52" fmla="*/ 76486 h 99817"/>
                <a:gd name="connsiteX53" fmla="*/ 31200 w 95647"/>
                <a:gd name="connsiteY53" fmla="*/ 70252 h 99817"/>
                <a:gd name="connsiteX54" fmla="*/ 30626 w 95647"/>
                <a:gd name="connsiteY54" fmla="*/ 63788 h 99817"/>
                <a:gd name="connsiteX55" fmla="*/ 30988 w 95647"/>
                <a:gd name="connsiteY55" fmla="*/ 62481 h 99817"/>
                <a:gd name="connsiteX56" fmla="*/ 36363 w 95647"/>
                <a:gd name="connsiteY56" fmla="*/ 55940 h 99817"/>
                <a:gd name="connsiteX57" fmla="*/ 36951 w 95647"/>
                <a:gd name="connsiteY57" fmla="*/ 55462 h 99817"/>
                <a:gd name="connsiteX58" fmla="*/ 42895 w 95647"/>
                <a:gd name="connsiteY58" fmla="*/ 52493 h 99817"/>
                <a:gd name="connsiteX59" fmla="*/ 43227 w 95647"/>
                <a:gd name="connsiteY59" fmla="*/ 52363 h 99817"/>
                <a:gd name="connsiteX60" fmla="*/ 49702 w 95647"/>
                <a:gd name="connsiteY60" fmla="*/ 50593 h 99817"/>
                <a:gd name="connsiteX61" fmla="*/ 56195 w 95647"/>
                <a:gd name="connsiteY61" fmla="*/ 48231 h 99817"/>
                <a:gd name="connsiteX62" fmla="*/ 57559 w 95647"/>
                <a:gd name="connsiteY62" fmla="*/ 48284 h 99817"/>
                <a:gd name="connsiteX63" fmla="*/ 60568 w 95647"/>
                <a:gd name="connsiteY63" fmla="*/ 49658 h 99817"/>
                <a:gd name="connsiteX64" fmla="*/ 59815 w 95647"/>
                <a:gd name="connsiteY64" fmla="*/ 46867 h 99817"/>
                <a:gd name="connsiteX65" fmla="*/ 60037 w 95647"/>
                <a:gd name="connsiteY65" fmla="*/ 45406 h 99817"/>
                <a:gd name="connsiteX66" fmla="*/ 61252 w 95647"/>
                <a:gd name="connsiteY66" fmla="*/ 44597 h 99817"/>
                <a:gd name="connsiteX67" fmla="*/ 67075 w 95647"/>
                <a:gd name="connsiteY67" fmla="*/ 43526 h 99817"/>
                <a:gd name="connsiteX68" fmla="*/ 71308 w 95647"/>
                <a:gd name="connsiteY68" fmla="*/ 37688 h 99817"/>
                <a:gd name="connsiteX69" fmla="*/ 74249 w 95647"/>
                <a:gd name="connsiteY69" fmla="*/ 31870 h 99817"/>
                <a:gd name="connsiteX70" fmla="*/ 74543 w 95647"/>
                <a:gd name="connsiteY70" fmla="*/ 31402 h 99817"/>
                <a:gd name="connsiteX71" fmla="*/ 80636 w 95647"/>
                <a:gd name="connsiteY71" fmla="*/ 25338 h 99817"/>
                <a:gd name="connsiteX72" fmla="*/ 81195 w 95647"/>
                <a:gd name="connsiteY72" fmla="*/ 19437 h 99817"/>
                <a:gd name="connsiteX73" fmla="*/ 81340 w 95647"/>
                <a:gd name="connsiteY73" fmla="*/ 18825 h 99817"/>
                <a:gd name="connsiteX74" fmla="*/ 84329 w 95647"/>
                <a:gd name="connsiteY74" fmla="*/ 12312 h 99817"/>
                <a:gd name="connsiteX75" fmla="*/ 85476 w 95647"/>
                <a:gd name="connsiteY75" fmla="*/ 11309 h 99817"/>
                <a:gd name="connsiteX76" fmla="*/ 86995 w 95647"/>
                <a:gd name="connsiteY76" fmla="*/ 11575 h 99817"/>
                <a:gd name="connsiteX77" fmla="*/ 92384 w 95647"/>
                <a:gd name="connsiteY77" fmla="*/ 15359 h 99817"/>
                <a:gd name="connsiteX78" fmla="*/ 95648 w 95647"/>
                <a:gd name="connsiteY78" fmla="*/ 15055 h 99817"/>
                <a:gd name="connsiteX79" fmla="*/ 94182 w 95647"/>
                <a:gd name="connsiteY79" fmla="*/ 12134 h 99817"/>
                <a:gd name="connsiteX80" fmla="*/ 88542 w 95647"/>
                <a:gd name="connsiteY80" fmla="*/ 10066 h 9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95647" h="99817">
                  <a:moveTo>
                    <a:pt x="88542" y="10066"/>
                  </a:moveTo>
                  <a:lnTo>
                    <a:pt x="82834" y="9502"/>
                  </a:lnTo>
                  <a:lnTo>
                    <a:pt x="81374" y="8509"/>
                  </a:lnTo>
                  <a:lnTo>
                    <a:pt x="79850" y="5467"/>
                  </a:lnTo>
                  <a:lnTo>
                    <a:pt x="74485" y="2801"/>
                  </a:lnTo>
                  <a:lnTo>
                    <a:pt x="67852" y="0"/>
                  </a:lnTo>
                  <a:lnTo>
                    <a:pt x="62317" y="497"/>
                  </a:lnTo>
                  <a:lnTo>
                    <a:pt x="56831" y="5467"/>
                  </a:lnTo>
                  <a:lnTo>
                    <a:pt x="55945" y="5925"/>
                  </a:lnTo>
                  <a:lnTo>
                    <a:pt x="49398" y="7087"/>
                  </a:lnTo>
                  <a:lnTo>
                    <a:pt x="47928" y="6701"/>
                  </a:lnTo>
                  <a:lnTo>
                    <a:pt x="42707" y="2444"/>
                  </a:lnTo>
                  <a:lnTo>
                    <a:pt x="38518" y="7106"/>
                  </a:lnTo>
                  <a:lnTo>
                    <a:pt x="37915" y="7554"/>
                  </a:lnTo>
                  <a:lnTo>
                    <a:pt x="31397" y="10509"/>
                  </a:lnTo>
                  <a:lnTo>
                    <a:pt x="26577" y="12915"/>
                  </a:lnTo>
                  <a:lnTo>
                    <a:pt x="27097" y="18242"/>
                  </a:lnTo>
                  <a:lnTo>
                    <a:pt x="26365" y="19857"/>
                  </a:lnTo>
                  <a:lnTo>
                    <a:pt x="24596" y="20069"/>
                  </a:lnTo>
                  <a:lnTo>
                    <a:pt x="20093" y="18285"/>
                  </a:lnTo>
                  <a:lnTo>
                    <a:pt x="17398" y="22783"/>
                  </a:lnTo>
                  <a:lnTo>
                    <a:pt x="15190" y="28206"/>
                  </a:lnTo>
                  <a:lnTo>
                    <a:pt x="15783" y="34314"/>
                  </a:lnTo>
                  <a:cubicBezTo>
                    <a:pt x="15846" y="35153"/>
                    <a:pt x="15306" y="35943"/>
                    <a:pt x="14501" y="36223"/>
                  </a:cubicBezTo>
                  <a:cubicBezTo>
                    <a:pt x="13667" y="36469"/>
                    <a:pt x="12780" y="36083"/>
                    <a:pt x="12370" y="35336"/>
                  </a:cubicBezTo>
                  <a:lnTo>
                    <a:pt x="8952" y="29112"/>
                  </a:lnTo>
                  <a:lnTo>
                    <a:pt x="3635" y="24754"/>
                  </a:lnTo>
                  <a:lnTo>
                    <a:pt x="0" y="26750"/>
                  </a:lnTo>
                  <a:lnTo>
                    <a:pt x="3471" y="31551"/>
                  </a:lnTo>
                  <a:lnTo>
                    <a:pt x="8788" y="37413"/>
                  </a:lnTo>
                  <a:lnTo>
                    <a:pt x="9203" y="38927"/>
                  </a:lnTo>
                  <a:lnTo>
                    <a:pt x="8027" y="46062"/>
                  </a:lnTo>
                  <a:lnTo>
                    <a:pt x="7974" y="46250"/>
                  </a:lnTo>
                  <a:lnTo>
                    <a:pt x="6171" y="52753"/>
                  </a:lnTo>
                  <a:lnTo>
                    <a:pt x="5419" y="56783"/>
                  </a:lnTo>
                  <a:lnTo>
                    <a:pt x="10697" y="57694"/>
                  </a:lnTo>
                  <a:lnTo>
                    <a:pt x="11536" y="58042"/>
                  </a:lnTo>
                  <a:lnTo>
                    <a:pt x="17364" y="62713"/>
                  </a:lnTo>
                  <a:lnTo>
                    <a:pt x="23747" y="66203"/>
                  </a:lnTo>
                  <a:lnTo>
                    <a:pt x="24509" y="66945"/>
                  </a:lnTo>
                  <a:lnTo>
                    <a:pt x="28047" y="73473"/>
                  </a:lnTo>
                  <a:lnTo>
                    <a:pt x="27787" y="75584"/>
                  </a:lnTo>
                  <a:lnTo>
                    <a:pt x="22725" y="81214"/>
                  </a:lnTo>
                  <a:lnTo>
                    <a:pt x="21047" y="86744"/>
                  </a:lnTo>
                  <a:lnTo>
                    <a:pt x="19375" y="92890"/>
                  </a:lnTo>
                  <a:lnTo>
                    <a:pt x="20382" y="98844"/>
                  </a:lnTo>
                  <a:lnTo>
                    <a:pt x="21852" y="99818"/>
                  </a:lnTo>
                  <a:lnTo>
                    <a:pt x="25579" y="94693"/>
                  </a:lnTo>
                  <a:lnTo>
                    <a:pt x="25632" y="94645"/>
                  </a:lnTo>
                  <a:lnTo>
                    <a:pt x="29918" y="89251"/>
                  </a:lnTo>
                  <a:lnTo>
                    <a:pt x="29397" y="83432"/>
                  </a:lnTo>
                  <a:lnTo>
                    <a:pt x="29474" y="82796"/>
                  </a:lnTo>
                  <a:lnTo>
                    <a:pt x="31200" y="76486"/>
                  </a:lnTo>
                  <a:lnTo>
                    <a:pt x="31200" y="70252"/>
                  </a:lnTo>
                  <a:lnTo>
                    <a:pt x="30626" y="63788"/>
                  </a:lnTo>
                  <a:lnTo>
                    <a:pt x="30988" y="62481"/>
                  </a:lnTo>
                  <a:lnTo>
                    <a:pt x="36363" y="55940"/>
                  </a:lnTo>
                  <a:lnTo>
                    <a:pt x="36951" y="55462"/>
                  </a:lnTo>
                  <a:lnTo>
                    <a:pt x="42895" y="52493"/>
                  </a:lnTo>
                  <a:lnTo>
                    <a:pt x="43227" y="52363"/>
                  </a:lnTo>
                  <a:lnTo>
                    <a:pt x="49702" y="50593"/>
                  </a:lnTo>
                  <a:lnTo>
                    <a:pt x="56195" y="48231"/>
                  </a:lnTo>
                  <a:lnTo>
                    <a:pt x="57559" y="48284"/>
                  </a:lnTo>
                  <a:lnTo>
                    <a:pt x="60568" y="49658"/>
                  </a:lnTo>
                  <a:lnTo>
                    <a:pt x="59815" y="46867"/>
                  </a:lnTo>
                  <a:lnTo>
                    <a:pt x="60037" y="45406"/>
                  </a:lnTo>
                  <a:lnTo>
                    <a:pt x="61252" y="44597"/>
                  </a:lnTo>
                  <a:lnTo>
                    <a:pt x="67075" y="43526"/>
                  </a:lnTo>
                  <a:lnTo>
                    <a:pt x="71308" y="37688"/>
                  </a:lnTo>
                  <a:lnTo>
                    <a:pt x="74249" y="31870"/>
                  </a:lnTo>
                  <a:lnTo>
                    <a:pt x="74543" y="31402"/>
                  </a:lnTo>
                  <a:lnTo>
                    <a:pt x="80636" y="25338"/>
                  </a:lnTo>
                  <a:lnTo>
                    <a:pt x="81195" y="19437"/>
                  </a:lnTo>
                  <a:lnTo>
                    <a:pt x="81340" y="18825"/>
                  </a:lnTo>
                  <a:lnTo>
                    <a:pt x="84329" y="12312"/>
                  </a:lnTo>
                  <a:lnTo>
                    <a:pt x="85476" y="11309"/>
                  </a:lnTo>
                  <a:lnTo>
                    <a:pt x="86995" y="11575"/>
                  </a:lnTo>
                  <a:lnTo>
                    <a:pt x="92384" y="15359"/>
                  </a:lnTo>
                  <a:lnTo>
                    <a:pt x="95648" y="15055"/>
                  </a:lnTo>
                  <a:lnTo>
                    <a:pt x="94182" y="12134"/>
                  </a:lnTo>
                  <a:lnTo>
                    <a:pt x="88542" y="1006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4" name="Freihandform: Form 33">
              <a:extLst>
                <a:ext uri="{FF2B5EF4-FFF2-40B4-BE49-F238E27FC236}">
                  <a16:creationId xmlns:a16="http://schemas.microsoft.com/office/drawing/2014/main" id="{F383E008-CEF5-8EEF-C8F2-E80974FBE082}"/>
                </a:ext>
              </a:extLst>
            </p:cNvPr>
            <p:cNvSpPr/>
            <p:nvPr/>
          </p:nvSpPr>
          <p:spPr>
            <a:xfrm>
              <a:off x="6429374" y="2735229"/>
              <a:ext cx="122224" cy="127005"/>
            </a:xfrm>
            <a:custGeom>
              <a:avLst/>
              <a:gdLst>
                <a:gd name="connsiteX0" fmla="*/ 92384 w 95662"/>
                <a:gd name="connsiteY0" fmla="*/ 15354 h 99812"/>
                <a:gd name="connsiteX1" fmla="*/ 86995 w 95662"/>
                <a:gd name="connsiteY1" fmla="*/ 11570 h 99812"/>
                <a:gd name="connsiteX2" fmla="*/ 85476 w 95662"/>
                <a:gd name="connsiteY2" fmla="*/ 11305 h 99812"/>
                <a:gd name="connsiteX3" fmla="*/ 84329 w 95662"/>
                <a:gd name="connsiteY3" fmla="*/ 12307 h 99812"/>
                <a:gd name="connsiteX4" fmla="*/ 81340 w 95662"/>
                <a:gd name="connsiteY4" fmla="*/ 18820 h 99812"/>
                <a:gd name="connsiteX5" fmla="*/ 81195 w 95662"/>
                <a:gd name="connsiteY5" fmla="*/ 19432 h 99812"/>
                <a:gd name="connsiteX6" fmla="*/ 80636 w 95662"/>
                <a:gd name="connsiteY6" fmla="*/ 25333 h 99812"/>
                <a:gd name="connsiteX7" fmla="*/ 74543 w 95662"/>
                <a:gd name="connsiteY7" fmla="*/ 31397 h 99812"/>
                <a:gd name="connsiteX8" fmla="*/ 74249 w 95662"/>
                <a:gd name="connsiteY8" fmla="*/ 31865 h 99812"/>
                <a:gd name="connsiteX9" fmla="*/ 71308 w 95662"/>
                <a:gd name="connsiteY9" fmla="*/ 37684 h 99812"/>
                <a:gd name="connsiteX10" fmla="*/ 67075 w 95662"/>
                <a:gd name="connsiteY10" fmla="*/ 43521 h 99812"/>
                <a:gd name="connsiteX11" fmla="*/ 61252 w 95662"/>
                <a:gd name="connsiteY11" fmla="*/ 44592 h 99812"/>
                <a:gd name="connsiteX12" fmla="*/ 60037 w 95662"/>
                <a:gd name="connsiteY12" fmla="*/ 45402 h 99812"/>
                <a:gd name="connsiteX13" fmla="*/ 59815 w 95662"/>
                <a:gd name="connsiteY13" fmla="*/ 46862 h 99812"/>
                <a:gd name="connsiteX14" fmla="*/ 60568 w 95662"/>
                <a:gd name="connsiteY14" fmla="*/ 49654 h 99812"/>
                <a:gd name="connsiteX15" fmla="*/ 57559 w 95662"/>
                <a:gd name="connsiteY15" fmla="*/ 48279 h 99812"/>
                <a:gd name="connsiteX16" fmla="*/ 56195 w 95662"/>
                <a:gd name="connsiteY16" fmla="*/ 48227 h 99812"/>
                <a:gd name="connsiteX17" fmla="*/ 49701 w 95662"/>
                <a:gd name="connsiteY17" fmla="*/ 50589 h 99812"/>
                <a:gd name="connsiteX18" fmla="*/ 43227 w 95662"/>
                <a:gd name="connsiteY18" fmla="*/ 52358 h 99812"/>
                <a:gd name="connsiteX19" fmla="*/ 42895 w 95662"/>
                <a:gd name="connsiteY19" fmla="*/ 52488 h 99812"/>
                <a:gd name="connsiteX20" fmla="*/ 36951 w 95662"/>
                <a:gd name="connsiteY20" fmla="*/ 55458 h 99812"/>
                <a:gd name="connsiteX21" fmla="*/ 36363 w 95662"/>
                <a:gd name="connsiteY21" fmla="*/ 55935 h 99812"/>
                <a:gd name="connsiteX22" fmla="*/ 30988 w 95662"/>
                <a:gd name="connsiteY22" fmla="*/ 62476 h 99812"/>
                <a:gd name="connsiteX23" fmla="*/ 30626 w 95662"/>
                <a:gd name="connsiteY23" fmla="*/ 63783 h 99812"/>
                <a:gd name="connsiteX24" fmla="*/ 31200 w 95662"/>
                <a:gd name="connsiteY24" fmla="*/ 70247 h 99812"/>
                <a:gd name="connsiteX25" fmla="*/ 31200 w 95662"/>
                <a:gd name="connsiteY25" fmla="*/ 76481 h 99812"/>
                <a:gd name="connsiteX26" fmla="*/ 29474 w 95662"/>
                <a:gd name="connsiteY26" fmla="*/ 82791 h 99812"/>
                <a:gd name="connsiteX27" fmla="*/ 29397 w 95662"/>
                <a:gd name="connsiteY27" fmla="*/ 83427 h 99812"/>
                <a:gd name="connsiteX28" fmla="*/ 29917 w 95662"/>
                <a:gd name="connsiteY28" fmla="*/ 89246 h 99812"/>
                <a:gd name="connsiteX29" fmla="*/ 25632 w 95662"/>
                <a:gd name="connsiteY29" fmla="*/ 94640 h 99812"/>
                <a:gd name="connsiteX30" fmla="*/ 25579 w 95662"/>
                <a:gd name="connsiteY30" fmla="*/ 94689 h 99812"/>
                <a:gd name="connsiteX31" fmla="*/ 21852 w 95662"/>
                <a:gd name="connsiteY31" fmla="*/ 99813 h 99812"/>
                <a:gd name="connsiteX32" fmla="*/ 20382 w 95662"/>
                <a:gd name="connsiteY32" fmla="*/ 98839 h 99812"/>
                <a:gd name="connsiteX33" fmla="*/ 19375 w 95662"/>
                <a:gd name="connsiteY33" fmla="*/ 92885 h 99812"/>
                <a:gd name="connsiteX34" fmla="*/ 21047 w 95662"/>
                <a:gd name="connsiteY34" fmla="*/ 86739 h 99812"/>
                <a:gd name="connsiteX35" fmla="*/ 22725 w 95662"/>
                <a:gd name="connsiteY35" fmla="*/ 81210 h 99812"/>
                <a:gd name="connsiteX36" fmla="*/ 27787 w 95662"/>
                <a:gd name="connsiteY36" fmla="*/ 75579 h 99812"/>
                <a:gd name="connsiteX37" fmla="*/ 28047 w 95662"/>
                <a:gd name="connsiteY37" fmla="*/ 73468 h 99812"/>
                <a:gd name="connsiteX38" fmla="*/ 24509 w 95662"/>
                <a:gd name="connsiteY38" fmla="*/ 66941 h 99812"/>
                <a:gd name="connsiteX39" fmla="*/ 23747 w 95662"/>
                <a:gd name="connsiteY39" fmla="*/ 66198 h 99812"/>
                <a:gd name="connsiteX40" fmla="*/ 17364 w 95662"/>
                <a:gd name="connsiteY40" fmla="*/ 62708 h 99812"/>
                <a:gd name="connsiteX41" fmla="*/ 11536 w 95662"/>
                <a:gd name="connsiteY41" fmla="*/ 58037 h 99812"/>
                <a:gd name="connsiteX42" fmla="*/ 10697 w 95662"/>
                <a:gd name="connsiteY42" fmla="*/ 57690 h 99812"/>
                <a:gd name="connsiteX43" fmla="*/ 5419 w 95662"/>
                <a:gd name="connsiteY43" fmla="*/ 56778 h 99812"/>
                <a:gd name="connsiteX44" fmla="*/ 6171 w 95662"/>
                <a:gd name="connsiteY44" fmla="*/ 52748 h 99812"/>
                <a:gd name="connsiteX45" fmla="*/ 7973 w 95662"/>
                <a:gd name="connsiteY45" fmla="*/ 46245 h 99812"/>
                <a:gd name="connsiteX46" fmla="*/ 8027 w 95662"/>
                <a:gd name="connsiteY46" fmla="*/ 46057 h 99812"/>
                <a:gd name="connsiteX47" fmla="*/ 9203 w 95662"/>
                <a:gd name="connsiteY47" fmla="*/ 38923 h 99812"/>
                <a:gd name="connsiteX48" fmla="*/ 8788 w 95662"/>
                <a:gd name="connsiteY48" fmla="*/ 37409 h 99812"/>
                <a:gd name="connsiteX49" fmla="*/ 3471 w 95662"/>
                <a:gd name="connsiteY49" fmla="*/ 31547 h 99812"/>
                <a:gd name="connsiteX50" fmla="*/ 0 w 95662"/>
                <a:gd name="connsiteY50" fmla="*/ 26745 h 99812"/>
                <a:gd name="connsiteX51" fmla="*/ 3635 w 95662"/>
                <a:gd name="connsiteY51" fmla="*/ 24750 h 99812"/>
                <a:gd name="connsiteX52" fmla="*/ 8952 w 95662"/>
                <a:gd name="connsiteY52" fmla="*/ 29108 h 99812"/>
                <a:gd name="connsiteX53" fmla="*/ 12370 w 95662"/>
                <a:gd name="connsiteY53" fmla="*/ 35331 h 99812"/>
                <a:gd name="connsiteX54" fmla="*/ 14501 w 95662"/>
                <a:gd name="connsiteY54" fmla="*/ 36218 h 99812"/>
                <a:gd name="connsiteX55" fmla="*/ 15783 w 95662"/>
                <a:gd name="connsiteY55" fmla="*/ 34309 h 99812"/>
                <a:gd name="connsiteX56" fmla="*/ 15190 w 95662"/>
                <a:gd name="connsiteY56" fmla="*/ 28201 h 99812"/>
                <a:gd name="connsiteX57" fmla="*/ 17398 w 95662"/>
                <a:gd name="connsiteY57" fmla="*/ 22778 h 99812"/>
                <a:gd name="connsiteX58" fmla="*/ 20093 w 95662"/>
                <a:gd name="connsiteY58" fmla="*/ 18280 h 99812"/>
                <a:gd name="connsiteX59" fmla="*/ 24600 w 95662"/>
                <a:gd name="connsiteY59" fmla="*/ 20069 h 99812"/>
                <a:gd name="connsiteX60" fmla="*/ 26369 w 95662"/>
                <a:gd name="connsiteY60" fmla="*/ 19857 h 99812"/>
                <a:gd name="connsiteX61" fmla="*/ 27102 w 95662"/>
                <a:gd name="connsiteY61" fmla="*/ 18242 h 99812"/>
                <a:gd name="connsiteX62" fmla="*/ 26582 w 95662"/>
                <a:gd name="connsiteY62" fmla="*/ 12915 h 99812"/>
                <a:gd name="connsiteX63" fmla="*/ 31402 w 95662"/>
                <a:gd name="connsiteY63" fmla="*/ 10509 h 99812"/>
                <a:gd name="connsiteX64" fmla="*/ 37920 w 95662"/>
                <a:gd name="connsiteY64" fmla="*/ 7554 h 99812"/>
                <a:gd name="connsiteX65" fmla="*/ 38522 w 95662"/>
                <a:gd name="connsiteY65" fmla="*/ 7106 h 99812"/>
                <a:gd name="connsiteX66" fmla="*/ 42711 w 95662"/>
                <a:gd name="connsiteY66" fmla="*/ 2444 h 99812"/>
                <a:gd name="connsiteX67" fmla="*/ 47932 w 95662"/>
                <a:gd name="connsiteY67" fmla="*/ 6701 h 99812"/>
                <a:gd name="connsiteX68" fmla="*/ 49403 w 95662"/>
                <a:gd name="connsiteY68" fmla="*/ 7087 h 99812"/>
                <a:gd name="connsiteX69" fmla="*/ 55949 w 95662"/>
                <a:gd name="connsiteY69" fmla="*/ 5925 h 99812"/>
                <a:gd name="connsiteX70" fmla="*/ 56836 w 95662"/>
                <a:gd name="connsiteY70" fmla="*/ 5467 h 99812"/>
                <a:gd name="connsiteX71" fmla="*/ 62322 w 95662"/>
                <a:gd name="connsiteY71" fmla="*/ 497 h 99812"/>
                <a:gd name="connsiteX72" fmla="*/ 67856 w 95662"/>
                <a:gd name="connsiteY72" fmla="*/ 0 h 99812"/>
                <a:gd name="connsiteX73" fmla="*/ 74490 w 95662"/>
                <a:gd name="connsiteY73" fmla="*/ 2801 h 99812"/>
                <a:gd name="connsiteX74" fmla="*/ 79855 w 95662"/>
                <a:gd name="connsiteY74" fmla="*/ 5467 h 99812"/>
                <a:gd name="connsiteX75" fmla="*/ 81379 w 95662"/>
                <a:gd name="connsiteY75" fmla="*/ 8509 h 99812"/>
                <a:gd name="connsiteX76" fmla="*/ 82839 w 95662"/>
                <a:gd name="connsiteY76" fmla="*/ 9502 h 99812"/>
                <a:gd name="connsiteX77" fmla="*/ 88547 w 95662"/>
                <a:gd name="connsiteY77" fmla="*/ 10066 h 99812"/>
                <a:gd name="connsiteX78" fmla="*/ 94197 w 95662"/>
                <a:gd name="connsiteY78" fmla="*/ 12124 h 99812"/>
                <a:gd name="connsiteX79" fmla="*/ 95662 w 95662"/>
                <a:gd name="connsiteY79" fmla="*/ 15046 h 99812"/>
                <a:gd name="connsiteX80" fmla="*/ 92384 w 95662"/>
                <a:gd name="connsiteY80" fmla="*/ 15354 h 99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95662" h="99812">
                  <a:moveTo>
                    <a:pt x="92384" y="15354"/>
                  </a:moveTo>
                  <a:lnTo>
                    <a:pt x="86995" y="11570"/>
                  </a:lnTo>
                  <a:lnTo>
                    <a:pt x="85476" y="11305"/>
                  </a:lnTo>
                  <a:lnTo>
                    <a:pt x="84329" y="12307"/>
                  </a:lnTo>
                  <a:lnTo>
                    <a:pt x="81340" y="18820"/>
                  </a:lnTo>
                  <a:lnTo>
                    <a:pt x="81195" y="19432"/>
                  </a:lnTo>
                  <a:lnTo>
                    <a:pt x="80636" y="25333"/>
                  </a:lnTo>
                  <a:lnTo>
                    <a:pt x="74543" y="31397"/>
                  </a:lnTo>
                  <a:lnTo>
                    <a:pt x="74249" y="31865"/>
                  </a:lnTo>
                  <a:lnTo>
                    <a:pt x="71308" y="37684"/>
                  </a:lnTo>
                  <a:lnTo>
                    <a:pt x="67075" y="43521"/>
                  </a:lnTo>
                  <a:lnTo>
                    <a:pt x="61252" y="44592"/>
                  </a:lnTo>
                  <a:lnTo>
                    <a:pt x="60037" y="45402"/>
                  </a:lnTo>
                  <a:lnTo>
                    <a:pt x="59815" y="46862"/>
                  </a:lnTo>
                  <a:lnTo>
                    <a:pt x="60568" y="49654"/>
                  </a:lnTo>
                  <a:lnTo>
                    <a:pt x="57559" y="48279"/>
                  </a:lnTo>
                  <a:lnTo>
                    <a:pt x="56195" y="48227"/>
                  </a:lnTo>
                  <a:lnTo>
                    <a:pt x="49701" y="50589"/>
                  </a:lnTo>
                  <a:lnTo>
                    <a:pt x="43227" y="52358"/>
                  </a:lnTo>
                  <a:lnTo>
                    <a:pt x="42895" y="52488"/>
                  </a:lnTo>
                  <a:lnTo>
                    <a:pt x="36951" y="55458"/>
                  </a:lnTo>
                  <a:lnTo>
                    <a:pt x="36363" y="55935"/>
                  </a:lnTo>
                  <a:lnTo>
                    <a:pt x="30988" y="62476"/>
                  </a:lnTo>
                  <a:lnTo>
                    <a:pt x="30626" y="63783"/>
                  </a:lnTo>
                  <a:lnTo>
                    <a:pt x="31200" y="70247"/>
                  </a:lnTo>
                  <a:lnTo>
                    <a:pt x="31200" y="76481"/>
                  </a:lnTo>
                  <a:lnTo>
                    <a:pt x="29474" y="82791"/>
                  </a:lnTo>
                  <a:lnTo>
                    <a:pt x="29397" y="83427"/>
                  </a:lnTo>
                  <a:lnTo>
                    <a:pt x="29917" y="89246"/>
                  </a:lnTo>
                  <a:lnTo>
                    <a:pt x="25632" y="94640"/>
                  </a:lnTo>
                  <a:lnTo>
                    <a:pt x="25579" y="94689"/>
                  </a:lnTo>
                  <a:lnTo>
                    <a:pt x="21852" y="99813"/>
                  </a:lnTo>
                  <a:lnTo>
                    <a:pt x="20382" y="98839"/>
                  </a:lnTo>
                  <a:lnTo>
                    <a:pt x="19375" y="92885"/>
                  </a:lnTo>
                  <a:lnTo>
                    <a:pt x="21047" y="86739"/>
                  </a:lnTo>
                  <a:lnTo>
                    <a:pt x="22725" y="81210"/>
                  </a:lnTo>
                  <a:lnTo>
                    <a:pt x="27787" y="75579"/>
                  </a:lnTo>
                  <a:lnTo>
                    <a:pt x="28047" y="73468"/>
                  </a:lnTo>
                  <a:lnTo>
                    <a:pt x="24509" y="66941"/>
                  </a:lnTo>
                  <a:lnTo>
                    <a:pt x="23747" y="66198"/>
                  </a:lnTo>
                  <a:lnTo>
                    <a:pt x="17364" y="62708"/>
                  </a:lnTo>
                  <a:lnTo>
                    <a:pt x="11536" y="58037"/>
                  </a:lnTo>
                  <a:lnTo>
                    <a:pt x="10697" y="57690"/>
                  </a:lnTo>
                  <a:lnTo>
                    <a:pt x="5419" y="56778"/>
                  </a:lnTo>
                  <a:lnTo>
                    <a:pt x="6171" y="52748"/>
                  </a:lnTo>
                  <a:lnTo>
                    <a:pt x="7973" y="46245"/>
                  </a:lnTo>
                  <a:lnTo>
                    <a:pt x="8027" y="46057"/>
                  </a:lnTo>
                  <a:lnTo>
                    <a:pt x="9203" y="38923"/>
                  </a:lnTo>
                  <a:lnTo>
                    <a:pt x="8788" y="37409"/>
                  </a:lnTo>
                  <a:lnTo>
                    <a:pt x="3471" y="31547"/>
                  </a:lnTo>
                  <a:lnTo>
                    <a:pt x="0" y="26745"/>
                  </a:lnTo>
                  <a:lnTo>
                    <a:pt x="3635" y="24750"/>
                  </a:lnTo>
                  <a:lnTo>
                    <a:pt x="8952" y="29108"/>
                  </a:lnTo>
                  <a:lnTo>
                    <a:pt x="12370" y="35331"/>
                  </a:lnTo>
                  <a:cubicBezTo>
                    <a:pt x="12780" y="36078"/>
                    <a:pt x="13672" y="36464"/>
                    <a:pt x="14501" y="36218"/>
                  </a:cubicBezTo>
                  <a:cubicBezTo>
                    <a:pt x="15306" y="35938"/>
                    <a:pt x="15841" y="35153"/>
                    <a:pt x="15783" y="34309"/>
                  </a:cubicBezTo>
                  <a:lnTo>
                    <a:pt x="15190" y="28201"/>
                  </a:lnTo>
                  <a:lnTo>
                    <a:pt x="17398" y="22778"/>
                  </a:lnTo>
                  <a:lnTo>
                    <a:pt x="20093" y="18280"/>
                  </a:lnTo>
                  <a:lnTo>
                    <a:pt x="24600" y="20069"/>
                  </a:lnTo>
                  <a:lnTo>
                    <a:pt x="26369" y="19857"/>
                  </a:lnTo>
                  <a:lnTo>
                    <a:pt x="27102" y="18242"/>
                  </a:lnTo>
                  <a:lnTo>
                    <a:pt x="26582" y="12915"/>
                  </a:lnTo>
                  <a:lnTo>
                    <a:pt x="31402" y="10509"/>
                  </a:lnTo>
                  <a:lnTo>
                    <a:pt x="37920" y="7554"/>
                  </a:lnTo>
                  <a:lnTo>
                    <a:pt x="38522" y="7106"/>
                  </a:lnTo>
                  <a:lnTo>
                    <a:pt x="42711" y="2444"/>
                  </a:lnTo>
                  <a:lnTo>
                    <a:pt x="47932" y="6701"/>
                  </a:lnTo>
                  <a:lnTo>
                    <a:pt x="49403" y="7087"/>
                  </a:lnTo>
                  <a:lnTo>
                    <a:pt x="55949" y="5925"/>
                  </a:lnTo>
                  <a:lnTo>
                    <a:pt x="56836" y="5467"/>
                  </a:lnTo>
                  <a:lnTo>
                    <a:pt x="62322" y="497"/>
                  </a:lnTo>
                  <a:lnTo>
                    <a:pt x="67856" y="0"/>
                  </a:lnTo>
                  <a:lnTo>
                    <a:pt x="74490" y="2801"/>
                  </a:lnTo>
                  <a:lnTo>
                    <a:pt x="79855" y="5467"/>
                  </a:lnTo>
                  <a:lnTo>
                    <a:pt x="81379" y="8509"/>
                  </a:lnTo>
                  <a:lnTo>
                    <a:pt x="82839" y="9502"/>
                  </a:lnTo>
                  <a:lnTo>
                    <a:pt x="88547" y="10066"/>
                  </a:lnTo>
                  <a:lnTo>
                    <a:pt x="94197" y="12124"/>
                  </a:lnTo>
                  <a:lnTo>
                    <a:pt x="95662" y="15046"/>
                  </a:lnTo>
                  <a:lnTo>
                    <a:pt x="92384" y="1535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5" name="Freihandform: Form 34">
              <a:extLst>
                <a:ext uri="{FF2B5EF4-FFF2-40B4-BE49-F238E27FC236}">
                  <a16:creationId xmlns:a16="http://schemas.microsoft.com/office/drawing/2014/main" id="{537C77B3-FE75-618A-6BA3-24368A00B728}"/>
                </a:ext>
              </a:extLst>
            </p:cNvPr>
            <p:cNvSpPr/>
            <p:nvPr/>
          </p:nvSpPr>
          <p:spPr>
            <a:xfrm>
              <a:off x="6248419" y="2530433"/>
              <a:ext cx="15873" cy="6350"/>
            </a:xfrm>
            <a:custGeom>
              <a:avLst/>
              <a:gdLst>
                <a:gd name="connsiteX0" fmla="*/ 11853 w 11928"/>
                <a:gd name="connsiteY0" fmla="*/ 1781 h 4784"/>
                <a:gd name="connsiteX1" fmla="*/ 11925 w 11928"/>
                <a:gd name="connsiteY1" fmla="*/ 1430 h 4784"/>
                <a:gd name="connsiteX2" fmla="*/ 11708 w 11928"/>
                <a:gd name="connsiteY2" fmla="*/ 1097 h 4784"/>
                <a:gd name="connsiteX3" fmla="*/ 11626 w 11928"/>
                <a:gd name="connsiteY3" fmla="*/ 764 h 4784"/>
                <a:gd name="connsiteX4" fmla="*/ 11346 w 11928"/>
                <a:gd name="connsiteY4" fmla="*/ 576 h 4784"/>
                <a:gd name="connsiteX5" fmla="*/ 10773 w 11928"/>
                <a:gd name="connsiteY5" fmla="*/ 186 h 4784"/>
                <a:gd name="connsiteX6" fmla="*/ 10137 w 11928"/>
                <a:gd name="connsiteY6" fmla="*/ 65 h 4784"/>
                <a:gd name="connsiteX7" fmla="*/ 9785 w 11928"/>
                <a:gd name="connsiteY7" fmla="*/ 7 h 4784"/>
                <a:gd name="connsiteX8" fmla="*/ 6994 w 11928"/>
                <a:gd name="connsiteY8" fmla="*/ 562 h 4784"/>
                <a:gd name="connsiteX9" fmla="*/ 6574 w 11928"/>
                <a:gd name="connsiteY9" fmla="*/ 562 h 4784"/>
                <a:gd name="connsiteX10" fmla="*/ 6347 w 11928"/>
                <a:gd name="connsiteY10" fmla="*/ 562 h 4784"/>
                <a:gd name="connsiteX11" fmla="*/ 1570 w 11928"/>
                <a:gd name="connsiteY11" fmla="*/ 1150 h 4784"/>
                <a:gd name="connsiteX12" fmla="*/ 8 w 11928"/>
                <a:gd name="connsiteY12" fmla="*/ 3088 h 4784"/>
                <a:gd name="connsiteX13" fmla="*/ 1801 w 11928"/>
                <a:gd name="connsiteY13" fmla="*/ 4785 h 4784"/>
                <a:gd name="connsiteX14" fmla="*/ 8363 w 11928"/>
                <a:gd name="connsiteY14" fmla="*/ 4785 h 4784"/>
                <a:gd name="connsiteX15" fmla="*/ 9365 w 11928"/>
                <a:gd name="connsiteY15" fmla="*/ 4462 h 4784"/>
                <a:gd name="connsiteX16" fmla="*/ 11149 w 11928"/>
                <a:gd name="connsiteY16" fmla="*/ 3290 h 4784"/>
                <a:gd name="connsiteX17" fmla="*/ 11346 w 11928"/>
                <a:gd name="connsiteY17" fmla="*/ 2982 h 4784"/>
                <a:gd name="connsiteX18" fmla="*/ 11708 w 11928"/>
                <a:gd name="connsiteY18" fmla="*/ 2403 h 4784"/>
                <a:gd name="connsiteX19" fmla="*/ 11853 w 11928"/>
                <a:gd name="connsiteY19" fmla="*/ 1781 h 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28" h="4784">
                  <a:moveTo>
                    <a:pt x="11853" y="1781"/>
                  </a:moveTo>
                  <a:cubicBezTo>
                    <a:pt x="11853" y="1666"/>
                    <a:pt x="11949" y="1569"/>
                    <a:pt x="11925" y="1430"/>
                  </a:cubicBezTo>
                  <a:cubicBezTo>
                    <a:pt x="11886" y="1285"/>
                    <a:pt x="11766" y="1246"/>
                    <a:pt x="11708" y="1097"/>
                  </a:cubicBezTo>
                  <a:cubicBezTo>
                    <a:pt x="11674" y="981"/>
                    <a:pt x="11708" y="890"/>
                    <a:pt x="11626" y="764"/>
                  </a:cubicBezTo>
                  <a:cubicBezTo>
                    <a:pt x="11568" y="658"/>
                    <a:pt x="11433" y="658"/>
                    <a:pt x="11346" y="576"/>
                  </a:cubicBezTo>
                  <a:cubicBezTo>
                    <a:pt x="11192" y="383"/>
                    <a:pt x="11019" y="273"/>
                    <a:pt x="10773" y="186"/>
                  </a:cubicBezTo>
                  <a:cubicBezTo>
                    <a:pt x="10566" y="80"/>
                    <a:pt x="10373" y="65"/>
                    <a:pt x="10137" y="65"/>
                  </a:cubicBezTo>
                  <a:cubicBezTo>
                    <a:pt x="10001" y="65"/>
                    <a:pt x="9915" y="-26"/>
                    <a:pt x="9785" y="7"/>
                  </a:cubicBezTo>
                  <a:lnTo>
                    <a:pt x="6994" y="562"/>
                  </a:lnTo>
                  <a:lnTo>
                    <a:pt x="6574" y="562"/>
                  </a:lnTo>
                  <a:lnTo>
                    <a:pt x="6347" y="562"/>
                  </a:lnTo>
                  <a:lnTo>
                    <a:pt x="1570" y="1150"/>
                  </a:lnTo>
                  <a:cubicBezTo>
                    <a:pt x="606" y="1285"/>
                    <a:pt x="-83" y="2138"/>
                    <a:pt x="8" y="3088"/>
                  </a:cubicBezTo>
                  <a:cubicBezTo>
                    <a:pt x="52" y="4023"/>
                    <a:pt x="847" y="4785"/>
                    <a:pt x="1801" y="4785"/>
                  </a:cubicBezTo>
                  <a:lnTo>
                    <a:pt x="8363" y="4785"/>
                  </a:lnTo>
                  <a:lnTo>
                    <a:pt x="9365" y="4462"/>
                  </a:lnTo>
                  <a:lnTo>
                    <a:pt x="11149" y="3290"/>
                  </a:lnTo>
                  <a:cubicBezTo>
                    <a:pt x="11231" y="3237"/>
                    <a:pt x="11265" y="3088"/>
                    <a:pt x="11346" y="2982"/>
                  </a:cubicBezTo>
                  <a:cubicBezTo>
                    <a:pt x="11501" y="2837"/>
                    <a:pt x="11602" y="2664"/>
                    <a:pt x="11708" y="2403"/>
                  </a:cubicBezTo>
                  <a:cubicBezTo>
                    <a:pt x="11800" y="2220"/>
                    <a:pt x="11853" y="2027"/>
                    <a:pt x="11853" y="178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6" name="Freihandform: Form 35">
              <a:extLst>
                <a:ext uri="{FF2B5EF4-FFF2-40B4-BE49-F238E27FC236}">
                  <a16:creationId xmlns:a16="http://schemas.microsoft.com/office/drawing/2014/main" id="{01CEC41E-84E3-03E3-686D-7CA8DF4790AE}"/>
                </a:ext>
              </a:extLst>
            </p:cNvPr>
            <p:cNvSpPr/>
            <p:nvPr/>
          </p:nvSpPr>
          <p:spPr>
            <a:xfrm>
              <a:off x="5200788" y="5499171"/>
              <a:ext cx="133335" cy="287349"/>
            </a:xfrm>
            <a:custGeom>
              <a:avLst/>
              <a:gdLst>
                <a:gd name="connsiteX0" fmla="*/ 104181 w 104209"/>
                <a:gd name="connsiteY0" fmla="*/ 99630 h 224919"/>
                <a:gd name="connsiteX1" fmla="*/ 102971 w 104209"/>
                <a:gd name="connsiteY1" fmla="*/ 93628 h 224919"/>
                <a:gd name="connsiteX2" fmla="*/ 102937 w 104209"/>
                <a:gd name="connsiteY2" fmla="*/ 93507 h 224919"/>
                <a:gd name="connsiteX3" fmla="*/ 101288 w 104209"/>
                <a:gd name="connsiteY3" fmla="*/ 87877 h 224919"/>
                <a:gd name="connsiteX4" fmla="*/ 101814 w 104209"/>
                <a:gd name="connsiteY4" fmla="*/ 82299 h 224919"/>
                <a:gd name="connsiteX5" fmla="*/ 101833 w 104209"/>
                <a:gd name="connsiteY5" fmla="*/ 82121 h 224919"/>
                <a:gd name="connsiteX6" fmla="*/ 101833 w 104209"/>
                <a:gd name="connsiteY6" fmla="*/ 76143 h 224919"/>
                <a:gd name="connsiteX7" fmla="*/ 101809 w 104209"/>
                <a:gd name="connsiteY7" fmla="*/ 75806 h 224919"/>
                <a:gd name="connsiteX8" fmla="*/ 100666 w 104209"/>
                <a:gd name="connsiteY8" fmla="*/ 69505 h 224919"/>
                <a:gd name="connsiteX9" fmla="*/ 101221 w 104209"/>
                <a:gd name="connsiteY9" fmla="*/ 63826 h 224919"/>
                <a:gd name="connsiteX10" fmla="*/ 101086 w 104209"/>
                <a:gd name="connsiteY10" fmla="*/ 62920 h 224919"/>
                <a:gd name="connsiteX11" fmla="*/ 98102 w 104209"/>
                <a:gd name="connsiteY11" fmla="*/ 56378 h 224919"/>
                <a:gd name="connsiteX12" fmla="*/ 97943 w 104209"/>
                <a:gd name="connsiteY12" fmla="*/ 56074 h 224919"/>
                <a:gd name="connsiteX13" fmla="*/ 93768 w 104209"/>
                <a:gd name="connsiteY13" fmla="*/ 50116 h 224919"/>
                <a:gd name="connsiteX14" fmla="*/ 92481 w 104209"/>
                <a:gd name="connsiteY14" fmla="*/ 49422 h 224919"/>
                <a:gd name="connsiteX15" fmla="*/ 92905 w 104209"/>
                <a:gd name="connsiteY15" fmla="*/ 44852 h 224919"/>
                <a:gd name="connsiteX16" fmla="*/ 94052 w 104209"/>
                <a:gd name="connsiteY16" fmla="*/ 39048 h 224919"/>
                <a:gd name="connsiteX17" fmla="*/ 95258 w 104209"/>
                <a:gd name="connsiteY17" fmla="*/ 33094 h 224919"/>
                <a:gd name="connsiteX18" fmla="*/ 95272 w 104209"/>
                <a:gd name="connsiteY18" fmla="*/ 33017 h 224919"/>
                <a:gd name="connsiteX19" fmla="*/ 96448 w 104209"/>
                <a:gd name="connsiteY19" fmla="*/ 26485 h 224919"/>
                <a:gd name="connsiteX20" fmla="*/ 96463 w 104209"/>
                <a:gd name="connsiteY20" fmla="*/ 25974 h 224919"/>
                <a:gd name="connsiteX21" fmla="*/ 95879 w 104209"/>
                <a:gd name="connsiteY21" fmla="*/ 20035 h 224919"/>
                <a:gd name="connsiteX22" fmla="*/ 95860 w 104209"/>
                <a:gd name="connsiteY22" fmla="*/ 19861 h 224919"/>
                <a:gd name="connsiteX23" fmla="*/ 94669 w 104209"/>
                <a:gd name="connsiteY23" fmla="*/ 13907 h 224919"/>
                <a:gd name="connsiteX24" fmla="*/ 93474 w 104209"/>
                <a:gd name="connsiteY24" fmla="*/ 7949 h 224919"/>
                <a:gd name="connsiteX25" fmla="*/ 93151 w 104209"/>
                <a:gd name="connsiteY25" fmla="*/ 7236 h 224919"/>
                <a:gd name="connsiteX26" fmla="*/ 88407 w 104209"/>
                <a:gd name="connsiteY26" fmla="*/ 689 h 224919"/>
                <a:gd name="connsiteX27" fmla="*/ 86604 w 104209"/>
                <a:gd name="connsiteY27" fmla="*/ 0 h 224919"/>
                <a:gd name="connsiteX28" fmla="*/ 80072 w 104209"/>
                <a:gd name="connsiteY28" fmla="*/ 1215 h 224919"/>
                <a:gd name="connsiteX29" fmla="*/ 78573 w 104209"/>
                <a:gd name="connsiteY29" fmla="*/ 3148 h 224919"/>
                <a:gd name="connsiteX30" fmla="*/ 79113 w 104209"/>
                <a:gd name="connsiteY30" fmla="*/ 9420 h 224919"/>
                <a:gd name="connsiteX31" fmla="*/ 78004 w 104209"/>
                <a:gd name="connsiteY31" fmla="*/ 15122 h 224919"/>
                <a:gd name="connsiteX32" fmla="*/ 77970 w 104209"/>
                <a:gd name="connsiteY32" fmla="*/ 15286 h 224919"/>
                <a:gd name="connsiteX33" fmla="*/ 77397 w 104209"/>
                <a:gd name="connsiteY33" fmla="*/ 21206 h 224919"/>
                <a:gd name="connsiteX34" fmla="*/ 77397 w 104209"/>
                <a:gd name="connsiteY34" fmla="*/ 21413 h 224919"/>
                <a:gd name="connsiteX35" fmla="*/ 77397 w 104209"/>
                <a:gd name="connsiteY35" fmla="*/ 27970 h 224919"/>
                <a:gd name="connsiteX36" fmla="*/ 77397 w 104209"/>
                <a:gd name="connsiteY36" fmla="*/ 28153 h 224919"/>
                <a:gd name="connsiteX37" fmla="*/ 77951 w 104209"/>
                <a:gd name="connsiteY37" fmla="*/ 33923 h 224919"/>
                <a:gd name="connsiteX38" fmla="*/ 77421 w 104209"/>
                <a:gd name="connsiteY38" fmla="*/ 39240 h 224919"/>
                <a:gd name="connsiteX39" fmla="*/ 74934 w 104209"/>
                <a:gd name="connsiteY39" fmla="*/ 43155 h 224919"/>
                <a:gd name="connsiteX40" fmla="*/ 72340 w 104209"/>
                <a:gd name="connsiteY40" fmla="*/ 39448 h 224919"/>
                <a:gd name="connsiteX41" fmla="*/ 71197 w 104209"/>
                <a:gd name="connsiteY41" fmla="*/ 38691 h 224919"/>
                <a:gd name="connsiteX42" fmla="*/ 65263 w 104209"/>
                <a:gd name="connsiteY42" fmla="*/ 37510 h 224919"/>
                <a:gd name="connsiteX43" fmla="*/ 65080 w 104209"/>
                <a:gd name="connsiteY43" fmla="*/ 37447 h 224919"/>
                <a:gd name="connsiteX44" fmla="*/ 58519 w 104209"/>
                <a:gd name="connsiteY44" fmla="*/ 36869 h 224919"/>
                <a:gd name="connsiteX45" fmla="*/ 57077 w 104209"/>
                <a:gd name="connsiteY45" fmla="*/ 37389 h 224919"/>
                <a:gd name="connsiteX46" fmla="*/ 51129 w 104209"/>
                <a:gd name="connsiteY46" fmla="*/ 43348 h 224919"/>
                <a:gd name="connsiteX47" fmla="*/ 51042 w 104209"/>
                <a:gd name="connsiteY47" fmla="*/ 43420 h 224919"/>
                <a:gd name="connsiteX48" fmla="*/ 46110 w 104209"/>
                <a:gd name="connsiteY48" fmla="*/ 48935 h 224919"/>
                <a:gd name="connsiteX49" fmla="*/ 40774 w 104209"/>
                <a:gd name="connsiteY49" fmla="*/ 49937 h 224919"/>
                <a:gd name="connsiteX50" fmla="*/ 40774 w 104209"/>
                <a:gd name="connsiteY50" fmla="*/ 49937 h 224919"/>
                <a:gd name="connsiteX51" fmla="*/ 34218 w 104209"/>
                <a:gd name="connsiteY51" fmla="*/ 51162 h 224919"/>
                <a:gd name="connsiteX52" fmla="*/ 33880 w 104209"/>
                <a:gd name="connsiteY52" fmla="*/ 51259 h 224919"/>
                <a:gd name="connsiteX53" fmla="*/ 27927 w 104209"/>
                <a:gd name="connsiteY53" fmla="*/ 53630 h 224919"/>
                <a:gd name="connsiteX54" fmla="*/ 27020 w 104209"/>
                <a:gd name="connsiteY54" fmla="*/ 54474 h 224919"/>
                <a:gd name="connsiteX55" fmla="*/ 23959 w 104209"/>
                <a:gd name="connsiteY55" fmla="*/ 60066 h 224919"/>
                <a:gd name="connsiteX56" fmla="*/ 18483 w 104209"/>
                <a:gd name="connsiteY56" fmla="*/ 60095 h 224919"/>
                <a:gd name="connsiteX57" fmla="*/ 17090 w 104209"/>
                <a:gd name="connsiteY57" fmla="*/ 60746 h 224919"/>
                <a:gd name="connsiteX58" fmla="*/ 11700 w 104209"/>
                <a:gd name="connsiteY58" fmla="*/ 67273 h 224919"/>
                <a:gd name="connsiteX59" fmla="*/ 11329 w 104209"/>
                <a:gd name="connsiteY59" fmla="*/ 68574 h 224919"/>
                <a:gd name="connsiteX60" fmla="*/ 11888 w 104209"/>
                <a:gd name="connsiteY60" fmla="*/ 74870 h 224919"/>
                <a:gd name="connsiteX61" fmla="*/ 10905 w 104209"/>
                <a:gd name="connsiteY61" fmla="*/ 79720 h 224919"/>
                <a:gd name="connsiteX62" fmla="*/ 5101 w 104209"/>
                <a:gd name="connsiteY62" fmla="*/ 82911 h 224919"/>
                <a:gd name="connsiteX63" fmla="*/ 4985 w 104209"/>
                <a:gd name="connsiteY63" fmla="*/ 83061 h 224919"/>
                <a:gd name="connsiteX64" fmla="*/ 4807 w 104209"/>
                <a:gd name="connsiteY64" fmla="*/ 83133 h 224919"/>
                <a:gd name="connsiteX65" fmla="*/ 622 w 104209"/>
                <a:gd name="connsiteY65" fmla="*/ 86695 h 224919"/>
                <a:gd name="connsiteX66" fmla="*/ 352 w 104209"/>
                <a:gd name="connsiteY66" fmla="*/ 89130 h 224919"/>
                <a:gd name="connsiteX67" fmla="*/ 5105 w 104209"/>
                <a:gd name="connsiteY67" fmla="*/ 95662 h 224919"/>
                <a:gd name="connsiteX68" fmla="*/ 5910 w 104209"/>
                <a:gd name="connsiteY68" fmla="*/ 96342 h 224919"/>
                <a:gd name="connsiteX69" fmla="*/ 10027 w 104209"/>
                <a:gd name="connsiteY69" fmla="*/ 97957 h 224919"/>
                <a:gd name="connsiteX70" fmla="*/ 8128 w 104209"/>
                <a:gd name="connsiteY70" fmla="*/ 101741 h 224919"/>
                <a:gd name="connsiteX71" fmla="*/ 2565 w 104209"/>
                <a:gd name="connsiteY71" fmla="*/ 105631 h 224919"/>
                <a:gd name="connsiteX72" fmla="*/ 1813 w 104209"/>
                <a:gd name="connsiteY72" fmla="*/ 106947 h 224919"/>
                <a:gd name="connsiteX73" fmla="*/ 1201 w 104209"/>
                <a:gd name="connsiteY73" fmla="*/ 112915 h 224919"/>
                <a:gd name="connsiteX74" fmla="*/ 1389 w 104209"/>
                <a:gd name="connsiteY74" fmla="*/ 113889 h 224919"/>
                <a:gd name="connsiteX75" fmla="*/ 4363 w 104209"/>
                <a:gd name="connsiteY75" fmla="*/ 119828 h 224919"/>
                <a:gd name="connsiteX76" fmla="*/ 4941 w 104209"/>
                <a:gd name="connsiteY76" fmla="*/ 120484 h 224919"/>
                <a:gd name="connsiteX77" fmla="*/ 10900 w 104209"/>
                <a:gd name="connsiteY77" fmla="*/ 124654 h 224919"/>
                <a:gd name="connsiteX78" fmla="*/ 15759 w 104209"/>
                <a:gd name="connsiteY78" fmla="*/ 128072 h 224919"/>
                <a:gd name="connsiteX79" fmla="*/ 14414 w 104209"/>
                <a:gd name="connsiteY79" fmla="*/ 132564 h 224919"/>
                <a:gd name="connsiteX80" fmla="*/ 11127 w 104209"/>
                <a:gd name="connsiteY80" fmla="*/ 138084 h 224919"/>
                <a:gd name="connsiteX81" fmla="*/ 5347 w 104209"/>
                <a:gd name="connsiteY81" fmla="*/ 143252 h 224919"/>
                <a:gd name="connsiteX82" fmla="*/ 4744 w 104209"/>
                <a:gd name="connsiteY82" fmla="*/ 144674 h 224919"/>
                <a:gd name="connsiteX83" fmla="*/ 5428 w 104209"/>
                <a:gd name="connsiteY83" fmla="*/ 146024 h 224919"/>
                <a:gd name="connsiteX84" fmla="*/ 11401 w 104209"/>
                <a:gd name="connsiteY84" fmla="*/ 150772 h 224919"/>
                <a:gd name="connsiteX85" fmla="*/ 12867 w 104209"/>
                <a:gd name="connsiteY85" fmla="*/ 151139 h 224919"/>
                <a:gd name="connsiteX86" fmla="*/ 19148 w 104209"/>
                <a:gd name="connsiteY86" fmla="*/ 150015 h 224919"/>
                <a:gd name="connsiteX87" fmla="*/ 22836 w 104209"/>
                <a:gd name="connsiteY87" fmla="*/ 150377 h 224919"/>
                <a:gd name="connsiteX88" fmla="*/ 22065 w 104209"/>
                <a:gd name="connsiteY88" fmla="*/ 154354 h 224919"/>
                <a:gd name="connsiteX89" fmla="*/ 22026 w 104209"/>
                <a:gd name="connsiteY89" fmla="*/ 154735 h 224919"/>
                <a:gd name="connsiteX90" fmla="*/ 22026 w 104209"/>
                <a:gd name="connsiteY90" fmla="*/ 159739 h 224919"/>
                <a:gd name="connsiteX91" fmla="*/ 16208 w 104209"/>
                <a:gd name="connsiteY91" fmla="*/ 163962 h 224919"/>
                <a:gd name="connsiteX92" fmla="*/ 15812 w 104209"/>
                <a:gd name="connsiteY92" fmla="*/ 164362 h 224919"/>
                <a:gd name="connsiteX93" fmla="*/ 11064 w 104209"/>
                <a:gd name="connsiteY93" fmla="*/ 170889 h 224919"/>
                <a:gd name="connsiteX94" fmla="*/ 10847 w 104209"/>
                <a:gd name="connsiteY94" fmla="*/ 172649 h 224919"/>
                <a:gd name="connsiteX95" fmla="*/ 12182 w 104209"/>
                <a:gd name="connsiteY95" fmla="*/ 173772 h 224919"/>
                <a:gd name="connsiteX96" fmla="*/ 18507 w 104209"/>
                <a:gd name="connsiteY96" fmla="*/ 174900 h 224919"/>
                <a:gd name="connsiteX97" fmla="*/ 24224 w 104209"/>
                <a:gd name="connsiteY97" fmla="*/ 177783 h 224919"/>
                <a:gd name="connsiteX98" fmla="*/ 24494 w 104209"/>
                <a:gd name="connsiteY98" fmla="*/ 177879 h 224919"/>
                <a:gd name="connsiteX99" fmla="*/ 30390 w 104209"/>
                <a:gd name="connsiteY99" fmla="*/ 179639 h 224919"/>
                <a:gd name="connsiteX100" fmla="*/ 33842 w 104209"/>
                <a:gd name="connsiteY100" fmla="*/ 180931 h 224919"/>
                <a:gd name="connsiteX101" fmla="*/ 30737 w 104209"/>
                <a:gd name="connsiteY101" fmla="*/ 183433 h 224919"/>
                <a:gd name="connsiteX102" fmla="*/ 24543 w 104209"/>
                <a:gd name="connsiteY102" fmla="*/ 185082 h 224919"/>
                <a:gd name="connsiteX103" fmla="*/ 23212 w 104209"/>
                <a:gd name="connsiteY103" fmla="*/ 186658 h 224919"/>
                <a:gd name="connsiteX104" fmla="*/ 22619 w 104209"/>
                <a:gd name="connsiteY104" fmla="*/ 192635 h 224919"/>
                <a:gd name="connsiteX105" fmla="*/ 22798 w 104209"/>
                <a:gd name="connsiteY105" fmla="*/ 193624 h 224919"/>
                <a:gd name="connsiteX106" fmla="*/ 25781 w 104209"/>
                <a:gd name="connsiteY106" fmla="*/ 199567 h 224919"/>
                <a:gd name="connsiteX107" fmla="*/ 26273 w 104209"/>
                <a:gd name="connsiteY107" fmla="*/ 200170 h 224919"/>
                <a:gd name="connsiteX108" fmla="*/ 45537 w 104209"/>
                <a:gd name="connsiteY108" fmla="*/ 209508 h 224919"/>
                <a:gd name="connsiteX109" fmla="*/ 45537 w 104209"/>
                <a:gd name="connsiteY109" fmla="*/ 209508 h 224919"/>
                <a:gd name="connsiteX110" fmla="*/ 51008 w 104209"/>
                <a:gd name="connsiteY110" fmla="*/ 210578 h 224919"/>
                <a:gd name="connsiteX111" fmla="*/ 55680 w 104209"/>
                <a:gd name="connsiteY111" fmla="*/ 214285 h 224919"/>
                <a:gd name="connsiteX112" fmla="*/ 54243 w 104209"/>
                <a:gd name="connsiteY112" fmla="*/ 219053 h 224919"/>
                <a:gd name="connsiteX113" fmla="*/ 54426 w 104209"/>
                <a:gd name="connsiteY113" fmla="*/ 220518 h 224919"/>
                <a:gd name="connsiteX114" fmla="*/ 55612 w 104209"/>
                <a:gd name="connsiteY114" fmla="*/ 221367 h 224919"/>
                <a:gd name="connsiteX115" fmla="*/ 60717 w 104209"/>
                <a:gd name="connsiteY115" fmla="*/ 222398 h 224919"/>
                <a:gd name="connsiteX116" fmla="*/ 61513 w 104209"/>
                <a:gd name="connsiteY116" fmla="*/ 223989 h 224919"/>
                <a:gd name="connsiteX117" fmla="*/ 62645 w 104209"/>
                <a:gd name="connsiteY117" fmla="*/ 224920 h 224919"/>
                <a:gd name="connsiteX118" fmla="*/ 64077 w 104209"/>
                <a:gd name="connsiteY118" fmla="*/ 224688 h 224919"/>
                <a:gd name="connsiteX119" fmla="*/ 70648 w 104209"/>
                <a:gd name="connsiteY119" fmla="*/ 220518 h 224919"/>
                <a:gd name="connsiteX120" fmla="*/ 71385 w 104209"/>
                <a:gd name="connsiteY120" fmla="*/ 218354 h 224919"/>
                <a:gd name="connsiteX121" fmla="*/ 69443 w 104209"/>
                <a:gd name="connsiteY121" fmla="*/ 213037 h 224919"/>
                <a:gd name="connsiteX122" fmla="*/ 75001 w 104209"/>
                <a:gd name="connsiteY122" fmla="*/ 208481 h 224919"/>
                <a:gd name="connsiteX123" fmla="*/ 75661 w 104209"/>
                <a:gd name="connsiteY123" fmla="*/ 207257 h 224919"/>
                <a:gd name="connsiteX124" fmla="*/ 76172 w 104209"/>
                <a:gd name="connsiteY124" fmla="*/ 201423 h 224919"/>
                <a:gd name="connsiteX125" fmla="*/ 82174 w 104209"/>
                <a:gd name="connsiteY125" fmla="*/ 195909 h 224919"/>
                <a:gd name="connsiteX126" fmla="*/ 82502 w 104209"/>
                <a:gd name="connsiteY126" fmla="*/ 193595 h 224919"/>
                <a:gd name="connsiteX127" fmla="*/ 79552 w 104209"/>
                <a:gd name="connsiteY127" fmla="*/ 188977 h 224919"/>
                <a:gd name="connsiteX128" fmla="*/ 83987 w 104209"/>
                <a:gd name="connsiteY128" fmla="*/ 187342 h 224919"/>
                <a:gd name="connsiteX129" fmla="*/ 85178 w 104209"/>
                <a:gd name="connsiteY129" fmla="*/ 185843 h 224919"/>
                <a:gd name="connsiteX130" fmla="*/ 85746 w 104209"/>
                <a:gd name="connsiteY130" fmla="*/ 179455 h 224919"/>
                <a:gd name="connsiteX131" fmla="*/ 87467 w 104209"/>
                <a:gd name="connsiteY131" fmla="*/ 173729 h 224919"/>
                <a:gd name="connsiteX132" fmla="*/ 87540 w 104209"/>
                <a:gd name="connsiteY132" fmla="*/ 173006 h 224919"/>
                <a:gd name="connsiteX133" fmla="*/ 86966 w 104209"/>
                <a:gd name="connsiteY133" fmla="*/ 166734 h 224919"/>
                <a:gd name="connsiteX134" fmla="*/ 88108 w 104209"/>
                <a:gd name="connsiteY134" fmla="*/ 161007 h 224919"/>
                <a:gd name="connsiteX135" fmla="*/ 88128 w 104209"/>
                <a:gd name="connsiteY135" fmla="*/ 160520 h 224919"/>
                <a:gd name="connsiteX136" fmla="*/ 87588 w 104209"/>
                <a:gd name="connsiteY136" fmla="*/ 154306 h 224919"/>
                <a:gd name="connsiteX137" fmla="*/ 89256 w 104209"/>
                <a:gd name="connsiteY137" fmla="*/ 148704 h 224919"/>
                <a:gd name="connsiteX138" fmla="*/ 89328 w 104209"/>
                <a:gd name="connsiteY138" fmla="*/ 148328 h 224919"/>
                <a:gd name="connsiteX139" fmla="*/ 89892 w 104209"/>
                <a:gd name="connsiteY139" fmla="*/ 142259 h 224919"/>
                <a:gd name="connsiteX140" fmla="*/ 93763 w 104209"/>
                <a:gd name="connsiteY140" fmla="*/ 136725 h 224919"/>
                <a:gd name="connsiteX141" fmla="*/ 93806 w 104209"/>
                <a:gd name="connsiteY141" fmla="*/ 136643 h 224919"/>
                <a:gd name="connsiteX142" fmla="*/ 97938 w 104209"/>
                <a:gd name="connsiteY142" fmla="*/ 130188 h 224919"/>
                <a:gd name="connsiteX143" fmla="*/ 102643 w 104209"/>
                <a:gd name="connsiteY143" fmla="*/ 124292 h 224919"/>
                <a:gd name="connsiteX144" fmla="*/ 102971 w 104209"/>
                <a:gd name="connsiteY144" fmla="*/ 123463 h 224919"/>
                <a:gd name="connsiteX145" fmla="*/ 103578 w 104209"/>
                <a:gd name="connsiteY145" fmla="*/ 119896 h 224919"/>
                <a:gd name="connsiteX146" fmla="*/ 103607 w 104209"/>
                <a:gd name="connsiteY146" fmla="*/ 119592 h 224919"/>
                <a:gd name="connsiteX147" fmla="*/ 103607 w 104209"/>
                <a:gd name="connsiteY147" fmla="*/ 106576 h 224919"/>
                <a:gd name="connsiteX148" fmla="*/ 104210 w 104209"/>
                <a:gd name="connsiteY148" fmla="*/ 100107 h 224919"/>
                <a:gd name="connsiteX149" fmla="*/ 104181 w 104209"/>
                <a:gd name="connsiteY149" fmla="*/ 99630 h 224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104209" h="224919">
                  <a:moveTo>
                    <a:pt x="104181" y="99630"/>
                  </a:moveTo>
                  <a:lnTo>
                    <a:pt x="102971" y="93628"/>
                  </a:lnTo>
                  <a:lnTo>
                    <a:pt x="102937" y="93507"/>
                  </a:lnTo>
                  <a:lnTo>
                    <a:pt x="101288" y="87877"/>
                  </a:lnTo>
                  <a:lnTo>
                    <a:pt x="101814" y="82299"/>
                  </a:lnTo>
                  <a:lnTo>
                    <a:pt x="101833" y="82121"/>
                  </a:lnTo>
                  <a:lnTo>
                    <a:pt x="101833" y="76143"/>
                  </a:lnTo>
                  <a:lnTo>
                    <a:pt x="101809" y="75806"/>
                  </a:lnTo>
                  <a:lnTo>
                    <a:pt x="100666" y="69505"/>
                  </a:lnTo>
                  <a:lnTo>
                    <a:pt x="101221" y="63826"/>
                  </a:lnTo>
                  <a:lnTo>
                    <a:pt x="101086" y="62920"/>
                  </a:lnTo>
                  <a:lnTo>
                    <a:pt x="98102" y="56378"/>
                  </a:lnTo>
                  <a:lnTo>
                    <a:pt x="97943" y="56074"/>
                  </a:lnTo>
                  <a:lnTo>
                    <a:pt x="93768" y="50116"/>
                  </a:lnTo>
                  <a:cubicBezTo>
                    <a:pt x="93479" y="49668"/>
                    <a:pt x="92996" y="49489"/>
                    <a:pt x="92481" y="49422"/>
                  </a:cubicBezTo>
                  <a:lnTo>
                    <a:pt x="92905" y="44852"/>
                  </a:lnTo>
                  <a:lnTo>
                    <a:pt x="94052" y="39048"/>
                  </a:lnTo>
                  <a:lnTo>
                    <a:pt x="95258" y="33094"/>
                  </a:lnTo>
                  <a:lnTo>
                    <a:pt x="95272" y="33017"/>
                  </a:lnTo>
                  <a:lnTo>
                    <a:pt x="96448" y="26485"/>
                  </a:lnTo>
                  <a:lnTo>
                    <a:pt x="96463" y="25974"/>
                  </a:lnTo>
                  <a:lnTo>
                    <a:pt x="95879" y="20035"/>
                  </a:lnTo>
                  <a:lnTo>
                    <a:pt x="95860" y="19861"/>
                  </a:lnTo>
                  <a:lnTo>
                    <a:pt x="94669" y="13907"/>
                  </a:lnTo>
                  <a:lnTo>
                    <a:pt x="93474" y="7949"/>
                  </a:lnTo>
                  <a:lnTo>
                    <a:pt x="93151" y="7236"/>
                  </a:lnTo>
                  <a:lnTo>
                    <a:pt x="88407" y="689"/>
                  </a:lnTo>
                  <a:lnTo>
                    <a:pt x="86604" y="0"/>
                  </a:lnTo>
                  <a:lnTo>
                    <a:pt x="80072" y="1215"/>
                  </a:lnTo>
                  <a:cubicBezTo>
                    <a:pt x="79098" y="1326"/>
                    <a:pt x="78496" y="2222"/>
                    <a:pt x="78573" y="3148"/>
                  </a:cubicBezTo>
                  <a:lnTo>
                    <a:pt x="79113" y="9420"/>
                  </a:lnTo>
                  <a:lnTo>
                    <a:pt x="78004" y="15122"/>
                  </a:lnTo>
                  <a:lnTo>
                    <a:pt x="77970" y="15286"/>
                  </a:lnTo>
                  <a:lnTo>
                    <a:pt x="77397" y="21206"/>
                  </a:lnTo>
                  <a:lnTo>
                    <a:pt x="77397" y="21413"/>
                  </a:lnTo>
                  <a:lnTo>
                    <a:pt x="77397" y="27970"/>
                  </a:lnTo>
                  <a:lnTo>
                    <a:pt x="77397" y="28153"/>
                  </a:lnTo>
                  <a:lnTo>
                    <a:pt x="77951" y="33923"/>
                  </a:lnTo>
                  <a:lnTo>
                    <a:pt x="77421" y="39240"/>
                  </a:lnTo>
                  <a:lnTo>
                    <a:pt x="74934" y="43155"/>
                  </a:lnTo>
                  <a:lnTo>
                    <a:pt x="72340" y="39448"/>
                  </a:lnTo>
                  <a:lnTo>
                    <a:pt x="71197" y="38691"/>
                  </a:lnTo>
                  <a:lnTo>
                    <a:pt x="65263" y="37510"/>
                  </a:lnTo>
                  <a:lnTo>
                    <a:pt x="65080" y="37447"/>
                  </a:lnTo>
                  <a:lnTo>
                    <a:pt x="58519" y="36869"/>
                  </a:lnTo>
                  <a:lnTo>
                    <a:pt x="57077" y="37389"/>
                  </a:lnTo>
                  <a:lnTo>
                    <a:pt x="51129" y="43348"/>
                  </a:lnTo>
                  <a:lnTo>
                    <a:pt x="51042" y="43420"/>
                  </a:lnTo>
                  <a:lnTo>
                    <a:pt x="46110" y="48935"/>
                  </a:lnTo>
                  <a:lnTo>
                    <a:pt x="40774" y="49937"/>
                  </a:lnTo>
                  <a:lnTo>
                    <a:pt x="40774" y="49937"/>
                  </a:lnTo>
                  <a:lnTo>
                    <a:pt x="34218" y="51162"/>
                  </a:lnTo>
                  <a:lnTo>
                    <a:pt x="33880" y="51259"/>
                  </a:lnTo>
                  <a:lnTo>
                    <a:pt x="27927" y="53630"/>
                  </a:lnTo>
                  <a:lnTo>
                    <a:pt x="27020" y="54474"/>
                  </a:lnTo>
                  <a:lnTo>
                    <a:pt x="23959" y="60066"/>
                  </a:lnTo>
                  <a:lnTo>
                    <a:pt x="18483" y="60095"/>
                  </a:lnTo>
                  <a:lnTo>
                    <a:pt x="17090" y="60746"/>
                  </a:lnTo>
                  <a:lnTo>
                    <a:pt x="11700" y="67273"/>
                  </a:lnTo>
                  <a:lnTo>
                    <a:pt x="11329" y="68574"/>
                  </a:lnTo>
                  <a:lnTo>
                    <a:pt x="11888" y="74870"/>
                  </a:lnTo>
                  <a:lnTo>
                    <a:pt x="10905" y="79720"/>
                  </a:lnTo>
                  <a:lnTo>
                    <a:pt x="5101" y="82911"/>
                  </a:lnTo>
                  <a:cubicBezTo>
                    <a:pt x="5038" y="82945"/>
                    <a:pt x="5038" y="82998"/>
                    <a:pt x="4985" y="83061"/>
                  </a:cubicBezTo>
                  <a:cubicBezTo>
                    <a:pt x="4932" y="83090"/>
                    <a:pt x="4860" y="83090"/>
                    <a:pt x="4807" y="83133"/>
                  </a:cubicBezTo>
                  <a:lnTo>
                    <a:pt x="622" y="86695"/>
                  </a:lnTo>
                  <a:cubicBezTo>
                    <a:pt x="-82" y="87327"/>
                    <a:pt x="-212" y="88388"/>
                    <a:pt x="352" y="89130"/>
                  </a:cubicBezTo>
                  <a:lnTo>
                    <a:pt x="5105" y="95662"/>
                  </a:lnTo>
                  <a:lnTo>
                    <a:pt x="5910" y="96342"/>
                  </a:lnTo>
                  <a:lnTo>
                    <a:pt x="10027" y="97957"/>
                  </a:lnTo>
                  <a:lnTo>
                    <a:pt x="8128" y="101741"/>
                  </a:lnTo>
                  <a:lnTo>
                    <a:pt x="2565" y="105631"/>
                  </a:lnTo>
                  <a:lnTo>
                    <a:pt x="1813" y="106947"/>
                  </a:lnTo>
                  <a:lnTo>
                    <a:pt x="1201" y="112915"/>
                  </a:lnTo>
                  <a:lnTo>
                    <a:pt x="1389" y="113889"/>
                  </a:lnTo>
                  <a:lnTo>
                    <a:pt x="4363" y="119828"/>
                  </a:lnTo>
                  <a:lnTo>
                    <a:pt x="4941" y="120484"/>
                  </a:lnTo>
                  <a:lnTo>
                    <a:pt x="10900" y="124654"/>
                  </a:lnTo>
                  <a:lnTo>
                    <a:pt x="15759" y="128072"/>
                  </a:lnTo>
                  <a:lnTo>
                    <a:pt x="14414" y="132564"/>
                  </a:lnTo>
                  <a:lnTo>
                    <a:pt x="11127" y="138084"/>
                  </a:lnTo>
                  <a:lnTo>
                    <a:pt x="5347" y="143252"/>
                  </a:lnTo>
                  <a:lnTo>
                    <a:pt x="4744" y="144674"/>
                  </a:lnTo>
                  <a:lnTo>
                    <a:pt x="5428" y="146024"/>
                  </a:lnTo>
                  <a:lnTo>
                    <a:pt x="11401" y="150772"/>
                  </a:lnTo>
                  <a:lnTo>
                    <a:pt x="12867" y="151139"/>
                  </a:lnTo>
                  <a:lnTo>
                    <a:pt x="19148" y="150015"/>
                  </a:lnTo>
                  <a:lnTo>
                    <a:pt x="22836" y="150377"/>
                  </a:lnTo>
                  <a:lnTo>
                    <a:pt x="22065" y="154354"/>
                  </a:lnTo>
                  <a:lnTo>
                    <a:pt x="22026" y="154735"/>
                  </a:lnTo>
                  <a:lnTo>
                    <a:pt x="22026" y="159739"/>
                  </a:lnTo>
                  <a:lnTo>
                    <a:pt x="16208" y="163962"/>
                  </a:lnTo>
                  <a:lnTo>
                    <a:pt x="15812" y="164362"/>
                  </a:lnTo>
                  <a:lnTo>
                    <a:pt x="11064" y="170889"/>
                  </a:lnTo>
                  <a:lnTo>
                    <a:pt x="10847" y="172649"/>
                  </a:lnTo>
                  <a:lnTo>
                    <a:pt x="12182" y="173772"/>
                  </a:lnTo>
                  <a:lnTo>
                    <a:pt x="18507" y="174900"/>
                  </a:lnTo>
                  <a:lnTo>
                    <a:pt x="24224" y="177783"/>
                  </a:lnTo>
                  <a:lnTo>
                    <a:pt x="24494" y="177879"/>
                  </a:lnTo>
                  <a:lnTo>
                    <a:pt x="30390" y="179639"/>
                  </a:lnTo>
                  <a:lnTo>
                    <a:pt x="33842" y="180931"/>
                  </a:lnTo>
                  <a:lnTo>
                    <a:pt x="30737" y="183433"/>
                  </a:lnTo>
                  <a:lnTo>
                    <a:pt x="24543" y="185082"/>
                  </a:lnTo>
                  <a:cubicBezTo>
                    <a:pt x="23800" y="185284"/>
                    <a:pt x="23299" y="185901"/>
                    <a:pt x="23212" y="186658"/>
                  </a:cubicBezTo>
                  <a:lnTo>
                    <a:pt x="22619" y="192635"/>
                  </a:lnTo>
                  <a:lnTo>
                    <a:pt x="22798" y="193624"/>
                  </a:lnTo>
                  <a:lnTo>
                    <a:pt x="25781" y="199567"/>
                  </a:lnTo>
                  <a:lnTo>
                    <a:pt x="26273" y="200170"/>
                  </a:lnTo>
                  <a:cubicBezTo>
                    <a:pt x="31499" y="205107"/>
                    <a:pt x="38113" y="209262"/>
                    <a:pt x="45537" y="209508"/>
                  </a:cubicBezTo>
                  <a:lnTo>
                    <a:pt x="45537" y="209508"/>
                  </a:lnTo>
                  <a:lnTo>
                    <a:pt x="51008" y="210578"/>
                  </a:lnTo>
                  <a:lnTo>
                    <a:pt x="55680" y="214285"/>
                  </a:lnTo>
                  <a:lnTo>
                    <a:pt x="54243" y="219053"/>
                  </a:lnTo>
                  <a:lnTo>
                    <a:pt x="54426" y="220518"/>
                  </a:lnTo>
                  <a:lnTo>
                    <a:pt x="55612" y="221367"/>
                  </a:lnTo>
                  <a:lnTo>
                    <a:pt x="60717" y="222398"/>
                  </a:lnTo>
                  <a:lnTo>
                    <a:pt x="61513" y="223989"/>
                  </a:lnTo>
                  <a:lnTo>
                    <a:pt x="62645" y="224920"/>
                  </a:lnTo>
                  <a:lnTo>
                    <a:pt x="64077" y="224688"/>
                  </a:lnTo>
                  <a:lnTo>
                    <a:pt x="70648" y="220518"/>
                  </a:lnTo>
                  <a:cubicBezTo>
                    <a:pt x="71371" y="220055"/>
                    <a:pt x="71665" y="219164"/>
                    <a:pt x="71385" y="218354"/>
                  </a:cubicBezTo>
                  <a:lnTo>
                    <a:pt x="69443" y="213037"/>
                  </a:lnTo>
                  <a:lnTo>
                    <a:pt x="75001" y="208481"/>
                  </a:lnTo>
                  <a:lnTo>
                    <a:pt x="75661" y="207257"/>
                  </a:lnTo>
                  <a:lnTo>
                    <a:pt x="76172" y="201423"/>
                  </a:lnTo>
                  <a:lnTo>
                    <a:pt x="82174" y="195909"/>
                  </a:lnTo>
                  <a:cubicBezTo>
                    <a:pt x="82830" y="195311"/>
                    <a:pt x="82979" y="194356"/>
                    <a:pt x="82502" y="193595"/>
                  </a:cubicBezTo>
                  <a:lnTo>
                    <a:pt x="79552" y="188977"/>
                  </a:lnTo>
                  <a:lnTo>
                    <a:pt x="83987" y="187342"/>
                  </a:lnTo>
                  <a:lnTo>
                    <a:pt x="85178" y="185843"/>
                  </a:lnTo>
                  <a:lnTo>
                    <a:pt x="85746" y="179455"/>
                  </a:lnTo>
                  <a:lnTo>
                    <a:pt x="87467" y="173729"/>
                  </a:lnTo>
                  <a:lnTo>
                    <a:pt x="87540" y="173006"/>
                  </a:lnTo>
                  <a:lnTo>
                    <a:pt x="86966" y="166734"/>
                  </a:lnTo>
                  <a:lnTo>
                    <a:pt x="88108" y="161007"/>
                  </a:lnTo>
                  <a:lnTo>
                    <a:pt x="88128" y="160520"/>
                  </a:lnTo>
                  <a:lnTo>
                    <a:pt x="87588" y="154306"/>
                  </a:lnTo>
                  <a:lnTo>
                    <a:pt x="89256" y="148704"/>
                  </a:lnTo>
                  <a:lnTo>
                    <a:pt x="89328" y="148328"/>
                  </a:lnTo>
                  <a:lnTo>
                    <a:pt x="89892" y="142259"/>
                  </a:lnTo>
                  <a:lnTo>
                    <a:pt x="93763" y="136725"/>
                  </a:lnTo>
                  <a:lnTo>
                    <a:pt x="93806" y="136643"/>
                  </a:lnTo>
                  <a:lnTo>
                    <a:pt x="97938" y="130188"/>
                  </a:lnTo>
                  <a:lnTo>
                    <a:pt x="102643" y="124292"/>
                  </a:lnTo>
                  <a:lnTo>
                    <a:pt x="102971" y="123463"/>
                  </a:lnTo>
                  <a:lnTo>
                    <a:pt x="103578" y="119896"/>
                  </a:lnTo>
                  <a:lnTo>
                    <a:pt x="103607" y="119592"/>
                  </a:lnTo>
                  <a:lnTo>
                    <a:pt x="103607" y="106576"/>
                  </a:lnTo>
                  <a:lnTo>
                    <a:pt x="104210" y="100107"/>
                  </a:lnTo>
                  <a:lnTo>
                    <a:pt x="104181" y="9963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7" name="Freihandform: Form 36">
              <a:extLst>
                <a:ext uri="{FF2B5EF4-FFF2-40B4-BE49-F238E27FC236}">
                  <a16:creationId xmlns:a16="http://schemas.microsoft.com/office/drawing/2014/main" id="{188C15D3-ABA8-3128-B338-88E5A1C6955F}"/>
                </a:ext>
              </a:extLst>
            </p:cNvPr>
            <p:cNvSpPr/>
            <p:nvPr/>
          </p:nvSpPr>
          <p:spPr>
            <a:xfrm>
              <a:off x="4567447" y="5978614"/>
              <a:ext cx="71429" cy="50802"/>
            </a:xfrm>
            <a:custGeom>
              <a:avLst/>
              <a:gdLst>
                <a:gd name="connsiteX0" fmla="*/ 54029 w 55798"/>
                <a:gd name="connsiteY0" fmla="*/ 24494 h 39327"/>
                <a:gd name="connsiteX1" fmla="*/ 52255 w 55798"/>
                <a:gd name="connsiteY1" fmla="*/ 17981 h 39327"/>
                <a:gd name="connsiteX2" fmla="*/ 51855 w 55798"/>
                <a:gd name="connsiteY2" fmla="*/ 17263 h 39327"/>
                <a:gd name="connsiteX3" fmla="*/ 46682 w 55798"/>
                <a:gd name="connsiteY3" fmla="*/ 11492 h 39327"/>
                <a:gd name="connsiteX4" fmla="*/ 45598 w 55798"/>
                <a:gd name="connsiteY4" fmla="*/ 9367 h 39327"/>
                <a:gd name="connsiteX5" fmla="*/ 43260 w 55798"/>
                <a:gd name="connsiteY5" fmla="*/ 3475 h 39327"/>
                <a:gd name="connsiteX6" fmla="*/ 41592 w 55798"/>
                <a:gd name="connsiteY6" fmla="*/ 2347 h 39327"/>
                <a:gd name="connsiteX7" fmla="*/ 35725 w 55798"/>
                <a:gd name="connsiteY7" fmla="*/ 2347 h 39327"/>
                <a:gd name="connsiteX8" fmla="*/ 29251 w 55798"/>
                <a:gd name="connsiteY8" fmla="*/ 1769 h 39327"/>
                <a:gd name="connsiteX9" fmla="*/ 29275 w 55798"/>
                <a:gd name="connsiteY9" fmla="*/ 1769 h 39327"/>
                <a:gd name="connsiteX10" fmla="*/ 23408 w 55798"/>
                <a:gd name="connsiteY10" fmla="*/ 1234 h 39327"/>
                <a:gd name="connsiteX11" fmla="*/ 17531 w 55798"/>
                <a:gd name="connsiteY11" fmla="*/ 43 h 39327"/>
                <a:gd name="connsiteX12" fmla="*/ 17006 w 55798"/>
                <a:gd name="connsiteY12" fmla="*/ 0 h 39327"/>
                <a:gd name="connsiteX13" fmla="*/ 10459 w 55798"/>
                <a:gd name="connsiteY13" fmla="*/ 612 h 39327"/>
                <a:gd name="connsiteX14" fmla="*/ 10459 w 55798"/>
                <a:gd name="connsiteY14" fmla="*/ 612 h 39327"/>
                <a:gd name="connsiteX15" fmla="*/ 4496 w 55798"/>
                <a:gd name="connsiteY15" fmla="*/ 1190 h 39327"/>
                <a:gd name="connsiteX16" fmla="*/ 3050 w 55798"/>
                <a:gd name="connsiteY16" fmla="*/ 2179 h 39327"/>
                <a:gd name="connsiteX17" fmla="*/ 95 w 55798"/>
                <a:gd name="connsiteY17" fmla="*/ 8161 h 39327"/>
                <a:gd name="connsiteX18" fmla="*/ 66 w 55798"/>
                <a:gd name="connsiteY18" fmla="*/ 8422 h 39327"/>
                <a:gd name="connsiteX19" fmla="*/ 18 w 55798"/>
                <a:gd name="connsiteY19" fmla="*/ 9106 h 39327"/>
                <a:gd name="connsiteX20" fmla="*/ 177 w 55798"/>
                <a:gd name="connsiteY20" fmla="*/ 9771 h 39327"/>
                <a:gd name="connsiteX21" fmla="*/ 244 w 55798"/>
                <a:gd name="connsiteY21" fmla="*/ 10027 h 39327"/>
                <a:gd name="connsiteX22" fmla="*/ 3710 w 55798"/>
                <a:gd name="connsiteY22" fmla="*/ 14660 h 39327"/>
                <a:gd name="connsiteX23" fmla="*/ 6593 w 55798"/>
                <a:gd name="connsiteY23" fmla="*/ 21008 h 39327"/>
                <a:gd name="connsiteX24" fmla="*/ 8406 w 55798"/>
                <a:gd name="connsiteY24" fmla="*/ 22079 h 39327"/>
                <a:gd name="connsiteX25" fmla="*/ 14229 w 55798"/>
                <a:gd name="connsiteY25" fmla="*/ 21467 h 39327"/>
                <a:gd name="connsiteX26" fmla="*/ 19657 w 55798"/>
                <a:gd name="connsiteY26" fmla="*/ 22040 h 39327"/>
                <a:gd name="connsiteX27" fmla="*/ 25640 w 55798"/>
                <a:gd name="connsiteY27" fmla="*/ 24754 h 39327"/>
                <a:gd name="connsiteX28" fmla="*/ 31367 w 55798"/>
                <a:gd name="connsiteY28" fmla="*/ 30471 h 39327"/>
                <a:gd name="connsiteX29" fmla="*/ 31589 w 55798"/>
                <a:gd name="connsiteY29" fmla="*/ 30669 h 39327"/>
                <a:gd name="connsiteX30" fmla="*/ 38121 w 55798"/>
                <a:gd name="connsiteY30" fmla="*/ 35413 h 39327"/>
                <a:gd name="connsiteX31" fmla="*/ 38328 w 55798"/>
                <a:gd name="connsiteY31" fmla="*/ 35533 h 39327"/>
                <a:gd name="connsiteX32" fmla="*/ 44865 w 55798"/>
                <a:gd name="connsiteY32" fmla="*/ 39115 h 39327"/>
                <a:gd name="connsiteX33" fmla="*/ 45723 w 55798"/>
                <a:gd name="connsiteY33" fmla="*/ 39327 h 39327"/>
                <a:gd name="connsiteX34" fmla="*/ 51701 w 55798"/>
                <a:gd name="connsiteY34" fmla="*/ 39327 h 39327"/>
                <a:gd name="connsiteX35" fmla="*/ 53393 w 55798"/>
                <a:gd name="connsiteY35" fmla="*/ 38127 h 39327"/>
                <a:gd name="connsiteX36" fmla="*/ 55779 w 55798"/>
                <a:gd name="connsiteY36" fmla="*/ 31590 h 39327"/>
                <a:gd name="connsiteX37" fmla="*/ 55798 w 55798"/>
                <a:gd name="connsiteY37" fmla="*/ 30447 h 39327"/>
                <a:gd name="connsiteX38" fmla="*/ 54029 w 55798"/>
                <a:gd name="connsiteY38" fmla="*/ 24494 h 3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798" h="39327">
                  <a:moveTo>
                    <a:pt x="54029" y="24494"/>
                  </a:moveTo>
                  <a:lnTo>
                    <a:pt x="52255" y="17981"/>
                  </a:lnTo>
                  <a:lnTo>
                    <a:pt x="51855" y="17263"/>
                  </a:lnTo>
                  <a:lnTo>
                    <a:pt x="46682" y="11492"/>
                  </a:lnTo>
                  <a:lnTo>
                    <a:pt x="45598" y="9367"/>
                  </a:lnTo>
                  <a:lnTo>
                    <a:pt x="43260" y="3475"/>
                  </a:lnTo>
                  <a:lnTo>
                    <a:pt x="41592" y="2347"/>
                  </a:lnTo>
                  <a:lnTo>
                    <a:pt x="35725" y="2347"/>
                  </a:lnTo>
                  <a:lnTo>
                    <a:pt x="29251" y="1769"/>
                  </a:lnTo>
                  <a:lnTo>
                    <a:pt x="29275" y="1769"/>
                  </a:lnTo>
                  <a:lnTo>
                    <a:pt x="23408" y="1234"/>
                  </a:lnTo>
                  <a:lnTo>
                    <a:pt x="17531" y="43"/>
                  </a:lnTo>
                  <a:lnTo>
                    <a:pt x="17006" y="0"/>
                  </a:lnTo>
                  <a:lnTo>
                    <a:pt x="10459" y="612"/>
                  </a:lnTo>
                  <a:lnTo>
                    <a:pt x="10459" y="612"/>
                  </a:lnTo>
                  <a:lnTo>
                    <a:pt x="4496" y="1190"/>
                  </a:lnTo>
                  <a:lnTo>
                    <a:pt x="3050" y="2179"/>
                  </a:lnTo>
                  <a:lnTo>
                    <a:pt x="95" y="8161"/>
                  </a:lnTo>
                  <a:cubicBezTo>
                    <a:pt x="37" y="8234"/>
                    <a:pt x="95" y="8344"/>
                    <a:pt x="66" y="8422"/>
                  </a:cubicBezTo>
                  <a:cubicBezTo>
                    <a:pt x="-11" y="8668"/>
                    <a:pt x="-11" y="8879"/>
                    <a:pt x="18" y="9106"/>
                  </a:cubicBezTo>
                  <a:cubicBezTo>
                    <a:pt x="37" y="9352"/>
                    <a:pt x="66" y="9554"/>
                    <a:pt x="177" y="9771"/>
                  </a:cubicBezTo>
                  <a:cubicBezTo>
                    <a:pt x="225" y="9853"/>
                    <a:pt x="177" y="9945"/>
                    <a:pt x="244" y="10027"/>
                  </a:cubicBezTo>
                  <a:lnTo>
                    <a:pt x="3710" y="14660"/>
                  </a:lnTo>
                  <a:lnTo>
                    <a:pt x="6593" y="21008"/>
                  </a:lnTo>
                  <a:cubicBezTo>
                    <a:pt x="6902" y="21727"/>
                    <a:pt x="7663" y="22151"/>
                    <a:pt x="8406" y="22079"/>
                  </a:cubicBezTo>
                  <a:lnTo>
                    <a:pt x="14229" y="21467"/>
                  </a:lnTo>
                  <a:lnTo>
                    <a:pt x="19657" y="22040"/>
                  </a:lnTo>
                  <a:lnTo>
                    <a:pt x="25640" y="24754"/>
                  </a:lnTo>
                  <a:lnTo>
                    <a:pt x="31367" y="30471"/>
                  </a:lnTo>
                  <a:lnTo>
                    <a:pt x="31589" y="30669"/>
                  </a:lnTo>
                  <a:lnTo>
                    <a:pt x="38121" y="35413"/>
                  </a:lnTo>
                  <a:lnTo>
                    <a:pt x="38328" y="35533"/>
                  </a:lnTo>
                  <a:lnTo>
                    <a:pt x="44865" y="39115"/>
                  </a:lnTo>
                  <a:lnTo>
                    <a:pt x="45723" y="39327"/>
                  </a:lnTo>
                  <a:lnTo>
                    <a:pt x="51701" y="39327"/>
                  </a:lnTo>
                  <a:cubicBezTo>
                    <a:pt x="52467" y="39327"/>
                    <a:pt x="53108" y="38830"/>
                    <a:pt x="53393" y="38127"/>
                  </a:cubicBezTo>
                  <a:lnTo>
                    <a:pt x="55779" y="31590"/>
                  </a:lnTo>
                  <a:lnTo>
                    <a:pt x="55798" y="30447"/>
                  </a:lnTo>
                  <a:lnTo>
                    <a:pt x="54029" y="2449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8" name="Freihandform: Form 37">
              <a:extLst>
                <a:ext uri="{FF2B5EF4-FFF2-40B4-BE49-F238E27FC236}">
                  <a16:creationId xmlns:a16="http://schemas.microsoft.com/office/drawing/2014/main" id="{51E36723-97C6-D746-627E-8CF1F7D75FEE}"/>
                </a:ext>
              </a:extLst>
            </p:cNvPr>
            <p:cNvSpPr/>
            <p:nvPr/>
          </p:nvSpPr>
          <p:spPr>
            <a:xfrm>
              <a:off x="5262694" y="6151659"/>
              <a:ext cx="0" cy="1587"/>
            </a:xfrm>
            <a:custGeom>
              <a:avLst/>
              <a:gdLst>
                <a:gd name="connsiteX0" fmla="*/ 574 w 573"/>
                <a:gd name="connsiteY0" fmla="*/ 520 h 520"/>
                <a:gd name="connsiteX1" fmla="*/ 0 w 573"/>
                <a:gd name="connsiteY1" fmla="*/ 0 h 520"/>
                <a:gd name="connsiteX2" fmla="*/ 241 w 573"/>
                <a:gd name="connsiteY2" fmla="*/ 520 h 520"/>
              </a:gdLst>
              <a:ahLst/>
              <a:cxnLst>
                <a:cxn ang="0">
                  <a:pos x="connsiteX0" y="connsiteY0"/>
                </a:cxn>
                <a:cxn ang="0">
                  <a:pos x="connsiteX1" y="connsiteY1"/>
                </a:cxn>
                <a:cxn ang="0">
                  <a:pos x="connsiteX2" y="connsiteY2"/>
                </a:cxn>
              </a:cxnLst>
              <a:rect l="l" t="t" r="r" b="b"/>
              <a:pathLst>
                <a:path w="573" h="520">
                  <a:moveTo>
                    <a:pt x="574" y="520"/>
                  </a:moveTo>
                  <a:lnTo>
                    <a:pt x="0" y="0"/>
                  </a:lnTo>
                  <a:lnTo>
                    <a:pt x="241" y="52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9" name="Freihandform: Form 38">
              <a:extLst>
                <a:ext uri="{FF2B5EF4-FFF2-40B4-BE49-F238E27FC236}">
                  <a16:creationId xmlns:a16="http://schemas.microsoft.com/office/drawing/2014/main" id="{3ECC1945-2FA3-9354-36D6-C2E9483B174A}"/>
                </a:ext>
              </a:extLst>
            </p:cNvPr>
            <p:cNvSpPr/>
            <p:nvPr/>
          </p:nvSpPr>
          <p:spPr>
            <a:xfrm>
              <a:off x="5143644" y="5800807"/>
              <a:ext cx="223813" cy="417529"/>
            </a:xfrm>
            <a:custGeom>
              <a:avLst/>
              <a:gdLst>
                <a:gd name="connsiteX0" fmla="*/ 95879 w 176052"/>
                <a:gd name="connsiteY0" fmla="*/ 279789 h 326781"/>
                <a:gd name="connsiteX1" fmla="*/ 91082 w 176052"/>
                <a:gd name="connsiteY1" fmla="*/ 274838 h 326781"/>
                <a:gd name="connsiteX2" fmla="*/ 91463 w 176052"/>
                <a:gd name="connsiteY2" fmla="*/ 271623 h 326781"/>
                <a:gd name="connsiteX3" fmla="*/ 97668 w 176052"/>
                <a:gd name="connsiteY3" fmla="*/ 276275 h 326781"/>
                <a:gd name="connsiteX4" fmla="*/ 101201 w 176052"/>
                <a:gd name="connsiteY4" fmla="*/ 280941 h 326781"/>
                <a:gd name="connsiteX5" fmla="*/ 107767 w 176052"/>
                <a:gd name="connsiteY5" fmla="*/ 280334 h 326781"/>
                <a:gd name="connsiteX6" fmla="*/ 108123 w 176052"/>
                <a:gd name="connsiteY6" fmla="*/ 280252 h 326781"/>
                <a:gd name="connsiteX7" fmla="*/ 113634 w 176052"/>
                <a:gd name="connsiteY7" fmla="*/ 278627 h 326781"/>
                <a:gd name="connsiteX8" fmla="*/ 118763 w 176052"/>
                <a:gd name="connsiteY8" fmla="*/ 279645 h 326781"/>
                <a:gd name="connsiteX9" fmla="*/ 124900 w 176052"/>
                <a:gd name="connsiteY9" fmla="*/ 284094 h 326781"/>
                <a:gd name="connsiteX10" fmla="*/ 130762 w 176052"/>
                <a:gd name="connsiteY10" fmla="*/ 289383 h 326781"/>
                <a:gd name="connsiteX11" fmla="*/ 131461 w 176052"/>
                <a:gd name="connsiteY11" fmla="*/ 289787 h 326781"/>
                <a:gd name="connsiteX12" fmla="*/ 137130 w 176052"/>
                <a:gd name="connsiteY12" fmla="*/ 291489 h 326781"/>
                <a:gd name="connsiteX13" fmla="*/ 142852 w 176052"/>
                <a:gd name="connsiteY13" fmla="*/ 295510 h 326781"/>
                <a:gd name="connsiteX14" fmla="*/ 145368 w 176052"/>
                <a:gd name="connsiteY14" fmla="*/ 295057 h 326781"/>
                <a:gd name="connsiteX15" fmla="*/ 150122 w 176052"/>
                <a:gd name="connsiteY15" fmla="*/ 288539 h 326781"/>
                <a:gd name="connsiteX16" fmla="*/ 150469 w 176052"/>
                <a:gd name="connsiteY16" fmla="*/ 287652 h 326781"/>
                <a:gd name="connsiteX17" fmla="*/ 151057 w 176052"/>
                <a:gd name="connsiteY17" fmla="*/ 281693 h 326781"/>
                <a:gd name="connsiteX18" fmla="*/ 151057 w 176052"/>
                <a:gd name="connsiteY18" fmla="*/ 281495 h 326781"/>
                <a:gd name="connsiteX19" fmla="*/ 151057 w 176052"/>
                <a:gd name="connsiteY19" fmla="*/ 275884 h 326781"/>
                <a:gd name="connsiteX20" fmla="*/ 153356 w 176052"/>
                <a:gd name="connsiteY20" fmla="*/ 269632 h 326781"/>
                <a:gd name="connsiteX21" fmla="*/ 153414 w 176052"/>
                <a:gd name="connsiteY21" fmla="*/ 269381 h 326781"/>
                <a:gd name="connsiteX22" fmla="*/ 154605 w 176052"/>
                <a:gd name="connsiteY22" fmla="*/ 263389 h 326781"/>
                <a:gd name="connsiteX23" fmla="*/ 154639 w 176052"/>
                <a:gd name="connsiteY23" fmla="*/ 263056 h 326781"/>
                <a:gd name="connsiteX24" fmla="*/ 154639 w 176052"/>
                <a:gd name="connsiteY24" fmla="*/ 257421 h 326781"/>
                <a:gd name="connsiteX25" fmla="*/ 156904 w 176052"/>
                <a:gd name="connsiteY25" fmla="*/ 251154 h 326781"/>
                <a:gd name="connsiteX26" fmla="*/ 156948 w 176052"/>
                <a:gd name="connsiteY26" fmla="*/ 251096 h 326781"/>
                <a:gd name="connsiteX27" fmla="*/ 158731 w 176052"/>
                <a:gd name="connsiteY27" fmla="*/ 245119 h 326781"/>
                <a:gd name="connsiteX28" fmla="*/ 158789 w 176052"/>
                <a:gd name="connsiteY28" fmla="*/ 244275 h 326781"/>
                <a:gd name="connsiteX29" fmla="*/ 157680 w 176052"/>
                <a:gd name="connsiteY29" fmla="*/ 238148 h 326781"/>
                <a:gd name="connsiteX30" fmla="*/ 159334 w 176052"/>
                <a:gd name="connsiteY30" fmla="*/ 232643 h 326781"/>
                <a:gd name="connsiteX31" fmla="*/ 159373 w 176052"/>
                <a:gd name="connsiteY31" fmla="*/ 232454 h 326781"/>
                <a:gd name="connsiteX32" fmla="*/ 159975 w 176052"/>
                <a:gd name="connsiteY32" fmla="*/ 229485 h 326781"/>
                <a:gd name="connsiteX33" fmla="*/ 159985 w 176052"/>
                <a:gd name="connsiteY33" fmla="*/ 228960 h 326781"/>
                <a:gd name="connsiteX34" fmla="*/ 159406 w 176052"/>
                <a:gd name="connsiteY34" fmla="*/ 223117 h 326781"/>
                <a:gd name="connsiteX35" fmla="*/ 159406 w 176052"/>
                <a:gd name="connsiteY35" fmla="*/ 216990 h 326781"/>
                <a:gd name="connsiteX36" fmla="*/ 161648 w 176052"/>
                <a:gd name="connsiteY36" fmla="*/ 211340 h 326781"/>
                <a:gd name="connsiteX37" fmla="*/ 161773 w 176052"/>
                <a:gd name="connsiteY37" fmla="*/ 210679 h 326781"/>
                <a:gd name="connsiteX38" fmla="*/ 161773 w 176052"/>
                <a:gd name="connsiteY38" fmla="*/ 198440 h 326781"/>
                <a:gd name="connsiteX39" fmla="*/ 163509 w 176052"/>
                <a:gd name="connsiteY39" fmla="*/ 192120 h 326781"/>
                <a:gd name="connsiteX40" fmla="*/ 163542 w 176052"/>
                <a:gd name="connsiteY40" fmla="*/ 191445 h 326781"/>
                <a:gd name="connsiteX41" fmla="*/ 162983 w 176052"/>
                <a:gd name="connsiteY41" fmla="*/ 185925 h 326781"/>
                <a:gd name="connsiteX42" fmla="*/ 165230 w 176052"/>
                <a:gd name="connsiteY42" fmla="*/ 180381 h 326781"/>
                <a:gd name="connsiteX43" fmla="*/ 164834 w 176052"/>
                <a:gd name="connsiteY43" fmla="*/ 178458 h 326781"/>
                <a:gd name="connsiteX44" fmla="*/ 163118 w 176052"/>
                <a:gd name="connsiteY44" fmla="*/ 176737 h 326781"/>
                <a:gd name="connsiteX45" fmla="*/ 164092 w 176052"/>
                <a:gd name="connsiteY45" fmla="*/ 171921 h 326781"/>
                <a:gd name="connsiteX46" fmla="*/ 166406 w 176052"/>
                <a:gd name="connsiteY46" fmla="*/ 166136 h 326781"/>
                <a:gd name="connsiteX47" fmla="*/ 166536 w 176052"/>
                <a:gd name="connsiteY47" fmla="*/ 165442 h 326781"/>
                <a:gd name="connsiteX48" fmla="*/ 166536 w 176052"/>
                <a:gd name="connsiteY48" fmla="*/ 158900 h 326781"/>
                <a:gd name="connsiteX49" fmla="*/ 166025 w 176052"/>
                <a:gd name="connsiteY49" fmla="*/ 157647 h 326781"/>
                <a:gd name="connsiteX50" fmla="*/ 160279 w 176052"/>
                <a:gd name="connsiteY50" fmla="*/ 151852 h 326781"/>
                <a:gd name="connsiteX51" fmla="*/ 157512 w 176052"/>
                <a:gd name="connsiteY51" fmla="*/ 146410 h 326781"/>
                <a:gd name="connsiteX52" fmla="*/ 156451 w 176052"/>
                <a:gd name="connsiteY52" fmla="*/ 140953 h 326781"/>
                <a:gd name="connsiteX53" fmla="*/ 176052 w 176052"/>
                <a:gd name="connsiteY53" fmla="*/ 104585 h 326781"/>
                <a:gd name="connsiteX54" fmla="*/ 175449 w 176052"/>
                <a:gd name="connsiteY54" fmla="*/ 98058 h 326781"/>
                <a:gd name="connsiteX55" fmla="*/ 175141 w 176052"/>
                <a:gd name="connsiteY55" fmla="*/ 97166 h 326781"/>
                <a:gd name="connsiteX56" fmla="*/ 171097 w 176052"/>
                <a:gd name="connsiteY56" fmla="*/ 91396 h 326781"/>
                <a:gd name="connsiteX57" fmla="*/ 168956 w 176052"/>
                <a:gd name="connsiteY57" fmla="*/ 86060 h 326781"/>
                <a:gd name="connsiteX58" fmla="*/ 169496 w 176052"/>
                <a:gd name="connsiteY58" fmla="*/ 80516 h 326781"/>
                <a:gd name="connsiteX59" fmla="*/ 169168 w 176052"/>
                <a:gd name="connsiteY59" fmla="*/ 79315 h 326781"/>
                <a:gd name="connsiteX60" fmla="*/ 165158 w 176052"/>
                <a:gd name="connsiteY60" fmla="*/ 73555 h 326781"/>
                <a:gd name="connsiteX61" fmla="*/ 162969 w 176052"/>
                <a:gd name="connsiteY61" fmla="*/ 67533 h 326781"/>
                <a:gd name="connsiteX62" fmla="*/ 162969 w 176052"/>
                <a:gd name="connsiteY62" fmla="*/ 61922 h 326781"/>
                <a:gd name="connsiteX63" fmla="*/ 162829 w 176052"/>
                <a:gd name="connsiteY63" fmla="*/ 61276 h 326781"/>
                <a:gd name="connsiteX64" fmla="*/ 160438 w 176052"/>
                <a:gd name="connsiteY64" fmla="*/ 55265 h 326781"/>
                <a:gd name="connsiteX65" fmla="*/ 160317 w 176052"/>
                <a:gd name="connsiteY65" fmla="*/ 54999 h 326781"/>
                <a:gd name="connsiteX66" fmla="*/ 156119 w 176052"/>
                <a:gd name="connsiteY66" fmla="*/ 48458 h 326781"/>
                <a:gd name="connsiteX67" fmla="*/ 155077 w 176052"/>
                <a:gd name="connsiteY67" fmla="*/ 47667 h 326781"/>
                <a:gd name="connsiteX68" fmla="*/ 142842 w 176052"/>
                <a:gd name="connsiteY68" fmla="*/ 47542 h 326781"/>
                <a:gd name="connsiteX69" fmla="*/ 149857 w 176052"/>
                <a:gd name="connsiteY69" fmla="*/ 44225 h 326781"/>
                <a:gd name="connsiteX70" fmla="*/ 151915 w 176052"/>
                <a:gd name="connsiteY70" fmla="*/ 41304 h 326781"/>
                <a:gd name="connsiteX71" fmla="*/ 157613 w 176052"/>
                <a:gd name="connsiteY71" fmla="*/ 39226 h 326781"/>
                <a:gd name="connsiteX72" fmla="*/ 158789 w 176052"/>
                <a:gd name="connsiteY72" fmla="*/ 37727 h 326781"/>
                <a:gd name="connsiteX73" fmla="*/ 157950 w 176052"/>
                <a:gd name="connsiteY73" fmla="*/ 35958 h 326781"/>
                <a:gd name="connsiteX74" fmla="*/ 151399 w 176052"/>
                <a:gd name="connsiteY74" fmla="*/ 31802 h 326781"/>
                <a:gd name="connsiteX75" fmla="*/ 150613 w 176052"/>
                <a:gd name="connsiteY75" fmla="*/ 31527 h 326781"/>
                <a:gd name="connsiteX76" fmla="*/ 146458 w 176052"/>
                <a:gd name="connsiteY76" fmla="*/ 31127 h 326781"/>
                <a:gd name="connsiteX77" fmla="*/ 146848 w 176052"/>
                <a:gd name="connsiteY77" fmla="*/ 26678 h 326781"/>
                <a:gd name="connsiteX78" fmla="*/ 149712 w 176052"/>
                <a:gd name="connsiteY78" fmla="*/ 20392 h 326781"/>
                <a:gd name="connsiteX79" fmla="*/ 149746 w 176052"/>
                <a:gd name="connsiteY79" fmla="*/ 18969 h 326781"/>
                <a:gd name="connsiteX80" fmla="*/ 148719 w 176052"/>
                <a:gd name="connsiteY80" fmla="*/ 17967 h 326781"/>
                <a:gd name="connsiteX81" fmla="*/ 142770 w 176052"/>
                <a:gd name="connsiteY81" fmla="*/ 15605 h 326781"/>
                <a:gd name="connsiteX82" fmla="*/ 140808 w 176052"/>
                <a:gd name="connsiteY82" fmla="*/ 15981 h 326781"/>
                <a:gd name="connsiteX83" fmla="*/ 137014 w 176052"/>
                <a:gd name="connsiteY83" fmla="*/ 19789 h 326781"/>
                <a:gd name="connsiteX84" fmla="*/ 136108 w 176052"/>
                <a:gd name="connsiteY84" fmla="*/ 16767 h 326781"/>
                <a:gd name="connsiteX85" fmla="*/ 135934 w 176052"/>
                <a:gd name="connsiteY85" fmla="*/ 16352 h 326781"/>
                <a:gd name="connsiteX86" fmla="*/ 132338 w 176052"/>
                <a:gd name="connsiteY86" fmla="*/ 10379 h 326781"/>
                <a:gd name="connsiteX87" fmla="*/ 131456 w 176052"/>
                <a:gd name="connsiteY87" fmla="*/ 9641 h 326781"/>
                <a:gd name="connsiteX88" fmla="*/ 125517 w 176052"/>
                <a:gd name="connsiteY88" fmla="*/ 7279 h 326781"/>
                <a:gd name="connsiteX89" fmla="*/ 124500 w 176052"/>
                <a:gd name="connsiteY89" fmla="*/ 7154 h 326781"/>
                <a:gd name="connsiteX90" fmla="*/ 120108 w 176052"/>
                <a:gd name="connsiteY90" fmla="*/ 7964 h 326781"/>
                <a:gd name="connsiteX91" fmla="*/ 120108 w 176052"/>
                <a:gd name="connsiteY91" fmla="*/ 3611 h 326781"/>
                <a:gd name="connsiteX92" fmla="*/ 118816 w 176052"/>
                <a:gd name="connsiteY92" fmla="*/ 1842 h 326781"/>
                <a:gd name="connsiteX93" fmla="*/ 112848 w 176052"/>
                <a:gd name="connsiteY93" fmla="*/ 67 h 326781"/>
                <a:gd name="connsiteX94" fmla="*/ 112144 w 176052"/>
                <a:gd name="connsiteY94" fmla="*/ 0 h 326781"/>
                <a:gd name="connsiteX95" fmla="*/ 106195 w 176052"/>
                <a:gd name="connsiteY95" fmla="*/ 636 h 326781"/>
                <a:gd name="connsiteX96" fmla="*/ 104556 w 176052"/>
                <a:gd name="connsiteY96" fmla="*/ 2410 h 326781"/>
                <a:gd name="connsiteX97" fmla="*/ 104556 w 176052"/>
                <a:gd name="connsiteY97" fmla="*/ 8306 h 326781"/>
                <a:gd name="connsiteX98" fmla="*/ 104055 w 176052"/>
                <a:gd name="connsiteY98" fmla="*/ 13831 h 326781"/>
                <a:gd name="connsiteX99" fmla="*/ 99331 w 176052"/>
                <a:gd name="connsiteY99" fmla="*/ 16660 h 326781"/>
                <a:gd name="connsiteX100" fmla="*/ 93893 w 176052"/>
                <a:gd name="connsiteY100" fmla="*/ 16660 h 326781"/>
                <a:gd name="connsiteX101" fmla="*/ 92471 w 176052"/>
                <a:gd name="connsiteY101" fmla="*/ 17301 h 326781"/>
                <a:gd name="connsiteX102" fmla="*/ 87178 w 176052"/>
                <a:gd name="connsiteY102" fmla="*/ 23834 h 326781"/>
                <a:gd name="connsiteX103" fmla="*/ 81282 w 176052"/>
                <a:gd name="connsiteY103" fmla="*/ 29686 h 326781"/>
                <a:gd name="connsiteX104" fmla="*/ 81229 w 176052"/>
                <a:gd name="connsiteY104" fmla="*/ 29749 h 326781"/>
                <a:gd name="connsiteX105" fmla="*/ 75878 w 176052"/>
                <a:gd name="connsiteY105" fmla="*/ 35726 h 326781"/>
                <a:gd name="connsiteX106" fmla="*/ 75806 w 176052"/>
                <a:gd name="connsiteY106" fmla="*/ 35789 h 326781"/>
                <a:gd name="connsiteX107" fmla="*/ 71038 w 176052"/>
                <a:gd name="connsiteY107" fmla="*/ 41771 h 326781"/>
                <a:gd name="connsiteX108" fmla="*/ 70937 w 176052"/>
                <a:gd name="connsiteY108" fmla="*/ 41892 h 326781"/>
                <a:gd name="connsiteX109" fmla="*/ 70093 w 176052"/>
                <a:gd name="connsiteY109" fmla="*/ 43174 h 326781"/>
                <a:gd name="connsiteX110" fmla="*/ 64323 w 176052"/>
                <a:gd name="connsiteY110" fmla="*/ 45252 h 326781"/>
                <a:gd name="connsiteX111" fmla="*/ 58037 w 176052"/>
                <a:gd name="connsiteY111" fmla="*/ 45840 h 326781"/>
                <a:gd name="connsiteX112" fmla="*/ 57169 w 176052"/>
                <a:gd name="connsiteY112" fmla="*/ 46153 h 326781"/>
                <a:gd name="connsiteX113" fmla="*/ 51181 w 176052"/>
                <a:gd name="connsiteY113" fmla="*/ 50333 h 326781"/>
                <a:gd name="connsiteX114" fmla="*/ 50998 w 176052"/>
                <a:gd name="connsiteY114" fmla="*/ 50458 h 326781"/>
                <a:gd name="connsiteX115" fmla="*/ 45367 w 176052"/>
                <a:gd name="connsiteY115" fmla="*/ 55520 h 326781"/>
                <a:gd name="connsiteX116" fmla="*/ 39588 w 176052"/>
                <a:gd name="connsiteY116" fmla="*/ 57072 h 326781"/>
                <a:gd name="connsiteX117" fmla="*/ 12360 w 176052"/>
                <a:gd name="connsiteY117" fmla="*/ 39559 h 326781"/>
                <a:gd name="connsiteX118" fmla="*/ 10721 w 176052"/>
                <a:gd name="connsiteY118" fmla="*/ 38064 h 326781"/>
                <a:gd name="connsiteX119" fmla="*/ 8851 w 176052"/>
                <a:gd name="connsiteY119" fmla="*/ 39269 h 326781"/>
                <a:gd name="connsiteX120" fmla="*/ 6493 w 176052"/>
                <a:gd name="connsiteY120" fmla="*/ 45831 h 326781"/>
                <a:gd name="connsiteX121" fmla="*/ 6493 w 176052"/>
                <a:gd name="connsiteY121" fmla="*/ 47127 h 326781"/>
                <a:gd name="connsiteX122" fmla="*/ 8562 w 176052"/>
                <a:gd name="connsiteY122" fmla="*/ 52242 h 326781"/>
                <a:gd name="connsiteX123" fmla="*/ 5457 w 176052"/>
                <a:gd name="connsiteY123" fmla="*/ 57400 h 326781"/>
                <a:gd name="connsiteX124" fmla="*/ 5298 w 176052"/>
                <a:gd name="connsiteY124" fmla="*/ 57670 h 326781"/>
                <a:gd name="connsiteX125" fmla="*/ 2945 w 176052"/>
                <a:gd name="connsiteY125" fmla="*/ 63575 h 326781"/>
                <a:gd name="connsiteX126" fmla="*/ 0 w 176052"/>
                <a:gd name="connsiteY126" fmla="*/ 70093 h 326781"/>
                <a:gd name="connsiteX127" fmla="*/ 227 w 176052"/>
                <a:gd name="connsiteY127" fmla="*/ 71983 h 326781"/>
                <a:gd name="connsiteX128" fmla="*/ 4575 w 176052"/>
                <a:gd name="connsiteY128" fmla="*/ 77450 h 326781"/>
                <a:gd name="connsiteX129" fmla="*/ 4575 w 176052"/>
                <a:gd name="connsiteY129" fmla="*/ 82203 h 326781"/>
                <a:gd name="connsiteX130" fmla="*/ 704 w 176052"/>
                <a:gd name="connsiteY130" fmla="*/ 88325 h 326781"/>
                <a:gd name="connsiteX131" fmla="*/ 834 w 176052"/>
                <a:gd name="connsiteY131" fmla="*/ 90465 h 326781"/>
                <a:gd name="connsiteX132" fmla="*/ 2912 w 176052"/>
                <a:gd name="connsiteY132" fmla="*/ 91000 h 326781"/>
                <a:gd name="connsiteX133" fmla="*/ 6373 w 176052"/>
                <a:gd name="connsiteY133" fmla="*/ 89627 h 326781"/>
                <a:gd name="connsiteX134" fmla="*/ 6373 w 176052"/>
                <a:gd name="connsiteY134" fmla="*/ 92895 h 326781"/>
                <a:gd name="connsiteX135" fmla="*/ 7110 w 176052"/>
                <a:gd name="connsiteY135" fmla="*/ 94341 h 326781"/>
                <a:gd name="connsiteX136" fmla="*/ 8720 w 176052"/>
                <a:gd name="connsiteY136" fmla="*/ 94606 h 326781"/>
                <a:gd name="connsiteX137" fmla="*/ 13633 w 176052"/>
                <a:gd name="connsiteY137" fmla="*/ 93151 h 326781"/>
                <a:gd name="connsiteX138" fmla="*/ 24311 w 176052"/>
                <a:gd name="connsiteY138" fmla="*/ 121511 h 326781"/>
                <a:gd name="connsiteX139" fmla="*/ 24990 w 176052"/>
                <a:gd name="connsiteY139" fmla="*/ 123516 h 326781"/>
                <a:gd name="connsiteX140" fmla="*/ 30684 w 176052"/>
                <a:gd name="connsiteY140" fmla="*/ 127498 h 326781"/>
                <a:gd name="connsiteX141" fmla="*/ 34318 w 176052"/>
                <a:gd name="connsiteY141" fmla="*/ 132671 h 326781"/>
                <a:gd name="connsiteX142" fmla="*/ 33186 w 176052"/>
                <a:gd name="connsiteY142" fmla="*/ 138971 h 326781"/>
                <a:gd name="connsiteX143" fmla="*/ 33171 w 176052"/>
                <a:gd name="connsiteY143" fmla="*/ 139116 h 326781"/>
                <a:gd name="connsiteX144" fmla="*/ 32559 w 176052"/>
                <a:gd name="connsiteY144" fmla="*/ 145065 h 326781"/>
                <a:gd name="connsiteX145" fmla="*/ 32559 w 176052"/>
                <a:gd name="connsiteY145" fmla="*/ 145229 h 326781"/>
                <a:gd name="connsiteX146" fmla="*/ 32559 w 176052"/>
                <a:gd name="connsiteY146" fmla="*/ 151182 h 326781"/>
                <a:gd name="connsiteX147" fmla="*/ 32675 w 176052"/>
                <a:gd name="connsiteY147" fmla="*/ 151867 h 326781"/>
                <a:gd name="connsiteX148" fmla="*/ 34719 w 176052"/>
                <a:gd name="connsiteY148" fmla="*/ 156967 h 326781"/>
                <a:gd name="connsiteX149" fmla="*/ 31537 w 176052"/>
                <a:gd name="connsiteY149" fmla="*/ 161971 h 326781"/>
                <a:gd name="connsiteX150" fmla="*/ 26427 w 176052"/>
                <a:gd name="connsiteY150" fmla="*/ 162477 h 326781"/>
                <a:gd name="connsiteX151" fmla="*/ 25121 w 176052"/>
                <a:gd name="connsiteY151" fmla="*/ 163244 h 326781"/>
                <a:gd name="connsiteX152" fmla="*/ 24894 w 176052"/>
                <a:gd name="connsiteY152" fmla="*/ 164810 h 326781"/>
                <a:gd name="connsiteX153" fmla="*/ 26615 w 176052"/>
                <a:gd name="connsiteY153" fmla="*/ 170523 h 326781"/>
                <a:gd name="connsiteX154" fmla="*/ 26615 w 176052"/>
                <a:gd name="connsiteY154" fmla="*/ 170663 h 326781"/>
                <a:gd name="connsiteX155" fmla="*/ 25429 w 176052"/>
                <a:gd name="connsiteY155" fmla="*/ 176424 h 326781"/>
                <a:gd name="connsiteX156" fmla="*/ 25424 w 176052"/>
                <a:gd name="connsiteY156" fmla="*/ 176621 h 326781"/>
                <a:gd name="connsiteX157" fmla="*/ 24822 w 176052"/>
                <a:gd name="connsiteY157" fmla="*/ 183125 h 326781"/>
                <a:gd name="connsiteX158" fmla="*/ 25150 w 176052"/>
                <a:gd name="connsiteY158" fmla="*/ 184402 h 326781"/>
                <a:gd name="connsiteX159" fmla="*/ 29922 w 176052"/>
                <a:gd name="connsiteY159" fmla="*/ 190963 h 326781"/>
                <a:gd name="connsiteX160" fmla="*/ 31339 w 176052"/>
                <a:gd name="connsiteY160" fmla="*/ 191671 h 326781"/>
                <a:gd name="connsiteX161" fmla="*/ 32810 w 176052"/>
                <a:gd name="connsiteY161" fmla="*/ 191021 h 326781"/>
                <a:gd name="connsiteX162" fmla="*/ 37090 w 176052"/>
                <a:gd name="connsiteY162" fmla="*/ 185780 h 326781"/>
                <a:gd name="connsiteX163" fmla="*/ 40976 w 176052"/>
                <a:gd name="connsiteY163" fmla="*/ 188494 h 326781"/>
                <a:gd name="connsiteX164" fmla="*/ 41415 w 176052"/>
                <a:gd name="connsiteY164" fmla="*/ 193831 h 326781"/>
                <a:gd name="connsiteX165" fmla="*/ 39829 w 176052"/>
                <a:gd name="connsiteY165" fmla="*/ 199312 h 326781"/>
                <a:gd name="connsiteX166" fmla="*/ 36902 w 176052"/>
                <a:gd name="connsiteY166" fmla="*/ 205078 h 326781"/>
                <a:gd name="connsiteX167" fmla="*/ 36859 w 176052"/>
                <a:gd name="connsiteY167" fmla="*/ 206668 h 326781"/>
                <a:gd name="connsiteX168" fmla="*/ 37751 w 176052"/>
                <a:gd name="connsiteY168" fmla="*/ 208612 h 326781"/>
                <a:gd name="connsiteX169" fmla="*/ 32607 w 176052"/>
                <a:gd name="connsiteY169" fmla="*/ 203964 h 326781"/>
                <a:gd name="connsiteX170" fmla="*/ 30573 w 176052"/>
                <a:gd name="connsiteY170" fmla="*/ 203728 h 326781"/>
                <a:gd name="connsiteX171" fmla="*/ 29570 w 176052"/>
                <a:gd name="connsiteY171" fmla="*/ 205531 h 326781"/>
                <a:gd name="connsiteX172" fmla="*/ 30192 w 176052"/>
                <a:gd name="connsiteY172" fmla="*/ 211379 h 326781"/>
                <a:gd name="connsiteX173" fmla="*/ 30192 w 176052"/>
                <a:gd name="connsiteY173" fmla="*/ 217221 h 326781"/>
                <a:gd name="connsiteX174" fmla="*/ 30207 w 176052"/>
                <a:gd name="connsiteY174" fmla="*/ 217544 h 326781"/>
                <a:gd name="connsiteX175" fmla="*/ 31349 w 176052"/>
                <a:gd name="connsiteY175" fmla="*/ 223874 h 326781"/>
                <a:gd name="connsiteX176" fmla="*/ 30799 w 176052"/>
                <a:gd name="connsiteY176" fmla="*/ 229278 h 326781"/>
                <a:gd name="connsiteX177" fmla="*/ 28640 w 176052"/>
                <a:gd name="connsiteY177" fmla="*/ 234744 h 326781"/>
                <a:gd name="connsiteX178" fmla="*/ 23438 w 176052"/>
                <a:gd name="connsiteY178" fmla="*/ 241084 h 326781"/>
                <a:gd name="connsiteX179" fmla="*/ 23158 w 176052"/>
                <a:gd name="connsiteY179" fmla="*/ 242887 h 326781"/>
                <a:gd name="connsiteX180" fmla="*/ 25212 w 176052"/>
                <a:gd name="connsiteY180" fmla="*/ 248055 h 326781"/>
                <a:gd name="connsiteX181" fmla="*/ 22045 w 176052"/>
                <a:gd name="connsiteY181" fmla="*/ 253835 h 326781"/>
                <a:gd name="connsiteX182" fmla="*/ 22161 w 176052"/>
                <a:gd name="connsiteY182" fmla="*/ 255739 h 326781"/>
                <a:gd name="connsiteX183" fmla="*/ 26143 w 176052"/>
                <a:gd name="connsiteY183" fmla="*/ 261446 h 326781"/>
                <a:gd name="connsiteX184" fmla="*/ 27594 w 176052"/>
                <a:gd name="connsiteY184" fmla="*/ 266705 h 326781"/>
                <a:gd name="connsiteX185" fmla="*/ 22903 w 176052"/>
                <a:gd name="connsiteY185" fmla="*/ 271926 h 326781"/>
                <a:gd name="connsiteX186" fmla="*/ 22445 w 176052"/>
                <a:gd name="connsiteY186" fmla="*/ 273503 h 326781"/>
                <a:gd name="connsiteX187" fmla="*/ 23655 w 176052"/>
                <a:gd name="connsiteY187" fmla="*/ 279456 h 326781"/>
                <a:gd name="connsiteX188" fmla="*/ 23916 w 176052"/>
                <a:gd name="connsiteY188" fmla="*/ 280112 h 326781"/>
                <a:gd name="connsiteX189" fmla="*/ 28032 w 176052"/>
                <a:gd name="connsiteY189" fmla="*/ 286610 h 326781"/>
                <a:gd name="connsiteX190" fmla="*/ 32935 w 176052"/>
                <a:gd name="connsiteY190" fmla="*/ 293591 h 326781"/>
                <a:gd name="connsiteX191" fmla="*/ 31392 w 176052"/>
                <a:gd name="connsiteY191" fmla="*/ 295688 h 326781"/>
                <a:gd name="connsiteX192" fmla="*/ 29281 w 176052"/>
                <a:gd name="connsiteY192" fmla="*/ 291166 h 326781"/>
                <a:gd name="connsiteX193" fmla="*/ 28143 w 176052"/>
                <a:gd name="connsiteY193" fmla="*/ 290433 h 326781"/>
                <a:gd name="connsiteX194" fmla="*/ 22223 w 176052"/>
                <a:gd name="connsiteY194" fmla="*/ 289271 h 326781"/>
                <a:gd name="connsiteX195" fmla="*/ 20126 w 176052"/>
                <a:gd name="connsiteY195" fmla="*/ 290496 h 326781"/>
                <a:gd name="connsiteX196" fmla="*/ 18328 w 176052"/>
                <a:gd name="connsiteY196" fmla="*/ 296464 h 326781"/>
                <a:gd name="connsiteX197" fmla="*/ 18275 w 176052"/>
                <a:gd name="connsiteY197" fmla="*/ 297346 h 326781"/>
                <a:gd name="connsiteX198" fmla="*/ 19490 w 176052"/>
                <a:gd name="connsiteY198" fmla="*/ 303276 h 326781"/>
                <a:gd name="connsiteX199" fmla="*/ 19702 w 176052"/>
                <a:gd name="connsiteY199" fmla="*/ 303859 h 326781"/>
                <a:gd name="connsiteX200" fmla="*/ 23289 w 176052"/>
                <a:gd name="connsiteY200" fmla="*/ 309822 h 326781"/>
                <a:gd name="connsiteX201" fmla="*/ 25198 w 176052"/>
                <a:gd name="connsiteY201" fmla="*/ 310632 h 326781"/>
                <a:gd name="connsiteX202" fmla="*/ 31151 w 176052"/>
                <a:gd name="connsiteY202" fmla="*/ 309465 h 326781"/>
                <a:gd name="connsiteX203" fmla="*/ 32593 w 176052"/>
                <a:gd name="connsiteY203" fmla="*/ 307841 h 326781"/>
                <a:gd name="connsiteX204" fmla="*/ 33060 w 176052"/>
                <a:gd name="connsiteY204" fmla="*/ 299371 h 326781"/>
                <a:gd name="connsiteX205" fmla="*/ 35379 w 176052"/>
                <a:gd name="connsiteY205" fmla="*/ 296811 h 326781"/>
                <a:gd name="connsiteX206" fmla="*/ 40855 w 176052"/>
                <a:gd name="connsiteY206" fmla="*/ 301400 h 326781"/>
                <a:gd name="connsiteX207" fmla="*/ 40855 w 176052"/>
                <a:gd name="connsiteY207" fmla="*/ 306515 h 326781"/>
                <a:gd name="connsiteX208" fmla="*/ 41207 w 176052"/>
                <a:gd name="connsiteY208" fmla="*/ 307556 h 326781"/>
                <a:gd name="connsiteX209" fmla="*/ 45613 w 176052"/>
                <a:gd name="connsiteY209" fmla="*/ 313621 h 326781"/>
                <a:gd name="connsiteX210" fmla="*/ 45613 w 176052"/>
                <a:gd name="connsiteY210" fmla="*/ 319015 h 326781"/>
                <a:gd name="connsiteX211" fmla="*/ 45946 w 176052"/>
                <a:gd name="connsiteY211" fmla="*/ 320047 h 326781"/>
                <a:gd name="connsiteX212" fmla="*/ 50121 w 176052"/>
                <a:gd name="connsiteY212" fmla="*/ 326005 h 326781"/>
                <a:gd name="connsiteX213" fmla="*/ 51625 w 176052"/>
                <a:gd name="connsiteY213" fmla="*/ 326781 h 326781"/>
                <a:gd name="connsiteX214" fmla="*/ 53095 w 176052"/>
                <a:gd name="connsiteY214" fmla="*/ 326005 h 326781"/>
                <a:gd name="connsiteX215" fmla="*/ 56908 w 176052"/>
                <a:gd name="connsiteY215" fmla="*/ 320544 h 326781"/>
                <a:gd name="connsiteX216" fmla="*/ 61527 w 176052"/>
                <a:gd name="connsiteY216" fmla="*/ 319179 h 326781"/>
                <a:gd name="connsiteX217" fmla="*/ 67408 w 176052"/>
                <a:gd name="connsiteY217" fmla="*/ 322394 h 326781"/>
                <a:gd name="connsiteX218" fmla="*/ 67610 w 176052"/>
                <a:gd name="connsiteY218" fmla="*/ 322443 h 326781"/>
                <a:gd name="connsiteX219" fmla="*/ 73549 w 176052"/>
                <a:gd name="connsiteY219" fmla="*/ 324858 h 326781"/>
                <a:gd name="connsiteX220" fmla="*/ 75512 w 176052"/>
                <a:gd name="connsiteY220" fmla="*/ 324448 h 326781"/>
                <a:gd name="connsiteX221" fmla="*/ 81374 w 176052"/>
                <a:gd name="connsiteY221" fmla="*/ 318572 h 326781"/>
                <a:gd name="connsiteX222" fmla="*/ 87259 w 176052"/>
                <a:gd name="connsiteY222" fmla="*/ 313857 h 326781"/>
                <a:gd name="connsiteX223" fmla="*/ 87534 w 176052"/>
                <a:gd name="connsiteY223" fmla="*/ 313606 h 326781"/>
                <a:gd name="connsiteX224" fmla="*/ 92895 w 176052"/>
                <a:gd name="connsiteY224" fmla="*/ 307026 h 326781"/>
                <a:gd name="connsiteX225" fmla="*/ 93179 w 176052"/>
                <a:gd name="connsiteY225" fmla="*/ 306549 h 326781"/>
                <a:gd name="connsiteX226" fmla="*/ 95556 w 176052"/>
                <a:gd name="connsiteY226" fmla="*/ 300615 h 326781"/>
                <a:gd name="connsiteX227" fmla="*/ 95489 w 176052"/>
                <a:gd name="connsiteY227" fmla="*/ 299154 h 326781"/>
                <a:gd name="connsiteX228" fmla="*/ 92717 w 176052"/>
                <a:gd name="connsiteY228" fmla="*/ 293591 h 326781"/>
                <a:gd name="connsiteX229" fmla="*/ 92717 w 176052"/>
                <a:gd name="connsiteY229" fmla="*/ 288495 h 326781"/>
                <a:gd name="connsiteX230" fmla="*/ 95937 w 176052"/>
                <a:gd name="connsiteY230" fmla="*/ 282619 h 326781"/>
                <a:gd name="connsiteX231" fmla="*/ 95879 w 176052"/>
                <a:gd name="connsiteY231" fmla="*/ 279789 h 326781"/>
                <a:gd name="connsiteX232" fmla="*/ 94283 w 176052"/>
                <a:gd name="connsiteY232" fmla="*/ 275518 h 326781"/>
                <a:gd name="connsiteX233" fmla="*/ 93951 w 176052"/>
                <a:gd name="connsiteY233" fmla="*/ 275518 h 326781"/>
                <a:gd name="connsiteX234" fmla="*/ 93715 w 176052"/>
                <a:gd name="connsiteY234" fmla="*/ 274998 h 326781"/>
                <a:gd name="connsiteX235" fmla="*/ 94283 w 176052"/>
                <a:gd name="connsiteY235" fmla="*/ 275518 h 32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76052" h="326781">
                  <a:moveTo>
                    <a:pt x="95879" y="279789"/>
                  </a:moveTo>
                  <a:cubicBezTo>
                    <a:pt x="95879" y="279789"/>
                    <a:pt x="92365" y="276689"/>
                    <a:pt x="91082" y="274838"/>
                  </a:cubicBezTo>
                  <a:cubicBezTo>
                    <a:pt x="89786" y="273045"/>
                    <a:pt x="89786" y="271521"/>
                    <a:pt x="91463" y="271623"/>
                  </a:cubicBezTo>
                  <a:cubicBezTo>
                    <a:pt x="93155" y="271743"/>
                    <a:pt x="97668" y="276275"/>
                    <a:pt x="97668" y="276275"/>
                  </a:cubicBezTo>
                  <a:lnTo>
                    <a:pt x="101201" y="280941"/>
                  </a:lnTo>
                  <a:lnTo>
                    <a:pt x="107767" y="280334"/>
                  </a:lnTo>
                  <a:lnTo>
                    <a:pt x="108123" y="280252"/>
                  </a:lnTo>
                  <a:lnTo>
                    <a:pt x="113634" y="278627"/>
                  </a:lnTo>
                  <a:lnTo>
                    <a:pt x="118763" y="279645"/>
                  </a:lnTo>
                  <a:lnTo>
                    <a:pt x="124900" y="284094"/>
                  </a:lnTo>
                  <a:lnTo>
                    <a:pt x="130762" y="289383"/>
                  </a:lnTo>
                  <a:lnTo>
                    <a:pt x="131461" y="289787"/>
                  </a:lnTo>
                  <a:lnTo>
                    <a:pt x="137130" y="291489"/>
                  </a:lnTo>
                  <a:lnTo>
                    <a:pt x="142852" y="295510"/>
                  </a:lnTo>
                  <a:cubicBezTo>
                    <a:pt x="143676" y="296078"/>
                    <a:pt x="144795" y="295880"/>
                    <a:pt x="145368" y="295057"/>
                  </a:cubicBezTo>
                  <a:lnTo>
                    <a:pt x="150122" y="288539"/>
                  </a:lnTo>
                  <a:lnTo>
                    <a:pt x="150469" y="287652"/>
                  </a:lnTo>
                  <a:lnTo>
                    <a:pt x="151057" y="281693"/>
                  </a:lnTo>
                  <a:lnTo>
                    <a:pt x="151057" y="281495"/>
                  </a:lnTo>
                  <a:lnTo>
                    <a:pt x="151057" y="275884"/>
                  </a:lnTo>
                  <a:lnTo>
                    <a:pt x="153356" y="269632"/>
                  </a:lnTo>
                  <a:lnTo>
                    <a:pt x="153414" y="269381"/>
                  </a:lnTo>
                  <a:lnTo>
                    <a:pt x="154605" y="263389"/>
                  </a:lnTo>
                  <a:lnTo>
                    <a:pt x="154639" y="263056"/>
                  </a:lnTo>
                  <a:lnTo>
                    <a:pt x="154639" y="257421"/>
                  </a:lnTo>
                  <a:lnTo>
                    <a:pt x="156904" y="251154"/>
                  </a:lnTo>
                  <a:lnTo>
                    <a:pt x="156948" y="251096"/>
                  </a:lnTo>
                  <a:lnTo>
                    <a:pt x="158731" y="245119"/>
                  </a:lnTo>
                  <a:lnTo>
                    <a:pt x="158789" y="244275"/>
                  </a:lnTo>
                  <a:lnTo>
                    <a:pt x="157680" y="238148"/>
                  </a:lnTo>
                  <a:lnTo>
                    <a:pt x="159334" y="232643"/>
                  </a:lnTo>
                  <a:lnTo>
                    <a:pt x="159373" y="232454"/>
                  </a:lnTo>
                  <a:lnTo>
                    <a:pt x="159975" y="229485"/>
                  </a:lnTo>
                  <a:lnTo>
                    <a:pt x="159985" y="228960"/>
                  </a:lnTo>
                  <a:lnTo>
                    <a:pt x="159406" y="223117"/>
                  </a:lnTo>
                  <a:lnTo>
                    <a:pt x="159406" y="216990"/>
                  </a:lnTo>
                  <a:lnTo>
                    <a:pt x="161648" y="211340"/>
                  </a:lnTo>
                  <a:lnTo>
                    <a:pt x="161773" y="210679"/>
                  </a:lnTo>
                  <a:lnTo>
                    <a:pt x="161773" y="198440"/>
                  </a:lnTo>
                  <a:lnTo>
                    <a:pt x="163509" y="192120"/>
                  </a:lnTo>
                  <a:lnTo>
                    <a:pt x="163542" y="191445"/>
                  </a:lnTo>
                  <a:lnTo>
                    <a:pt x="162983" y="185925"/>
                  </a:lnTo>
                  <a:lnTo>
                    <a:pt x="165230" y="180381"/>
                  </a:lnTo>
                  <a:lnTo>
                    <a:pt x="164834" y="178458"/>
                  </a:lnTo>
                  <a:lnTo>
                    <a:pt x="163118" y="176737"/>
                  </a:lnTo>
                  <a:lnTo>
                    <a:pt x="164092" y="171921"/>
                  </a:lnTo>
                  <a:lnTo>
                    <a:pt x="166406" y="166136"/>
                  </a:lnTo>
                  <a:lnTo>
                    <a:pt x="166536" y="165442"/>
                  </a:lnTo>
                  <a:lnTo>
                    <a:pt x="166536" y="158900"/>
                  </a:lnTo>
                  <a:lnTo>
                    <a:pt x="166025" y="157647"/>
                  </a:lnTo>
                  <a:lnTo>
                    <a:pt x="160279" y="151852"/>
                  </a:lnTo>
                  <a:lnTo>
                    <a:pt x="157512" y="146410"/>
                  </a:lnTo>
                  <a:lnTo>
                    <a:pt x="156451" y="140953"/>
                  </a:lnTo>
                  <a:cubicBezTo>
                    <a:pt x="156148" y="124085"/>
                    <a:pt x="175295" y="123724"/>
                    <a:pt x="176052" y="104585"/>
                  </a:cubicBezTo>
                  <a:lnTo>
                    <a:pt x="175449" y="98058"/>
                  </a:lnTo>
                  <a:lnTo>
                    <a:pt x="175141" y="97166"/>
                  </a:lnTo>
                  <a:lnTo>
                    <a:pt x="171097" y="91396"/>
                  </a:lnTo>
                  <a:lnTo>
                    <a:pt x="168956" y="86060"/>
                  </a:lnTo>
                  <a:lnTo>
                    <a:pt x="169496" y="80516"/>
                  </a:lnTo>
                  <a:lnTo>
                    <a:pt x="169168" y="79315"/>
                  </a:lnTo>
                  <a:lnTo>
                    <a:pt x="165158" y="73555"/>
                  </a:lnTo>
                  <a:lnTo>
                    <a:pt x="162969" y="67533"/>
                  </a:lnTo>
                  <a:lnTo>
                    <a:pt x="162969" y="61922"/>
                  </a:lnTo>
                  <a:lnTo>
                    <a:pt x="162829" y="61276"/>
                  </a:lnTo>
                  <a:lnTo>
                    <a:pt x="160438" y="55265"/>
                  </a:lnTo>
                  <a:lnTo>
                    <a:pt x="160317" y="54999"/>
                  </a:lnTo>
                  <a:lnTo>
                    <a:pt x="156119" y="48458"/>
                  </a:lnTo>
                  <a:lnTo>
                    <a:pt x="155077" y="47667"/>
                  </a:lnTo>
                  <a:lnTo>
                    <a:pt x="142842" y="47542"/>
                  </a:lnTo>
                  <a:lnTo>
                    <a:pt x="149857" y="44225"/>
                  </a:lnTo>
                  <a:lnTo>
                    <a:pt x="151915" y="41304"/>
                  </a:lnTo>
                  <a:lnTo>
                    <a:pt x="157613" y="39226"/>
                  </a:lnTo>
                  <a:lnTo>
                    <a:pt x="158789" y="37727"/>
                  </a:lnTo>
                  <a:lnTo>
                    <a:pt x="157950" y="35958"/>
                  </a:lnTo>
                  <a:lnTo>
                    <a:pt x="151399" y="31802"/>
                  </a:lnTo>
                  <a:lnTo>
                    <a:pt x="150613" y="31527"/>
                  </a:lnTo>
                  <a:lnTo>
                    <a:pt x="146458" y="31127"/>
                  </a:lnTo>
                  <a:lnTo>
                    <a:pt x="146848" y="26678"/>
                  </a:lnTo>
                  <a:lnTo>
                    <a:pt x="149712" y="20392"/>
                  </a:lnTo>
                  <a:lnTo>
                    <a:pt x="149746" y="18969"/>
                  </a:lnTo>
                  <a:lnTo>
                    <a:pt x="148719" y="17967"/>
                  </a:lnTo>
                  <a:lnTo>
                    <a:pt x="142770" y="15605"/>
                  </a:lnTo>
                  <a:lnTo>
                    <a:pt x="140808" y="15981"/>
                  </a:lnTo>
                  <a:lnTo>
                    <a:pt x="137014" y="19789"/>
                  </a:lnTo>
                  <a:lnTo>
                    <a:pt x="136108" y="16767"/>
                  </a:lnTo>
                  <a:lnTo>
                    <a:pt x="135934" y="16352"/>
                  </a:lnTo>
                  <a:lnTo>
                    <a:pt x="132338" y="10379"/>
                  </a:lnTo>
                  <a:lnTo>
                    <a:pt x="131456" y="9641"/>
                  </a:lnTo>
                  <a:lnTo>
                    <a:pt x="125517" y="7279"/>
                  </a:lnTo>
                  <a:lnTo>
                    <a:pt x="124500" y="7154"/>
                  </a:lnTo>
                  <a:lnTo>
                    <a:pt x="120108" y="7964"/>
                  </a:lnTo>
                  <a:lnTo>
                    <a:pt x="120108" y="3611"/>
                  </a:lnTo>
                  <a:cubicBezTo>
                    <a:pt x="120108" y="2801"/>
                    <a:pt x="119573" y="2087"/>
                    <a:pt x="118816" y="1842"/>
                  </a:cubicBezTo>
                  <a:lnTo>
                    <a:pt x="112848" y="67"/>
                  </a:lnTo>
                  <a:lnTo>
                    <a:pt x="112144" y="0"/>
                  </a:lnTo>
                  <a:lnTo>
                    <a:pt x="106195" y="636"/>
                  </a:lnTo>
                  <a:cubicBezTo>
                    <a:pt x="105279" y="733"/>
                    <a:pt x="104556" y="1485"/>
                    <a:pt x="104556" y="2410"/>
                  </a:cubicBezTo>
                  <a:lnTo>
                    <a:pt x="104556" y="8306"/>
                  </a:lnTo>
                  <a:lnTo>
                    <a:pt x="104055" y="13831"/>
                  </a:lnTo>
                  <a:lnTo>
                    <a:pt x="99331" y="16660"/>
                  </a:lnTo>
                  <a:lnTo>
                    <a:pt x="93893" y="16660"/>
                  </a:lnTo>
                  <a:lnTo>
                    <a:pt x="92471" y="17301"/>
                  </a:lnTo>
                  <a:lnTo>
                    <a:pt x="87178" y="23834"/>
                  </a:lnTo>
                  <a:lnTo>
                    <a:pt x="81282" y="29686"/>
                  </a:lnTo>
                  <a:lnTo>
                    <a:pt x="81229" y="29749"/>
                  </a:lnTo>
                  <a:lnTo>
                    <a:pt x="75878" y="35726"/>
                  </a:lnTo>
                  <a:lnTo>
                    <a:pt x="75806" y="35789"/>
                  </a:lnTo>
                  <a:lnTo>
                    <a:pt x="71038" y="41771"/>
                  </a:lnTo>
                  <a:lnTo>
                    <a:pt x="70937" y="41892"/>
                  </a:lnTo>
                  <a:lnTo>
                    <a:pt x="70093" y="43174"/>
                  </a:lnTo>
                  <a:lnTo>
                    <a:pt x="64323" y="45252"/>
                  </a:lnTo>
                  <a:lnTo>
                    <a:pt x="58037" y="45840"/>
                  </a:lnTo>
                  <a:lnTo>
                    <a:pt x="57169" y="46153"/>
                  </a:lnTo>
                  <a:lnTo>
                    <a:pt x="51181" y="50333"/>
                  </a:lnTo>
                  <a:lnTo>
                    <a:pt x="50998" y="50458"/>
                  </a:lnTo>
                  <a:lnTo>
                    <a:pt x="45367" y="55520"/>
                  </a:lnTo>
                  <a:lnTo>
                    <a:pt x="39588" y="57072"/>
                  </a:lnTo>
                  <a:cubicBezTo>
                    <a:pt x="28138" y="55347"/>
                    <a:pt x="12756" y="55347"/>
                    <a:pt x="12360" y="39559"/>
                  </a:cubicBezTo>
                  <a:cubicBezTo>
                    <a:pt x="12211" y="38696"/>
                    <a:pt x="11512" y="38151"/>
                    <a:pt x="10721" y="38064"/>
                  </a:cubicBezTo>
                  <a:cubicBezTo>
                    <a:pt x="9907" y="38016"/>
                    <a:pt x="9154" y="38513"/>
                    <a:pt x="8851" y="39269"/>
                  </a:cubicBezTo>
                  <a:lnTo>
                    <a:pt x="6493" y="45831"/>
                  </a:lnTo>
                  <a:lnTo>
                    <a:pt x="6493" y="47127"/>
                  </a:lnTo>
                  <a:lnTo>
                    <a:pt x="8562" y="52242"/>
                  </a:lnTo>
                  <a:lnTo>
                    <a:pt x="5457" y="57400"/>
                  </a:lnTo>
                  <a:lnTo>
                    <a:pt x="5298" y="57670"/>
                  </a:lnTo>
                  <a:lnTo>
                    <a:pt x="2945" y="63575"/>
                  </a:lnTo>
                  <a:lnTo>
                    <a:pt x="0" y="70093"/>
                  </a:lnTo>
                  <a:lnTo>
                    <a:pt x="227" y="71983"/>
                  </a:lnTo>
                  <a:lnTo>
                    <a:pt x="4575" y="77450"/>
                  </a:lnTo>
                  <a:lnTo>
                    <a:pt x="4575" y="82203"/>
                  </a:lnTo>
                  <a:lnTo>
                    <a:pt x="704" y="88325"/>
                  </a:lnTo>
                  <a:lnTo>
                    <a:pt x="834" y="90465"/>
                  </a:lnTo>
                  <a:lnTo>
                    <a:pt x="2912" y="91000"/>
                  </a:lnTo>
                  <a:lnTo>
                    <a:pt x="6373" y="89627"/>
                  </a:lnTo>
                  <a:lnTo>
                    <a:pt x="6373" y="92895"/>
                  </a:lnTo>
                  <a:lnTo>
                    <a:pt x="7110" y="94341"/>
                  </a:lnTo>
                  <a:lnTo>
                    <a:pt x="8720" y="94606"/>
                  </a:lnTo>
                  <a:lnTo>
                    <a:pt x="13633" y="93151"/>
                  </a:lnTo>
                  <a:cubicBezTo>
                    <a:pt x="21939" y="99519"/>
                    <a:pt x="28751" y="111055"/>
                    <a:pt x="24311" y="121511"/>
                  </a:cubicBezTo>
                  <a:cubicBezTo>
                    <a:pt x="24050" y="122248"/>
                    <a:pt x="24340" y="123087"/>
                    <a:pt x="24990" y="123516"/>
                  </a:cubicBezTo>
                  <a:lnTo>
                    <a:pt x="30684" y="127498"/>
                  </a:lnTo>
                  <a:lnTo>
                    <a:pt x="34318" y="132671"/>
                  </a:lnTo>
                  <a:lnTo>
                    <a:pt x="33186" y="138971"/>
                  </a:lnTo>
                  <a:lnTo>
                    <a:pt x="33171" y="139116"/>
                  </a:lnTo>
                  <a:lnTo>
                    <a:pt x="32559" y="145065"/>
                  </a:lnTo>
                  <a:lnTo>
                    <a:pt x="32559" y="145229"/>
                  </a:lnTo>
                  <a:lnTo>
                    <a:pt x="32559" y="151182"/>
                  </a:lnTo>
                  <a:lnTo>
                    <a:pt x="32675" y="151867"/>
                  </a:lnTo>
                  <a:lnTo>
                    <a:pt x="34719" y="156967"/>
                  </a:lnTo>
                  <a:lnTo>
                    <a:pt x="31537" y="161971"/>
                  </a:lnTo>
                  <a:lnTo>
                    <a:pt x="26427" y="162477"/>
                  </a:lnTo>
                  <a:lnTo>
                    <a:pt x="25121" y="163244"/>
                  </a:lnTo>
                  <a:lnTo>
                    <a:pt x="24894" y="164810"/>
                  </a:lnTo>
                  <a:lnTo>
                    <a:pt x="26615" y="170523"/>
                  </a:lnTo>
                  <a:lnTo>
                    <a:pt x="26615" y="170663"/>
                  </a:lnTo>
                  <a:lnTo>
                    <a:pt x="25429" y="176424"/>
                  </a:lnTo>
                  <a:lnTo>
                    <a:pt x="25424" y="176621"/>
                  </a:lnTo>
                  <a:lnTo>
                    <a:pt x="24822" y="183125"/>
                  </a:lnTo>
                  <a:lnTo>
                    <a:pt x="25150" y="184402"/>
                  </a:lnTo>
                  <a:lnTo>
                    <a:pt x="29922" y="190963"/>
                  </a:lnTo>
                  <a:lnTo>
                    <a:pt x="31339" y="191671"/>
                  </a:lnTo>
                  <a:lnTo>
                    <a:pt x="32810" y="191021"/>
                  </a:lnTo>
                  <a:lnTo>
                    <a:pt x="37090" y="185780"/>
                  </a:lnTo>
                  <a:lnTo>
                    <a:pt x="40976" y="188494"/>
                  </a:lnTo>
                  <a:lnTo>
                    <a:pt x="41415" y="193831"/>
                  </a:lnTo>
                  <a:lnTo>
                    <a:pt x="39829" y="199312"/>
                  </a:lnTo>
                  <a:lnTo>
                    <a:pt x="36902" y="205078"/>
                  </a:lnTo>
                  <a:lnTo>
                    <a:pt x="36859" y="206668"/>
                  </a:lnTo>
                  <a:lnTo>
                    <a:pt x="37751" y="208612"/>
                  </a:lnTo>
                  <a:lnTo>
                    <a:pt x="32607" y="203964"/>
                  </a:lnTo>
                  <a:lnTo>
                    <a:pt x="30573" y="203728"/>
                  </a:lnTo>
                  <a:cubicBezTo>
                    <a:pt x="29908" y="204036"/>
                    <a:pt x="29503" y="204774"/>
                    <a:pt x="29570" y="205531"/>
                  </a:cubicBezTo>
                  <a:lnTo>
                    <a:pt x="30192" y="211379"/>
                  </a:lnTo>
                  <a:lnTo>
                    <a:pt x="30192" y="217221"/>
                  </a:lnTo>
                  <a:lnTo>
                    <a:pt x="30207" y="217544"/>
                  </a:lnTo>
                  <a:lnTo>
                    <a:pt x="31349" y="223874"/>
                  </a:lnTo>
                  <a:lnTo>
                    <a:pt x="30799" y="229278"/>
                  </a:lnTo>
                  <a:lnTo>
                    <a:pt x="28640" y="234744"/>
                  </a:lnTo>
                  <a:lnTo>
                    <a:pt x="23438" y="241084"/>
                  </a:lnTo>
                  <a:lnTo>
                    <a:pt x="23158" y="242887"/>
                  </a:lnTo>
                  <a:lnTo>
                    <a:pt x="25212" y="248055"/>
                  </a:lnTo>
                  <a:lnTo>
                    <a:pt x="22045" y="253835"/>
                  </a:lnTo>
                  <a:lnTo>
                    <a:pt x="22161" y="255739"/>
                  </a:lnTo>
                  <a:lnTo>
                    <a:pt x="26143" y="261446"/>
                  </a:lnTo>
                  <a:lnTo>
                    <a:pt x="27594" y="266705"/>
                  </a:lnTo>
                  <a:lnTo>
                    <a:pt x="22903" y="271926"/>
                  </a:lnTo>
                  <a:lnTo>
                    <a:pt x="22445" y="273503"/>
                  </a:lnTo>
                  <a:lnTo>
                    <a:pt x="23655" y="279456"/>
                  </a:lnTo>
                  <a:lnTo>
                    <a:pt x="23916" y="280112"/>
                  </a:lnTo>
                  <a:lnTo>
                    <a:pt x="28032" y="286610"/>
                  </a:lnTo>
                  <a:lnTo>
                    <a:pt x="32935" y="293591"/>
                  </a:lnTo>
                  <a:lnTo>
                    <a:pt x="31392" y="295688"/>
                  </a:lnTo>
                  <a:lnTo>
                    <a:pt x="29281" y="291166"/>
                  </a:lnTo>
                  <a:lnTo>
                    <a:pt x="28143" y="290433"/>
                  </a:lnTo>
                  <a:lnTo>
                    <a:pt x="22223" y="289271"/>
                  </a:lnTo>
                  <a:cubicBezTo>
                    <a:pt x="21303" y="289064"/>
                    <a:pt x="20411" y="289585"/>
                    <a:pt x="20126" y="290496"/>
                  </a:cubicBezTo>
                  <a:lnTo>
                    <a:pt x="18328" y="296464"/>
                  </a:lnTo>
                  <a:lnTo>
                    <a:pt x="18275" y="297346"/>
                  </a:lnTo>
                  <a:lnTo>
                    <a:pt x="19490" y="303276"/>
                  </a:lnTo>
                  <a:lnTo>
                    <a:pt x="19702" y="303859"/>
                  </a:lnTo>
                  <a:lnTo>
                    <a:pt x="23289" y="309822"/>
                  </a:lnTo>
                  <a:cubicBezTo>
                    <a:pt x="23674" y="310463"/>
                    <a:pt x="24417" y="310772"/>
                    <a:pt x="25198" y="310632"/>
                  </a:cubicBezTo>
                  <a:lnTo>
                    <a:pt x="31151" y="309465"/>
                  </a:lnTo>
                  <a:cubicBezTo>
                    <a:pt x="31923" y="309350"/>
                    <a:pt x="32511" y="308641"/>
                    <a:pt x="32593" y="307841"/>
                  </a:cubicBezTo>
                  <a:lnTo>
                    <a:pt x="33060" y="299371"/>
                  </a:lnTo>
                  <a:lnTo>
                    <a:pt x="35379" y="296811"/>
                  </a:lnTo>
                  <a:lnTo>
                    <a:pt x="40855" y="301400"/>
                  </a:lnTo>
                  <a:lnTo>
                    <a:pt x="40855" y="306515"/>
                  </a:lnTo>
                  <a:lnTo>
                    <a:pt x="41207" y="307556"/>
                  </a:lnTo>
                  <a:lnTo>
                    <a:pt x="45613" y="313621"/>
                  </a:lnTo>
                  <a:lnTo>
                    <a:pt x="45613" y="319015"/>
                  </a:lnTo>
                  <a:lnTo>
                    <a:pt x="45946" y="320047"/>
                  </a:lnTo>
                  <a:lnTo>
                    <a:pt x="50121" y="326005"/>
                  </a:lnTo>
                  <a:lnTo>
                    <a:pt x="51625" y="326781"/>
                  </a:lnTo>
                  <a:lnTo>
                    <a:pt x="53095" y="326005"/>
                  </a:lnTo>
                  <a:lnTo>
                    <a:pt x="56908" y="320544"/>
                  </a:lnTo>
                  <a:lnTo>
                    <a:pt x="61527" y="319179"/>
                  </a:lnTo>
                  <a:lnTo>
                    <a:pt x="67408" y="322394"/>
                  </a:lnTo>
                  <a:lnTo>
                    <a:pt x="67610" y="322443"/>
                  </a:lnTo>
                  <a:lnTo>
                    <a:pt x="73549" y="324858"/>
                  </a:lnTo>
                  <a:lnTo>
                    <a:pt x="75512" y="324448"/>
                  </a:lnTo>
                  <a:lnTo>
                    <a:pt x="81374" y="318572"/>
                  </a:lnTo>
                  <a:lnTo>
                    <a:pt x="87259" y="313857"/>
                  </a:lnTo>
                  <a:lnTo>
                    <a:pt x="87534" y="313606"/>
                  </a:lnTo>
                  <a:lnTo>
                    <a:pt x="92895" y="307026"/>
                  </a:lnTo>
                  <a:lnTo>
                    <a:pt x="93179" y="306549"/>
                  </a:lnTo>
                  <a:lnTo>
                    <a:pt x="95556" y="300615"/>
                  </a:lnTo>
                  <a:lnTo>
                    <a:pt x="95489" y="299154"/>
                  </a:lnTo>
                  <a:lnTo>
                    <a:pt x="92717" y="293591"/>
                  </a:lnTo>
                  <a:lnTo>
                    <a:pt x="92717" y="288495"/>
                  </a:lnTo>
                  <a:lnTo>
                    <a:pt x="95937" y="282619"/>
                  </a:lnTo>
                  <a:lnTo>
                    <a:pt x="95879" y="279789"/>
                  </a:lnTo>
                  <a:close/>
                  <a:moveTo>
                    <a:pt x="94283" y="275518"/>
                  </a:moveTo>
                  <a:lnTo>
                    <a:pt x="93951" y="275518"/>
                  </a:lnTo>
                  <a:lnTo>
                    <a:pt x="93715" y="274998"/>
                  </a:lnTo>
                  <a:lnTo>
                    <a:pt x="94283" y="27551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0" name="Freihandform: Form 39">
              <a:extLst>
                <a:ext uri="{FF2B5EF4-FFF2-40B4-BE49-F238E27FC236}">
                  <a16:creationId xmlns:a16="http://schemas.microsoft.com/office/drawing/2014/main" id="{8913A869-95D5-E798-8D39-BF43D197A630}"/>
                </a:ext>
              </a:extLst>
            </p:cNvPr>
            <p:cNvSpPr/>
            <p:nvPr/>
          </p:nvSpPr>
          <p:spPr>
            <a:xfrm>
              <a:off x="6634139" y="5951626"/>
              <a:ext cx="6349" cy="9525"/>
            </a:xfrm>
            <a:custGeom>
              <a:avLst/>
              <a:gdLst>
                <a:gd name="connsiteX0" fmla="*/ 4742 w 5320"/>
                <a:gd name="connsiteY0" fmla="*/ 1461 h 7735"/>
                <a:gd name="connsiteX1" fmla="*/ 3021 w 5320"/>
                <a:gd name="connsiteY1" fmla="*/ 1 h 7735"/>
                <a:gd name="connsiteX2" fmla="*/ 1213 w 5320"/>
                <a:gd name="connsiteY2" fmla="*/ 1331 h 7735"/>
                <a:gd name="connsiteX3" fmla="*/ 17 w 5320"/>
                <a:gd name="connsiteY3" fmla="*/ 5491 h 7735"/>
                <a:gd name="connsiteX4" fmla="*/ 17 w 5320"/>
                <a:gd name="connsiteY4" fmla="*/ 5544 h 7735"/>
                <a:gd name="connsiteX5" fmla="*/ 100 w 5320"/>
                <a:gd name="connsiteY5" fmla="*/ 6248 h 7735"/>
                <a:gd name="connsiteX6" fmla="*/ 220 w 5320"/>
                <a:gd name="connsiteY6" fmla="*/ 6899 h 7735"/>
                <a:gd name="connsiteX7" fmla="*/ 249 w 5320"/>
                <a:gd name="connsiteY7" fmla="*/ 7000 h 7735"/>
                <a:gd name="connsiteX8" fmla="*/ 717 w 5320"/>
                <a:gd name="connsiteY8" fmla="*/ 7342 h 7735"/>
                <a:gd name="connsiteX9" fmla="*/ 1237 w 5320"/>
                <a:gd name="connsiteY9" fmla="*/ 7718 h 7735"/>
                <a:gd name="connsiteX10" fmla="*/ 1314 w 5320"/>
                <a:gd name="connsiteY10" fmla="*/ 7718 h 7735"/>
                <a:gd name="connsiteX11" fmla="*/ 1999 w 5320"/>
                <a:gd name="connsiteY11" fmla="*/ 7646 h 7735"/>
                <a:gd name="connsiteX12" fmla="*/ 2703 w 5320"/>
                <a:gd name="connsiteY12" fmla="*/ 7506 h 7735"/>
                <a:gd name="connsiteX13" fmla="*/ 2751 w 5320"/>
                <a:gd name="connsiteY13" fmla="*/ 7506 h 7735"/>
                <a:gd name="connsiteX14" fmla="*/ 4554 w 5320"/>
                <a:gd name="connsiteY14" fmla="*/ 6301 h 7735"/>
                <a:gd name="connsiteX15" fmla="*/ 5320 w 5320"/>
                <a:gd name="connsiteY15" fmla="*/ 4416 h 7735"/>
                <a:gd name="connsiteX16" fmla="*/ 4742 w 5320"/>
                <a:gd name="connsiteY16" fmla="*/ 1461 h 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20" h="7735">
                  <a:moveTo>
                    <a:pt x="4742" y="1461"/>
                  </a:moveTo>
                  <a:cubicBezTo>
                    <a:pt x="4568" y="651"/>
                    <a:pt x="3855" y="19"/>
                    <a:pt x="3021" y="1"/>
                  </a:cubicBezTo>
                  <a:cubicBezTo>
                    <a:pt x="2197" y="-19"/>
                    <a:pt x="1425" y="492"/>
                    <a:pt x="1213" y="1331"/>
                  </a:cubicBezTo>
                  <a:lnTo>
                    <a:pt x="17" y="5491"/>
                  </a:lnTo>
                  <a:cubicBezTo>
                    <a:pt x="13" y="5491"/>
                    <a:pt x="17" y="5510"/>
                    <a:pt x="17" y="5544"/>
                  </a:cubicBezTo>
                  <a:cubicBezTo>
                    <a:pt x="-40" y="5795"/>
                    <a:pt x="61" y="6021"/>
                    <a:pt x="100" y="6248"/>
                  </a:cubicBezTo>
                  <a:cubicBezTo>
                    <a:pt x="109" y="6470"/>
                    <a:pt x="100" y="6720"/>
                    <a:pt x="220" y="6899"/>
                  </a:cubicBezTo>
                  <a:cubicBezTo>
                    <a:pt x="249" y="6961"/>
                    <a:pt x="220" y="6976"/>
                    <a:pt x="249" y="7000"/>
                  </a:cubicBezTo>
                  <a:cubicBezTo>
                    <a:pt x="350" y="7164"/>
                    <a:pt x="582" y="7188"/>
                    <a:pt x="717" y="7342"/>
                  </a:cubicBezTo>
                  <a:cubicBezTo>
                    <a:pt x="909" y="7453"/>
                    <a:pt x="1020" y="7646"/>
                    <a:pt x="1237" y="7718"/>
                  </a:cubicBezTo>
                  <a:cubicBezTo>
                    <a:pt x="1281" y="7762"/>
                    <a:pt x="1290" y="7709"/>
                    <a:pt x="1314" y="7718"/>
                  </a:cubicBezTo>
                  <a:cubicBezTo>
                    <a:pt x="1546" y="7762"/>
                    <a:pt x="1791" y="7679"/>
                    <a:pt x="1999" y="7646"/>
                  </a:cubicBezTo>
                  <a:cubicBezTo>
                    <a:pt x="2259" y="7588"/>
                    <a:pt x="2500" y="7612"/>
                    <a:pt x="2703" y="7506"/>
                  </a:cubicBezTo>
                  <a:cubicBezTo>
                    <a:pt x="2703" y="7506"/>
                    <a:pt x="2736" y="7506"/>
                    <a:pt x="2751" y="7506"/>
                  </a:cubicBezTo>
                  <a:lnTo>
                    <a:pt x="4554" y="6301"/>
                  </a:lnTo>
                  <a:lnTo>
                    <a:pt x="5320" y="4416"/>
                  </a:lnTo>
                  <a:lnTo>
                    <a:pt x="4742" y="146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1" name="Freihandform: Form 40">
              <a:extLst>
                <a:ext uri="{FF2B5EF4-FFF2-40B4-BE49-F238E27FC236}">
                  <a16:creationId xmlns:a16="http://schemas.microsoft.com/office/drawing/2014/main" id="{609EE9B7-CBB3-F7C7-6DA5-11025753DDB9}"/>
                </a:ext>
              </a:extLst>
            </p:cNvPr>
            <p:cNvSpPr/>
            <p:nvPr/>
          </p:nvSpPr>
          <p:spPr>
            <a:xfrm>
              <a:off x="5726191" y="6280250"/>
              <a:ext cx="439687" cy="295286"/>
            </a:xfrm>
            <a:custGeom>
              <a:avLst/>
              <a:gdLst>
                <a:gd name="connsiteX0" fmla="*/ 342936 w 344381"/>
                <a:gd name="connsiteY0" fmla="*/ 2396 h 231505"/>
                <a:gd name="connsiteX1" fmla="*/ 336418 w 344381"/>
                <a:gd name="connsiteY1" fmla="*/ 1186 h 231505"/>
                <a:gd name="connsiteX2" fmla="*/ 336418 w 344381"/>
                <a:gd name="connsiteY2" fmla="*/ 1186 h 231505"/>
                <a:gd name="connsiteX3" fmla="*/ 330469 w 344381"/>
                <a:gd name="connsiteY3" fmla="*/ 0 h 231505"/>
                <a:gd name="connsiteX4" fmla="*/ 328965 w 344381"/>
                <a:gd name="connsiteY4" fmla="*/ 352 h 231505"/>
                <a:gd name="connsiteX5" fmla="*/ 323108 w 344381"/>
                <a:gd name="connsiteY5" fmla="*/ 5047 h 231505"/>
                <a:gd name="connsiteX6" fmla="*/ 316711 w 344381"/>
                <a:gd name="connsiteY6" fmla="*/ 9116 h 231505"/>
                <a:gd name="connsiteX7" fmla="*/ 310931 w 344381"/>
                <a:gd name="connsiteY7" fmla="*/ 12014 h 231505"/>
                <a:gd name="connsiteX8" fmla="*/ 305136 w 344381"/>
                <a:gd name="connsiteY8" fmla="*/ 14154 h 231505"/>
                <a:gd name="connsiteX9" fmla="*/ 299834 w 344381"/>
                <a:gd name="connsiteY9" fmla="*/ 12014 h 231505"/>
                <a:gd name="connsiteX10" fmla="*/ 297486 w 344381"/>
                <a:gd name="connsiteY10" fmla="*/ 13021 h 231505"/>
                <a:gd name="connsiteX11" fmla="*/ 295240 w 344381"/>
                <a:gd name="connsiteY11" fmla="*/ 18627 h 231505"/>
                <a:gd name="connsiteX12" fmla="*/ 289691 w 344381"/>
                <a:gd name="connsiteY12" fmla="*/ 24152 h 231505"/>
                <a:gd name="connsiteX13" fmla="*/ 284836 w 344381"/>
                <a:gd name="connsiteY13" fmla="*/ 27059 h 231505"/>
                <a:gd name="connsiteX14" fmla="*/ 279220 w 344381"/>
                <a:gd name="connsiteY14" fmla="*/ 23969 h 231505"/>
                <a:gd name="connsiteX15" fmla="*/ 278348 w 344381"/>
                <a:gd name="connsiteY15" fmla="*/ 23786 h 231505"/>
                <a:gd name="connsiteX16" fmla="*/ 272370 w 344381"/>
                <a:gd name="connsiteY16" fmla="*/ 23786 h 231505"/>
                <a:gd name="connsiteX17" fmla="*/ 266870 w 344381"/>
                <a:gd name="connsiteY17" fmla="*/ 19910 h 231505"/>
                <a:gd name="connsiteX18" fmla="*/ 265023 w 344381"/>
                <a:gd name="connsiteY18" fmla="*/ 19804 h 231505"/>
                <a:gd name="connsiteX19" fmla="*/ 241151 w 344381"/>
                <a:gd name="connsiteY19" fmla="*/ 31094 h 231505"/>
                <a:gd name="connsiteX20" fmla="*/ 237232 w 344381"/>
                <a:gd name="connsiteY20" fmla="*/ 36628 h 231505"/>
                <a:gd name="connsiteX21" fmla="*/ 231177 w 344381"/>
                <a:gd name="connsiteY21" fmla="*/ 39400 h 231505"/>
                <a:gd name="connsiteX22" fmla="*/ 231110 w 344381"/>
                <a:gd name="connsiteY22" fmla="*/ 39443 h 231505"/>
                <a:gd name="connsiteX23" fmla="*/ 225320 w 344381"/>
                <a:gd name="connsiteY23" fmla="*/ 42326 h 231505"/>
                <a:gd name="connsiteX24" fmla="*/ 219178 w 344381"/>
                <a:gd name="connsiteY24" fmla="*/ 44008 h 231505"/>
                <a:gd name="connsiteX25" fmla="*/ 213466 w 344381"/>
                <a:gd name="connsiteY25" fmla="*/ 44008 h 231505"/>
                <a:gd name="connsiteX26" fmla="*/ 212656 w 344381"/>
                <a:gd name="connsiteY26" fmla="*/ 44187 h 231505"/>
                <a:gd name="connsiteX27" fmla="*/ 206939 w 344381"/>
                <a:gd name="connsiteY27" fmla="*/ 47060 h 231505"/>
                <a:gd name="connsiteX28" fmla="*/ 201303 w 344381"/>
                <a:gd name="connsiteY28" fmla="*/ 48207 h 231505"/>
                <a:gd name="connsiteX29" fmla="*/ 195036 w 344381"/>
                <a:gd name="connsiteY29" fmla="*/ 48757 h 231505"/>
                <a:gd name="connsiteX30" fmla="*/ 189261 w 344381"/>
                <a:gd name="connsiteY30" fmla="*/ 48193 h 231505"/>
                <a:gd name="connsiteX31" fmla="*/ 189261 w 344381"/>
                <a:gd name="connsiteY31" fmla="*/ 48193 h 231505"/>
                <a:gd name="connsiteX32" fmla="*/ 183905 w 344381"/>
                <a:gd name="connsiteY32" fmla="*/ 47609 h 231505"/>
                <a:gd name="connsiteX33" fmla="*/ 183510 w 344381"/>
                <a:gd name="connsiteY33" fmla="*/ 47609 h 231505"/>
                <a:gd name="connsiteX34" fmla="*/ 178005 w 344381"/>
                <a:gd name="connsiteY34" fmla="*/ 48135 h 231505"/>
                <a:gd name="connsiteX35" fmla="*/ 171829 w 344381"/>
                <a:gd name="connsiteY35" fmla="*/ 45884 h 231505"/>
                <a:gd name="connsiteX36" fmla="*/ 170682 w 344381"/>
                <a:gd name="connsiteY36" fmla="*/ 45869 h 231505"/>
                <a:gd name="connsiteX37" fmla="*/ 164738 w 344381"/>
                <a:gd name="connsiteY37" fmla="*/ 47657 h 231505"/>
                <a:gd name="connsiteX38" fmla="*/ 164295 w 344381"/>
                <a:gd name="connsiteY38" fmla="*/ 47846 h 231505"/>
                <a:gd name="connsiteX39" fmla="*/ 157844 w 344381"/>
                <a:gd name="connsiteY39" fmla="*/ 51972 h 231505"/>
                <a:gd name="connsiteX40" fmla="*/ 152026 w 344381"/>
                <a:gd name="connsiteY40" fmla="*/ 54864 h 231505"/>
                <a:gd name="connsiteX41" fmla="*/ 146492 w 344381"/>
                <a:gd name="connsiteY41" fmla="*/ 57092 h 231505"/>
                <a:gd name="connsiteX42" fmla="*/ 141107 w 344381"/>
                <a:gd name="connsiteY42" fmla="*/ 57092 h 231505"/>
                <a:gd name="connsiteX43" fmla="*/ 134956 w 344381"/>
                <a:gd name="connsiteY43" fmla="*/ 55419 h 231505"/>
                <a:gd name="connsiteX44" fmla="*/ 128597 w 344381"/>
                <a:gd name="connsiteY44" fmla="*/ 52536 h 231505"/>
                <a:gd name="connsiteX45" fmla="*/ 122697 w 344381"/>
                <a:gd name="connsiteY45" fmla="*/ 49321 h 231505"/>
                <a:gd name="connsiteX46" fmla="*/ 120547 w 344381"/>
                <a:gd name="connsiteY46" fmla="*/ 43401 h 231505"/>
                <a:gd name="connsiteX47" fmla="*/ 119028 w 344381"/>
                <a:gd name="connsiteY47" fmla="*/ 42254 h 231505"/>
                <a:gd name="connsiteX48" fmla="*/ 113089 w 344381"/>
                <a:gd name="connsiteY48" fmla="*/ 41622 h 231505"/>
                <a:gd name="connsiteX49" fmla="*/ 112718 w 344381"/>
                <a:gd name="connsiteY49" fmla="*/ 41622 h 231505"/>
                <a:gd name="connsiteX50" fmla="*/ 107357 w 344381"/>
                <a:gd name="connsiteY50" fmla="*/ 42196 h 231505"/>
                <a:gd name="connsiteX51" fmla="*/ 102652 w 344381"/>
                <a:gd name="connsiteY51" fmla="*/ 39328 h 231505"/>
                <a:gd name="connsiteX52" fmla="*/ 101601 w 344381"/>
                <a:gd name="connsiteY52" fmla="*/ 33595 h 231505"/>
                <a:gd name="connsiteX53" fmla="*/ 100970 w 344381"/>
                <a:gd name="connsiteY53" fmla="*/ 32550 h 231505"/>
                <a:gd name="connsiteX54" fmla="*/ 94428 w 344381"/>
                <a:gd name="connsiteY54" fmla="*/ 27169 h 231505"/>
                <a:gd name="connsiteX55" fmla="*/ 92451 w 344381"/>
                <a:gd name="connsiteY55" fmla="*/ 26948 h 231505"/>
                <a:gd name="connsiteX56" fmla="*/ 86512 w 344381"/>
                <a:gd name="connsiteY56" fmla="*/ 29918 h 231505"/>
                <a:gd name="connsiteX57" fmla="*/ 86281 w 344381"/>
                <a:gd name="connsiteY57" fmla="*/ 30033 h 231505"/>
                <a:gd name="connsiteX58" fmla="*/ 81036 w 344381"/>
                <a:gd name="connsiteY58" fmla="*/ 33692 h 231505"/>
                <a:gd name="connsiteX59" fmla="*/ 75941 w 344381"/>
                <a:gd name="connsiteY59" fmla="*/ 32183 h 231505"/>
                <a:gd name="connsiteX60" fmla="*/ 74451 w 344381"/>
                <a:gd name="connsiteY60" fmla="*/ 32381 h 231505"/>
                <a:gd name="connsiteX61" fmla="*/ 67885 w 344381"/>
                <a:gd name="connsiteY61" fmla="*/ 36546 h 231505"/>
                <a:gd name="connsiteX62" fmla="*/ 67047 w 344381"/>
                <a:gd name="connsiteY62" fmla="*/ 37930 h 231505"/>
                <a:gd name="connsiteX63" fmla="*/ 66502 w 344381"/>
                <a:gd name="connsiteY63" fmla="*/ 43551 h 231505"/>
                <a:gd name="connsiteX64" fmla="*/ 63889 w 344381"/>
                <a:gd name="connsiteY64" fmla="*/ 49249 h 231505"/>
                <a:gd name="connsiteX65" fmla="*/ 57892 w 344381"/>
                <a:gd name="connsiteY65" fmla="*/ 52555 h 231505"/>
                <a:gd name="connsiteX66" fmla="*/ 57675 w 344381"/>
                <a:gd name="connsiteY66" fmla="*/ 52686 h 231505"/>
                <a:gd name="connsiteX67" fmla="*/ 55626 w 344381"/>
                <a:gd name="connsiteY67" fmla="*/ 54219 h 231505"/>
                <a:gd name="connsiteX68" fmla="*/ 50324 w 344381"/>
                <a:gd name="connsiteY68" fmla="*/ 55192 h 231505"/>
                <a:gd name="connsiteX69" fmla="*/ 45136 w 344381"/>
                <a:gd name="connsiteY69" fmla="*/ 51075 h 231505"/>
                <a:gd name="connsiteX70" fmla="*/ 40697 w 344381"/>
                <a:gd name="connsiteY70" fmla="*/ 45493 h 231505"/>
                <a:gd name="connsiteX71" fmla="*/ 38426 w 344381"/>
                <a:gd name="connsiteY71" fmla="*/ 39776 h 231505"/>
                <a:gd name="connsiteX72" fmla="*/ 37071 w 344381"/>
                <a:gd name="connsiteY72" fmla="*/ 38667 h 231505"/>
                <a:gd name="connsiteX73" fmla="*/ 31127 w 344381"/>
                <a:gd name="connsiteY73" fmla="*/ 37462 h 231505"/>
                <a:gd name="connsiteX74" fmla="*/ 29705 w 344381"/>
                <a:gd name="connsiteY74" fmla="*/ 37789 h 231505"/>
                <a:gd name="connsiteX75" fmla="*/ 28953 w 344381"/>
                <a:gd name="connsiteY75" fmla="*/ 39077 h 231505"/>
                <a:gd name="connsiteX76" fmla="*/ 28500 w 344381"/>
                <a:gd name="connsiteY76" fmla="*/ 43850 h 231505"/>
                <a:gd name="connsiteX77" fmla="*/ 23703 w 344381"/>
                <a:gd name="connsiteY77" fmla="*/ 45262 h 231505"/>
                <a:gd name="connsiteX78" fmla="*/ 22812 w 344381"/>
                <a:gd name="connsiteY78" fmla="*/ 45860 h 231505"/>
                <a:gd name="connsiteX79" fmla="*/ 18430 w 344381"/>
                <a:gd name="connsiteY79" fmla="*/ 51355 h 231505"/>
                <a:gd name="connsiteX80" fmla="*/ 12471 w 344381"/>
                <a:gd name="connsiteY80" fmla="*/ 53004 h 231505"/>
                <a:gd name="connsiteX81" fmla="*/ 11512 w 344381"/>
                <a:gd name="connsiteY81" fmla="*/ 53606 h 231505"/>
                <a:gd name="connsiteX82" fmla="*/ 6759 w 344381"/>
                <a:gd name="connsiteY82" fmla="*/ 59570 h 231505"/>
                <a:gd name="connsiteX83" fmla="*/ 6363 w 344381"/>
                <a:gd name="connsiteY83" fmla="*/ 60538 h 231505"/>
                <a:gd name="connsiteX84" fmla="*/ 5785 w 344381"/>
                <a:gd name="connsiteY84" fmla="*/ 66232 h 231505"/>
                <a:gd name="connsiteX85" fmla="*/ 3485 w 344381"/>
                <a:gd name="connsiteY85" fmla="*/ 72557 h 231505"/>
                <a:gd name="connsiteX86" fmla="*/ 3399 w 344381"/>
                <a:gd name="connsiteY86" fmla="*/ 73540 h 231505"/>
                <a:gd name="connsiteX87" fmla="*/ 4527 w 344381"/>
                <a:gd name="connsiteY87" fmla="*/ 79064 h 231505"/>
                <a:gd name="connsiteX88" fmla="*/ 2888 w 344381"/>
                <a:gd name="connsiteY88" fmla="*/ 85023 h 231505"/>
                <a:gd name="connsiteX89" fmla="*/ 0 w 344381"/>
                <a:gd name="connsiteY89" fmla="*/ 90803 h 231505"/>
                <a:gd name="connsiteX90" fmla="*/ 39 w 344381"/>
                <a:gd name="connsiteY90" fmla="*/ 92510 h 231505"/>
                <a:gd name="connsiteX91" fmla="*/ 3500 w 344381"/>
                <a:gd name="connsiteY91" fmla="*/ 98897 h 231505"/>
                <a:gd name="connsiteX92" fmla="*/ 5216 w 344381"/>
                <a:gd name="connsiteY92" fmla="*/ 104692 h 231505"/>
                <a:gd name="connsiteX93" fmla="*/ 5838 w 344381"/>
                <a:gd name="connsiteY93" fmla="*/ 105540 h 231505"/>
                <a:gd name="connsiteX94" fmla="*/ 11782 w 344381"/>
                <a:gd name="connsiteY94" fmla="*/ 110317 h 231505"/>
                <a:gd name="connsiteX95" fmla="*/ 12462 w 344381"/>
                <a:gd name="connsiteY95" fmla="*/ 110645 h 231505"/>
                <a:gd name="connsiteX96" fmla="*/ 18367 w 344381"/>
                <a:gd name="connsiteY96" fmla="*/ 112236 h 231505"/>
                <a:gd name="connsiteX97" fmla="*/ 22132 w 344381"/>
                <a:gd name="connsiteY97" fmla="*/ 117659 h 231505"/>
                <a:gd name="connsiteX98" fmla="*/ 22411 w 344381"/>
                <a:gd name="connsiteY98" fmla="*/ 117987 h 231505"/>
                <a:gd name="connsiteX99" fmla="*/ 28370 w 344381"/>
                <a:gd name="connsiteY99" fmla="*/ 123348 h 231505"/>
                <a:gd name="connsiteX100" fmla="*/ 30110 w 344381"/>
                <a:gd name="connsiteY100" fmla="*/ 123724 h 231505"/>
                <a:gd name="connsiteX101" fmla="*/ 36011 w 344381"/>
                <a:gd name="connsiteY101" fmla="*/ 121945 h 231505"/>
                <a:gd name="connsiteX102" fmla="*/ 36011 w 344381"/>
                <a:gd name="connsiteY102" fmla="*/ 121945 h 231505"/>
                <a:gd name="connsiteX103" fmla="*/ 36025 w 344381"/>
                <a:gd name="connsiteY103" fmla="*/ 121940 h 231505"/>
                <a:gd name="connsiteX104" fmla="*/ 36069 w 344381"/>
                <a:gd name="connsiteY104" fmla="*/ 121940 h 231505"/>
                <a:gd name="connsiteX105" fmla="*/ 36069 w 344381"/>
                <a:gd name="connsiteY105" fmla="*/ 121940 h 231505"/>
                <a:gd name="connsiteX106" fmla="*/ 54315 w 344381"/>
                <a:gd name="connsiteY106" fmla="*/ 120827 h 231505"/>
                <a:gd name="connsiteX107" fmla="*/ 59531 w 344381"/>
                <a:gd name="connsiteY107" fmla="*/ 122393 h 231505"/>
                <a:gd name="connsiteX108" fmla="*/ 64549 w 344381"/>
                <a:gd name="connsiteY108" fmla="*/ 127932 h 231505"/>
                <a:gd name="connsiteX109" fmla="*/ 65552 w 344381"/>
                <a:gd name="connsiteY109" fmla="*/ 128496 h 231505"/>
                <a:gd name="connsiteX110" fmla="*/ 71477 w 344381"/>
                <a:gd name="connsiteY110" fmla="*/ 129711 h 231505"/>
                <a:gd name="connsiteX111" fmla="*/ 71698 w 344381"/>
                <a:gd name="connsiteY111" fmla="*/ 129750 h 231505"/>
                <a:gd name="connsiteX112" fmla="*/ 78047 w 344381"/>
                <a:gd name="connsiteY112" fmla="*/ 130323 h 231505"/>
                <a:gd name="connsiteX113" fmla="*/ 83480 w 344381"/>
                <a:gd name="connsiteY113" fmla="*/ 131933 h 231505"/>
                <a:gd name="connsiteX114" fmla="*/ 89010 w 344381"/>
                <a:gd name="connsiteY114" fmla="*/ 136387 h 231505"/>
                <a:gd name="connsiteX115" fmla="*/ 94255 w 344381"/>
                <a:gd name="connsiteY115" fmla="*/ 142756 h 231505"/>
                <a:gd name="connsiteX116" fmla="*/ 94819 w 344381"/>
                <a:gd name="connsiteY116" fmla="*/ 143267 h 231505"/>
                <a:gd name="connsiteX117" fmla="*/ 95980 w 344381"/>
                <a:gd name="connsiteY117" fmla="*/ 143869 h 231505"/>
                <a:gd name="connsiteX118" fmla="*/ 102522 w 344381"/>
                <a:gd name="connsiteY118" fmla="*/ 147442 h 231505"/>
                <a:gd name="connsiteX119" fmla="*/ 102551 w 344381"/>
                <a:gd name="connsiteY119" fmla="*/ 147442 h 231505"/>
                <a:gd name="connsiteX120" fmla="*/ 108307 w 344381"/>
                <a:gd name="connsiteY120" fmla="*/ 150305 h 231505"/>
                <a:gd name="connsiteX121" fmla="*/ 114733 w 344381"/>
                <a:gd name="connsiteY121" fmla="*/ 155492 h 231505"/>
                <a:gd name="connsiteX122" fmla="*/ 115683 w 344381"/>
                <a:gd name="connsiteY122" fmla="*/ 155955 h 231505"/>
                <a:gd name="connsiteX123" fmla="*/ 121636 w 344381"/>
                <a:gd name="connsiteY123" fmla="*/ 156509 h 231505"/>
                <a:gd name="connsiteX124" fmla="*/ 126997 w 344381"/>
                <a:gd name="connsiteY124" fmla="*/ 157040 h 231505"/>
                <a:gd name="connsiteX125" fmla="*/ 133076 w 344381"/>
                <a:gd name="connsiteY125" fmla="*/ 162602 h 231505"/>
                <a:gd name="connsiteX126" fmla="*/ 139058 w 344381"/>
                <a:gd name="connsiteY126" fmla="*/ 167949 h 231505"/>
                <a:gd name="connsiteX127" fmla="*/ 139338 w 344381"/>
                <a:gd name="connsiteY127" fmla="*/ 168175 h 231505"/>
                <a:gd name="connsiteX128" fmla="*/ 145291 w 344381"/>
                <a:gd name="connsiteY128" fmla="*/ 171728 h 231505"/>
                <a:gd name="connsiteX129" fmla="*/ 145884 w 344381"/>
                <a:gd name="connsiteY129" fmla="*/ 171960 h 231505"/>
                <a:gd name="connsiteX130" fmla="*/ 152368 w 344381"/>
                <a:gd name="connsiteY130" fmla="*/ 173141 h 231505"/>
                <a:gd name="connsiteX131" fmla="*/ 158486 w 344381"/>
                <a:gd name="connsiteY131" fmla="*/ 174804 h 231505"/>
                <a:gd name="connsiteX132" fmla="*/ 164135 w 344381"/>
                <a:gd name="connsiteY132" fmla="*/ 179331 h 231505"/>
                <a:gd name="connsiteX133" fmla="*/ 165442 w 344381"/>
                <a:gd name="connsiteY133" fmla="*/ 179697 h 231505"/>
                <a:gd name="connsiteX134" fmla="*/ 171969 w 344381"/>
                <a:gd name="connsiteY134" fmla="*/ 179123 h 231505"/>
                <a:gd name="connsiteX135" fmla="*/ 215167 w 344381"/>
                <a:gd name="connsiteY135" fmla="*/ 191671 h 231505"/>
                <a:gd name="connsiteX136" fmla="*/ 215167 w 344381"/>
                <a:gd name="connsiteY136" fmla="*/ 191671 h 231505"/>
                <a:gd name="connsiteX137" fmla="*/ 216893 w 344381"/>
                <a:gd name="connsiteY137" fmla="*/ 193422 h 231505"/>
                <a:gd name="connsiteX138" fmla="*/ 221483 w 344381"/>
                <a:gd name="connsiteY138" fmla="*/ 199134 h 231505"/>
                <a:gd name="connsiteX139" fmla="*/ 224958 w 344381"/>
                <a:gd name="connsiteY139" fmla="*/ 205555 h 231505"/>
                <a:gd name="connsiteX140" fmla="*/ 227918 w 344381"/>
                <a:gd name="connsiteY140" fmla="*/ 211460 h 231505"/>
                <a:gd name="connsiteX141" fmla="*/ 228034 w 344381"/>
                <a:gd name="connsiteY141" fmla="*/ 211625 h 231505"/>
                <a:gd name="connsiteX142" fmla="*/ 232165 w 344381"/>
                <a:gd name="connsiteY142" fmla="*/ 218171 h 231505"/>
                <a:gd name="connsiteX143" fmla="*/ 233877 w 344381"/>
                <a:gd name="connsiteY143" fmla="*/ 218990 h 231505"/>
                <a:gd name="connsiteX144" fmla="*/ 240009 w 344381"/>
                <a:gd name="connsiteY144" fmla="*/ 218427 h 231505"/>
                <a:gd name="connsiteX145" fmla="*/ 246165 w 344381"/>
                <a:gd name="connsiteY145" fmla="*/ 220673 h 231505"/>
                <a:gd name="connsiteX146" fmla="*/ 246329 w 344381"/>
                <a:gd name="connsiteY146" fmla="*/ 220740 h 231505"/>
                <a:gd name="connsiteX147" fmla="*/ 252706 w 344381"/>
                <a:gd name="connsiteY147" fmla="*/ 222471 h 231505"/>
                <a:gd name="connsiteX148" fmla="*/ 258491 w 344381"/>
                <a:gd name="connsiteY148" fmla="*/ 225378 h 231505"/>
                <a:gd name="connsiteX149" fmla="*/ 258940 w 344381"/>
                <a:gd name="connsiteY149" fmla="*/ 225532 h 231505"/>
                <a:gd name="connsiteX150" fmla="*/ 264898 w 344381"/>
                <a:gd name="connsiteY150" fmla="*/ 226713 h 231505"/>
                <a:gd name="connsiteX151" fmla="*/ 265756 w 344381"/>
                <a:gd name="connsiteY151" fmla="*/ 226709 h 231505"/>
                <a:gd name="connsiteX152" fmla="*/ 271719 w 344381"/>
                <a:gd name="connsiteY152" fmla="*/ 224896 h 231505"/>
                <a:gd name="connsiteX153" fmla="*/ 271719 w 344381"/>
                <a:gd name="connsiteY153" fmla="*/ 224871 h 231505"/>
                <a:gd name="connsiteX154" fmla="*/ 277456 w 344381"/>
                <a:gd name="connsiteY154" fmla="*/ 223314 h 231505"/>
                <a:gd name="connsiteX155" fmla="*/ 283323 w 344381"/>
                <a:gd name="connsiteY155" fmla="*/ 227061 h 231505"/>
                <a:gd name="connsiteX156" fmla="*/ 284624 w 344381"/>
                <a:gd name="connsiteY156" fmla="*/ 227335 h 231505"/>
                <a:gd name="connsiteX157" fmla="*/ 290723 w 344381"/>
                <a:gd name="connsiteY157" fmla="*/ 226202 h 231505"/>
                <a:gd name="connsiteX158" fmla="*/ 293625 w 344381"/>
                <a:gd name="connsiteY158" fmla="*/ 227195 h 231505"/>
                <a:gd name="connsiteX159" fmla="*/ 299998 w 344381"/>
                <a:gd name="connsiteY159" fmla="*/ 231249 h 231505"/>
                <a:gd name="connsiteX160" fmla="*/ 301381 w 344381"/>
                <a:gd name="connsiteY160" fmla="*/ 231505 h 231505"/>
                <a:gd name="connsiteX161" fmla="*/ 302514 w 344381"/>
                <a:gd name="connsiteY161" fmla="*/ 230642 h 231505"/>
                <a:gd name="connsiteX162" fmla="*/ 306081 w 344381"/>
                <a:gd name="connsiteY162" fmla="*/ 224684 h 231505"/>
                <a:gd name="connsiteX163" fmla="*/ 306264 w 344381"/>
                <a:gd name="connsiteY163" fmla="*/ 223233 h 231505"/>
                <a:gd name="connsiteX164" fmla="*/ 304500 w 344381"/>
                <a:gd name="connsiteY164" fmla="*/ 217308 h 231505"/>
                <a:gd name="connsiteX165" fmla="*/ 304399 w 344381"/>
                <a:gd name="connsiteY165" fmla="*/ 217043 h 231505"/>
                <a:gd name="connsiteX166" fmla="*/ 301627 w 344381"/>
                <a:gd name="connsiteY166" fmla="*/ 210930 h 231505"/>
                <a:gd name="connsiteX167" fmla="*/ 302138 w 344381"/>
                <a:gd name="connsiteY167" fmla="*/ 205772 h 231505"/>
                <a:gd name="connsiteX168" fmla="*/ 305001 w 344381"/>
                <a:gd name="connsiteY168" fmla="*/ 199500 h 231505"/>
                <a:gd name="connsiteX169" fmla="*/ 305040 w 344381"/>
                <a:gd name="connsiteY169" fmla="*/ 199360 h 231505"/>
                <a:gd name="connsiteX170" fmla="*/ 307282 w 344381"/>
                <a:gd name="connsiteY170" fmla="*/ 193224 h 231505"/>
                <a:gd name="connsiteX171" fmla="*/ 312956 w 344381"/>
                <a:gd name="connsiteY171" fmla="*/ 187535 h 231505"/>
                <a:gd name="connsiteX172" fmla="*/ 313014 w 344381"/>
                <a:gd name="connsiteY172" fmla="*/ 187434 h 231505"/>
                <a:gd name="connsiteX173" fmla="*/ 318138 w 344381"/>
                <a:gd name="connsiteY173" fmla="*/ 181760 h 231505"/>
                <a:gd name="connsiteX174" fmla="*/ 323788 w 344381"/>
                <a:gd name="connsiteY174" fmla="*/ 178940 h 231505"/>
                <a:gd name="connsiteX175" fmla="*/ 324791 w 344381"/>
                <a:gd name="connsiteY175" fmla="*/ 177363 h 231505"/>
                <a:gd name="connsiteX176" fmla="*/ 323918 w 344381"/>
                <a:gd name="connsiteY176" fmla="*/ 175773 h 231505"/>
                <a:gd name="connsiteX177" fmla="*/ 319247 w 344381"/>
                <a:gd name="connsiteY177" fmla="*/ 172991 h 231505"/>
                <a:gd name="connsiteX178" fmla="*/ 321107 w 344381"/>
                <a:gd name="connsiteY178" fmla="*/ 167829 h 231505"/>
                <a:gd name="connsiteX179" fmla="*/ 320987 w 344381"/>
                <a:gd name="connsiteY179" fmla="*/ 166319 h 231505"/>
                <a:gd name="connsiteX180" fmla="*/ 319758 w 344381"/>
                <a:gd name="connsiteY180" fmla="*/ 165423 h 231505"/>
                <a:gd name="connsiteX181" fmla="*/ 314932 w 344381"/>
                <a:gd name="connsiteY181" fmla="*/ 164463 h 231505"/>
                <a:gd name="connsiteX182" fmla="*/ 313433 w 344381"/>
                <a:gd name="connsiteY182" fmla="*/ 158953 h 231505"/>
                <a:gd name="connsiteX183" fmla="*/ 312536 w 344381"/>
                <a:gd name="connsiteY183" fmla="*/ 157849 h 231505"/>
                <a:gd name="connsiteX184" fmla="*/ 307783 w 344381"/>
                <a:gd name="connsiteY184" fmla="*/ 155285 h 231505"/>
                <a:gd name="connsiteX185" fmla="*/ 310786 w 344381"/>
                <a:gd name="connsiteY185" fmla="*/ 151004 h 231505"/>
                <a:gd name="connsiteX186" fmla="*/ 311114 w 344381"/>
                <a:gd name="connsiteY186" fmla="*/ 149794 h 231505"/>
                <a:gd name="connsiteX187" fmla="*/ 310511 w 344381"/>
                <a:gd name="connsiteY187" fmla="*/ 143257 h 231505"/>
                <a:gd name="connsiteX188" fmla="*/ 309171 w 344381"/>
                <a:gd name="connsiteY188" fmla="*/ 141618 h 231505"/>
                <a:gd name="connsiteX189" fmla="*/ 302745 w 344381"/>
                <a:gd name="connsiteY189" fmla="*/ 139864 h 231505"/>
                <a:gd name="connsiteX190" fmla="*/ 297529 w 344381"/>
                <a:gd name="connsiteY190" fmla="*/ 137805 h 231505"/>
                <a:gd name="connsiteX191" fmla="*/ 294999 w 344381"/>
                <a:gd name="connsiteY191" fmla="*/ 132738 h 231505"/>
                <a:gd name="connsiteX192" fmla="*/ 294449 w 344381"/>
                <a:gd name="connsiteY192" fmla="*/ 127821 h 231505"/>
                <a:gd name="connsiteX193" fmla="*/ 294449 w 344381"/>
                <a:gd name="connsiteY193" fmla="*/ 126727 h 231505"/>
                <a:gd name="connsiteX194" fmla="*/ 294430 w 344381"/>
                <a:gd name="connsiteY194" fmla="*/ 126548 h 231505"/>
                <a:gd name="connsiteX195" fmla="*/ 293856 w 344381"/>
                <a:gd name="connsiteY195" fmla="*/ 120677 h 231505"/>
                <a:gd name="connsiteX196" fmla="*/ 293856 w 344381"/>
                <a:gd name="connsiteY196" fmla="*/ 115422 h 231505"/>
                <a:gd name="connsiteX197" fmla="*/ 298262 w 344381"/>
                <a:gd name="connsiteY197" fmla="*/ 109305 h 231505"/>
                <a:gd name="connsiteX198" fmla="*/ 298363 w 344381"/>
                <a:gd name="connsiteY198" fmla="*/ 109213 h 231505"/>
                <a:gd name="connsiteX199" fmla="*/ 301921 w 344381"/>
                <a:gd name="connsiteY199" fmla="*/ 103260 h 231505"/>
                <a:gd name="connsiteX200" fmla="*/ 302157 w 344381"/>
                <a:gd name="connsiteY200" fmla="*/ 102156 h 231505"/>
                <a:gd name="connsiteX201" fmla="*/ 301617 w 344381"/>
                <a:gd name="connsiteY201" fmla="*/ 95966 h 231505"/>
                <a:gd name="connsiteX202" fmla="*/ 303300 w 344381"/>
                <a:gd name="connsiteY202" fmla="*/ 90331 h 231505"/>
                <a:gd name="connsiteX203" fmla="*/ 303314 w 344381"/>
                <a:gd name="connsiteY203" fmla="*/ 90311 h 231505"/>
                <a:gd name="connsiteX204" fmla="*/ 305083 w 344381"/>
                <a:gd name="connsiteY204" fmla="*/ 83755 h 231505"/>
                <a:gd name="connsiteX205" fmla="*/ 305141 w 344381"/>
                <a:gd name="connsiteY205" fmla="*/ 83095 h 231505"/>
                <a:gd name="connsiteX206" fmla="*/ 304616 w 344381"/>
                <a:gd name="connsiteY206" fmla="*/ 77734 h 231505"/>
                <a:gd name="connsiteX207" fmla="*/ 307759 w 344381"/>
                <a:gd name="connsiteY207" fmla="*/ 72508 h 231505"/>
                <a:gd name="connsiteX208" fmla="*/ 308795 w 344381"/>
                <a:gd name="connsiteY208" fmla="*/ 71472 h 231505"/>
                <a:gd name="connsiteX209" fmla="*/ 309070 w 344381"/>
                <a:gd name="connsiteY209" fmla="*/ 71134 h 231505"/>
                <a:gd name="connsiteX210" fmla="*/ 312618 w 344381"/>
                <a:gd name="connsiteY210" fmla="*/ 65143 h 231505"/>
                <a:gd name="connsiteX211" fmla="*/ 312753 w 344381"/>
                <a:gd name="connsiteY211" fmla="*/ 64906 h 231505"/>
                <a:gd name="connsiteX212" fmla="*/ 315139 w 344381"/>
                <a:gd name="connsiteY212" fmla="*/ 58987 h 231505"/>
                <a:gd name="connsiteX213" fmla="*/ 318017 w 344381"/>
                <a:gd name="connsiteY213" fmla="*/ 52662 h 231505"/>
                <a:gd name="connsiteX214" fmla="*/ 322100 w 344381"/>
                <a:gd name="connsiteY214" fmla="*/ 46862 h 231505"/>
                <a:gd name="connsiteX215" fmla="*/ 322192 w 344381"/>
                <a:gd name="connsiteY215" fmla="*/ 46674 h 231505"/>
                <a:gd name="connsiteX216" fmla="*/ 325697 w 344381"/>
                <a:gd name="connsiteY216" fmla="*/ 40239 h 231505"/>
                <a:gd name="connsiteX217" fmla="*/ 330339 w 344381"/>
                <a:gd name="connsiteY217" fmla="*/ 34459 h 231505"/>
                <a:gd name="connsiteX218" fmla="*/ 330672 w 344381"/>
                <a:gd name="connsiteY218" fmla="*/ 33813 h 231505"/>
                <a:gd name="connsiteX219" fmla="*/ 332451 w 344381"/>
                <a:gd name="connsiteY219" fmla="*/ 27873 h 231505"/>
                <a:gd name="connsiteX220" fmla="*/ 332470 w 344381"/>
                <a:gd name="connsiteY220" fmla="*/ 27840 h 231505"/>
                <a:gd name="connsiteX221" fmla="*/ 334244 w 344381"/>
                <a:gd name="connsiteY221" fmla="*/ 21293 h 231505"/>
                <a:gd name="connsiteX222" fmla="*/ 336023 w 344381"/>
                <a:gd name="connsiteY222" fmla="*/ 15417 h 231505"/>
                <a:gd name="connsiteX223" fmla="*/ 338173 w 344381"/>
                <a:gd name="connsiteY223" fmla="*/ 9478 h 231505"/>
                <a:gd name="connsiteX224" fmla="*/ 343644 w 344381"/>
                <a:gd name="connsiteY224" fmla="*/ 5607 h 231505"/>
                <a:gd name="connsiteX225" fmla="*/ 344382 w 344381"/>
                <a:gd name="connsiteY225" fmla="*/ 3741 h 231505"/>
                <a:gd name="connsiteX226" fmla="*/ 342936 w 344381"/>
                <a:gd name="connsiteY226" fmla="*/ 2396 h 23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344381" h="231505">
                  <a:moveTo>
                    <a:pt x="342936" y="2396"/>
                  </a:moveTo>
                  <a:lnTo>
                    <a:pt x="336418" y="1186"/>
                  </a:lnTo>
                  <a:lnTo>
                    <a:pt x="336418" y="1186"/>
                  </a:lnTo>
                  <a:lnTo>
                    <a:pt x="330469" y="0"/>
                  </a:lnTo>
                  <a:lnTo>
                    <a:pt x="328965" y="352"/>
                  </a:lnTo>
                  <a:lnTo>
                    <a:pt x="323108" y="5047"/>
                  </a:lnTo>
                  <a:lnTo>
                    <a:pt x="316711" y="9116"/>
                  </a:lnTo>
                  <a:lnTo>
                    <a:pt x="310931" y="12014"/>
                  </a:lnTo>
                  <a:lnTo>
                    <a:pt x="305136" y="14154"/>
                  </a:lnTo>
                  <a:lnTo>
                    <a:pt x="299834" y="12014"/>
                  </a:lnTo>
                  <a:cubicBezTo>
                    <a:pt x="298927" y="11647"/>
                    <a:pt x="297857" y="12115"/>
                    <a:pt x="297486" y="13021"/>
                  </a:cubicBezTo>
                  <a:lnTo>
                    <a:pt x="295240" y="18627"/>
                  </a:lnTo>
                  <a:lnTo>
                    <a:pt x="289691" y="24152"/>
                  </a:lnTo>
                  <a:lnTo>
                    <a:pt x="284836" y="27059"/>
                  </a:lnTo>
                  <a:lnTo>
                    <a:pt x="279220" y="23969"/>
                  </a:lnTo>
                  <a:lnTo>
                    <a:pt x="278348" y="23786"/>
                  </a:lnTo>
                  <a:lnTo>
                    <a:pt x="272370" y="23786"/>
                  </a:lnTo>
                  <a:lnTo>
                    <a:pt x="266870" y="19910"/>
                  </a:lnTo>
                  <a:lnTo>
                    <a:pt x="265023" y="19804"/>
                  </a:lnTo>
                  <a:cubicBezTo>
                    <a:pt x="244005" y="32193"/>
                    <a:pt x="249848" y="16540"/>
                    <a:pt x="241151" y="31094"/>
                  </a:cubicBezTo>
                  <a:lnTo>
                    <a:pt x="237232" y="36628"/>
                  </a:lnTo>
                  <a:lnTo>
                    <a:pt x="231177" y="39400"/>
                  </a:lnTo>
                  <a:lnTo>
                    <a:pt x="231110" y="39443"/>
                  </a:lnTo>
                  <a:lnTo>
                    <a:pt x="225320" y="42326"/>
                  </a:lnTo>
                  <a:lnTo>
                    <a:pt x="219178" y="44008"/>
                  </a:lnTo>
                  <a:lnTo>
                    <a:pt x="213466" y="44008"/>
                  </a:lnTo>
                  <a:lnTo>
                    <a:pt x="212656" y="44187"/>
                  </a:lnTo>
                  <a:lnTo>
                    <a:pt x="206939" y="47060"/>
                  </a:lnTo>
                  <a:lnTo>
                    <a:pt x="201303" y="48207"/>
                  </a:lnTo>
                  <a:lnTo>
                    <a:pt x="195036" y="48757"/>
                  </a:lnTo>
                  <a:lnTo>
                    <a:pt x="189261" y="48193"/>
                  </a:lnTo>
                  <a:lnTo>
                    <a:pt x="189261" y="48193"/>
                  </a:lnTo>
                  <a:lnTo>
                    <a:pt x="183905" y="47609"/>
                  </a:lnTo>
                  <a:lnTo>
                    <a:pt x="183510" y="47609"/>
                  </a:lnTo>
                  <a:lnTo>
                    <a:pt x="178005" y="48135"/>
                  </a:lnTo>
                  <a:lnTo>
                    <a:pt x="171829" y="45884"/>
                  </a:lnTo>
                  <a:lnTo>
                    <a:pt x="170682" y="45869"/>
                  </a:lnTo>
                  <a:lnTo>
                    <a:pt x="164738" y="47657"/>
                  </a:lnTo>
                  <a:lnTo>
                    <a:pt x="164295" y="47846"/>
                  </a:lnTo>
                  <a:lnTo>
                    <a:pt x="157844" y="51972"/>
                  </a:lnTo>
                  <a:lnTo>
                    <a:pt x="152026" y="54864"/>
                  </a:lnTo>
                  <a:lnTo>
                    <a:pt x="146492" y="57092"/>
                  </a:lnTo>
                  <a:lnTo>
                    <a:pt x="141107" y="57092"/>
                  </a:lnTo>
                  <a:lnTo>
                    <a:pt x="134956" y="55419"/>
                  </a:lnTo>
                  <a:lnTo>
                    <a:pt x="128597" y="52536"/>
                  </a:lnTo>
                  <a:lnTo>
                    <a:pt x="122697" y="49321"/>
                  </a:lnTo>
                  <a:lnTo>
                    <a:pt x="120547" y="43401"/>
                  </a:lnTo>
                  <a:lnTo>
                    <a:pt x="119028" y="42254"/>
                  </a:lnTo>
                  <a:lnTo>
                    <a:pt x="113089" y="41622"/>
                  </a:lnTo>
                  <a:lnTo>
                    <a:pt x="112718" y="41622"/>
                  </a:lnTo>
                  <a:lnTo>
                    <a:pt x="107357" y="42196"/>
                  </a:lnTo>
                  <a:lnTo>
                    <a:pt x="102652" y="39328"/>
                  </a:lnTo>
                  <a:lnTo>
                    <a:pt x="101601" y="33595"/>
                  </a:lnTo>
                  <a:lnTo>
                    <a:pt x="100970" y="32550"/>
                  </a:lnTo>
                  <a:lnTo>
                    <a:pt x="94428" y="27169"/>
                  </a:lnTo>
                  <a:lnTo>
                    <a:pt x="92451" y="26948"/>
                  </a:lnTo>
                  <a:lnTo>
                    <a:pt x="86512" y="29918"/>
                  </a:lnTo>
                  <a:lnTo>
                    <a:pt x="86281" y="30033"/>
                  </a:lnTo>
                  <a:lnTo>
                    <a:pt x="81036" y="33692"/>
                  </a:lnTo>
                  <a:lnTo>
                    <a:pt x="75941" y="32183"/>
                  </a:lnTo>
                  <a:lnTo>
                    <a:pt x="74451" y="32381"/>
                  </a:lnTo>
                  <a:lnTo>
                    <a:pt x="67885" y="36546"/>
                  </a:lnTo>
                  <a:lnTo>
                    <a:pt x="67047" y="37930"/>
                  </a:lnTo>
                  <a:lnTo>
                    <a:pt x="66502" y="43551"/>
                  </a:lnTo>
                  <a:lnTo>
                    <a:pt x="63889" y="49249"/>
                  </a:lnTo>
                  <a:lnTo>
                    <a:pt x="57892" y="52555"/>
                  </a:lnTo>
                  <a:lnTo>
                    <a:pt x="57675" y="52686"/>
                  </a:lnTo>
                  <a:lnTo>
                    <a:pt x="55626" y="54219"/>
                  </a:lnTo>
                  <a:lnTo>
                    <a:pt x="50324" y="55192"/>
                  </a:lnTo>
                  <a:lnTo>
                    <a:pt x="45136" y="51075"/>
                  </a:lnTo>
                  <a:lnTo>
                    <a:pt x="40697" y="45493"/>
                  </a:lnTo>
                  <a:lnTo>
                    <a:pt x="38426" y="39776"/>
                  </a:lnTo>
                  <a:lnTo>
                    <a:pt x="37071" y="38667"/>
                  </a:lnTo>
                  <a:lnTo>
                    <a:pt x="31127" y="37462"/>
                  </a:lnTo>
                  <a:lnTo>
                    <a:pt x="29705" y="37789"/>
                  </a:lnTo>
                  <a:lnTo>
                    <a:pt x="28953" y="39077"/>
                  </a:lnTo>
                  <a:lnTo>
                    <a:pt x="28500" y="43850"/>
                  </a:lnTo>
                  <a:lnTo>
                    <a:pt x="23703" y="45262"/>
                  </a:lnTo>
                  <a:lnTo>
                    <a:pt x="22812" y="45860"/>
                  </a:lnTo>
                  <a:lnTo>
                    <a:pt x="18430" y="51355"/>
                  </a:lnTo>
                  <a:lnTo>
                    <a:pt x="12471" y="53004"/>
                  </a:lnTo>
                  <a:lnTo>
                    <a:pt x="11512" y="53606"/>
                  </a:lnTo>
                  <a:lnTo>
                    <a:pt x="6759" y="59570"/>
                  </a:lnTo>
                  <a:lnTo>
                    <a:pt x="6363" y="60538"/>
                  </a:lnTo>
                  <a:lnTo>
                    <a:pt x="5785" y="66232"/>
                  </a:lnTo>
                  <a:lnTo>
                    <a:pt x="3485" y="72557"/>
                  </a:lnTo>
                  <a:lnTo>
                    <a:pt x="3399" y="73540"/>
                  </a:lnTo>
                  <a:lnTo>
                    <a:pt x="4527" y="79064"/>
                  </a:lnTo>
                  <a:lnTo>
                    <a:pt x="2888" y="85023"/>
                  </a:lnTo>
                  <a:lnTo>
                    <a:pt x="0" y="90803"/>
                  </a:lnTo>
                  <a:lnTo>
                    <a:pt x="39" y="92510"/>
                  </a:lnTo>
                  <a:lnTo>
                    <a:pt x="3500" y="98897"/>
                  </a:lnTo>
                  <a:lnTo>
                    <a:pt x="5216" y="104692"/>
                  </a:lnTo>
                  <a:lnTo>
                    <a:pt x="5838" y="105540"/>
                  </a:lnTo>
                  <a:lnTo>
                    <a:pt x="11782" y="110317"/>
                  </a:lnTo>
                  <a:lnTo>
                    <a:pt x="12462" y="110645"/>
                  </a:lnTo>
                  <a:lnTo>
                    <a:pt x="18367" y="112236"/>
                  </a:lnTo>
                  <a:lnTo>
                    <a:pt x="22132" y="117659"/>
                  </a:lnTo>
                  <a:lnTo>
                    <a:pt x="22411" y="117987"/>
                  </a:lnTo>
                  <a:lnTo>
                    <a:pt x="28370" y="123348"/>
                  </a:lnTo>
                  <a:lnTo>
                    <a:pt x="30110" y="123724"/>
                  </a:lnTo>
                  <a:lnTo>
                    <a:pt x="36011" y="121945"/>
                  </a:lnTo>
                  <a:lnTo>
                    <a:pt x="36011" y="121945"/>
                  </a:lnTo>
                  <a:cubicBezTo>
                    <a:pt x="36025" y="121945"/>
                    <a:pt x="36025" y="121945"/>
                    <a:pt x="36025" y="121940"/>
                  </a:cubicBezTo>
                  <a:lnTo>
                    <a:pt x="36069" y="121940"/>
                  </a:lnTo>
                  <a:lnTo>
                    <a:pt x="36069" y="121940"/>
                  </a:lnTo>
                  <a:cubicBezTo>
                    <a:pt x="43251" y="118638"/>
                    <a:pt x="48048" y="120754"/>
                    <a:pt x="54315" y="120827"/>
                  </a:cubicBezTo>
                  <a:lnTo>
                    <a:pt x="59531" y="122393"/>
                  </a:lnTo>
                  <a:lnTo>
                    <a:pt x="64549" y="127932"/>
                  </a:lnTo>
                  <a:lnTo>
                    <a:pt x="65552" y="128496"/>
                  </a:lnTo>
                  <a:lnTo>
                    <a:pt x="71477" y="129711"/>
                  </a:lnTo>
                  <a:lnTo>
                    <a:pt x="71698" y="129750"/>
                  </a:lnTo>
                  <a:lnTo>
                    <a:pt x="78047" y="130323"/>
                  </a:lnTo>
                  <a:lnTo>
                    <a:pt x="83480" y="131933"/>
                  </a:lnTo>
                  <a:lnTo>
                    <a:pt x="89010" y="136387"/>
                  </a:lnTo>
                  <a:lnTo>
                    <a:pt x="94255" y="142756"/>
                  </a:lnTo>
                  <a:lnTo>
                    <a:pt x="94819" y="143267"/>
                  </a:lnTo>
                  <a:lnTo>
                    <a:pt x="95980" y="143869"/>
                  </a:lnTo>
                  <a:lnTo>
                    <a:pt x="102522" y="147442"/>
                  </a:lnTo>
                  <a:lnTo>
                    <a:pt x="102551" y="147442"/>
                  </a:lnTo>
                  <a:lnTo>
                    <a:pt x="108307" y="150305"/>
                  </a:lnTo>
                  <a:lnTo>
                    <a:pt x="114733" y="155492"/>
                  </a:lnTo>
                  <a:lnTo>
                    <a:pt x="115683" y="155955"/>
                  </a:lnTo>
                  <a:lnTo>
                    <a:pt x="121636" y="156509"/>
                  </a:lnTo>
                  <a:lnTo>
                    <a:pt x="126997" y="157040"/>
                  </a:lnTo>
                  <a:lnTo>
                    <a:pt x="133076" y="162602"/>
                  </a:lnTo>
                  <a:lnTo>
                    <a:pt x="139058" y="167949"/>
                  </a:lnTo>
                  <a:lnTo>
                    <a:pt x="139338" y="168175"/>
                  </a:lnTo>
                  <a:lnTo>
                    <a:pt x="145291" y="171728"/>
                  </a:lnTo>
                  <a:lnTo>
                    <a:pt x="145884" y="171960"/>
                  </a:lnTo>
                  <a:lnTo>
                    <a:pt x="152368" y="173141"/>
                  </a:lnTo>
                  <a:lnTo>
                    <a:pt x="158486" y="174804"/>
                  </a:lnTo>
                  <a:lnTo>
                    <a:pt x="164135" y="179331"/>
                  </a:lnTo>
                  <a:lnTo>
                    <a:pt x="165442" y="179697"/>
                  </a:lnTo>
                  <a:lnTo>
                    <a:pt x="171969" y="179123"/>
                  </a:lnTo>
                  <a:cubicBezTo>
                    <a:pt x="185853" y="172822"/>
                    <a:pt x="205304" y="180970"/>
                    <a:pt x="215167" y="191671"/>
                  </a:cubicBezTo>
                  <a:lnTo>
                    <a:pt x="215167" y="191671"/>
                  </a:lnTo>
                  <a:lnTo>
                    <a:pt x="216893" y="193422"/>
                  </a:lnTo>
                  <a:lnTo>
                    <a:pt x="221483" y="199134"/>
                  </a:lnTo>
                  <a:lnTo>
                    <a:pt x="224958" y="205555"/>
                  </a:lnTo>
                  <a:lnTo>
                    <a:pt x="227918" y="211460"/>
                  </a:lnTo>
                  <a:lnTo>
                    <a:pt x="228034" y="211625"/>
                  </a:lnTo>
                  <a:lnTo>
                    <a:pt x="232165" y="218171"/>
                  </a:lnTo>
                  <a:lnTo>
                    <a:pt x="233877" y="218990"/>
                  </a:lnTo>
                  <a:lnTo>
                    <a:pt x="240009" y="218427"/>
                  </a:lnTo>
                  <a:lnTo>
                    <a:pt x="246165" y="220673"/>
                  </a:lnTo>
                  <a:lnTo>
                    <a:pt x="246329" y="220740"/>
                  </a:lnTo>
                  <a:lnTo>
                    <a:pt x="252706" y="222471"/>
                  </a:lnTo>
                  <a:lnTo>
                    <a:pt x="258491" y="225378"/>
                  </a:lnTo>
                  <a:lnTo>
                    <a:pt x="258940" y="225532"/>
                  </a:lnTo>
                  <a:lnTo>
                    <a:pt x="264898" y="226713"/>
                  </a:lnTo>
                  <a:lnTo>
                    <a:pt x="265756" y="226709"/>
                  </a:lnTo>
                  <a:lnTo>
                    <a:pt x="271719" y="224896"/>
                  </a:lnTo>
                  <a:lnTo>
                    <a:pt x="271719" y="224871"/>
                  </a:lnTo>
                  <a:lnTo>
                    <a:pt x="277456" y="223314"/>
                  </a:lnTo>
                  <a:lnTo>
                    <a:pt x="283323" y="227061"/>
                  </a:lnTo>
                  <a:lnTo>
                    <a:pt x="284624" y="227335"/>
                  </a:lnTo>
                  <a:lnTo>
                    <a:pt x="290723" y="226202"/>
                  </a:lnTo>
                  <a:lnTo>
                    <a:pt x="293625" y="227195"/>
                  </a:lnTo>
                  <a:lnTo>
                    <a:pt x="299998" y="231249"/>
                  </a:lnTo>
                  <a:lnTo>
                    <a:pt x="301381" y="231505"/>
                  </a:lnTo>
                  <a:lnTo>
                    <a:pt x="302514" y="230642"/>
                  </a:lnTo>
                  <a:lnTo>
                    <a:pt x="306081" y="224684"/>
                  </a:lnTo>
                  <a:lnTo>
                    <a:pt x="306264" y="223233"/>
                  </a:lnTo>
                  <a:lnTo>
                    <a:pt x="304500" y="217308"/>
                  </a:lnTo>
                  <a:lnTo>
                    <a:pt x="304399" y="217043"/>
                  </a:lnTo>
                  <a:lnTo>
                    <a:pt x="301627" y="210930"/>
                  </a:lnTo>
                  <a:lnTo>
                    <a:pt x="302138" y="205772"/>
                  </a:lnTo>
                  <a:lnTo>
                    <a:pt x="305001" y="199500"/>
                  </a:lnTo>
                  <a:lnTo>
                    <a:pt x="305040" y="199360"/>
                  </a:lnTo>
                  <a:lnTo>
                    <a:pt x="307282" y="193224"/>
                  </a:lnTo>
                  <a:lnTo>
                    <a:pt x="312956" y="187535"/>
                  </a:lnTo>
                  <a:lnTo>
                    <a:pt x="313014" y="187434"/>
                  </a:lnTo>
                  <a:lnTo>
                    <a:pt x="318138" y="181760"/>
                  </a:lnTo>
                  <a:lnTo>
                    <a:pt x="323788" y="178940"/>
                  </a:lnTo>
                  <a:lnTo>
                    <a:pt x="324791" y="177363"/>
                  </a:lnTo>
                  <a:lnTo>
                    <a:pt x="323918" y="175773"/>
                  </a:lnTo>
                  <a:lnTo>
                    <a:pt x="319247" y="172991"/>
                  </a:lnTo>
                  <a:lnTo>
                    <a:pt x="321107" y="167829"/>
                  </a:lnTo>
                  <a:lnTo>
                    <a:pt x="320987" y="166319"/>
                  </a:lnTo>
                  <a:lnTo>
                    <a:pt x="319758" y="165423"/>
                  </a:lnTo>
                  <a:lnTo>
                    <a:pt x="314932" y="164463"/>
                  </a:lnTo>
                  <a:lnTo>
                    <a:pt x="313433" y="158953"/>
                  </a:lnTo>
                  <a:lnTo>
                    <a:pt x="312536" y="157849"/>
                  </a:lnTo>
                  <a:lnTo>
                    <a:pt x="307783" y="155285"/>
                  </a:lnTo>
                  <a:lnTo>
                    <a:pt x="310786" y="151004"/>
                  </a:lnTo>
                  <a:lnTo>
                    <a:pt x="311114" y="149794"/>
                  </a:lnTo>
                  <a:lnTo>
                    <a:pt x="310511" y="143257"/>
                  </a:lnTo>
                  <a:cubicBezTo>
                    <a:pt x="310434" y="142466"/>
                    <a:pt x="309894" y="141840"/>
                    <a:pt x="309171" y="141618"/>
                  </a:cubicBezTo>
                  <a:lnTo>
                    <a:pt x="302745" y="139864"/>
                  </a:lnTo>
                  <a:lnTo>
                    <a:pt x="297529" y="137805"/>
                  </a:lnTo>
                  <a:lnTo>
                    <a:pt x="294999" y="132738"/>
                  </a:lnTo>
                  <a:lnTo>
                    <a:pt x="294449" y="127821"/>
                  </a:lnTo>
                  <a:lnTo>
                    <a:pt x="294449" y="126727"/>
                  </a:lnTo>
                  <a:lnTo>
                    <a:pt x="294430" y="126548"/>
                  </a:lnTo>
                  <a:lnTo>
                    <a:pt x="293856" y="120677"/>
                  </a:lnTo>
                  <a:lnTo>
                    <a:pt x="293856" y="115422"/>
                  </a:lnTo>
                  <a:lnTo>
                    <a:pt x="298262" y="109305"/>
                  </a:lnTo>
                  <a:lnTo>
                    <a:pt x="298363" y="109213"/>
                  </a:lnTo>
                  <a:lnTo>
                    <a:pt x="301921" y="103260"/>
                  </a:lnTo>
                  <a:lnTo>
                    <a:pt x="302157" y="102156"/>
                  </a:lnTo>
                  <a:lnTo>
                    <a:pt x="301617" y="95966"/>
                  </a:lnTo>
                  <a:lnTo>
                    <a:pt x="303300" y="90331"/>
                  </a:lnTo>
                  <a:lnTo>
                    <a:pt x="303314" y="90311"/>
                  </a:lnTo>
                  <a:lnTo>
                    <a:pt x="305083" y="83755"/>
                  </a:lnTo>
                  <a:lnTo>
                    <a:pt x="305141" y="83095"/>
                  </a:lnTo>
                  <a:lnTo>
                    <a:pt x="304616" y="77734"/>
                  </a:lnTo>
                  <a:lnTo>
                    <a:pt x="307759" y="72508"/>
                  </a:lnTo>
                  <a:lnTo>
                    <a:pt x="308795" y="71472"/>
                  </a:lnTo>
                  <a:lnTo>
                    <a:pt x="309070" y="71134"/>
                  </a:lnTo>
                  <a:lnTo>
                    <a:pt x="312618" y="65143"/>
                  </a:lnTo>
                  <a:lnTo>
                    <a:pt x="312753" y="64906"/>
                  </a:lnTo>
                  <a:lnTo>
                    <a:pt x="315139" y="58987"/>
                  </a:lnTo>
                  <a:lnTo>
                    <a:pt x="318017" y="52662"/>
                  </a:lnTo>
                  <a:lnTo>
                    <a:pt x="322100" y="46862"/>
                  </a:lnTo>
                  <a:lnTo>
                    <a:pt x="322192" y="46674"/>
                  </a:lnTo>
                  <a:lnTo>
                    <a:pt x="325697" y="40239"/>
                  </a:lnTo>
                  <a:lnTo>
                    <a:pt x="330339" y="34459"/>
                  </a:lnTo>
                  <a:lnTo>
                    <a:pt x="330672" y="33813"/>
                  </a:lnTo>
                  <a:lnTo>
                    <a:pt x="332451" y="27873"/>
                  </a:lnTo>
                  <a:lnTo>
                    <a:pt x="332470" y="27840"/>
                  </a:lnTo>
                  <a:lnTo>
                    <a:pt x="334244" y="21293"/>
                  </a:lnTo>
                  <a:lnTo>
                    <a:pt x="336023" y="15417"/>
                  </a:lnTo>
                  <a:lnTo>
                    <a:pt x="338173" y="9478"/>
                  </a:lnTo>
                  <a:lnTo>
                    <a:pt x="343644" y="5607"/>
                  </a:lnTo>
                  <a:lnTo>
                    <a:pt x="344382" y="3741"/>
                  </a:lnTo>
                  <a:lnTo>
                    <a:pt x="342936" y="239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2" name="Freihandform: Form 41">
              <a:extLst>
                <a:ext uri="{FF2B5EF4-FFF2-40B4-BE49-F238E27FC236}">
                  <a16:creationId xmlns:a16="http://schemas.microsoft.com/office/drawing/2014/main" id="{29B662B8-F217-CCD3-ECFC-32176C8197BA}"/>
                </a:ext>
              </a:extLst>
            </p:cNvPr>
            <p:cNvSpPr/>
            <p:nvPr/>
          </p:nvSpPr>
          <p:spPr>
            <a:xfrm>
              <a:off x="6667472" y="5951626"/>
              <a:ext cx="76191" cy="74615"/>
            </a:xfrm>
            <a:custGeom>
              <a:avLst/>
              <a:gdLst>
                <a:gd name="connsiteX0" fmla="*/ 59053 w 59540"/>
                <a:gd name="connsiteY0" fmla="*/ 53953 h 58812"/>
                <a:gd name="connsiteX1" fmla="*/ 53104 w 59540"/>
                <a:gd name="connsiteY1" fmla="*/ 47990 h 58812"/>
                <a:gd name="connsiteX2" fmla="*/ 51991 w 59540"/>
                <a:gd name="connsiteY2" fmla="*/ 47489 h 58812"/>
                <a:gd name="connsiteX3" fmla="*/ 46032 w 59540"/>
                <a:gd name="connsiteY3" fmla="*/ 46920 h 58812"/>
                <a:gd name="connsiteX4" fmla="*/ 45878 w 59540"/>
                <a:gd name="connsiteY4" fmla="*/ 46920 h 58812"/>
                <a:gd name="connsiteX5" fmla="*/ 44090 w 59540"/>
                <a:gd name="connsiteY5" fmla="*/ 46920 h 58812"/>
                <a:gd name="connsiteX6" fmla="*/ 38498 w 59540"/>
                <a:gd name="connsiteY6" fmla="*/ 42822 h 58812"/>
                <a:gd name="connsiteX7" fmla="*/ 36945 w 59540"/>
                <a:gd name="connsiteY7" fmla="*/ 37568 h 58812"/>
                <a:gd name="connsiteX8" fmla="*/ 35726 w 59540"/>
                <a:gd name="connsiteY8" fmla="*/ 31682 h 58812"/>
                <a:gd name="connsiteX9" fmla="*/ 35600 w 59540"/>
                <a:gd name="connsiteY9" fmla="*/ 31229 h 58812"/>
                <a:gd name="connsiteX10" fmla="*/ 32626 w 59540"/>
                <a:gd name="connsiteY10" fmla="*/ 25260 h 58812"/>
                <a:gd name="connsiteX11" fmla="*/ 32211 w 59540"/>
                <a:gd name="connsiteY11" fmla="*/ 24716 h 58812"/>
                <a:gd name="connsiteX12" fmla="*/ 27299 w 59540"/>
                <a:gd name="connsiteY12" fmla="*/ 20305 h 58812"/>
                <a:gd name="connsiteX13" fmla="*/ 29440 w 59540"/>
                <a:gd name="connsiteY13" fmla="*/ 16014 h 58812"/>
                <a:gd name="connsiteX14" fmla="*/ 35003 w 59540"/>
                <a:gd name="connsiteY14" fmla="*/ 12085 h 58812"/>
                <a:gd name="connsiteX15" fmla="*/ 35518 w 59540"/>
                <a:gd name="connsiteY15" fmla="*/ 9632 h 58812"/>
                <a:gd name="connsiteX16" fmla="*/ 31320 w 59540"/>
                <a:gd name="connsiteY16" fmla="*/ 3075 h 58812"/>
                <a:gd name="connsiteX17" fmla="*/ 30471 w 59540"/>
                <a:gd name="connsiteY17" fmla="*/ 2372 h 58812"/>
                <a:gd name="connsiteX18" fmla="*/ 24498 w 59540"/>
                <a:gd name="connsiteY18" fmla="*/ 0 h 58812"/>
                <a:gd name="connsiteX19" fmla="*/ 22700 w 59540"/>
                <a:gd name="connsiteY19" fmla="*/ 265 h 58812"/>
                <a:gd name="connsiteX20" fmla="*/ 17181 w 59540"/>
                <a:gd name="connsiteY20" fmla="*/ 4667 h 58812"/>
                <a:gd name="connsiteX21" fmla="*/ 11743 w 59540"/>
                <a:gd name="connsiteY21" fmla="*/ 5250 h 58812"/>
                <a:gd name="connsiteX22" fmla="*/ 11598 w 59540"/>
                <a:gd name="connsiteY22" fmla="*/ 5250 h 58812"/>
                <a:gd name="connsiteX23" fmla="*/ 5066 w 59540"/>
                <a:gd name="connsiteY23" fmla="*/ 6450 h 58812"/>
                <a:gd name="connsiteX24" fmla="*/ 3817 w 59540"/>
                <a:gd name="connsiteY24" fmla="*/ 7371 h 58812"/>
                <a:gd name="connsiteX25" fmla="*/ 221 w 59540"/>
                <a:gd name="connsiteY25" fmla="*/ 13927 h 58812"/>
                <a:gd name="connsiteX26" fmla="*/ 882 w 59540"/>
                <a:gd name="connsiteY26" fmla="*/ 16332 h 58812"/>
                <a:gd name="connsiteX27" fmla="*/ 6165 w 59540"/>
                <a:gd name="connsiteY27" fmla="*/ 19490 h 58812"/>
                <a:gd name="connsiteX28" fmla="*/ 7168 w 59540"/>
                <a:gd name="connsiteY28" fmla="*/ 24658 h 58812"/>
                <a:gd name="connsiteX29" fmla="*/ 7809 w 59540"/>
                <a:gd name="connsiteY29" fmla="*/ 25714 h 58812"/>
                <a:gd name="connsiteX30" fmla="*/ 14380 w 59540"/>
                <a:gd name="connsiteY30" fmla="*/ 31069 h 58812"/>
                <a:gd name="connsiteX31" fmla="*/ 14746 w 59540"/>
                <a:gd name="connsiteY31" fmla="*/ 31315 h 58812"/>
                <a:gd name="connsiteX32" fmla="*/ 21071 w 59540"/>
                <a:gd name="connsiteY32" fmla="*/ 34145 h 58812"/>
                <a:gd name="connsiteX33" fmla="*/ 26340 w 59540"/>
                <a:gd name="connsiteY33" fmla="*/ 38898 h 58812"/>
                <a:gd name="connsiteX34" fmla="*/ 27395 w 59540"/>
                <a:gd name="connsiteY34" fmla="*/ 44866 h 58812"/>
                <a:gd name="connsiteX35" fmla="*/ 27878 w 59540"/>
                <a:gd name="connsiteY35" fmla="*/ 45744 h 58812"/>
                <a:gd name="connsiteX36" fmla="*/ 33200 w 59540"/>
                <a:gd name="connsiteY36" fmla="*/ 51711 h 58812"/>
                <a:gd name="connsiteX37" fmla="*/ 33812 w 59540"/>
                <a:gd name="connsiteY37" fmla="*/ 52136 h 58812"/>
                <a:gd name="connsiteX38" fmla="*/ 40339 w 59540"/>
                <a:gd name="connsiteY38" fmla="*/ 55062 h 58812"/>
                <a:gd name="connsiteX39" fmla="*/ 46264 w 59540"/>
                <a:gd name="connsiteY39" fmla="*/ 58032 h 58812"/>
                <a:gd name="connsiteX40" fmla="*/ 46558 w 59540"/>
                <a:gd name="connsiteY40" fmla="*/ 58113 h 58812"/>
                <a:gd name="connsiteX41" fmla="*/ 46857 w 59540"/>
                <a:gd name="connsiteY41" fmla="*/ 58249 h 58812"/>
                <a:gd name="connsiteX42" fmla="*/ 46857 w 59540"/>
                <a:gd name="connsiteY42" fmla="*/ 58249 h 58812"/>
                <a:gd name="connsiteX43" fmla="*/ 51615 w 59540"/>
                <a:gd name="connsiteY43" fmla="*/ 58812 h 58812"/>
                <a:gd name="connsiteX44" fmla="*/ 52333 w 59540"/>
                <a:gd name="connsiteY44" fmla="*/ 58750 h 58812"/>
                <a:gd name="connsiteX45" fmla="*/ 58306 w 59540"/>
                <a:gd name="connsiteY45" fmla="*/ 56947 h 58812"/>
                <a:gd name="connsiteX46" fmla="*/ 59540 w 59540"/>
                <a:gd name="connsiteY46" fmla="*/ 55660 h 58812"/>
                <a:gd name="connsiteX47" fmla="*/ 59053 w 59540"/>
                <a:gd name="connsiteY47" fmla="*/ 53953 h 5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9540" h="58812">
                  <a:moveTo>
                    <a:pt x="59053" y="53953"/>
                  </a:moveTo>
                  <a:lnTo>
                    <a:pt x="53104" y="47990"/>
                  </a:lnTo>
                  <a:lnTo>
                    <a:pt x="51991" y="47489"/>
                  </a:lnTo>
                  <a:lnTo>
                    <a:pt x="46032" y="46920"/>
                  </a:lnTo>
                  <a:lnTo>
                    <a:pt x="45878" y="46920"/>
                  </a:lnTo>
                  <a:lnTo>
                    <a:pt x="44090" y="46920"/>
                  </a:lnTo>
                  <a:lnTo>
                    <a:pt x="38498" y="42822"/>
                  </a:lnTo>
                  <a:lnTo>
                    <a:pt x="36945" y="37568"/>
                  </a:lnTo>
                  <a:lnTo>
                    <a:pt x="35726" y="31682"/>
                  </a:lnTo>
                  <a:lnTo>
                    <a:pt x="35600" y="31229"/>
                  </a:lnTo>
                  <a:lnTo>
                    <a:pt x="32626" y="25260"/>
                  </a:lnTo>
                  <a:lnTo>
                    <a:pt x="32211" y="24716"/>
                  </a:lnTo>
                  <a:lnTo>
                    <a:pt x="27299" y="20305"/>
                  </a:lnTo>
                  <a:lnTo>
                    <a:pt x="29440" y="16014"/>
                  </a:lnTo>
                  <a:lnTo>
                    <a:pt x="35003" y="12085"/>
                  </a:lnTo>
                  <a:cubicBezTo>
                    <a:pt x="35803" y="11536"/>
                    <a:pt x="36005" y="10427"/>
                    <a:pt x="35518" y="9632"/>
                  </a:cubicBezTo>
                  <a:lnTo>
                    <a:pt x="31320" y="3075"/>
                  </a:lnTo>
                  <a:lnTo>
                    <a:pt x="30471" y="2372"/>
                  </a:lnTo>
                  <a:lnTo>
                    <a:pt x="24498" y="0"/>
                  </a:lnTo>
                  <a:lnTo>
                    <a:pt x="22700" y="265"/>
                  </a:lnTo>
                  <a:lnTo>
                    <a:pt x="17181" y="4667"/>
                  </a:lnTo>
                  <a:lnTo>
                    <a:pt x="11743" y="5250"/>
                  </a:lnTo>
                  <a:lnTo>
                    <a:pt x="11598" y="5250"/>
                  </a:lnTo>
                  <a:lnTo>
                    <a:pt x="5066" y="6450"/>
                  </a:lnTo>
                  <a:lnTo>
                    <a:pt x="3817" y="7371"/>
                  </a:lnTo>
                  <a:lnTo>
                    <a:pt x="221" y="13927"/>
                  </a:lnTo>
                  <a:cubicBezTo>
                    <a:pt x="-247" y="14756"/>
                    <a:pt x="52" y="15836"/>
                    <a:pt x="882" y="16332"/>
                  </a:cubicBezTo>
                  <a:lnTo>
                    <a:pt x="6165" y="19490"/>
                  </a:lnTo>
                  <a:lnTo>
                    <a:pt x="7168" y="24658"/>
                  </a:lnTo>
                  <a:lnTo>
                    <a:pt x="7809" y="25714"/>
                  </a:lnTo>
                  <a:lnTo>
                    <a:pt x="14380" y="31069"/>
                  </a:lnTo>
                  <a:lnTo>
                    <a:pt x="14746" y="31315"/>
                  </a:lnTo>
                  <a:lnTo>
                    <a:pt x="21071" y="34145"/>
                  </a:lnTo>
                  <a:lnTo>
                    <a:pt x="26340" y="38898"/>
                  </a:lnTo>
                  <a:lnTo>
                    <a:pt x="27395" y="44866"/>
                  </a:lnTo>
                  <a:lnTo>
                    <a:pt x="27878" y="45744"/>
                  </a:lnTo>
                  <a:lnTo>
                    <a:pt x="33200" y="51711"/>
                  </a:lnTo>
                  <a:lnTo>
                    <a:pt x="33812" y="52136"/>
                  </a:lnTo>
                  <a:lnTo>
                    <a:pt x="40339" y="55062"/>
                  </a:lnTo>
                  <a:lnTo>
                    <a:pt x="46264" y="58032"/>
                  </a:lnTo>
                  <a:cubicBezTo>
                    <a:pt x="46336" y="58113"/>
                    <a:pt x="46452" y="58032"/>
                    <a:pt x="46558" y="58113"/>
                  </a:cubicBezTo>
                  <a:cubicBezTo>
                    <a:pt x="46678" y="58113"/>
                    <a:pt x="46727" y="58249"/>
                    <a:pt x="46857" y="58249"/>
                  </a:cubicBezTo>
                  <a:lnTo>
                    <a:pt x="46857" y="58249"/>
                  </a:lnTo>
                  <a:lnTo>
                    <a:pt x="51615" y="58812"/>
                  </a:lnTo>
                  <a:lnTo>
                    <a:pt x="52333" y="58750"/>
                  </a:lnTo>
                  <a:lnTo>
                    <a:pt x="58306" y="56947"/>
                  </a:lnTo>
                  <a:lnTo>
                    <a:pt x="59540" y="55660"/>
                  </a:lnTo>
                  <a:lnTo>
                    <a:pt x="59053" y="5395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3" name="Freihandform: Form 42">
              <a:extLst>
                <a:ext uri="{FF2B5EF4-FFF2-40B4-BE49-F238E27FC236}">
                  <a16:creationId xmlns:a16="http://schemas.microsoft.com/office/drawing/2014/main" id="{6540C0A5-8FE6-EB02-408A-B93A26BFC5ED}"/>
                </a:ext>
              </a:extLst>
            </p:cNvPr>
            <p:cNvSpPr/>
            <p:nvPr/>
          </p:nvSpPr>
          <p:spPr>
            <a:xfrm>
              <a:off x="6818268" y="6102444"/>
              <a:ext cx="26984" cy="52390"/>
            </a:xfrm>
            <a:custGeom>
              <a:avLst/>
              <a:gdLst>
                <a:gd name="connsiteX0" fmla="*/ 20854 w 22058"/>
                <a:gd name="connsiteY0" fmla="*/ 24189 h 41157"/>
                <a:gd name="connsiteX1" fmla="*/ 20261 w 22058"/>
                <a:gd name="connsiteY1" fmla="*/ 18288 h 41157"/>
                <a:gd name="connsiteX2" fmla="*/ 20223 w 22058"/>
                <a:gd name="connsiteY2" fmla="*/ 18129 h 41157"/>
                <a:gd name="connsiteX3" fmla="*/ 19095 w 22058"/>
                <a:gd name="connsiteY3" fmla="*/ 12339 h 41157"/>
                <a:gd name="connsiteX4" fmla="*/ 19095 w 22058"/>
                <a:gd name="connsiteY4" fmla="*/ 6608 h 41157"/>
                <a:gd name="connsiteX5" fmla="*/ 18540 w 22058"/>
                <a:gd name="connsiteY5" fmla="*/ 5316 h 41157"/>
                <a:gd name="connsiteX6" fmla="*/ 15595 w 22058"/>
                <a:gd name="connsiteY6" fmla="*/ 2366 h 41157"/>
                <a:gd name="connsiteX7" fmla="*/ 14983 w 22058"/>
                <a:gd name="connsiteY7" fmla="*/ 1729 h 41157"/>
                <a:gd name="connsiteX8" fmla="*/ 14800 w 22058"/>
                <a:gd name="connsiteY8" fmla="*/ 1729 h 41157"/>
                <a:gd name="connsiteX9" fmla="*/ 14525 w 22058"/>
                <a:gd name="connsiteY9" fmla="*/ 1377 h 41157"/>
                <a:gd name="connsiteX10" fmla="*/ 12110 w 22058"/>
                <a:gd name="connsiteY10" fmla="*/ 162 h 41157"/>
                <a:gd name="connsiteX11" fmla="*/ 9810 w 22058"/>
                <a:gd name="connsiteY11" fmla="*/ 794 h 41157"/>
                <a:gd name="connsiteX12" fmla="*/ 1200 w 22058"/>
                <a:gd name="connsiteY12" fmla="*/ 19918 h 41157"/>
                <a:gd name="connsiteX13" fmla="*/ 14 w 22058"/>
                <a:gd name="connsiteY13" fmla="*/ 26503 h 41157"/>
                <a:gd name="connsiteX14" fmla="*/ 0 w 22058"/>
                <a:gd name="connsiteY14" fmla="*/ 27019 h 41157"/>
                <a:gd name="connsiteX15" fmla="*/ 564 w 22058"/>
                <a:gd name="connsiteY15" fmla="*/ 32938 h 41157"/>
                <a:gd name="connsiteX16" fmla="*/ 694 w 22058"/>
                <a:gd name="connsiteY16" fmla="*/ 33415 h 41157"/>
                <a:gd name="connsiteX17" fmla="*/ 3066 w 22058"/>
                <a:gd name="connsiteY17" fmla="*/ 39957 h 41157"/>
                <a:gd name="connsiteX18" fmla="*/ 4705 w 22058"/>
                <a:gd name="connsiteY18" fmla="*/ 41158 h 41157"/>
                <a:gd name="connsiteX19" fmla="*/ 6412 w 22058"/>
                <a:gd name="connsiteY19" fmla="*/ 40059 h 41157"/>
                <a:gd name="connsiteX20" fmla="*/ 8701 w 22058"/>
                <a:gd name="connsiteY20" fmla="*/ 34958 h 41157"/>
                <a:gd name="connsiteX21" fmla="*/ 13160 w 22058"/>
                <a:gd name="connsiteY21" fmla="*/ 36284 h 41157"/>
                <a:gd name="connsiteX22" fmla="*/ 14568 w 22058"/>
                <a:gd name="connsiteY22" fmla="*/ 36139 h 41157"/>
                <a:gd name="connsiteX23" fmla="*/ 21129 w 22058"/>
                <a:gd name="connsiteY23" fmla="*/ 32591 h 41157"/>
                <a:gd name="connsiteX24" fmla="*/ 22035 w 22058"/>
                <a:gd name="connsiteY24" fmla="*/ 30639 h 41157"/>
                <a:gd name="connsiteX25" fmla="*/ 20854 w 22058"/>
                <a:gd name="connsiteY25" fmla="*/ 24189 h 4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2058" h="41157">
                  <a:moveTo>
                    <a:pt x="20854" y="24189"/>
                  </a:moveTo>
                  <a:lnTo>
                    <a:pt x="20261" y="18288"/>
                  </a:lnTo>
                  <a:lnTo>
                    <a:pt x="20223" y="18129"/>
                  </a:lnTo>
                  <a:lnTo>
                    <a:pt x="19095" y="12339"/>
                  </a:lnTo>
                  <a:lnTo>
                    <a:pt x="19095" y="6608"/>
                  </a:lnTo>
                  <a:lnTo>
                    <a:pt x="18540" y="5316"/>
                  </a:lnTo>
                  <a:lnTo>
                    <a:pt x="15595" y="2366"/>
                  </a:lnTo>
                  <a:lnTo>
                    <a:pt x="14983" y="1729"/>
                  </a:lnTo>
                  <a:lnTo>
                    <a:pt x="14800" y="1729"/>
                  </a:lnTo>
                  <a:cubicBezTo>
                    <a:pt x="14694" y="1623"/>
                    <a:pt x="14679" y="1483"/>
                    <a:pt x="14525" y="1377"/>
                  </a:cubicBezTo>
                  <a:lnTo>
                    <a:pt x="12110" y="162"/>
                  </a:lnTo>
                  <a:cubicBezTo>
                    <a:pt x="11319" y="-199"/>
                    <a:pt x="10350" y="56"/>
                    <a:pt x="9810" y="794"/>
                  </a:cubicBezTo>
                  <a:cubicBezTo>
                    <a:pt x="5423" y="6217"/>
                    <a:pt x="1803" y="12754"/>
                    <a:pt x="1200" y="19918"/>
                  </a:cubicBezTo>
                  <a:lnTo>
                    <a:pt x="14" y="26503"/>
                  </a:lnTo>
                  <a:lnTo>
                    <a:pt x="0" y="27019"/>
                  </a:lnTo>
                  <a:lnTo>
                    <a:pt x="564" y="32938"/>
                  </a:lnTo>
                  <a:lnTo>
                    <a:pt x="694" y="33415"/>
                  </a:lnTo>
                  <a:lnTo>
                    <a:pt x="3066" y="39957"/>
                  </a:lnTo>
                  <a:lnTo>
                    <a:pt x="4705" y="41158"/>
                  </a:lnTo>
                  <a:lnTo>
                    <a:pt x="6412" y="40059"/>
                  </a:lnTo>
                  <a:lnTo>
                    <a:pt x="8701" y="34958"/>
                  </a:lnTo>
                  <a:lnTo>
                    <a:pt x="13160" y="36284"/>
                  </a:lnTo>
                  <a:lnTo>
                    <a:pt x="14568" y="36139"/>
                  </a:lnTo>
                  <a:lnTo>
                    <a:pt x="21129" y="32591"/>
                  </a:lnTo>
                  <a:cubicBezTo>
                    <a:pt x="21823" y="32201"/>
                    <a:pt x="22151" y="31410"/>
                    <a:pt x="22035" y="30639"/>
                  </a:cubicBezTo>
                  <a:lnTo>
                    <a:pt x="20854" y="2418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4" name="Freihandform: Form 43">
              <a:extLst>
                <a:ext uri="{FF2B5EF4-FFF2-40B4-BE49-F238E27FC236}">
                  <a16:creationId xmlns:a16="http://schemas.microsoft.com/office/drawing/2014/main" id="{43DB1588-C056-A870-308F-56FA41416FD3}"/>
                </a:ext>
              </a:extLst>
            </p:cNvPr>
            <p:cNvSpPr/>
            <p:nvPr/>
          </p:nvSpPr>
          <p:spPr>
            <a:xfrm>
              <a:off x="6802395" y="6170709"/>
              <a:ext cx="68254" cy="69853"/>
            </a:xfrm>
            <a:custGeom>
              <a:avLst/>
              <a:gdLst>
                <a:gd name="connsiteX0" fmla="*/ 51794 w 53538"/>
                <a:gd name="connsiteY0" fmla="*/ 41439 h 54917"/>
                <a:gd name="connsiteX1" fmla="*/ 51302 w 53538"/>
                <a:gd name="connsiteY1" fmla="*/ 40687 h 54917"/>
                <a:gd name="connsiteX2" fmla="*/ 45421 w 53538"/>
                <a:gd name="connsiteY2" fmla="*/ 34811 h 54917"/>
                <a:gd name="connsiteX3" fmla="*/ 40152 w 53538"/>
                <a:gd name="connsiteY3" fmla="*/ 28312 h 54917"/>
                <a:gd name="connsiteX4" fmla="*/ 39260 w 53538"/>
                <a:gd name="connsiteY4" fmla="*/ 27767 h 54917"/>
                <a:gd name="connsiteX5" fmla="*/ 33490 w 53538"/>
                <a:gd name="connsiteY5" fmla="*/ 26023 h 54917"/>
                <a:gd name="connsiteX6" fmla="*/ 28876 w 53538"/>
                <a:gd name="connsiteY6" fmla="*/ 23241 h 54917"/>
                <a:gd name="connsiteX7" fmla="*/ 29778 w 53538"/>
                <a:gd name="connsiteY7" fmla="*/ 18526 h 54917"/>
                <a:gd name="connsiteX8" fmla="*/ 29686 w 53538"/>
                <a:gd name="connsiteY8" fmla="*/ 17582 h 54917"/>
                <a:gd name="connsiteX9" fmla="*/ 27367 w 53538"/>
                <a:gd name="connsiteY9" fmla="*/ 11011 h 54917"/>
                <a:gd name="connsiteX10" fmla="*/ 27179 w 53538"/>
                <a:gd name="connsiteY10" fmla="*/ 10712 h 54917"/>
                <a:gd name="connsiteX11" fmla="*/ 23622 w 53538"/>
                <a:gd name="connsiteY11" fmla="*/ 4729 h 54917"/>
                <a:gd name="connsiteX12" fmla="*/ 23106 w 53538"/>
                <a:gd name="connsiteY12" fmla="*/ 4185 h 54917"/>
                <a:gd name="connsiteX13" fmla="*/ 17147 w 53538"/>
                <a:gd name="connsiteY13" fmla="*/ 15 h 54917"/>
                <a:gd name="connsiteX14" fmla="*/ 15147 w 53538"/>
                <a:gd name="connsiteY14" fmla="*/ 0 h 54917"/>
                <a:gd name="connsiteX15" fmla="*/ 14327 w 53538"/>
                <a:gd name="connsiteY15" fmla="*/ 1871 h 54917"/>
                <a:gd name="connsiteX16" fmla="*/ 15455 w 53538"/>
                <a:gd name="connsiteY16" fmla="*/ 7631 h 54917"/>
                <a:gd name="connsiteX17" fmla="*/ 15455 w 53538"/>
                <a:gd name="connsiteY17" fmla="*/ 13995 h 54917"/>
                <a:gd name="connsiteX18" fmla="*/ 15552 w 53538"/>
                <a:gd name="connsiteY18" fmla="*/ 14144 h 54917"/>
                <a:gd name="connsiteX19" fmla="*/ 15822 w 53538"/>
                <a:gd name="connsiteY19" fmla="*/ 14800 h 54917"/>
                <a:gd name="connsiteX20" fmla="*/ 16188 w 53538"/>
                <a:gd name="connsiteY20" fmla="*/ 15364 h 54917"/>
                <a:gd name="connsiteX21" fmla="*/ 16294 w 53538"/>
                <a:gd name="connsiteY21" fmla="*/ 15489 h 54917"/>
                <a:gd name="connsiteX22" fmla="*/ 16776 w 53538"/>
                <a:gd name="connsiteY22" fmla="*/ 15812 h 54917"/>
                <a:gd name="connsiteX23" fmla="*/ 14867 w 53538"/>
                <a:gd name="connsiteY23" fmla="*/ 19529 h 54917"/>
                <a:gd name="connsiteX24" fmla="*/ 10288 w 53538"/>
                <a:gd name="connsiteY24" fmla="*/ 20435 h 54917"/>
                <a:gd name="connsiteX25" fmla="*/ 4233 w 53538"/>
                <a:gd name="connsiteY25" fmla="*/ 18232 h 54917"/>
                <a:gd name="connsiteX26" fmla="*/ 2579 w 53538"/>
                <a:gd name="connsiteY26" fmla="*/ 18478 h 54917"/>
                <a:gd name="connsiteX27" fmla="*/ 1779 w 53538"/>
                <a:gd name="connsiteY27" fmla="*/ 19938 h 54917"/>
                <a:gd name="connsiteX28" fmla="*/ 1779 w 53538"/>
                <a:gd name="connsiteY28" fmla="*/ 25651 h 54917"/>
                <a:gd name="connsiteX29" fmla="*/ 68 w 53538"/>
                <a:gd name="connsiteY29" fmla="*/ 31957 h 54917"/>
                <a:gd name="connsiteX30" fmla="*/ 0 w 53538"/>
                <a:gd name="connsiteY30" fmla="*/ 32449 h 54917"/>
                <a:gd name="connsiteX31" fmla="*/ 0 w 53538"/>
                <a:gd name="connsiteY31" fmla="*/ 38402 h 54917"/>
                <a:gd name="connsiteX32" fmla="*/ 68 w 53538"/>
                <a:gd name="connsiteY32" fmla="*/ 38879 h 54917"/>
                <a:gd name="connsiteX33" fmla="*/ 1885 w 53538"/>
                <a:gd name="connsiteY33" fmla="*/ 45407 h 54917"/>
                <a:gd name="connsiteX34" fmla="*/ 3799 w 53538"/>
                <a:gd name="connsiteY34" fmla="*/ 46747 h 54917"/>
                <a:gd name="connsiteX35" fmla="*/ 9743 w 53538"/>
                <a:gd name="connsiteY35" fmla="*/ 46135 h 54917"/>
                <a:gd name="connsiteX36" fmla="*/ 11348 w 53538"/>
                <a:gd name="connsiteY36" fmla="*/ 44679 h 54917"/>
                <a:gd name="connsiteX37" fmla="*/ 12495 w 53538"/>
                <a:gd name="connsiteY37" fmla="*/ 38850 h 54917"/>
                <a:gd name="connsiteX38" fmla="*/ 13064 w 53538"/>
                <a:gd name="connsiteY38" fmla="*/ 37115 h 54917"/>
                <a:gd name="connsiteX39" fmla="*/ 14385 w 53538"/>
                <a:gd name="connsiteY39" fmla="*/ 39621 h 54917"/>
                <a:gd name="connsiteX40" fmla="*/ 15499 w 53538"/>
                <a:gd name="connsiteY40" fmla="*/ 45315 h 54917"/>
                <a:gd name="connsiteX41" fmla="*/ 15807 w 53538"/>
                <a:gd name="connsiteY41" fmla="*/ 45999 h 54917"/>
                <a:gd name="connsiteX42" fmla="*/ 19977 w 53538"/>
                <a:gd name="connsiteY42" fmla="*/ 51948 h 54917"/>
                <a:gd name="connsiteX43" fmla="*/ 21799 w 53538"/>
                <a:gd name="connsiteY43" fmla="*/ 52686 h 54917"/>
                <a:gd name="connsiteX44" fmla="*/ 45088 w 53538"/>
                <a:gd name="connsiteY44" fmla="*/ 54918 h 54917"/>
                <a:gd name="connsiteX45" fmla="*/ 47060 w 53538"/>
                <a:gd name="connsiteY45" fmla="*/ 54609 h 54917"/>
                <a:gd name="connsiteX46" fmla="*/ 53047 w 53538"/>
                <a:gd name="connsiteY46" fmla="*/ 49282 h 54917"/>
                <a:gd name="connsiteX47" fmla="*/ 53539 w 53538"/>
                <a:gd name="connsiteY47" fmla="*/ 47388 h 54917"/>
                <a:gd name="connsiteX48" fmla="*/ 51794 w 53538"/>
                <a:gd name="connsiteY48" fmla="*/ 41439 h 54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3538" h="54917">
                  <a:moveTo>
                    <a:pt x="51794" y="41439"/>
                  </a:moveTo>
                  <a:lnTo>
                    <a:pt x="51302" y="40687"/>
                  </a:lnTo>
                  <a:lnTo>
                    <a:pt x="45421" y="34811"/>
                  </a:lnTo>
                  <a:lnTo>
                    <a:pt x="40152" y="28312"/>
                  </a:lnTo>
                  <a:lnTo>
                    <a:pt x="39260" y="27767"/>
                  </a:lnTo>
                  <a:lnTo>
                    <a:pt x="33490" y="26023"/>
                  </a:lnTo>
                  <a:lnTo>
                    <a:pt x="28876" y="23241"/>
                  </a:lnTo>
                  <a:lnTo>
                    <a:pt x="29778" y="18526"/>
                  </a:lnTo>
                  <a:lnTo>
                    <a:pt x="29686" y="17582"/>
                  </a:lnTo>
                  <a:lnTo>
                    <a:pt x="27367" y="11011"/>
                  </a:lnTo>
                  <a:lnTo>
                    <a:pt x="27179" y="10712"/>
                  </a:lnTo>
                  <a:lnTo>
                    <a:pt x="23622" y="4729"/>
                  </a:lnTo>
                  <a:lnTo>
                    <a:pt x="23106" y="4185"/>
                  </a:lnTo>
                  <a:lnTo>
                    <a:pt x="17147" y="15"/>
                  </a:lnTo>
                  <a:lnTo>
                    <a:pt x="15147" y="0"/>
                  </a:lnTo>
                  <a:lnTo>
                    <a:pt x="14327" y="1871"/>
                  </a:lnTo>
                  <a:lnTo>
                    <a:pt x="15455" y="7631"/>
                  </a:lnTo>
                  <a:lnTo>
                    <a:pt x="15455" y="13995"/>
                  </a:lnTo>
                  <a:cubicBezTo>
                    <a:pt x="15455" y="14057"/>
                    <a:pt x="15542" y="14081"/>
                    <a:pt x="15552" y="14144"/>
                  </a:cubicBezTo>
                  <a:cubicBezTo>
                    <a:pt x="15552" y="14376"/>
                    <a:pt x="15735" y="14587"/>
                    <a:pt x="15822" y="14800"/>
                  </a:cubicBezTo>
                  <a:cubicBezTo>
                    <a:pt x="15923" y="15012"/>
                    <a:pt x="16005" y="15181"/>
                    <a:pt x="16188" y="15364"/>
                  </a:cubicBezTo>
                  <a:cubicBezTo>
                    <a:pt x="16231" y="15392"/>
                    <a:pt x="16231" y="15465"/>
                    <a:pt x="16294" y="15489"/>
                  </a:cubicBezTo>
                  <a:lnTo>
                    <a:pt x="16776" y="15812"/>
                  </a:lnTo>
                  <a:lnTo>
                    <a:pt x="14867" y="19529"/>
                  </a:lnTo>
                  <a:lnTo>
                    <a:pt x="10288" y="20435"/>
                  </a:lnTo>
                  <a:lnTo>
                    <a:pt x="4233" y="18232"/>
                  </a:lnTo>
                  <a:lnTo>
                    <a:pt x="2579" y="18478"/>
                  </a:lnTo>
                  <a:lnTo>
                    <a:pt x="1779" y="19938"/>
                  </a:lnTo>
                  <a:lnTo>
                    <a:pt x="1779" y="25651"/>
                  </a:lnTo>
                  <a:lnTo>
                    <a:pt x="68" y="31957"/>
                  </a:lnTo>
                  <a:lnTo>
                    <a:pt x="0" y="32449"/>
                  </a:lnTo>
                  <a:lnTo>
                    <a:pt x="0" y="38402"/>
                  </a:lnTo>
                  <a:lnTo>
                    <a:pt x="68" y="38879"/>
                  </a:lnTo>
                  <a:lnTo>
                    <a:pt x="1885" y="45407"/>
                  </a:lnTo>
                  <a:cubicBezTo>
                    <a:pt x="2102" y="46284"/>
                    <a:pt x="2921" y="46814"/>
                    <a:pt x="3799" y="46747"/>
                  </a:cubicBezTo>
                  <a:lnTo>
                    <a:pt x="9743" y="46135"/>
                  </a:lnTo>
                  <a:cubicBezTo>
                    <a:pt x="10543" y="46091"/>
                    <a:pt x="11208" y="45508"/>
                    <a:pt x="11348" y="44679"/>
                  </a:cubicBezTo>
                  <a:lnTo>
                    <a:pt x="12495" y="38850"/>
                  </a:lnTo>
                  <a:lnTo>
                    <a:pt x="13064" y="37115"/>
                  </a:lnTo>
                  <a:lnTo>
                    <a:pt x="14385" y="39621"/>
                  </a:lnTo>
                  <a:lnTo>
                    <a:pt x="15499" y="45315"/>
                  </a:lnTo>
                  <a:lnTo>
                    <a:pt x="15807" y="45999"/>
                  </a:lnTo>
                  <a:lnTo>
                    <a:pt x="19977" y="51948"/>
                  </a:lnTo>
                  <a:lnTo>
                    <a:pt x="21799" y="52686"/>
                  </a:lnTo>
                  <a:cubicBezTo>
                    <a:pt x="37968" y="50295"/>
                    <a:pt x="26721" y="46713"/>
                    <a:pt x="45088" y="54918"/>
                  </a:cubicBezTo>
                  <a:lnTo>
                    <a:pt x="47060" y="54609"/>
                  </a:lnTo>
                  <a:lnTo>
                    <a:pt x="53047" y="49282"/>
                  </a:lnTo>
                  <a:lnTo>
                    <a:pt x="53539" y="47388"/>
                  </a:lnTo>
                  <a:lnTo>
                    <a:pt x="51794" y="4143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5" name="Freihandform: Form 44">
              <a:extLst>
                <a:ext uri="{FF2B5EF4-FFF2-40B4-BE49-F238E27FC236}">
                  <a16:creationId xmlns:a16="http://schemas.microsoft.com/office/drawing/2014/main" id="{AFC9FF53-3950-D15B-FFAA-8643A7BC3D03}"/>
                </a:ext>
              </a:extLst>
            </p:cNvPr>
            <p:cNvSpPr/>
            <p:nvPr/>
          </p:nvSpPr>
          <p:spPr>
            <a:xfrm>
              <a:off x="5059517" y="3675065"/>
              <a:ext cx="19048" cy="7937"/>
            </a:xfrm>
            <a:custGeom>
              <a:avLst/>
              <a:gdLst>
                <a:gd name="connsiteX0" fmla="*/ 13946 w 15932"/>
                <a:gd name="connsiteY0" fmla="*/ 6 h 5991"/>
                <a:gd name="connsiteX1" fmla="*/ 7409 w 15932"/>
                <a:gd name="connsiteY1" fmla="*/ 590 h 5991"/>
                <a:gd name="connsiteX2" fmla="*/ 7385 w 15932"/>
                <a:gd name="connsiteY2" fmla="*/ 590 h 5991"/>
                <a:gd name="connsiteX3" fmla="*/ 1461 w 15932"/>
                <a:gd name="connsiteY3" fmla="*/ 1221 h 5991"/>
                <a:gd name="connsiteX4" fmla="*/ 34 w 15932"/>
                <a:gd name="connsiteY4" fmla="*/ 2147 h 5991"/>
                <a:gd name="connsiteX5" fmla="*/ 0 w 15932"/>
                <a:gd name="connsiteY5" fmla="*/ 3805 h 5991"/>
                <a:gd name="connsiteX6" fmla="*/ 603 w 15932"/>
                <a:gd name="connsiteY6" fmla="*/ 5015 h 5991"/>
                <a:gd name="connsiteX7" fmla="*/ 887 w 15932"/>
                <a:gd name="connsiteY7" fmla="*/ 5251 h 5991"/>
                <a:gd name="connsiteX8" fmla="*/ 1383 w 15932"/>
                <a:gd name="connsiteY8" fmla="*/ 5690 h 5991"/>
                <a:gd name="connsiteX9" fmla="*/ 2039 w 15932"/>
                <a:gd name="connsiteY9" fmla="*/ 5897 h 5991"/>
                <a:gd name="connsiteX10" fmla="*/ 2410 w 15932"/>
                <a:gd name="connsiteY10" fmla="*/ 5989 h 5991"/>
                <a:gd name="connsiteX11" fmla="*/ 8349 w 15932"/>
                <a:gd name="connsiteY11" fmla="*/ 5401 h 5991"/>
                <a:gd name="connsiteX12" fmla="*/ 8701 w 15932"/>
                <a:gd name="connsiteY12" fmla="*/ 5324 h 5991"/>
                <a:gd name="connsiteX13" fmla="*/ 14640 w 15932"/>
                <a:gd name="connsiteY13" fmla="*/ 3545 h 5991"/>
                <a:gd name="connsiteX14" fmla="*/ 15894 w 15932"/>
                <a:gd name="connsiteY14" fmla="*/ 1491 h 5991"/>
                <a:gd name="connsiteX15" fmla="*/ 13946 w 15932"/>
                <a:gd name="connsiteY15" fmla="*/ 6 h 5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32" h="5991">
                  <a:moveTo>
                    <a:pt x="13946" y="6"/>
                  </a:moveTo>
                  <a:lnTo>
                    <a:pt x="7409" y="590"/>
                  </a:lnTo>
                  <a:lnTo>
                    <a:pt x="7385" y="590"/>
                  </a:lnTo>
                  <a:lnTo>
                    <a:pt x="1461" y="1221"/>
                  </a:lnTo>
                  <a:lnTo>
                    <a:pt x="34" y="2147"/>
                  </a:lnTo>
                  <a:lnTo>
                    <a:pt x="0" y="3805"/>
                  </a:lnTo>
                  <a:lnTo>
                    <a:pt x="603" y="5015"/>
                  </a:lnTo>
                  <a:cubicBezTo>
                    <a:pt x="651" y="5155"/>
                    <a:pt x="795" y="5174"/>
                    <a:pt x="887" y="5251"/>
                  </a:cubicBezTo>
                  <a:cubicBezTo>
                    <a:pt x="1051" y="5444"/>
                    <a:pt x="1176" y="5555"/>
                    <a:pt x="1383" y="5690"/>
                  </a:cubicBezTo>
                  <a:cubicBezTo>
                    <a:pt x="1600" y="5810"/>
                    <a:pt x="1774" y="5873"/>
                    <a:pt x="2039" y="5897"/>
                  </a:cubicBezTo>
                  <a:cubicBezTo>
                    <a:pt x="2174" y="5921"/>
                    <a:pt x="2261" y="6008"/>
                    <a:pt x="2410" y="5989"/>
                  </a:cubicBezTo>
                  <a:lnTo>
                    <a:pt x="8349" y="5401"/>
                  </a:lnTo>
                  <a:lnTo>
                    <a:pt x="8701" y="5324"/>
                  </a:lnTo>
                  <a:lnTo>
                    <a:pt x="14640" y="3545"/>
                  </a:lnTo>
                  <a:cubicBezTo>
                    <a:pt x="15532" y="3289"/>
                    <a:pt x="16087" y="2393"/>
                    <a:pt x="15894" y="1491"/>
                  </a:cubicBezTo>
                  <a:cubicBezTo>
                    <a:pt x="15730" y="551"/>
                    <a:pt x="14901" y="-71"/>
                    <a:pt x="13946" y="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6" name="Freihandform: Form 45">
              <a:extLst>
                <a:ext uri="{FF2B5EF4-FFF2-40B4-BE49-F238E27FC236}">
                  <a16:creationId xmlns:a16="http://schemas.microsoft.com/office/drawing/2014/main" id="{EFF31EA5-E0A9-BC36-68D9-08D0A58199FB}"/>
                </a:ext>
              </a:extLst>
            </p:cNvPr>
            <p:cNvSpPr/>
            <p:nvPr/>
          </p:nvSpPr>
          <p:spPr>
            <a:xfrm>
              <a:off x="5340472" y="3443281"/>
              <a:ext cx="41270" cy="41277"/>
            </a:xfrm>
            <a:custGeom>
              <a:avLst/>
              <a:gdLst>
                <a:gd name="connsiteX0" fmla="*/ 30404 w 32178"/>
                <a:gd name="connsiteY0" fmla="*/ 20903 h 31893"/>
                <a:gd name="connsiteX1" fmla="*/ 30404 w 32178"/>
                <a:gd name="connsiteY1" fmla="*/ 19958 h 31893"/>
                <a:gd name="connsiteX2" fmla="*/ 30120 w 32178"/>
                <a:gd name="connsiteY2" fmla="*/ 19003 h 31893"/>
                <a:gd name="connsiteX3" fmla="*/ 26557 w 32178"/>
                <a:gd name="connsiteY3" fmla="*/ 13069 h 31893"/>
                <a:gd name="connsiteX4" fmla="*/ 26461 w 32178"/>
                <a:gd name="connsiteY4" fmla="*/ 12929 h 31893"/>
                <a:gd name="connsiteX5" fmla="*/ 24687 w 32178"/>
                <a:gd name="connsiteY5" fmla="*/ 10543 h 31893"/>
                <a:gd name="connsiteX6" fmla="*/ 24350 w 32178"/>
                <a:gd name="connsiteY6" fmla="*/ 10210 h 31893"/>
                <a:gd name="connsiteX7" fmla="*/ 21395 w 32178"/>
                <a:gd name="connsiteY7" fmla="*/ 7829 h 31893"/>
                <a:gd name="connsiteX8" fmla="*/ 21014 w 32178"/>
                <a:gd name="connsiteY8" fmla="*/ 7588 h 31893"/>
                <a:gd name="connsiteX9" fmla="*/ 14655 w 32178"/>
                <a:gd name="connsiteY9" fmla="*/ 4719 h 31893"/>
                <a:gd name="connsiteX10" fmla="*/ 8880 w 32178"/>
                <a:gd name="connsiteY10" fmla="*/ 82 h 31893"/>
                <a:gd name="connsiteX11" fmla="*/ 6706 w 32178"/>
                <a:gd name="connsiteY11" fmla="*/ 0 h 31893"/>
                <a:gd name="connsiteX12" fmla="*/ 747 w 32178"/>
                <a:gd name="connsiteY12" fmla="*/ 4194 h 31893"/>
                <a:gd name="connsiteX13" fmla="*/ 0 w 32178"/>
                <a:gd name="connsiteY13" fmla="*/ 5901 h 31893"/>
                <a:gd name="connsiteX14" fmla="*/ 593 w 32178"/>
                <a:gd name="connsiteY14" fmla="*/ 10663 h 31893"/>
                <a:gd name="connsiteX15" fmla="*/ 2044 w 32178"/>
                <a:gd name="connsiteY15" fmla="*/ 12206 h 31893"/>
                <a:gd name="connsiteX16" fmla="*/ 7299 w 32178"/>
                <a:gd name="connsiteY16" fmla="*/ 13276 h 31893"/>
                <a:gd name="connsiteX17" fmla="*/ 8537 w 32178"/>
                <a:gd name="connsiteY17" fmla="*/ 14867 h 31893"/>
                <a:gd name="connsiteX18" fmla="*/ 7544 w 32178"/>
                <a:gd name="connsiteY18" fmla="*/ 14264 h 31893"/>
                <a:gd name="connsiteX19" fmla="*/ 5563 w 32178"/>
                <a:gd name="connsiteY19" fmla="*/ 14284 h 31893"/>
                <a:gd name="connsiteX20" fmla="*/ 4782 w 32178"/>
                <a:gd name="connsiteY20" fmla="*/ 16125 h 31893"/>
                <a:gd name="connsiteX21" fmla="*/ 5973 w 32178"/>
                <a:gd name="connsiteY21" fmla="*/ 22652 h 31893"/>
                <a:gd name="connsiteX22" fmla="*/ 6585 w 32178"/>
                <a:gd name="connsiteY22" fmla="*/ 23737 h 31893"/>
                <a:gd name="connsiteX23" fmla="*/ 10157 w 32178"/>
                <a:gd name="connsiteY23" fmla="*/ 26736 h 31893"/>
                <a:gd name="connsiteX24" fmla="*/ 11840 w 32178"/>
                <a:gd name="connsiteY24" fmla="*/ 27073 h 31893"/>
                <a:gd name="connsiteX25" fmla="*/ 16014 w 32178"/>
                <a:gd name="connsiteY25" fmla="*/ 25800 h 31893"/>
                <a:gd name="connsiteX26" fmla="*/ 17302 w 32178"/>
                <a:gd name="connsiteY26" fmla="*/ 30554 h 31893"/>
                <a:gd name="connsiteX27" fmla="*/ 19047 w 32178"/>
                <a:gd name="connsiteY27" fmla="*/ 31894 h 31893"/>
                <a:gd name="connsiteX28" fmla="*/ 25005 w 32178"/>
                <a:gd name="connsiteY28" fmla="*/ 31894 h 31893"/>
                <a:gd name="connsiteX29" fmla="*/ 25352 w 32178"/>
                <a:gd name="connsiteY29" fmla="*/ 31749 h 31893"/>
                <a:gd name="connsiteX30" fmla="*/ 25743 w 32178"/>
                <a:gd name="connsiteY30" fmla="*/ 31749 h 31893"/>
                <a:gd name="connsiteX31" fmla="*/ 31089 w 32178"/>
                <a:gd name="connsiteY31" fmla="*/ 29358 h 31893"/>
                <a:gd name="connsiteX32" fmla="*/ 32121 w 32178"/>
                <a:gd name="connsiteY32" fmla="*/ 27213 h 31893"/>
                <a:gd name="connsiteX33" fmla="*/ 30404 w 32178"/>
                <a:gd name="connsiteY33" fmla="*/ 20903 h 3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178" h="31893">
                  <a:moveTo>
                    <a:pt x="30404" y="20903"/>
                  </a:moveTo>
                  <a:lnTo>
                    <a:pt x="30404" y="19958"/>
                  </a:lnTo>
                  <a:lnTo>
                    <a:pt x="30120" y="19003"/>
                  </a:lnTo>
                  <a:lnTo>
                    <a:pt x="26557" y="13069"/>
                  </a:lnTo>
                  <a:lnTo>
                    <a:pt x="26461" y="12929"/>
                  </a:lnTo>
                  <a:lnTo>
                    <a:pt x="24687" y="10543"/>
                  </a:lnTo>
                  <a:lnTo>
                    <a:pt x="24350" y="10210"/>
                  </a:lnTo>
                  <a:lnTo>
                    <a:pt x="21395" y="7829"/>
                  </a:lnTo>
                  <a:lnTo>
                    <a:pt x="21014" y="7588"/>
                  </a:lnTo>
                  <a:lnTo>
                    <a:pt x="14655" y="4719"/>
                  </a:lnTo>
                  <a:lnTo>
                    <a:pt x="8880" y="82"/>
                  </a:lnTo>
                  <a:lnTo>
                    <a:pt x="6706" y="0"/>
                  </a:lnTo>
                  <a:lnTo>
                    <a:pt x="747" y="4194"/>
                  </a:lnTo>
                  <a:lnTo>
                    <a:pt x="0" y="5901"/>
                  </a:lnTo>
                  <a:lnTo>
                    <a:pt x="593" y="10663"/>
                  </a:lnTo>
                  <a:cubicBezTo>
                    <a:pt x="685" y="11439"/>
                    <a:pt x="1273" y="12081"/>
                    <a:pt x="2044" y="12206"/>
                  </a:cubicBezTo>
                  <a:lnTo>
                    <a:pt x="7299" y="13276"/>
                  </a:lnTo>
                  <a:lnTo>
                    <a:pt x="8537" y="14867"/>
                  </a:lnTo>
                  <a:lnTo>
                    <a:pt x="7544" y="14264"/>
                  </a:lnTo>
                  <a:lnTo>
                    <a:pt x="5563" y="14284"/>
                  </a:lnTo>
                  <a:lnTo>
                    <a:pt x="4782" y="16125"/>
                  </a:lnTo>
                  <a:lnTo>
                    <a:pt x="5973" y="22652"/>
                  </a:lnTo>
                  <a:lnTo>
                    <a:pt x="6585" y="23737"/>
                  </a:lnTo>
                  <a:lnTo>
                    <a:pt x="10157" y="26736"/>
                  </a:lnTo>
                  <a:lnTo>
                    <a:pt x="11840" y="27073"/>
                  </a:lnTo>
                  <a:lnTo>
                    <a:pt x="16014" y="25800"/>
                  </a:lnTo>
                  <a:lnTo>
                    <a:pt x="17302" y="30554"/>
                  </a:lnTo>
                  <a:cubicBezTo>
                    <a:pt x="17523" y="31354"/>
                    <a:pt x="18242" y="31894"/>
                    <a:pt x="19047" y="31894"/>
                  </a:cubicBezTo>
                  <a:lnTo>
                    <a:pt x="25005" y="31894"/>
                  </a:lnTo>
                  <a:cubicBezTo>
                    <a:pt x="25140" y="31894"/>
                    <a:pt x="25227" y="31792"/>
                    <a:pt x="25352" y="31749"/>
                  </a:cubicBezTo>
                  <a:cubicBezTo>
                    <a:pt x="25492" y="31749"/>
                    <a:pt x="25622" y="31792"/>
                    <a:pt x="25743" y="31749"/>
                  </a:cubicBezTo>
                  <a:lnTo>
                    <a:pt x="31089" y="29358"/>
                  </a:lnTo>
                  <a:cubicBezTo>
                    <a:pt x="31918" y="28973"/>
                    <a:pt x="32342" y="28090"/>
                    <a:pt x="32121" y="27213"/>
                  </a:cubicBezTo>
                  <a:lnTo>
                    <a:pt x="30404" y="2090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7" name="Freihandform: Form 46">
              <a:extLst>
                <a:ext uri="{FF2B5EF4-FFF2-40B4-BE49-F238E27FC236}">
                  <a16:creationId xmlns:a16="http://schemas.microsoft.com/office/drawing/2014/main" id="{92A2CB11-115A-836E-3A15-740CF99FFCBC}"/>
                </a:ext>
              </a:extLst>
            </p:cNvPr>
            <p:cNvSpPr/>
            <p:nvPr/>
          </p:nvSpPr>
          <p:spPr>
            <a:xfrm>
              <a:off x="5432536" y="3430580"/>
              <a:ext cx="33334" cy="74615"/>
            </a:xfrm>
            <a:custGeom>
              <a:avLst/>
              <a:gdLst>
                <a:gd name="connsiteX0" fmla="*/ 26494 w 26571"/>
                <a:gd name="connsiteY0" fmla="*/ 7086 h 58378"/>
                <a:gd name="connsiteX1" fmla="*/ 24118 w 26571"/>
                <a:gd name="connsiteY1" fmla="*/ 1138 h 58378"/>
                <a:gd name="connsiteX2" fmla="*/ 22349 w 26571"/>
                <a:gd name="connsiteY2" fmla="*/ 0 h 58378"/>
                <a:gd name="connsiteX3" fmla="*/ 20671 w 26571"/>
                <a:gd name="connsiteY3" fmla="*/ 1282 h 58378"/>
                <a:gd name="connsiteX4" fmla="*/ 18917 w 26571"/>
                <a:gd name="connsiteY4" fmla="*/ 7197 h 58378"/>
                <a:gd name="connsiteX5" fmla="*/ 16588 w 26571"/>
                <a:gd name="connsiteY5" fmla="*/ 13590 h 58378"/>
                <a:gd name="connsiteX6" fmla="*/ 13773 w 26571"/>
                <a:gd name="connsiteY6" fmla="*/ 19177 h 58378"/>
                <a:gd name="connsiteX7" fmla="*/ 11030 w 26571"/>
                <a:gd name="connsiteY7" fmla="*/ 21983 h 58378"/>
                <a:gd name="connsiteX8" fmla="*/ 10817 w 26571"/>
                <a:gd name="connsiteY8" fmla="*/ 22209 h 58378"/>
                <a:gd name="connsiteX9" fmla="*/ 6681 w 26571"/>
                <a:gd name="connsiteY9" fmla="*/ 28129 h 58378"/>
                <a:gd name="connsiteX10" fmla="*/ 4922 w 26571"/>
                <a:gd name="connsiteY10" fmla="*/ 30496 h 58378"/>
                <a:gd name="connsiteX11" fmla="*/ 4584 w 26571"/>
                <a:gd name="connsiteY11" fmla="*/ 31209 h 58378"/>
                <a:gd name="connsiteX12" fmla="*/ 3456 w 26571"/>
                <a:gd name="connsiteY12" fmla="*/ 36903 h 58378"/>
                <a:gd name="connsiteX13" fmla="*/ 0 w 26571"/>
                <a:gd name="connsiteY13" fmla="*/ 43223 h 58378"/>
                <a:gd name="connsiteX14" fmla="*/ 58 w 26571"/>
                <a:gd name="connsiteY14" fmla="*/ 45035 h 58378"/>
                <a:gd name="connsiteX15" fmla="*/ 3616 w 26571"/>
                <a:gd name="connsiteY15" fmla="*/ 50965 h 58378"/>
                <a:gd name="connsiteX16" fmla="*/ 3635 w 26571"/>
                <a:gd name="connsiteY16" fmla="*/ 50974 h 58378"/>
                <a:gd name="connsiteX17" fmla="*/ 7810 w 26571"/>
                <a:gd name="connsiteY17" fmla="*/ 57554 h 58378"/>
                <a:gd name="connsiteX18" fmla="*/ 9521 w 26571"/>
                <a:gd name="connsiteY18" fmla="*/ 58379 h 58378"/>
                <a:gd name="connsiteX19" fmla="*/ 11035 w 26571"/>
                <a:gd name="connsiteY19" fmla="*/ 57260 h 58378"/>
                <a:gd name="connsiteX20" fmla="*/ 13411 w 26571"/>
                <a:gd name="connsiteY20" fmla="*/ 51297 h 58378"/>
                <a:gd name="connsiteX21" fmla="*/ 13522 w 26571"/>
                <a:gd name="connsiteY21" fmla="*/ 50970 h 58378"/>
                <a:gd name="connsiteX22" fmla="*/ 14684 w 26571"/>
                <a:gd name="connsiteY22" fmla="*/ 44510 h 58378"/>
                <a:gd name="connsiteX23" fmla="*/ 16429 w 26571"/>
                <a:gd name="connsiteY23" fmla="*/ 38653 h 58378"/>
                <a:gd name="connsiteX24" fmla="*/ 18227 w 26571"/>
                <a:gd name="connsiteY24" fmla="*/ 32694 h 58378"/>
                <a:gd name="connsiteX25" fmla="*/ 19934 w 26571"/>
                <a:gd name="connsiteY25" fmla="*/ 26957 h 58378"/>
                <a:gd name="connsiteX26" fmla="*/ 23390 w 26571"/>
                <a:gd name="connsiteY26" fmla="*/ 21216 h 58378"/>
                <a:gd name="connsiteX27" fmla="*/ 23660 w 26571"/>
                <a:gd name="connsiteY27" fmla="*/ 20290 h 58378"/>
                <a:gd name="connsiteX28" fmla="*/ 23660 w 26571"/>
                <a:gd name="connsiteY28" fmla="*/ 19871 h 58378"/>
                <a:gd name="connsiteX29" fmla="*/ 24798 w 26571"/>
                <a:gd name="connsiteY29" fmla="*/ 14154 h 58378"/>
                <a:gd name="connsiteX30" fmla="*/ 26572 w 26571"/>
                <a:gd name="connsiteY30" fmla="*/ 8287 h 58378"/>
                <a:gd name="connsiteX31" fmla="*/ 26494 w 26571"/>
                <a:gd name="connsiteY31" fmla="*/ 7086 h 58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6571" h="58378">
                  <a:moveTo>
                    <a:pt x="26494" y="7086"/>
                  </a:moveTo>
                  <a:lnTo>
                    <a:pt x="24118" y="1138"/>
                  </a:lnTo>
                  <a:cubicBezTo>
                    <a:pt x="23819" y="424"/>
                    <a:pt x="23125" y="-10"/>
                    <a:pt x="22349" y="0"/>
                  </a:cubicBezTo>
                  <a:cubicBezTo>
                    <a:pt x="21573" y="43"/>
                    <a:pt x="20907" y="554"/>
                    <a:pt x="20671" y="1282"/>
                  </a:cubicBezTo>
                  <a:lnTo>
                    <a:pt x="18917" y="7197"/>
                  </a:lnTo>
                  <a:lnTo>
                    <a:pt x="16588" y="13590"/>
                  </a:lnTo>
                  <a:lnTo>
                    <a:pt x="13773" y="19177"/>
                  </a:lnTo>
                  <a:lnTo>
                    <a:pt x="11030" y="21983"/>
                  </a:lnTo>
                  <a:lnTo>
                    <a:pt x="10817" y="22209"/>
                  </a:lnTo>
                  <a:lnTo>
                    <a:pt x="6681" y="28129"/>
                  </a:lnTo>
                  <a:lnTo>
                    <a:pt x="4922" y="30496"/>
                  </a:lnTo>
                  <a:lnTo>
                    <a:pt x="4584" y="31209"/>
                  </a:lnTo>
                  <a:lnTo>
                    <a:pt x="3456" y="36903"/>
                  </a:lnTo>
                  <a:lnTo>
                    <a:pt x="0" y="43223"/>
                  </a:lnTo>
                  <a:lnTo>
                    <a:pt x="58" y="45035"/>
                  </a:lnTo>
                  <a:lnTo>
                    <a:pt x="3616" y="50965"/>
                  </a:lnTo>
                  <a:lnTo>
                    <a:pt x="3635" y="50974"/>
                  </a:lnTo>
                  <a:lnTo>
                    <a:pt x="7810" y="57554"/>
                  </a:lnTo>
                  <a:lnTo>
                    <a:pt x="9521" y="58379"/>
                  </a:lnTo>
                  <a:lnTo>
                    <a:pt x="11035" y="57260"/>
                  </a:lnTo>
                  <a:lnTo>
                    <a:pt x="13411" y="51297"/>
                  </a:lnTo>
                  <a:lnTo>
                    <a:pt x="13522" y="50970"/>
                  </a:lnTo>
                  <a:lnTo>
                    <a:pt x="14684" y="44510"/>
                  </a:lnTo>
                  <a:lnTo>
                    <a:pt x="16429" y="38653"/>
                  </a:lnTo>
                  <a:lnTo>
                    <a:pt x="18227" y="32694"/>
                  </a:lnTo>
                  <a:lnTo>
                    <a:pt x="19934" y="26957"/>
                  </a:lnTo>
                  <a:lnTo>
                    <a:pt x="23390" y="21216"/>
                  </a:lnTo>
                  <a:lnTo>
                    <a:pt x="23660" y="20290"/>
                  </a:lnTo>
                  <a:lnTo>
                    <a:pt x="23660" y="19871"/>
                  </a:lnTo>
                  <a:lnTo>
                    <a:pt x="24798" y="14154"/>
                  </a:lnTo>
                  <a:lnTo>
                    <a:pt x="26572" y="8287"/>
                  </a:lnTo>
                  <a:lnTo>
                    <a:pt x="26494" y="708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8" name="Freihandform: Form 47">
              <a:extLst>
                <a:ext uri="{FF2B5EF4-FFF2-40B4-BE49-F238E27FC236}">
                  <a16:creationId xmlns:a16="http://schemas.microsoft.com/office/drawing/2014/main" id="{EBF9771B-D060-75DE-521A-9F0DC7F12ADE}"/>
                </a:ext>
              </a:extLst>
            </p:cNvPr>
            <p:cNvSpPr/>
            <p:nvPr/>
          </p:nvSpPr>
          <p:spPr>
            <a:xfrm>
              <a:off x="5473807" y="3465507"/>
              <a:ext cx="79366" cy="50802"/>
            </a:xfrm>
            <a:custGeom>
              <a:avLst/>
              <a:gdLst>
                <a:gd name="connsiteX0" fmla="*/ 59348 w 61791"/>
                <a:gd name="connsiteY0" fmla="*/ 28847 h 39626"/>
                <a:gd name="connsiteX1" fmla="*/ 61792 w 61791"/>
                <a:gd name="connsiteY1" fmla="*/ 24026 h 39626"/>
                <a:gd name="connsiteX2" fmla="*/ 61729 w 61791"/>
                <a:gd name="connsiteY2" fmla="*/ 23969 h 39626"/>
                <a:gd name="connsiteX3" fmla="*/ 61262 w 61791"/>
                <a:gd name="connsiteY3" fmla="*/ 22971 h 39626"/>
                <a:gd name="connsiteX4" fmla="*/ 56046 w 61791"/>
                <a:gd name="connsiteY4" fmla="*/ 17196 h 39626"/>
                <a:gd name="connsiteX5" fmla="*/ 55747 w 61791"/>
                <a:gd name="connsiteY5" fmla="*/ 16771 h 39626"/>
                <a:gd name="connsiteX6" fmla="*/ 52927 w 61791"/>
                <a:gd name="connsiteY6" fmla="*/ 10500 h 39626"/>
                <a:gd name="connsiteX7" fmla="*/ 52189 w 61791"/>
                <a:gd name="connsiteY7" fmla="*/ 9776 h 39626"/>
                <a:gd name="connsiteX8" fmla="*/ 48612 w 61791"/>
                <a:gd name="connsiteY8" fmla="*/ 7993 h 39626"/>
                <a:gd name="connsiteX9" fmla="*/ 47894 w 61791"/>
                <a:gd name="connsiteY9" fmla="*/ 11604 h 39626"/>
                <a:gd name="connsiteX10" fmla="*/ 47151 w 61791"/>
                <a:gd name="connsiteY10" fmla="*/ 12727 h 39626"/>
                <a:gd name="connsiteX11" fmla="*/ 41198 w 61791"/>
                <a:gd name="connsiteY11" fmla="*/ 16911 h 39626"/>
                <a:gd name="connsiteX12" fmla="*/ 39448 w 61791"/>
                <a:gd name="connsiteY12" fmla="*/ 17080 h 39626"/>
                <a:gd name="connsiteX13" fmla="*/ 32304 w 61791"/>
                <a:gd name="connsiteY13" fmla="*/ 14106 h 39626"/>
                <a:gd name="connsiteX14" fmla="*/ 32135 w 61791"/>
                <a:gd name="connsiteY14" fmla="*/ 14019 h 39626"/>
                <a:gd name="connsiteX15" fmla="*/ 25608 w 61791"/>
                <a:gd name="connsiteY15" fmla="*/ 10446 h 39626"/>
                <a:gd name="connsiteX16" fmla="*/ 24928 w 61791"/>
                <a:gd name="connsiteY16" fmla="*/ 9820 h 39626"/>
                <a:gd name="connsiteX17" fmla="*/ 20989 w 61791"/>
                <a:gd name="connsiteY17" fmla="*/ 3606 h 39626"/>
                <a:gd name="connsiteX18" fmla="*/ 15325 w 61791"/>
                <a:gd name="connsiteY18" fmla="*/ 0 h 39626"/>
                <a:gd name="connsiteX19" fmla="*/ 10133 w 61791"/>
                <a:gd name="connsiteY19" fmla="*/ 516 h 39626"/>
                <a:gd name="connsiteX20" fmla="*/ 4411 w 61791"/>
                <a:gd name="connsiteY20" fmla="*/ 2111 h 39626"/>
                <a:gd name="connsiteX21" fmla="*/ 1220 w 61791"/>
                <a:gd name="connsiteY21" fmla="*/ 7096 h 39626"/>
                <a:gd name="connsiteX22" fmla="*/ 4218 w 61791"/>
                <a:gd name="connsiteY22" fmla="*/ 12076 h 39626"/>
                <a:gd name="connsiteX23" fmla="*/ 4493 w 61791"/>
                <a:gd name="connsiteY23" fmla="*/ 12857 h 39626"/>
                <a:gd name="connsiteX24" fmla="*/ 5071 w 61791"/>
                <a:gd name="connsiteY24" fmla="*/ 18791 h 39626"/>
                <a:gd name="connsiteX25" fmla="*/ 3775 w 61791"/>
                <a:gd name="connsiteY25" fmla="*/ 20715 h 39626"/>
                <a:gd name="connsiteX26" fmla="*/ 0 w 61791"/>
                <a:gd name="connsiteY26" fmla="*/ 21824 h 39626"/>
                <a:gd name="connsiteX27" fmla="*/ 954 w 61791"/>
                <a:gd name="connsiteY27" fmla="*/ 23477 h 39626"/>
                <a:gd name="connsiteX28" fmla="*/ 6214 w 61791"/>
                <a:gd name="connsiteY28" fmla="*/ 25559 h 39626"/>
                <a:gd name="connsiteX29" fmla="*/ 12669 w 61791"/>
                <a:gd name="connsiteY29" fmla="*/ 27329 h 39626"/>
                <a:gd name="connsiteX30" fmla="*/ 12876 w 61791"/>
                <a:gd name="connsiteY30" fmla="*/ 27415 h 39626"/>
                <a:gd name="connsiteX31" fmla="*/ 18806 w 61791"/>
                <a:gd name="connsiteY31" fmla="*/ 29787 h 39626"/>
                <a:gd name="connsiteX32" fmla="*/ 19288 w 61791"/>
                <a:gd name="connsiteY32" fmla="*/ 30062 h 39626"/>
                <a:gd name="connsiteX33" fmla="*/ 25839 w 61791"/>
                <a:gd name="connsiteY33" fmla="*/ 35432 h 39626"/>
                <a:gd name="connsiteX34" fmla="*/ 26201 w 61791"/>
                <a:gd name="connsiteY34" fmla="*/ 35828 h 39626"/>
                <a:gd name="connsiteX35" fmla="*/ 27097 w 61791"/>
                <a:gd name="connsiteY35" fmla="*/ 37177 h 39626"/>
                <a:gd name="connsiteX36" fmla="*/ 32559 w 61791"/>
                <a:gd name="connsiteY36" fmla="*/ 39626 h 39626"/>
                <a:gd name="connsiteX37" fmla="*/ 37712 w 61791"/>
                <a:gd name="connsiteY37" fmla="*/ 38108 h 39626"/>
                <a:gd name="connsiteX38" fmla="*/ 43512 w 61791"/>
                <a:gd name="connsiteY38" fmla="*/ 35196 h 39626"/>
                <a:gd name="connsiteX39" fmla="*/ 44510 w 61791"/>
                <a:gd name="connsiteY39" fmla="*/ 35013 h 39626"/>
                <a:gd name="connsiteX40" fmla="*/ 50459 w 61791"/>
                <a:gd name="connsiteY40" fmla="*/ 35611 h 39626"/>
                <a:gd name="connsiteX41" fmla="*/ 50613 w 61791"/>
                <a:gd name="connsiteY41" fmla="*/ 35640 h 39626"/>
                <a:gd name="connsiteX42" fmla="*/ 56595 w 61791"/>
                <a:gd name="connsiteY42" fmla="*/ 36739 h 39626"/>
                <a:gd name="connsiteX43" fmla="*/ 61049 w 61791"/>
                <a:gd name="connsiteY43" fmla="*/ 34685 h 39626"/>
                <a:gd name="connsiteX44" fmla="*/ 59290 w 61791"/>
                <a:gd name="connsiteY44" fmla="*/ 30370 h 39626"/>
                <a:gd name="connsiteX45" fmla="*/ 59348 w 61791"/>
                <a:gd name="connsiteY45" fmla="*/ 28847 h 39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1791" h="39626">
                  <a:moveTo>
                    <a:pt x="59348" y="28847"/>
                  </a:moveTo>
                  <a:lnTo>
                    <a:pt x="61792" y="24026"/>
                  </a:lnTo>
                  <a:lnTo>
                    <a:pt x="61729" y="23969"/>
                  </a:lnTo>
                  <a:lnTo>
                    <a:pt x="61262" y="22971"/>
                  </a:lnTo>
                  <a:lnTo>
                    <a:pt x="56046" y="17196"/>
                  </a:lnTo>
                  <a:lnTo>
                    <a:pt x="55747" y="16771"/>
                  </a:lnTo>
                  <a:lnTo>
                    <a:pt x="52927" y="10500"/>
                  </a:lnTo>
                  <a:lnTo>
                    <a:pt x="52189" y="9776"/>
                  </a:lnTo>
                  <a:lnTo>
                    <a:pt x="48612" y="7993"/>
                  </a:lnTo>
                  <a:lnTo>
                    <a:pt x="47894" y="11604"/>
                  </a:lnTo>
                  <a:lnTo>
                    <a:pt x="47151" y="12727"/>
                  </a:lnTo>
                  <a:lnTo>
                    <a:pt x="41198" y="16911"/>
                  </a:lnTo>
                  <a:lnTo>
                    <a:pt x="39448" y="17080"/>
                  </a:lnTo>
                  <a:lnTo>
                    <a:pt x="32304" y="14106"/>
                  </a:lnTo>
                  <a:lnTo>
                    <a:pt x="32135" y="14019"/>
                  </a:lnTo>
                  <a:lnTo>
                    <a:pt x="25608" y="10446"/>
                  </a:lnTo>
                  <a:lnTo>
                    <a:pt x="24928" y="9820"/>
                  </a:lnTo>
                  <a:lnTo>
                    <a:pt x="20989" y="3606"/>
                  </a:lnTo>
                  <a:lnTo>
                    <a:pt x="15325" y="0"/>
                  </a:lnTo>
                  <a:lnTo>
                    <a:pt x="10133" y="516"/>
                  </a:lnTo>
                  <a:lnTo>
                    <a:pt x="4411" y="2111"/>
                  </a:lnTo>
                  <a:lnTo>
                    <a:pt x="1220" y="7096"/>
                  </a:lnTo>
                  <a:lnTo>
                    <a:pt x="4218" y="12076"/>
                  </a:lnTo>
                  <a:lnTo>
                    <a:pt x="4493" y="12857"/>
                  </a:lnTo>
                  <a:lnTo>
                    <a:pt x="5071" y="18791"/>
                  </a:lnTo>
                  <a:cubicBezTo>
                    <a:pt x="5148" y="19640"/>
                    <a:pt x="4604" y="20469"/>
                    <a:pt x="3775" y="20715"/>
                  </a:cubicBezTo>
                  <a:lnTo>
                    <a:pt x="0" y="21824"/>
                  </a:lnTo>
                  <a:lnTo>
                    <a:pt x="954" y="23477"/>
                  </a:lnTo>
                  <a:lnTo>
                    <a:pt x="6214" y="25559"/>
                  </a:lnTo>
                  <a:lnTo>
                    <a:pt x="12669" y="27329"/>
                  </a:lnTo>
                  <a:lnTo>
                    <a:pt x="12876" y="27415"/>
                  </a:lnTo>
                  <a:lnTo>
                    <a:pt x="18806" y="29787"/>
                  </a:lnTo>
                  <a:lnTo>
                    <a:pt x="19288" y="30062"/>
                  </a:lnTo>
                  <a:lnTo>
                    <a:pt x="25839" y="35432"/>
                  </a:lnTo>
                  <a:lnTo>
                    <a:pt x="26201" y="35828"/>
                  </a:lnTo>
                  <a:lnTo>
                    <a:pt x="27097" y="37177"/>
                  </a:lnTo>
                  <a:lnTo>
                    <a:pt x="32559" y="39626"/>
                  </a:lnTo>
                  <a:lnTo>
                    <a:pt x="37712" y="38108"/>
                  </a:lnTo>
                  <a:lnTo>
                    <a:pt x="43512" y="35196"/>
                  </a:lnTo>
                  <a:lnTo>
                    <a:pt x="44510" y="35013"/>
                  </a:lnTo>
                  <a:lnTo>
                    <a:pt x="50459" y="35611"/>
                  </a:lnTo>
                  <a:lnTo>
                    <a:pt x="50613" y="35640"/>
                  </a:lnTo>
                  <a:lnTo>
                    <a:pt x="56595" y="36739"/>
                  </a:lnTo>
                  <a:lnTo>
                    <a:pt x="61049" y="34685"/>
                  </a:lnTo>
                  <a:lnTo>
                    <a:pt x="59290" y="30370"/>
                  </a:lnTo>
                  <a:lnTo>
                    <a:pt x="59348" y="2884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9" name="Freihandform: Form 48">
              <a:extLst>
                <a:ext uri="{FF2B5EF4-FFF2-40B4-BE49-F238E27FC236}">
                  <a16:creationId xmlns:a16="http://schemas.microsoft.com/office/drawing/2014/main" id="{400C43B9-6271-2DED-EE65-04C6E364A4FC}"/>
                </a:ext>
              </a:extLst>
            </p:cNvPr>
            <p:cNvSpPr/>
            <p:nvPr/>
          </p:nvSpPr>
          <p:spPr>
            <a:xfrm>
              <a:off x="5473807" y="3465507"/>
              <a:ext cx="79366" cy="50802"/>
            </a:xfrm>
            <a:custGeom>
              <a:avLst/>
              <a:gdLst>
                <a:gd name="connsiteX0" fmla="*/ 56595 w 61791"/>
                <a:gd name="connsiteY0" fmla="*/ 36738 h 39626"/>
                <a:gd name="connsiteX1" fmla="*/ 50612 w 61791"/>
                <a:gd name="connsiteY1" fmla="*/ 35640 h 39626"/>
                <a:gd name="connsiteX2" fmla="*/ 50458 w 61791"/>
                <a:gd name="connsiteY2" fmla="*/ 35611 h 39626"/>
                <a:gd name="connsiteX3" fmla="*/ 44509 w 61791"/>
                <a:gd name="connsiteY3" fmla="*/ 35013 h 39626"/>
                <a:gd name="connsiteX4" fmla="*/ 43512 w 61791"/>
                <a:gd name="connsiteY4" fmla="*/ 35196 h 39626"/>
                <a:gd name="connsiteX5" fmla="*/ 37712 w 61791"/>
                <a:gd name="connsiteY5" fmla="*/ 38108 h 39626"/>
                <a:gd name="connsiteX6" fmla="*/ 32559 w 61791"/>
                <a:gd name="connsiteY6" fmla="*/ 39626 h 39626"/>
                <a:gd name="connsiteX7" fmla="*/ 27097 w 61791"/>
                <a:gd name="connsiteY7" fmla="*/ 37177 h 39626"/>
                <a:gd name="connsiteX8" fmla="*/ 26201 w 61791"/>
                <a:gd name="connsiteY8" fmla="*/ 35828 h 39626"/>
                <a:gd name="connsiteX9" fmla="*/ 25839 w 61791"/>
                <a:gd name="connsiteY9" fmla="*/ 35432 h 39626"/>
                <a:gd name="connsiteX10" fmla="*/ 19288 w 61791"/>
                <a:gd name="connsiteY10" fmla="*/ 30062 h 39626"/>
                <a:gd name="connsiteX11" fmla="*/ 18806 w 61791"/>
                <a:gd name="connsiteY11" fmla="*/ 29787 h 39626"/>
                <a:gd name="connsiteX12" fmla="*/ 12876 w 61791"/>
                <a:gd name="connsiteY12" fmla="*/ 27415 h 39626"/>
                <a:gd name="connsiteX13" fmla="*/ 12669 w 61791"/>
                <a:gd name="connsiteY13" fmla="*/ 27329 h 39626"/>
                <a:gd name="connsiteX14" fmla="*/ 6214 w 61791"/>
                <a:gd name="connsiteY14" fmla="*/ 25559 h 39626"/>
                <a:gd name="connsiteX15" fmla="*/ 954 w 61791"/>
                <a:gd name="connsiteY15" fmla="*/ 23477 h 39626"/>
                <a:gd name="connsiteX16" fmla="*/ 0 w 61791"/>
                <a:gd name="connsiteY16" fmla="*/ 21823 h 39626"/>
                <a:gd name="connsiteX17" fmla="*/ 3774 w 61791"/>
                <a:gd name="connsiteY17" fmla="*/ 20715 h 39626"/>
                <a:gd name="connsiteX18" fmla="*/ 5071 w 61791"/>
                <a:gd name="connsiteY18" fmla="*/ 18791 h 39626"/>
                <a:gd name="connsiteX19" fmla="*/ 4493 w 61791"/>
                <a:gd name="connsiteY19" fmla="*/ 12857 h 39626"/>
                <a:gd name="connsiteX20" fmla="*/ 4218 w 61791"/>
                <a:gd name="connsiteY20" fmla="*/ 12076 h 39626"/>
                <a:gd name="connsiteX21" fmla="*/ 1220 w 61791"/>
                <a:gd name="connsiteY21" fmla="*/ 7096 h 39626"/>
                <a:gd name="connsiteX22" fmla="*/ 4411 w 61791"/>
                <a:gd name="connsiteY22" fmla="*/ 2111 h 39626"/>
                <a:gd name="connsiteX23" fmla="*/ 10133 w 61791"/>
                <a:gd name="connsiteY23" fmla="*/ 516 h 39626"/>
                <a:gd name="connsiteX24" fmla="*/ 15325 w 61791"/>
                <a:gd name="connsiteY24" fmla="*/ 0 h 39626"/>
                <a:gd name="connsiteX25" fmla="*/ 20989 w 61791"/>
                <a:gd name="connsiteY25" fmla="*/ 3606 h 39626"/>
                <a:gd name="connsiteX26" fmla="*/ 24928 w 61791"/>
                <a:gd name="connsiteY26" fmla="*/ 9820 h 39626"/>
                <a:gd name="connsiteX27" fmla="*/ 25607 w 61791"/>
                <a:gd name="connsiteY27" fmla="*/ 10446 h 39626"/>
                <a:gd name="connsiteX28" fmla="*/ 32135 w 61791"/>
                <a:gd name="connsiteY28" fmla="*/ 14019 h 39626"/>
                <a:gd name="connsiteX29" fmla="*/ 32304 w 61791"/>
                <a:gd name="connsiteY29" fmla="*/ 14105 h 39626"/>
                <a:gd name="connsiteX30" fmla="*/ 39448 w 61791"/>
                <a:gd name="connsiteY30" fmla="*/ 17080 h 39626"/>
                <a:gd name="connsiteX31" fmla="*/ 41198 w 61791"/>
                <a:gd name="connsiteY31" fmla="*/ 16911 h 39626"/>
                <a:gd name="connsiteX32" fmla="*/ 47151 w 61791"/>
                <a:gd name="connsiteY32" fmla="*/ 12727 h 39626"/>
                <a:gd name="connsiteX33" fmla="*/ 47894 w 61791"/>
                <a:gd name="connsiteY33" fmla="*/ 11603 h 39626"/>
                <a:gd name="connsiteX34" fmla="*/ 48612 w 61791"/>
                <a:gd name="connsiteY34" fmla="*/ 7993 h 39626"/>
                <a:gd name="connsiteX35" fmla="*/ 52189 w 61791"/>
                <a:gd name="connsiteY35" fmla="*/ 9776 h 39626"/>
                <a:gd name="connsiteX36" fmla="*/ 52927 w 61791"/>
                <a:gd name="connsiteY36" fmla="*/ 10499 h 39626"/>
                <a:gd name="connsiteX37" fmla="*/ 55747 w 61791"/>
                <a:gd name="connsiteY37" fmla="*/ 16771 h 39626"/>
                <a:gd name="connsiteX38" fmla="*/ 56045 w 61791"/>
                <a:gd name="connsiteY38" fmla="*/ 17196 h 39626"/>
                <a:gd name="connsiteX39" fmla="*/ 61262 w 61791"/>
                <a:gd name="connsiteY39" fmla="*/ 22971 h 39626"/>
                <a:gd name="connsiteX40" fmla="*/ 61729 w 61791"/>
                <a:gd name="connsiteY40" fmla="*/ 23968 h 39626"/>
                <a:gd name="connsiteX41" fmla="*/ 61792 w 61791"/>
                <a:gd name="connsiteY41" fmla="*/ 24026 h 39626"/>
                <a:gd name="connsiteX42" fmla="*/ 59348 w 61791"/>
                <a:gd name="connsiteY42" fmla="*/ 28847 h 39626"/>
                <a:gd name="connsiteX43" fmla="*/ 59275 w 61791"/>
                <a:gd name="connsiteY43" fmla="*/ 30366 h 39626"/>
                <a:gd name="connsiteX44" fmla="*/ 61035 w 61791"/>
                <a:gd name="connsiteY44" fmla="*/ 34680 h 39626"/>
                <a:gd name="connsiteX45" fmla="*/ 56595 w 61791"/>
                <a:gd name="connsiteY45" fmla="*/ 36738 h 39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1791" h="39626">
                  <a:moveTo>
                    <a:pt x="56595" y="36738"/>
                  </a:moveTo>
                  <a:lnTo>
                    <a:pt x="50612" y="35640"/>
                  </a:lnTo>
                  <a:lnTo>
                    <a:pt x="50458" y="35611"/>
                  </a:lnTo>
                  <a:lnTo>
                    <a:pt x="44509" y="35013"/>
                  </a:lnTo>
                  <a:lnTo>
                    <a:pt x="43512" y="35196"/>
                  </a:lnTo>
                  <a:lnTo>
                    <a:pt x="37712" y="38108"/>
                  </a:lnTo>
                  <a:lnTo>
                    <a:pt x="32559" y="39626"/>
                  </a:lnTo>
                  <a:lnTo>
                    <a:pt x="27097" y="37177"/>
                  </a:lnTo>
                  <a:lnTo>
                    <a:pt x="26201" y="35828"/>
                  </a:lnTo>
                  <a:lnTo>
                    <a:pt x="25839" y="35432"/>
                  </a:lnTo>
                  <a:lnTo>
                    <a:pt x="19288" y="30062"/>
                  </a:lnTo>
                  <a:lnTo>
                    <a:pt x="18806" y="29787"/>
                  </a:lnTo>
                  <a:lnTo>
                    <a:pt x="12876" y="27415"/>
                  </a:lnTo>
                  <a:lnTo>
                    <a:pt x="12669" y="27329"/>
                  </a:lnTo>
                  <a:lnTo>
                    <a:pt x="6214" y="25559"/>
                  </a:lnTo>
                  <a:lnTo>
                    <a:pt x="954" y="23477"/>
                  </a:lnTo>
                  <a:lnTo>
                    <a:pt x="0" y="21823"/>
                  </a:lnTo>
                  <a:lnTo>
                    <a:pt x="3774" y="20715"/>
                  </a:lnTo>
                  <a:cubicBezTo>
                    <a:pt x="4599" y="20469"/>
                    <a:pt x="5148" y="19639"/>
                    <a:pt x="5071" y="18791"/>
                  </a:cubicBezTo>
                  <a:lnTo>
                    <a:pt x="4493" y="12857"/>
                  </a:lnTo>
                  <a:lnTo>
                    <a:pt x="4218" y="12076"/>
                  </a:lnTo>
                  <a:lnTo>
                    <a:pt x="1220" y="7096"/>
                  </a:lnTo>
                  <a:lnTo>
                    <a:pt x="4411" y="2111"/>
                  </a:lnTo>
                  <a:lnTo>
                    <a:pt x="10133" y="516"/>
                  </a:lnTo>
                  <a:lnTo>
                    <a:pt x="15325" y="0"/>
                  </a:lnTo>
                  <a:lnTo>
                    <a:pt x="20989" y="3606"/>
                  </a:lnTo>
                  <a:lnTo>
                    <a:pt x="24928" y="9820"/>
                  </a:lnTo>
                  <a:lnTo>
                    <a:pt x="25607" y="10446"/>
                  </a:lnTo>
                  <a:lnTo>
                    <a:pt x="32135" y="14019"/>
                  </a:lnTo>
                  <a:lnTo>
                    <a:pt x="32304" y="14105"/>
                  </a:lnTo>
                  <a:lnTo>
                    <a:pt x="39448" y="17080"/>
                  </a:lnTo>
                  <a:lnTo>
                    <a:pt x="41198" y="16911"/>
                  </a:lnTo>
                  <a:lnTo>
                    <a:pt x="47151" y="12727"/>
                  </a:lnTo>
                  <a:lnTo>
                    <a:pt x="47894" y="11603"/>
                  </a:lnTo>
                  <a:lnTo>
                    <a:pt x="48612" y="7993"/>
                  </a:lnTo>
                  <a:lnTo>
                    <a:pt x="52189" y="9776"/>
                  </a:lnTo>
                  <a:lnTo>
                    <a:pt x="52927" y="10499"/>
                  </a:lnTo>
                  <a:lnTo>
                    <a:pt x="55747" y="16771"/>
                  </a:lnTo>
                  <a:lnTo>
                    <a:pt x="56045" y="17196"/>
                  </a:lnTo>
                  <a:lnTo>
                    <a:pt x="61262" y="22971"/>
                  </a:lnTo>
                  <a:lnTo>
                    <a:pt x="61729" y="23968"/>
                  </a:lnTo>
                  <a:lnTo>
                    <a:pt x="61792" y="24026"/>
                  </a:lnTo>
                  <a:lnTo>
                    <a:pt x="59348" y="28847"/>
                  </a:lnTo>
                  <a:lnTo>
                    <a:pt x="59275" y="30366"/>
                  </a:lnTo>
                  <a:lnTo>
                    <a:pt x="61035" y="34680"/>
                  </a:lnTo>
                  <a:lnTo>
                    <a:pt x="56595" y="3673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0" name="Freihandform: Form 49">
              <a:extLst>
                <a:ext uri="{FF2B5EF4-FFF2-40B4-BE49-F238E27FC236}">
                  <a16:creationId xmlns:a16="http://schemas.microsoft.com/office/drawing/2014/main" id="{9BFA3516-868B-CB2B-A145-D30DDA5FC0CF}"/>
                </a:ext>
              </a:extLst>
            </p:cNvPr>
            <p:cNvSpPr/>
            <p:nvPr/>
          </p:nvSpPr>
          <p:spPr>
            <a:xfrm>
              <a:off x="5472220" y="3533771"/>
              <a:ext cx="33333" cy="25401"/>
            </a:xfrm>
            <a:custGeom>
              <a:avLst/>
              <a:gdLst>
                <a:gd name="connsiteX0" fmla="*/ 23072 w 26070"/>
                <a:gd name="connsiteY0" fmla="*/ 10529 h 19653"/>
                <a:gd name="connsiteX1" fmla="*/ 23048 w 26070"/>
                <a:gd name="connsiteY1" fmla="*/ 10480 h 19653"/>
                <a:gd name="connsiteX2" fmla="*/ 19466 w 26070"/>
                <a:gd name="connsiteY2" fmla="*/ 3948 h 19653"/>
                <a:gd name="connsiteX3" fmla="*/ 18907 w 26070"/>
                <a:gd name="connsiteY3" fmla="*/ 3273 h 19653"/>
                <a:gd name="connsiteX4" fmla="*/ 15330 w 26070"/>
                <a:gd name="connsiteY4" fmla="*/ 906 h 19653"/>
                <a:gd name="connsiteX5" fmla="*/ 14501 w 26070"/>
                <a:gd name="connsiteY5" fmla="*/ 627 h 19653"/>
                <a:gd name="connsiteX6" fmla="*/ 7940 w 26070"/>
                <a:gd name="connsiteY6" fmla="*/ 0 h 19653"/>
                <a:gd name="connsiteX7" fmla="*/ 6720 w 26070"/>
                <a:gd name="connsiteY7" fmla="*/ 337 h 19653"/>
                <a:gd name="connsiteX8" fmla="*/ 776 w 26070"/>
                <a:gd name="connsiteY8" fmla="*/ 4488 h 19653"/>
                <a:gd name="connsiteX9" fmla="*/ 0 w 26070"/>
                <a:gd name="connsiteY9" fmla="*/ 5982 h 19653"/>
                <a:gd name="connsiteX10" fmla="*/ 0 w 26070"/>
                <a:gd name="connsiteY10" fmla="*/ 11941 h 19653"/>
                <a:gd name="connsiteX11" fmla="*/ 738 w 26070"/>
                <a:gd name="connsiteY11" fmla="*/ 13416 h 19653"/>
                <a:gd name="connsiteX12" fmla="*/ 7178 w 26070"/>
                <a:gd name="connsiteY12" fmla="*/ 18087 h 19653"/>
                <a:gd name="connsiteX13" fmla="*/ 7689 w 26070"/>
                <a:gd name="connsiteY13" fmla="*/ 18598 h 19653"/>
                <a:gd name="connsiteX14" fmla="*/ 8605 w 26070"/>
                <a:gd name="connsiteY14" fmla="*/ 19061 h 19653"/>
                <a:gd name="connsiteX15" fmla="*/ 11570 w 26070"/>
                <a:gd name="connsiteY15" fmla="*/ 19654 h 19653"/>
                <a:gd name="connsiteX16" fmla="*/ 12298 w 26070"/>
                <a:gd name="connsiteY16" fmla="*/ 19654 h 19653"/>
                <a:gd name="connsiteX17" fmla="*/ 18092 w 26070"/>
                <a:gd name="connsiteY17" fmla="*/ 18521 h 19653"/>
                <a:gd name="connsiteX18" fmla="*/ 18377 w 26070"/>
                <a:gd name="connsiteY18" fmla="*/ 18521 h 19653"/>
                <a:gd name="connsiteX19" fmla="*/ 24258 w 26070"/>
                <a:gd name="connsiteY19" fmla="*/ 19129 h 19653"/>
                <a:gd name="connsiteX20" fmla="*/ 25916 w 26070"/>
                <a:gd name="connsiteY20" fmla="*/ 18328 h 19653"/>
                <a:gd name="connsiteX21" fmla="*/ 26070 w 26070"/>
                <a:gd name="connsiteY21" fmla="*/ 16492 h 19653"/>
                <a:gd name="connsiteX22" fmla="*/ 23072 w 26070"/>
                <a:gd name="connsiteY22" fmla="*/ 10529 h 1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070" h="19653">
                  <a:moveTo>
                    <a:pt x="23072" y="10529"/>
                  </a:moveTo>
                  <a:lnTo>
                    <a:pt x="23048" y="10480"/>
                  </a:lnTo>
                  <a:lnTo>
                    <a:pt x="19466" y="3948"/>
                  </a:lnTo>
                  <a:lnTo>
                    <a:pt x="18907" y="3273"/>
                  </a:lnTo>
                  <a:lnTo>
                    <a:pt x="15330" y="906"/>
                  </a:lnTo>
                  <a:lnTo>
                    <a:pt x="14501" y="627"/>
                  </a:lnTo>
                  <a:lnTo>
                    <a:pt x="7940" y="0"/>
                  </a:lnTo>
                  <a:lnTo>
                    <a:pt x="6720" y="337"/>
                  </a:lnTo>
                  <a:lnTo>
                    <a:pt x="776" y="4488"/>
                  </a:lnTo>
                  <a:lnTo>
                    <a:pt x="0" y="5982"/>
                  </a:lnTo>
                  <a:lnTo>
                    <a:pt x="0" y="11941"/>
                  </a:lnTo>
                  <a:lnTo>
                    <a:pt x="738" y="13416"/>
                  </a:lnTo>
                  <a:lnTo>
                    <a:pt x="7178" y="18087"/>
                  </a:lnTo>
                  <a:lnTo>
                    <a:pt x="7689" y="18598"/>
                  </a:lnTo>
                  <a:lnTo>
                    <a:pt x="8605" y="19061"/>
                  </a:lnTo>
                  <a:lnTo>
                    <a:pt x="11570" y="19654"/>
                  </a:lnTo>
                  <a:lnTo>
                    <a:pt x="12298" y="19654"/>
                  </a:lnTo>
                  <a:lnTo>
                    <a:pt x="18092" y="18521"/>
                  </a:lnTo>
                  <a:lnTo>
                    <a:pt x="18377" y="18521"/>
                  </a:lnTo>
                  <a:lnTo>
                    <a:pt x="24258" y="19129"/>
                  </a:lnTo>
                  <a:lnTo>
                    <a:pt x="25916" y="18328"/>
                  </a:lnTo>
                  <a:lnTo>
                    <a:pt x="26070" y="16492"/>
                  </a:lnTo>
                  <a:lnTo>
                    <a:pt x="23072" y="1052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1" name="Freihandform: Form 50">
              <a:extLst>
                <a:ext uri="{FF2B5EF4-FFF2-40B4-BE49-F238E27FC236}">
                  <a16:creationId xmlns:a16="http://schemas.microsoft.com/office/drawing/2014/main" id="{D449E661-A25B-D7A6-B02E-F70624E00442}"/>
                </a:ext>
              </a:extLst>
            </p:cNvPr>
            <p:cNvSpPr/>
            <p:nvPr/>
          </p:nvSpPr>
          <p:spPr>
            <a:xfrm>
              <a:off x="5826192" y="3390891"/>
              <a:ext cx="49207" cy="49215"/>
            </a:xfrm>
            <a:custGeom>
              <a:avLst/>
              <a:gdLst>
                <a:gd name="connsiteX0" fmla="*/ 37143 w 37548"/>
                <a:gd name="connsiteY0" fmla="*/ 20907 h 39328"/>
                <a:gd name="connsiteX1" fmla="*/ 31783 w 37548"/>
                <a:gd name="connsiteY1" fmla="*/ 14361 h 39328"/>
                <a:gd name="connsiteX2" fmla="*/ 31200 w 37548"/>
                <a:gd name="connsiteY2" fmla="*/ 13864 h 39328"/>
                <a:gd name="connsiteX3" fmla="*/ 25501 w 37548"/>
                <a:gd name="connsiteY3" fmla="*/ 11049 h 39328"/>
                <a:gd name="connsiteX4" fmla="*/ 23925 w 37548"/>
                <a:gd name="connsiteY4" fmla="*/ 9468 h 39328"/>
                <a:gd name="connsiteX5" fmla="*/ 23453 w 37548"/>
                <a:gd name="connsiteY5" fmla="*/ 9111 h 39328"/>
                <a:gd name="connsiteX6" fmla="*/ 17562 w 37548"/>
                <a:gd name="connsiteY6" fmla="*/ 6170 h 39328"/>
                <a:gd name="connsiteX7" fmla="*/ 11676 w 37548"/>
                <a:gd name="connsiteY7" fmla="*/ 2623 h 39328"/>
                <a:gd name="connsiteX8" fmla="*/ 11410 w 37548"/>
                <a:gd name="connsiteY8" fmla="*/ 2516 h 39328"/>
                <a:gd name="connsiteX9" fmla="*/ 5476 w 37548"/>
                <a:gd name="connsiteY9" fmla="*/ 135 h 39328"/>
                <a:gd name="connsiteX10" fmla="*/ 3143 w 37548"/>
                <a:gd name="connsiteY10" fmla="*/ 1012 h 39328"/>
                <a:gd name="connsiteX11" fmla="*/ 183 w 37548"/>
                <a:gd name="connsiteY11" fmla="*/ 6942 h 39328"/>
                <a:gd name="connsiteX12" fmla="*/ 0 w 37548"/>
                <a:gd name="connsiteY12" fmla="*/ 7757 h 39328"/>
                <a:gd name="connsiteX13" fmla="*/ 0 w 37548"/>
                <a:gd name="connsiteY13" fmla="*/ 26803 h 39328"/>
                <a:gd name="connsiteX14" fmla="*/ 834 w 37548"/>
                <a:gd name="connsiteY14" fmla="*/ 28317 h 39328"/>
                <a:gd name="connsiteX15" fmla="*/ 7390 w 37548"/>
                <a:gd name="connsiteY15" fmla="*/ 32492 h 39328"/>
                <a:gd name="connsiteX16" fmla="*/ 7824 w 37548"/>
                <a:gd name="connsiteY16" fmla="*/ 32709 h 39328"/>
                <a:gd name="connsiteX17" fmla="*/ 13691 w 37548"/>
                <a:gd name="connsiteY17" fmla="*/ 34478 h 39328"/>
                <a:gd name="connsiteX18" fmla="*/ 19572 w 37548"/>
                <a:gd name="connsiteY18" fmla="*/ 36811 h 39328"/>
                <a:gd name="connsiteX19" fmla="*/ 19750 w 37548"/>
                <a:gd name="connsiteY19" fmla="*/ 36888 h 39328"/>
                <a:gd name="connsiteX20" fmla="*/ 25535 w 37548"/>
                <a:gd name="connsiteY20" fmla="*/ 38619 h 39328"/>
                <a:gd name="connsiteX21" fmla="*/ 26581 w 37548"/>
                <a:gd name="connsiteY21" fmla="*/ 39139 h 39328"/>
                <a:gd name="connsiteX22" fmla="*/ 27092 w 37548"/>
                <a:gd name="connsiteY22" fmla="*/ 39178 h 39328"/>
                <a:gd name="connsiteX23" fmla="*/ 27613 w 37548"/>
                <a:gd name="connsiteY23" fmla="*/ 39323 h 39328"/>
                <a:gd name="connsiteX24" fmla="*/ 32385 w 37548"/>
                <a:gd name="connsiteY24" fmla="*/ 38734 h 39328"/>
                <a:gd name="connsiteX25" fmla="*/ 33706 w 37548"/>
                <a:gd name="connsiteY25" fmla="*/ 37852 h 39328"/>
                <a:gd name="connsiteX26" fmla="*/ 35490 w 37548"/>
                <a:gd name="connsiteY26" fmla="*/ 34854 h 39328"/>
                <a:gd name="connsiteX27" fmla="*/ 35683 w 37548"/>
                <a:gd name="connsiteY27" fmla="*/ 34473 h 39328"/>
                <a:gd name="connsiteX28" fmla="*/ 37462 w 37548"/>
                <a:gd name="connsiteY28" fmla="*/ 28524 h 39328"/>
                <a:gd name="connsiteX29" fmla="*/ 37549 w 37548"/>
                <a:gd name="connsiteY29" fmla="*/ 27999 h 39328"/>
                <a:gd name="connsiteX30" fmla="*/ 37549 w 37548"/>
                <a:gd name="connsiteY30" fmla="*/ 22074 h 39328"/>
                <a:gd name="connsiteX31" fmla="*/ 37143 w 37548"/>
                <a:gd name="connsiteY31" fmla="*/ 20907 h 39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548" h="39328">
                  <a:moveTo>
                    <a:pt x="37143" y="20907"/>
                  </a:moveTo>
                  <a:lnTo>
                    <a:pt x="31783" y="14361"/>
                  </a:lnTo>
                  <a:lnTo>
                    <a:pt x="31200" y="13864"/>
                  </a:lnTo>
                  <a:lnTo>
                    <a:pt x="25501" y="11049"/>
                  </a:lnTo>
                  <a:lnTo>
                    <a:pt x="23925" y="9468"/>
                  </a:lnTo>
                  <a:lnTo>
                    <a:pt x="23453" y="9111"/>
                  </a:lnTo>
                  <a:lnTo>
                    <a:pt x="17562" y="6170"/>
                  </a:lnTo>
                  <a:lnTo>
                    <a:pt x="11676" y="2623"/>
                  </a:lnTo>
                  <a:lnTo>
                    <a:pt x="11410" y="2516"/>
                  </a:lnTo>
                  <a:lnTo>
                    <a:pt x="5476" y="135"/>
                  </a:lnTo>
                  <a:cubicBezTo>
                    <a:pt x="4594" y="-217"/>
                    <a:pt x="3582" y="135"/>
                    <a:pt x="3143" y="1012"/>
                  </a:cubicBezTo>
                  <a:lnTo>
                    <a:pt x="183" y="6942"/>
                  </a:lnTo>
                  <a:lnTo>
                    <a:pt x="0" y="7757"/>
                  </a:lnTo>
                  <a:lnTo>
                    <a:pt x="0" y="26803"/>
                  </a:lnTo>
                  <a:lnTo>
                    <a:pt x="834" y="28317"/>
                  </a:lnTo>
                  <a:lnTo>
                    <a:pt x="7390" y="32492"/>
                  </a:lnTo>
                  <a:lnTo>
                    <a:pt x="7824" y="32709"/>
                  </a:lnTo>
                  <a:lnTo>
                    <a:pt x="13691" y="34478"/>
                  </a:lnTo>
                  <a:lnTo>
                    <a:pt x="19572" y="36811"/>
                  </a:lnTo>
                  <a:lnTo>
                    <a:pt x="19750" y="36888"/>
                  </a:lnTo>
                  <a:lnTo>
                    <a:pt x="25535" y="38619"/>
                  </a:lnTo>
                  <a:lnTo>
                    <a:pt x="26581" y="39139"/>
                  </a:lnTo>
                  <a:cubicBezTo>
                    <a:pt x="26755" y="39212"/>
                    <a:pt x="26909" y="39139"/>
                    <a:pt x="27092" y="39178"/>
                  </a:cubicBezTo>
                  <a:cubicBezTo>
                    <a:pt x="27275" y="39212"/>
                    <a:pt x="27430" y="39361"/>
                    <a:pt x="27613" y="39323"/>
                  </a:cubicBezTo>
                  <a:lnTo>
                    <a:pt x="32385" y="38734"/>
                  </a:lnTo>
                  <a:lnTo>
                    <a:pt x="33706" y="37852"/>
                  </a:lnTo>
                  <a:lnTo>
                    <a:pt x="35490" y="34854"/>
                  </a:lnTo>
                  <a:lnTo>
                    <a:pt x="35683" y="34473"/>
                  </a:lnTo>
                  <a:lnTo>
                    <a:pt x="37462" y="28524"/>
                  </a:lnTo>
                  <a:lnTo>
                    <a:pt x="37549" y="27999"/>
                  </a:lnTo>
                  <a:lnTo>
                    <a:pt x="37549" y="22074"/>
                  </a:lnTo>
                  <a:lnTo>
                    <a:pt x="37143" y="2090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2" name="Freihandform: Form 51">
              <a:extLst>
                <a:ext uri="{FF2B5EF4-FFF2-40B4-BE49-F238E27FC236}">
                  <a16:creationId xmlns:a16="http://schemas.microsoft.com/office/drawing/2014/main" id="{63F5DA8A-9BE1-B035-BF83-DAA1E0C52487}"/>
                </a:ext>
              </a:extLst>
            </p:cNvPr>
            <p:cNvSpPr/>
            <p:nvPr/>
          </p:nvSpPr>
          <p:spPr>
            <a:xfrm>
              <a:off x="5578570" y="3443281"/>
              <a:ext cx="46033" cy="33338"/>
            </a:xfrm>
            <a:custGeom>
              <a:avLst/>
              <a:gdLst>
                <a:gd name="connsiteX0" fmla="*/ 34280 w 35475"/>
                <a:gd name="connsiteY0" fmla="*/ 6778 h 26161"/>
                <a:gd name="connsiteX1" fmla="*/ 33321 w 35475"/>
                <a:gd name="connsiteY1" fmla="*/ 5496 h 26161"/>
                <a:gd name="connsiteX2" fmla="*/ 28544 w 35475"/>
                <a:gd name="connsiteY2" fmla="*/ 3114 h 26161"/>
                <a:gd name="connsiteX3" fmla="*/ 28095 w 35475"/>
                <a:gd name="connsiteY3" fmla="*/ 2970 h 26161"/>
                <a:gd name="connsiteX4" fmla="*/ 22142 w 35475"/>
                <a:gd name="connsiteY4" fmla="*/ 1769 h 26161"/>
                <a:gd name="connsiteX5" fmla="*/ 21794 w 35475"/>
                <a:gd name="connsiteY5" fmla="*/ 1735 h 26161"/>
                <a:gd name="connsiteX6" fmla="*/ 16092 w 35475"/>
                <a:gd name="connsiteY6" fmla="*/ 1735 h 26161"/>
                <a:gd name="connsiteX7" fmla="*/ 9762 w 35475"/>
                <a:gd name="connsiteY7" fmla="*/ 0 h 26161"/>
                <a:gd name="connsiteX8" fmla="*/ 7863 w 35475"/>
                <a:gd name="connsiteY8" fmla="*/ 646 h 26161"/>
                <a:gd name="connsiteX9" fmla="*/ 7684 w 35475"/>
                <a:gd name="connsiteY9" fmla="*/ 2637 h 26161"/>
                <a:gd name="connsiteX10" fmla="*/ 10803 w 35475"/>
                <a:gd name="connsiteY10" fmla="*/ 8364 h 26161"/>
                <a:gd name="connsiteX11" fmla="*/ 10548 w 35475"/>
                <a:gd name="connsiteY11" fmla="*/ 8885 h 26161"/>
                <a:gd name="connsiteX12" fmla="*/ 5129 w 35475"/>
                <a:gd name="connsiteY12" fmla="*/ 8885 h 26161"/>
                <a:gd name="connsiteX13" fmla="*/ 3572 w 35475"/>
                <a:gd name="connsiteY13" fmla="*/ 9728 h 26161"/>
                <a:gd name="connsiteX14" fmla="*/ 3490 w 35475"/>
                <a:gd name="connsiteY14" fmla="*/ 11512 h 26161"/>
                <a:gd name="connsiteX15" fmla="*/ 3635 w 35475"/>
                <a:gd name="connsiteY15" fmla="*/ 11787 h 26161"/>
                <a:gd name="connsiteX16" fmla="*/ 0 w 35475"/>
                <a:gd name="connsiteY16" fmla="*/ 17461 h 26161"/>
                <a:gd name="connsiteX17" fmla="*/ 53 w 35475"/>
                <a:gd name="connsiteY17" fmla="*/ 19471 h 26161"/>
                <a:gd name="connsiteX18" fmla="*/ 4223 w 35475"/>
                <a:gd name="connsiteY18" fmla="*/ 25410 h 26161"/>
                <a:gd name="connsiteX19" fmla="*/ 5510 w 35475"/>
                <a:gd name="connsiteY19" fmla="*/ 26162 h 26161"/>
                <a:gd name="connsiteX20" fmla="*/ 6942 w 35475"/>
                <a:gd name="connsiteY20" fmla="*/ 25714 h 26161"/>
                <a:gd name="connsiteX21" fmla="*/ 12876 w 35475"/>
                <a:gd name="connsiteY21" fmla="*/ 20353 h 26161"/>
                <a:gd name="connsiteX22" fmla="*/ 18367 w 35475"/>
                <a:gd name="connsiteY22" fmla="*/ 14896 h 26161"/>
                <a:gd name="connsiteX23" fmla="*/ 23390 w 35475"/>
                <a:gd name="connsiteY23" fmla="*/ 14896 h 26161"/>
                <a:gd name="connsiteX24" fmla="*/ 29792 w 35475"/>
                <a:gd name="connsiteY24" fmla="*/ 16034 h 26161"/>
                <a:gd name="connsiteX25" fmla="*/ 30105 w 35475"/>
                <a:gd name="connsiteY25" fmla="*/ 15985 h 26161"/>
                <a:gd name="connsiteX26" fmla="*/ 30428 w 35475"/>
                <a:gd name="connsiteY26" fmla="*/ 16048 h 26161"/>
                <a:gd name="connsiteX27" fmla="*/ 33996 w 35475"/>
                <a:gd name="connsiteY27" fmla="*/ 15460 h 26161"/>
                <a:gd name="connsiteX28" fmla="*/ 35177 w 35475"/>
                <a:gd name="connsiteY28" fmla="*/ 14689 h 26161"/>
                <a:gd name="connsiteX29" fmla="*/ 35476 w 35475"/>
                <a:gd name="connsiteY29" fmla="*/ 13315 h 26161"/>
                <a:gd name="connsiteX30" fmla="*/ 34280 w 35475"/>
                <a:gd name="connsiteY30" fmla="*/ 6778 h 26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475" h="26161">
                  <a:moveTo>
                    <a:pt x="34280" y="6778"/>
                  </a:moveTo>
                  <a:lnTo>
                    <a:pt x="33321" y="5496"/>
                  </a:lnTo>
                  <a:lnTo>
                    <a:pt x="28544" y="3114"/>
                  </a:lnTo>
                  <a:lnTo>
                    <a:pt x="28095" y="2970"/>
                  </a:lnTo>
                  <a:lnTo>
                    <a:pt x="22142" y="1769"/>
                  </a:lnTo>
                  <a:lnTo>
                    <a:pt x="21794" y="1735"/>
                  </a:lnTo>
                  <a:lnTo>
                    <a:pt x="16092" y="1735"/>
                  </a:lnTo>
                  <a:lnTo>
                    <a:pt x="9762" y="0"/>
                  </a:lnTo>
                  <a:lnTo>
                    <a:pt x="7863" y="646"/>
                  </a:lnTo>
                  <a:lnTo>
                    <a:pt x="7684" y="2637"/>
                  </a:lnTo>
                  <a:lnTo>
                    <a:pt x="10803" y="8364"/>
                  </a:lnTo>
                  <a:lnTo>
                    <a:pt x="10548" y="8885"/>
                  </a:lnTo>
                  <a:lnTo>
                    <a:pt x="5129" y="8885"/>
                  </a:lnTo>
                  <a:lnTo>
                    <a:pt x="3572" y="9728"/>
                  </a:lnTo>
                  <a:lnTo>
                    <a:pt x="3490" y="11512"/>
                  </a:lnTo>
                  <a:lnTo>
                    <a:pt x="3635" y="11787"/>
                  </a:lnTo>
                  <a:lnTo>
                    <a:pt x="0" y="17461"/>
                  </a:lnTo>
                  <a:lnTo>
                    <a:pt x="53" y="19471"/>
                  </a:lnTo>
                  <a:lnTo>
                    <a:pt x="4223" y="25410"/>
                  </a:lnTo>
                  <a:lnTo>
                    <a:pt x="5510" y="26162"/>
                  </a:lnTo>
                  <a:lnTo>
                    <a:pt x="6942" y="25714"/>
                  </a:lnTo>
                  <a:lnTo>
                    <a:pt x="12876" y="20353"/>
                  </a:lnTo>
                  <a:lnTo>
                    <a:pt x="18367" y="14896"/>
                  </a:lnTo>
                  <a:lnTo>
                    <a:pt x="23390" y="14896"/>
                  </a:lnTo>
                  <a:lnTo>
                    <a:pt x="29792" y="16034"/>
                  </a:lnTo>
                  <a:cubicBezTo>
                    <a:pt x="29917" y="16048"/>
                    <a:pt x="29990" y="15985"/>
                    <a:pt x="30105" y="15985"/>
                  </a:cubicBezTo>
                  <a:cubicBezTo>
                    <a:pt x="30216" y="15985"/>
                    <a:pt x="30303" y="16048"/>
                    <a:pt x="30428" y="16048"/>
                  </a:cubicBezTo>
                  <a:lnTo>
                    <a:pt x="33996" y="15460"/>
                  </a:lnTo>
                  <a:lnTo>
                    <a:pt x="35177" y="14689"/>
                  </a:lnTo>
                  <a:lnTo>
                    <a:pt x="35476" y="13315"/>
                  </a:lnTo>
                  <a:lnTo>
                    <a:pt x="34280" y="677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3" name="Freihandform: Form 52">
              <a:extLst>
                <a:ext uri="{FF2B5EF4-FFF2-40B4-BE49-F238E27FC236}">
                  <a16:creationId xmlns:a16="http://schemas.microsoft.com/office/drawing/2014/main" id="{323FA194-9D3F-6C14-6AAE-3182A72CC9E3}"/>
                </a:ext>
              </a:extLst>
            </p:cNvPr>
            <p:cNvSpPr/>
            <p:nvPr/>
          </p:nvSpPr>
          <p:spPr>
            <a:xfrm>
              <a:off x="4446811" y="2400253"/>
              <a:ext cx="20635" cy="25401"/>
            </a:xfrm>
            <a:custGeom>
              <a:avLst/>
              <a:gdLst>
                <a:gd name="connsiteX0" fmla="*/ 14755 w 16393"/>
                <a:gd name="connsiteY0" fmla="*/ 0 h 19256"/>
                <a:gd name="connsiteX1" fmla="*/ 9703 w 16393"/>
                <a:gd name="connsiteY1" fmla="*/ 1036 h 19256"/>
                <a:gd name="connsiteX2" fmla="*/ 4168 w 16393"/>
                <a:gd name="connsiteY2" fmla="*/ 1036 h 19256"/>
                <a:gd name="connsiteX3" fmla="*/ 2587 w 16393"/>
                <a:gd name="connsiteY3" fmla="*/ 2502 h 19256"/>
                <a:gd name="connsiteX4" fmla="*/ 2105 w 16393"/>
                <a:gd name="connsiteY4" fmla="*/ 7973 h 19256"/>
                <a:gd name="connsiteX5" fmla="*/ 114 w 16393"/>
                <a:gd name="connsiteY5" fmla="*/ 12910 h 19256"/>
                <a:gd name="connsiteX6" fmla="*/ 707 w 16393"/>
                <a:gd name="connsiteY6" fmla="*/ 14857 h 19256"/>
                <a:gd name="connsiteX7" fmla="*/ 6434 w 16393"/>
                <a:gd name="connsiteY7" fmla="*/ 18487 h 19256"/>
                <a:gd name="connsiteX8" fmla="*/ 6588 w 16393"/>
                <a:gd name="connsiteY8" fmla="*/ 18569 h 19256"/>
                <a:gd name="connsiteX9" fmla="*/ 7601 w 16393"/>
                <a:gd name="connsiteY9" fmla="*/ 19095 h 19256"/>
                <a:gd name="connsiteX10" fmla="*/ 7904 w 16393"/>
                <a:gd name="connsiteY10" fmla="*/ 19114 h 19256"/>
                <a:gd name="connsiteX11" fmla="*/ 8194 w 16393"/>
                <a:gd name="connsiteY11" fmla="*/ 19254 h 19256"/>
                <a:gd name="connsiteX12" fmla="*/ 8502 w 16393"/>
                <a:gd name="connsiteY12" fmla="*/ 19162 h 19256"/>
                <a:gd name="connsiteX13" fmla="*/ 9052 w 16393"/>
                <a:gd name="connsiteY13" fmla="*/ 18974 h 19256"/>
                <a:gd name="connsiteX14" fmla="*/ 9505 w 16393"/>
                <a:gd name="connsiteY14" fmla="*/ 18598 h 19256"/>
                <a:gd name="connsiteX15" fmla="*/ 9732 w 16393"/>
                <a:gd name="connsiteY15" fmla="*/ 18386 h 19256"/>
                <a:gd name="connsiteX16" fmla="*/ 9746 w 16393"/>
                <a:gd name="connsiteY16" fmla="*/ 18082 h 19256"/>
                <a:gd name="connsiteX17" fmla="*/ 9900 w 16393"/>
                <a:gd name="connsiteY17" fmla="*/ 17832 h 19256"/>
                <a:gd name="connsiteX18" fmla="*/ 10392 w 16393"/>
                <a:gd name="connsiteY18" fmla="*/ 12380 h 19256"/>
                <a:gd name="connsiteX19" fmla="*/ 12807 w 16393"/>
                <a:gd name="connsiteY19" fmla="*/ 7578 h 19256"/>
                <a:gd name="connsiteX20" fmla="*/ 16336 w 16393"/>
                <a:gd name="connsiteY20" fmla="*/ 2497 h 19256"/>
                <a:gd name="connsiteX21" fmla="*/ 16394 w 16393"/>
                <a:gd name="connsiteY21" fmla="*/ 709 h 19256"/>
                <a:gd name="connsiteX22" fmla="*/ 14755 w 16393"/>
                <a:gd name="connsiteY22" fmla="*/ 0 h 19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393" h="19256">
                  <a:moveTo>
                    <a:pt x="14755" y="0"/>
                  </a:moveTo>
                  <a:lnTo>
                    <a:pt x="9703" y="1036"/>
                  </a:lnTo>
                  <a:lnTo>
                    <a:pt x="4168" y="1036"/>
                  </a:lnTo>
                  <a:cubicBezTo>
                    <a:pt x="3334" y="1036"/>
                    <a:pt x="2674" y="1668"/>
                    <a:pt x="2587" y="2502"/>
                  </a:cubicBezTo>
                  <a:lnTo>
                    <a:pt x="2105" y="7973"/>
                  </a:lnTo>
                  <a:lnTo>
                    <a:pt x="114" y="12910"/>
                  </a:lnTo>
                  <a:cubicBezTo>
                    <a:pt x="-170" y="13623"/>
                    <a:pt x="95" y="14438"/>
                    <a:pt x="707" y="14857"/>
                  </a:cubicBezTo>
                  <a:lnTo>
                    <a:pt x="6434" y="18487"/>
                  </a:lnTo>
                  <a:lnTo>
                    <a:pt x="6588" y="18569"/>
                  </a:lnTo>
                  <a:lnTo>
                    <a:pt x="7601" y="19095"/>
                  </a:lnTo>
                  <a:cubicBezTo>
                    <a:pt x="7726" y="19153"/>
                    <a:pt x="7827" y="19095"/>
                    <a:pt x="7904" y="19114"/>
                  </a:cubicBezTo>
                  <a:cubicBezTo>
                    <a:pt x="8039" y="19153"/>
                    <a:pt x="8088" y="19225"/>
                    <a:pt x="8194" y="19254"/>
                  </a:cubicBezTo>
                  <a:cubicBezTo>
                    <a:pt x="8295" y="19273"/>
                    <a:pt x="8382" y="19162"/>
                    <a:pt x="8502" y="19162"/>
                  </a:cubicBezTo>
                  <a:cubicBezTo>
                    <a:pt x="8719" y="19109"/>
                    <a:pt x="8869" y="19090"/>
                    <a:pt x="9052" y="18974"/>
                  </a:cubicBezTo>
                  <a:cubicBezTo>
                    <a:pt x="9245" y="18863"/>
                    <a:pt x="9389" y="18762"/>
                    <a:pt x="9505" y="18598"/>
                  </a:cubicBezTo>
                  <a:cubicBezTo>
                    <a:pt x="9558" y="18507"/>
                    <a:pt x="9688" y="18487"/>
                    <a:pt x="9732" y="18386"/>
                  </a:cubicBezTo>
                  <a:cubicBezTo>
                    <a:pt x="9784" y="18304"/>
                    <a:pt x="9732" y="18184"/>
                    <a:pt x="9746" y="18082"/>
                  </a:cubicBezTo>
                  <a:cubicBezTo>
                    <a:pt x="9780" y="17996"/>
                    <a:pt x="9900" y="17938"/>
                    <a:pt x="9900" y="17832"/>
                  </a:cubicBezTo>
                  <a:lnTo>
                    <a:pt x="10392" y="12380"/>
                  </a:lnTo>
                  <a:lnTo>
                    <a:pt x="12807" y="7578"/>
                  </a:lnTo>
                  <a:lnTo>
                    <a:pt x="16336" y="2497"/>
                  </a:lnTo>
                  <a:lnTo>
                    <a:pt x="16394" y="709"/>
                  </a:lnTo>
                  <a:lnTo>
                    <a:pt x="14755"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4" name="Freihandform: Form 53">
              <a:extLst>
                <a:ext uri="{FF2B5EF4-FFF2-40B4-BE49-F238E27FC236}">
                  <a16:creationId xmlns:a16="http://schemas.microsoft.com/office/drawing/2014/main" id="{13AD4EEF-BB09-B2C1-50DA-ED129571D5E6}"/>
                </a:ext>
              </a:extLst>
            </p:cNvPr>
            <p:cNvSpPr/>
            <p:nvPr/>
          </p:nvSpPr>
          <p:spPr>
            <a:xfrm>
              <a:off x="4445223" y="2430418"/>
              <a:ext cx="14286" cy="17463"/>
            </a:xfrm>
            <a:custGeom>
              <a:avLst/>
              <a:gdLst>
                <a:gd name="connsiteX0" fmla="*/ 10181 w 10759"/>
                <a:gd name="connsiteY0" fmla="*/ 4440 h 12967"/>
                <a:gd name="connsiteX1" fmla="*/ 9179 w 10759"/>
                <a:gd name="connsiteY1" fmla="*/ 2984 h 12967"/>
                <a:gd name="connsiteX2" fmla="*/ 3216 w 10759"/>
                <a:gd name="connsiteY2" fmla="*/ 0 h 12967"/>
                <a:gd name="connsiteX3" fmla="*/ 1543 w 10759"/>
                <a:gd name="connsiteY3" fmla="*/ 24 h 12967"/>
                <a:gd name="connsiteX4" fmla="*/ 598 w 10759"/>
                <a:gd name="connsiteY4" fmla="*/ 1451 h 12967"/>
                <a:gd name="connsiteX5" fmla="*/ 0 w 10759"/>
                <a:gd name="connsiteY5" fmla="*/ 8017 h 12967"/>
                <a:gd name="connsiteX6" fmla="*/ 125 w 10759"/>
                <a:gd name="connsiteY6" fmla="*/ 8856 h 12967"/>
                <a:gd name="connsiteX7" fmla="*/ 1311 w 10759"/>
                <a:gd name="connsiteY7" fmla="*/ 11844 h 12967"/>
                <a:gd name="connsiteX8" fmla="*/ 1581 w 10759"/>
                <a:gd name="connsiteY8" fmla="*/ 12090 h 12967"/>
                <a:gd name="connsiteX9" fmla="*/ 2044 w 10759"/>
                <a:gd name="connsiteY9" fmla="*/ 12558 h 12967"/>
                <a:gd name="connsiteX10" fmla="*/ 2656 w 10759"/>
                <a:gd name="connsiteY10" fmla="*/ 12838 h 12967"/>
                <a:gd name="connsiteX11" fmla="*/ 3028 w 10759"/>
                <a:gd name="connsiteY11" fmla="*/ 12968 h 12967"/>
                <a:gd name="connsiteX12" fmla="*/ 8952 w 10759"/>
                <a:gd name="connsiteY12" fmla="*/ 12968 h 12967"/>
                <a:gd name="connsiteX13" fmla="*/ 10316 w 10759"/>
                <a:gd name="connsiteY13" fmla="*/ 12360 h 12967"/>
                <a:gd name="connsiteX14" fmla="*/ 10760 w 10759"/>
                <a:gd name="connsiteY14" fmla="*/ 11001 h 12967"/>
                <a:gd name="connsiteX15" fmla="*/ 10181 w 10759"/>
                <a:gd name="connsiteY15" fmla="*/ 4440 h 12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759" h="12967">
                  <a:moveTo>
                    <a:pt x="10181" y="4440"/>
                  </a:moveTo>
                  <a:lnTo>
                    <a:pt x="9179" y="2984"/>
                  </a:lnTo>
                  <a:lnTo>
                    <a:pt x="3216" y="0"/>
                  </a:lnTo>
                  <a:lnTo>
                    <a:pt x="1543" y="24"/>
                  </a:lnTo>
                  <a:lnTo>
                    <a:pt x="598" y="1451"/>
                  </a:lnTo>
                  <a:lnTo>
                    <a:pt x="0" y="8017"/>
                  </a:lnTo>
                  <a:lnTo>
                    <a:pt x="125" y="8856"/>
                  </a:lnTo>
                  <a:lnTo>
                    <a:pt x="1311" y="11844"/>
                  </a:lnTo>
                  <a:cubicBezTo>
                    <a:pt x="1355" y="11951"/>
                    <a:pt x="1509" y="11994"/>
                    <a:pt x="1581" y="12090"/>
                  </a:cubicBezTo>
                  <a:cubicBezTo>
                    <a:pt x="1716" y="12293"/>
                    <a:pt x="1846" y="12452"/>
                    <a:pt x="2044" y="12558"/>
                  </a:cubicBezTo>
                  <a:cubicBezTo>
                    <a:pt x="2261" y="12698"/>
                    <a:pt x="2410" y="12765"/>
                    <a:pt x="2656" y="12838"/>
                  </a:cubicBezTo>
                  <a:cubicBezTo>
                    <a:pt x="2782" y="12862"/>
                    <a:pt x="2849" y="12968"/>
                    <a:pt x="3028" y="12968"/>
                  </a:cubicBezTo>
                  <a:lnTo>
                    <a:pt x="8952" y="12968"/>
                  </a:lnTo>
                  <a:lnTo>
                    <a:pt x="10316" y="12360"/>
                  </a:lnTo>
                  <a:lnTo>
                    <a:pt x="10760" y="11001"/>
                  </a:lnTo>
                  <a:lnTo>
                    <a:pt x="10181" y="444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5" name="Freihandform: Form 54">
              <a:extLst>
                <a:ext uri="{FF2B5EF4-FFF2-40B4-BE49-F238E27FC236}">
                  <a16:creationId xmlns:a16="http://schemas.microsoft.com/office/drawing/2014/main" id="{04198DE1-BAE7-4A48-C8DB-FD380D2DC468}"/>
                </a:ext>
              </a:extLst>
            </p:cNvPr>
            <p:cNvSpPr/>
            <p:nvPr/>
          </p:nvSpPr>
          <p:spPr>
            <a:xfrm>
              <a:off x="4421414" y="2411367"/>
              <a:ext cx="23809" cy="46039"/>
            </a:xfrm>
            <a:custGeom>
              <a:avLst/>
              <a:gdLst>
                <a:gd name="connsiteX0" fmla="*/ 18121 w 18501"/>
                <a:gd name="connsiteY0" fmla="*/ 7646 h 36167"/>
                <a:gd name="connsiteX1" fmla="*/ 18502 w 18501"/>
                <a:gd name="connsiteY1" fmla="*/ 6272 h 36167"/>
                <a:gd name="connsiteX2" fmla="*/ 17841 w 18501"/>
                <a:gd name="connsiteY2" fmla="*/ 5071 h 36167"/>
                <a:gd name="connsiteX3" fmla="*/ 11883 w 18501"/>
                <a:gd name="connsiteY3" fmla="*/ 323 h 36167"/>
                <a:gd name="connsiteX4" fmla="*/ 10278 w 18501"/>
                <a:gd name="connsiteY4" fmla="*/ 0 h 36167"/>
                <a:gd name="connsiteX5" fmla="*/ 9063 w 18501"/>
                <a:gd name="connsiteY5" fmla="*/ 1061 h 36167"/>
                <a:gd name="connsiteX6" fmla="*/ 6667 w 18501"/>
                <a:gd name="connsiteY6" fmla="*/ 7019 h 36167"/>
                <a:gd name="connsiteX7" fmla="*/ 6575 w 18501"/>
                <a:gd name="connsiteY7" fmla="*/ 7347 h 36167"/>
                <a:gd name="connsiteX8" fmla="*/ 5452 w 18501"/>
                <a:gd name="connsiteY8" fmla="*/ 13450 h 36167"/>
                <a:gd name="connsiteX9" fmla="*/ 998 w 18501"/>
                <a:gd name="connsiteY9" fmla="*/ 19056 h 36167"/>
                <a:gd name="connsiteX10" fmla="*/ 588 w 18501"/>
                <a:gd name="connsiteY10" fmla="*/ 20015 h 36167"/>
                <a:gd name="connsiteX11" fmla="*/ 0 w 18501"/>
                <a:gd name="connsiteY11" fmla="*/ 26577 h 36167"/>
                <a:gd name="connsiteX12" fmla="*/ 24 w 18501"/>
                <a:gd name="connsiteY12" fmla="*/ 27030 h 36167"/>
                <a:gd name="connsiteX13" fmla="*/ 1224 w 18501"/>
                <a:gd name="connsiteY13" fmla="*/ 33610 h 36167"/>
                <a:gd name="connsiteX14" fmla="*/ 2198 w 18501"/>
                <a:gd name="connsiteY14" fmla="*/ 34887 h 36167"/>
                <a:gd name="connsiteX15" fmla="*/ 4580 w 18501"/>
                <a:gd name="connsiteY15" fmla="*/ 36102 h 36167"/>
                <a:gd name="connsiteX16" fmla="*/ 4719 w 18501"/>
                <a:gd name="connsiteY16" fmla="*/ 36121 h 36167"/>
                <a:gd name="connsiteX17" fmla="*/ 5380 w 18501"/>
                <a:gd name="connsiteY17" fmla="*/ 36150 h 36167"/>
                <a:gd name="connsiteX18" fmla="*/ 6074 w 18501"/>
                <a:gd name="connsiteY18" fmla="*/ 36121 h 36167"/>
                <a:gd name="connsiteX19" fmla="*/ 6190 w 18501"/>
                <a:gd name="connsiteY19" fmla="*/ 36102 h 36167"/>
                <a:gd name="connsiteX20" fmla="*/ 12143 w 18501"/>
                <a:gd name="connsiteY20" fmla="*/ 33104 h 36167"/>
                <a:gd name="connsiteX21" fmla="*/ 13141 w 18501"/>
                <a:gd name="connsiteY21" fmla="*/ 31793 h 36167"/>
                <a:gd name="connsiteX22" fmla="*/ 14318 w 18501"/>
                <a:gd name="connsiteY22" fmla="*/ 25260 h 36167"/>
                <a:gd name="connsiteX23" fmla="*/ 14216 w 18501"/>
                <a:gd name="connsiteY23" fmla="*/ 24267 h 36167"/>
                <a:gd name="connsiteX24" fmla="*/ 12057 w 18501"/>
                <a:gd name="connsiteY24" fmla="*/ 18888 h 36167"/>
                <a:gd name="connsiteX25" fmla="*/ 13590 w 18501"/>
                <a:gd name="connsiteY25" fmla="*/ 13276 h 36167"/>
                <a:gd name="connsiteX26" fmla="*/ 18121 w 18501"/>
                <a:gd name="connsiteY26" fmla="*/ 7646 h 36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501" h="36167">
                  <a:moveTo>
                    <a:pt x="18121" y="7646"/>
                  </a:moveTo>
                  <a:lnTo>
                    <a:pt x="18502" y="6272"/>
                  </a:lnTo>
                  <a:lnTo>
                    <a:pt x="17841" y="5071"/>
                  </a:lnTo>
                  <a:lnTo>
                    <a:pt x="11883" y="323"/>
                  </a:lnTo>
                  <a:lnTo>
                    <a:pt x="10278" y="0"/>
                  </a:lnTo>
                  <a:lnTo>
                    <a:pt x="9063" y="1061"/>
                  </a:lnTo>
                  <a:lnTo>
                    <a:pt x="6667" y="7019"/>
                  </a:lnTo>
                  <a:lnTo>
                    <a:pt x="6575" y="7347"/>
                  </a:lnTo>
                  <a:lnTo>
                    <a:pt x="5452" y="13450"/>
                  </a:lnTo>
                  <a:lnTo>
                    <a:pt x="998" y="19056"/>
                  </a:lnTo>
                  <a:lnTo>
                    <a:pt x="588" y="20015"/>
                  </a:lnTo>
                  <a:lnTo>
                    <a:pt x="0" y="26577"/>
                  </a:lnTo>
                  <a:lnTo>
                    <a:pt x="24" y="27030"/>
                  </a:lnTo>
                  <a:lnTo>
                    <a:pt x="1224" y="33610"/>
                  </a:lnTo>
                  <a:lnTo>
                    <a:pt x="2198" y="34887"/>
                  </a:lnTo>
                  <a:lnTo>
                    <a:pt x="4580" y="36102"/>
                  </a:lnTo>
                  <a:cubicBezTo>
                    <a:pt x="4628" y="36121"/>
                    <a:pt x="4676" y="36102"/>
                    <a:pt x="4719" y="36121"/>
                  </a:cubicBezTo>
                  <a:cubicBezTo>
                    <a:pt x="4936" y="36203"/>
                    <a:pt x="5153" y="36150"/>
                    <a:pt x="5380" y="36150"/>
                  </a:cubicBezTo>
                  <a:cubicBezTo>
                    <a:pt x="5640" y="36150"/>
                    <a:pt x="5833" y="36199"/>
                    <a:pt x="6074" y="36121"/>
                  </a:cubicBezTo>
                  <a:cubicBezTo>
                    <a:pt x="6122" y="36102"/>
                    <a:pt x="6175" y="36121"/>
                    <a:pt x="6190" y="36102"/>
                  </a:cubicBezTo>
                  <a:lnTo>
                    <a:pt x="12143" y="33104"/>
                  </a:lnTo>
                  <a:lnTo>
                    <a:pt x="13141" y="31793"/>
                  </a:lnTo>
                  <a:lnTo>
                    <a:pt x="14318" y="25260"/>
                  </a:lnTo>
                  <a:lnTo>
                    <a:pt x="14216" y="24267"/>
                  </a:lnTo>
                  <a:lnTo>
                    <a:pt x="12057" y="18888"/>
                  </a:lnTo>
                  <a:lnTo>
                    <a:pt x="13590" y="13276"/>
                  </a:lnTo>
                  <a:lnTo>
                    <a:pt x="18121" y="764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6" name="Freihandform: Form 55">
              <a:extLst>
                <a:ext uri="{FF2B5EF4-FFF2-40B4-BE49-F238E27FC236}">
                  <a16:creationId xmlns:a16="http://schemas.microsoft.com/office/drawing/2014/main" id="{ED547666-C0EB-A685-B0FB-011FDE80A17F}"/>
                </a:ext>
              </a:extLst>
            </p:cNvPr>
            <p:cNvSpPr/>
            <p:nvPr/>
          </p:nvSpPr>
          <p:spPr>
            <a:xfrm>
              <a:off x="4946816" y="2292299"/>
              <a:ext cx="6349" cy="12700"/>
            </a:xfrm>
            <a:custGeom>
              <a:avLst/>
              <a:gdLst>
                <a:gd name="connsiteX0" fmla="*/ 4141 w 5356"/>
                <a:gd name="connsiteY0" fmla="*/ 1494 h 10185"/>
                <a:gd name="connsiteX1" fmla="*/ 3861 w 5356"/>
                <a:gd name="connsiteY1" fmla="*/ 1051 h 10185"/>
                <a:gd name="connsiteX2" fmla="*/ 3475 w 5356"/>
                <a:gd name="connsiteY2" fmla="*/ 468 h 10185"/>
                <a:gd name="connsiteX3" fmla="*/ 2858 w 5356"/>
                <a:gd name="connsiteY3" fmla="*/ 231 h 10185"/>
                <a:gd name="connsiteX4" fmla="*/ 2377 w 5356"/>
                <a:gd name="connsiteY4" fmla="*/ 0 h 10185"/>
                <a:gd name="connsiteX5" fmla="*/ 1730 w 5356"/>
                <a:gd name="connsiteY5" fmla="*/ 0 h 10185"/>
                <a:gd name="connsiteX6" fmla="*/ 313 w 5356"/>
                <a:gd name="connsiteY6" fmla="*/ 709 h 10185"/>
                <a:gd name="connsiteX7" fmla="*/ 0 w 5356"/>
                <a:gd name="connsiteY7" fmla="*/ 2314 h 10185"/>
                <a:gd name="connsiteX8" fmla="*/ 1788 w 5356"/>
                <a:gd name="connsiteY8" fmla="*/ 8827 h 10185"/>
                <a:gd name="connsiteX9" fmla="*/ 3962 w 5356"/>
                <a:gd name="connsiteY9" fmla="*/ 10133 h 10185"/>
                <a:gd name="connsiteX10" fmla="*/ 5327 w 5356"/>
                <a:gd name="connsiteY10" fmla="*/ 8046 h 10185"/>
                <a:gd name="connsiteX11" fmla="*/ 4141 w 5356"/>
                <a:gd name="connsiteY11" fmla="*/ 1494 h 10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56" h="10185">
                  <a:moveTo>
                    <a:pt x="4141" y="1494"/>
                  </a:moveTo>
                  <a:cubicBezTo>
                    <a:pt x="4093" y="1311"/>
                    <a:pt x="3958" y="1195"/>
                    <a:pt x="3861" y="1051"/>
                  </a:cubicBezTo>
                  <a:cubicBezTo>
                    <a:pt x="3707" y="829"/>
                    <a:pt x="3659" y="631"/>
                    <a:pt x="3475" y="468"/>
                  </a:cubicBezTo>
                  <a:cubicBezTo>
                    <a:pt x="3283" y="289"/>
                    <a:pt x="3075" y="270"/>
                    <a:pt x="2858" y="231"/>
                  </a:cubicBezTo>
                  <a:cubicBezTo>
                    <a:pt x="2680" y="164"/>
                    <a:pt x="2555" y="0"/>
                    <a:pt x="2377" y="0"/>
                  </a:cubicBezTo>
                  <a:lnTo>
                    <a:pt x="1730" y="0"/>
                  </a:lnTo>
                  <a:lnTo>
                    <a:pt x="313" y="709"/>
                  </a:lnTo>
                  <a:lnTo>
                    <a:pt x="0" y="2314"/>
                  </a:lnTo>
                  <a:lnTo>
                    <a:pt x="1788" y="8827"/>
                  </a:lnTo>
                  <a:cubicBezTo>
                    <a:pt x="2029" y="9776"/>
                    <a:pt x="2994" y="10369"/>
                    <a:pt x="3962" y="10133"/>
                  </a:cubicBezTo>
                  <a:cubicBezTo>
                    <a:pt x="4883" y="9935"/>
                    <a:pt x="5500" y="9010"/>
                    <a:pt x="5327" y="8046"/>
                  </a:cubicBezTo>
                  <a:lnTo>
                    <a:pt x="4141" y="149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7" name="Freihandform: Form 56">
              <a:extLst>
                <a:ext uri="{FF2B5EF4-FFF2-40B4-BE49-F238E27FC236}">
                  <a16:creationId xmlns:a16="http://schemas.microsoft.com/office/drawing/2014/main" id="{4887D9E9-399A-A985-0A95-0C8C94479DDD}"/>
                </a:ext>
              </a:extLst>
            </p:cNvPr>
            <p:cNvSpPr/>
            <p:nvPr/>
          </p:nvSpPr>
          <p:spPr>
            <a:xfrm>
              <a:off x="5492855" y="1609649"/>
              <a:ext cx="17461" cy="17464"/>
            </a:xfrm>
            <a:custGeom>
              <a:avLst/>
              <a:gdLst>
                <a:gd name="connsiteX0" fmla="*/ 13484 w 13700"/>
                <a:gd name="connsiteY0" fmla="*/ 5423 h 14272"/>
                <a:gd name="connsiteX1" fmla="*/ 9531 w 13700"/>
                <a:gd name="connsiteY1" fmla="*/ 477 h 14272"/>
                <a:gd name="connsiteX2" fmla="*/ 7858 w 13700"/>
                <a:gd name="connsiteY2" fmla="*/ 0 h 14272"/>
                <a:gd name="connsiteX3" fmla="*/ 2435 w 13700"/>
                <a:gd name="connsiteY3" fmla="*/ 1981 h 14272"/>
                <a:gd name="connsiteX4" fmla="*/ 1509 w 13700"/>
                <a:gd name="connsiteY4" fmla="*/ 2984 h 14272"/>
                <a:gd name="connsiteX5" fmla="*/ 5 w 13700"/>
                <a:gd name="connsiteY5" fmla="*/ 8436 h 14272"/>
                <a:gd name="connsiteX6" fmla="*/ 20 w 13700"/>
                <a:gd name="connsiteY6" fmla="*/ 8465 h 14272"/>
                <a:gd name="connsiteX7" fmla="*/ 87 w 13700"/>
                <a:gd name="connsiteY7" fmla="*/ 8952 h 14272"/>
                <a:gd name="connsiteX8" fmla="*/ 179 w 13700"/>
                <a:gd name="connsiteY8" fmla="*/ 9584 h 14272"/>
                <a:gd name="connsiteX9" fmla="*/ 179 w 13700"/>
                <a:gd name="connsiteY9" fmla="*/ 9608 h 14272"/>
                <a:gd name="connsiteX10" fmla="*/ 2676 w 13700"/>
                <a:gd name="connsiteY10" fmla="*/ 13546 h 14272"/>
                <a:gd name="connsiteX11" fmla="*/ 4267 w 13700"/>
                <a:gd name="connsiteY11" fmla="*/ 14240 h 14272"/>
                <a:gd name="connsiteX12" fmla="*/ 10683 w 13700"/>
                <a:gd name="connsiteY12" fmla="*/ 12760 h 14272"/>
                <a:gd name="connsiteX13" fmla="*/ 11768 w 13700"/>
                <a:gd name="connsiteY13" fmla="*/ 11854 h 14272"/>
                <a:gd name="connsiteX14" fmla="*/ 13701 w 13700"/>
                <a:gd name="connsiteY14" fmla="*/ 6932 h 14272"/>
                <a:gd name="connsiteX15" fmla="*/ 13484 w 13700"/>
                <a:gd name="connsiteY15" fmla="*/ 5423 h 14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700" h="14272">
                  <a:moveTo>
                    <a:pt x="13484" y="5423"/>
                  </a:moveTo>
                  <a:lnTo>
                    <a:pt x="9531" y="477"/>
                  </a:lnTo>
                  <a:lnTo>
                    <a:pt x="7858" y="0"/>
                  </a:lnTo>
                  <a:lnTo>
                    <a:pt x="2435" y="1981"/>
                  </a:lnTo>
                  <a:lnTo>
                    <a:pt x="1509" y="2984"/>
                  </a:lnTo>
                  <a:lnTo>
                    <a:pt x="5" y="8436"/>
                  </a:lnTo>
                  <a:cubicBezTo>
                    <a:pt x="5" y="8436"/>
                    <a:pt x="20" y="8436"/>
                    <a:pt x="20" y="8465"/>
                  </a:cubicBezTo>
                  <a:cubicBezTo>
                    <a:pt x="-43" y="8619"/>
                    <a:pt x="63" y="8759"/>
                    <a:pt x="87" y="8952"/>
                  </a:cubicBezTo>
                  <a:cubicBezTo>
                    <a:pt x="97" y="9169"/>
                    <a:pt x="63" y="9391"/>
                    <a:pt x="179" y="9584"/>
                  </a:cubicBezTo>
                  <a:cubicBezTo>
                    <a:pt x="179" y="9608"/>
                    <a:pt x="179" y="9608"/>
                    <a:pt x="179" y="9608"/>
                  </a:cubicBezTo>
                  <a:lnTo>
                    <a:pt x="2676" y="13546"/>
                  </a:lnTo>
                  <a:cubicBezTo>
                    <a:pt x="2989" y="14096"/>
                    <a:pt x="3659" y="14371"/>
                    <a:pt x="4267" y="14240"/>
                  </a:cubicBezTo>
                  <a:lnTo>
                    <a:pt x="10683" y="12760"/>
                  </a:lnTo>
                  <a:lnTo>
                    <a:pt x="11768" y="11854"/>
                  </a:lnTo>
                  <a:lnTo>
                    <a:pt x="13701" y="6932"/>
                  </a:lnTo>
                  <a:lnTo>
                    <a:pt x="13484" y="542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8" name="Freihandform: Form 57">
              <a:extLst>
                <a:ext uri="{FF2B5EF4-FFF2-40B4-BE49-F238E27FC236}">
                  <a16:creationId xmlns:a16="http://schemas.microsoft.com/office/drawing/2014/main" id="{1AD73B4D-0220-1C9C-6BDE-B769D57F0249}"/>
                </a:ext>
              </a:extLst>
            </p:cNvPr>
            <p:cNvSpPr/>
            <p:nvPr/>
          </p:nvSpPr>
          <p:spPr>
            <a:xfrm>
              <a:off x="5534125" y="1576310"/>
              <a:ext cx="9524" cy="14288"/>
            </a:xfrm>
            <a:custGeom>
              <a:avLst/>
              <a:gdLst>
                <a:gd name="connsiteX0" fmla="*/ 6894 w 7120"/>
                <a:gd name="connsiteY0" fmla="*/ 145 h 10808"/>
                <a:gd name="connsiteX1" fmla="*/ 5481 w 7120"/>
                <a:gd name="connsiteY1" fmla="*/ 0 h 10808"/>
                <a:gd name="connsiteX2" fmla="*/ 685 w 7120"/>
                <a:gd name="connsiteY2" fmla="*/ 3500 h 10808"/>
                <a:gd name="connsiteX3" fmla="*/ 0 w 7120"/>
                <a:gd name="connsiteY3" fmla="*/ 4734 h 10808"/>
                <a:gd name="connsiteX4" fmla="*/ 0 w 7120"/>
                <a:gd name="connsiteY4" fmla="*/ 9463 h 10808"/>
                <a:gd name="connsiteX5" fmla="*/ 935 w 7120"/>
                <a:gd name="connsiteY5" fmla="*/ 10808 h 10808"/>
                <a:gd name="connsiteX6" fmla="*/ 2517 w 7120"/>
                <a:gd name="connsiteY6" fmla="*/ 10418 h 10808"/>
                <a:gd name="connsiteX7" fmla="*/ 6778 w 7120"/>
                <a:gd name="connsiteY7" fmla="*/ 5679 h 10808"/>
                <a:gd name="connsiteX8" fmla="*/ 7120 w 7120"/>
                <a:gd name="connsiteY8" fmla="*/ 5110 h 10808"/>
                <a:gd name="connsiteX9" fmla="*/ 6894 w 7120"/>
                <a:gd name="connsiteY9" fmla="*/ 145 h 10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20" h="10808">
                  <a:moveTo>
                    <a:pt x="6894" y="145"/>
                  </a:moveTo>
                  <a:lnTo>
                    <a:pt x="5481" y="0"/>
                  </a:lnTo>
                  <a:lnTo>
                    <a:pt x="685" y="3500"/>
                  </a:lnTo>
                  <a:lnTo>
                    <a:pt x="0" y="4734"/>
                  </a:lnTo>
                  <a:lnTo>
                    <a:pt x="0" y="9463"/>
                  </a:lnTo>
                  <a:cubicBezTo>
                    <a:pt x="0" y="10066"/>
                    <a:pt x="381" y="10615"/>
                    <a:pt x="935" y="10808"/>
                  </a:cubicBezTo>
                  <a:lnTo>
                    <a:pt x="2517" y="10418"/>
                  </a:lnTo>
                  <a:lnTo>
                    <a:pt x="6778" y="5679"/>
                  </a:lnTo>
                  <a:lnTo>
                    <a:pt x="7120" y="5110"/>
                  </a:lnTo>
                  <a:lnTo>
                    <a:pt x="6894" y="14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9" name="Freihandform: Form 58">
              <a:extLst>
                <a:ext uri="{FF2B5EF4-FFF2-40B4-BE49-F238E27FC236}">
                  <a16:creationId xmlns:a16="http://schemas.microsoft.com/office/drawing/2014/main" id="{84C25258-8377-E496-D3E2-74585B3C5161}"/>
                </a:ext>
              </a:extLst>
            </p:cNvPr>
            <p:cNvSpPr/>
            <p:nvPr/>
          </p:nvSpPr>
          <p:spPr>
            <a:xfrm>
              <a:off x="5529364" y="1514395"/>
              <a:ext cx="22222" cy="34926"/>
            </a:xfrm>
            <a:custGeom>
              <a:avLst/>
              <a:gdLst>
                <a:gd name="connsiteX0" fmla="*/ 16713 w 17287"/>
                <a:gd name="connsiteY0" fmla="*/ 9839 h 27347"/>
                <a:gd name="connsiteX1" fmla="*/ 16111 w 17287"/>
                <a:gd name="connsiteY1" fmla="*/ 1605 h 27347"/>
                <a:gd name="connsiteX2" fmla="*/ 15306 w 17287"/>
                <a:gd name="connsiteY2" fmla="*/ 203 h 27347"/>
                <a:gd name="connsiteX3" fmla="*/ 13696 w 17287"/>
                <a:gd name="connsiteY3" fmla="*/ 0 h 27347"/>
                <a:gd name="connsiteX4" fmla="*/ 5365 w 17287"/>
                <a:gd name="connsiteY4" fmla="*/ 2994 h 27347"/>
                <a:gd name="connsiteX5" fmla="*/ 4184 w 17287"/>
                <a:gd name="connsiteY5" fmla="*/ 4329 h 27347"/>
                <a:gd name="connsiteX6" fmla="*/ 3003 w 17287"/>
                <a:gd name="connsiteY6" fmla="*/ 10297 h 27347"/>
                <a:gd name="connsiteX7" fmla="*/ 3625 w 17287"/>
                <a:gd name="connsiteY7" fmla="*/ 12042 h 27347"/>
                <a:gd name="connsiteX8" fmla="*/ 5423 w 17287"/>
                <a:gd name="connsiteY8" fmla="*/ 12346 h 27347"/>
                <a:gd name="connsiteX9" fmla="*/ 7679 w 17287"/>
                <a:gd name="connsiteY9" fmla="*/ 11550 h 27347"/>
                <a:gd name="connsiteX10" fmla="*/ 6426 w 17287"/>
                <a:gd name="connsiteY10" fmla="*/ 14077 h 27347"/>
                <a:gd name="connsiteX11" fmla="*/ 1007 w 17287"/>
                <a:gd name="connsiteY11" fmla="*/ 16776 h 27347"/>
                <a:gd name="connsiteX12" fmla="*/ 0 w 17287"/>
                <a:gd name="connsiteY12" fmla="*/ 18381 h 27347"/>
                <a:gd name="connsiteX13" fmla="*/ 0 w 17287"/>
                <a:gd name="connsiteY13" fmla="*/ 25550 h 27347"/>
                <a:gd name="connsiteX14" fmla="*/ 550 w 17287"/>
                <a:gd name="connsiteY14" fmla="*/ 26813 h 27347"/>
                <a:gd name="connsiteX15" fmla="*/ 1817 w 17287"/>
                <a:gd name="connsiteY15" fmla="*/ 27348 h 27347"/>
                <a:gd name="connsiteX16" fmla="*/ 7781 w 17287"/>
                <a:gd name="connsiteY16" fmla="*/ 27348 h 27347"/>
                <a:gd name="connsiteX17" fmla="*/ 9058 w 17287"/>
                <a:gd name="connsiteY17" fmla="*/ 26813 h 27347"/>
                <a:gd name="connsiteX18" fmla="*/ 15585 w 17287"/>
                <a:gd name="connsiteY18" fmla="*/ 20261 h 27347"/>
                <a:gd name="connsiteX19" fmla="*/ 16101 w 17287"/>
                <a:gd name="connsiteY19" fmla="*/ 19350 h 27347"/>
                <a:gd name="connsiteX20" fmla="*/ 17287 w 17287"/>
                <a:gd name="connsiteY20" fmla="*/ 13406 h 27347"/>
                <a:gd name="connsiteX21" fmla="*/ 17287 w 17287"/>
                <a:gd name="connsiteY21" fmla="*/ 12669 h 27347"/>
                <a:gd name="connsiteX22" fmla="*/ 16713 w 17287"/>
                <a:gd name="connsiteY22" fmla="*/ 9839 h 27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87" h="27347">
                  <a:moveTo>
                    <a:pt x="16713" y="9839"/>
                  </a:moveTo>
                  <a:lnTo>
                    <a:pt x="16111" y="1605"/>
                  </a:lnTo>
                  <a:lnTo>
                    <a:pt x="15306" y="203"/>
                  </a:lnTo>
                  <a:lnTo>
                    <a:pt x="13696" y="0"/>
                  </a:lnTo>
                  <a:lnTo>
                    <a:pt x="5365" y="2994"/>
                  </a:lnTo>
                  <a:lnTo>
                    <a:pt x="4184" y="4329"/>
                  </a:lnTo>
                  <a:lnTo>
                    <a:pt x="3003" y="10297"/>
                  </a:lnTo>
                  <a:lnTo>
                    <a:pt x="3625" y="12042"/>
                  </a:lnTo>
                  <a:lnTo>
                    <a:pt x="5423" y="12346"/>
                  </a:lnTo>
                  <a:lnTo>
                    <a:pt x="7679" y="11550"/>
                  </a:lnTo>
                  <a:lnTo>
                    <a:pt x="6426" y="14077"/>
                  </a:lnTo>
                  <a:lnTo>
                    <a:pt x="1007" y="16776"/>
                  </a:lnTo>
                  <a:lnTo>
                    <a:pt x="0" y="18381"/>
                  </a:lnTo>
                  <a:lnTo>
                    <a:pt x="0" y="25550"/>
                  </a:lnTo>
                  <a:lnTo>
                    <a:pt x="550" y="26813"/>
                  </a:lnTo>
                  <a:lnTo>
                    <a:pt x="1817" y="27348"/>
                  </a:lnTo>
                  <a:lnTo>
                    <a:pt x="7781" y="27348"/>
                  </a:lnTo>
                  <a:lnTo>
                    <a:pt x="9058" y="26813"/>
                  </a:lnTo>
                  <a:lnTo>
                    <a:pt x="15585" y="20261"/>
                  </a:lnTo>
                  <a:lnTo>
                    <a:pt x="16101" y="19350"/>
                  </a:lnTo>
                  <a:lnTo>
                    <a:pt x="17287" y="13406"/>
                  </a:lnTo>
                  <a:lnTo>
                    <a:pt x="17287" y="12669"/>
                  </a:lnTo>
                  <a:lnTo>
                    <a:pt x="16713" y="983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0" name="Freihandform: Form 59">
              <a:extLst>
                <a:ext uri="{FF2B5EF4-FFF2-40B4-BE49-F238E27FC236}">
                  <a16:creationId xmlns:a16="http://schemas.microsoft.com/office/drawing/2014/main" id="{561712F8-950E-7DF3-12BE-8F4A72AE817F}"/>
                </a:ext>
              </a:extLst>
            </p:cNvPr>
            <p:cNvSpPr/>
            <p:nvPr/>
          </p:nvSpPr>
          <p:spPr>
            <a:xfrm>
              <a:off x="5553173" y="1500107"/>
              <a:ext cx="17461" cy="19051"/>
            </a:xfrm>
            <a:custGeom>
              <a:avLst/>
              <a:gdLst>
                <a:gd name="connsiteX0" fmla="*/ 13310 w 13309"/>
                <a:gd name="connsiteY0" fmla="*/ 9540 h 14912"/>
                <a:gd name="connsiteX1" fmla="*/ 9135 w 13309"/>
                <a:gd name="connsiteY1" fmla="*/ 14303 h 14912"/>
                <a:gd name="connsiteX2" fmla="*/ 6628 w 13309"/>
                <a:gd name="connsiteY2" fmla="*/ 14530 h 14912"/>
                <a:gd name="connsiteX3" fmla="*/ 689 w 13309"/>
                <a:gd name="connsiteY3" fmla="*/ 9757 h 14912"/>
                <a:gd name="connsiteX4" fmla="*/ 0 w 13309"/>
                <a:gd name="connsiteY4" fmla="*/ 8451 h 14912"/>
                <a:gd name="connsiteX5" fmla="*/ 540 w 13309"/>
                <a:gd name="connsiteY5" fmla="*/ 7048 h 14912"/>
                <a:gd name="connsiteX6" fmla="*/ 7072 w 13309"/>
                <a:gd name="connsiteY6" fmla="*/ 521 h 14912"/>
                <a:gd name="connsiteX7" fmla="*/ 8624 w 13309"/>
                <a:gd name="connsiteY7" fmla="*/ 0 h 14912"/>
                <a:gd name="connsiteX8" fmla="*/ 9964 w 13309"/>
                <a:gd name="connsiteY8" fmla="*/ 930 h 14912"/>
                <a:gd name="connsiteX9" fmla="*/ 13189 w 13309"/>
                <a:gd name="connsiteY9" fmla="*/ 6783 h 14912"/>
                <a:gd name="connsiteX10" fmla="*/ 13310 w 13309"/>
                <a:gd name="connsiteY10" fmla="*/ 9540 h 1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09" h="14912">
                  <a:moveTo>
                    <a:pt x="13310" y="9540"/>
                  </a:moveTo>
                  <a:lnTo>
                    <a:pt x="9135" y="14303"/>
                  </a:lnTo>
                  <a:cubicBezTo>
                    <a:pt x="8523" y="15012"/>
                    <a:pt x="7400" y="15123"/>
                    <a:pt x="6628" y="14530"/>
                  </a:cubicBezTo>
                  <a:lnTo>
                    <a:pt x="689" y="9757"/>
                  </a:lnTo>
                  <a:lnTo>
                    <a:pt x="0" y="8451"/>
                  </a:lnTo>
                  <a:lnTo>
                    <a:pt x="540" y="7048"/>
                  </a:lnTo>
                  <a:lnTo>
                    <a:pt x="7072" y="521"/>
                  </a:lnTo>
                  <a:lnTo>
                    <a:pt x="8624" y="0"/>
                  </a:lnTo>
                  <a:lnTo>
                    <a:pt x="9964" y="930"/>
                  </a:lnTo>
                  <a:lnTo>
                    <a:pt x="13189" y="6783"/>
                  </a:lnTo>
                  <a:lnTo>
                    <a:pt x="13310" y="954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1" name="Freihandform: Form 60">
              <a:extLst>
                <a:ext uri="{FF2B5EF4-FFF2-40B4-BE49-F238E27FC236}">
                  <a16:creationId xmlns:a16="http://schemas.microsoft.com/office/drawing/2014/main" id="{F7EF73B2-AF74-B040-FC6F-0E62E63097C1}"/>
                </a:ext>
              </a:extLst>
            </p:cNvPr>
            <p:cNvSpPr/>
            <p:nvPr/>
          </p:nvSpPr>
          <p:spPr>
            <a:xfrm>
              <a:off x="5570634" y="1500107"/>
              <a:ext cx="15873" cy="14288"/>
            </a:xfrm>
            <a:custGeom>
              <a:avLst/>
              <a:gdLst>
                <a:gd name="connsiteX0" fmla="*/ 9275 w 11656"/>
                <a:gd name="connsiteY0" fmla="*/ 7274 h 11574"/>
                <a:gd name="connsiteX1" fmla="*/ 11656 w 11656"/>
                <a:gd name="connsiteY1" fmla="*/ 2512 h 11574"/>
                <a:gd name="connsiteX2" fmla="*/ 11357 w 11656"/>
                <a:gd name="connsiteY2" fmla="*/ 468 h 11574"/>
                <a:gd name="connsiteX3" fmla="*/ 9333 w 11656"/>
                <a:gd name="connsiteY3" fmla="*/ 0 h 11574"/>
                <a:gd name="connsiteX4" fmla="*/ 3418 w 11656"/>
                <a:gd name="connsiteY4" fmla="*/ 2386 h 11574"/>
                <a:gd name="connsiteX5" fmla="*/ 2386 w 11656"/>
                <a:gd name="connsiteY5" fmla="*/ 3399 h 11574"/>
                <a:gd name="connsiteX6" fmla="*/ 0 w 11656"/>
                <a:gd name="connsiteY6" fmla="*/ 9357 h 11574"/>
                <a:gd name="connsiteX7" fmla="*/ 516 w 11656"/>
                <a:gd name="connsiteY7" fmla="*/ 11415 h 11574"/>
                <a:gd name="connsiteX8" fmla="*/ 2627 w 11656"/>
                <a:gd name="connsiteY8" fmla="*/ 11575 h 11574"/>
                <a:gd name="connsiteX9" fmla="*/ 8586 w 11656"/>
                <a:gd name="connsiteY9" fmla="*/ 8017 h 11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56" h="11574">
                  <a:moveTo>
                    <a:pt x="9275" y="7274"/>
                  </a:moveTo>
                  <a:lnTo>
                    <a:pt x="11656" y="2512"/>
                  </a:lnTo>
                  <a:lnTo>
                    <a:pt x="11357" y="468"/>
                  </a:lnTo>
                  <a:lnTo>
                    <a:pt x="9333" y="0"/>
                  </a:lnTo>
                  <a:lnTo>
                    <a:pt x="3418" y="2386"/>
                  </a:lnTo>
                  <a:lnTo>
                    <a:pt x="2386" y="3399"/>
                  </a:lnTo>
                  <a:lnTo>
                    <a:pt x="0" y="9357"/>
                  </a:lnTo>
                  <a:lnTo>
                    <a:pt x="516" y="11415"/>
                  </a:lnTo>
                  <a:lnTo>
                    <a:pt x="2627" y="11575"/>
                  </a:lnTo>
                  <a:lnTo>
                    <a:pt x="8586" y="801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2" name="Freihandform: Form 61">
              <a:extLst>
                <a:ext uri="{FF2B5EF4-FFF2-40B4-BE49-F238E27FC236}">
                  <a16:creationId xmlns:a16="http://schemas.microsoft.com/office/drawing/2014/main" id="{9E7B00F0-2EFC-3097-88EA-63D3D1F6D499}"/>
                </a:ext>
              </a:extLst>
            </p:cNvPr>
            <p:cNvSpPr/>
            <p:nvPr/>
          </p:nvSpPr>
          <p:spPr>
            <a:xfrm>
              <a:off x="6346833" y="1506458"/>
              <a:ext cx="4762" cy="3175"/>
            </a:xfrm>
            <a:custGeom>
              <a:avLst/>
              <a:gdLst>
                <a:gd name="connsiteX0" fmla="*/ 0 w 3220"/>
                <a:gd name="connsiteY0" fmla="*/ 1340 h 3359"/>
                <a:gd name="connsiteX1" fmla="*/ 1856 w 3220"/>
                <a:gd name="connsiteY1" fmla="*/ 3360 h 3359"/>
                <a:gd name="connsiteX2" fmla="*/ 3220 w 3220"/>
                <a:gd name="connsiteY2" fmla="*/ 328 h 3359"/>
                <a:gd name="connsiteX3" fmla="*/ 2960 w 3220"/>
                <a:gd name="connsiteY3" fmla="*/ 0 h 3359"/>
              </a:gdLst>
              <a:ahLst/>
              <a:cxnLst>
                <a:cxn ang="0">
                  <a:pos x="connsiteX0" y="connsiteY0"/>
                </a:cxn>
                <a:cxn ang="0">
                  <a:pos x="connsiteX1" y="connsiteY1"/>
                </a:cxn>
                <a:cxn ang="0">
                  <a:pos x="connsiteX2" y="connsiteY2"/>
                </a:cxn>
                <a:cxn ang="0">
                  <a:pos x="connsiteX3" y="connsiteY3"/>
                </a:cxn>
              </a:cxnLst>
              <a:rect l="l" t="t" r="r" b="b"/>
              <a:pathLst>
                <a:path w="3220" h="3359">
                  <a:moveTo>
                    <a:pt x="0" y="1340"/>
                  </a:moveTo>
                  <a:lnTo>
                    <a:pt x="1856" y="3360"/>
                  </a:lnTo>
                  <a:lnTo>
                    <a:pt x="3220" y="328"/>
                  </a:lnTo>
                  <a:lnTo>
                    <a:pt x="296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3" name="Freihandform: Form 62">
              <a:extLst>
                <a:ext uri="{FF2B5EF4-FFF2-40B4-BE49-F238E27FC236}">
                  <a16:creationId xmlns:a16="http://schemas.microsoft.com/office/drawing/2014/main" id="{A41BCC05-3ABE-6963-A031-9D3E85B16A28}"/>
                </a:ext>
              </a:extLst>
            </p:cNvPr>
            <p:cNvSpPr/>
            <p:nvPr/>
          </p:nvSpPr>
          <p:spPr>
            <a:xfrm>
              <a:off x="6254769" y="2519321"/>
              <a:ext cx="11112" cy="12700"/>
            </a:xfrm>
            <a:custGeom>
              <a:avLst/>
              <a:gdLst>
                <a:gd name="connsiteX0" fmla="*/ 7162 w 8810"/>
                <a:gd name="connsiteY0" fmla="*/ 0 h 10172"/>
                <a:gd name="connsiteX1" fmla="*/ 6569 w 8810"/>
                <a:gd name="connsiteY1" fmla="*/ 0 h 10172"/>
                <a:gd name="connsiteX2" fmla="*/ 6444 w 8810"/>
                <a:gd name="connsiteY2" fmla="*/ 43 h 10172"/>
                <a:gd name="connsiteX3" fmla="*/ 5807 w 8810"/>
                <a:gd name="connsiteY3" fmla="*/ 318 h 10172"/>
                <a:gd name="connsiteX4" fmla="*/ 5224 w 8810"/>
                <a:gd name="connsiteY4" fmla="*/ 636 h 10172"/>
                <a:gd name="connsiteX5" fmla="*/ 5118 w 8810"/>
                <a:gd name="connsiteY5" fmla="*/ 737 h 10172"/>
                <a:gd name="connsiteX6" fmla="*/ 346 w 8810"/>
                <a:gd name="connsiteY6" fmla="*/ 7270 h 10172"/>
                <a:gd name="connsiteX7" fmla="*/ 697 w 8810"/>
                <a:gd name="connsiteY7" fmla="*/ 9776 h 10172"/>
                <a:gd name="connsiteX8" fmla="*/ 3233 w 8810"/>
                <a:gd name="connsiteY8" fmla="*/ 9521 h 10172"/>
                <a:gd name="connsiteX9" fmla="*/ 8594 w 8810"/>
                <a:gd name="connsiteY9" fmla="*/ 2945 h 10172"/>
                <a:gd name="connsiteX10" fmla="*/ 8811 w 8810"/>
                <a:gd name="connsiteY10" fmla="*/ 1032 h 10172"/>
                <a:gd name="connsiteX11" fmla="*/ 7162 w 8810"/>
                <a:gd name="connsiteY11" fmla="*/ 0 h 1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10" h="10172">
                  <a:moveTo>
                    <a:pt x="7162" y="0"/>
                  </a:moveTo>
                  <a:lnTo>
                    <a:pt x="6569" y="0"/>
                  </a:lnTo>
                  <a:cubicBezTo>
                    <a:pt x="6545" y="0"/>
                    <a:pt x="6506" y="43"/>
                    <a:pt x="6444" y="43"/>
                  </a:cubicBezTo>
                  <a:cubicBezTo>
                    <a:pt x="6208" y="68"/>
                    <a:pt x="6024" y="178"/>
                    <a:pt x="5807" y="318"/>
                  </a:cubicBezTo>
                  <a:cubicBezTo>
                    <a:pt x="5615" y="434"/>
                    <a:pt x="5398" y="458"/>
                    <a:pt x="5224" y="636"/>
                  </a:cubicBezTo>
                  <a:cubicBezTo>
                    <a:pt x="5200" y="689"/>
                    <a:pt x="5142" y="670"/>
                    <a:pt x="5118" y="737"/>
                  </a:cubicBezTo>
                  <a:lnTo>
                    <a:pt x="346" y="7270"/>
                  </a:lnTo>
                  <a:cubicBezTo>
                    <a:pt x="-223" y="8065"/>
                    <a:pt x="-79" y="9208"/>
                    <a:pt x="697" y="9776"/>
                  </a:cubicBezTo>
                  <a:cubicBezTo>
                    <a:pt x="1488" y="10389"/>
                    <a:pt x="2592" y="10283"/>
                    <a:pt x="3233" y="9521"/>
                  </a:cubicBezTo>
                  <a:lnTo>
                    <a:pt x="8594" y="2945"/>
                  </a:lnTo>
                  <a:lnTo>
                    <a:pt x="8811" y="1032"/>
                  </a:lnTo>
                  <a:lnTo>
                    <a:pt x="7162"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4" name="Freihandform: Form 63">
              <a:extLst>
                <a:ext uri="{FF2B5EF4-FFF2-40B4-BE49-F238E27FC236}">
                  <a16:creationId xmlns:a16="http://schemas.microsoft.com/office/drawing/2014/main" id="{459A032A-6F9A-C83C-6458-DCEC8FD92D2F}"/>
                </a:ext>
              </a:extLst>
            </p:cNvPr>
            <p:cNvSpPr/>
            <p:nvPr/>
          </p:nvSpPr>
          <p:spPr>
            <a:xfrm>
              <a:off x="6350008" y="2470106"/>
              <a:ext cx="7937" cy="12700"/>
            </a:xfrm>
            <a:custGeom>
              <a:avLst/>
              <a:gdLst>
                <a:gd name="connsiteX0" fmla="*/ 5414 w 6483"/>
                <a:gd name="connsiteY0" fmla="*/ 162 h 10073"/>
                <a:gd name="connsiteX1" fmla="*/ 3027 w 6483"/>
                <a:gd name="connsiteY1" fmla="*/ 1069 h 10073"/>
                <a:gd name="connsiteX2" fmla="*/ 29 w 6483"/>
                <a:gd name="connsiteY2" fmla="*/ 7591 h 10073"/>
                <a:gd name="connsiteX3" fmla="*/ 0 w 6483"/>
                <a:gd name="connsiteY3" fmla="*/ 8989 h 10073"/>
                <a:gd name="connsiteX4" fmla="*/ 926 w 6483"/>
                <a:gd name="connsiteY4" fmla="*/ 10016 h 10073"/>
                <a:gd name="connsiteX5" fmla="*/ 2328 w 6483"/>
                <a:gd name="connsiteY5" fmla="*/ 10074 h 10073"/>
                <a:gd name="connsiteX6" fmla="*/ 3331 w 6483"/>
                <a:gd name="connsiteY6" fmla="*/ 9114 h 10073"/>
                <a:gd name="connsiteX7" fmla="*/ 6320 w 6483"/>
                <a:gd name="connsiteY7" fmla="*/ 2573 h 10073"/>
                <a:gd name="connsiteX8" fmla="*/ 5414 w 6483"/>
                <a:gd name="connsiteY8" fmla="*/ 162 h 1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83" h="10073">
                  <a:moveTo>
                    <a:pt x="5414" y="162"/>
                  </a:moveTo>
                  <a:cubicBezTo>
                    <a:pt x="4502" y="-243"/>
                    <a:pt x="3418" y="129"/>
                    <a:pt x="3027" y="1069"/>
                  </a:cubicBezTo>
                  <a:lnTo>
                    <a:pt x="29" y="7591"/>
                  </a:lnTo>
                  <a:lnTo>
                    <a:pt x="0" y="8989"/>
                  </a:lnTo>
                  <a:lnTo>
                    <a:pt x="926" y="10016"/>
                  </a:lnTo>
                  <a:lnTo>
                    <a:pt x="2328" y="10074"/>
                  </a:lnTo>
                  <a:lnTo>
                    <a:pt x="3331" y="9114"/>
                  </a:lnTo>
                  <a:lnTo>
                    <a:pt x="6320" y="2573"/>
                  </a:lnTo>
                  <a:cubicBezTo>
                    <a:pt x="6739" y="1642"/>
                    <a:pt x="6325" y="567"/>
                    <a:pt x="5414" y="16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5" name="Freihandform: Form 64">
              <a:extLst>
                <a:ext uri="{FF2B5EF4-FFF2-40B4-BE49-F238E27FC236}">
                  <a16:creationId xmlns:a16="http://schemas.microsoft.com/office/drawing/2014/main" id="{1B355911-11DA-EB53-FED8-8B493641A7A1}"/>
                </a:ext>
              </a:extLst>
            </p:cNvPr>
            <p:cNvSpPr/>
            <p:nvPr/>
          </p:nvSpPr>
          <p:spPr>
            <a:xfrm>
              <a:off x="6313500" y="2408192"/>
              <a:ext cx="7936" cy="14288"/>
            </a:xfrm>
            <a:custGeom>
              <a:avLst/>
              <a:gdLst>
                <a:gd name="connsiteX0" fmla="*/ 6091 w 6594"/>
                <a:gd name="connsiteY0" fmla="*/ 702 h 11362"/>
                <a:gd name="connsiteX1" fmla="*/ 6091 w 6594"/>
                <a:gd name="connsiteY1" fmla="*/ 504 h 11362"/>
                <a:gd name="connsiteX2" fmla="*/ 5874 w 6594"/>
                <a:gd name="connsiteY2" fmla="*/ 504 h 11362"/>
                <a:gd name="connsiteX3" fmla="*/ 5450 w 6594"/>
                <a:gd name="connsiteY3" fmla="*/ 109 h 11362"/>
                <a:gd name="connsiteX4" fmla="*/ 3681 w 6594"/>
                <a:gd name="connsiteY4" fmla="*/ 518 h 11362"/>
                <a:gd name="connsiteX5" fmla="*/ 3522 w 6594"/>
                <a:gd name="connsiteY5" fmla="*/ 518 h 11362"/>
                <a:gd name="connsiteX6" fmla="*/ 2317 w 6594"/>
                <a:gd name="connsiteY6" fmla="*/ 1709 h 11362"/>
                <a:gd name="connsiteX7" fmla="*/ 1844 w 6594"/>
                <a:gd name="connsiteY7" fmla="*/ 2519 h 11362"/>
                <a:gd name="connsiteX8" fmla="*/ 65 w 6594"/>
                <a:gd name="connsiteY8" fmla="*/ 9061 h 11362"/>
                <a:gd name="connsiteX9" fmla="*/ 1237 w 6594"/>
                <a:gd name="connsiteY9" fmla="*/ 11269 h 11362"/>
                <a:gd name="connsiteX10" fmla="*/ 3522 w 6594"/>
                <a:gd name="connsiteY10" fmla="*/ 10174 h 11362"/>
                <a:gd name="connsiteX11" fmla="*/ 6506 w 6594"/>
                <a:gd name="connsiteY11" fmla="*/ 2447 h 11362"/>
                <a:gd name="connsiteX12" fmla="*/ 6091 w 6594"/>
                <a:gd name="connsiteY12" fmla="*/ 702 h 1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4" h="11362">
                  <a:moveTo>
                    <a:pt x="6091" y="702"/>
                  </a:moveTo>
                  <a:lnTo>
                    <a:pt x="6091" y="504"/>
                  </a:lnTo>
                  <a:lnTo>
                    <a:pt x="5874" y="504"/>
                  </a:lnTo>
                  <a:cubicBezTo>
                    <a:pt x="5715" y="393"/>
                    <a:pt x="5643" y="167"/>
                    <a:pt x="5450" y="109"/>
                  </a:cubicBezTo>
                  <a:cubicBezTo>
                    <a:pt x="4794" y="-161"/>
                    <a:pt x="4202" y="109"/>
                    <a:pt x="3681" y="518"/>
                  </a:cubicBezTo>
                  <a:lnTo>
                    <a:pt x="3522" y="518"/>
                  </a:lnTo>
                  <a:lnTo>
                    <a:pt x="2317" y="1709"/>
                  </a:lnTo>
                  <a:lnTo>
                    <a:pt x="1844" y="2519"/>
                  </a:lnTo>
                  <a:lnTo>
                    <a:pt x="65" y="9061"/>
                  </a:lnTo>
                  <a:cubicBezTo>
                    <a:pt x="-190" y="9981"/>
                    <a:pt x="326" y="10950"/>
                    <a:pt x="1237" y="11269"/>
                  </a:cubicBezTo>
                  <a:cubicBezTo>
                    <a:pt x="2167" y="11577"/>
                    <a:pt x="3170" y="11105"/>
                    <a:pt x="3522" y="10174"/>
                  </a:cubicBezTo>
                  <a:lnTo>
                    <a:pt x="6506" y="2447"/>
                  </a:lnTo>
                  <a:cubicBezTo>
                    <a:pt x="6733" y="1810"/>
                    <a:pt x="6501" y="1213"/>
                    <a:pt x="6091" y="70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6" name="Freihandform: Form 65">
              <a:extLst>
                <a:ext uri="{FF2B5EF4-FFF2-40B4-BE49-F238E27FC236}">
                  <a16:creationId xmlns:a16="http://schemas.microsoft.com/office/drawing/2014/main" id="{B28952C8-D2A2-813D-1872-1F399756F576}"/>
                </a:ext>
              </a:extLst>
            </p:cNvPr>
            <p:cNvSpPr/>
            <p:nvPr/>
          </p:nvSpPr>
          <p:spPr>
            <a:xfrm>
              <a:off x="6313500" y="2420892"/>
              <a:ext cx="7936" cy="12700"/>
            </a:xfrm>
            <a:custGeom>
              <a:avLst/>
              <a:gdLst>
                <a:gd name="connsiteX0" fmla="*/ 4734 w 6599"/>
                <a:gd name="connsiteY0" fmla="*/ 1292 h 9604"/>
                <a:gd name="connsiteX1" fmla="*/ 2998 w 6599"/>
                <a:gd name="connsiteY1" fmla="*/ 0 h 9604"/>
                <a:gd name="connsiteX2" fmla="*/ 1798 w 6599"/>
                <a:gd name="connsiteY2" fmla="*/ 0 h 9604"/>
                <a:gd name="connsiteX3" fmla="*/ 1412 w 6599"/>
                <a:gd name="connsiteY3" fmla="*/ 135 h 9604"/>
                <a:gd name="connsiteX4" fmla="*/ 1002 w 6599"/>
                <a:gd name="connsiteY4" fmla="*/ 203 h 9604"/>
                <a:gd name="connsiteX5" fmla="*/ 771 w 6599"/>
                <a:gd name="connsiteY5" fmla="*/ 415 h 9604"/>
                <a:gd name="connsiteX6" fmla="*/ 361 w 6599"/>
                <a:gd name="connsiteY6" fmla="*/ 940 h 9604"/>
                <a:gd name="connsiteX7" fmla="*/ 101 w 6599"/>
                <a:gd name="connsiteY7" fmla="*/ 1533 h 9604"/>
                <a:gd name="connsiteX8" fmla="*/ 0 w 6599"/>
                <a:gd name="connsiteY8" fmla="*/ 1813 h 9604"/>
                <a:gd name="connsiteX9" fmla="*/ 140 w 6599"/>
                <a:gd name="connsiteY9" fmla="*/ 2208 h 9604"/>
                <a:gd name="connsiteX10" fmla="*/ 173 w 6599"/>
                <a:gd name="connsiteY10" fmla="*/ 2627 h 9604"/>
                <a:gd name="connsiteX11" fmla="*/ 3148 w 6599"/>
                <a:gd name="connsiteY11" fmla="*/ 8605 h 9604"/>
                <a:gd name="connsiteX12" fmla="*/ 5433 w 6599"/>
                <a:gd name="connsiteY12" fmla="*/ 9478 h 9604"/>
                <a:gd name="connsiteX13" fmla="*/ 6527 w 6599"/>
                <a:gd name="connsiteY13" fmla="*/ 7255 h 9604"/>
                <a:gd name="connsiteX14" fmla="*/ 4734 w 6599"/>
                <a:gd name="connsiteY14" fmla="*/ 1292 h 9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9" h="9604">
                  <a:moveTo>
                    <a:pt x="4734" y="1292"/>
                  </a:moveTo>
                  <a:cubicBezTo>
                    <a:pt x="4493" y="530"/>
                    <a:pt x="3813" y="0"/>
                    <a:pt x="2998" y="0"/>
                  </a:cubicBezTo>
                  <a:lnTo>
                    <a:pt x="1798" y="0"/>
                  </a:lnTo>
                  <a:cubicBezTo>
                    <a:pt x="1658" y="0"/>
                    <a:pt x="1557" y="121"/>
                    <a:pt x="1412" y="135"/>
                  </a:cubicBezTo>
                  <a:cubicBezTo>
                    <a:pt x="1282" y="203"/>
                    <a:pt x="1128" y="121"/>
                    <a:pt x="1002" y="203"/>
                  </a:cubicBezTo>
                  <a:cubicBezTo>
                    <a:pt x="911" y="260"/>
                    <a:pt x="897" y="366"/>
                    <a:pt x="771" y="415"/>
                  </a:cubicBezTo>
                  <a:cubicBezTo>
                    <a:pt x="578" y="545"/>
                    <a:pt x="477" y="718"/>
                    <a:pt x="361" y="940"/>
                  </a:cubicBezTo>
                  <a:cubicBezTo>
                    <a:pt x="217" y="1128"/>
                    <a:pt x="144" y="1287"/>
                    <a:pt x="101" y="1533"/>
                  </a:cubicBezTo>
                  <a:cubicBezTo>
                    <a:pt x="72" y="1654"/>
                    <a:pt x="0" y="1707"/>
                    <a:pt x="0" y="1813"/>
                  </a:cubicBezTo>
                  <a:cubicBezTo>
                    <a:pt x="0" y="1952"/>
                    <a:pt x="111" y="2054"/>
                    <a:pt x="140" y="2208"/>
                  </a:cubicBezTo>
                  <a:cubicBezTo>
                    <a:pt x="173" y="2328"/>
                    <a:pt x="101" y="2507"/>
                    <a:pt x="173" y="2627"/>
                  </a:cubicBezTo>
                  <a:lnTo>
                    <a:pt x="3148" y="8605"/>
                  </a:lnTo>
                  <a:cubicBezTo>
                    <a:pt x="3582" y="9449"/>
                    <a:pt x="4560" y="9820"/>
                    <a:pt x="5433" y="9478"/>
                  </a:cubicBezTo>
                  <a:cubicBezTo>
                    <a:pt x="6330" y="9111"/>
                    <a:pt x="6787" y="8162"/>
                    <a:pt x="6527" y="7255"/>
                  </a:cubicBezTo>
                  <a:lnTo>
                    <a:pt x="4734" y="129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7" name="Freihandform: Form 66">
              <a:extLst>
                <a:ext uri="{FF2B5EF4-FFF2-40B4-BE49-F238E27FC236}">
                  <a16:creationId xmlns:a16="http://schemas.microsoft.com/office/drawing/2014/main" id="{863B3B6B-1AA7-7A40-5E6F-61F24B8FE06D}"/>
                </a:ext>
              </a:extLst>
            </p:cNvPr>
            <p:cNvSpPr/>
            <p:nvPr/>
          </p:nvSpPr>
          <p:spPr>
            <a:xfrm>
              <a:off x="6415088" y="2473281"/>
              <a:ext cx="4761" cy="12700"/>
            </a:xfrm>
            <a:custGeom>
              <a:avLst/>
              <a:gdLst>
                <a:gd name="connsiteX0" fmla="*/ 3114 w 3634"/>
                <a:gd name="connsiteY0" fmla="*/ 516 h 9559"/>
                <a:gd name="connsiteX1" fmla="*/ 1812 w 3634"/>
                <a:gd name="connsiteY1" fmla="*/ 0 h 9559"/>
                <a:gd name="connsiteX2" fmla="*/ 535 w 3634"/>
                <a:gd name="connsiteY2" fmla="*/ 516 h 9559"/>
                <a:gd name="connsiteX3" fmla="*/ 0 w 3634"/>
                <a:gd name="connsiteY3" fmla="*/ 1798 h 9559"/>
                <a:gd name="connsiteX4" fmla="*/ 0 w 3634"/>
                <a:gd name="connsiteY4" fmla="*/ 7756 h 9559"/>
                <a:gd name="connsiteX5" fmla="*/ 1812 w 3634"/>
                <a:gd name="connsiteY5" fmla="*/ 9559 h 9559"/>
                <a:gd name="connsiteX6" fmla="*/ 3635 w 3634"/>
                <a:gd name="connsiteY6" fmla="*/ 7756 h 9559"/>
                <a:gd name="connsiteX7" fmla="*/ 3635 w 3634"/>
                <a:gd name="connsiteY7" fmla="*/ 1798 h 9559"/>
                <a:gd name="connsiteX8" fmla="*/ 3114 w 3634"/>
                <a:gd name="connsiteY8" fmla="*/ 516 h 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4" h="9559">
                  <a:moveTo>
                    <a:pt x="3114" y="516"/>
                  </a:moveTo>
                  <a:lnTo>
                    <a:pt x="1812" y="0"/>
                  </a:lnTo>
                  <a:lnTo>
                    <a:pt x="535" y="516"/>
                  </a:lnTo>
                  <a:lnTo>
                    <a:pt x="0" y="1798"/>
                  </a:lnTo>
                  <a:lnTo>
                    <a:pt x="0" y="7756"/>
                  </a:lnTo>
                  <a:cubicBezTo>
                    <a:pt x="0" y="8749"/>
                    <a:pt x="786" y="9559"/>
                    <a:pt x="1812" y="9559"/>
                  </a:cubicBezTo>
                  <a:cubicBezTo>
                    <a:pt x="2810" y="9559"/>
                    <a:pt x="3635" y="8749"/>
                    <a:pt x="3635" y="7756"/>
                  </a:cubicBezTo>
                  <a:lnTo>
                    <a:pt x="3635" y="1798"/>
                  </a:lnTo>
                  <a:lnTo>
                    <a:pt x="3114" y="51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8" name="Freihandform: Form 67">
              <a:extLst>
                <a:ext uri="{FF2B5EF4-FFF2-40B4-BE49-F238E27FC236}">
                  <a16:creationId xmlns:a16="http://schemas.microsoft.com/office/drawing/2014/main" id="{52BAB935-C811-9D56-5AF9-4C04DB1A5AE6}"/>
                </a:ext>
              </a:extLst>
            </p:cNvPr>
            <p:cNvSpPr/>
            <p:nvPr/>
          </p:nvSpPr>
          <p:spPr>
            <a:xfrm>
              <a:off x="6078576" y="2478044"/>
              <a:ext cx="7936" cy="15876"/>
            </a:xfrm>
            <a:custGeom>
              <a:avLst/>
              <a:gdLst>
                <a:gd name="connsiteX0" fmla="*/ 4045 w 6252"/>
                <a:gd name="connsiteY0" fmla="*/ 7327 h 12206"/>
                <a:gd name="connsiteX1" fmla="*/ 1234 w 6252"/>
                <a:gd name="connsiteY1" fmla="*/ 1133 h 12206"/>
                <a:gd name="connsiteX2" fmla="*/ 0 w 6252"/>
                <a:gd name="connsiteY2" fmla="*/ 0 h 12206"/>
                <a:gd name="connsiteX3" fmla="*/ 304 w 6252"/>
                <a:gd name="connsiteY3" fmla="*/ 1292 h 12206"/>
                <a:gd name="connsiteX4" fmla="*/ 2651 w 6252"/>
                <a:gd name="connsiteY4" fmla="*/ 7742 h 12206"/>
                <a:gd name="connsiteX5" fmla="*/ 2646 w 6252"/>
                <a:gd name="connsiteY5" fmla="*/ 7863 h 12206"/>
                <a:gd name="connsiteX6" fmla="*/ 2714 w 6252"/>
                <a:gd name="connsiteY6" fmla="*/ 7906 h 12206"/>
                <a:gd name="connsiteX7" fmla="*/ 3162 w 6252"/>
                <a:gd name="connsiteY7" fmla="*/ 9719 h 12206"/>
                <a:gd name="connsiteX8" fmla="*/ 6252 w 6252"/>
                <a:gd name="connsiteY8" fmla="*/ 12206 h 12206"/>
                <a:gd name="connsiteX9" fmla="*/ 4045 w 6252"/>
                <a:gd name="connsiteY9" fmla="*/ 7327 h 12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52" h="12206">
                  <a:moveTo>
                    <a:pt x="4045" y="7327"/>
                  </a:moveTo>
                  <a:lnTo>
                    <a:pt x="1234" y="1133"/>
                  </a:lnTo>
                  <a:lnTo>
                    <a:pt x="0" y="0"/>
                  </a:lnTo>
                  <a:lnTo>
                    <a:pt x="304" y="1292"/>
                  </a:lnTo>
                  <a:lnTo>
                    <a:pt x="2651" y="7742"/>
                  </a:lnTo>
                  <a:cubicBezTo>
                    <a:pt x="2666" y="7776"/>
                    <a:pt x="2646" y="7834"/>
                    <a:pt x="2646" y="7863"/>
                  </a:cubicBezTo>
                  <a:cubicBezTo>
                    <a:pt x="2670" y="7887"/>
                    <a:pt x="2695" y="7906"/>
                    <a:pt x="2714" y="7906"/>
                  </a:cubicBezTo>
                  <a:lnTo>
                    <a:pt x="3162" y="9719"/>
                  </a:lnTo>
                  <a:lnTo>
                    <a:pt x="6252" y="12206"/>
                  </a:lnTo>
                  <a:lnTo>
                    <a:pt x="4045" y="732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9" name="Freihandform: Form 68">
              <a:extLst>
                <a:ext uri="{FF2B5EF4-FFF2-40B4-BE49-F238E27FC236}">
                  <a16:creationId xmlns:a16="http://schemas.microsoft.com/office/drawing/2014/main" id="{F78E2775-2006-A8F8-A91D-ACB98C700862}"/>
                </a:ext>
              </a:extLst>
            </p:cNvPr>
            <p:cNvSpPr/>
            <p:nvPr/>
          </p:nvSpPr>
          <p:spPr>
            <a:xfrm>
              <a:off x="6000797" y="2111318"/>
              <a:ext cx="1588" cy="3175"/>
            </a:xfrm>
            <a:custGeom>
              <a:avLst/>
              <a:gdLst>
                <a:gd name="connsiteX0" fmla="*/ 1157 w 1831"/>
                <a:gd name="connsiteY0" fmla="*/ 1933 h 1933"/>
                <a:gd name="connsiteX1" fmla="*/ 1832 w 1831"/>
                <a:gd name="connsiteY1" fmla="*/ 487 h 1933"/>
                <a:gd name="connsiteX2" fmla="*/ 0 w 1831"/>
                <a:gd name="connsiteY2" fmla="*/ 0 h 1933"/>
              </a:gdLst>
              <a:ahLst/>
              <a:cxnLst>
                <a:cxn ang="0">
                  <a:pos x="connsiteX0" y="connsiteY0"/>
                </a:cxn>
                <a:cxn ang="0">
                  <a:pos x="connsiteX1" y="connsiteY1"/>
                </a:cxn>
                <a:cxn ang="0">
                  <a:pos x="connsiteX2" y="connsiteY2"/>
                </a:cxn>
              </a:cxnLst>
              <a:rect l="l" t="t" r="r" b="b"/>
              <a:pathLst>
                <a:path w="1831" h="1933">
                  <a:moveTo>
                    <a:pt x="1157" y="1933"/>
                  </a:moveTo>
                  <a:lnTo>
                    <a:pt x="1832" y="487"/>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70" name="Freihandform: Form 69">
              <a:extLst>
                <a:ext uri="{FF2B5EF4-FFF2-40B4-BE49-F238E27FC236}">
                  <a16:creationId xmlns:a16="http://schemas.microsoft.com/office/drawing/2014/main" id="{7E2B1320-2FCD-4030-9142-09238F0E8B73}"/>
                </a:ext>
              </a:extLst>
            </p:cNvPr>
            <p:cNvSpPr/>
            <p:nvPr/>
          </p:nvSpPr>
          <p:spPr>
            <a:xfrm>
              <a:off x="5959527" y="2144657"/>
              <a:ext cx="6349" cy="12700"/>
            </a:xfrm>
            <a:custGeom>
              <a:avLst/>
              <a:gdLst>
                <a:gd name="connsiteX0" fmla="*/ 2675 w 5004"/>
                <a:gd name="connsiteY0" fmla="*/ 737 h 9549"/>
                <a:gd name="connsiteX1" fmla="*/ 0 w 5004"/>
                <a:gd name="connsiteY1" fmla="*/ 0 h 9549"/>
                <a:gd name="connsiteX2" fmla="*/ 1003 w 5004"/>
                <a:gd name="connsiteY2" fmla="*/ 2791 h 9549"/>
                <a:gd name="connsiteX3" fmla="*/ 1114 w 5004"/>
                <a:gd name="connsiteY3" fmla="*/ 3254 h 9549"/>
                <a:gd name="connsiteX4" fmla="*/ 1586 w 5004"/>
                <a:gd name="connsiteY4" fmla="*/ 8966 h 9549"/>
                <a:gd name="connsiteX5" fmla="*/ 5004 w 5004"/>
                <a:gd name="connsiteY5" fmla="*/ 9550 h 9549"/>
                <a:gd name="connsiteX6" fmla="*/ 4647 w 5004"/>
                <a:gd name="connsiteY6" fmla="*/ 6180 h 9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04" h="9549">
                  <a:moveTo>
                    <a:pt x="2675" y="737"/>
                  </a:moveTo>
                  <a:lnTo>
                    <a:pt x="0" y="0"/>
                  </a:lnTo>
                  <a:lnTo>
                    <a:pt x="1003" y="2791"/>
                  </a:lnTo>
                  <a:lnTo>
                    <a:pt x="1114" y="3254"/>
                  </a:lnTo>
                  <a:lnTo>
                    <a:pt x="1586" y="8966"/>
                  </a:lnTo>
                  <a:lnTo>
                    <a:pt x="5004" y="9550"/>
                  </a:lnTo>
                  <a:lnTo>
                    <a:pt x="4647" y="618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71" name="Freihandform: Form 70">
              <a:extLst>
                <a:ext uri="{FF2B5EF4-FFF2-40B4-BE49-F238E27FC236}">
                  <a16:creationId xmlns:a16="http://schemas.microsoft.com/office/drawing/2014/main" id="{06AA7A76-5B33-44B3-6886-A70546570455}"/>
                </a:ext>
              </a:extLst>
            </p:cNvPr>
            <p:cNvSpPr/>
            <p:nvPr/>
          </p:nvSpPr>
          <p:spPr>
            <a:xfrm>
              <a:off x="6002385" y="2090680"/>
              <a:ext cx="6349" cy="6350"/>
            </a:xfrm>
            <a:custGeom>
              <a:avLst/>
              <a:gdLst>
                <a:gd name="connsiteX0" fmla="*/ 1417 w 4439"/>
                <a:gd name="connsiteY0" fmla="*/ 0 h 5225"/>
                <a:gd name="connsiteX1" fmla="*/ 0 w 4439"/>
                <a:gd name="connsiteY1" fmla="*/ 3418 h 5225"/>
                <a:gd name="connsiteX2" fmla="*/ 3302 w 4439"/>
                <a:gd name="connsiteY2" fmla="*/ 5226 h 5225"/>
                <a:gd name="connsiteX3" fmla="*/ 4440 w 4439"/>
                <a:gd name="connsiteY3" fmla="*/ 2439 h 5225"/>
              </a:gdLst>
              <a:ahLst/>
              <a:cxnLst>
                <a:cxn ang="0">
                  <a:pos x="connsiteX0" y="connsiteY0"/>
                </a:cxn>
                <a:cxn ang="0">
                  <a:pos x="connsiteX1" y="connsiteY1"/>
                </a:cxn>
                <a:cxn ang="0">
                  <a:pos x="connsiteX2" y="connsiteY2"/>
                </a:cxn>
                <a:cxn ang="0">
                  <a:pos x="connsiteX3" y="connsiteY3"/>
                </a:cxn>
              </a:cxnLst>
              <a:rect l="l" t="t" r="r" b="b"/>
              <a:pathLst>
                <a:path w="4439" h="5225">
                  <a:moveTo>
                    <a:pt x="1417" y="0"/>
                  </a:moveTo>
                  <a:lnTo>
                    <a:pt x="0" y="3418"/>
                  </a:lnTo>
                  <a:lnTo>
                    <a:pt x="3302" y="5226"/>
                  </a:lnTo>
                  <a:lnTo>
                    <a:pt x="4440" y="243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72" name="Freihandform: Form 71">
              <a:extLst>
                <a:ext uri="{FF2B5EF4-FFF2-40B4-BE49-F238E27FC236}">
                  <a16:creationId xmlns:a16="http://schemas.microsoft.com/office/drawing/2014/main" id="{DD08BD19-5EA7-FF01-E3EE-CE41E45DF949}"/>
                </a:ext>
              </a:extLst>
            </p:cNvPr>
            <p:cNvSpPr/>
            <p:nvPr/>
          </p:nvSpPr>
          <p:spPr>
            <a:xfrm>
              <a:off x="6350008" y="1841432"/>
              <a:ext cx="0" cy="0"/>
            </a:xfrm>
            <a:custGeom>
              <a:avLst/>
              <a:gdLst>
                <a:gd name="connsiteX0" fmla="*/ 144 w 163"/>
                <a:gd name="connsiteY0" fmla="*/ 43 h 173"/>
                <a:gd name="connsiteX1" fmla="*/ 0 w 163"/>
                <a:gd name="connsiteY1" fmla="*/ 0 h 173"/>
                <a:gd name="connsiteX2" fmla="*/ 164 w 163"/>
                <a:gd name="connsiteY2" fmla="*/ 174 h 173"/>
              </a:gdLst>
              <a:ahLst/>
              <a:cxnLst>
                <a:cxn ang="0">
                  <a:pos x="connsiteX0" y="connsiteY0"/>
                </a:cxn>
                <a:cxn ang="0">
                  <a:pos x="connsiteX1" y="connsiteY1"/>
                </a:cxn>
                <a:cxn ang="0">
                  <a:pos x="connsiteX2" y="connsiteY2"/>
                </a:cxn>
              </a:cxnLst>
              <a:rect l="l" t="t" r="r" b="b"/>
              <a:pathLst>
                <a:path w="163" h="173">
                  <a:moveTo>
                    <a:pt x="144" y="43"/>
                  </a:moveTo>
                  <a:lnTo>
                    <a:pt x="0" y="0"/>
                  </a:lnTo>
                  <a:lnTo>
                    <a:pt x="164" y="17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73" name="Freihandform: Form 72">
              <a:extLst>
                <a:ext uri="{FF2B5EF4-FFF2-40B4-BE49-F238E27FC236}">
                  <a16:creationId xmlns:a16="http://schemas.microsoft.com/office/drawing/2014/main" id="{682D7F2C-56D2-A054-087F-ED93EC307126}"/>
                </a:ext>
              </a:extLst>
            </p:cNvPr>
            <p:cNvSpPr/>
            <p:nvPr/>
          </p:nvSpPr>
          <p:spPr>
            <a:xfrm>
              <a:off x="6072227" y="2470106"/>
              <a:ext cx="28572" cy="33339"/>
            </a:xfrm>
            <a:custGeom>
              <a:avLst/>
              <a:gdLst>
                <a:gd name="connsiteX0" fmla="*/ 15193 w 21484"/>
                <a:gd name="connsiteY0" fmla="*/ 18863 h 26595"/>
                <a:gd name="connsiteX1" fmla="*/ 12377 w 21484"/>
                <a:gd name="connsiteY1" fmla="*/ 12717 h 26595"/>
                <a:gd name="connsiteX2" fmla="*/ 9408 w 21484"/>
                <a:gd name="connsiteY2" fmla="*/ 6161 h 26595"/>
                <a:gd name="connsiteX3" fmla="*/ 8974 w 21484"/>
                <a:gd name="connsiteY3" fmla="*/ 5544 h 26595"/>
                <a:gd name="connsiteX4" fmla="*/ 3035 w 21484"/>
                <a:gd name="connsiteY4" fmla="*/ 212 h 26595"/>
                <a:gd name="connsiteX5" fmla="*/ 871 w 21484"/>
                <a:gd name="connsiteY5" fmla="*/ 0 h 26595"/>
                <a:gd name="connsiteX6" fmla="*/ 75 w 21484"/>
                <a:gd name="connsiteY6" fmla="*/ 2010 h 26595"/>
                <a:gd name="connsiteX7" fmla="*/ 1834 w 21484"/>
                <a:gd name="connsiteY7" fmla="*/ 9135 h 26595"/>
                <a:gd name="connsiteX8" fmla="*/ 1878 w 21484"/>
                <a:gd name="connsiteY8" fmla="*/ 9338 h 26595"/>
                <a:gd name="connsiteX9" fmla="*/ 4274 w 21484"/>
                <a:gd name="connsiteY9" fmla="*/ 15875 h 26595"/>
                <a:gd name="connsiteX10" fmla="*/ 4814 w 21484"/>
                <a:gd name="connsiteY10" fmla="*/ 18058 h 26595"/>
                <a:gd name="connsiteX11" fmla="*/ 5441 w 21484"/>
                <a:gd name="connsiteY11" fmla="*/ 19061 h 26595"/>
                <a:gd name="connsiteX12" fmla="*/ 11365 w 21484"/>
                <a:gd name="connsiteY12" fmla="*/ 23795 h 26595"/>
                <a:gd name="connsiteX13" fmla="*/ 11934 w 21484"/>
                <a:gd name="connsiteY13" fmla="*/ 24113 h 26595"/>
                <a:gd name="connsiteX14" fmla="*/ 19078 w 21484"/>
                <a:gd name="connsiteY14" fmla="*/ 26504 h 26595"/>
                <a:gd name="connsiteX15" fmla="*/ 21272 w 21484"/>
                <a:gd name="connsiteY15" fmla="*/ 25656 h 26595"/>
                <a:gd name="connsiteX16" fmla="*/ 20814 w 21484"/>
                <a:gd name="connsiteY16" fmla="*/ 23366 h 26595"/>
                <a:gd name="connsiteX17" fmla="*/ 15193 w 21484"/>
                <a:gd name="connsiteY17" fmla="*/ 18863 h 2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484" h="26595">
                  <a:moveTo>
                    <a:pt x="15193" y="18863"/>
                  </a:moveTo>
                  <a:lnTo>
                    <a:pt x="12377" y="12717"/>
                  </a:lnTo>
                  <a:lnTo>
                    <a:pt x="9408" y="6161"/>
                  </a:lnTo>
                  <a:lnTo>
                    <a:pt x="8974" y="5544"/>
                  </a:lnTo>
                  <a:lnTo>
                    <a:pt x="3035" y="212"/>
                  </a:lnTo>
                  <a:lnTo>
                    <a:pt x="871" y="0"/>
                  </a:lnTo>
                  <a:cubicBezTo>
                    <a:pt x="176" y="415"/>
                    <a:pt x="-161" y="1220"/>
                    <a:pt x="75" y="2010"/>
                  </a:cubicBezTo>
                  <a:lnTo>
                    <a:pt x="1834" y="9135"/>
                  </a:lnTo>
                  <a:lnTo>
                    <a:pt x="1878" y="9338"/>
                  </a:lnTo>
                  <a:lnTo>
                    <a:pt x="4274" y="15875"/>
                  </a:lnTo>
                  <a:lnTo>
                    <a:pt x="4814" y="18058"/>
                  </a:lnTo>
                  <a:lnTo>
                    <a:pt x="5441" y="19061"/>
                  </a:lnTo>
                  <a:lnTo>
                    <a:pt x="11365" y="23795"/>
                  </a:lnTo>
                  <a:lnTo>
                    <a:pt x="11934" y="24113"/>
                  </a:lnTo>
                  <a:lnTo>
                    <a:pt x="19078" y="26504"/>
                  </a:lnTo>
                  <a:cubicBezTo>
                    <a:pt x="19951" y="26779"/>
                    <a:pt x="20838" y="26417"/>
                    <a:pt x="21272" y="25656"/>
                  </a:cubicBezTo>
                  <a:cubicBezTo>
                    <a:pt x="21686" y="24855"/>
                    <a:pt x="21474" y="23911"/>
                    <a:pt x="20814" y="23366"/>
                  </a:cubicBezTo>
                  <a:lnTo>
                    <a:pt x="15193" y="1886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74" name="Freihandform: Form 73">
              <a:extLst>
                <a:ext uri="{FF2B5EF4-FFF2-40B4-BE49-F238E27FC236}">
                  <a16:creationId xmlns:a16="http://schemas.microsoft.com/office/drawing/2014/main" id="{FAFA8217-8497-1006-E205-CBFEB8D86503}"/>
                </a:ext>
              </a:extLst>
            </p:cNvPr>
            <p:cNvSpPr/>
            <p:nvPr/>
          </p:nvSpPr>
          <p:spPr>
            <a:xfrm>
              <a:off x="6240483" y="1944624"/>
              <a:ext cx="14285" cy="14288"/>
            </a:xfrm>
            <a:custGeom>
              <a:avLst/>
              <a:gdLst>
                <a:gd name="connsiteX0" fmla="*/ 1485 w 11319"/>
                <a:gd name="connsiteY0" fmla="*/ 9574 h 10772"/>
                <a:gd name="connsiteX1" fmla="*/ 8022 w 11319"/>
                <a:gd name="connsiteY1" fmla="*/ 10745 h 10772"/>
                <a:gd name="connsiteX2" fmla="*/ 10129 w 11319"/>
                <a:gd name="connsiteY2" fmla="*/ 9328 h 10772"/>
                <a:gd name="connsiteX3" fmla="*/ 11319 w 11319"/>
                <a:gd name="connsiteY3" fmla="*/ 3370 h 10772"/>
                <a:gd name="connsiteX4" fmla="*/ 11160 w 11319"/>
                <a:gd name="connsiteY4" fmla="*/ 2189 h 10772"/>
                <a:gd name="connsiteX5" fmla="*/ 10563 w 11319"/>
                <a:gd name="connsiteY5" fmla="*/ 1008 h 10772"/>
                <a:gd name="connsiteX6" fmla="*/ 10331 w 11319"/>
                <a:gd name="connsiteY6" fmla="*/ 800 h 10772"/>
                <a:gd name="connsiteX7" fmla="*/ 9839 w 11319"/>
                <a:gd name="connsiteY7" fmla="*/ 362 h 10772"/>
                <a:gd name="connsiteX8" fmla="*/ 9208 w 11319"/>
                <a:gd name="connsiteY8" fmla="*/ 121 h 10772"/>
                <a:gd name="connsiteX9" fmla="*/ 8923 w 11319"/>
                <a:gd name="connsiteY9" fmla="*/ 0 h 10772"/>
                <a:gd name="connsiteX10" fmla="*/ 2372 w 11319"/>
                <a:gd name="connsiteY10" fmla="*/ 0 h 10772"/>
                <a:gd name="connsiteX11" fmla="*/ 579 w 11319"/>
                <a:gd name="connsiteY11" fmla="*/ 1625 h 10772"/>
                <a:gd name="connsiteX12" fmla="*/ 10 w 11319"/>
                <a:gd name="connsiteY12" fmla="*/ 7612 h 10772"/>
                <a:gd name="connsiteX13" fmla="*/ 1485 w 11319"/>
                <a:gd name="connsiteY13" fmla="*/ 9574 h 1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19" h="10772">
                  <a:moveTo>
                    <a:pt x="1485" y="9574"/>
                  </a:moveTo>
                  <a:lnTo>
                    <a:pt x="8022" y="10745"/>
                  </a:lnTo>
                  <a:cubicBezTo>
                    <a:pt x="9010" y="10914"/>
                    <a:pt x="9936" y="10292"/>
                    <a:pt x="10129" y="9328"/>
                  </a:cubicBezTo>
                  <a:lnTo>
                    <a:pt x="11319" y="3370"/>
                  </a:lnTo>
                  <a:lnTo>
                    <a:pt x="11160" y="2189"/>
                  </a:lnTo>
                  <a:lnTo>
                    <a:pt x="10563" y="1008"/>
                  </a:lnTo>
                  <a:cubicBezTo>
                    <a:pt x="10514" y="906"/>
                    <a:pt x="10394" y="877"/>
                    <a:pt x="10331" y="800"/>
                  </a:cubicBezTo>
                  <a:cubicBezTo>
                    <a:pt x="10201" y="607"/>
                    <a:pt x="10032" y="497"/>
                    <a:pt x="9839" y="362"/>
                  </a:cubicBezTo>
                  <a:cubicBezTo>
                    <a:pt x="9637" y="251"/>
                    <a:pt x="9454" y="164"/>
                    <a:pt x="9208" y="121"/>
                  </a:cubicBezTo>
                  <a:cubicBezTo>
                    <a:pt x="9121" y="92"/>
                    <a:pt x="9039" y="0"/>
                    <a:pt x="8923" y="0"/>
                  </a:cubicBezTo>
                  <a:lnTo>
                    <a:pt x="2372" y="0"/>
                  </a:lnTo>
                  <a:cubicBezTo>
                    <a:pt x="1466" y="0"/>
                    <a:pt x="690" y="723"/>
                    <a:pt x="579" y="1625"/>
                  </a:cubicBezTo>
                  <a:lnTo>
                    <a:pt x="10" y="7612"/>
                  </a:lnTo>
                  <a:cubicBezTo>
                    <a:pt x="-86" y="8523"/>
                    <a:pt x="526" y="9376"/>
                    <a:pt x="1485" y="957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75" name="Freihandform: Form 74">
              <a:extLst>
                <a:ext uri="{FF2B5EF4-FFF2-40B4-BE49-F238E27FC236}">
                  <a16:creationId xmlns:a16="http://schemas.microsoft.com/office/drawing/2014/main" id="{FCCC4506-2BCF-8ECC-5CA6-6DCB1760B11A}"/>
                </a:ext>
              </a:extLst>
            </p:cNvPr>
            <p:cNvSpPr/>
            <p:nvPr/>
          </p:nvSpPr>
          <p:spPr>
            <a:xfrm>
              <a:off x="6227785" y="1958912"/>
              <a:ext cx="33333" cy="25401"/>
            </a:xfrm>
            <a:custGeom>
              <a:avLst/>
              <a:gdLst>
                <a:gd name="connsiteX0" fmla="*/ 20334 w 26176"/>
                <a:gd name="connsiteY0" fmla="*/ 2362 h 19591"/>
                <a:gd name="connsiteX1" fmla="*/ 18753 w 26176"/>
                <a:gd name="connsiteY1" fmla="*/ 1784 h 19591"/>
                <a:gd name="connsiteX2" fmla="*/ 17388 w 26176"/>
                <a:gd name="connsiteY2" fmla="*/ 2762 h 19591"/>
                <a:gd name="connsiteX3" fmla="*/ 14958 w 26176"/>
                <a:gd name="connsiteY3" fmla="*/ 7573 h 19591"/>
                <a:gd name="connsiteX4" fmla="*/ 11464 w 26176"/>
                <a:gd name="connsiteY4" fmla="*/ 7245 h 19591"/>
                <a:gd name="connsiteX5" fmla="*/ 10027 w 26176"/>
                <a:gd name="connsiteY5" fmla="*/ 2463 h 19591"/>
                <a:gd name="connsiteX6" fmla="*/ 8624 w 26176"/>
                <a:gd name="connsiteY6" fmla="*/ 1171 h 19591"/>
                <a:gd name="connsiteX7" fmla="*/ 2063 w 26176"/>
                <a:gd name="connsiteY7" fmla="*/ 0 h 19591"/>
                <a:gd name="connsiteX8" fmla="*/ 386 w 26176"/>
                <a:gd name="connsiteY8" fmla="*/ 578 h 19591"/>
                <a:gd name="connsiteX9" fmla="*/ 0 w 26176"/>
                <a:gd name="connsiteY9" fmla="*/ 2304 h 19591"/>
                <a:gd name="connsiteX10" fmla="*/ 1788 w 26176"/>
                <a:gd name="connsiteY10" fmla="*/ 8267 h 19591"/>
                <a:gd name="connsiteX11" fmla="*/ 1904 w 26176"/>
                <a:gd name="connsiteY11" fmla="*/ 8533 h 19591"/>
                <a:gd name="connsiteX12" fmla="*/ 4893 w 26176"/>
                <a:gd name="connsiteY12" fmla="*/ 14491 h 19591"/>
                <a:gd name="connsiteX13" fmla="*/ 5462 w 26176"/>
                <a:gd name="connsiteY13" fmla="*/ 15180 h 19591"/>
                <a:gd name="connsiteX14" fmla="*/ 11401 w 26176"/>
                <a:gd name="connsiteY14" fmla="*/ 19341 h 19591"/>
                <a:gd name="connsiteX15" fmla="*/ 11844 w 26176"/>
                <a:gd name="connsiteY15" fmla="*/ 19456 h 19591"/>
                <a:gd name="connsiteX16" fmla="*/ 12495 w 26176"/>
                <a:gd name="connsiteY16" fmla="*/ 19591 h 19591"/>
                <a:gd name="connsiteX17" fmla="*/ 13151 w 26176"/>
                <a:gd name="connsiteY17" fmla="*/ 19394 h 19591"/>
                <a:gd name="connsiteX18" fmla="*/ 13570 w 26176"/>
                <a:gd name="connsiteY18" fmla="*/ 19307 h 19591"/>
                <a:gd name="connsiteX19" fmla="*/ 18859 w 26176"/>
                <a:gd name="connsiteY19" fmla="*/ 15180 h 19591"/>
                <a:gd name="connsiteX20" fmla="*/ 25342 w 26176"/>
                <a:gd name="connsiteY20" fmla="*/ 11063 h 19591"/>
                <a:gd name="connsiteX21" fmla="*/ 26176 w 26176"/>
                <a:gd name="connsiteY21" fmla="*/ 9762 h 19591"/>
                <a:gd name="connsiteX22" fmla="*/ 25699 w 26176"/>
                <a:gd name="connsiteY22" fmla="*/ 8316 h 19591"/>
                <a:gd name="connsiteX23" fmla="*/ 20334 w 26176"/>
                <a:gd name="connsiteY23" fmla="*/ 2362 h 1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176" h="19591">
                  <a:moveTo>
                    <a:pt x="20334" y="2362"/>
                  </a:moveTo>
                  <a:lnTo>
                    <a:pt x="18753" y="1784"/>
                  </a:lnTo>
                  <a:lnTo>
                    <a:pt x="17388" y="2762"/>
                  </a:lnTo>
                  <a:lnTo>
                    <a:pt x="14958" y="7573"/>
                  </a:lnTo>
                  <a:lnTo>
                    <a:pt x="11464" y="7245"/>
                  </a:lnTo>
                  <a:lnTo>
                    <a:pt x="10027" y="2463"/>
                  </a:lnTo>
                  <a:lnTo>
                    <a:pt x="8624" y="1171"/>
                  </a:lnTo>
                  <a:lnTo>
                    <a:pt x="2063" y="0"/>
                  </a:lnTo>
                  <a:lnTo>
                    <a:pt x="386" y="578"/>
                  </a:lnTo>
                  <a:lnTo>
                    <a:pt x="0" y="2304"/>
                  </a:lnTo>
                  <a:lnTo>
                    <a:pt x="1788" y="8267"/>
                  </a:lnTo>
                  <a:lnTo>
                    <a:pt x="1904" y="8533"/>
                  </a:lnTo>
                  <a:lnTo>
                    <a:pt x="4893" y="14491"/>
                  </a:lnTo>
                  <a:lnTo>
                    <a:pt x="5462" y="15180"/>
                  </a:lnTo>
                  <a:lnTo>
                    <a:pt x="11401" y="19341"/>
                  </a:lnTo>
                  <a:cubicBezTo>
                    <a:pt x="11522" y="19423"/>
                    <a:pt x="11714" y="19394"/>
                    <a:pt x="11844" y="19456"/>
                  </a:cubicBezTo>
                  <a:cubicBezTo>
                    <a:pt x="12066" y="19538"/>
                    <a:pt x="12249" y="19591"/>
                    <a:pt x="12495" y="19591"/>
                  </a:cubicBezTo>
                  <a:cubicBezTo>
                    <a:pt x="12751" y="19591"/>
                    <a:pt x="12919" y="19509"/>
                    <a:pt x="13151" y="19394"/>
                  </a:cubicBezTo>
                  <a:cubicBezTo>
                    <a:pt x="13286" y="19341"/>
                    <a:pt x="13445" y="19394"/>
                    <a:pt x="13570" y="19307"/>
                  </a:cubicBezTo>
                  <a:lnTo>
                    <a:pt x="18859" y="15180"/>
                  </a:lnTo>
                  <a:lnTo>
                    <a:pt x="25342" y="11063"/>
                  </a:lnTo>
                  <a:lnTo>
                    <a:pt x="26176" y="9762"/>
                  </a:lnTo>
                  <a:lnTo>
                    <a:pt x="25699" y="8316"/>
                  </a:lnTo>
                  <a:lnTo>
                    <a:pt x="20334" y="236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76" name="Freihandform: Form 75">
              <a:extLst>
                <a:ext uri="{FF2B5EF4-FFF2-40B4-BE49-F238E27FC236}">
                  <a16:creationId xmlns:a16="http://schemas.microsoft.com/office/drawing/2014/main" id="{DD825112-44D0-C065-EE06-25025DC3024C}"/>
                </a:ext>
              </a:extLst>
            </p:cNvPr>
            <p:cNvSpPr/>
            <p:nvPr/>
          </p:nvSpPr>
          <p:spPr>
            <a:xfrm>
              <a:off x="6302388" y="1936686"/>
              <a:ext cx="15873" cy="17464"/>
            </a:xfrm>
            <a:custGeom>
              <a:avLst/>
              <a:gdLst>
                <a:gd name="connsiteX0" fmla="*/ 11189 w 12485"/>
                <a:gd name="connsiteY0" fmla="*/ 1146 h 13704"/>
                <a:gd name="connsiteX1" fmla="*/ 11189 w 12485"/>
                <a:gd name="connsiteY1" fmla="*/ 1011 h 13704"/>
                <a:gd name="connsiteX2" fmla="*/ 10745 w 12485"/>
                <a:gd name="connsiteY2" fmla="*/ 606 h 13704"/>
                <a:gd name="connsiteX3" fmla="*/ 10273 w 12485"/>
                <a:gd name="connsiteY3" fmla="*/ 163 h 13704"/>
                <a:gd name="connsiteX4" fmla="*/ 9603 w 12485"/>
                <a:gd name="connsiteY4" fmla="*/ 71 h 13704"/>
                <a:gd name="connsiteX5" fmla="*/ 9020 w 12485"/>
                <a:gd name="connsiteY5" fmla="*/ 28 h 13704"/>
                <a:gd name="connsiteX6" fmla="*/ 8904 w 12485"/>
                <a:gd name="connsiteY6" fmla="*/ 105 h 13704"/>
                <a:gd name="connsiteX7" fmla="*/ 8788 w 12485"/>
                <a:gd name="connsiteY7" fmla="*/ 105 h 13704"/>
                <a:gd name="connsiteX8" fmla="*/ 2237 w 12485"/>
                <a:gd name="connsiteY8" fmla="*/ 3094 h 13704"/>
                <a:gd name="connsiteX9" fmla="*/ 1205 w 12485"/>
                <a:gd name="connsiteY9" fmla="*/ 4400 h 13704"/>
                <a:gd name="connsiteX10" fmla="*/ 0 w 12485"/>
                <a:gd name="connsiteY10" fmla="*/ 10971 h 13704"/>
                <a:gd name="connsiteX11" fmla="*/ 342 w 12485"/>
                <a:gd name="connsiteY11" fmla="*/ 12383 h 13704"/>
                <a:gd name="connsiteX12" fmla="*/ 1629 w 12485"/>
                <a:gd name="connsiteY12" fmla="*/ 13102 h 13704"/>
                <a:gd name="connsiteX13" fmla="*/ 8161 w 12485"/>
                <a:gd name="connsiteY13" fmla="*/ 13699 h 13704"/>
                <a:gd name="connsiteX14" fmla="*/ 10042 w 12485"/>
                <a:gd name="connsiteY14" fmla="*/ 12547 h 13704"/>
                <a:gd name="connsiteX15" fmla="*/ 12423 w 12485"/>
                <a:gd name="connsiteY15" fmla="*/ 6584 h 13704"/>
                <a:gd name="connsiteX16" fmla="*/ 12486 w 12485"/>
                <a:gd name="connsiteY16" fmla="*/ 5408 h 13704"/>
                <a:gd name="connsiteX17" fmla="*/ 11295 w 12485"/>
                <a:gd name="connsiteY17" fmla="*/ 1247 h 13704"/>
                <a:gd name="connsiteX18" fmla="*/ 11189 w 12485"/>
                <a:gd name="connsiteY18" fmla="*/ 1146 h 13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485" h="13704">
                  <a:moveTo>
                    <a:pt x="11189" y="1146"/>
                  </a:moveTo>
                  <a:cubicBezTo>
                    <a:pt x="11174" y="1122"/>
                    <a:pt x="11242" y="1074"/>
                    <a:pt x="11189" y="1011"/>
                  </a:cubicBezTo>
                  <a:cubicBezTo>
                    <a:pt x="11097" y="823"/>
                    <a:pt x="10914" y="736"/>
                    <a:pt x="10745" y="606"/>
                  </a:cubicBezTo>
                  <a:cubicBezTo>
                    <a:pt x="10591" y="433"/>
                    <a:pt x="10480" y="249"/>
                    <a:pt x="10273" y="163"/>
                  </a:cubicBezTo>
                  <a:cubicBezTo>
                    <a:pt x="10051" y="57"/>
                    <a:pt x="9839" y="71"/>
                    <a:pt x="9603" y="71"/>
                  </a:cubicBezTo>
                  <a:cubicBezTo>
                    <a:pt x="9415" y="71"/>
                    <a:pt x="9232" y="-54"/>
                    <a:pt x="9020" y="28"/>
                  </a:cubicBezTo>
                  <a:cubicBezTo>
                    <a:pt x="8991" y="28"/>
                    <a:pt x="8962" y="71"/>
                    <a:pt x="8904" y="105"/>
                  </a:cubicBezTo>
                  <a:cubicBezTo>
                    <a:pt x="8865" y="105"/>
                    <a:pt x="8812" y="71"/>
                    <a:pt x="8788" y="105"/>
                  </a:cubicBezTo>
                  <a:lnTo>
                    <a:pt x="2237" y="3094"/>
                  </a:lnTo>
                  <a:lnTo>
                    <a:pt x="1205" y="4400"/>
                  </a:lnTo>
                  <a:lnTo>
                    <a:pt x="0" y="10971"/>
                  </a:lnTo>
                  <a:lnTo>
                    <a:pt x="342" y="12383"/>
                  </a:lnTo>
                  <a:lnTo>
                    <a:pt x="1629" y="13102"/>
                  </a:lnTo>
                  <a:lnTo>
                    <a:pt x="8161" y="13699"/>
                  </a:lnTo>
                  <a:cubicBezTo>
                    <a:pt x="8971" y="13762"/>
                    <a:pt x="9738" y="13294"/>
                    <a:pt x="10042" y="12547"/>
                  </a:cubicBezTo>
                  <a:lnTo>
                    <a:pt x="12423" y="6584"/>
                  </a:lnTo>
                  <a:lnTo>
                    <a:pt x="12486" y="5408"/>
                  </a:lnTo>
                  <a:lnTo>
                    <a:pt x="11295" y="1247"/>
                  </a:lnTo>
                  <a:cubicBezTo>
                    <a:pt x="11276" y="1199"/>
                    <a:pt x="11237" y="1199"/>
                    <a:pt x="11189" y="114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77" name="Freihandform: Form 76">
              <a:extLst>
                <a:ext uri="{FF2B5EF4-FFF2-40B4-BE49-F238E27FC236}">
                  <a16:creationId xmlns:a16="http://schemas.microsoft.com/office/drawing/2014/main" id="{150FFD7E-3B60-17AC-AD24-5449DC0198C0}"/>
                </a:ext>
              </a:extLst>
            </p:cNvPr>
            <p:cNvSpPr/>
            <p:nvPr/>
          </p:nvSpPr>
          <p:spPr>
            <a:xfrm>
              <a:off x="6332548" y="1835082"/>
              <a:ext cx="23809" cy="22226"/>
            </a:xfrm>
            <a:custGeom>
              <a:avLst/>
              <a:gdLst>
                <a:gd name="connsiteX0" fmla="*/ 17306 w 18487"/>
                <a:gd name="connsiteY0" fmla="*/ 2690 h 17316"/>
                <a:gd name="connsiteX1" fmla="*/ 15846 w 18487"/>
                <a:gd name="connsiteY1" fmla="*/ 1220 h 17316"/>
                <a:gd name="connsiteX2" fmla="*/ 9294 w 18487"/>
                <a:gd name="connsiteY2" fmla="*/ 39 h 17316"/>
                <a:gd name="connsiteX3" fmla="*/ 7371 w 18487"/>
                <a:gd name="connsiteY3" fmla="*/ 945 h 17316"/>
                <a:gd name="connsiteX4" fmla="*/ 7617 w 18487"/>
                <a:gd name="connsiteY4" fmla="*/ 3028 h 17316"/>
                <a:gd name="connsiteX5" fmla="*/ 10634 w 18487"/>
                <a:gd name="connsiteY5" fmla="*/ 6446 h 17316"/>
                <a:gd name="connsiteX6" fmla="*/ 7087 w 18487"/>
                <a:gd name="connsiteY6" fmla="*/ 7854 h 17316"/>
                <a:gd name="connsiteX7" fmla="*/ 6841 w 18487"/>
                <a:gd name="connsiteY7" fmla="*/ 8003 h 17316"/>
                <a:gd name="connsiteX8" fmla="*/ 897 w 18487"/>
                <a:gd name="connsiteY8" fmla="*/ 11551 h 17316"/>
                <a:gd name="connsiteX9" fmla="*/ 0 w 18487"/>
                <a:gd name="connsiteY9" fmla="*/ 13306 h 17316"/>
                <a:gd name="connsiteX10" fmla="*/ 1171 w 18487"/>
                <a:gd name="connsiteY10" fmla="*/ 14834 h 17316"/>
                <a:gd name="connsiteX11" fmla="*/ 7732 w 18487"/>
                <a:gd name="connsiteY11" fmla="*/ 17215 h 17316"/>
                <a:gd name="connsiteX12" fmla="*/ 8369 w 18487"/>
                <a:gd name="connsiteY12" fmla="*/ 17316 h 17316"/>
                <a:gd name="connsiteX13" fmla="*/ 14308 w 18487"/>
                <a:gd name="connsiteY13" fmla="*/ 17316 h 17316"/>
                <a:gd name="connsiteX14" fmla="*/ 15985 w 18487"/>
                <a:gd name="connsiteY14" fmla="*/ 16198 h 17316"/>
                <a:gd name="connsiteX15" fmla="*/ 18381 w 18487"/>
                <a:gd name="connsiteY15" fmla="*/ 10240 h 17316"/>
                <a:gd name="connsiteX16" fmla="*/ 18488 w 18487"/>
                <a:gd name="connsiteY16" fmla="*/ 9232 h 17316"/>
                <a:gd name="connsiteX17" fmla="*/ 17306 w 18487"/>
                <a:gd name="connsiteY17" fmla="*/ 2690 h 17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487" h="17316">
                  <a:moveTo>
                    <a:pt x="17306" y="2690"/>
                  </a:moveTo>
                  <a:cubicBezTo>
                    <a:pt x="17152" y="1919"/>
                    <a:pt x="16574" y="1355"/>
                    <a:pt x="15846" y="1220"/>
                  </a:cubicBezTo>
                  <a:lnTo>
                    <a:pt x="9294" y="39"/>
                  </a:lnTo>
                  <a:cubicBezTo>
                    <a:pt x="8528" y="-130"/>
                    <a:pt x="7757" y="261"/>
                    <a:pt x="7371" y="945"/>
                  </a:cubicBezTo>
                  <a:lnTo>
                    <a:pt x="7617" y="3028"/>
                  </a:lnTo>
                  <a:lnTo>
                    <a:pt x="10634" y="6446"/>
                  </a:lnTo>
                  <a:lnTo>
                    <a:pt x="7087" y="7854"/>
                  </a:lnTo>
                  <a:lnTo>
                    <a:pt x="6841" y="8003"/>
                  </a:lnTo>
                  <a:lnTo>
                    <a:pt x="897" y="11551"/>
                  </a:lnTo>
                  <a:lnTo>
                    <a:pt x="0" y="13306"/>
                  </a:lnTo>
                  <a:lnTo>
                    <a:pt x="1171" y="14834"/>
                  </a:lnTo>
                  <a:lnTo>
                    <a:pt x="7732" y="17215"/>
                  </a:lnTo>
                  <a:lnTo>
                    <a:pt x="8369" y="17316"/>
                  </a:lnTo>
                  <a:lnTo>
                    <a:pt x="14308" y="17316"/>
                  </a:lnTo>
                  <a:lnTo>
                    <a:pt x="15985" y="16198"/>
                  </a:lnTo>
                  <a:lnTo>
                    <a:pt x="18381" y="10240"/>
                  </a:lnTo>
                  <a:lnTo>
                    <a:pt x="18488" y="9232"/>
                  </a:lnTo>
                  <a:lnTo>
                    <a:pt x="17306" y="269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78" name="Freihandform: Form 77">
              <a:extLst>
                <a:ext uri="{FF2B5EF4-FFF2-40B4-BE49-F238E27FC236}">
                  <a16:creationId xmlns:a16="http://schemas.microsoft.com/office/drawing/2014/main" id="{85621479-E7C8-7AE4-61C4-B129470532F7}"/>
                </a:ext>
              </a:extLst>
            </p:cNvPr>
            <p:cNvSpPr/>
            <p:nvPr/>
          </p:nvSpPr>
          <p:spPr>
            <a:xfrm>
              <a:off x="3827756" y="2789206"/>
              <a:ext cx="12699" cy="11112"/>
            </a:xfrm>
            <a:custGeom>
              <a:avLst/>
              <a:gdLst>
                <a:gd name="connsiteX0" fmla="*/ 9889 w 10188"/>
                <a:gd name="connsiteY0" fmla="*/ 848 h 7804"/>
                <a:gd name="connsiteX1" fmla="*/ 7387 w 10188"/>
                <a:gd name="connsiteY1" fmla="*/ 299 h 7804"/>
                <a:gd name="connsiteX2" fmla="*/ 831 w 10188"/>
                <a:gd name="connsiteY2" fmla="*/ 4454 h 7804"/>
                <a:gd name="connsiteX3" fmla="*/ 291 w 10188"/>
                <a:gd name="connsiteY3" fmla="*/ 6971 h 7804"/>
                <a:gd name="connsiteX4" fmla="*/ 2812 w 10188"/>
                <a:gd name="connsiteY4" fmla="*/ 7511 h 7804"/>
                <a:gd name="connsiteX5" fmla="*/ 9340 w 10188"/>
                <a:gd name="connsiteY5" fmla="*/ 3360 h 7804"/>
                <a:gd name="connsiteX6" fmla="*/ 9889 w 10188"/>
                <a:gd name="connsiteY6" fmla="*/ 848 h 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88" h="7804">
                  <a:moveTo>
                    <a:pt x="9889" y="848"/>
                  </a:moveTo>
                  <a:cubicBezTo>
                    <a:pt x="9349" y="-19"/>
                    <a:pt x="8216" y="-256"/>
                    <a:pt x="7387" y="299"/>
                  </a:cubicBezTo>
                  <a:lnTo>
                    <a:pt x="831" y="4454"/>
                  </a:lnTo>
                  <a:cubicBezTo>
                    <a:pt x="-3" y="4970"/>
                    <a:pt x="-259" y="6122"/>
                    <a:pt x="291" y="6971"/>
                  </a:cubicBezTo>
                  <a:cubicBezTo>
                    <a:pt x="812" y="7814"/>
                    <a:pt x="1959" y="8060"/>
                    <a:pt x="2812" y="7511"/>
                  </a:cubicBezTo>
                  <a:lnTo>
                    <a:pt x="9340" y="3360"/>
                  </a:lnTo>
                  <a:cubicBezTo>
                    <a:pt x="10193" y="2801"/>
                    <a:pt x="10453" y="1678"/>
                    <a:pt x="9889" y="84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79" name="Freihandform: Form 78">
              <a:extLst>
                <a:ext uri="{FF2B5EF4-FFF2-40B4-BE49-F238E27FC236}">
                  <a16:creationId xmlns:a16="http://schemas.microsoft.com/office/drawing/2014/main" id="{00140BAB-0082-E49F-EFBD-1467C6873C5A}"/>
                </a:ext>
              </a:extLst>
            </p:cNvPr>
            <p:cNvSpPr/>
            <p:nvPr/>
          </p:nvSpPr>
          <p:spPr>
            <a:xfrm>
              <a:off x="3911883" y="2870171"/>
              <a:ext cx="6349" cy="11113"/>
            </a:xfrm>
            <a:custGeom>
              <a:avLst/>
              <a:gdLst>
                <a:gd name="connsiteX0" fmla="*/ 2591 w 4235"/>
                <a:gd name="connsiteY0" fmla="*/ 8 h 9591"/>
                <a:gd name="connsiteX1" fmla="*/ 590 w 4235"/>
                <a:gd name="connsiteY1" fmla="*/ 1642 h 9591"/>
                <a:gd name="connsiteX2" fmla="*/ 12 w 4235"/>
                <a:gd name="connsiteY2" fmla="*/ 7576 h 9591"/>
                <a:gd name="connsiteX3" fmla="*/ 1651 w 4235"/>
                <a:gd name="connsiteY3" fmla="*/ 9582 h 9591"/>
                <a:gd name="connsiteX4" fmla="*/ 3632 w 4235"/>
                <a:gd name="connsiteY4" fmla="*/ 7938 h 9591"/>
                <a:gd name="connsiteX5" fmla="*/ 4225 w 4235"/>
                <a:gd name="connsiteY5" fmla="*/ 1999 h 9591"/>
                <a:gd name="connsiteX6" fmla="*/ 2591 w 4235"/>
                <a:gd name="connsiteY6" fmla="*/ 8 h 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 h="9591">
                  <a:moveTo>
                    <a:pt x="2591" y="8"/>
                  </a:moveTo>
                  <a:cubicBezTo>
                    <a:pt x="1598" y="-84"/>
                    <a:pt x="696" y="630"/>
                    <a:pt x="590" y="1642"/>
                  </a:cubicBezTo>
                  <a:lnTo>
                    <a:pt x="12" y="7576"/>
                  </a:lnTo>
                  <a:cubicBezTo>
                    <a:pt x="-104" y="8589"/>
                    <a:pt x="639" y="9456"/>
                    <a:pt x="1651" y="9582"/>
                  </a:cubicBezTo>
                  <a:cubicBezTo>
                    <a:pt x="2634" y="9688"/>
                    <a:pt x="3536" y="8946"/>
                    <a:pt x="3632" y="7938"/>
                  </a:cubicBezTo>
                  <a:lnTo>
                    <a:pt x="4225" y="1999"/>
                  </a:lnTo>
                  <a:cubicBezTo>
                    <a:pt x="4331" y="1025"/>
                    <a:pt x="3603" y="104"/>
                    <a:pt x="2591" y="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80" name="Freihandform: Form 79">
              <a:extLst>
                <a:ext uri="{FF2B5EF4-FFF2-40B4-BE49-F238E27FC236}">
                  <a16:creationId xmlns:a16="http://schemas.microsoft.com/office/drawing/2014/main" id="{E7F48F0A-29C8-99AD-F4A1-19B1A97B5621}"/>
                </a:ext>
              </a:extLst>
            </p:cNvPr>
            <p:cNvSpPr/>
            <p:nvPr/>
          </p:nvSpPr>
          <p:spPr>
            <a:xfrm>
              <a:off x="3899185" y="2884460"/>
              <a:ext cx="11112" cy="23813"/>
            </a:xfrm>
            <a:custGeom>
              <a:avLst/>
              <a:gdLst>
                <a:gd name="connsiteX0" fmla="*/ 7877 w 8782"/>
                <a:gd name="connsiteY0" fmla="*/ 140 h 19080"/>
                <a:gd name="connsiteX1" fmla="*/ 5982 w 8782"/>
                <a:gd name="connsiteY1" fmla="*/ 564 h 19080"/>
                <a:gd name="connsiteX2" fmla="*/ 1374 w 8782"/>
                <a:gd name="connsiteY2" fmla="*/ 6228 h 19080"/>
                <a:gd name="connsiteX3" fmla="*/ 1051 w 8782"/>
                <a:gd name="connsiteY3" fmla="*/ 6898 h 19080"/>
                <a:gd name="connsiteX4" fmla="*/ 10 w 8782"/>
                <a:gd name="connsiteY4" fmla="*/ 12066 h 19080"/>
                <a:gd name="connsiteX5" fmla="*/ 0 w 8782"/>
                <a:gd name="connsiteY5" fmla="*/ 12500 h 19080"/>
                <a:gd name="connsiteX6" fmla="*/ 506 w 8782"/>
                <a:gd name="connsiteY6" fmla="*/ 17653 h 19080"/>
                <a:gd name="connsiteX7" fmla="*/ 757 w 8782"/>
                <a:gd name="connsiteY7" fmla="*/ 18121 h 19080"/>
                <a:gd name="connsiteX8" fmla="*/ 1036 w 8782"/>
                <a:gd name="connsiteY8" fmla="*/ 18661 h 19080"/>
                <a:gd name="connsiteX9" fmla="*/ 1596 w 8782"/>
                <a:gd name="connsiteY9" fmla="*/ 18892 h 19080"/>
                <a:gd name="connsiteX10" fmla="*/ 2073 w 8782"/>
                <a:gd name="connsiteY10" fmla="*/ 19080 h 19080"/>
                <a:gd name="connsiteX11" fmla="*/ 2579 w 8782"/>
                <a:gd name="connsiteY11" fmla="*/ 19080 h 19080"/>
                <a:gd name="connsiteX12" fmla="*/ 3934 w 8782"/>
                <a:gd name="connsiteY12" fmla="*/ 18300 h 19080"/>
                <a:gd name="connsiteX13" fmla="*/ 7029 w 8782"/>
                <a:gd name="connsiteY13" fmla="*/ 13165 h 19080"/>
                <a:gd name="connsiteX14" fmla="*/ 7236 w 8782"/>
                <a:gd name="connsiteY14" fmla="*/ 12505 h 19080"/>
                <a:gd name="connsiteX15" fmla="*/ 7752 w 8782"/>
                <a:gd name="connsiteY15" fmla="*/ 6937 h 19080"/>
                <a:gd name="connsiteX16" fmla="*/ 8759 w 8782"/>
                <a:gd name="connsiteY16" fmla="*/ 1909 h 19080"/>
                <a:gd name="connsiteX17" fmla="*/ 7877 w 8782"/>
                <a:gd name="connsiteY17" fmla="*/ 140 h 19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82" h="19080">
                  <a:moveTo>
                    <a:pt x="7877" y="140"/>
                  </a:moveTo>
                  <a:cubicBezTo>
                    <a:pt x="7231" y="-154"/>
                    <a:pt x="6455" y="29"/>
                    <a:pt x="5982" y="564"/>
                  </a:cubicBezTo>
                  <a:lnTo>
                    <a:pt x="1374" y="6228"/>
                  </a:lnTo>
                  <a:lnTo>
                    <a:pt x="1051" y="6898"/>
                  </a:lnTo>
                  <a:lnTo>
                    <a:pt x="10" y="12066"/>
                  </a:lnTo>
                  <a:lnTo>
                    <a:pt x="0" y="12500"/>
                  </a:lnTo>
                  <a:lnTo>
                    <a:pt x="506" y="17653"/>
                  </a:lnTo>
                  <a:cubicBezTo>
                    <a:pt x="516" y="17880"/>
                    <a:pt x="680" y="17962"/>
                    <a:pt x="757" y="18121"/>
                  </a:cubicBezTo>
                  <a:cubicBezTo>
                    <a:pt x="853" y="18300"/>
                    <a:pt x="877" y="18521"/>
                    <a:pt x="1036" y="18661"/>
                  </a:cubicBezTo>
                  <a:cubicBezTo>
                    <a:pt x="1191" y="18772"/>
                    <a:pt x="1403" y="18801"/>
                    <a:pt x="1596" y="18892"/>
                  </a:cubicBezTo>
                  <a:cubicBezTo>
                    <a:pt x="1755" y="18941"/>
                    <a:pt x="1890" y="19080"/>
                    <a:pt x="2073" y="19080"/>
                  </a:cubicBezTo>
                  <a:lnTo>
                    <a:pt x="2579" y="19080"/>
                  </a:lnTo>
                  <a:lnTo>
                    <a:pt x="3934" y="18300"/>
                  </a:lnTo>
                  <a:lnTo>
                    <a:pt x="7029" y="13165"/>
                  </a:lnTo>
                  <a:lnTo>
                    <a:pt x="7236" y="12505"/>
                  </a:lnTo>
                  <a:lnTo>
                    <a:pt x="7752" y="6937"/>
                  </a:lnTo>
                  <a:lnTo>
                    <a:pt x="8759" y="1909"/>
                  </a:lnTo>
                  <a:cubicBezTo>
                    <a:pt x="8880" y="1186"/>
                    <a:pt x="8528" y="477"/>
                    <a:pt x="7877" y="14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81" name="Freihandform: Form 80">
              <a:extLst>
                <a:ext uri="{FF2B5EF4-FFF2-40B4-BE49-F238E27FC236}">
                  <a16:creationId xmlns:a16="http://schemas.microsoft.com/office/drawing/2014/main" id="{A9E86513-40C0-F46A-EA32-CF402C8E9FA2}"/>
                </a:ext>
              </a:extLst>
            </p:cNvPr>
            <p:cNvSpPr/>
            <p:nvPr/>
          </p:nvSpPr>
          <p:spPr>
            <a:xfrm>
              <a:off x="3902359" y="2909861"/>
              <a:ext cx="11112" cy="12700"/>
            </a:xfrm>
            <a:custGeom>
              <a:avLst/>
              <a:gdLst>
                <a:gd name="connsiteX0" fmla="*/ 8547 w 9318"/>
                <a:gd name="connsiteY0" fmla="*/ 4165 h 9218"/>
                <a:gd name="connsiteX1" fmla="*/ 2598 w 9318"/>
                <a:gd name="connsiteY1" fmla="*/ 0 h 9218"/>
                <a:gd name="connsiteX2" fmla="*/ 309 w 9318"/>
                <a:gd name="connsiteY2" fmla="*/ 164 h 9218"/>
                <a:gd name="connsiteX3" fmla="*/ 0 w 9318"/>
                <a:gd name="connsiteY3" fmla="*/ 2454 h 9218"/>
                <a:gd name="connsiteX4" fmla="*/ 3562 w 9318"/>
                <a:gd name="connsiteY4" fmla="*/ 8388 h 9218"/>
                <a:gd name="connsiteX5" fmla="*/ 3659 w 9318"/>
                <a:gd name="connsiteY5" fmla="*/ 8427 h 9218"/>
                <a:gd name="connsiteX6" fmla="*/ 3683 w 9318"/>
                <a:gd name="connsiteY6" fmla="*/ 8571 h 9218"/>
                <a:gd name="connsiteX7" fmla="*/ 4223 w 9318"/>
                <a:gd name="connsiteY7" fmla="*/ 8866 h 9218"/>
                <a:gd name="connsiteX8" fmla="*/ 4787 w 9318"/>
                <a:gd name="connsiteY8" fmla="*/ 9203 h 9218"/>
                <a:gd name="connsiteX9" fmla="*/ 5476 w 9318"/>
                <a:gd name="connsiteY9" fmla="*/ 9121 h 9218"/>
                <a:gd name="connsiteX10" fmla="*/ 6050 w 9318"/>
                <a:gd name="connsiteY10" fmla="*/ 9044 h 9218"/>
                <a:gd name="connsiteX11" fmla="*/ 6089 w 9318"/>
                <a:gd name="connsiteY11" fmla="*/ 8933 h 9218"/>
                <a:gd name="connsiteX12" fmla="*/ 6195 w 9318"/>
                <a:gd name="connsiteY12" fmla="*/ 8933 h 9218"/>
                <a:gd name="connsiteX13" fmla="*/ 8605 w 9318"/>
                <a:gd name="connsiteY13" fmla="*/ 7125 h 9218"/>
                <a:gd name="connsiteX14" fmla="*/ 9318 w 9318"/>
                <a:gd name="connsiteY14" fmla="*/ 5650 h 9218"/>
                <a:gd name="connsiteX15" fmla="*/ 8547 w 9318"/>
                <a:gd name="connsiteY15" fmla="*/ 4165 h 9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318" h="9218">
                  <a:moveTo>
                    <a:pt x="8547" y="4165"/>
                  </a:moveTo>
                  <a:lnTo>
                    <a:pt x="2598" y="0"/>
                  </a:lnTo>
                  <a:lnTo>
                    <a:pt x="309" y="164"/>
                  </a:lnTo>
                  <a:lnTo>
                    <a:pt x="0" y="2454"/>
                  </a:lnTo>
                  <a:lnTo>
                    <a:pt x="3562" y="8388"/>
                  </a:lnTo>
                  <a:cubicBezTo>
                    <a:pt x="3582" y="8403"/>
                    <a:pt x="3654" y="8403"/>
                    <a:pt x="3659" y="8427"/>
                  </a:cubicBezTo>
                  <a:cubicBezTo>
                    <a:pt x="3683" y="8494"/>
                    <a:pt x="3659" y="8514"/>
                    <a:pt x="3683" y="8571"/>
                  </a:cubicBezTo>
                  <a:cubicBezTo>
                    <a:pt x="3808" y="8735"/>
                    <a:pt x="4040" y="8755"/>
                    <a:pt x="4223" y="8866"/>
                  </a:cubicBezTo>
                  <a:cubicBezTo>
                    <a:pt x="4396" y="8986"/>
                    <a:pt x="4570" y="9164"/>
                    <a:pt x="4787" y="9203"/>
                  </a:cubicBezTo>
                  <a:cubicBezTo>
                    <a:pt x="5009" y="9261"/>
                    <a:pt x="5230" y="9140"/>
                    <a:pt x="5476" y="9121"/>
                  </a:cubicBezTo>
                  <a:cubicBezTo>
                    <a:pt x="5669" y="9068"/>
                    <a:pt x="5881" y="9121"/>
                    <a:pt x="6050" y="9044"/>
                  </a:cubicBezTo>
                  <a:cubicBezTo>
                    <a:pt x="6089" y="8986"/>
                    <a:pt x="6089" y="8957"/>
                    <a:pt x="6089" y="8933"/>
                  </a:cubicBezTo>
                  <a:cubicBezTo>
                    <a:pt x="6142" y="8933"/>
                    <a:pt x="6190" y="8933"/>
                    <a:pt x="6195" y="8933"/>
                  </a:cubicBezTo>
                  <a:lnTo>
                    <a:pt x="8605" y="7125"/>
                  </a:lnTo>
                  <a:lnTo>
                    <a:pt x="9318" y="5650"/>
                  </a:lnTo>
                  <a:lnTo>
                    <a:pt x="8547" y="416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82" name="Freihandform: Form 81">
              <a:extLst>
                <a:ext uri="{FF2B5EF4-FFF2-40B4-BE49-F238E27FC236}">
                  <a16:creationId xmlns:a16="http://schemas.microsoft.com/office/drawing/2014/main" id="{46F2F8AC-16AB-6B21-CCB6-265BD6CBE239}"/>
                </a:ext>
              </a:extLst>
            </p:cNvPr>
            <p:cNvSpPr/>
            <p:nvPr/>
          </p:nvSpPr>
          <p:spPr>
            <a:xfrm>
              <a:off x="3838867" y="2941612"/>
              <a:ext cx="14286" cy="6350"/>
            </a:xfrm>
            <a:custGeom>
              <a:avLst/>
              <a:gdLst>
                <a:gd name="connsiteX0" fmla="*/ 9389 w 10151"/>
                <a:gd name="connsiteY0" fmla="*/ 299 h 4815"/>
                <a:gd name="connsiteX1" fmla="*/ 8040 w 10151"/>
                <a:gd name="connsiteY1" fmla="*/ 0 h 4815"/>
                <a:gd name="connsiteX2" fmla="*/ 1488 w 10151"/>
                <a:gd name="connsiteY2" fmla="*/ 1205 h 4815"/>
                <a:gd name="connsiteX3" fmla="*/ 28 w 10151"/>
                <a:gd name="connsiteY3" fmla="*/ 3307 h 4815"/>
                <a:gd name="connsiteX4" fmla="*/ 2144 w 10151"/>
                <a:gd name="connsiteY4" fmla="*/ 4782 h 4815"/>
                <a:gd name="connsiteX5" fmla="*/ 8671 w 10151"/>
                <a:gd name="connsiteY5" fmla="*/ 3601 h 4815"/>
                <a:gd name="connsiteX6" fmla="*/ 9876 w 10151"/>
                <a:gd name="connsiteY6" fmla="*/ 2849 h 4815"/>
                <a:gd name="connsiteX7" fmla="*/ 10151 w 10151"/>
                <a:gd name="connsiteY7" fmla="*/ 1490 h 4815"/>
                <a:gd name="connsiteX8" fmla="*/ 9389 w 10151"/>
                <a:gd name="connsiteY8" fmla="*/ 299 h 4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51" h="4815">
                  <a:moveTo>
                    <a:pt x="9389" y="299"/>
                  </a:moveTo>
                  <a:lnTo>
                    <a:pt x="8040" y="0"/>
                  </a:lnTo>
                  <a:lnTo>
                    <a:pt x="1488" y="1205"/>
                  </a:lnTo>
                  <a:cubicBezTo>
                    <a:pt x="515" y="1364"/>
                    <a:pt x="-146" y="2333"/>
                    <a:pt x="28" y="3307"/>
                  </a:cubicBezTo>
                  <a:cubicBezTo>
                    <a:pt x="192" y="4319"/>
                    <a:pt x="1161" y="4975"/>
                    <a:pt x="2144" y="4782"/>
                  </a:cubicBezTo>
                  <a:lnTo>
                    <a:pt x="8671" y="3601"/>
                  </a:lnTo>
                  <a:lnTo>
                    <a:pt x="9876" y="2849"/>
                  </a:lnTo>
                  <a:lnTo>
                    <a:pt x="10151" y="1490"/>
                  </a:lnTo>
                  <a:lnTo>
                    <a:pt x="9389" y="29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83" name="Freihandform: Form 82">
              <a:extLst>
                <a:ext uri="{FF2B5EF4-FFF2-40B4-BE49-F238E27FC236}">
                  <a16:creationId xmlns:a16="http://schemas.microsoft.com/office/drawing/2014/main" id="{A3E0664D-DA1A-A4BE-F91D-4ABD0D021D3F}"/>
                </a:ext>
              </a:extLst>
            </p:cNvPr>
            <p:cNvSpPr/>
            <p:nvPr/>
          </p:nvSpPr>
          <p:spPr>
            <a:xfrm>
              <a:off x="3813469" y="3005114"/>
              <a:ext cx="25397" cy="23813"/>
            </a:xfrm>
            <a:custGeom>
              <a:avLst/>
              <a:gdLst>
                <a:gd name="connsiteX0" fmla="*/ 19344 w 20188"/>
                <a:gd name="connsiteY0" fmla="*/ 116 h 17651"/>
                <a:gd name="connsiteX1" fmla="*/ 17638 w 20188"/>
                <a:gd name="connsiteY1" fmla="*/ 0 h 17651"/>
                <a:gd name="connsiteX2" fmla="*/ 11096 w 20188"/>
                <a:gd name="connsiteY2" fmla="*/ 2984 h 17651"/>
                <a:gd name="connsiteX3" fmla="*/ 10706 w 20188"/>
                <a:gd name="connsiteY3" fmla="*/ 3211 h 17651"/>
                <a:gd name="connsiteX4" fmla="*/ 4728 w 20188"/>
                <a:gd name="connsiteY4" fmla="*/ 7964 h 17651"/>
                <a:gd name="connsiteX5" fmla="*/ 4371 w 20188"/>
                <a:gd name="connsiteY5" fmla="*/ 8422 h 17651"/>
                <a:gd name="connsiteX6" fmla="*/ 201 w 20188"/>
                <a:gd name="connsiteY6" fmla="*/ 14968 h 17651"/>
                <a:gd name="connsiteX7" fmla="*/ 168 w 20188"/>
                <a:gd name="connsiteY7" fmla="*/ 15132 h 17651"/>
                <a:gd name="connsiteX8" fmla="*/ 33 w 20188"/>
                <a:gd name="connsiteY8" fmla="*/ 15812 h 17651"/>
                <a:gd name="connsiteX9" fmla="*/ 42 w 20188"/>
                <a:gd name="connsiteY9" fmla="*/ 16472 h 17651"/>
                <a:gd name="connsiteX10" fmla="*/ 42 w 20188"/>
                <a:gd name="connsiteY10" fmla="*/ 16665 h 17651"/>
                <a:gd name="connsiteX11" fmla="*/ 447 w 20188"/>
                <a:gd name="connsiteY11" fmla="*/ 17046 h 17651"/>
                <a:gd name="connsiteX12" fmla="*/ 741 w 20188"/>
                <a:gd name="connsiteY12" fmla="*/ 17470 h 17651"/>
                <a:gd name="connsiteX13" fmla="*/ 920 w 20188"/>
                <a:gd name="connsiteY13" fmla="*/ 17509 h 17651"/>
                <a:gd name="connsiteX14" fmla="*/ 1571 w 20188"/>
                <a:gd name="connsiteY14" fmla="*/ 17615 h 17651"/>
                <a:gd name="connsiteX15" fmla="*/ 2245 w 20188"/>
                <a:gd name="connsiteY15" fmla="*/ 17615 h 17651"/>
                <a:gd name="connsiteX16" fmla="*/ 2433 w 20188"/>
                <a:gd name="connsiteY16" fmla="*/ 17615 h 17651"/>
                <a:gd name="connsiteX17" fmla="*/ 6555 w 20188"/>
                <a:gd name="connsiteY17" fmla="*/ 15831 h 17651"/>
                <a:gd name="connsiteX18" fmla="*/ 13034 w 20188"/>
                <a:gd name="connsiteY18" fmla="*/ 13488 h 17651"/>
                <a:gd name="connsiteX19" fmla="*/ 13372 w 20188"/>
                <a:gd name="connsiteY19" fmla="*/ 13315 h 17651"/>
                <a:gd name="connsiteX20" fmla="*/ 19311 w 20188"/>
                <a:gd name="connsiteY20" fmla="*/ 9771 h 17651"/>
                <a:gd name="connsiteX21" fmla="*/ 20188 w 20188"/>
                <a:gd name="connsiteY21" fmla="*/ 8210 h 17651"/>
                <a:gd name="connsiteX22" fmla="*/ 20188 w 20188"/>
                <a:gd name="connsiteY22" fmla="*/ 1678 h 17651"/>
                <a:gd name="connsiteX23" fmla="*/ 19344 w 20188"/>
                <a:gd name="connsiteY23" fmla="*/ 116 h 17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188" h="17651">
                  <a:moveTo>
                    <a:pt x="19344" y="116"/>
                  </a:moveTo>
                  <a:lnTo>
                    <a:pt x="17638" y="0"/>
                  </a:lnTo>
                  <a:lnTo>
                    <a:pt x="11096" y="2984"/>
                  </a:lnTo>
                  <a:lnTo>
                    <a:pt x="10706" y="3211"/>
                  </a:lnTo>
                  <a:lnTo>
                    <a:pt x="4728" y="7964"/>
                  </a:lnTo>
                  <a:lnTo>
                    <a:pt x="4371" y="8422"/>
                  </a:lnTo>
                  <a:lnTo>
                    <a:pt x="201" y="14968"/>
                  </a:lnTo>
                  <a:cubicBezTo>
                    <a:pt x="144" y="15021"/>
                    <a:pt x="182" y="15069"/>
                    <a:pt x="168" y="15132"/>
                  </a:cubicBezTo>
                  <a:cubicBezTo>
                    <a:pt x="47" y="15340"/>
                    <a:pt x="57" y="15571"/>
                    <a:pt x="33" y="15812"/>
                  </a:cubicBezTo>
                  <a:cubicBezTo>
                    <a:pt x="13" y="16024"/>
                    <a:pt x="-35" y="16250"/>
                    <a:pt x="42" y="16472"/>
                  </a:cubicBezTo>
                  <a:cubicBezTo>
                    <a:pt x="66" y="16549"/>
                    <a:pt x="33" y="16602"/>
                    <a:pt x="42" y="16665"/>
                  </a:cubicBezTo>
                  <a:cubicBezTo>
                    <a:pt x="119" y="16853"/>
                    <a:pt x="317" y="16906"/>
                    <a:pt x="447" y="17046"/>
                  </a:cubicBezTo>
                  <a:cubicBezTo>
                    <a:pt x="558" y="17181"/>
                    <a:pt x="573" y="17393"/>
                    <a:pt x="741" y="17470"/>
                  </a:cubicBezTo>
                  <a:cubicBezTo>
                    <a:pt x="814" y="17509"/>
                    <a:pt x="852" y="17470"/>
                    <a:pt x="920" y="17509"/>
                  </a:cubicBezTo>
                  <a:cubicBezTo>
                    <a:pt x="1122" y="17615"/>
                    <a:pt x="1320" y="17591"/>
                    <a:pt x="1571" y="17615"/>
                  </a:cubicBezTo>
                  <a:cubicBezTo>
                    <a:pt x="1807" y="17625"/>
                    <a:pt x="2019" y="17692"/>
                    <a:pt x="2245" y="17615"/>
                  </a:cubicBezTo>
                  <a:cubicBezTo>
                    <a:pt x="2337" y="17591"/>
                    <a:pt x="2371" y="17625"/>
                    <a:pt x="2433" y="17615"/>
                  </a:cubicBezTo>
                  <a:lnTo>
                    <a:pt x="6555" y="15831"/>
                  </a:lnTo>
                  <a:lnTo>
                    <a:pt x="13034" y="13488"/>
                  </a:lnTo>
                  <a:lnTo>
                    <a:pt x="13372" y="13315"/>
                  </a:lnTo>
                  <a:lnTo>
                    <a:pt x="19311" y="9771"/>
                  </a:lnTo>
                  <a:lnTo>
                    <a:pt x="20188" y="8210"/>
                  </a:lnTo>
                  <a:lnTo>
                    <a:pt x="20188" y="1678"/>
                  </a:lnTo>
                  <a:lnTo>
                    <a:pt x="19344" y="11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84" name="Freihandform: Form 83">
              <a:extLst>
                <a:ext uri="{FF2B5EF4-FFF2-40B4-BE49-F238E27FC236}">
                  <a16:creationId xmlns:a16="http://schemas.microsoft.com/office/drawing/2014/main" id="{EFE2A0F5-C67D-38EF-0228-2BB81B159B8F}"/>
                </a:ext>
              </a:extLst>
            </p:cNvPr>
            <p:cNvSpPr/>
            <p:nvPr/>
          </p:nvSpPr>
          <p:spPr>
            <a:xfrm>
              <a:off x="3783311" y="3024165"/>
              <a:ext cx="26984" cy="17463"/>
            </a:xfrm>
            <a:custGeom>
              <a:avLst/>
              <a:gdLst>
                <a:gd name="connsiteX0" fmla="*/ 8814 w 21878"/>
                <a:gd name="connsiteY0" fmla="*/ 13826 h 14724"/>
                <a:gd name="connsiteX1" fmla="*/ 9715 w 21878"/>
                <a:gd name="connsiteY1" fmla="*/ 11560 h 14724"/>
                <a:gd name="connsiteX2" fmla="*/ 14951 w 21878"/>
                <a:gd name="connsiteY2" fmla="*/ 9468 h 14724"/>
                <a:gd name="connsiteX3" fmla="*/ 15548 w 21878"/>
                <a:gd name="connsiteY3" fmla="*/ 9068 h 14724"/>
                <a:gd name="connsiteX4" fmla="*/ 21497 w 21878"/>
                <a:gd name="connsiteY4" fmla="*/ 3119 h 14724"/>
                <a:gd name="connsiteX5" fmla="*/ 21878 w 21878"/>
                <a:gd name="connsiteY5" fmla="*/ 1133 h 14724"/>
                <a:gd name="connsiteX6" fmla="*/ 20200 w 21878"/>
                <a:gd name="connsiteY6" fmla="*/ 0 h 14724"/>
                <a:gd name="connsiteX7" fmla="*/ 14228 w 21878"/>
                <a:gd name="connsiteY7" fmla="*/ 0 h 14724"/>
                <a:gd name="connsiteX8" fmla="*/ 13909 w 21878"/>
                <a:gd name="connsiteY8" fmla="*/ 39 h 14724"/>
                <a:gd name="connsiteX9" fmla="*/ 7946 w 21878"/>
                <a:gd name="connsiteY9" fmla="*/ 1229 h 14724"/>
                <a:gd name="connsiteX10" fmla="*/ 5738 w 21878"/>
                <a:gd name="connsiteY10" fmla="*/ 14366 h 14724"/>
                <a:gd name="connsiteX11" fmla="*/ 8814 w 21878"/>
                <a:gd name="connsiteY11" fmla="*/ 13826 h 1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78" h="14724">
                  <a:moveTo>
                    <a:pt x="8814" y="13826"/>
                  </a:moveTo>
                  <a:lnTo>
                    <a:pt x="9715" y="11560"/>
                  </a:lnTo>
                  <a:lnTo>
                    <a:pt x="14951" y="9468"/>
                  </a:lnTo>
                  <a:lnTo>
                    <a:pt x="15548" y="9068"/>
                  </a:lnTo>
                  <a:lnTo>
                    <a:pt x="21497" y="3119"/>
                  </a:lnTo>
                  <a:lnTo>
                    <a:pt x="21878" y="1133"/>
                  </a:lnTo>
                  <a:lnTo>
                    <a:pt x="20200" y="0"/>
                  </a:lnTo>
                  <a:lnTo>
                    <a:pt x="14228" y="0"/>
                  </a:lnTo>
                  <a:lnTo>
                    <a:pt x="13909" y="39"/>
                  </a:lnTo>
                  <a:lnTo>
                    <a:pt x="7946" y="1229"/>
                  </a:lnTo>
                  <a:cubicBezTo>
                    <a:pt x="-2052" y="6706"/>
                    <a:pt x="-2418" y="6296"/>
                    <a:pt x="5738" y="14366"/>
                  </a:cubicBezTo>
                  <a:cubicBezTo>
                    <a:pt x="5743" y="14366"/>
                    <a:pt x="7479" y="15460"/>
                    <a:pt x="8814" y="1382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85" name="Freihandform: Form 84">
              <a:extLst>
                <a:ext uri="{FF2B5EF4-FFF2-40B4-BE49-F238E27FC236}">
                  <a16:creationId xmlns:a16="http://schemas.microsoft.com/office/drawing/2014/main" id="{22EF71DC-78C9-59B7-BD3D-0FF1F92124AB}"/>
                </a:ext>
              </a:extLst>
            </p:cNvPr>
            <p:cNvSpPr/>
            <p:nvPr/>
          </p:nvSpPr>
          <p:spPr>
            <a:xfrm>
              <a:off x="3900773" y="3084492"/>
              <a:ext cx="4761" cy="12700"/>
            </a:xfrm>
            <a:custGeom>
              <a:avLst/>
              <a:gdLst>
                <a:gd name="connsiteX0" fmla="*/ 2520 w 4241"/>
                <a:gd name="connsiteY0" fmla="*/ 1 h 10193"/>
                <a:gd name="connsiteX1" fmla="*/ 626 w 4241"/>
                <a:gd name="connsiteY1" fmla="*/ 1694 h 10193"/>
                <a:gd name="connsiteX2" fmla="*/ 9 w 4241"/>
                <a:gd name="connsiteY2" fmla="*/ 8221 h 10193"/>
                <a:gd name="connsiteX3" fmla="*/ 558 w 4241"/>
                <a:gd name="connsiteY3" fmla="*/ 9575 h 10193"/>
                <a:gd name="connsiteX4" fmla="*/ 558 w 4241"/>
                <a:gd name="connsiteY4" fmla="*/ 9677 h 10193"/>
                <a:gd name="connsiteX5" fmla="*/ 650 w 4241"/>
                <a:gd name="connsiteY5" fmla="*/ 9677 h 10193"/>
                <a:gd name="connsiteX6" fmla="*/ 1667 w 4241"/>
                <a:gd name="connsiteY6" fmla="*/ 10187 h 10193"/>
                <a:gd name="connsiteX7" fmla="*/ 3041 w 4241"/>
                <a:gd name="connsiteY7" fmla="*/ 9677 h 10193"/>
                <a:gd name="connsiteX8" fmla="*/ 3099 w 4241"/>
                <a:gd name="connsiteY8" fmla="*/ 9677 h 10193"/>
                <a:gd name="connsiteX9" fmla="*/ 3692 w 4241"/>
                <a:gd name="connsiteY9" fmla="*/ 9084 h 10193"/>
                <a:gd name="connsiteX10" fmla="*/ 4241 w 4241"/>
                <a:gd name="connsiteY10" fmla="*/ 7787 h 10193"/>
                <a:gd name="connsiteX11" fmla="*/ 4241 w 4241"/>
                <a:gd name="connsiteY11" fmla="*/ 1829 h 10193"/>
                <a:gd name="connsiteX12" fmla="*/ 2520 w 4241"/>
                <a:gd name="connsiteY12" fmla="*/ 1 h 1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41" h="10193">
                  <a:moveTo>
                    <a:pt x="2520" y="1"/>
                  </a:moveTo>
                  <a:cubicBezTo>
                    <a:pt x="1542" y="-37"/>
                    <a:pt x="703" y="696"/>
                    <a:pt x="626" y="1694"/>
                  </a:cubicBezTo>
                  <a:lnTo>
                    <a:pt x="9" y="8221"/>
                  </a:lnTo>
                  <a:cubicBezTo>
                    <a:pt x="-49" y="8741"/>
                    <a:pt x="182" y="9233"/>
                    <a:pt x="558" y="9575"/>
                  </a:cubicBezTo>
                  <a:lnTo>
                    <a:pt x="558" y="9677"/>
                  </a:lnTo>
                  <a:lnTo>
                    <a:pt x="650" y="9677"/>
                  </a:lnTo>
                  <a:cubicBezTo>
                    <a:pt x="949" y="9927"/>
                    <a:pt x="1262" y="10159"/>
                    <a:pt x="1667" y="10187"/>
                  </a:cubicBezTo>
                  <a:cubicBezTo>
                    <a:pt x="2212" y="10231"/>
                    <a:pt x="2679" y="10024"/>
                    <a:pt x="3041" y="9677"/>
                  </a:cubicBezTo>
                  <a:lnTo>
                    <a:pt x="3099" y="9677"/>
                  </a:lnTo>
                  <a:lnTo>
                    <a:pt x="3692" y="9084"/>
                  </a:lnTo>
                  <a:lnTo>
                    <a:pt x="4241" y="7787"/>
                  </a:lnTo>
                  <a:lnTo>
                    <a:pt x="4241" y="1829"/>
                  </a:lnTo>
                  <a:cubicBezTo>
                    <a:pt x="4232" y="859"/>
                    <a:pt x="3489" y="74"/>
                    <a:pt x="2520" y="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86" name="Freihandform: Form 85">
              <a:extLst>
                <a:ext uri="{FF2B5EF4-FFF2-40B4-BE49-F238E27FC236}">
                  <a16:creationId xmlns:a16="http://schemas.microsoft.com/office/drawing/2014/main" id="{8BFF1E12-C4D4-F98E-BA5F-BE7FD2C0A155}"/>
                </a:ext>
              </a:extLst>
            </p:cNvPr>
            <p:cNvSpPr/>
            <p:nvPr/>
          </p:nvSpPr>
          <p:spPr>
            <a:xfrm>
              <a:off x="3896010" y="3098780"/>
              <a:ext cx="4762" cy="11113"/>
            </a:xfrm>
            <a:custGeom>
              <a:avLst/>
              <a:gdLst>
                <a:gd name="connsiteX0" fmla="*/ 2507 w 4232"/>
                <a:gd name="connsiteY0" fmla="*/ 2 h 9581"/>
                <a:gd name="connsiteX1" fmla="*/ 603 w 4232"/>
                <a:gd name="connsiteY1" fmla="*/ 1617 h 9581"/>
                <a:gd name="connsiteX2" fmla="*/ 0 w 4232"/>
                <a:gd name="connsiteY2" fmla="*/ 7585 h 9581"/>
                <a:gd name="connsiteX3" fmla="*/ 19 w 4232"/>
                <a:gd name="connsiteY3" fmla="*/ 7691 h 9581"/>
                <a:gd name="connsiteX4" fmla="*/ 0 w 4232"/>
                <a:gd name="connsiteY4" fmla="*/ 7773 h 9581"/>
                <a:gd name="connsiteX5" fmla="*/ 246 w 4232"/>
                <a:gd name="connsiteY5" fmla="*/ 8352 h 9581"/>
                <a:gd name="connsiteX6" fmla="*/ 501 w 4232"/>
                <a:gd name="connsiteY6" fmla="*/ 8954 h 9581"/>
                <a:gd name="connsiteX7" fmla="*/ 1114 w 4232"/>
                <a:gd name="connsiteY7" fmla="*/ 9311 h 9581"/>
                <a:gd name="connsiteX8" fmla="*/ 1634 w 4232"/>
                <a:gd name="connsiteY8" fmla="*/ 9581 h 9581"/>
                <a:gd name="connsiteX9" fmla="*/ 1745 w 4232"/>
                <a:gd name="connsiteY9" fmla="*/ 9538 h 9581"/>
                <a:gd name="connsiteX10" fmla="*/ 1808 w 4232"/>
                <a:gd name="connsiteY10" fmla="*/ 9581 h 9581"/>
                <a:gd name="connsiteX11" fmla="*/ 2420 w 4232"/>
                <a:gd name="connsiteY11" fmla="*/ 9581 h 9581"/>
                <a:gd name="connsiteX12" fmla="*/ 3697 w 4232"/>
                <a:gd name="connsiteY12" fmla="*/ 9065 h 9581"/>
                <a:gd name="connsiteX13" fmla="*/ 4233 w 4232"/>
                <a:gd name="connsiteY13" fmla="*/ 7769 h 9581"/>
                <a:gd name="connsiteX14" fmla="*/ 4233 w 4232"/>
                <a:gd name="connsiteY14" fmla="*/ 1815 h 9581"/>
                <a:gd name="connsiteX15" fmla="*/ 2507 w 4232"/>
                <a:gd name="connsiteY15" fmla="*/ 2 h 9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32" h="9581">
                  <a:moveTo>
                    <a:pt x="2507" y="2"/>
                  </a:moveTo>
                  <a:cubicBezTo>
                    <a:pt x="1557" y="-46"/>
                    <a:pt x="713" y="663"/>
                    <a:pt x="603" y="1617"/>
                  </a:cubicBezTo>
                  <a:lnTo>
                    <a:pt x="0" y="7585"/>
                  </a:lnTo>
                  <a:cubicBezTo>
                    <a:pt x="0" y="7624"/>
                    <a:pt x="19" y="7639"/>
                    <a:pt x="19" y="7691"/>
                  </a:cubicBezTo>
                  <a:cubicBezTo>
                    <a:pt x="19" y="7711"/>
                    <a:pt x="0" y="7711"/>
                    <a:pt x="0" y="7773"/>
                  </a:cubicBezTo>
                  <a:cubicBezTo>
                    <a:pt x="0" y="7957"/>
                    <a:pt x="164" y="8125"/>
                    <a:pt x="246" y="8352"/>
                  </a:cubicBezTo>
                  <a:cubicBezTo>
                    <a:pt x="337" y="8569"/>
                    <a:pt x="337" y="8786"/>
                    <a:pt x="501" y="8954"/>
                  </a:cubicBezTo>
                  <a:cubicBezTo>
                    <a:pt x="646" y="9147"/>
                    <a:pt x="887" y="9186"/>
                    <a:pt x="1114" y="9311"/>
                  </a:cubicBezTo>
                  <a:cubicBezTo>
                    <a:pt x="1297" y="9379"/>
                    <a:pt x="1427" y="9538"/>
                    <a:pt x="1634" y="9581"/>
                  </a:cubicBezTo>
                  <a:cubicBezTo>
                    <a:pt x="1682" y="9581"/>
                    <a:pt x="1697" y="9538"/>
                    <a:pt x="1745" y="9538"/>
                  </a:cubicBezTo>
                  <a:cubicBezTo>
                    <a:pt x="1750" y="9538"/>
                    <a:pt x="1784" y="9581"/>
                    <a:pt x="1808" y="9581"/>
                  </a:cubicBezTo>
                  <a:lnTo>
                    <a:pt x="2420" y="9581"/>
                  </a:lnTo>
                  <a:lnTo>
                    <a:pt x="3697" y="9065"/>
                  </a:lnTo>
                  <a:lnTo>
                    <a:pt x="4233" y="7769"/>
                  </a:lnTo>
                  <a:lnTo>
                    <a:pt x="4233" y="1815"/>
                  </a:lnTo>
                  <a:cubicBezTo>
                    <a:pt x="4237" y="856"/>
                    <a:pt x="3485" y="31"/>
                    <a:pt x="2507" y="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87" name="Freihandform: Form 86">
              <a:extLst>
                <a:ext uri="{FF2B5EF4-FFF2-40B4-BE49-F238E27FC236}">
                  <a16:creationId xmlns:a16="http://schemas.microsoft.com/office/drawing/2014/main" id="{64949ED0-55F4-FC6F-AF5D-1405E8CBE542}"/>
                </a:ext>
              </a:extLst>
            </p:cNvPr>
            <p:cNvSpPr/>
            <p:nvPr/>
          </p:nvSpPr>
          <p:spPr>
            <a:xfrm>
              <a:off x="3842041" y="3109893"/>
              <a:ext cx="50794" cy="60327"/>
            </a:xfrm>
            <a:custGeom>
              <a:avLst/>
              <a:gdLst>
                <a:gd name="connsiteX0" fmla="*/ 38426 w 39351"/>
                <a:gd name="connsiteY0" fmla="*/ 0 h 46759"/>
                <a:gd name="connsiteX1" fmla="*/ 36594 w 39351"/>
                <a:gd name="connsiteY1" fmla="*/ 0 h 46759"/>
                <a:gd name="connsiteX2" fmla="*/ 24745 w 39351"/>
                <a:gd name="connsiteY2" fmla="*/ 7115 h 46759"/>
                <a:gd name="connsiteX3" fmla="*/ 18863 w 39351"/>
                <a:gd name="connsiteY3" fmla="*/ 10075 h 46759"/>
                <a:gd name="connsiteX4" fmla="*/ 18516 w 39351"/>
                <a:gd name="connsiteY4" fmla="*/ 10268 h 46759"/>
                <a:gd name="connsiteX5" fmla="*/ 11965 w 39351"/>
                <a:gd name="connsiteY5" fmla="*/ 15629 h 46759"/>
                <a:gd name="connsiteX6" fmla="*/ 11406 w 39351"/>
                <a:gd name="connsiteY6" fmla="*/ 17683 h 46759"/>
                <a:gd name="connsiteX7" fmla="*/ 12987 w 39351"/>
                <a:gd name="connsiteY7" fmla="*/ 22021 h 46759"/>
                <a:gd name="connsiteX8" fmla="*/ 9376 w 39351"/>
                <a:gd name="connsiteY8" fmla="*/ 22368 h 46759"/>
                <a:gd name="connsiteX9" fmla="*/ 8480 w 39351"/>
                <a:gd name="connsiteY9" fmla="*/ 22701 h 46759"/>
                <a:gd name="connsiteX10" fmla="*/ 1928 w 39351"/>
                <a:gd name="connsiteY10" fmla="*/ 27464 h 46759"/>
                <a:gd name="connsiteX11" fmla="*/ 1244 w 39351"/>
                <a:gd name="connsiteY11" fmla="*/ 28582 h 46759"/>
                <a:gd name="connsiteX12" fmla="*/ 34 w 39351"/>
                <a:gd name="connsiteY12" fmla="*/ 34545 h 46759"/>
                <a:gd name="connsiteX13" fmla="*/ 0 w 39351"/>
                <a:gd name="connsiteY13" fmla="*/ 34878 h 46759"/>
                <a:gd name="connsiteX14" fmla="*/ 0 w 39351"/>
                <a:gd name="connsiteY14" fmla="*/ 41439 h 46759"/>
                <a:gd name="connsiteX15" fmla="*/ 940 w 39351"/>
                <a:gd name="connsiteY15" fmla="*/ 43068 h 46759"/>
                <a:gd name="connsiteX16" fmla="*/ 7501 w 39351"/>
                <a:gd name="connsiteY16" fmla="*/ 46611 h 46759"/>
                <a:gd name="connsiteX17" fmla="*/ 7511 w 39351"/>
                <a:gd name="connsiteY17" fmla="*/ 46611 h 46759"/>
                <a:gd name="connsiteX18" fmla="*/ 7544 w 39351"/>
                <a:gd name="connsiteY18" fmla="*/ 46641 h 46759"/>
                <a:gd name="connsiteX19" fmla="*/ 8316 w 39351"/>
                <a:gd name="connsiteY19" fmla="*/ 46694 h 46759"/>
                <a:gd name="connsiteX20" fmla="*/ 8899 w 39351"/>
                <a:gd name="connsiteY20" fmla="*/ 46747 h 46759"/>
                <a:gd name="connsiteX21" fmla="*/ 9535 w 39351"/>
                <a:gd name="connsiteY21" fmla="*/ 46221 h 46759"/>
                <a:gd name="connsiteX22" fmla="*/ 9955 w 39351"/>
                <a:gd name="connsiteY22" fmla="*/ 45893 h 46759"/>
                <a:gd name="connsiteX23" fmla="*/ 9955 w 39351"/>
                <a:gd name="connsiteY23" fmla="*/ 45840 h 46759"/>
                <a:gd name="connsiteX24" fmla="*/ 9993 w 39351"/>
                <a:gd name="connsiteY24" fmla="*/ 45835 h 46759"/>
                <a:gd name="connsiteX25" fmla="*/ 10572 w 39351"/>
                <a:gd name="connsiteY25" fmla="*/ 44654 h 46759"/>
                <a:gd name="connsiteX26" fmla="*/ 10663 w 39351"/>
                <a:gd name="connsiteY26" fmla="*/ 44457 h 46759"/>
                <a:gd name="connsiteX27" fmla="*/ 12857 w 39351"/>
                <a:gd name="connsiteY27" fmla="*/ 38436 h 46759"/>
                <a:gd name="connsiteX28" fmla="*/ 18974 w 39351"/>
                <a:gd name="connsiteY28" fmla="*/ 33972 h 46759"/>
                <a:gd name="connsiteX29" fmla="*/ 19476 w 39351"/>
                <a:gd name="connsiteY29" fmla="*/ 33379 h 46759"/>
                <a:gd name="connsiteX30" fmla="*/ 22951 w 39351"/>
                <a:gd name="connsiteY30" fmla="*/ 27020 h 46759"/>
                <a:gd name="connsiteX31" fmla="*/ 28158 w 39351"/>
                <a:gd name="connsiteY31" fmla="*/ 21226 h 46759"/>
                <a:gd name="connsiteX32" fmla="*/ 28283 w 39351"/>
                <a:gd name="connsiteY32" fmla="*/ 21091 h 46759"/>
                <a:gd name="connsiteX33" fmla="*/ 32964 w 39351"/>
                <a:gd name="connsiteY33" fmla="*/ 14655 h 46759"/>
                <a:gd name="connsiteX34" fmla="*/ 38816 w 39351"/>
                <a:gd name="connsiteY34" fmla="*/ 8817 h 46759"/>
                <a:gd name="connsiteX35" fmla="*/ 39351 w 39351"/>
                <a:gd name="connsiteY35" fmla="*/ 7535 h 46759"/>
                <a:gd name="connsiteX36" fmla="*/ 39351 w 39351"/>
                <a:gd name="connsiteY36" fmla="*/ 1591 h 46759"/>
                <a:gd name="connsiteX37" fmla="*/ 38426 w 39351"/>
                <a:gd name="connsiteY37" fmla="*/ 0 h 46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351" h="46759">
                  <a:moveTo>
                    <a:pt x="38426" y="0"/>
                  </a:moveTo>
                  <a:lnTo>
                    <a:pt x="36594" y="0"/>
                  </a:lnTo>
                  <a:lnTo>
                    <a:pt x="24745" y="7115"/>
                  </a:lnTo>
                  <a:lnTo>
                    <a:pt x="18863" y="10075"/>
                  </a:lnTo>
                  <a:lnTo>
                    <a:pt x="18516" y="10268"/>
                  </a:lnTo>
                  <a:lnTo>
                    <a:pt x="11965" y="15629"/>
                  </a:lnTo>
                  <a:lnTo>
                    <a:pt x="11406" y="17683"/>
                  </a:lnTo>
                  <a:lnTo>
                    <a:pt x="12987" y="22021"/>
                  </a:lnTo>
                  <a:lnTo>
                    <a:pt x="9376" y="22368"/>
                  </a:lnTo>
                  <a:lnTo>
                    <a:pt x="8480" y="22701"/>
                  </a:lnTo>
                  <a:lnTo>
                    <a:pt x="1928" y="27464"/>
                  </a:lnTo>
                  <a:lnTo>
                    <a:pt x="1244" y="28582"/>
                  </a:lnTo>
                  <a:lnTo>
                    <a:pt x="34" y="34545"/>
                  </a:lnTo>
                  <a:lnTo>
                    <a:pt x="0" y="34878"/>
                  </a:lnTo>
                  <a:lnTo>
                    <a:pt x="0" y="41439"/>
                  </a:lnTo>
                  <a:lnTo>
                    <a:pt x="940" y="43068"/>
                  </a:lnTo>
                  <a:lnTo>
                    <a:pt x="7501" y="46611"/>
                  </a:lnTo>
                  <a:lnTo>
                    <a:pt x="7511" y="46611"/>
                  </a:lnTo>
                  <a:cubicBezTo>
                    <a:pt x="7520" y="46611"/>
                    <a:pt x="7544" y="46641"/>
                    <a:pt x="7544" y="46641"/>
                  </a:cubicBezTo>
                  <a:cubicBezTo>
                    <a:pt x="7805" y="46747"/>
                    <a:pt x="8065" y="46694"/>
                    <a:pt x="8316" y="46694"/>
                  </a:cubicBezTo>
                  <a:cubicBezTo>
                    <a:pt x="8499" y="46694"/>
                    <a:pt x="8696" y="46795"/>
                    <a:pt x="8899" y="46747"/>
                  </a:cubicBezTo>
                  <a:cubicBezTo>
                    <a:pt x="9164" y="46674"/>
                    <a:pt x="9314" y="46428"/>
                    <a:pt x="9535" y="46221"/>
                  </a:cubicBezTo>
                  <a:cubicBezTo>
                    <a:pt x="9661" y="46086"/>
                    <a:pt x="9858" y="46067"/>
                    <a:pt x="9955" y="45893"/>
                  </a:cubicBezTo>
                  <a:cubicBezTo>
                    <a:pt x="9955" y="45874"/>
                    <a:pt x="9955" y="45874"/>
                    <a:pt x="9955" y="45840"/>
                  </a:cubicBezTo>
                  <a:cubicBezTo>
                    <a:pt x="9964" y="45840"/>
                    <a:pt x="9993" y="45840"/>
                    <a:pt x="9993" y="45835"/>
                  </a:cubicBezTo>
                  <a:lnTo>
                    <a:pt x="10572" y="44654"/>
                  </a:lnTo>
                  <a:lnTo>
                    <a:pt x="10663" y="44457"/>
                  </a:lnTo>
                  <a:lnTo>
                    <a:pt x="12857" y="38436"/>
                  </a:lnTo>
                  <a:lnTo>
                    <a:pt x="18974" y="33972"/>
                  </a:lnTo>
                  <a:lnTo>
                    <a:pt x="19476" y="33379"/>
                  </a:lnTo>
                  <a:lnTo>
                    <a:pt x="22951" y="27020"/>
                  </a:lnTo>
                  <a:lnTo>
                    <a:pt x="28158" y="21226"/>
                  </a:lnTo>
                  <a:lnTo>
                    <a:pt x="28283" y="21091"/>
                  </a:lnTo>
                  <a:lnTo>
                    <a:pt x="32964" y="14655"/>
                  </a:lnTo>
                  <a:lnTo>
                    <a:pt x="38816" y="8817"/>
                  </a:lnTo>
                  <a:lnTo>
                    <a:pt x="39351" y="7535"/>
                  </a:lnTo>
                  <a:lnTo>
                    <a:pt x="39351" y="1591"/>
                  </a:lnTo>
                  <a:lnTo>
                    <a:pt x="38426"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88" name="Freihandform: Form 87">
              <a:extLst>
                <a:ext uri="{FF2B5EF4-FFF2-40B4-BE49-F238E27FC236}">
                  <a16:creationId xmlns:a16="http://schemas.microsoft.com/office/drawing/2014/main" id="{BF4C39CE-648E-08F2-9145-E4147233FEC1}"/>
                </a:ext>
              </a:extLst>
            </p:cNvPr>
            <p:cNvSpPr/>
            <p:nvPr/>
          </p:nvSpPr>
          <p:spPr>
            <a:xfrm>
              <a:off x="3822993" y="2795556"/>
              <a:ext cx="33334" cy="31751"/>
            </a:xfrm>
            <a:custGeom>
              <a:avLst/>
              <a:gdLst>
                <a:gd name="connsiteX0" fmla="*/ 25573 w 25697"/>
                <a:gd name="connsiteY0" fmla="*/ 9656 h 24460"/>
                <a:gd name="connsiteX1" fmla="*/ 23361 w 25697"/>
                <a:gd name="connsiteY1" fmla="*/ 4184 h 24460"/>
                <a:gd name="connsiteX2" fmla="*/ 23033 w 25697"/>
                <a:gd name="connsiteY2" fmla="*/ 3837 h 24460"/>
                <a:gd name="connsiteX3" fmla="*/ 22758 w 25697"/>
                <a:gd name="connsiteY3" fmla="*/ 3423 h 24460"/>
                <a:gd name="connsiteX4" fmla="*/ 21119 w 25697"/>
                <a:gd name="connsiteY4" fmla="*/ 2343 h 24460"/>
                <a:gd name="connsiteX5" fmla="*/ 20815 w 25697"/>
                <a:gd name="connsiteY5" fmla="*/ 2179 h 24460"/>
                <a:gd name="connsiteX6" fmla="*/ 15344 w 25697"/>
                <a:gd name="connsiteY6" fmla="*/ 0 h 24460"/>
                <a:gd name="connsiteX7" fmla="*/ 14018 w 25697"/>
                <a:gd name="connsiteY7" fmla="*/ 34 h 24460"/>
                <a:gd name="connsiteX8" fmla="*/ 13160 w 25697"/>
                <a:gd name="connsiteY8" fmla="*/ 1070 h 24460"/>
                <a:gd name="connsiteX9" fmla="*/ 11791 w 25697"/>
                <a:gd name="connsiteY9" fmla="*/ 5635 h 24460"/>
                <a:gd name="connsiteX10" fmla="*/ 6662 w 25697"/>
                <a:gd name="connsiteY10" fmla="*/ 7028 h 24460"/>
                <a:gd name="connsiteX11" fmla="*/ 6291 w 25697"/>
                <a:gd name="connsiteY11" fmla="*/ 7197 h 24460"/>
                <a:gd name="connsiteX12" fmla="*/ 814 w 25697"/>
                <a:gd name="connsiteY12" fmla="*/ 10475 h 24460"/>
                <a:gd name="connsiteX13" fmla="*/ 115 w 25697"/>
                <a:gd name="connsiteY13" fmla="*/ 12524 h 24460"/>
                <a:gd name="connsiteX14" fmla="*/ 2304 w 25697"/>
                <a:gd name="connsiteY14" fmla="*/ 17971 h 24460"/>
                <a:gd name="connsiteX15" fmla="*/ 2497 w 25697"/>
                <a:gd name="connsiteY15" fmla="*/ 18314 h 24460"/>
                <a:gd name="connsiteX16" fmla="*/ 6315 w 25697"/>
                <a:gd name="connsiteY16" fmla="*/ 23761 h 24460"/>
                <a:gd name="connsiteX17" fmla="*/ 7385 w 25697"/>
                <a:gd name="connsiteY17" fmla="*/ 24460 h 24460"/>
                <a:gd name="connsiteX18" fmla="*/ 8624 w 25697"/>
                <a:gd name="connsiteY18" fmla="*/ 24166 h 24460"/>
                <a:gd name="connsiteX19" fmla="*/ 14066 w 25697"/>
                <a:gd name="connsiteY19" fmla="*/ 20348 h 24460"/>
                <a:gd name="connsiteX20" fmla="*/ 14168 w 25697"/>
                <a:gd name="connsiteY20" fmla="*/ 20295 h 24460"/>
                <a:gd name="connsiteX21" fmla="*/ 19615 w 25697"/>
                <a:gd name="connsiteY21" fmla="*/ 15927 h 24460"/>
                <a:gd name="connsiteX22" fmla="*/ 25072 w 25697"/>
                <a:gd name="connsiteY22" fmla="*/ 11579 h 24460"/>
                <a:gd name="connsiteX23" fmla="*/ 25573 w 25697"/>
                <a:gd name="connsiteY23" fmla="*/ 9656 h 2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697" h="24460">
                  <a:moveTo>
                    <a:pt x="25573" y="9656"/>
                  </a:moveTo>
                  <a:lnTo>
                    <a:pt x="23361" y="4184"/>
                  </a:lnTo>
                  <a:cubicBezTo>
                    <a:pt x="23313" y="4020"/>
                    <a:pt x="23158" y="3962"/>
                    <a:pt x="23033" y="3837"/>
                  </a:cubicBezTo>
                  <a:cubicBezTo>
                    <a:pt x="22937" y="3726"/>
                    <a:pt x="22917" y="3533"/>
                    <a:pt x="22758" y="3423"/>
                  </a:cubicBezTo>
                  <a:lnTo>
                    <a:pt x="21119" y="2343"/>
                  </a:lnTo>
                  <a:lnTo>
                    <a:pt x="20815" y="2179"/>
                  </a:lnTo>
                  <a:lnTo>
                    <a:pt x="15344" y="0"/>
                  </a:lnTo>
                  <a:lnTo>
                    <a:pt x="14018" y="34"/>
                  </a:lnTo>
                  <a:lnTo>
                    <a:pt x="13160" y="1070"/>
                  </a:lnTo>
                  <a:lnTo>
                    <a:pt x="11791" y="5635"/>
                  </a:lnTo>
                  <a:lnTo>
                    <a:pt x="6662" y="7028"/>
                  </a:lnTo>
                  <a:lnTo>
                    <a:pt x="6291" y="7197"/>
                  </a:lnTo>
                  <a:lnTo>
                    <a:pt x="814" y="10475"/>
                  </a:lnTo>
                  <a:cubicBezTo>
                    <a:pt x="115" y="10885"/>
                    <a:pt x="-184" y="11767"/>
                    <a:pt x="115" y="12524"/>
                  </a:cubicBezTo>
                  <a:lnTo>
                    <a:pt x="2304" y="17971"/>
                  </a:lnTo>
                  <a:lnTo>
                    <a:pt x="2497" y="18314"/>
                  </a:lnTo>
                  <a:lnTo>
                    <a:pt x="6315" y="23761"/>
                  </a:lnTo>
                  <a:lnTo>
                    <a:pt x="7385" y="24460"/>
                  </a:lnTo>
                  <a:lnTo>
                    <a:pt x="8624" y="24166"/>
                  </a:lnTo>
                  <a:lnTo>
                    <a:pt x="14066" y="20348"/>
                  </a:lnTo>
                  <a:lnTo>
                    <a:pt x="14168" y="20295"/>
                  </a:lnTo>
                  <a:lnTo>
                    <a:pt x="19615" y="15927"/>
                  </a:lnTo>
                  <a:lnTo>
                    <a:pt x="25072" y="11579"/>
                  </a:lnTo>
                  <a:cubicBezTo>
                    <a:pt x="25636" y="11102"/>
                    <a:pt x="25858" y="10307"/>
                    <a:pt x="25573" y="965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89" name="Freihandform: Form 88">
              <a:extLst>
                <a:ext uri="{FF2B5EF4-FFF2-40B4-BE49-F238E27FC236}">
                  <a16:creationId xmlns:a16="http://schemas.microsoft.com/office/drawing/2014/main" id="{020120A6-DF5A-9BA1-48BB-317ACD7B6B46}"/>
                </a:ext>
              </a:extLst>
            </p:cNvPr>
            <p:cNvSpPr/>
            <p:nvPr/>
          </p:nvSpPr>
          <p:spPr>
            <a:xfrm>
              <a:off x="3389655" y="3497258"/>
              <a:ext cx="9524" cy="11112"/>
            </a:xfrm>
            <a:custGeom>
              <a:avLst/>
              <a:gdLst>
                <a:gd name="connsiteX0" fmla="*/ 6462 w 6568"/>
                <a:gd name="connsiteY0" fmla="*/ 5838 h 8301"/>
                <a:gd name="connsiteX1" fmla="*/ 2948 w 6568"/>
                <a:gd name="connsiteY1" fmla="*/ 800 h 8301"/>
                <a:gd name="connsiteX2" fmla="*/ 2948 w 6568"/>
                <a:gd name="connsiteY2" fmla="*/ 777 h 8301"/>
                <a:gd name="connsiteX3" fmla="*/ 2909 w 6568"/>
                <a:gd name="connsiteY3" fmla="*/ 777 h 8301"/>
                <a:gd name="connsiteX4" fmla="*/ 2871 w 6568"/>
                <a:gd name="connsiteY4" fmla="*/ 694 h 8301"/>
                <a:gd name="connsiteX5" fmla="*/ 721 w 6568"/>
                <a:gd name="connsiteY5" fmla="*/ 256 h 8301"/>
                <a:gd name="connsiteX6" fmla="*/ 219 w 6568"/>
                <a:gd name="connsiteY6" fmla="*/ 2396 h 8301"/>
                <a:gd name="connsiteX7" fmla="*/ 3295 w 6568"/>
                <a:gd name="connsiteY7" fmla="*/ 7521 h 8301"/>
                <a:gd name="connsiteX8" fmla="*/ 3497 w 6568"/>
                <a:gd name="connsiteY8" fmla="*/ 7670 h 8301"/>
                <a:gd name="connsiteX9" fmla="*/ 3941 w 6568"/>
                <a:gd name="connsiteY9" fmla="*/ 8012 h 8301"/>
                <a:gd name="connsiteX10" fmla="*/ 4471 w 6568"/>
                <a:gd name="connsiteY10" fmla="*/ 8205 h 8301"/>
                <a:gd name="connsiteX11" fmla="*/ 4664 w 6568"/>
                <a:gd name="connsiteY11" fmla="*/ 8302 h 8301"/>
                <a:gd name="connsiteX12" fmla="*/ 5185 w 6568"/>
                <a:gd name="connsiteY12" fmla="*/ 8302 h 8301"/>
                <a:gd name="connsiteX13" fmla="*/ 6568 w 6568"/>
                <a:gd name="connsiteY13" fmla="*/ 7472 h 8301"/>
                <a:gd name="connsiteX14" fmla="*/ 6462 w 6568"/>
                <a:gd name="connsiteY14" fmla="*/ 5838 h 8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68" h="8301">
                  <a:moveTo>
                    <a:pt x="6462" y="5838"/>
                  </a:moveTo>
                  <a:lnTo>
                    <a:pt x="2948" y="800"/>
                  </a:lnTo>
                  <a:lnTo>
                    <a:pt x="2948" y="777"/>
                  </a:lnTo>
                  <a:lnTo>
                    <a:pt x="2909" y="777"/>
                  </a:lnTo>
                  <a:lnTo>
                    <a:pt x="2871" y="694"/>
                  </a:lnTo>
                  <a:cubicBezTo>
                    <a:pt x="2374" y="-14"/>
                    <a:pt x="1420" y="-217"/>
                    <a:pt x="721" y="256"/>
                  </a:cubicBezTo>
                  <a:cubicBezTo>
                    <a:pt x="17" y="743"/>
                    <a:pt x="-214" y="1654"/>
                    <a:pt x="219" y="2396"/>
                  </a:cubicBezTo>
                  <a:lnTo>
                    <a:pt x="3295" y="7521"/>
                  </a:lnTo>
                  <a:cubicBezTo>
                    <a:pt x="3348" y="7612"/>
                    <a:pt x="3425" y="7612"/>
                    <a:pt x="3497" y="7670"/>
                  </a:cubicBezTo>
                  <a:cubicBezTo>
                    <a:pt x="3594" y="7824"/>
                    <a:pt x="3772" y="7887"/>
                    <a:pt x="3941" y="8012"/>
                  </a:cubicBezTo>
                  <a:cubicBezTo>
                    <a:pt x="4110" y="8128"/>
                    <a:pt x="4264" y="8200"/>
                    <a:pt x="4471" y="8205"/>
                  </a:cubicBezTo>
                  <a:cubicBezTo>
                    <a:pt x="4553" y="8253"/>
                    <a:pt x="4573" y="8302"/>
                    <a:pt x="4664" y="8302"/>
                  </a:cubicBezTo>
                  <a:lnTo>
                    <a:pt x="5185" y="8302"/>
                  </a:lnTo>
                  <a:lnTo>
                    <a:pt x="6568" y="7472"/>
                  </a:lnTo>
                  <a:lnTo>
                    <a:pt x="6462" y="583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90" name="Freihandform: Form 89">
              <a:extLst>
                <a:ext uri="{FF2B5EF4-FFF2-40B4-BE49-F238E27FC236}">
                  <a16:creationId xmlns:a16="http://schemas.microsoft.com/office/drawing/2014/main" id="{FDBA19CD-7D84-05FC-D5C7-0B2B7B7D64C6}"/>
                </a:ext>
              </a:extLst>
            </p:cNvPr>
            <p:cNvSpPr/>
            <p:nvPr/>
          </p:nvSpPr>
          <p:spPr>
            <a:xfrm>
              <a:off x="4200776" y="4087830"/>
              <a:ext cx="6349" cy="9525"/>
            </a:xfrm>
            <a:custGeom>
              <a:avLst/>
              <a:gdLst>
                <a:gd name="connsiteX0" fmla="*/ 2808 w 4697"/>
                <a:gd name="connsiteY0" fmla="*/ 907 h 7723"/>
                <a:gd name="connsiteX1" fmla="*/ 1029 w 4697"/>
                <a:gd name="connsiteY1" fmla="*/ 49 h 7723"/>
                <a:gd name="connsiteX2" fmla="*/ 22 w 4697"/>
                <a:gd name="connsiteY2" fmla="*/ 1779 h 7723"/>
                <a:gd name="connsiteX3" fmla="*/ 972 w 4697"/>
                <a:gd name="connsiteY3" fmla="*/ 6513 h 7723"/>
                <a:gd name="connsiteX4" fmla="*/ 1218 w 4697"/>
                <a:gd name="connsiteY4" fmla="*/ 6870 h 7723"/>
                <a:gd name="connsiteX5" fmla="*/ 1512 w 4697"/>
                <a:gd name="connsiteY5" fmla="*/ 7313 h 7723"/>
                <a:gd name="connsiteX6" fmla="*/ 2023 w 4697"/>
                <a:gd name="connsiteY6" fmla="*/ 7540 h 7723"/>
                <a:gd name="connsiteX7" fmla="*/ 2384 w 4697"/>
                <a:gd name="connsiteY7" fmla="*/ 7723 h 7723"/>
                <a:gd name="connsiteX8" fmla="*/ 3348 w 4697"/>
                <a:gd name="connsiteY8" fmla="*/ 7723 h 7723"/>
                <a:gd name="connsiteX9" fmla="*/ 4563 w 4697"/>
                <a:gd name="connsiteY9" fmla="*/ 7073 h 7723"/>
                <a:gd name="connsiteX10" fmla="*/ 4698 w 4697"/>
                <a:gd name="connsiteY10" fmla="*/ 5713 h 7723"/>
                <a:gd name="connsiteX11" fmla="*/ 2808 w 4697"/>
                <a:gd name="connsiteY11" fmla="*/ 907 h 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97" h="7723">
                  <a:moveTo>
                    <a:pt x="2808" y="907"/>
                  </a:moveTo>
                  <a:cubicBezTo>
                    <a:pt x="2543" y="232"/>
                    <a:pt x="1753" y="-139"/>
                    <a:pt x="1029" y="49"/>
                  </a:cubicBezTo>
                  <a:cubicBezTo>
                    <a:pt x="316" y="285"/>
                    <a:pt x="-103" y="1008"/>
                    <a:pt x="22" y="1779"/>
                  </a:cubicBezTo>
                  <a:lnTo>
                    <a:pt x="972" y="6513"/>
                  </a:lnTo>
                  <a:cubicBezTo>
                    <a:pt x="1015" y="6677"/>
                    <a:pt x="1150" y="6769"/>
                    <a:pt x="1218" y="6870"/>
                  </a:cubicBezTo>
                  <a:cubicBezTo>
                    <a:pt x="1314" y="7073"/>
                    <a:pt x="1381" y="7227"/>
                    <a:pt x="1512" y="7313"/>
                  </a:cubicBezTo>
                  <a:cubicBezTo>
                    <a:pt x="1671" y="7449"/>
                    <a:pt x="1820" y="7492"/>
                    <a:pt x="2023" y="7540"/>
                  </a:cubicBezTo>
                  <a:cubicBezTo>
                    <a:pt x="2148" y="7593"/>
                    <a:pt x="2259" y="7723"/>
                    <a:pt x="2384" y="7723"/>
                  </a:cubicBezTo>
                  <a:lnTo>
                    <a:pt x="3348" y="7723"/>
                  </a:lnTo>
                  <a:lnTo>
                    <a:pt x="4563" y="7073"/>
                  </a:lnTo>
                  <a:lnTo>
                    <a:pt x="4698" y="5713"/>
                  </a:lnTo>
                  <a:lnTo>
                    <a:pt x="2808" y="90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91" name="Freihandform: Form 90">
              <a:extLst>
                <a:ext uri="{FF2B5EF4-FFF2-40B4-BE49-F238E27FC236}">
                  <a16:creationId xmlns:a16="http://schemas.microsoft.com/office/drawing/2014/main" id="{765FDB56-57B9-1E6A-AFBD-77EF7BA4C4C1}"/>
                </a:ext>
              </a:extLst>
            </p:cNvPr>
            <p:cNvSpPr/>
            <p:nvPr/>
          </p:nvSpPr>
          <p:spPr>
            <a:xfrm>
              <a:off x="4984912" y="2612987"/>
              <a:ext cx="6349" cy="14289"/>
            </a:xfrm>
            <a:custGeom>
              <a:avLst/>
              <a:gdLst>
                <a:gd name="connsiteX0" fmla="*/ 5848 w 6016"/>
                <a:gd name="connsiteY0" fmla="*/ 1432 h 10773"/>
                <a:gd name="connsiteX1" fmla="*/ 5592 w 6016"/>
                <a:gd name="connsiteY1" fmla="*/ 834 h 10773"/>
                <a:gd name="connsiteX2" fmla="*/ 5086 w 6016"/>
                <a:gd name="connsiteY2" fmla="*/ 390 h 10773"/>
                <a:gd name="connsiteX3" fmla="*/ 4783 w 6016"/>
                <a:gd name="connsiteY3" fmla="*/ 92 h 10773"/>
                <a:gd name="connsiteX4" fmla="*/ 4479 w 6016"/>
                <a:gd name="connsiteY4" fmla="*/ 120 h 10773"/>
                <a:gd name="connsiteX5" fmla="*/ 4214 w 6016"/>
                <a:gd name="connsiteY5" fmla="*/ 0 h 10773"/>
                <a:gd name="connsiteX6" fmla="*/ 3804 w 6016"/>
                <a:gd name="connsiteY6" fmla="*/ 173 h 10773"/>
                <a:gd name="connsiteX7" fmla="*/ 3187 w 6016"/>
                <a:gd name="connsiteY7" fmla="*/ 424 h 10773"/>
                <a:gd name="connsiteX8" fmla="*/ 2758 w 6016"/>
                <a:gd name="connsiteY8" fmla="*/ 950 h 10773"/>
                <a:gd name="connsiteX9" fmla="*/ 2478 w 6016"/>
                <a:gd name="connsiteY9" fmla="*/ 1277 h 10773"/>
                <a:gd name="connsiteX10" fmla="*/ 87 w 6016"/>
                <a:gd name="connsiteY10" fmla="*/ 8407 h 10773"/>
                <a:gd name="connsiteX11" fmla="*/ 1201 w 6016"/>
                <a:gd name="connsiteY11" fmla="*/ 10673 h 10773"/>
                <a:gd name="connsiteX12" fmla="*/ 3515 w 6016"/>
                <a:gd name="connsiteY12" fmla="*/ 9574 h 10773"/>
                <a:gd name="connsiteX13" fmla="*/ 5891 w 6016"/>
                <a:gd name="connsiteY13" fmla="*/ 3037 h 10773"/>
                <a:gd name="connsiteX14" fmla="*/ 6017 w 6016"/>
                <a:gd name="connsiteY14" fmla="*/ 2405 h 10773"/>
                <a:gd name="connsiteX15" fmla="*/ 6017 w 6016"/>
                <a:gd name="connsiteY15" fmla="*/ 1827 h 10773"/>
                <a:gd name="connsiteX16" fmla="*/ 5848 w 6016"/>
                <a:gd name="connsiteY16" fmla="*/ 1432 h 10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16" h="10773">
                  <a:moveTo>
                    <a:pt x="5848" y="1432"/>
                  </a:moveTo>
                  <a:cubicBezTo>
                    <a:pt x="5780" y="1220"/>
                    <a:pt x="5733" y="1022"/>
                    <a:pt x="5592" y="834"/>
                  </a:cubicBezTo>
                  <a:cubicBezTo>
                    <a:pt x="5438" y="607"/>
                    <a:pt x="5294" y="506"/>
                    <a:pt x="5086" y="390"/>
                  </a:cubicBezTo>
                  <a:cubicBezTo>
                    <a:pt x="4961" y="309"/>
                    <a:pt x="4922" y="149"/>
                    <a:pt x="4783" y="92"/>
                  </a:cubicBezTo>
                  <a:cubicBezTo>
                    <a:pt x="4672" y="63"/>
                    <a:pt x="4580" y="145"/>
                    <a:pt x="4479" y="120"/>
                  </a:cubicBezTo>
                  <a:cubicBezTo>
                    <a:pt x="4378" y="92"/>
                    <a:pt x="4291" y="0"/>
                    <a:pt x="4214" y="0"/>
                  </a:cubicBezTo>
                  <a:cubicBezTo>
                    <a:pt x="4035" y="0"/>
                    <a:pt x="3949" y="145"/>
                    <a:pt x="3804" y="173"/>
                  </a:cubicBezTo>
                  <a:cubicBezTo>
                    <a:pt x="3563" y="231"/>
                    <a:pt x="3380" y="284"/>
                    <a:pt x="3187" y="424"/>
                  </a:cubicBezTo>
                  <a:cubicBezTo>
                    <a:pt x="2999" y="564"/>
                    <a:pt x="2883" y="718"/>
                    <a:pt x="2758" y="950"/>
                  </a:cubicBezTo>
                  <a:cubicBezTo>
                    <a:pt x="2671" y="1051"/>
                    <a:pt x="2527" y="1104"/>
                    <a:pt x="2478" y="1277"/>
                  </a:cubicBezTo>
                  <a:lnTo>
                    <a:pt x="87" y="8407"/>
                  </a:lnTo>
                  <a:cubicBezTo>
                    <a:pt x="-216" y="9328"/>
                    <a:pt x="300" y="10340"/>
                    <a:pt x="1201" y="10673"/>
                  </a:cubicBezTo>
                  <a:cubicBezTo>
                    <a:pt x="2136" y="10991"/>
                    <a:pt x="3187" y="10533"/>
                    <a:pt x="3515" y="9574"/>
                  </a:cubicBezTo>
                  <a:lnTo>
                    <a:pt x="5891" y="3037"/>
                  </a:lnTo>
                  <a:lnTo>
                    <a:pt x="6017" y="2405"/>
                  </a:lnTo>
                  <a:lnTo>
                    <a:pt x="6017" y="1827"/>
                  </a:lnTo>
                  <a:cubicBezTo>
                    <a:pt x="6017" y="1682"/>
                    <a:pt x="5882" y="1586"/>
                    <a:pt x="5848" y="143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92" name="Freihandform: Form 91">
              <a:extLst>
                <a:ext uri="{FF2B5EF4-FFF2-40B4-BE49-F238E27FC236}">
                  <a16:creationId xmlns:a16="http://schemas.microsoft.com/office/drawing/2014/main" id="{D9C350CC-4397-1B36-91CB-F274A9E2025B}"/>
                </a:ext>
              </a:extLst>
            </p:cNvPr>
            <p:cNvSpPr/>
            <p:nvPr/>
          </p:nvSpPr>
          <p:spPr>
            <a:xfrm>
              <a:off x="4996024" y="2733641"/>
              <a:ext cx="12699" cy="6350"/>
            </a:xfrm>
            <a:custGeom>
              <a:avLst/>
              <a:gdLst>
                <a:gd name="connsiteX0" fmla="*/ 8721 w 10182"/>
                <a:gd name="connsiteY0" fmla="*/ 1239 h 4829"/>
                <a:gd name="connsiteX1" fmla="*/ 8673 w 10182"/>
                <a:gd name="connsiteY1" fmla="*/ 1239 h 4829"/>
                <a:gd name="connsiteX2" fmla="*/ 8673 w 10182"/>
                <a:gd name="connsiteY2" fmla="*/ 1239 h 4829"/>
                <a:gd name="connsiteX3" fmla="*/ 8528 w 10182"/>
                <a:gd name="connsiteY3" fmla="*/ 1176 h 4829"/>
                <a:gd name="connsiteX4" fmla="*/ 2786 w 10182"/>
                <a:gd name="connsiteY4" fmla="*/ 24 h 4829"/>
                <a:gd name="connsiteX5" fmla="*/ 2429 w 10182"/>
                <a:gd name="connsiteY5" fmla="*/ 0 h 4829"/>
                <a:gd name="connsiteX6" fmla="*/ 1822 w 10182"/>
                <a:gd name="connsiteY6" fmla="*/ 0 h 4829"/>
                <a:gd name="connsiteX7" fmla="*/ 1326 w 10182"/>
                <a:gd name="connsiteY7" fmla="*/ 217 h 4829"/>
                <a:gd name="connsiteX8" fmla="*/ 704 w 10182"/>
                <a:gd name="connsiteY8" fmla="*/ 468 h 4829"/>
                <a:gd name="connsiteX9" fmla="*/ 323 w 10182"/>
                <a:gd name="connsiteY9" fmla="*/ 1051 h 4829"/>
                <a:gd name="connsiteX10" fmla="*/ 48 w 10182"/>
                <a:gd name="connsiteY10" fmla="*/ 1509 h 4829"/>
                <a:gd name="connsiteX11" fmla="*/ 82 w 10182"/>
                <a:gd name="connsiteY11" fmla="*/ 1678 h 4829"/>
                <a:gd name="connsiteX12" fmla="*/ 0 w 10182"/>
                <a:gd name="connsiteY12" fmla="*/ 1827 h 4829"/>
                <a:gd name="connsiteX13" fmla="*/ 198 w 10182"/>
                <a:gd name="connsiteY13" fmla="*/ 2324 h 4829"/>
                <a:gd name="connsiteX14" fmla="*/ 477 w 10182"/>
                <a:gd name="connsiteY14" fmla="*/ 2926 h 4829"/>
                <a:gd name="connsiteX15" fmla="*/ 1017 w 10182"/>
                <a:gd name="connsiteY15" fmla="*/ 3317 h 4829"/>
                <a:gd name="connsiteX16" fmla="*/ 1499 w 10182"/>
                <a:gd name="connsiteY16" fmla="*/ 3616 h 4829"/>
                <a:gd name="connsiteX17" fmla="*/ 8036 w 10182"/>
                <a:gd name="connsiteY17" fmla="*/ 4797 h 4829"/>
                <a:gd name="connsiteX18" fmla="*/ 10153 w 10182"/>
                <a:gd name="connsiteY18" fmla="*/ 3336 h 4829"/>
                <a:gd name="connsiteX19" fmla="*/ 8721 w 10182"/>
                <a:gd name="connsiteY19" fmla="*/ 1239 h 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182" h="4829">
                  <a:moveTo>
                    <a:pt x="8721" y="1239"/>
                  </a:moveTo>
                  <a:lnTo>
                    <a:pt x="8673" y="1239"/>
                  </a:lnTo>
                  <a:lnTo>
                    <a:pt x="8673" y="1239"/>
                  </a:lnTo>
                  <a:lnTo>
                    <a:pt x="8528" y="1176"/>
                  </a:lnTo>
                  <a:lnTo>
                    <a:pt x="2786" y="24"/>
                  </a:lnTo>
                  <a:lnTo>
                    <a:pt x="2429" y="0"/>
                  </a:lnTo>
                  <a:lnTo>
                    <a:pt x="1822" y="0"/>
                  </a:lnTo>
                  <a:cubicBezTo>
                    <a:pt x="1624" y="0"/>
                    <a:pt x="1504" y="178"/>
                    <a:pt x="1326" y="217"/>
                  </a:cubicBezTo>
                  <a:cubicBezTo>
                    <a:pt x="1094" y="260"/>
                    <a:pt x="887" y="294"/>
                    <a:pt x="704" y="468"/>
                  </a:cubicBezTo>
                  <a:cubicBezTo>
                    <a:pt x="506" y="631"/>
                    <a:pt x="419" y="824"/>
                    <a:pt x="323" y="1051"/>
                  </a:cubicBezTo>
                  <a:cubicBezTo>
                    <a:pt x="227" y="1239"/>
                    <a:pt x="87" y="1326"/>
                    <a:pt x="48" y="1509"/>
                  </a:cubicBezTo>
                  <a:cubicBezTo>
                    <a:pt x="29" y="1567"/>
                    <a:pt x="82" y="1591"/>
                    <a:pt x="82" y="1678"/>
                  </a:cubicBezTo>
                  <a:cubicBezTo>
                    <a:pt x="82" y="1716"/>
                    <a:pt x="0" y="1750"/>
                    <a:pt x="0" y="1827"/>
                  </a:cubicBezTo>
                  <a:cubicBezTo>
                    <a:pt x="0" y="2030"/>
                    <a:pt x="164" y="2169"/>
                    <a:pt x="198" y="2324"/>
                  </a:cubicBezTo>
                  <a:cubicBezTo>
                    <a:pt x="270" y="2579"/>
                    <a:pt x="304" y="2772"/>
                    <a:pt x="477" y="2926"/>
                  </a:cubicBezTo>
                  <a:cubicBezTo>
                    <a:pt x="607" y="3129"/>
                    <a:pt x="805" y="3211"/>
                    <a:pt x="1017" y="3317"/>
                  </a:cubicBezTo>
                  <a:cubicBezTo>
                    <a:pt x="1167" y="3428"/>
                    <a:pt x="1297" y="3587"/>
                    <a:pt x="1499" y="3616"/>
                  </a:cubicBezTo>
                  <a:lnTo>
                    <a:pt x="8036" y="4797"/>
                  </a:lnTo>
                  <a:cubicBezTo>
                    <a:pt x="9019" y="4985"/>
                    <a:pt x="9955" y="4353"/>
                    <a:pt x="10153" y="3336"/>
                  </a:cubicBezTo>
                  <a:cubicBezTo>
                    <a:pt x="10331" y="2386"/>
                    <a:pt x="9690" y="1413"/>
                    <a:pt x="8721" y="123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93" name="Freihandform: Form 92">
              <a:extLst>
                <a:ext uri="{FF2B5EF4-FFF2-40B4-BE49-F238E27FC236}">
                  <a16:creationId xmlns:a16="http://schemas.microsoft.com/office/drawing/2014/main" id="{2F0FD563-386F-CAF9-CCEE-47530FB5B74B}"/>
                </a:ext>
              </a:extLst>
            </p:cNvPr>
            <p:cNvSpPr/>
            <p:nvPr/>
          </p:nvSpPr>
          <p:spPr>
            <a:xfrm>
              <a:off x="5000785" y="2857471"/>
              <a:ext cx="11112" cy="12700"/>
            </a:xfrm>
            <a:custGeom>
              <a:avLst/>
              <a:gdLst>
                <a:gd name="connsiteX0" fmla="*/ 8963 w 9546"/>
                <a:gd name="connsiteY0" fmla="*/ 1610 h 9949"/>
                <a:gd name="connsiteX1" fmla="*/ 8216 w 9546"/>
                <a:gd name="connsiteY1" fmla="*/ 304 h 9949"/>
                <a:gd name="connsiteX2" fmla="*/ 6751 w 9546"/>
                <a:gd name="connsiteY2" fmla="*/ 0 h 9949"/>
                <a:gd name="connsiteX3" fmla="*/ 1380 w 9546"/>
                <a:gd name="connsiteY3" fmla="*/ 1171 h 9949"/>
                <a:gd name="connsiteX4" fmla="*/ 922 w 9546"/>
                <a:gd name="connsiteY4" fmla="*/ 1499 h 9949"/>
                <a:gd name="connsiteX5" fmla="*/ 431 w 9546"/>
                <a:gd name="connsiteY5" fmla="*/ 1740 h 9949"/>
                <a:gd name="connsiteX6" fmla="*/ 373 w 9546"/>
                <a:gd name="connsiteY6" fmla="*/ 1875 h 9949"/>
                <a:gd name="connsiteX7" fmla="*/ 151 w 9546"/>
                <a:gd name="connsiteY7" fmla="*/ 2531 h 9949"/>
                <a:gd name="connsiteX8" fmla="*/ 26 w 9546"/>
                <a:gd name="connsiteY8" fmla="*/ 3191 h 9949"/>
                <a:gd name="connsiteX9" fmla="*/ 2 w 9546"/>
                <a:gd name="connsiteY9" fmla="*/ 3370 h 9949"/>
                <a:gd name="connsiteX10" fmla="*/ 315 w 9546"/>
                <a:gd name="connsiteY10" fmla="*/ 3813 h 9949"/>
                <a:gd name="connsiteX11" fmla="*/ 566 w 9546"/>
                <a:gd name="connsiteY11" fmla="*/ 4319 h 9949"/>
                <a:gd name="connsiteX12" fmla="*/ 6514 w 9546"/>
                <a:gd name="connsiteY12" fmla="*/ 9685 h 9949"/>
                <a:gd name="connsiteX13" fmla="*/ 8558 w 9546"/>
                <a:gd name="connsiteY13" fmla="*/ 9950 h 9949"/>
                <a:gd name="connsiteX14" fmla="*/ 9547 w 9546"/>
                <a:gd name="connsiteY14" fmla="*/ 8142 h 9949"/>
                <a:gd name="connsiteX15" fmla="*/ 8963 w 9546"/>
                <a:gd name="connsiteY15" fmla="*/ 1610 h 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546" h="9949">
                  <a:moveTo>
                    <a:pt x="8963" y="1610"/>
                  </a:moveTo>
                  <a:lnTo>
                    <a:pt x="8216" y="304"/>
                  </a:lnTo>
                  <a:lnTo>
                    <a:pt x="6751" y="0"/>
                  </a:lnTo>
                  <a:lnTo>
                    <a:pt x="1380" y="1171"/>
                  </a:lnTo>
                  <a:cubicBezTo>
                    <a:pt x="1188" y="1224"/>
                    <a:pt x="1091" y="1403"/>
                    <a:pt x="922" y="1499"/>
                  </a:cubicBezTo>
                  <a:cubicBezTo>
                    <a:pt x="763" y="1610"/>
                    <a:pt x="566" y="1610"/>
                    <a:pt x="431" y="1740"/>
                  </a:cubicBezTo>
                  <a:cubicBezTo>
                    <a:pt x="407" y="1798"/>
                    <a:pt x="407" y="1856"/>
                    <a:pt x="373" y="1875"/>
                  </a:cubicBezTo>
                  <a:cubicBezTo>
                    <a:pt x="252" y="2078"/>
                    <a:pt x="228" y="2299"/>
                    <a:pt x="151" y="2531"/>
                  </a:cubicBezTo>
                  <a:cubicBezTo>
                    <a:pt x="84" y="2753"/>
                    <a:pt x="-3" y="2984"/>
                    <a:pt x="26" y="3191"/>
                  </a:cubicBezTo>
                  <a:cubicBezTo>
                    <a:pt x="26" y="3278"/>
                    <a:pt x="-8" y="3307"/>
                    <a:pt x="2" y="3370"/>
                  </a:cubicBezTo>
                  <a:cubicBezTo>
                    <a:pt x="35" y="3558"/>
                    <a:pt x="233" y="3668"/>
                    <a:pt x="315" y="3813"/>
                  </a:cubicBezTo>
                  <a:cubicBezTo>
                    <a:pt x="411" y="3987"/>
                    <a:pt x="411" y="4184"/>
                    <a:pt x="566" y="4319"/>
                  </a:cubicBezTo>
                  <a:lnTo>
                    <a:pt x="6514" y="9685"/>
                  </a:lnTo>
                  <a:lnTo>
                    <a:pt x="8558" y="9950"/>
                  </a:lnTo>
                  <a:lnTo>
                    <a:pt x="9547" y="8142"/>
                  </a:lnTo>
                  <a:lnTo>
                    <a:pt x="8963" y="161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94" name="Freihandform: Form 93">
              <a:extLst>
                <a:ext uri="{FF2B5EF4-FFF2-40B4-BE49-F238E27FC236}">
                  <a16:creationId xmlns:a16="http://schemas.microsoft.com/office/drawing/2014/main" id="{E42F370F-2F8D-4A1B-DEC1-6D687A6714B1}"/>
                </a:ext>
              </a:extLst>
            </p:cNvPr>
            <p:cNvSpPr/>
            <p:nvPr/>
          </p:nvSpPr>
          <p:spPr>
            <a:xfrm>
              <a:off x="5056342" y="2895572"/>
              <a:ext cx="12699" cy="12700"/>
            </a:xfrm>
            <a:custGeom>
              <a:avLst/>
              <a:gdLst>
                <a:gd name="connsiteX0" fmla="*/ 9193 w 9590"/>
                <a:gd name="connsiteY0" fmla="*/ 6648 h 9130"/>
                <a:gd name="connsiteX1" fmla="*/ 4430 w 9590"/>
                <a:gd name="connsiteY1" fmla="*/ 719 h 9130"/>
                <a:gd name="connsiteX2" fmla="*/ 3013 w 9590"/>
                <a:gd name="connsiteY2" fmla="*/ 0 h 9130"/>
                <a:gd name="connsiteX3" fmla="*/ 1837 w 9590"/>
                <a:gd name="connsiteY3" fmla="*/ 0 h 9130"/>
                <a:gd name="connsiteX4" fmla="*/ 0 w 9590"/>
                <a:gd name="connsiteY4" fmla="*/ 1832 h 9130"/>
                <a:gd name="connsiteX5" fmla="*/ 564 w 9590"/>
                <a:gd name="connsiteY5" fmla="*/ 3109 h 9130"/>
                <a:gd name="connsiteX6" fmla="*/ 6489 w 9590"/>
                <a:gd name="connsiteY6" fmla="*/ 9082 h 9130"/>
                <a:gd name="connsiteX7" fmla="*/ 8986 w 9590"/>
                <a:gd name="connsiteY7" fmla="*/ 9131 h 9130"/>
                <a:gd name="connsiteX8" fmla="*/ 9193 w 9590"/>
                <a:gd name="connsiteY8" fmla="*/ 6648 h 9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90" h="9130">
                  <a:moveTo>
                    <a:pt x="9193" y="6648"/>
                  </a:moveTo>
                  <a:lnTo>
                    <a:pt x="4430" y="719"/>
                  </a:lnTo>
                  <a:lnTo>
                    <a:pt x="3013" y="0"/>
                  </a:lnTo>
                  <a:lnTo>
                    <a:pt x="1837" y="0"/>
                  </a:lnTo>
                  <a:cubicBezTo>
                    <a:pt x="829" y="0"/>
                    <a:pt x="0" y="820"/>
                    <a:pt x="0" y="1832"/>
                  </a:cubicBezTo>
                  <a:cubicBezTo>
                    <a:pt x="0" y="2324"/>
                    <a:pt x="222" y="2786"/>
                    <a:pt x="564" y="3109"/>
                  </a:cubicBezTo>
                  <a:lnTo>
                    <a:pt x="6489" y="9082"/>
                  </a:lnTo>
                  <a:lnTo>
                    <a:pt x="8986" y="9131"/>
                  </a:lnTo>
                  <a:cubicBezTo>
                    <a:pt x="9714" y="8509"/>
                    <a:pt x="9786" y="7414"/>
                    <a:pt x="9193" y="664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95" name="Freihandform: Form 94">
              <a:extLst>
                <a:ext uri="{FF2B5EF4-FFF2-40B4-BE49-F238E27FC236}">
                  <a16:creationId xmlns:a16="http://schemas.microsoft.com/office/drawing/2014/main" id="{D7892CB8-A6DA-8FAA-ED12-95318D74AED6}"/>
                </a:ext>
              </a:extLst>
            </p:cNvPr>
            <p:cNvSpPr/>
            <p:nvPr/>
          </p:nvSpPr>
          <p:spPr>
            <a:xfrm>
              <a:off x="5496029" y="2897160"/>
              <a:ext cx="11112" cy="14288"/>
            </a:xfrm>
            <a:custGeom>
              <a:avLst/>
              <a:gdLst>
                <a:gd name="connsiteX0" fmla="*/ 7341 w 9308"/>
                <a:gd name="connsiteY0" fmla="*/ 47 h 10785"/>
                <a:gd name="connsiteX1" fmla="*/ 4950 w 9308"/>
                <a:gd name="connsiteY1" fmla="*/ 659 h 10785"/>
                <a:gd name="connsiteX2" fmla="*/ 4926 w 9308"/>
                <a:gd name="connsiteY2" fmla="*/ 659 h 10785"/>
                <a:gd name="connsiteX3" fmla="*/ 4328 w 9308"/>
                <a:gd name="connsiteY3" fmla="*/ 1103 h 10785"/>
                <a:gd name="connsiteX4" fmla="*/ 3817 w 9308"/>
                <a:gd name="connsiteY4" fmla="*/ 1513 h 10785"/>
                <a:gd name="connsiteX5" fmla="*/ 3793 w 9308"/>
                <a:gd name="connsiteY5" fmla="*/ 1566 h 10785"/>
                <a:gd name="connsiteX6" fmla="*/ 211 w 9308"/>
                <a:gd name="connsiteY6" fmla="*/ 8098 h 10785"/>
                <a:gd name="connsiteX7" fmla="*/ 780 w 9308"/>
                <a:gd name="connsiteY7" fmla="*/ 10474 h 10785"/>
                <a:gd name="connsiteX8" fmla="*/ 3210 w 9308"/>
                <a:gd name="connsiteY8" fmla="*/ 10122 h 10785"/>
                <a:gd name="connsiteX9" fmla="*/ 9168 w 9308"/>
                <a:gd name="connsiteY9" fmla="*/ 2983 h 10785"/>
                <a:gd name="connsiteX10" fmla="*/ 9308 w 9308"/>
                <a:gd name="connsiteY10" fmla="*/ 852 h 10785"/>
                <a:gd name="connsiteX11" fmla="*/ 7341 w 9308"/>
                <a:gd name="connsiteY11" fmla="*/ 47 h 1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08" h="10785">
                  <a:moveTo>
                    <a:pt x="7341" y="47"/>
                  </a:moveTo>
                  <a:lnTo>
                    <a:pt x="4950" y="659"/>
                  </a:lnTo>
                  <a:cubicBezTo>
                    <a:pt x="4936" y="659"/>
                    <a:pt x="4926" y="659"/>
                    <a:pt x="4926" y="659"/>
                  </a:cubicBezTo>
                  <a:cubicBezTo>
                    <a:pt x="4695" y="736"/>
                    <a:pt x="4540" y="949"/>
                    <a:pt x="4328" y="1103"/>
                  </a:cubicBezTo>
                  <a:cubicBezTo>
                    <a:pt x="4164" y="1223"/>
                    <a:pt x="3914" y="1315"/>
                    <a:pt x="3817" y="1513"/>
                  </a:cubicBezTo>
                  <a:cubicBezTo>
                    <a:pt x="3817" y="1537"/>
                    <a:pt x="3793" y="1537"/>
                    <a:pt x="3793" y="1566"/>
                  </a:cubicBezTo>
                  <a:lnTo>
                    <a:pt x="211" y="8098"/>
                  </a:lnTo>
                  <a:cubicBezTo>
                    <a:pt x="-213" y="8917"/>
                    <a:pt x="14" y="9959"/>
                    <a:pt x="780" y="10474"/>
                  </a:cubicBezTo>
                  <a:cubicBezTo>
                    <a:pt x="1561" y="10990"/>
                    <a:pt x="2602" y="10860"/>
                    <a:pt x="3210" y="10122"/>
                  </a:cubicBezTo>
                  <a:lnTo>
                    <a:pt x="9168" y="2983"/>
                  </a:lnTo>
                  <a:lnTo>
                    <a:pt x="9308" y="852"/>
                  </a:lnTo>
                  <a:cubicBezTo>
                    <a:pt x="8889" y="187"/>
                    <a:pt x="8093" y="-126"/>
                    <a:pt x="7341" y="47"/>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96" name="Freihandform: Form 95">
              <a:extLst>
                <a:ext uri="{FF2B5EF4-FFF2-40B4-BE49-F238E27FC236}">
                  <a16:creationId xmlns:a16="http://schemas.microsoft.com/office/drawing/2014/main" id="{A53D0C2F-9469-032A-C074-75615211970D}"/>
                </a:ext>
              </a:extLst>
            </p:cNvPr>
            <p:cNvSpPr/>
            <p:nvPr/>
          </p:nvSpPr>
          <p:spPr>
            <a:xfrm>
              <a:off x="6135720" y="2612987"/>
              <a:ext cx="6349" cy="14289"/>
            </a:xfrm>
            <a:custGeom>
              <a:avLst/>
              <a:gdLst>
                <a:gd name="connsiteX0" fmla="*/ 4998 w 6014"/>
                <a:gd name="connsiteY0" fmla="*/ 772 h 10169"/>
                <a:gd name="connsiteX1" fmla="*/ 3817 w 6014"/>
                <a:gd name="connsiteY1" fmla="*/ 180 h 10169"/>
                <a:gd name="connsiteX2" fmla="*/ 3543 w 6014"/>
                <a:gd name="connsiteY2" fmla="*/ 180 h 10169"/>
                <a:gd name="connsiteX3" fmla="*/ 3335 w 6014"/>
                <a:gd name="connsiteY3" fmla="*/ 6 h 10169"/>
                <a:gd name="connsiteX4" fmla="*/ 2877 w 6014"/>
                <a:gd name="connsiteY4" fmla="*/ 112 h 10169"/>
                <a:gd name="connsiteX5" fmla="*/ 2236 w 6014"/>
                <a:gd name="connsiteY5" fmla="*/ 252 h 10169"/>
                <a:gd name="connsiteX6" fmla="*/ 1715 w 6014"/>
                <a:gd name="connsiteY6" fmla="*/ 681 h 10169"/>
                <a:gd name="connsiteX7" fmla="*/ 1344 w 6014"/>
                <a:gd name="connsiteY7" fmla="*/ 985 h 10169"/>
                <a:gd name="connsiteX8" fmla="*/ 1344 w 6014"/>
                <a:gd name="connsiteY8" fmla="*/ 1245 h 10169"/>
                <a:gd name="connsiteX9" fmla="*/ 1219 w 6014"/>
                <a:gd name="connsiteY9" fmla="*/ 1481 h 10169"/>
                <a:gd name="connsiteX10" fmla="*/ 23 w 6014"/>
                <a:gd name="connsiteY10" fmla="*/ 8018 h 10169"/>
                <a:gd name="connsiteX11" fmla="*/ 1330 w 6014"/>
                <a:gd name="connsiteY11" fmla="*/ 10096 h 10169"/>
                <a:gd name="connsiteX12" fmla="*/ 3518 w 6014"/>
                <a:gd name="connsiteY12" fmla="*/ 9030 h 10169"/>
                <a:gd name="connsiteX13" fmla="*/ 5890 w 6014"/>
                <a:gd name="connsiteY13" fmla="*/ 3038 h 10169"/>
                <a:gd name="connsiteX14" fmla="*/ 4998 w 6014"/>
                <a:gd name="connsiteY14" fmla="*/ 772 h 1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14" h="10169">
                  <a:moveTo>
                    <a:pt x="4998" y="772"/>
                  </a:moveTo>
                  <a:lnTo>
                    <a:pt x="3817" y="180"/>
                  </a:lnTo>
                  <a:cubicBezTo>
                    <a:pt x="3711" y="112"/>
                    <a:pt x="3629" y="180"/>
                    <a:pt x="3543" y="180"/>
                  </a:cubicBezTo>
                  <a:cubicBezTo>
                    <a:pt x="3456" y="112"/>
                    <a:pt x="3412" y="6"/>
                    <a:pt x="3335" y="6"/>
                  </a:cubicBezTo>
                  <a:cubicBezTo>
                    <a:pt x="3171" y="-28"/>
                    <a:pt x="3051" y="93"/>
                    <a:pt x="2877" y="112"/>
                  </a:cubicBezTo>
                  <a:cubicBezTo>
                    <a:pt x="2636" y="112"/>
                    <a:pt x="2448" y="141"/>
                    <a:pt x="2236" y="252"/>
                  </a:cubicBezTo>
                  <a:cubicBezTo>
                    <a:pt x="1985" y="353"/>
                    <a:pt x="1855" y="498"/>
                    <a:pt x="1715" y="681"/>
                  </a:cubicBezTo>
                  <a:cubicBezTo>
                    <a:pt x="1614" y="792"/>
                    <a:pt x="1436" y="849"/>
                    <a:pt x="1344" y="985"/>
                  </a:cubicBezTo>
                  <a:cubicBezTo>
                    <a:pt x="1330" y="1071"/>
                    <a:pt x="1383" y="1148"/>
                    <a:pt x="1344" y="1245"/>
                  </a:cubicBezTo>
                  <a:cubicBezTo>
                    <a:pt x="1330" y="1346"/>
                    <a:pt x="1229" y="1375"/>
                    <a:pt x="1219" y="1481"/>
                  </a:cubicBezTo>
                  <a:lnTo>
                    <a:pt x="23" y="8018"/>
                  </a:lnTo>
                  <a:cubicBezTo>
                    <a:pt x="-121" y="8948"/>
                    <a:pt x="414" y="9821"/>
                    <a:pt x="1330" y="10096"/>
                  </a:cubicBezTo>
                  <a:cubicBezTo>
                    <a:pt x="2236" y="10366"/>
                    <a:pt x="3171" y="9874"/>
                    <a:pt x="3518" y="9030"/>
                  </a:cubicBezTo>
                  <a:lnTo>
                    <a:pt x="5890" y="3038"/>
                  </a:lnTo>
                  <a:cubicBezTo>
                    <a:pt x="6232" y="2195"/>
                    <a:pt x="5847" y="1182"/>
                    <a:pt x="4998" y="77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97" name="Freihandform: Form 96">
              <a:extLst>
                <a:ext uri="{FF2B5EF4-FFF2-40B4-BE49-F238E27FC236}">
                  <a16:creationId xmlns:a16="http://schemas.microsoft.com/office/drawing/2014/main" id="{EC638766-9BBF-B55A-7B06-169048C9CB0D}"/>
                </a:ext>
              </a:extLst>
            </p:cNvPr>
            <p:cNvSpPr/>
            <p:nvPr/>
          </p:nvSpPr>
          <p:spPr>
            <a:xfrm>
              <a:off x="6115084" y="2906686"/>
              <a:ext cx="74605" cy="174632"/>
            </a:xfrm>
            <a:custGeom>
              <a:avLst/>
              <a:gdLst>
                <a:gd name="connsiteX0" fmla="*/ 47325 w 58474"/>
                <a:gd name="connsiteY0" fmla="*/ 63542 h 137086"/>
                <a:gd name="connsiteX1" fmla="*/ 45806 w 58474"/>
                <a:gd name="connsiteY1" fmla="*/ 62404 h 137086"/>
                <a:gd name="connsiteX2" fmla="*/ 43425 w 58474"/>
                <a:gd name="connsiteY2" fmla="*/ 56470 h 137086"/>
                <a:gd name="connsiteX3" fmla="*/ 43381 w 58474"/>
                <a:gd name="connsiteY3" fmla="*/ 55265 h 137086"/>
                <a:gd name="connsiteX4" fmla="*/ 45054 w 58474"/>
                <a:gd name="connsiteY4" fmla="*/ 49639 h 137086"/>
                <a:gd name="connsiteX5" fmla="*/ 44524 w 58474"/>
                <a:gd name="connsiteY5" fmla="*/ 43782 h 137086"/>
                <a:gd name="connsiteX6" fmla="*/ 41709 w 58474"/>
                <a:gd name="connsiteY6" fmla="*/ 38132 h 137086"/>
                <a:gd name="connsiteX7" fmla="*/ 41525 w 58474"/>
                <a:gd name="connsiteY7" fmla="*/ 37018 h 137086"/>
                <a:gd name="connsiteX8" fmla="*/ 42726 w 58474"/>
                <a:gd name="connsiteY8" fmla="*/ 29883 h 137086"/>
                <a:gd name="connsiteX9" fmla="*/ 43116 w 58474"/>
                <a:gd name="connsiteY9" fmla="*/ 29064 h 137086"/>
                <a:gd name="connsiteX10" fmla="*/ 47850 w 58474"/>
                <a:gd name="connsiteY10" fmla="*/ 23101 h 137086"/>
                <a:gd name="connsiteX11" fmla="*/ 49113 w 58474"/>
                <a:gd name="connsiteY11" fmla="*/ 22421 h 137086"/>
                <a:gd name="connsiteX12" fmla="*/ 52864 w 58474"/>
                <a:gd name="connsiteY12" fmla="*/ 22064 h 137086"/>
                <a:gd name="connsiteX13" fmla="*/ 51697 w 58474"/>
                <a:gd name="connsiteY13" fmla="*/ 18198 h 137086"/>
                <a:gd name="connsiteX14" fmla="*/ 51880 w 58474"/>
                <a:gd name="connsiteY14" fmla="*/ 16771 h 137086"/>
                <a:gd name="connsiteX15" fmla="*/ 55457 w 58474"/>
                <a:gd name="connsiteY15" fmla="*/ 10837 h 137086"/>
                <a:gd name="connsiteX16" fmla="*/ 58475 w 58474"/>
                <a:gd name="connsiteY16" fmla="*/ 5317 h 137086"/>
                <a:gd name="connsiteX17" fmla="*/ 55361 w 58474"/>
                <a:gd name="connsiteY17" fmla="*/ 877 h 137086"/>
                <a:gd name="connsiteX18" fmla="*/ 50887 w 58474"/>
                <a:gd name="connsiteY18" fmla="*/ 0 h 137086"/>
                <a:gd name="connsiteX19" fmla="*/ 45859 w 58474"/>
                <a:gd name="connsiteY19" fmla="*/ 3529 h 137086"/>
                <a:gd name="connsiteX20" fmla="*/ 41873 w 58474"/>
                <a:gd name="connsiteY20" fmla="*/ 9738 h 137086"/>
                <a:gd name="connsiteX21" fmla="*/ 40084 w 58474"/>
                <a:gd name="connsiteY21" fmla="*/ 10572 h 137086"/>
                <a:gd name="connsiteX22" fmla="*/ 38614 w 58474"/>
                <a:gd name="connsiteY22" fmla="*/ 9290 h 137086"/>
                <a:gd name="connsiteX23" fmla="*/ 37110 w 58474"/>
                <a:gd name="connsiteY23" fmla="*/ 4257 h 137086"/>
                <a:gd name="connsiteX24" fmla="*/ 33277 w 58474"/>
                <a:gd name="connsiteY24" fmla="*/ 3119 h 137086"/>
                <a:gd name="connsiteX25" fmla="*/ 29300 w 58474"/>
                <a:gd name="connsiteY25" fmla="*/ 8056 h 137086"/>
                <a:gd name="connsiteX26" fmla="*/ 25183 w 58474"/>
                <a:gd name="connsiteY26" fmla="*/ 13965 h 137086"/>
                <a:gd name="connsiteX27" fmla="*/ 24716 w 58474"/>
                <a:gd name="connsiteY27" fmla="*/ 14428 h 137086"/>
                <a:gd name="connsiteX28" fmla="*/ 19283 w 58474"/>
                <a:gd name="connsiteY28" fmla="*/ 18227 h 137086"/>
                <a:gd name="connsiteX29" fmla="*/ 17118 w 58474"/>
                <a:gd name="connsiteY29" fmla="*/ 24749 h 137086"/>
                <a:gd name="connsiteX30" fmla="*/ 15335 w 58474"/>
                <a:gd name="connsiteY30" fmla="*/ 31826 h 137086"/>
                <a:gd name="connsiteX31" fmla="*/ 8769 w 58474"/>
                <a:gd name="connsiteY31" fmla="*/ 45276 h 137086"/>
                <a:gd name="connsiteX32" fmla="*/ 2550 w 58474"/>
                <a:gd name="connsiteY32" fmla="*/ 50371 h 137086"/>
                <a:gd name="connsiteX33" fmla="*/ 0 w 58474"/>
                <a:gd name="connsiteY33" fmla="*/ 55968 h 137086"/>
                <a:gd name="connsiteX34" fmla="*/ 1060 w 58474"/>
                <a:gd name="connsiteY34" fmla="*/ 61334 h 137086"/>
                <a:gd name="connsiteX35" fmla="*/ 2767 w 58474"/>
                <a:gd name="connsiteY35" fmla="*/ 68729 h 137086"/>
                <a:gd name="connsiteX36" fmla="*/ 6734 w 58474"/>
                <a:gd name="connsiteY36" fmla="*/ 74384 h 137086"/>
                <a:gd name="connsiteX37" fmla="*/ 7052 w 58474"/>
                <a:gd name="connsiteY37" fmla="*/ 75232 h 137086"/>
                <a:gd name="connsiteX38" fmla="*/ 7655 w 58474"/>
                <a:gd name="connsiteY38" fmla="*/ 81195 h 137086"/>
                <a:gd name="connsiteX39" fmla="*/ 7530 w 58474"/>
                <a:gd name="connsiteY39" fmla="*/ 81991 h 137086"/>
                <a:gd name="connsiteX40" fmla="*/ 5196 w 58474"/>
                <a:gd name="connsiteY40" fmla="*/ 88470 h 137086"/>
                <a:gd name="connsiteX41" fmla="*/ 3668 w 58474"/>
                <a:gd name="connsiteY41" fmla="*/ 94052 h 137086"/>
                <a:gd name="connsiteX42" fmla="*/ 7848 w 58474"/>
                <a:gd name="connsiteY42" fmla="*/ 99273 h 137086"/>
                <a:gd name="connsiteX43" fmla="*/ 8195 w 58474"/>
                <a:gd name="connsiteY43" fmla="*/ 99914 h 137086"/>
                <a:gd name="connsiteX44" fmla="*/ 9907 w 58474"/>
                <a:gd name="connsiteY44" fmla="*/ 106157 h 137086"/>
                <a:gd name="connsiteX45" fmla="*/ 14462 w 58474"/>
                <a:gd name="connsiteY45" fmla="*/ 112433 h 137086"/>
                <a:gd name="connsiteX46" fmla="*/ 14780 w 58474"/>
                <a:gd name="connsiteY46" fmla="*/ 113672 h 137086"/>
                <a:gd name="connsiteX47" fmla="*/ 14722 w 58474"/>
                <a:gd name="connsiteY47" fmla="*/ 114564 h 137086"/>
                <a:gd name="connsiteX48" fmla="*/ 17036 w 58474"/>
                <a:gd name="connsiteY48" fmla="*/ 112192 h 137086"/>
                <a:gd name="connsiteX49" fmla="*/ 19022 w 58474"/>
                <a:gd name="connsiteY49" fmla="*/ 111826 h 137086"/>
                <a:gd name="connsiteX50" fmla="*/ 20126 w 58474"/>
                <a:gd name="connsiteY50" fmla="*/ 113532 h 137086"/>
                <a:gd name="connsiteX51" fmla="*/ 20126 w 58474"/>
                <a:gd name="connsiteY51" fmla="*/ 120060 h 137086"/>
                <a:gd name="connsiteX52" fmla="*/ 19726 w 58474"/>
                <a:gd name="connsiteY52" fmla="*/ 121207 h 137086"/>
                <a:gd name="connsiteX53" fmla="*/ 14607 w 58474"/>
                <a:gd name="connsiteY53" fmla="*/ 127455 h 137086"/>
                <a:gd name="connsiteX54" fmla="*/ 13011 w 58474"/>
                <a:gd name="connsiteY54" fmla="*/ 133384 h 137086"/>
                <a:gd name="connsiteX55" fmla="*/ 13011 w 58474"/>
                <a:gd name="connsiteY55" fmla="*/ 137087 h 137086"/>
                <a:gd name="connsiteX56" fmla="*/ 16588 w 58474"/>
                <a:gd name="connsiteY56" fmla="*/ 135790 h 137086"/>
                <a:gd name="connsiteX57" fmla="*/ 20854 w 58474"/>
                <a:gd name="connsiteY57" fmla="*/ 129937 h 137086"/>
                <a:gd name="connsiteX58" fmla="*/ 22122 w 58474"/>
                <a:gd name="connsiteY58" fmla="*/ 125642 h 137086"/>
                <a:gd name="connsiteX59" fmla="*/ 21302 w 58474"/>
                <a:gd name="connsiteY59" fmla="*/ 124403 h 137086"/>
                <a:gd name="connsiteX60" fmla="*/ 20705 w 58474"/>
                <a:gd name="connsiteY60" fmla="*/ 118440 h 137086"/>
                <a:gd name="connsiteX61" fmla="*/ 20907 w 58474"/>
                <a:gd name="connsiteY61" fmla="*/ 117413 h 137086"/>
                <a:gd name="connsiteX62" fmla="*/ 24296 w 58474"/>
                <a:gd name="connsiteY62" fmla="*/ 111127 h 137086"/>
                <a:gd name="connsiteX63" fmla="*/ 25453 w 58474"/>
                <a:gd name="connsiteY63" fmla="*/ 104855 h 137086"/>
                <a:gd name="connsiteX64" fmla="*/ 26104 w 58474"/>
                <a:gd name="connsiteY64" fmla="*/ 103756 h 137086"/>
                <a:gd name="connsiteX65" fmla="*/ 32024 w 58474"/>
                <a:gd name="connsiteY65" fmla="*/ 99017 h 137086"/>
                <a:gd name="connsiteX66" fmla="*/ 38542 w 58474"/>
                <a:gd name="connsiteY66" fmla="*/ 93107 h 137086"/>
                <a:gd name="connsiteX67" fmla="*/ 38773 w 58474"/>
                <a:gd name="connsiteY67" fmla="*/ 92919 h 137086"/>
                <a:gd name="connsiteX68" fmla="*/ 43603 w 58474"/>
                <a:gd name="connsiteY68" fmla="*/ 89858 h 137086"/>
                <a:gd name="connsiteX69" fmla="*/ 40118 w 58474"/>
                <a:gd name="connsiteY69" fmla="*/ 85466 h 137086"/>
                <a:gd name="connsiteX70" fmla="*/ 39983 w 58474"/>
                <a:gd name="connsiteY70" fmla="*/ 83388 h 137086"/>
                <a:gd name="connsiteX71" fmla="*/ 43555 w 58474"/>
                <a:gd name="connsiteY71" fmla="*/ 77449 h 137086"/>
                <a:gd name="connsiteX72" fmla="*/ 43820 w 58474"/>
                <a:gd name="connsiteY72" fmla="*/ 77088 h 137086"/>
                <a:gd name="connsiteX73" fmla="*/ 50371 w 58474"/>
                <a:gd name="connsiteY73" fmla="*/ 70551 h 137086"/>
                <a:gd name="connsiteX74" fmla="*/ 50714 w 58474"/>
                <a:gd name="connsiteY74" fmla="*/ 70291 h 137086"/>
                <a:gd name="connsiteX75" fmla="*/ 55101 w 58474"/>
                <a:gd name="connsiteY75" fmla="*/ 67649 h 137086"/>
                <a:gd name="connsiteX76" fmla="*/ 52941 w 58474"/>
                <a:gd name="connsiteY76" fmla="*/ 64029 h 137086"/>
                <a:gd name="connsiteX77" fmla="*/ 47325 w 58474"/>
                <a:gd name="connsiteY77" fmla="*/ 63542 h 13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8474" h="137086">
                  <a:moveTo>
                    <a:pt x="47325" y="63542"/>
                  </a:moveTo>
                  <a:lnTo>
                    <a:pt x="45806" y="62404"/>
                  </a:lnTo>
                  <a:lnTo>
                    <a:pt x="43425" y="56470"/>
                  </a:lnTo>
                  <a:lnTo>
                    <a:pt x="43381" y="55265"/>
                  </a:lnTo>
                  <a:lnTo>
                    <a:pt x="45054" y="49639"/>
                  </a:lnTo>
                  <a:lnTo>
                    <a:pt x="44524" y="43782"/>
                  </a:lnTo>
                  <a:lnTo>
                    <a:pt x="41709" y="38132"/>
                  </a:lnTo>
                  <a:lnTo>
                    <a:pt x="41525" y="37018"/>
                  </a:lnTo>
                  <a:lnTo>
                    <a:pt x="42726" y="29883"/>
                  </a:lnTo>
                  <a:lnTo>
                    <a:pt x="43116" y="29064"/>
                  </a:lnTo>
                  <a:lnTo>
                    <a:pt x="47850" y="23101"/>
                  </a:lnTo>
                  <a:lnTo>
                    <a:pt x="49113" y="22421"/>
                  </a:lnTo>
                  <a:lnTo>
                    <a:pt x="52864" y="22064"/>
                  </a:lnTo>
                  <a:lnTo>
                    <a:pt x="51697" y="18198"/>
                  </a:lnTo>
                  <a:lnTo>
                    <a:pt x="51880" y="16771"/>
                  </a:lnTo>
                  <a:lnTo>
                    <a:pt x="55457" y="10837"/>
                  </a:lnTo>
                  <a:lnTo>
                    <a:pt x="58475" y="5317"/>
                  </a:lnTo>
                  <a:lnTo>
                    <a:pt x="55361" y="877"/>
                  </a:lnTo>
                  <a:lnTo>
                    <a:pt x="50887" y="0"/>
                  </a:lnTo>
                  <a:lnTo>
                    <a:pt x="45859" y="3529"/>
                  </a:lnTo>
                  <a:lnTo>
                    <a:pt x="41873" y="9738"/>
                  </a:lnTo>
                  <a:lnTo>
                    <a:pt x="40084" y="10572"/>
                  </a:lnTo>
                  <a:lnTo>
                    <a:pt x="38614" y="9290"/>
                  </a:lnTo>
                  <a:lnTo>
                    <a:pt x="37110" y="4257"/>
                  </a:lnTo>
                  <a:lnTo>
                    <a:pt x="33277" y="3119"/>
                  </a:lnTo>
                  <a:lnTo>
                    <a:pt x="29300" y="8056"/>
                  </a:lnTo>
                  <a:lnTo>
                    <a:pt x="25183" y="13965"/>
                  </a:lnTo>
                  <a:lnTo>
                    <a:pt x="24716" y="14428"/>
                  </a:lnTo>
                  <a:lnTo>
                    <a:pt x="19283" y="18227"/>
                  </a:lnTo>
                  <a:lnTo>
                    <a:pt x="17118" y="24749"/>
                  </a:lnTo>
                  <a:lnTo>
                    <a:pt x="15335" y="31826"/>
                  </a:lnTo>
                  <a:cubicBezTo>
                    <a:pt x="13729" y="34786"/>
                    <a:pt x="10890" y="42769"/>
                    <a:pt x="8769" y="45276"/>
                  </a:cubicBezTo>
                  <a:lnTo>
                    <a:pt x="2550" y="50371"/>
                  </a:lnTo>
                  <a:lnTo>
                    <a:pt x="0" y="55968"/>
                  </a:lnTo>
                  <a:lnTo>
                    <a:pt x="1060" y="61334"/>
                  </a:lnTo>
                  <a:lnTo>
                    <a:pt x="2767" y="68729"/>
                  </a:lnTo>
                  <a:lnTo>
                    <a:pt x="6734" y="74384"/>
                  </a:lnTo>
                  <a:lnTo>
                    <a:pt x="7052" y="75232"/>
                  </a:lnTo>
                  <a:lnTo>
                    <a:pt x="7655" y="81195"/>
                  </a:lnTo>
                  <a:lnTo>
                    <a:pt x="7530" y="81991"/>
                  </a:lnTo>
                  <a:lnTo>
                    <a:pt x="5196" y="88470"/>
                  </a:lnTo>
                  <a:lnTo>
                    <a:pt x="3668" y="94052"/>
                  </a:lnTo>
                  <a:lnTo>
                    <a:pt x="7848" y="99273"/>
                  </a:lnTo>
                  <a:lnTo>
                    <a:pt x="8195" y="99914"/>
                  </a:lnTo>
                  <a:lnTo>
                    <a:pt x="9907" y="106157"/>
                  </a:lnTo>
                  <a:lnTo>
                    <a:pt x="14462" y="112433"/>
                  </a:lnTo>
                  <a:lnTo>
                    <a:pt x="14780" y="113672"/>
                  </a:lnTo>
                  <a:lnTo>
                    <a:pt x="14722" y="114564"/>
                  </a:lnTo>
                  <a:lnTo>
                    <a:pt x="17036" y="112192"/>
                  </a:lnTo>
                  <a:lnTo>
                    <a:pt x="19022" y="111826"/>
                  </a:lnTo>
                  <a:lnTo>
                    <a:pt x="20126" y="113532"/>
                  </a:lnTo>
                  <a:lnTo>
                    <a:pt x="20126" y="120060"/>
                  </a:lnTo>
                  <a:lnTo>
                    <a:pt x="19726" y="121207"/>
                  </a:lnTo>
                  <a:lnTo>
                    <a:pt x="14607" y="127455"/>
                  </a:lnTo>
                  <a:lnTo>
                    <a:pt x="13011" y="133384"/>
                  </a:lnTo>
                  <a:lnTo>
                    <a:pt x="13011" y="137087"/>
                  </a:lnTo>
                  <a:lnTo>
                    <a:pt x="16588" y="135790"/>
                  </a:lnTo>
                  <a:lnTo>
                    <a:pt x="20854" y="129937"/>
                  </a:lnTo>
                  <a:lnTo>
                    <a:pt x="22122" y="125642"/>
                  </a:lnTo>
                  <a:lnTo>
                    <a:pt x="21302" y="124403"/>
                  </a:lnTo>
                  <a:lnTo>
                    <a:pt x="20705" y="118440"/>
                  </a:lnTo>
                  <a:lnTo>
                    <a:pt x="20907" y="117413"/>
                  </a:lnTo>
                  <a:lnTo>
                    <a:pt x="24296" y="111127"/>
                  </a:lnTo>
                  <a:lnTo>
                    <a:pt x="25453" y="104855"/>
                  </a:lnTo>
                  <a:lnTo>
                    <a:pt x="26104" y="103756"/>
                  </a:lnTo>
                  <a:lnTo>
                    <a:pt x="32024" y="99017"/>
                  </a:lnTo>
                  <a:lnTo>
                    <a:pt x="38542" y="93107"/>
                  </a:lnTo>
                  <a:lnTo>
                    <a:pt x="38773" y="92919"/>
                  </a:lnTo>
                  <a:lnTo>
                    <a:pt x="43603" y="89858"/>
                  </a:lnTo>
                  <a:lnTo>
                    <a:pt x="40118" y="85466"/>
                  </a:lnTo>
                  <a:lnTo>
                    <a:pt x="39983" y="83388"/>
                  </a:lnTo>
                  <a:lnTo>
                    <a:pt x="43555" y="77449"/>
                  </a:lnTo>
                  <a:lnTo>
                    <a:pt x="43820" y="77088"/>
                  </a:lnTo>
                  <a:lnTo>
                    <a:pt x="50371" y="70551"/>
                  </a:lnTo>
                  <a:lnTo>
                    <a:pt x="50714" y="70291"/>
                  </a:lnTo>
                  <a:lnTo>
                    <a:pt x="55101" y="67649"/>
                  </a:lnTo>
                  <a:lnTo>
                    <a:pt x="52941" y="64029"/>
                  </a:lnTo>
                  <a:lnTo>
                    <a:pt x="47325" y="6354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98" name="Freihandform: Form 97">
              <a:extLst>
                <a:ext uri="{FF2B5EF4-FFF2-40B4-BE49-F238E27FC236}">
                  <a16:creationId xmlns:a16="http://schemas.microsoft.com/office/drawing/2014/main" id="{C83831FA-CF63-D191-2659-F23059B904D1}"/>
                </a:ext>
              </a:extLst>
            </p:cNvPr>
            <p:cNvSpPr/>
            <p:nvPr/>
          </p:nvSpPr>
          <p:spPr>
            <a:xfrm>
              <a:off x="6115084" y="2906686"/>
              <a:ext cx="74605" cy="174632"/>
            </a:xfrm>
            <a:custGeom>
              <a:avLst/>
              <a:gdLst>
                <a:gd name="connsiteX0" fmla="*/ 50714 w 58474"/>
                <a:gd name="connsiteY0" fmla="*/ 70291 h 137086"/>
                <a:gd name="connsiteX1" fmla="*/ 50371 w 58474"/>
                <a:gd name="connsiteY1" fmla="*/ 70551 h 137086"/>
                <a:gd name="connsiteX2" fmla="*/ 43820 w 58474"/>
                <a:gd name="connsiteY2" fmla="*/ 77088 h 137086"/>
                <a:gd name="connsiteX3" fmla="*/ 43555 w 58474"/>
                <a:gd name="connsiteY3" fmla="*/ 77449 h 137086"/>
                <a:gd name="connsiteX4" fmla="*/ 39983 w 58474"/>
                <a:gd name="connsiteY4" fmla="*/ 83388 h 137086"/>
                <a:gd name="connsiteX5" fmla="*/ 40118 w 58474"/>
                <a:gd name="connsiteY5" fmla="*/ 85466 h 137086"/>
                <a:gd name="connsiteX6" fmla="*/ 43603 w 58474"/>
                <a:gd name="connsiteY6" fmla="*/ 89858 h 137086"/>
                <a:gd name="connsiteX7" fmla="*/ 38773 w 58474"/>
                <a:gd name="connsiteY7" fmla="*/ 92919 h 137086"/>
                <a:gd name="connsiteX8" fmla="*/ 38542 w 58474"/>
                <a:gd name="connsiteY8" fmla="*/ 93107 h 137086"/>
                <a:gd name="connsiteX9" fmla="*/ 32024 w 58474"/>
                <a:gd name="connsiteY9" fmla="*/ 99017 h 137086"/>
                <a:gd name="connsiteX10" fmla="*/ 26104 w 58474"/>
                <a:gd name="connsiteY10" fmla="*/ 103756 h 137086"/>
                <a:gd name="connsiteX11" fmla="*/ 25453 w 58474"/>
                <a:gd name="connsiteY11" fmla="*/ 104855 h 137086"/>
                <a:gd name="connsiteX12" fmla="*/ 24296 w 58474"/>
                <a:gd name="connsiteY12" fmla="*/ 111127 h 137086"/>
                <a:gd name="connsiteX13" fmla="*/ 20907 w 58474"/>
                <a:gd name="connsiteY13" fmla="*/ 117413 h 137086"/>
                <a:gd name="connsiteX14" fmla="*/ 20705 w 58474"/>
                <a:gd name="connsiteY14" fmla="*/ 118440 h 137086"/>
                <a:gd name="connsiteX15" fmla="*/ 21302 w 58474"/>
                <a:gd name="connsiteY15" fmla="*/ 124403 h 137086"/>
                <a:gd name="connsiteX16" fmla="*/ 22122 w 58474"/>
                <a:gd name="connsiteY16" fmla="*/ 125642 h 137086"/>
                <a:gd name="connsiteX17" fmla="*/ 20854 w 58474"/>
                <a:gd name="connsiteY17" fmla="*/ 129937 h 137086"/>
                <a:gd name="connsiteX18" fmla="*/ 16588 w 58474"/>
                <a:gd name="connsiteY18" fmla="*/ 135790 h 137086"/>
                <a:gd name="connsiteX19" fmla="*/ 13011 w 58474"/>
                <a:gd name="connsiteY19" fmla="*/ 137087 h 137086"/>
                <a:gd name="connsiteX20" fmla="*/ 13011 w 58474"/>
                <a:gd name="connsiteY20" fmla="*/ 133384 h 137086"/>
                <a:gd name="connsiteX21" fmla="*/ 14607 w 58474"/>
                <a:gd name="connsiteY21" fmla="*/ 127455 h 137086"/>
                <a:gd name="connsiteX22" fmla="*/ 19726 w 58474"/>
                <a:gd name="connsiteY22" fmla="*/ 121207 h 137086"/>
                <a:gd name="connsiteX23" fmla="*/ 20126 w 58474"/>
                <a:gd name="connsiteY23" fmla="*/ 120060 h 137086"/>
                <a:gd name="connsiteX24" fmla="*/ 20126 w 58474"/>
                <a:gd name="connsiteY24" fmla="*/ 113532 h 137086"/>
                <a:gd name="connsiteX25" fmla="*/ 19022 w 58474"/>
                <a:gd name="connsiteY25" fmla="*/ 111826 h 137086"/>
                <a:gd name="connsiteX26" fmla="*/ 17036 w 58474"/>
                <a:gd name="connsiteY26" fmla="*/ 112192 h 137086"/>
                <a:gd name="connsiteX27" fmla="*/ 14722 w 58474"/>
                <a:gd name="connsiteY27" fmla="*/ 114564 h 137086"/>
                <a:gd name="connsiteX28" fmla="*/ 14780 w 58474"/>
                <a:gd name="connsiteY28" fmla="*/ 113672 h 137086"/>
                <a:gd name="connsiteX29" fmla="*/ 14462 w 58474"/>
                <a:gd name="connsiteY29" fmla="*/ 112433 h 137086"/>
                <a:gd name="connsiteX30" fmla="*/ 9907 w 58474"/>
                <a:gd name="connsiteY30" fmla="*/ 106157 h 137086"/>
                <a:gd name="connsiteX31" fmla="*/ 8195 w 58474"/>
                <a:gd name="connsiteY31" fmla="*/ 99914 h 137086"/>
                <a:gd name="connsiteX32" fmla="*/ 7848 w 58474"/>
                <a:gd name="connsiteY32" fmla="*/ 99273 h 137086"/>
                <a:gd name="connsiteX33" fmla="*/ 3668 w 58474"/>
                <a:gd name="connsiteY33" fmla="*/ 94052 h 137086"/>
                <a:gd name="connsiteX34" fmla="*/ 5196 w 58474"/>
                <a:gd name="connsiteY34" fmla="*/ 88470 h 137086"/>
                <a:gd name="connsiteX35" fmla="*/ 7530 w 58474"/>
                <a:gd name="connsiteY35" fmla="*/ 81991 h 137086"/>
                <a:gd name="connsiteX36" fmla="*/ 7655 w 58474"/>
                <a:gd name="connsiteY36" fmla="*/ 81195 h 137086"/>
                <a:gd name="connsiteX37" fmla="*/ 7052 w 58474"/>
                <a:gd name="connsiteY37" fmla="*/ 75232 h 137086"/>
                <a:gd name="connsiteX38" fmla="*/ 6734 w 58474"/>
                <a:gd name="connsiteY38" fmla="*/ 74384 h 137086"/>
                <a:gd name="connsiteX39" fmla="*/ 2767 w 58474"/>
                <a:gd name="connsiteY39" fmla="*/ 68729 h 137086"/>
                <a:gd name="connsiteX40" fmla="*/ 1060 w 58474"/>
                <a:gd name="connsiteY40" fmla="*/ 61334 h 137086"/>
                <a:gd name="connsiteX41" fmla="*/ 0 w 58474"/>
                <a:gd name="connsiteY41" fmla="*/ 55968 h 137086"/>
                <a:gd name="connsiteX42" fmla="*/ 2550 w 58474"/>
                <a:gd name="connsiteY42" fmla="*/ 50371 h 137086"/>
                <a:gd name="connsiteX43" fmla="*/ 8769 w 58474"/>
                <a:gd name="connsiteY43" fmla="*/ 45276 h 137086"/>
                <a:gd name="connsiteX44" fmla="*/ 15335 w 58474"/>
                <a:gd name="connsiteY44" fmla="*/ 31826 h 137086"/>
                <a:gd name="connsiteX45" fmla="*/ 17118 w 58474"/>
                <a:gd name="connsiteY45" fmla="*/ 24749 h 137086"/>
                <a:gd name="connsiteX46" fmla="*/ 19283 w 58474"/>
                <a:gd name="connsiteY46" fmla="*/ 18227 h 137086"/>
                <a:gd name="connsiteX47" fmla="*/ 24716 w 58474"/>
                <a:gd name="connsiteY47" fmla="*/ 14428 h 137086"/>
                <a:gd name="connsiteX48" fmla="*/ 25183 w 58474"/>
                <a:gd name="connsiteY48" fmla="*/ 13965 h 137086"/>
                <a:gd name="connsiteX49" fmla="*/ 29300 w 58474"/>
                <a:gd name="connsiteY49" fmla="*/ 8056 h 137086"/>
                <a:gd name="connsiteX50" fmla="*/ 33277 w 58474"/>
                <a:gd name="connsiteY50" fmla="*/ 3119 h 137086"/>
                <a:gd name="connsiteX51" fmla="*/ 37110 w 58474"/>
                <a:gd name="connsiteY51" fmla="*/ 4257 h 137086"/>
                <a:gd name="connsiteX52" fmla="*/ 38614 w 58474"/>
                <a:gd name="connsiteY52" fmla="*/ 9290 h 137086"/>
                <a:gd name="connsiteX53" fmla="*/ 40084 w 58474"/>
                <a:gd name="connsiteY53" fmla="*/ 10572 h 137086"/>
                <a:gd name="connsiteX54" fmla="*/ 41873 w 58474"/>
                <a:gd name="connsiteY54" fmla="*/ 9738 h 137086"/>
                <a:gd name="connsiteX55" fmla="*/ 45859 w 58474"/>
                <a:gd name="connsiteY55" fmla="*/ 3529 h 137086"/>
                <a:gd name="connsiteX56" fmla="*/ 50887 w 58474"/>
                <a:gd name="connsiteY56" fmla="*/ 0 h 137086"/>
                <a:gd name="connsiteX57" fmla="*/ 55361 w 58474"/>
                <a:gd name="connsiteY57" fmla="*/ 877 h 137086"/>
                <a:gd name="connsiteX58" fmla="*/ 58475 w 58474"/>
                <a:gd name="connsiteY58" fmla="*/ 5317 h 137086"/>
                <a:gd name="connsiteX59" fmla="*/ 55457 w 58474"/>
                <a:gd name="connsiteY59" fmla="*/ 10837 h 137086"/>
                <a:gd name="connsiteX60" fmla="*/ 51880 w 58474"/>
                <a:gd name="connsiteY60" fmla="*/ 16771 h 137086"/>
                <a:gd name="connsiteX61" fmla="*/ 51697 w 58474"/>
                <a:gd name="connsiteY61" fmla="*/ 18198 h 137086"/>
                <a:gd name="connsiteX62" fmla="*/ 52864 w 58474"/>
                <a:gd name="connsiteY62" fmla="*/ 22064 h 137086"/>
                <a:gd name="connsiteX63" fmla="*/ 49113 w 58474"/>
                <a:gd name="connsiteY63" fmla="*/ 22421 h 137086"/>
                <a:gd name="connsiteX64" fmla="*/ 47850 w 58474"/>
                <a:gd name="connsiteY64" fmla="*/ 23101 h 137086"/>
                <a:gd name="connsiteX65" fmla="*/ 43116 w 58474"/>
                <a:gd name="connsiteY65" fmla="*/ 29064 h 137086"/>
                <a:gd name="connsiteX66" fmla="*/ 42726 w 58474"/>
                <a:gd name="connsiteY66" fmla="*/ 29883 h 137086"/>
                <a:gd name="connsiteX67" fmla="*/ 41525 w 58474"/>
                <a:gd name="connsiteY67" fmla="*/ 37018 h 137086"/>
                <a:gd name="connsiteX68" fmla="*/ 41709 w 58474"/>
                <a:gd name="connsiteY68" fmla="*/ 38132 h 137086"/>
                <a:gd name="connsiteX69" fmla="*/ 44524 w 58474"/>
                <a:gd name="connsiteY69" fmla="*/ 43782 h 137086"/>
                <a:gd name="connsiteX70" fmla="*/ 45054 w 58474"/>
                <a:gd name="connsiteY70" fmla="*/ 49639 h 137086"/>
                <a:gd name="connsiteX71" fmla="*/ 43381 w 58474"/>
                <a:gd name="connsiteY71" fmla="*/ 55265 h 137086"/>
                <a:gd name="connsiteX72" fmla="*/ 43425 w 58474"/>
                <a:gd name="connsiteY72" fmla="*/ 56470 h 137086"/>
                <a:gd name="connsiteX73" fmla="*/ 45806 w 58474"/>
                <a:gd name="connsiteY73" fmla="*/ 62404 h 137086"/>
                <a:gd name="connsiteX74" fmla="*/ 47325 w 58474"/>
                <a:gd name="connsiteY74" fmla="*/ 63542 h 137086"/>
                <a:gd name="connsiteX75" fmla="*/ 52941 w 58474"/>
                <a:gd name="connsiteY75" fmla="*/ 64029 h 137086"/>
                <a:gd name="connsiteX76" fmla="*/ 55101 w 58474"/>
                <a:gd name="connsiteY76" fmla="*/ 67649 h 137086"/>
                <a:gd name="connsiteX77" fmla="*/ 50714 w 58474"/>
                <a:gd name="connsiteY77" fmla="*/ 70291 h 13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8474" h="137086">
                  <a:moveTo>
                    <a:pt x="50714" y="70291"/>
                  </a:moveTo>
                  <a:lnTo>
                    <a:pt x="50371" y="70551"/>
                  </a:lnTo>
                  <a:lnTo>
                    <a:pt x="43820" y="77088"/>
                  </a:lnTo>
                  <a:lnTo>
                    <a:pt x="43555" y="77449"/>
                  </a:lnTo>
                  <a:lnTo>
                    <a:pt x="39983" y="83388"/>
                  </a:lnTo>
                  <a:lnTo>
                    <a:pt x="40118" y="85466"/>
                  </a:lnTo>
                  <a:lnTo>
                    <a:pt x="43603" y="89858"/>
                  </a:lnTo>
                  <a:lnTo>
                    <a:pt x="38773" y="92919"/>
                  </a:lnTo>
                  <a:lnTo>
                    <a:pt x="38542" y="93107"/>
                  </a:lnTo>
                  <a:lnTo>
                    <a:pt x="32024" y="99017"/>
                  </a:lnTo>
                  <a:lnTo>
                    <a:pt x="26104" y="103756"/>
                  </a:lnTo>
                  <a:lnTo>
                    <a:pt x="25453" y="104855"/>
                  </a:lnTo>
                  <a:lnTo>
                    <a:pt x="24296" y="111127"/>
                  </a:lnTo>
                  <a:lnTo>
                    <a:pt x="20907" y="117413"/>
                  </a:lnTo>
                  <a:lnTo>
                    <a:pt x="20705" y="118440"/>
                  </a:lnTo>
                  <a:lnTo>
                    <a:pt x="21302" y="124403"/>
                  </a:lnTo>
                  <a:lnTo>
                    <a:pt x="22122" y="125642"/>
                  </a:lnTo>
                  <a:lnTo>
                    <a:pt x="20854" y="129937"/>
                  </a:lnTo>
                  <a:lnTo>
                    <a:pt x="16588" y="135790"/>
                  </a:lnTo>
                  <a:lnTo>
                    <a:pt x="13011" y="137087"/>
                  </a:lnTo>
                  <a:lnTo>
                    <a:pt x="13011" y="133384"/>
                  </a:lnTo>
                  <a:lnTo>
                    <a:pt x="14607" y="127455"/>
                  </a:lnTo>
                  <a:lnTo>
                    <a:pt x="19726" y="121207"/>
                  </a:lnTo>
                  <a:lnTo>
                    <a:pt x="20126" y="120060"/>
                  </a:lnTo>
                  <a:lnTo>
                    <a:pt x="20126" y="113532"/>
                  </a:lnTo>
                  <a:lnTo>
                    <a:pt x="19022" y="111826"/>
                  </a:lnTo>
                  <a:lnTo>
                    <a:pt x="17036" y="112192"/>
                  </a:lnTo>
                  <a:lnTo>
                    <a:pt x="14722" y="114564"/>
                  </a:lnTo>
                  <a:lnTo>
                    <a:pt x="14780" y="113672"/>
                  </a:lnTo>
                  <a:lnTo>
                    <a:pt x="14462" y="112433"/>
                  </a:lnTo>
                  <a:lnTo>
                    <a:pt x="9907" y="106157"/>
                  </a:lnTo>
                  <a:lnTo>
                    <a:pt x="8195" y="99914"/>
                  </a:lnTo>
                  <a:lnTo>
                    <a:pt x="7848" y="99273"/>
                  </a:lnTo>
                  <a:lnTo>
                    <a:pt x="3668" y="94052"/>
                  </a:lnTo>
                  <a:lnTo>
                    <a:pt x="5196" y="88470"/>
                  </a:lnTo>
                  <a:lnTo>
                    <a:pt x="7530" y="81991"/>
                  </a:lnTo>
                  <a:lnTo>
                    <a:pt x="7655" y="81195"/>
                  </a:lnTo>
                  <a:lnTo>
                    <a:pt x="7052" y="75232"/>
                  </a:lnTo>
                  <a:lnTo>
                    <a:pt x="6734" y="74384"/>
                  </a:lnTo>
                  <a:lnTo>
                    <a:pt x="2767" y="68729"/>
                  </a:lnTo>
                  <a:lnTo>
                    <a:pt x="1060" y="61334"/>
                  </a:lnTo>
                  <a:lnTo>
                    <a:pt x="0" y="55968"/>
                  </a:lnTo>
                  <a:lnTo>
                    <a:pt x="2550" y="50371"/>
                  </a:lnTo>
                  <a:lnTo>
                    <a:pt x="8769" y="45276"/>
                  </a:lnTo>
                  <a:cubicBezTo>
                    <a:pt x="10885" y="42769"/>
                    <a:pt x="13724" y="34786"/>
                    <a:pt x="15335" y="31826"/>
                  </a:cubicBezTo>
                  <a:lnTo>
                    <a:pt x="17118" y="24749"/>
                  </a:lnTo>
                  <a:lnTo>
                    <a:pt x="19283" y="18227"/>
                  </a:lnTo>
                  <a:lnTo>
                    <a:pt x="24716" y="14428"/>
                  </a:lnTo>
                  <a:lnTo>
                    <a:pt x="25183" y="13965"/>
                  </a:lnTo>
                  <a:lnTo>
                    <a:pt x="29300" y="8056"/>
                  </a:lnTo>
                  <a:lnTo>
                    <a:pt x="33277" y="3119"/>
                  </a:lnTo>
                  <a:lnTo>
                    <a:pt x="37110" y="4257"/>
                  </a:lnTo>
                  <a:lnTo>
                    <a:pt x="38614" y="9290"/>
                  </a:lnTo>
                  <a:lnTo>
                    <a:pt x="40084" y="10572"/>
                  </a:lnTo>
                  <a:lnTo>
                    <a:pt x="41873" y="9738"/>
                  </a:lnTo>
                  <a:lnTo>
                    <a:pt x="45859" y="3529"/>
                  </a:lnTo>
                  <a:lnTo>
                    <a:pt x="50887" y="0"/>
                  </a:lnTo>
                  <a:lnTo>
                    <a:pt x="55361" y="877"/>
                  </a:lnTo>
                  <a:lnTo>
                    <a:pt x="58475" y="5317"/>
                  </a:lnTo>
                  <a:lnTo>
                    <a:pt x="55457" y="10837"/>
                  </a:lnTo>
                  <a:lnTo>
                    <a:pt x="51880" y="16771"/>
                  </a:lnTo>
                  <a:lnTo>
                    <a:pt x="51697" y="18198"/>
                  </a:lnTo>
                  <a:lnTo>
                    <a:pt x="52864" y="22064"/>
                  </a:lnTo>
                  <a:lnTo>
                    <a:pt x="49113" y="22421"/>
                  </a:lnTo>
                  <a:lnTo>
                    <a:pt x="47850" y="23101"/>
                  </a:lnTo>
                  <a:lnTo>
                    <a:pt x="43116" y="29064"/>
                  </a:lnTo>
                  <a:lnTo>
                    <a:pt x="42726" y="29883"/>
                  </a:lnTo>
                  <a:lnTo>
                    <a:pt x="41525" y="37018"/>
                  </a:lnTo>
                  <a:lnTo>
                    <a:pt x="41709" y="38132"/>
                  </a:lnTo>
                  <a:lnTo>
                    <a:pt x="44524" y="43782"/>
                  </a:lnTo>
                  <a:lnTo>
                    <a:pt x="45054" y="49639"/>
                  </a:lnTo>
                  <a:lnTo>
                    <a:pt x="43381" y="55265"/>
                  </a:lnTo>
                  <a:lnTo>
                    <a:pt x="43425" y="56470"/>
                  </a:lnTo>
                  <a:lnTo>
                    <a:pt x="45806" y="62404"/>
                  </a:lnTo>
                  <a:lnTo>
                    <a:pt x="47325" y="63542"/>
                  </a:lnTo>
                  <a:lnTo>
                    <a:pt x="52941" y="64029"/>
                  </a:lnTo>
                  <a:lnTo>
                    <a:pt x="55101" y="67649"/>
                  </a:lnTo>
                  <a:lnTo>
                    <a:pt x="50714" y="7029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99" name="Freihandform: Form 98">
              <a:extLst>
                <a:ext uri="{FF2B5EF4-FFF2-40B4-BE49-F238E27FC236}">
                  <a16:creationId xmlns:a16="http://schemas.microsoft.com/office/drawing/2014/main" id="{39717B65-D258-1992-2408-2E5BC7BE3B4B}"/>
                </a:ext>
              </a:extLst>
            </p:cNvPr>
            <p:cNvSpPr/>
            <p:nvPr/>
          </p:nvSpPr>
          <p:spPr>
            <a:xfrm>
              <a:off x="6188101" y="2887635"/>
              <a:ext cx="25397" cy="30163"/>
            </a:xfrm>
            <a:custGeom>
              <a:avLst/>
              <a:gdLst>
                <a:gd name="connsiteX0" fmla="*/ 19702 w 20030"/>
                <a:gd name="connsiteY0" fmla="*/ 6609 h 23829"/>
                <a:gd name="connsiteX1" fmla="*/ 14939 w 20030"/>
                <a:gd name="connsiteY1" fmla="*/ 641 h 23829"/>
                <a:gd name="connsiteX2" fmla="*/ 13156 w 20030"/>
                <a:gd name="connsiteY2" fmla="*/ 0 h 23829"/>
                <a:gd name="connsiteX3" fmla="*/ 7217 w 20030"/>
                <a:gd name="connsiteY3" fmla="*/ 1205 h 23829"/>
                <a:gd name="connsiteX4" fmla="*/ 5949 w 20030"/>
                <a:gd name="connsiteY4" fmla="*/ 2150 h 23829"/>
                <a:gd name="connsiteX5" fmla="*/ 2979 w 20030"/>
                <a:gd name="connsiteY5" fmla="*/ 8118 h 23829"/>
                <a:gd name="connsiteX6" fmla="*/ 0 w 20030"/>
                <a:gd name="connsiteY6" fmla="*/ 14086 h 23829"/>
                <a:gd name="connsiteX7" fmla="*/ 328 w 20030"/>
                <a:gd name="connsiteY7" fmla="*/ 16169 h 23829"/>
                <a:gd name="connsiteX8" fmla="*/ 921 w 20030"/>
                <a:gd name="connsiteY8" fmla="*/ 16771 h 23829"/>
                <a:gd name="connsiteX9" fmla="*/ 935 w 20030"/>
                <a:gd name="connsiteY9" fmla="*/ 16771 h 23829"/>
                <a:gd name="connsiteX10" fmla="*/ 6826 w 20030"/>
                <a:gd name="connsiteY10" fmla="*/ 23246 h 23829"/>
                <a:gd name="connsiteX11" fmla="*/ 8456 w 20030"/>
                <a:gd name="connsiteY11" fmla="*/ 23829 h 23829"/>
                <a:gd name="connsiteX12" fmla="*/ 9829 w 20030"/>
                <a:gd name="connsiteY12" fmla="*/ 22788 h 23829"/>
                <a:gd name="connsiteX13" fmla="*/ 12784 w 20030"/>
                <a:gd name="connsiteY13" fmla="*/ 16246 h 23829"/>
                <a:gd name="connsiteX14" fmla="*/ 12915 w 20030"/>
                <a:gd name="connsiteY14" fmla="*/ 15846 h 23829"/>
                <a:gd name="connsiteX15" fmla="*/ 13912 w 20030"/>
                <a:gd name="connsiteY15" fmla="*/ 10967 h 23829"/>
                <a:gd name="connsiteX16" fmla="*/ 18830 w 20030"/>
                <a:gd name="connsiteY16" fmla="*/ 9497 h 23829"/>
                <a:gd name="connsiteX17" fmla="*/ 20030 w 20030"/>
                <a:gd name="connsiteY17" fmla="*/ 8287 h 23829"/>
                <a:gd name="connsiteX18" fmla="*/ 19702 w 20030"/>
                <a:gd name="connsiteY18" fmla="*/ 6609 h 2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30" h="23829">
                  <a:moveTo>
                    <a:pt x="19702" y="6609"/>
                  </a:moveTo>
                  <a:lnTo>
                    <a:pt x="14939" y="641"/>
                  </a:lnTo>
                  <a:lnTo>
                    <a:pt x="13156" y="0"/>
                  </a:lnTo>
                  <a:lnTo>
                    <a:pt x="7217" y="1205"/>
                  </a:lnTo>
                  <a:lnTo>
                    <a:pt x="5949" y="2150"/>
                  </a:lnTo>
                  <a:lnTo>
                    <a:pt x="2979" y="8118"/>
                  </a:lnTo>
                  <a:lnTo>
                    <a:pt x="0" y="14086"/>
                  </a:lnTo>
                  <a:lnTo>
                    <a:pt x="328" y="16169"/>
                  </a:lnTo>
                  <a:lnTo>
                    <a:pt x="921" y="16771"/>
                  </a:lnTo>
                  <a:lnTo>
                    <a:pt x="935" y="16771"/>
                  </a:lnTo>
                  <a:lnTo>
                    <a:pt x="6826" y="23246"/>
                  </a:lnTo>
                  <a:lnTo>
                    <a:pt x="8456" y="23829"/>
                  </a:lnTo>
                  <a:lnTo>
                    <a:pt x="9829" y="22788"/>
                  </a:lnTo>
                  <a:lnTo>
                    <a:pt x="12784" y="16246"/>
                  </a:lnTo>
                  <a:lnTo>
                    <a:pt x="12915" y="15846"/>
                  </a:lnTo>
                  <a:lnTo>
                    <a:pt x="13912" y="10967"/>
                  </a:lnTo>
                  <a:lnTo>
                    <a:pt x="18830" y="9497"/>
                  </a:lnTo>
                  <a:lnTo>
                    <a:pt x="20030" y="8287"/>
                  </a:lnTo>
                  <a:lnTo>
                    <a:pt x="19702" y="660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00" name="Freihandform: Form 99">
              <a:extLst>
                <a:ext uri="{FF2B5EF4-FFF2-40B4-BE49-F238E27FC236}">
                  <a16:creationId xmlns:a16="http://schemas.microsoft.com/office/drawing/2014/main" id="{0519B2EC-0968-4B8D-0A16-D29DFF00BF68}"/>
                </a:ext>
              </a:extLst>
            </p:cNvPr>
            <p:cNvSpPr/>
            <p:nvPr/>
          </p:nvSpPr>
          <p:spPr>
            <a:xfrm>
              <a:off x="6516677" y="2652676"/>
              <a:ext cx="28572" cy="19051"/>
            </a:xfrm>
            <a:custGeom>
              <a:avLst/>
              <a:gdLst>
                <a:gd name="connsiteX0" fmla="*/ 20811 w 22672"/>
                <a:gd name="connsiteY0" fmla="*/ 1300 h 14286"/>
                <a:gd name="connsiteX1" fmla="*/ 18917 w 22672"/>
                <a:gd name="connsiteY1" fmla="*/ 8 h 14286"/>
                <a:gd name="connsiteX2" fmla="*/ 12539 w 22672"/>
                <a:gd name="connsiteY2" fmla="*/ 581 h 14286"/>
                <a:gd name="connsiteX3" fmla="*/ 6754 w 22672"/>
                <a:gd name="connsiteY3" fmla="*/ 8 h 14286"/>
                <a:gd name="connsiteX4" fmla="*/ 6710 w 22672"/>
                <a:gd name="connsiteY4" fmla="*/ 8 h 14286"/>
                <a:gd name="connsiteX5" fmla="*/ 5891 w 22672"/>
                <a:gd name="connsiteY5" fmla="*/ 263 h 14286"/>
                <a:gd name="connsiteX6" fmla="*/ 5394 w 22672"/>
                <a:gd name="connsiteY6" fmla="*/ 446 h 14286"/>
                <a:gd name="connsiteX7" fmla="*/ 5361 w 22672"/>
                <a:gd name="connsiteY7" fmla="*/ 446 h 14286"/>
                <a:gd name="connsiteX8" fmla="*/ 612 w 22672"/>
                <a:gd name="connsiteY8" fmla="*/ 4607 h 14286"/>
                <a:gd name="connsiteX9" fmla="*/ 0 w 22672"/>
                <a:gd name="connsiteY9" fmla="*/ 5899 h 14286"/>
                <a:gd name="connsiteX10" fmla="*/ 472 w 22672"/>
                <a:gd name="connsiteY10" fmla="*/ 7205 h 14286"/>
                <a:gd name="connsiteX11" fmla="*/ 6397 w 22672"/>
                <a:gd name="connsiteY11" fmla="*/ 13732 h 14286"/>
                <a:gd name="connsiteX12" fmla="*/ 8239 w 22672"/>
                <a:gd name="connsiteY12" fmla="*/ 14287 h 14286"/>
                <a:gd name="connsiteX13" fmla="*/ 14795 w 22672"/>
                <a:gd name="connsiteY13" fmla="*/ 12503 h 14286"/>
                <a:gd name="connsiteX14" fmla="*/ 15074 w 22672"/>
                <a:gd name="connsiteY14" fmla="*/ 12397 h 14286"/>
                <a:gd name="connsiteX15" fmla="*/ 21621 w 22672"/>
                <a:gd name="connsiteY15" fmla="*/ 9413 h 14286"/>
                <a:gd name="connsiteX16" fmla="*/ 22580 w 22672"/>
                <a:gd name="connsiteY16" fmla="*/ 7224 h 14286"/>
                <a:gd name="connsiteX17" fmla="*/ 20811 w 22672"/>
                <a:gd name="connsiteY17" fmla="*/ 1300 h 1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72" h="14286">
                  <a:moveTo>
                    <a:pt x="20811" y="1300"/>
                  </a:moveTo>
                  <a:cubicBezTo>
                    <a:pt x="20555" y="446"/>
                    <a:pt x="19770" y="-69"/>
                    <a:pt x="18917" y="8"/>
                  </a:cubicBezTo>
                  <a:lnTo>
                    <a:pt x="12539" y="581"/>
                  </a:lnTo>
                  <a:lnTo>
                    <a:pt x="6754" y="8"/>
                  </a:lnTo>
                  <a:cubicBezTo>
                    <a:pt x="6754" y="8"/>
                    <a:pt x="6744" y="8"/>
                    <a:pt x="6710" y="8"/>
                  </a:cubicBezTo>
                  <a:cubicBezTo>
                    <a:pt x="6426" y="-12"/>
                    <a:pt x="6170" y="147"/>
                    <a:pt x="5891" y="263"/>
                  </a:cubicBezTo>
                  <a:cubicBezTo>
                    <a:pt x="5722" y="331"/>
                    <a:pt x="5534" y="307"/>
                    <a:pt x="5394" y="446"/>
                  </a:cubicBezTo>
                  <a:lnTo>
                    <a:pt x="5361" y="446"/>
                  </a:lnTo>
                  <a:lnTo>
                    <a:pt x="612" y="4607"/>
                  </a:lnTo>
                  <a:lnTo>
                    <a:pt x="0" y="5899"/>
                  </a:lnTo>
                  <a:lnTo>
                    <a:pt x="472" y="7205"/>
                  </a:lnTo>
                  <a:lnTo>
                    <a:pt x="6397" y="13732"/>
                  </a:lnTo>
                  <a:lnTo>
                    <a:pt x="8239" y="14287"/>
                  </a:lnTo>
                  <a:lnTo>
                    <a:pt x="14795" y="12503"/>
                  </a:lnTo>
                  <a:lnTo>
                    <a:pt x="15074" y="12397"/>
                  </a:lnTo>
                  <a:lnTo>
                    <a:pt x="21621" y="9413"/>
                  </a:lnTo>
                  <a:cubicBezTo>
                    <a:pt x="22460" y="9022"/>
                    <a:pt x="22869" y="8097"/>
                    <a:pt x="22580" y="7224"/>
                  </a:cubicBezTo>
                  <a:lnTo>
                    <a:pt x="20811" y="130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01" name="Freihandform: Form 100">
              <a:extLst>
                <a:ext uri="{FF2B5EF4-FFF2-40B4-BE49-F238E27FC236}">
                  <a16:creationId xmlns:a16="http://schemas.microsoft.com/office/drawing/2014/main" id="{904967C8-DD63-A415-3D48-453EFF31945E}"/>
                </a:ext>
              </a:extLst>
            </p:cNvPr>
            <p:cNvSpPr/>
            <p:nvPr/>
          </p:nvSpPr>
          <p:spPr>
            <a:xfrm>
              <a:off x="6427787" y="2655851"/>
              <a:ext cx="90477" cy="71440"/>
            </a:xfrm>
            <a:custGeom>
              <a:avLst/>
              <a:gdLst>
                <a:gd name="connsiteX0" fmla="*/ 69977 w 70336"/>
                <a:gd name="connsiteY0" fmla="*/ 25077 h 56469"/>
                <a:gd name="connsiteX1" fmla="*/ 65349 w 70336"/>
                <a:gd name="connsiteY1" fmla="*/ 18724 h 56469"/>
                <a:gd name="connsiteX2" fmla="*/ 63074 w 70336"/>
                <a:gd name="connsiteY2" fmla="*/ 12973 h 56469"/>
                <a:gd name="connsiteX3" fmla="*/ 62308 w 70336"/>
                <a:gd name="connsiteY3" fmla="*/ 12081 h 56469"/>
                <a:gd name="connsiteX4" fmla="*/ 56383 w 70336"/>
                <a:gd name="connsiteY4" fmla="*/ 8528 h 56469"/>
                <a:gd name="connsiteX5" fmla="*/ 55274 w 70336"/>
                <a:gd name="connsiteY5" fmla="*/ 8287 h 56469"/>
                <a:gd name="connsiteX6" fmla="*/ 49200 w 70336"/>
                <a:gd name="connsiteY6" fmla="*/ 8822 h 56469"/>
                <a:gd name="connsiteX7" fmla="*/ 43425 w 70336"/>
                <a:gd name="connsiteY7" fmla="*/ 6199 h 56469"/>
                <a:gd name="connsiteX8" fmla="*/ 38320 w 70336"/>
                <a:gd name="connsiteY8" fmla="*/ 535 h 56469"/>
                <a:gd name="connsiteX9" fmla="*/ 38151 w 70336"/>
                <a:gd name="connsiteY9" fmla="*/ 463 h 56469"/>
                <a:gd name="connsiteX10" fmla="*/ 38074 w 70336"/>
                <a:gd name="connsiteY10" fmla="*/ 289 h 56469"/>
                <a:gd name="connsiteX11" fmla="*/ 37544 w 70336"/>
                <a:gd name="connsiteY11" fmla="*/ 164 h 56469"/>
                <a:gd name="connsiteX12" fmla="*/ 36883 w 70336"/>
                <a:gd name="connsiteY12" fmla="*/ 0 h 56469"/>
                <a:gd name="connsiteX13" fmla="*/ 36232 w 70336"/>
                <a:gd name="connsiteY13" fmla="*/ 231 h 56469"/>
                <a:gd name="connsiteX14" fmla="*/ 35760 w 70336"/>
                <a:gd name="connsiteY14" fmla="*/ 410 h 56469"/>
                <a:gd name="connsiteX15" fmla="*/ 35664 w 70336"/>
                <a:gd name="connsiteY15" fmla="*/ 564 h 56469"/>
                <a:gd name="connsiteX16" fmla="*/ 35504 w 70336"/>
                <a:gd name="connsiteY16" fmla="*/ 641 h 56469"/>
                <a:gd name="connsiteX17" fmla="*/ 31971 w 70336"/>
                <a:gd name="connsiteY17" fmla="*/ 5375 h 56469"/>
                <a:gd name="connsiteX18" fmla="*/ 26654 w 70336"/>
                <a:gd name="connsiteY18" fmla="*/ 11922 h 56469"/>
                <a:gd name="connsiteX19" fmla="*/ 26263 w 70336"/>
                <a:gd name="connsiteY19" fmla="*/ 12736 h 56469"/>
                <a:gd name="connsiteX20" fmla="*/ 25222 w 70336"/>
                <a:gd name="connsiteY20" fmla="*/ 18285 h 56469"/>
                <a:gd name="connsiteX21" fmla="*/ 20372 w 70336"/>
                <a:gd name="connsiteY21" fmla="*/ 20228 h 56469"/>
                <a:gd name="connsiteX22" fmla="*/ 14014 w 70336"/>
                <a:gd name="connsiteY22" fmla="*/ 21361 h 56469"/>
                <a:gd name="connsiteX23" fmla="*/ 13720 w 70336"/>
                <a:gd name="connsiteY23" fmla="*/ 21447 h 56469"/>
                <a:gd name="connsiteX24" fmla="*/ 7159 w 70336"/>
                <a:gd name="connsiteY24" fmla="*/ 23834 h 56469"/>
                <a:gd name="connsiteX25" fmla="*/ 6879 w 70336"/>
                <a:gd name="connsiteY25" fmla="*/ 23959 h 56469"/>
                <a:gd name="connsiteX26" fmla="*/ 902 w 70336"/>
                <a:gd name="connsiteY26" fmla="*/ 27555 h 56469"/>
                <a:gd name="connsiteX27" fmla="*/ 0 w 70336"/>
                <a:gd name="connsiteY27" fmla="*/ 29281 h 56469"/>
                <a:gd name="connsiteX28" fmla="*/ 1195 w 70336"/>
                <a:gd name="connsiteY28" fmla="*/ 30800 h 56469"/>
                <a:gd name="connsiteX29" fmla="*/ 7120 w 70336"/>
                <a:gd name="connsiteY29" fmla="*/ 33186 h 56469"/>
                <a:gd name="connsiteX30" fmla="*/ 7284 w 70336"/>
                <a:gd name="connsiteY30" fmla="*/ 33248 h 56469"/>
                <a:gd name="connsiteX31" fmla="*/ 13238 w 70336"/>
                <a:gd name="connsiteY31" fmla="*/ 35023 h 56469"/>
                <a:gd name="connsiteX32" fmla="*/ 14462 w 70336"/>
                <a:gd name="connsiteY32" fmla="*/ 34969 h 56469"/>
                <a:gd name="connsiteX33" fmla="*/ 20835 w 70336"/>
                <a:gd name="connsiteY33" fmla="*/ 32313 h 56469"/>
                <a:gd name="connsiteX34" fmla="*/ 26567 w 70336"/>
                <a:gd name="connsiteY34" fmla="*/ 35186 h 56469"/>
                <a:gd name="connsiteX35" fmla="*/ 28717 w 70336"/>
                <a:gd name="connsiteY35" fmla="*/ 41034 h 56469"/>
                <a:gd name="connsiteX36" fmla="*/ 28847 w 70336"/>
                <a:gd name="connsiteY36" fmla="*/ 41371 h 56469"/>
                <a:gd name="connsiteX37" fmla="*/ 32178 w 70336"/>
                <a:gd name="connsiteY37" fmla="*/ 46886 h 56469"/>
                <a:gd name="connsiteX38" fmla="*/ 32178 w 70336"/>
                <a:gd name="connsiteY38" fmla="*/ 52902 h 56469"/>
                <a:gd name="connsiteX39" fmla="*/ 33518 w 70336"/>
                <a:gd name="connsiteY39" fmla="*/ 54686 h 56469"/>
                <a:gd name="connsiteX40" fmla="*/ 40041 w 70336"/>
                <a:gd name="connsiteY40" fmla="*/ 56470 h 56469"/>
                <a:gd name="connsiteX41" fmla="*/ 41275 w 70336"/>
                <a:gd name="connsiteY41" fmla="*/ 56354 h 56469"/>
                <a:gd name="connsiteX42" fmla="*/ 47817 w 70336"/>
                <a:gd name="connsiteY42" fmla="*/ 53370 h 56469"/>
                <a:gd name="connsiteX43" fmla="*/ 48848 w 70336"/>
                <a:gd name="connsiteY43" fmla="*/ 52204 h 56469"/>
                <a:gd name="connsiteX44" fmla="*/ 50608 w 70336"/>
                <a:gd name="connsiteY44" fmla="*/ 45667 h 56469"/>
                <a:gd name="connsiteX45" fmla="*/ 52232 w 70336"/>
                <a:gd name="connsiteY45" fmla="*/ 39703 h 56469"/>
                <a:gd name="connsiteX46" fmla="*/ 52656 w 70336"/>
                <a:gd name="connsiteY46" fmla="*/ 39337 h 56469"/>
                <a:gd name="connsiteX47" fmla="*/ 52502 w 70336"/>
                <a:gd name="connsiteY47" fmla="*/ 39814 h 56469"/>
                <a:gd name="connsiteX48" fmla="*/ 52951 w 70336"/>
                <a:gd name="connsiteY48" fmla="*/ 41728 h 56469"/>
                <a:gd name="connsiteX49" fmla="*/ 54913 w 70336"/>
                <a:gd name="connsiteY49" fmla="*/ 42119 h 56469"/>
                <a:gd name="connsiteX50" fmla="*/ 62042 w 70336"/>
                <a:gd name="connsiteY50" fmla="*/ 39125 h 56469"/>
                <a:gd name="connsiteX51" fmla="*/ 63175 w 70336"/>
                <a:gd name="connsiteY51" fmla="*/ 37794 h 56469"/>
                <a:gd name="connsiteX52" fmla="*/ 64207 w 70336"/>
                <a:gd name="connsiteY52" fmla="*/ 31913 h 56469"/>
                <a:gd name="connsiteX53" fmla="*/ 69635 w 70336"/>
                <a:gd name="connsiteY53" fmla="*/ 27589 h 56469"/>
                <a:gd name="connsiteX54" fmla="*/ 69977 w 70336"/>
                <a:gd name="connsiteY54" fmla="*/ 25077 h 5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70336" h="56469">
                  <a:moveTo>
                    <a:pt x="69977" y="25077"/>
                  </a:moveTo>
                  <a:lnTo>
                    <a:pt x="65349" y="18724"/>
                  </a:lnTo>
                  <a:lnTo>
                    <a:pt x="63074" y="12973"/>
                  </a:lnTo>
                  <a:lnTo>
                    <a:pt x="62308" y="12081"/>
                  </a:lnTo>
                  <a:lnTo>
                    <a:pt x="56383" y="8528"/>
                  </a:lnTo>
                  <a:lnTo>
                    <a:pt x="55274" y="8287"/>
                  </a:lnTo>
                  <a:lnTo>
                    <a:pt x="49200" y="8822"/>
                  </a:lnTo>
                  <a:lnTo>
                    <a:pt x="43425" y="6199"/>
                  </a:lnTo>
                  <a:lnTo>
                    <a:pt x="38320" y="535"/>
                  </a:lnTo>
                  <a:cubicBezTo>
                    <a:pt x="38291" y="487"/>
                    <a:pt x="38199" y="511"/>
                    <a:pt x="38151" y="463"/>
                  </a:cubicBezTo>
                  <a:cubicBezTo>
                    <a:pt x="38083" y="415"/>
                    <a:pt x="38117" y="357"/>
                    <a:pt x="38074" y="289"/>
                  </a:cubicBezTo>
                  <a:cubicBezTo>
                    <a:pt x="37910" y="164"/>
                    <a:pt x="37722" y="222"/>
                    <a:pt x="37544" y="164"/>
                  </a:cubicBezTo>
                  <a:cubicBezTo>
                    <a:pt x="37312" y="72"/>
                    <a:pt x="37110" y="0"/>
                    <a:pt x="36883" y="0"/>
                  </a:cubicBezTo>
                  <a:cubicBezTo>
                    <a:pt x="36652" y="14"/>
                    <a:pt x="36454" y="130"/>
                    <a:pt x="36232" y="231"/>
                  </a:cubicBezTo>
                  <a:cubicBezTo>
                    <a:pt x="36078" y="318"/>
                    <a:pt x="35900" y="289"/>
                    <a:pt x="35760" y="410"/>
                  </a:cubicBezTo>
                  <a:cubicBezTo>
                    <a:pt x="35688" y="424"/>
                    <a:pt x="35712" y="506"/>
                    <a:pt x="35664" y="564"/>
                  </a:cubicBezTo>
                  <a:cubicBezTo>
                    <a:pt x="35625" y="627"/>
                    <a:pt x="35538" y="583"/>
                    <a:pt x="35504" y="641"/>
                  </a:cubicBezTo>
                  <a:lnTo>
                    <a:pt x="31971" y="5375"/>
                  </a:lnTo>
                  <a:lnTo>
                    <a:pt x="26654" y="11922"/>
                  </a:lnTo>
                  <a:lnTo>
                    <a:pt x="26263" y="12736"/>
                  </a:lnTo>
                  <a:lnTo>
                    <a:pt x="25222" y="18285"/>
                  </a:lnTo>
                  <a:lnTo>
                    <a:pt x="20372" y="20228"/>
                  </a:lnTo>
                  <a:lnTo>
                    <a:pt x="14014" y="21361"/>
                  </a:lnTo>
                  <a:lnTo>
                    <a:pt x="13720" y="21447"/>
                  </a:lnTo>
                  <a:lnTo>
                    <a:pt x="7159" y="23834"/>
                  </a:lnTo>
                  <a:lnTo>
                    <a:pt x="6879" y="23959"/>
                  </a:lnTo>
                  <a:lnTo>
                    <a:pt x="902" y="27555"/>
                  </a:lnTo>
                  <a:lnTo>
                    <a:pt x="0" y="29281"/>
                  </a:lnTo>
                  <a:lnTo>
                    <a:pt x="1195" y="30800"/>
                  </a:lnTo>
                  <a:lnTo>
                    <a:pt x="7120" y="33186"/>
                  </a:lnTo>
                  <a:lnTo>
                    <a:pt x="7284" y="33248"/>
                  </a:lnTo>
                  <a:lnTo>
                    <a:pt x="13238" y="35023"/>
                  </a:lnTo>
                  <a:lnTo>
                    <a:pt x="14462" y="34969"/>
                  </a:lnTo>
                  <a:lnTo>
                    <a:pt x="20835" y="32313"/>
                  </a:lnTo>
                  <a:lnTo>
                    <a:pt x="26567" y="35186"/>
                  </a:lnTo>
                  <a:lnTo>
                    <a:pt x="28717" y="41034"/>
                  </a:lnTo>
                  <a:lnTo>
                    <a:pt x="28847" y="41371"/>
                  </a:lnTo>
                  <a:lnTo>
                    <a:pt x="32178" y="46886"/>
                  </a:lnTo>
                  <a:lnTo>
                    <a:pt x="32178" y="52902"/>
                  </a:lnTo>
                  <a:cubicBezTo>
                    <a:pt x="32178" y="53756"/>
                    <a:pt x="32708" y="54460"/>
                    <a:pt x="33518" y="54686"/>
                  </a:cubicBezTo>
                  <a:lnTo>
                    <a:pt x="40041" y="56470"/>
                  </a:lnTo>
                  <a:lnTo>
                    <a:pt x="41275" y="56354"/>
                  </a:lnTo>
                  <a:lnTo>
                    <a:pt x="47817" y="53370"/>
                  </a:lnTo>
                  <a:lnTo>
                    <a:pt x="48848" y="52204"/>
                  </a:lnTo>
                  <a:lnTo>
                    <a:pt x="50608" y="45667"/>
                  </a:lnTo>
                  <a:lnTo>
                    <a:pt x="52232" y="39703"/>
                  </a:lnTo>
                  <a:lnTo>
                    <a:pt x="52656" y="39337"/>
                  </a:lnTo>
                  <a:lnTo>
                    <a:pt x="52502" y="39814"/>
                  </a:lnTo>
                  <a:lnTo>
                    <a:pt x="52951" y="41728"/>
                  </a:lnTo>
                  <a:lnTo>
                    <a:pt x="54913" y="42119"/>
                  </a:lnTo>
                  <a:lnTo>
                    <a:pt x="62042" y="39125"/>
                  </a:lnTo>
                  <a:lnTo>
                    <a:pt x="63175" y="37794"/>
                  </a:lnTo>
                  <a:lnTo>
                    <a:pt x="64207" y="31913"/>
                  </a:lnTo>
                  <a:lnTo>
                    <a:pt x="69635" y="27589"/>
                  </a:lnTo>
                  <a:cubicBezTo>
                    <a:pt x="70402" y="26957"/>
                    <a:pt x="70575" y="25878"/>
                    <a:pt x="69977" y="25077"/>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02" name="Freihandform: Form 101">
              <a:extLst>
                <a:ext uri="{FF2B5EF4-FFF2-40B4-BE49-F238E27FC236}">
                  <a16:creationId xmlns:a16="http://schemas.microsoft.com/office/drawing/2014/main" id="{6D074673-320B-1BC0-51F7-24BC97BC73B0}"/>
                </a:ext>
              </a:extLst>
            </p:cNvPr>
            <p:cNvSpPr/>
            <p:nvPr/>
          </p:nvSpPr>
          <p:spPr>
            <a:xfrm>
              <a:off x="6432548" y="2520908"/>
              <a:ext cx="11112" cy="11113"/>
            </a:xfrm>
            <a:custGeom>
              <a:avLst/>
              <a:gdLst>
                <a:gd name="connsiteX0" fmla="*/ 8533 w 9067"/>
                <a:gd name="connsiteY0" fmla="*/ 535 h 9058"/>
                <a:gd name="connsiteX1" fmla="*/ 7231 w 9067"/>
                <a:gd name="connsiteY1" fmla="*/ 0 h 9058"/>
                <a:gd name="connsiteX2" fmla="*/ 5963 w 9067"/>
                <a:gd name="connsiteY2" fmla="*/ 535 h 9058"/>
                <a:gd name="connsiteX3" fmla="*/ 0 w 9067"/>
                <a:gd name="connsiteY3" fmla="*/ 6469 h 9058"/>
                <a:gd name="connsiteX4" fmla="*/ 0 w 9067"/>
                <a:gd name="connsiteY4" fmla="*/ 9058 h 9058"/>
                <a:gd name="connsiteX5" fmla="*/ 2589 w 9067"/>
                <a:gd name="connsiteY5" fmla="*/ 9058 h 9058"/>
                <a:gd name="connsiteX6" fmla="*/ 8533 w 9067"/>
                <a:gd name="connsiteY6" fmla="*/ 3109 h 9058"/>
                <a:gd name="connsiteX7" fmla="*/ 9068 w 9067"/>
                <a:gd name="connsiteY7" fmla="*/ 1817 h 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67" h="9058">
                  <a:moveTo>
                    <a:pt x="8533" y="535"/>
                  </a:moveTo>
                  <a:lnTo>
                    <a:pt x="7231" y="0"/>
                  </a:lnTo>
                  <a:lnTo>
                    <a:pt x="5963" y="535"/>
                  </a:lnTo>
                  <a:lnTo>
                    <a:pt x="0" y="6469"/>
                  </a:lnTo>
                  <a:lnTo>
                    <a:pt x="0" y="9058"/>
                  </a:lnTo>
                  <a:lnTo>
                    <a:pt x="2589" y="9058"/>
                  </a:lnTo>
                  <a:lnTo>
                    <a:pt x="8533" y="3109"/>
                  </a:lnTo>
                  <a:lnTo>
                    <a:pt x="9068" y="181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03" name="Freihandform: Form 102">
              <a:extLst>
                <a:ext uri="{FF2B5EF4-FFF2-40B4-BE49-F238E27FC236}">
                  <a16:creationId xmlns:a16="http://schemas.microsoft.com/office/drawing/2014/main" id="{5E258B53-604C-CF3F-EDFB-D765E85890D2}"/>
                </a:ext>
              </a:extLst>
            </p:cNvPr>
            <p:cNvSpPr/>
            <p:nvPr/>
          </p:nvSpPr>
          <p:spPr>
            <a:xfrm>
              <a:off x="5662698" y="5080055"/>
              <a:ext cx="7936" cy="11113"/>
            </a:xfrm>
            <a:custGeom>
              <a:avLst/>
              <a:gdLst>
                <a:gd name="connsiteX0" fmla="*/ 7216 w 7216"/>
                <a:gd name="connsiteY0" fmla="*/ 1822 h 9586"/>
                <a:gd name="connsiteX1" fmla="*/ 7134 w 7216"/>
                <a:gd name="connsiteY1" fmla="*/ 1610 h 9586"/>
                <a:gd name="connsiteX2" fmla="*/ 6869 w 7216"/>
                <a:gd name="connsiteY2" fmla="*/ 945 h 9586"/>
                <a:gd name="connsiteX3" fmla="*/ 6498 w 7216"/>
                <a:gd name="connsiteY3" fmla="*/ 444 h 9586"/>
                <a:gd name="connsiteX4" fmla="*/ 6353 w 7216"/>
                <a:gd name="connsiteY4" fmla="*/ 260 h 9586"/>
                <a:gd name="connsiteX5" fmla="*/ 5828 w 7216"/>
                <a:gd name="connsiteY5" fmla="*/ 164 h 9586"/>
                <a:gd name="connsiteX6" fmla="*/ 5389 w 7216"/>
                <a:gd name="connsiteY6" fmla="*/ 0 h 9586"/>
                <a:gd name="connsiteX7" fmla="*/ 4208 w 7216"/>
                <a:gd name="connsiteY7" fmla="*/ 0 h 9586"/>
                <a:gd name="connsiteX8" fmla="*/ 2521 w 7216"/>
                <a:gd name="connsiteY8" fmla="*/ 1104 h 9586"/>
                <a:gd name="connsiteX9" fmla="*/ 120 w 7216"/>
                <a:gd name="connsiteY9" fmla="*/ 7082 h 9586"/>
                <a:gd name="connsiteX10" fmla="*/ 1031 w 7216"/>
                <a:gd name="connsiteY10" fmla="*/ 9410 h 9586"/>
                <a:gd name="connsiteX11" fmla="*/ 3393 w 7216"/>
                <a:gd name="connsiteY11" fmla="*/ 8711 h 9586"/>
                <a:gd name="connsiteX12" fmla="*/ 6975 w 7216"/>
                <a:gd name="connsiteY12" fmla="*/ 2733 h 9586"/>
                <a:gd name="connsiteX13" fmla="*/ 7033 w 7216"/>
                <a:gd name="connsiteY13" fmla="*/ 2246 h 9586"/>
                <a:gd name="connsiteX14" fmla="*/ 7216 w 7216"/>
                <a:gd name="connsiteY14" fmla="*/ 1822 h 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16" h="9586">
                  <a:moveTo>
                    <a:pt x="7216" y="1822"/>
                  </a:moveTo>
                  <a:cubicBezTo>
                    <a:pt x="7216" y="1721"/>
                    <a:pt x="7149" y="1663"/>
                    <a:pt x="7134" y="1610"/>
                  </a:cubicBezTo>
                  <a:cubicBezTo>
                    <a:pt x="7115" y="1340"/>
                    <a:pt x="6980" y="1181"/>
                    <a:pt x="6869" y="945"/>
                  </a:cubicBezTo>
                  <a:cubicBezTo>
                    <a:pt x="6763" y="766"/>
                    <a:pt x="6657" y="569"/>
                    <a:pt x="6498" y="444"/>
                  </a:cubicBezTo>
                  <a:cubicBezTo>
                    <a:pt x="6416" y="376"/>
                    <a:pt x="6416" y="318"/>
                    <a:pt x="6353" y="260"/>
                  </a:cubicBezTo>
                  <a:cubicBezTo>
                    <a:pt x="6180" y="145"/>
                    <a:pt x="6001" y="232"/>
                    <a:pt x="5828" y="164"/>
                  </a:cubicBezTo>
                  <a:cubicBezTo>
                    <a:pt x="5659" y="101"/>
                    <a:pt x="5582" y="0"/>
                    <a:pt x="5389" y="0"/>
                  </a:cubicBezTo>
                  <a:lnTo>
                    <a:pt x="4208" y="0"/>
                  </a:lnTo>
                  <a:lnTo>
                    <a:pt x="2521" y="1104"/>
                  </a:lnTo>
                  <a:lnTo>
                    <a:pt x="120" y="7082"/>
                  </a:lnTo>
                  <a:cubicBezTo>
                    <a:pt x="-213" y="7945"/>
                    <a:pt x="163" y="8976"/>
                    <a:pt x="1031" y="9410"/>
                  </a:cubicBezTo>
                  <a:cubicBezTo>
                    <a:pt x="1870" y="9810"/>
                    <a:pt x="2902" y="9511"/>
                    <a:pt x="3393" y="8711"/>
                  </a:cubicBezTo>
                  <a:lnTo>
                    <a:pt x="6975" y="2733"/>
                  </a:lnTo>
                  <a:cubicBezTo>
                    <a:pt x="7052" y="2603"/>
                    <a:pt x="6975" y="2415"/>
                    <a:pt x="7033" y="2246"/>
                  </a:cubicBezTo>
                  <a:cubicBezTo>
                    <a:pt x="7081" y="2102"/>
                    <a:pt x="7216" y="1981"/>
                    <a:pt x="7216" y="182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04" name="Freihandform: Form 103">
              <a:extLst>
                <a:ext uri="{FF2B5EF4-FFF2-40B4-BE49-F238E27FC236}">
                  <a16:creationId xmlns:a16="http://schemas.microsoft.com/office/drawing/2014/main" id="{EE66F91E-D18E-3C0E-4E61-A333E77C4CF2}"/>
                </a:ext>
              </a:extLst>
            </p:cNvPr>
            <p:cNvSpPr/>
            <p:nvPr/>
          </p:nvSpPr>
          <p:spPr>
            <a:xfrm>
              <a:off x="5659524" y="5094343"/>
              <a:ext cx="6349" cy="20638"/>
            </a:xfrm>
            <a:custGeom>
              <a:avLst/>
              <a:gdLst>
                <a:gd name="connsiteX0" fmla="*/ 4830 w 4830"/>
                <a:gd name="connsiteY0" fmla="*/ 1817 h 16107"/>
                <a:gd name="connsiteX1" fmla="*/ 3008 w 4830"/>
                <a:gd name="connsiteY1" fmla="*/ 0 h 16107"/>
                <a:gd name="connsiteX2" fmla="*/ 2415 w 4830"/>
                <a:gd name="connsiteY2" fmla="*/ 0 h 16107"/>
                <a:gd name="connsiteX3" fmla="*/ 608 w 4830"/>
                <a:gd name="connsiteY3" fmla="*/ 1629 h 16107"/>
                <a:gd name="connsiteX4" fmla="*/ 0 w 4830"/>
                <a:gd name="connsiteY4" fmla="*/ 8190 h 16107"/>
                <a:gd name="connsiteX5" fmla="*/ 0 w 4830"/>
                <a:gd name="connsiteY5" fmla="*/ 8533 h 16107"/>
                <a:gd name="connsiteX6" fmla="*/ 608 w 4830"/>
                <a:gd name="connsiteY6" fmla="*/ 14486 h 16107"/>
                <a:gd name="connsiteX7" fmla="*/ 2579 w 4830"/>
                <a:gd name="connsiteY7" fmla="*/ 16096 h 16107"/>
                <a:gd name="connsiteX8" fmla="*/ 4233 w 4830"/>
                <a:gd name="connsiteY8" fmla="*/ 14139 h 16107"/>
                <a:gd name="connsiteX9" fmla="*/ 3645 w 4830"/>
                <a:gd name="connsiteY9" fmla="*/ 8340 h 16107"/>
                <a:gd name="connsiteX10" fmla="*/ 4112 w 4830"/>
                <a:gd name="connsiteY10" fmla="*/ 3172 h 16107"/>
                <a:gd name="connsiteX11" fmla="*/ 4830 w 4830"/>
                <a:gd name="connsiteY11" fmla="*/ 1817 h 16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0" h="16107">
                  <a:moveTo>
                    <a:pt x="4830" y="1817"/>
                  </a:moveTo>
                  <a:cubicBezTo>
                    <a:pt x="4830" y="824"/>
                    <a:pt x="4025" y="0"/>
                    <a:pt x="3008" y="0"/>
                  </a:cubicBezTo>
                  <a:lnTo>
                    <a:pt x="2415" y="0"/>
                  </a:lnTo>
                  <a:cubicBezTo>
                    <a:pt x="1490" y="0"/>
                    <a:pt x="704" y="684"/>
                    <a:pt x="608" y="1629"/>
                  </a:cubicBezTo>
                  <a:lnTo>
                    <a:pt x="0" y="8190"/>
                  </a:lnTo>
                  <a:lnTo>
                    <a:pt x="0" y="8533"/>
                  </a:lnTo>
                  <a:lnTo>
                    <a:pt x="608" y="14486"/>
                  </a:lnTo>
                  <a:cubicBezTo>
                    <a:pt x="723" y="15489"/>
                    <a:pt x="1610" y="16207"/>
                    <a:pt x="2579" y="16096"/>
                  </a:cubicBezTo>
                  <a:cubicBezTo>
                    <a:pt x="3582" y="16019"/>
                    <a:pt x="4334" y="15118"/>
                    <a:pt x="4233" y="14139"/>
                  </a:cubicBezTo>
                  <a:lnTo>
                    <a:pt x="3645" y="8340"/>
                  </a:lnTo>
                  <a:lnTo>
                    <a:pt x="4112" y="3172"/>
                  </a:lnTo>
                  <a:cubicBezTo>
                    <a:pt x="4517" y="2815"/>
                    <a:pt x="4830" y="2401"/>
                    <a:pt x="4830" y="1817"/>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05" name="Freihandform: Form 104">
              <a:extLst>
                <a:ext uri="{FF2B5EF4-FFF2-40B4-BE49-F238E27FC236}">
                  <a16:creationId xmlns:a16="http://schemas.microsoft.com/office/drawing/2014/main" id="{63D687E7-9736-AD1B-13BD-95AD9E3C0024}"/>
                </a:ext>
              </a:extLst>
            </p:cNvPr>
            <p:cNvSpPr/>
            <p:nvPr/>
          </p:nvSpPr>
          <p:spPr>
            <a:xfrm>
              <a:off x="5156343" y="5823033"/>
              <a:ext cx="17461" cy="23814"/>
            </a:xfrm>
            <a:custGeom>
              <a:avLst/>
              <a:gdLst>
                <a:gd name="connsiteX0" fmla="*/ 4960 w 13768"/>
                <a:gd name="connsiteY0" fmla="*/ 18131 h 19040"/>
                <a:gd name="connsiteX1" fmla="*/ 5486 w 13768"/>
                <a:gd name="connsiteY1" fmla="*/ 15586 h 19040"/>
                <a:gd name="connsiteX2" fmla="*/ 7848 w 13768"/>
                <a:gd name="connsiteY2" fmla="*/ 10827 h 19040"/>
                <a:gd name="connsiteX3" fmla="*/ 12814 w 13768"/>
                <a:gd name="connsiteY3" fmla="*/ 8827 h 19040"/>
                <a:gd name="connsiteX4" fmla="*/ 13749 w 13768"/>
                <a:gd name="connsiteY4" fmla="*/ 7916 h 19040"/>
                <a:gd name="connsiteX5" fmla="*/ 13768 w 13768"/>
                <a:gd name="connsiteY5" fmla="*/ 6609 h 19040"/>
                <a:gd name="connsiteX6" fmla="*/ 11555 w 13768"/>
                <a:gd name="connsiteY6" fmla="*/ 1065 h 19040"/>
                <a:gd name="connsiteX7" fmla="*/ 10051 w 13768"/>
                <a:gd name="connsiteY7" fmla="*/ 0 h 19040"/>
                <a:gd name="connsiteX8" fmla="*/ 8451 w 13768"/>
                <a:gd name="connsiteY8" fmla="*/ 964 h 19040"/>
                <a:gd name="connsiteX9" fmla="*/ 5814 w 13768"/>
                <a:gd name="connsiteY9" fmla="*/ 6214 h 19040"/>
                <a:gd name="connsiteX10" fmla="*/ 496 w 13768"/>
                <a:gd name="connsiteY10" fmla="*/ 10996 h 19040"/>
                <a:gd name="connsiteX11" fmla="*/ 0 w 13768"/>
                <a:gd name="connsiteY11" fmla="*/ 12770 h 19040"/>
                <a:gd name="connsiteX12" fmla="*/ 742 w 13768"/>
                <a:gd name="connsiteY12" fmla="*/ 17880 h 19040"/>
                <a:gd name="connsiteX13" fmla="*/ 4960 w 13768"/>
                <a:gd name="connsiteY13" fmla="*/ 18131 h 1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768" h="19040">
                  <a:moveTo>
                    <a:pt x="4960" y="18131"/>
                  </a:moveTo>
                  <a:lnTo>
                    <a:pt x="5486" y="15586"/>
                  </a:lnTo>
                  <a:lnTo>
                    <a:pt x="7848" y="10827"/>
                  </a:lnTo>
                  <a:lnTo>
                    <a:pt x="12814" y="8827"/>
                  </a:lnTo>
                  <a:lnTo>
                    <a:pt x="13749" y="7916"/>
                  </a:lnTo>
                  <a:lnTo>
                    <a:pt x="13768" y="6609"/>
                  </a:lnTo>
                  <a:lnTo>
                    <a:pt x="11555" y="1065"/>
                  </a:lnTo>
                  <a:lnTo>
                    <a:pt x="10051" y="0"/>
                  </a:lnTo>
                  <a:lnTo>
                    <a:pt x="8451" y="964"/>
                  </a:lnTo>
                  <a:lnTo>
                    <a:pt x="5814" y="6214"/>
                  </a:lnTo>
                  <a:lnTo>
                    <a:pt x="496" y="10996"/>
                  </a:lnTo>
                  <a:lnTo>
                    <a:pt x="0" y="12770"/>
                  </a:lnTo>
                  <a:lnTo>
                    <a:pt x="742" y="17880"/>
                  </a:lnTo>
                  <a:cubicBezTo>
                    <a:pt x="742" y="17871"/>
                    <a:pt x="2213" y="20319"/>
                    <a:pt x="4960" y="1813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06" name="Freihandform: Form 105">
              <a:extLst>
                <a:ext uri="{FF2B5EF4-FFF2-40B4-BE49-F238E27FC236}">
                  <a16:creationId xmlns:a16="http://schemas.microsoft.com/office/drawing/2014/main" id="{D98DF6D3-C359-A058-CE79-A808AE250CF0}"/>
                </a:ext>
              </a:extLst>
            </p:cNvPr>
            <p:cNvSpPr/>
            <p:nvPr/>
          </p:nvSpPr>
          <p:spPr>
            <a:xfrm>
              <a:off x="5399203" y="5522985"/>
              <a:ext cx="44445" cy="30163"/>
            </a:xfrm>
            <a:custGeom>
              <a:avLst/>
              <a:gdLst>
                <a:gd name="connsiteX0" fmla="*/ 35158 w 35158"/>
                <a:gd name="connsiteY0" fmla="*/ 8542 h 24381"/>
                <a:gd name="connsiteX1" fmla="*/ 35033 w 35158"/>
                <a:gd name="connsiteY1" fmla="*/ 7574 h 24381"/>
                <a:gd name="connsiteX2" fmla="*/ 32049 w 35158"/>
                <a:gd name="connsiteY2" fmla="*/ 1012 h 24381"/>
                <a:gd name="connsiteX3" fmla="*/ 30449 w 35158"/>
                <a:gd name="connsiteY3" fmla="*/ 0 h 24381"/>
                <a:gd name="connsiteX4" fmla="*/ 28795 w 35158"/>
                <a:gd name="connsiteY4" fmla="*/ 911 h 24381"/>
                <a:gd name="connsiteX5" fmla="*/ 25796 w 35158"/>
                <a:gd name="connsiteY5" fmla="*/ 6383 h 24381"/>
                <a:gd name="connsiteX6" fmla="*/ 20441 w 35158"/>
                <a:gd name="connsiteY6" fmla="*/ 5920 h 24381"/>
                <a:gd name="connsiteX7" fmla="*/ 19332 w 35158"/>
                <a:gd name="connsiteY7" fmla="*/ 6195 h 24381"/>
                <a:gd name="connsiteX8" fmla="*/ 14164 w 35158"/>
                <a:gd name="connsiteY8" fmla="*/ 9290 h 24381"/>
                <a:gd name="connsiteX9" fmla="*/ 9045 w 35158"/>
                <a:gd name="connsiteY9" fmla="*/ 7241 h 24381"/>
                <a:gd name="connsiteX10" fmla="*/ 7854 w 35158"/>
                <a:gd name="connsiteY10" fmla="*/ 7198 h 24381"/>
                <a:gd name="connsiteX11" fmla="*/ 1895 w 35158"/>
                <a:gd name="connsiteY11" fmla="*/ 8947 h 24381"/>
                <a:gd name="connsiteX12" fmla="*/ 604 w 35158"/>
                <a:gd name="connsiteY12" fmla="*/ 10529 h 24381"/>
                <a:gd name="connsiteX13" fmla="*/ 6 w 35158"/>
                <a:gd name="connsiteY13" fmla="*/ 16487 h 24381"/>
                <a:gd name="connsiteX14" fmla="*/ 1018 w 35158"/>
                <a:gd name="connsiteY14" fmla="*/ 18280 h 24381"/>
                <a:gd name="connsiteX15" fmla="*/ 6972 w 35158"/>
                <a:gd name="connsiteY15" fmla="*/ 21250 h 24381"/>
                <a:gd name="connsiteX16" fmla="*/ 8288 w 35158"/>
                <a:gd name="connsiteY16" fmla="*/ 21370 h 24381"/>
                <a:gd name="connsiteX17" fmla="*/ 14810 w 35158"/>
                <a:gd name="connsiteY17" fmla="*/ 19616 h 24381"/>
                <a:gd name="connsiteX18" fmla="*/ 14858 w 35158"/>
                <a:gd name="connsiteY18" fmla="*/ 19582 h 24381"/>
                <a:gd name="connsiteX19" fmla="*/ 20349 w 35158"/>
                <a:gd name="connsiteY19" fmla="*/ 17962 h 24381"/>
                <a:gd name="connsiteX20" fmla="*/ 25372 w 35158"/>
                <a:gd name="connsiteY20" fmla="*/ 18941 h 24381"/>
                <a:gd name="connsiteX21" fmla="*/ 30955 w 35158"/>
                <a:gd name="connsiteY21" fmla="*/ 23954 h 24381"/>
                <a:gd name="connsiteX22" fmla="*/ 31090 w 35158"/>
                <a:gd name="connsiteY22" fmla="*/ 24007 h 24381"/>
                <a:gd name="connsiteX23" fmla="*/ 31148 w 35158"/>
                <a:gd name="connsiteY23" fmla="*/ 24118 h 24381"/>
                <a:gd name="connsiteX24" fmla="*/ 31711 w 35158"/>
                <a:gd name="connsiteY24" fmla="*/ 24234 h 24381"/>
                <a:gd name="connsiteX25" fmla="*/ 32382 w 35158"/>
                <a:gd name="connsiteY25" fmla="*/ 24374 h 24381"/>
                <a:gd name="connsiteX26" fmla="*/ 32955 w 35158"/>
                <a:gd name="connsiteY26" fmla="*/ 24065 h 24381"/>
                <a:gd name="connsiteX27" fmla="*/ 33500 w 35158"/>
                <a:gd name="connsiteY27" fmla="*/ 23814 h 24381"/>
                <a:gd name="connsiteX28" fmla="*/ 33567 w 35158"/>
                <a:gd name="connsiteY28" fmla="*/ 23684 h 24381"/>
                <a:gd name="connsiteX29" fmla="*/ 33669 w 35158"/>
                <a:gd name="connsiteY29" fmla="*/ 23612 h 24381"/>
                <a:gd name="connsiteX30" fmla="*/ 34864 w 35158"/>
                <a:gd name="connsiteY30" fmla="*/ 21828 h 24381"/>
                <a:gd name="connsiteX31" fmla="*/ 35154 w 35158"/>
                <a:gd name="connsiteY31" fmla="*/ 20652 h 24381"/>
                <a:gd name="connsiteX32" fmla="*/ 34604 w 35158"/>
                <a:gd name="connsiteY32" fmla="*/ 14245 h 24381"/>
                <a:gd name="connsiteX33" fmla="*/ 35158 w 35158"/>
                <a:gd name="connsiteY33" fmla="*/ 8542 h 2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158" h="24381">
                  <a:moveTo>
                    <a:pt x="35158" y="8542"/>
                  </a:moveTo>
                  <a:lnTo>
                    <a:pt x="35033" y="7574"/>
                  </a:lnTo>
                  <a:lnTo>
                    <a:pt x="32049" y="1012"/>
                  </a:lnTo>
                  <a:lnTo>
                    <a:pt x="30449" y="0"/>
                  </a:lnTo>
                  <a:lnTo>
                    <a:pt x="28795" y="911"/>
                  </a:lnTo>
                  <a:lnTo>
                    <a:pt x="25796" y="6383"/>
                  </a:lnTo>
                  <a:lnTo>
                    <a:pt x="20441" y="5920"/>
                  </a:lnTo>
                  <a:lnTo>
                    <a:pt x="19332" y="6195"/>
                  </a:lnTo>
                  <a:lnTo>
                    <a:pt x="14164" y="9290"/>
                  </a:lnTo>
                  <a:lnTo>
                    <a:pt x="9045" y="7241"/>
                  </a:lnTo>
                  <a:lnTo>
                    <a:pt x="7854" y="7198"/>
                  </a:lnTo>
                  <a:lnTo>
                    <a:pt x="1895" y="8947"/>
                  </a:lnTo>
                  <a:lnTo>
                    <a:pt x="604" y="10529"/>
                  </a:lnTo>
                  <a:lnTo>
                    <a:pt x="6" y="16487"/>
                  </a:lnTo>
                  <a:cubicBezTo>
                    <a:pt x="-52" y="17258"/>
                    <a:pt x="333" y="17967"/>
                    <a:pt x="1018" y="18280"/>
                  </a:cubicBezTo>
                  <a:lnTo>
                    <a:pt x="6972" y="21250"/>
                  </a:lnTo>
                  <a:lnTo>
                    <a:pt x="8288" y="21370"/>
                  </a:lnTo>
                  <a:lnTo>
                    <a:pt x="14810" y="19616"/>
                  </a:lnTo>
                  <a:lnTo>
                    <a:pt x="14858" y="19582"/>
                  </a:lnTo>
                  <a:lnTo>
                    <a:pt x="20349" y="17962"/>
                  </a:lnTo>
                  <a:lnTo>
                    <a:pt x="25372" y="18941"/>
                  </a:lnTo>
                  <a:lnTo>
                    <a:pt x="30955" y="23954"/>
                  </a:lnTo>
                  <a:cubicBezTo>
                    <a:pt x="30988" y="23973"/>
                    <a:pt x="31061" y="23973"/>
                    <a:pt x="31090" y="24007"/>
                  </a:cubicBezTo>
                  <a:cubicBezTo>
                    <a:pt x="31118" y="24007"/>
                    <a:pt x="31118" y="24070"/>
                    <a:pt x="31148" y="24118"/>
                  </a:cubicBezTo>
                  <a:cubicBezTo>
                    <a:pt x="31340" y="24234"/>
                    <a:pt x="31533" y="24195"/>
                    <a:pt x="31711" y="24234"/>
                  </a:cubicBezTo>
                  <a:cubicBezTo>
                    <a:pt x="31953" y="24292"/>
                    <a:pt x="32131" y="24412"/>
                    <a:pt x="32382" y="24374"/>
                  </a:cubicBezTo>
                  <a:cubicBezTo>
                    <a:pt x="32608" y="24306"/>
                    <a:pt x="32762" y="24190"/>
                    <a:pt x="32955" y="24065"/>
                  </a:cubicBezTo>
                  <a:cubicBezTo>
                    <a:pt x="33158" y="23969"/>
                    <a:pt x="33384" y="23969"/>
                    <a:pt x="33500" y="23814"/>
                  </a:cubicBezTo>
                  <a:cubicBezTo>
                    <a:pt x="33524" y="23814"/>
                    <a:pt x="33524" y="23713"/>
                    <a:pt x="33567" y="23684"/>
                  </a:cubicBezTo>
                  <a:cubicBezTo>
                    <a:pt x="33592" y="23631"/>
                    <a:pt x="33659" y="23631"/>
                    <a:pt x="33669" y="23612"/>
                  </a:cubicBezTo>
                  <a:lnTo>
                    <a:pt x="34864" y="21828"/>
                  </a:lnTo>
                  <a:lnTo>
                    <a:pt x="35154" y="20652"/>
                  </a:lnTo>
                  <a:lnTo>
                    <a:pt x="34604" y="14245"/>
                  </a:lnTo>
                  <a:lnTo>
                    <a:pt x="35158" y="854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07" name="Freihandform: Form 106">
              <a:extLst>
                <a:ext uri="{FF2B5EF4-FFF2-40B4-BE49-F238E27FC236}">
                  <a16:creationId xmlns:a16="http://schemas.microsoft.com/office/drawing/2014/main" id="{13B20A67-B169-D483-B67A-60CE38751760}"/>
                </a:ext>
              </a:extLst>
            </p:cNvPr>
            <p:cNvSpPr/>
            <p:nvPr/>
          </p:nvSpPr>
          <p:spPr>
            <a:xfrm>
              <a:off x="5359520" y="5491234"/>
              <a:ext cx="6349" cy="12700"/>
            </a:xfrm>
            <a:custGeom>
              <a:avLst/>
              <a:gdLst>
                <a:gd name="connsiteX0" fmla="*/ 1288 w 5420"/>
                <a:gd name="connsiteY0" fmla="*/ 78 h 9590"/>
                <a:gd name="connsiteX1" fmla="*/ 78 w 5420"/>
                <a:gd name="connsiteY1" fmla="*/ 2349 h 9590"/>
                <a:gd name="connsiteX2" fmla="*/ 1857 w 5420"/>
                <a:gd name="connsiteY2" fmla="*/ 8264 h 9590"/>
                <a:gd name="connsiteX3" fmla="*/ 4123 w 5420"/>
                <a:gd name="connsiteY3" fmla="*/ 9513 h 9590"/>
                <a:gd name="connsiteX4" fmla="*/ 5352 w 5420"/>
                <a:gd name="connsiteY4" fmla="*/ 7247 h 9590"/>
                <a:gd name="connsiteX5" fmla="*/ 3558 w 5420"/>
                <a:gd name="connsiteY5" fmla="*/ 1308 h 9590"/>
                <a:gd name="connsiteX6" fmla="*/ 1288 w 5420"/>
                <a:gd name="connsiteY6" fmla="*/ 78 h 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0" h="9590">
                  <a:moveTo>
                    <a:pt x="1288" y="78"/>
                  </a:moveTo>
                  <a:cubicBezTo>
                    <a:pt x="329" y="349"/>
                    <a:pt x="-211" y="1375"/>
                    <a:pt x="78" y="2349"/>
                  </a:cubicBezTo>
                  <a:lnTo>
                    <a:pt x="1857" y="8264"/>
                  </a:lnTo>
                  <a:cubicBezTo>
                    <a:pt x="2136" y="9257"/>
                    <a:pt x="3163" y="9802"/>
                    <a:pt x="4123" y="9513"/>
                  </a:cubicBezTo>
                  <a:cubicBezTo>
                    <a:pt x="5077" y="9209"/>
                    <a:pt x="5622" y="8216"/>
                    <a:pt x="5352" y="7247"/>
                  </a:cubicBezTo>
                  <a:lnTo>
                    <a:pt x="3558" y="1308"/>
                  </a:lnTo>
                  <a:cubicBezTo>
                    <a:pt x="3269" y="344"/>
                    <a:pt x="2257" y="-216"/>
                    <a:pt x="1288" y="7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08" name="Freihandform: Form 107">
              <a:extLst>
                <a:ext uri="{FF2B5EF4-FFF2-40B4-BE49-F238E27FC236}">
                  <a16:creationId xmlns:a16="http://schemas.microsoft.com/office/drawing/2014/main" id="{2D343C87-3F18-A548-13C0-CCCC4C8E6C4A}"/>
                </a:ext>
              </a:extLst>
            </p:cNvPr>
            <p:cNvSpPr/>
            <p:nvPr/>
          </p:nvSpPr>
          <p:spPr>
            <a:xfrm>
              <a:off x="5394441" y="5565848"/>
              <a:ext cx="6349" cy="12700"/>
            </a:xfrm>
            <a:custGeom>
              <a:avLst/>
              <a:gdLst>
                <a:gd name="connsiteX0" fmla="*/ 1539 w 4768"/>
                <a:gd name="connsiteY0" fmla="*/ 25 h 10185"/>
                <a:gd name="connsiteX1" fmla="*/ 11 w 4768"/>
                <a:gd name="connsiteY1" fmla="*/ 1977 h 10185"/>
                <a:gd name="connsiteX2" fmla="*/ 589 w 4768"/>
                <a:gd name="connsiteY2" fmla="*/ 8538 h 10185"/>
                <a:gd name="connsiteX3" fmla="*/ 1129 w 4768"/>
                <a:gd name="connsiteY3" fmla="*/ 9560 h 10185"/>
                <a:gd name="connsiteX4" fmla="*/ 1129 w 4768"/>
                <a:gd name="connsiteY4" fmla="*/ 9662 h 10185"/>
                <a:gd name="connsiteX5" fmla="*/ 1182 w 4768"/>
                <a:gd name="connsiteY5" fmla="*/ 9662 h 10185"/>
                <a:gd name="connsiteX6" fmla="*/ 2561 w 4768"/>
                <a:gd name="connsiteY6" fmla="*/ 10173 h 10185"/>
                <a:gd name="connsiteX7" fmla="*/ 3607 w 4768"/>
                <a:gd name="connsiteY7" fmla="*/ 9633 h 10185"/>
                <a:gd name="connsiteX8" fmla="*/ 3703 w 4768"/>
                <a:gd name="connsiteY8" fmla="*/ 9633 h 10185"/>
                <a:gd name="connsiteX9" fmla="*/ 4282 w 4768"/>
                <a:gd name="connsiteY9" fmla="*/ 9064 h 10185"/>
                <a:gd name="connsiteX10" fmla="*/ 4769 w 4768"/>
                <a:gd name="connsiteY10" fmla="*/ 7401 h 10185"/>
                <a:gd name="connsiteX11" fmla="*/ 3612 w 4768"/>
                <a:gd name="connsiteY11" fmla="*/ 1490 h 10185"/>
                <a:gd name="connsiteX12" fmla="*/ 1539 w 4768"/>
                <a:gd name="connsiteY12" fmla="*/ 25 h 10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68" h="10185">
                  <a:moveTo>
                    <a:pt x="1539" y="25"/>
                  </a:moveTo>
                  <a:cubicBezTo>
                    <a:pt x="589" y="160"/>
                    <a:pt x="-95" y="984"/>
                    <a:pt x="11" y="1977"/>
                  </a:cubicBezTo>
                  <a:lnTo>
                    <a:pt x="589" y="8538"/>
                  </a:lnTo>
                  <a:cubicBezTo>
                    <a:pt x="623" y="8958"/>
                    <a:pt x="864" y="9281"/>
                    <a:pt x="1129" y="9560"/>
                  </a:cubicBezTo>
                  <a:lnTo>
                    <a:pt x="1129" y="9662"/>
                  </a:lnTo>
                  <a:lnTo>
                    <a:pt x="1182" y="9662"/>
                  </a:lnTo>
                  <a:cubicBezTo>
                    <a:pt x="1563" y="10028"/>
                    <a:pt x="2045" y="10240"/>
                    <a:pt x="2561" y="10173"/>
                  </a:cubicBezTo>
                  <a:cubicBezTo>
                    <a:pt x="3000" y="10173"/>
                    <a:pt x="3313" y="9912"/>
                    <a:pt x="3607" y="9633"/>
                  </a:cubicBezTo>
                  <a:lnTo>
                    <a:pt x="3703" y="9633"/>
                  </a:lnTo>
                  <a:lnTo>
                    <a:pt x="4282" y="9064"/>
                  </a:lnTo>
                  <a:lnTo>
                    <a:pt x="4769" y="7401"/>
                  </a:lnTo>
                  <a:lnTo>
                    <a:pt x="3612" y="1490"/>
                  </a:lnTo>
                  <a:cubicBezTo>
                    <a:pt x="3400" y="526"/>
                    <a:pt x="2498" y="-139"/>
                    <a:pt x="1539" y="2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09" name="Freihandform: Form 108">
              <a:extLst>
                <a:ext uri="{FF2B5EF4-FFF2-40B4-BE49-F238E27FC236}">
                  <a16:creationId xmlns:a16="http://schemas.microsoft.com/office/drawing/2014/main" id="{C2531D70-DAD2-B54D-80FC-AAC50AC35735}"/>
                </a:ext>
              </a:extLst>
            </p:cNvPr>
            <p:cNvSpPr/>
            <p:nvPr/>
          </p:nvSpPr>
          <p:spPr>
            <a:xfrm>
              <a:off x="5773811" y="5846847"/>
              <a:ext cx="4761" cy="12700"/>
            </a:xfrm>
            <a:custGeom>
              <a:avLst/>
              <a:gdLst>
                <a:gd name="connsiteX0" fmla="*/ 3346 w 4800"/>
                <a:gd name="connsiteY0" fmla="*/ 40 h 9601"/>
                <a:gd name="connsiteX1" fmla="*/ 1205 w 4800"/>
                <a:gd name="connsiteY1" fmla="*/ 1491 h 9601"/>
                <a:gd name="connsiteX2" fmla="*/ 39 w 4800"/>
                <a:gd name="connsiteY2" fmla="*/ 7440 h 9601"/>
                <a:gd name="connsiteX3" fmla="*/ 1437 w 4800"/>
                <a:gd name="connsiteY3" fmla="*/ 9561 h 9601"/>
                <a:gd name="connsiteX4" fmla="*/ 3587 w 4800"/>
                <a:gd name="connsiteY4" fmla="*/ 8129 h 9601"/>
                <a:gd name="connsiteX5" fmla="*/ 4758 w 4800"/>
                <a:gd name="connsiteY5" fmla="*/ 2185 h 9601"/>
                <a:gd name="connsiteX6" fmla="*/ 3346 w 4800"/>
                <a:gd name="connsiteY6" fmla="*/ 40 h 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0" h="9601">
                  <a:moveTo>
                    <a:pt x="3346" y="40"/>
                  </a:moveTo>
                  <a:cubicBezTo>
                    <a:pt x="2348" y="-167"/>
                    <a:pt x="1413" y="450"/>
                    <a:pt x="1205" y="1491"/>
                  </a:cubicBezTo>
                  <a:lnTo>
                    <a:pt x="39" y="7440"/>
                  </a:lnTo>
                  <a:cubicBezTo>
                    <a:pt x="-164" y="8394"/>
                    <a:pt x="444" y="9368"/>
                    <a:pt x="1437" y="9561"/>
                  </a:cubicBezTo>
                  <a:cubicBezTo>
                    <a:pt x="2435" y="9778"/>
                    <a:pt x="3380" y="9098"/>
                    <a:pt x="3587" y="8129"/>
                  </a:cubicBezTo>
                  <a:lnTo>
                    <a:pt x="4758" y="2185"/>
                  </a:lnTo>
                  <a:cubicBezTo>
                    <a:pt x="4975" y="1197"/>
                    <a:pt x="4325" y="218"/>
                    <a:pt x="3346" y="4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10" name="Freihandform: Form 109">
              <a:extLst>
                <a:ext uri="{FF2B5EF4-FFF2-40B4-BE49-F238E27FC236}">
                  <a16:creationId xmlns:a16="http://schemas.microsoft.com/office/drawing/2014/main" id="{50ED1DC4-61ED-3113-A191-A51AF098856C}"/>
                </a:ext>
              </a:extLst>
            </p:cNvPr>
            <p:cNvSpPr/>
            <p:nvPr/>
          </p:nvSpPr>
          <p:spPr>
            <a:xfrm>
              <a:off x="4369032" y="5989727"/>
              <a:ext cx="153971" cy="120655"/>
            </a:xfrm>
            <a:custGeom>
              <a:avLst/>
              <a:gdLst>
                <a:gd name="connsiteX0" fmla="*/ 120161 w 120204"/>
                <a:gd name="connsiteY0" fmla="*/ 38976 h 95517"/>
                <a:gd name="connsiteX1" fmla="*/ 118980 w 120204"/>
                <a:gd name="connsiteY1" fmla="*/ 32449 h 95517"/>
                <a:gd name="connsiteX2" fmla="*/ 118156 w 120204"/>
                <a:gd name="connsiteY2" fmla="*/ 31229 h 95517"/>
                <a:gd name="connsiteX3" fmla="*/ 111595 w 120204"/>
                <a:gd name="connsiteY3" fmla="*/ 27064 h 95517"/>
                <a:gd name="connsiteX4" fmla="*/ 110124 w 120204"/>
                <a:gd name="connsiteY4" fmla="*/ 26871 h 95517"/>
                <a:gd name="connsiteX5" fmla="*/ 104151 w 120204"/>
                <a:gd name="connsiteY5" fmla="*/ 28631 h 95517"/>
                <a:gd name="connsiteX6" fmla="*/ 103867 w 120204"/>
                <a:gd name="connsiteY6" fmla="*/ 28741 h 95517"/>
                <a:gd name="connsiteX7" fmla="*/ 98694 w 120204"/>
                <a:gd name="connsiteY7" fmla="*/ 31330 h 95517"/>
                <a:gd name="connsiteX8" fmla="*/ 93146 w 120204"/>
                <a:gd name="connsiteY8" fmla="*/ 28799 h 95517"/>
                <a:gd name="connsiteX9" fmla="*/ 87891 w 120204"/>
                <a:gd name="connsiteY9" fmla="*/ 24620 h 95517"/>
                <a:gd name="connsiteX10" fmla="*/ 86999 w 120204"/>
                <a:gd name="connsiteY10" fmla="*/ 20156 h 95517"/>
                <a:gd name="connsiteX11" fmla="*/ 91820 w 120204"/>
                <a:gd name="connsiteY11" fmla="*/ 14260 h 95517"/>
                <a:gd name="connsiteX12" fmla="*/ 92201 w 120204"/>
                <a:gd name="connsiteY12" fmla="*/ 12886 h 95517"/>
                <a:gd name="connsiteX13" fmla="*/ 91487 w 120204"/>
                <a:gd name="connsiteY13" fmla="*/ 11618 h 95517"/>
                <a:gd name="connsiteX14" fmla="*/ 87891 w 120204"/>
                <a:gd name="connsiteY14" fmla="*/ 9049 h 95517"/>
                <a:gd name="connsiteX15" fmla="*/ 90330 w 120204"/>
                <a:gd name="connsiteY15" fmla="*/ 8306 h 95517"/>
                <a:gd name="connsiteX16" fmla="*/ 90784 w 120204"/>
                <a:gd name="connsiteY16" fmla="*/ 8118 h 95517"/>
                <a:gd name="connsiteX17" fmla="*/ 97321 w 120204"/>
                <a:gd name="connsiteY17" fmla="*/ 3934 h 95517"/>
                <a:gd name="connsiteX18" fmla="*/ 98126 w 120204"/>
                <a:gd name="connsiteY18" fmla="*/ 1987 h 95517"/>
                <a:gd name="connsiteX19" fmla="*/ 96544 w 120204"/>
                <a:gd name="connsiteY19" fmla="*/ 613 h 95517"/>
                <a:gd name="connsiteX20" fmla="*/ 90596 w 120204"/>
                <a:gd name="connsiteY20" fmla="*/ 0 h 95517"/>
                <a:gd name="connsiteX21" fmla="*/ 89791 w 120204"/>
                <a:gd name="connsiteY21" fmla="*/ 97 h 95517"/>
                <a:gd name="connsiteX22" fmla="*/ 83548 w 120204"/>
                <a:gd name="connsiteY22" fmla="*/ 2367 h 95517"/>
                <a:gd name="connsiteX23" fmla="*/ 77917 w 120204"/>
                <a:gd name="connsiteY23" fmla="*/ 2367 h 95517"/>
                <a:gd name="connsiteX24" fmla="*/ 77291 w 120204"/>
                <a:gd name="connsiteY24" fmla="*/ 2497 h 95517"/>
                <a:gd name="connsiteX25" fmla="*/ 70874 w 120204"/>
                <a:gd name="connsiteY25" fmla="*/ 4797 h 95517"/>
                <a:gd name="connsiteX26" fmla="*/ 65055 w 120204"/>
                <a:gd name="connsiteY26" fmla="*/ 5973 h 95517"/>
                <a:gd name="connsiteX27" fmla="*/ 64545 w 120204"/>
                <a:gd name="connsiteY27" fmla="*/ 6185 h 95517"/>
                <a:gd name="connsiteX28" fmla="*/ 58316 w 120204"/>
                <a:gd name="connsiteY28" fmla="*/ 9560 h 95517"/>
                <a:gd name="connsiteX29" fmla="*/ 52729 w 120204"/>
                <a:gd name="connsiteY29" fmla="*/ 10109 h 95517"/>
                <a:gd name="connsiteX30" fmla="*/ 51866 w 120204"/>
                <a:gd name="connsiteY30" fmla="*/ 10437 h 95517"/>
                <a:gd name="connsiteX31" fmla="*/ 46004 w 120204"/>
                <a:gd name="connsiteY31" fmla="*/ 14535 h 95517"/>
                <a:gd name="connsiteX32" fmla="*/ 39539 w 120204"/>
                <a:gd name="connsiteY32" fmla="*/ 18073 h 95517"/>
                <a:gd name="connsiteX33" fmla="*/ 39496 w 120204"/>
                <a:gd name="connsiteY33" fmla="*/ 18136 h 95517"/>
                <a:gd name="connsiteX34" fmla="*/ 33547 w 120204"/>
                <a:gd name="connsiteY34" fmla="*/ 21684 h 95517"/>
                <a:gd name="connsiteX35" fmla="*/ 33244 w 120204"/>
                <a:gd name="connsiteY35" fmla="*/ 21872 h 95517"/>
                <a:gd name="connsiteX36" fmla="*/ 27001 w 120204"/>
                <a:gd name="connsiteY36" fmla="*/ 27555 h 95517"/>
                <a:gd name="connsiteX37" fmla="*/ 21452 w 120204"/>
                <a:gd name="connsiteY37" fmla="*/ 29238 h 95517"/>
                <a:gd name="connsiteX38" fmla="*/ 20840 w 120204"/>
                <a:gd name="connsiteY38" fmla="*/ 29546 h 95517"/>
                <a:gd name="connsiteX39" fmla="*/ 14992 w 120204"/>
                <a:gd name="connsiteY39" fmla="*/ 34246 h 95517"/>
                <a:gd name="connsiteX40" fmla="*/ 9294 w 120204"/>
                <a:gd name="connsiteY40" fmla="*/ 37674 h 95517"/>
                <a:gd name="connsiteX41" fmla="*/ 2897 w 120204"/>
                <a:gd name="connsiteY41" fmla="*/ 39993 h 95517"/>
                <a:gd name="connsiteX42" fmla="*/ 1788 w 120204"/>
                <a:gd name="connsiteY42" fmla="*/ 41111 h 95517"/>
                <a:gd name="connsiteX43" fmla="*/ 0 w 120204"/>
                <a:gd name="connsiteY43" fmla="*/ 47118 h 95517"/>
                <a:gd name="connsiteX44" fmla="*/ 203 w 120204"/>
                <a:gd name="connsiteY44" fmla="*/ 48627 h 95517"/>
                <a:gd name="connsiteX45" fmla="*/ 4382 w 120204"/>
                <a:gd name="connsiteY45" fmla="*/ 55154 h 95517"/>
                <a:gd name="connsiteX46" fmla="*/ 5105 w 120204"/>
                <a:gd name="connsiteY46" fmla="*/ 55781 h 95517"/>
                <a:gd name="connsiteX47" fmla="*/ 10827 w 120204"/>
                <a:gd name="connsiteY47" fmla="*/ 58668 h 95517"/>
                <a:gd name="connsiteX48" fmla="*/ 16588 w 120204"/>
                <a:gd name="connsiteY48" fmla="*/ 63856 h 95517"/>
                <a:gd name="connsiteX49" fmla="*/ 18237 w 120204"/>
                <a:gd name="connsiteY49" fmla="*/ 64294 h 95517"/>
                <a:gd name="connsiteX50" fmla="*/ 19519 w 120204"/>
                <a:gd name="connsiteY50" fmla="*/ 63132 h 95517"/>
                <a:gd name="connsiteX51" fmla="*/ 21553 w 120204"/>
                <a:gd name="connsiteY51" fmla="*/ 57550 h 95517"/>
                <a:gd name="connsiteX52" fmla="*/ 26509 w 120204"/>
                <a:gd name="connsiteY52" fmla="*/ 56572 h 95517"/>
                <a:gd name="connsiteX53" fmla="*/ 27097 w 120204"/>
                <a:gd name="connsiteY53" fmla="*/ 56301 h 95517"/>
                <a:gd name="connsiteX54" fmla="*/ 32578 w 120204"/>
                <a:gd name="connsiteY54" fmla="*/ 52855 h 95517"/>
                <a:gd name="connsiteX55" fmla="*/ 37071 w 120204"/>
                <a:gd name="connsiteY55" fmla="*/ 56441 h 95517"/>
                <a:gd name="connsiteX56" fmla="*/ 38652 w 120204"/>
                <a:gd name="connsiteY56" fmla="*/ 61662 h 95517"/>
                <a:gd name="connsiteX57" fmla="*/ 39221 w 120204"/>
                <a:gd name="connsiteY57" fmla="*/ 67283 h 95517"/>
                <a:gd name="connsiteX58" fmla="*/ 38628 w 120204"/>
                <a:gd name="connsiteY58" fmla="*/ 73029 h 95517"/>
                <a:gd name="connsiteX59" fmla="*/ 39038 w 120204"/>
                <a:gd name="connsiteY59" fmla="*/ 74379 h 95517"/>
                <a:gd name="connsiteX60" fmla="*/ 44384 w 120204"/>
                <a:gd name="connsiteY60" fmla="*/ 80926 h 95517"/>
                <a:gd name="connsiteX61" fmla="*/ 45614 w 120204"/>
                <a:gd name="connsiteY61" fmla="*/ 81586 h 95517"/>
                <a:gd name="connsiteX62" fmla="*/ 51533 w 120204"/>
                <a:gd name="connsiteY62" fmla="*/ 82179 h 95517"/>
                <a:gd name="connsiteX63" fmla="*/ 51731 w 120204"/>
                <a:gd name="connsiteY63" fmla="*/ 82179 h 95517"/>
                <a:gd name="connsiteX64" fmla="*/ 57362 w 120204"/>
                <a:gd name="connsiteY64" fmla="*/ 82179 h 95517"/>
                <a:gd name="connsiteX65" fmla="*/ 62819 w 120204"/>
                <a:gd name="connsiteY65" fmla="*/ 84117 h 95517"/>
                <a:gd name="connsiteX66" fmla="*/ 64911 w 120204"/>
                <a:gd name="connsiteY66" fmla="*/ 89916 h 95517"/>
                <a:gd name="connsiteX67" fmla="*/ 65557 w 120204"/>
                <a:gd name="connsiteY67" fmla="*/ 90774 h 95517"/>
                <a:gd name="connsiteX68" fmla="*/ 72089 w 120204"/>
                <a:gd name="connsiteY68" fmla="*/ 95518 h 95517"/>
                <a:gd name="connsiteX69" fmla="*/ 74311 w 120204"/>
                <a:gd name="connsiteY69" fmla="*/ 95460 h 95517"/>
                <a:gd name="connsiteX70" fmla="*/ 80067 w 120204"/>
                <a:gd name="connsiteY70" fmla="*/ 90851 h 95517"/>
                <a:gd name="connsiteX71" fmla="*/ 86392 w 120204"/>
                <a:gd name="connsiteY71" fmla="*/ 87940 h 95517"/>
                <a:gd name="connsiteX72" fmla="*/ 86590 w 120204"/>
                <a:gd name="connsiteY72" fmla="*/ 87848 h 95517"/>
                <a:gd name="connsiteX73" fmla="*/ 92553 w 120204"/>
                <a:gd name="connsiteY73" fmla="*/ 84314 h 95517"/>
                <a:gd name="connsiteX74" fmla="*/ 93064 w 120204"/>
                <a:gd name="connsiteY74" fmla="*/ 83813 h 95517"/>
                <a:gd name="connsiteX75" fmla="*/ 97841 w 120204"/>
                <a:gd name="connsiteY75" fmla="*/ 77281 h 95517"/>
                <a:gd name="connsiteX76" fmla="*/ 97942 w 120204"/>
                <a:gd name="connsiteY76" fmla="*/ 76847 h 95517"/>
                <a:gd name="connsiteX77" fmla="*/ 98174 w 120204"/>
                <a:gd name="connsiteY77" fmla="*/ 76486 h 95517"/>
                <a:gd name="connsiteX78" fmla="*/ 98718 w 120204"/>
                <a:gd name="connsiteY78" fmla="*/ 73121 h 95517"/>
                <a:gd name="connsiteX79" fmla="*/ 100926 w 120204"/>
                <a:gd name="connsiteY79" fmla="*/ 67635 h 95517"/>
                <a:gd name="connsiteX80" fmla="*/ 106538 w 120204"/>
                <a:gd name="connsiteY80" fmla="*/ 61440 h 95517"/>
                <a:gd name="connsiteX81" fmla="*/ 112395 w 120204"/>
                <a:gd name="connsiteY81" fmla="*/ 56793 h 95517"/>
                <a:gd name="connsiteX82" fmla="*/ 113060 w 120204"/>
                <a:gd name="connsiteY82" fmla="*/ 55361 h 95517"/>
                <a:gd name="connsiteX83" fmla="*/ 113060 w 120204"/>
                <a:gd name="connsiteY83" fmla="*/ 49890 h 95517"/>
                <a:gd name="connsiteX84" fmla="*/ 118667 w 120204"/>
                <a:gd name="connsiteY84" fmla="*/ 46848 h 95517"/>
                <a:gd name="connsiteX85" fmla="*/ 119616 w 120204"/>
                <a:gd name="connsiteY85" fmla="*/ 45435 h 95517"/>
                <a:gd name="connsiteX86" fmla="*/ 120204 w 120204"/>
                <a:gd name="connsiteY86" fmla="*/ 39472 h 95517"/>
                <a:gd name="connsiteX87" fmla="*/ 120161 w 120204"/>
                <a:gd name="connsiteY87" fmla="*/ 38976 h 9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20204" h="95517">
                  <a:moveTo>
                    <a:pt x="120161" y="38976"/>
                  </a:moveTo>
                  <a:lnTo>
                    <a:pt x="118980" y="32449"/>
                  </a:lnTo>
                  <a:lnTo>
                    <a:pt x="118156" y="31229"/>
                  </a:lnTo>
                  <a:lnTo>
                    <a:pt x="111595" y="27064"/>
                  </a:lnTo>
                  <a:lnTo>
                    <a:pt x="110124" y="26871"/>
                  </a:lnTo>
                  <a:lnTo>
                    <a:pt x="104151" y="28631"/>
                  </a:lnTo>
                  <a:lnTo>
                    <a:pt x="103867" y="28741"/>
                  </a:lnTo>
                  <a:lnTo>
                    <a:pt x="98694" y="31330"/>
                  </a:lnTo>
                  <a:lnTo>
                    <a:pt x="93146" y="28799"/>
                  </a:lnTo>
                  <a:lnTo>
                    <a:pt x="87891" y="24620"/>
                  </a:lnTo>
                  <a:lnTo>
                    <a:pt x="86999" y="20156"/>
                  </a:lnTo>
                  <a:lnTo>
                    <a:pt x="91820" y="14260"/>
                  </a:lnTo>
                  <a:lnTo>
                    <a:pt x="92201" y="12886"/>
                  </a:lnTo>
                  <a:lnTo>
                    <a:pt x="91487" y="11618"/>
                  </a:lnTo>
                  <a:lnTo>
                    <a:pt x="87891" y="9049"/>
                  </a:lnTo>
                  <a:lnTo>
                    <a:pt x="90330" y="8306"/>
                  </a:lnTo>
                  <a:lnTo>
                    <a:pt x="90784" y="8118"/>
                  </a:lnTo>
                  <a:lnTo>
                    <a:pt x="97321" y="3934"/>
                  </a:lnTo>
                  <a:cubicBezTo>
                    <a:pt x="97981" y="3544"/>
                    <a:pt x="98309" y="2738"/>
                    <a:pt x="98126" y="1987"/>
                  </a:cubicBezTo>
                  <a:cubicBezTo>
                    <a:pt x="97957" y="1225"/>
                    <a:pt x="97311" y="670"/>
                    <a:pt x="96544" y="613"/>
                  </a:cubicBezTo>
                  <a:lnTo>
                    <a:pt x="90596" y="0"/>
                  </a:lnTo>
                  <a:lnTo>
                    <a:pt x="89791" y="97"/>
                  </a:lnTo>
                  <a:lnTo>
                    <a:pt x="83548" y="2367"/>
                  </a:lnTo>
                  <a:lnTo>
                    <a:pt x="77917" y="2367"/>
                  </a:lnTo>
                  <a:lnTo>
                    <a:pt x="77291" y="2497"/>
                  </a:lnTo>
                  <a:lnTo>
                    <a:pt x="70874" y="4797"/>
                  </a:lnTo>
                  <a:lnTo>
                    <a:pt x="65055" y="5973"/>
                  </a:lnTo>
                  <a:lnTo>
                    <a:pt x="64545" y="6185"/>
                  </a:lnTo>
                  <a:lnTo>
                    <a:pt x="58316" y="9560"/>
                  </a:lnTo>
                  <a:lnTo>
                    <a:pt x="52729" y="10109"/>
                  </a:lnTo>
                  <a:lnTo>
                    <a:pt x="51866" y="10437"/>
                  </a:lnTo>
                  <a:lnTo>
                    <a:pt x="46004" y="14535"/>
                  </a:lnTo>
                  <a:lnTo>
                    <a:pt x="39539" y="18073"/>
                  </a:lnTo>
                  <a:lnTo>
                    <a:pt x="39496" y="18136"/>
                  </a:lnTo>
                  <a:lnTo>
                    <a:pt x="33547" y="21684"/>
                  </a:lnTo>
                  <a:lnTo>
                    <a:pt x="33244" y="21872"/>
                  </a:lnTo>
                  <a:lnTo>
                    <a:pt x="27001" y="27555"/>
                  </a:lnTo>
                  <a:lnTo>
                    <a:pt x="21452" y="29238"/>
                  </a:lnTo>
                  <a:lnTo>
                    <a:pt x="20840" y="29546"/>
                  </a:lnTo>
                  <a:lnTo>
                    <a:pt x="14992" y="34246"/>
                  </a:lnTo>
                  <a:lnTo>
                    <a:pt x="9294" y="37674"/>
                  </a:lnTo>
                  <a:lnTo>
                    <a:pt x="2897" y="39993"/>
                  </a:lnTo>
                  <a:lnTo>
                    <a:pt x="1788" y="41111"/>
                  </a:lnTo>
                  <a:lnTo>
                    <a:pt x="0" y="47118"/>
                  </a:lnTo>
                  <a:lnTo>
                    <a:pt x="203" y="48627"/>
                  </a:lnTo>
                  <a:lnTo>
                    <a:pt x="4382" y="55154"/>
                  </a:lnTo>
                  <a:lnTo>
                    <a:pt x="5105" y="55781"/>
                  </a:lnTo>
                  <a:lnTo>
                    <a:pt x="10827" y="58668"/>
                  </a:lnTo>
                  <a:lnTo>
                    <a:pt x="16588" y="63856"/>
                  </a:lnTo>
                  <a:lnTo>
                    <a:pt x="18237" y="64294"/>
                  </a:lnTo>
                  <a:lnTo>
                    <a:pt x="19519" y="63132"/>
                  </a:lnTo>
                  <a:lnTo>
                    <a:pt x="21553" y="57550"/>
                  </a:lnTo>
                  <a:lnTo>
                    <a:pt x="26509" y="56572"/>
                  </a:lnTo>
                  <a:lnTo>
                    <a:pt x="27097" y="56301"/>
                  </a:lnTo>
                  <a:lnTo>
                    <a:pt x="32578" y="52855"/>
                  </a:lnTo>
                  <a:lnTo>
                    <a:pt x="37071" y="56441"/>
                  </a:lnTo>
                  <a:lnTo>
                    <a:pt x="38652" y="61662"/>
                  </a:lnTo>
                  <a:lnTo>
                    <a:pt x="39221" y="67283"/>
                  </a:lnTo>
                  <a:lnTo>
                    <a:pt x="38628" y="73029"/>
                  </a:lnTo>
                  <a:lnTo>
                    <a:pt x="39038" y="74379"/>
                  </a:lnTo>
                  <a:lnTo>
                    <a:pt x="44384" y="80926"/>
                  </a:lnTo>
                  <a:lnTo>
                    <a:pt x="45614" y="81586"/>
                  </a:lnTo>
                  <a:lnTo>
                    <a:pt x="51533" y="82179"/>
                  </a:lnTo>
                  <a:lnTo>
                    <a:pt x="51731" y="82179"/>
                  </a:lnTo>
                  <a:lnTo>
                    <a:pt x="57362" y="82179"/>
                  </a:lnTo>
                  <a:lnTo>
                    <a:pt x="62819" y="84117"/>
                  </a:lnTo>
                  <a:lnTo>
                    <a:pt x="64911" y="89916"/>
                  </a:lnTo>
                  <a:lnTo>
                    <a:pt x="65557" y="90774"/>
                  </a:lnTo>
                  <a:lnTo>
                    <a:pt x="72089" y="95518"/>
                  </a:lnTo>
                  <a:lnTo>
                    <a:pt x="74311" y="95460"/>
                  </a:lnTo>
                  <a:lnTo>
                    <a:pt x="80067" y="90851"/>
                  </a:lnTo>
                  <a:lnTo>
                    <a:pt x="86392" y="87940"/>
                  </a:lnTo>
                  <a:lnTo>
                    <a:pt x="86590" y="87848"/>
                  </a:lnTo>
                  <a:lnTo>
                    <a:pt x="92553" y="84314"/>
                  </a:lnTo>
                  <a:lnTo>
                    <a:pt x="93064" y="83813"/>
                  </a:lnTo>
                  <a:lnTo>
                    <a:pt x="97841" y="77281"/>
                  </a:lnTo>
                  <a:cubicBezTo>
                    <a:pt x="97942" y="77127"/>
                    <a:pt x="97875" y="77006"/>
                    <a:pt x="97942" y="76847"/>
                  </a:cubicBezTo>
                  <a:cubicBezTo>
                    <a:pt x="98000" y="76722"/>
                    <a:pt x="98145" y="76678"/>
                    <a:pt x="98174" y="76486"/>
                  </a:cubicBezTo>
                  <a:lnTo>
                    <a:pt x="98718" y="73121"/>
                  </a:lnTo>
                  <a:lnTo>
                    <a:pt x="100926" y="67635"/>
                  </a:lnTo>
                  <a:lnTo>
                    <a:pt x="106538" y="61440"/>
                  </a:lnTo>
                  <a:lnTo>
                    <a:pt x="112395" y="56793"/>
                  </a:lnTo>
                  <a:lnTo>
                    <a:pt x="113060" y="55361"/>
                  </a:lnTo>
                  <a:lnTo>
                    <a:pt x="113060" y="49890"/>
                  </a:lnTo>
                  <a:lnTo>
                    <a:pt x="118667" y="46848"/>
                  </a:lnTo>
                  <a:lnTo>
                    <a:pt x="119616" y="45435"/>
                  </a:lnTo>
                  <a:lnTo>
                    <a:pt x="120204" y="39472"/>
                  </a:lnTo>
                  <a:lnTo>
                    <a:pt x="120161" y="3897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11" name="Freihandform: Form 110">
              <a:extLst>
                <a:ext uri="{FF2B5EF4-FFF2-40B4-BE49-F238E27FC236}">
                  <a16:creationId xmlns:a16="http://schemas.microsoft.com/office/drawing/2014/main" id="{B7C49D91-CB92-42CA-3C35-A416D16210BA}"/>
                </a:ext>
              </a:extLst>
            </p:cNvPr>
            <p:cNvSpPr/>
            <p:nvPr/>
          </p:nvSpPr>
          <p:spPr>
            <a:xfrm>
              <a:off x="4203950" y="6111969"/>
              <a:ext cx="58731" cy="52390"/>
            </a:xfrm>
            <a:custGeom>
              <a:avLst/>
              <a:gdLst>
                <a:gd name="connsiteX0" fmla="*/ 45199 w 46389"/>
                <a:gd name="connsiteY0" fmla="*/ 3861 h 40465"/>
                <a:gd name="connsiteX1" fmla="*/ 44095 w 46389"/>
                <a:gd name="connsiteY1" fmla="*/ 2492 h 40465"/>
                <a:gd name="connsiteX2" fmla="*/ 38122 w 46389"/>
                <a:gd name="connsiteY2" fmla="*/ 101 h 40465"/>
                <a:gd name="connsiteX3" fmla="*/ 37124 w 46389"/>
                <a:gd name="connsiteY3" fmla="*/ 0 h 40465"/>
                <a:gd name="connsiteX4" fmla="*/ 30592 w 46389"/>
                <a:gd name="connsiteY4" fmla="*/ 1205 h 40465"/>
                <a:gd name="connsiteX5" fmla="*/ 30385 w 46389"/>
                <a:gd name="connsiteY5" fmla="*/ 1253 h 40465"/>
                <a:gd name="connsiteX6" fmla="*/ 24431 w 46389"/>
                <a:gd name="connsiteY6" fmla="*/ 3018 h 40465"/>
                <a:gd name="connsiteX7" fmla="*/ 17938 w 46389"/>
                <a:gd name="connsiteY7" fmla="*/ 4777 h 40465"/>
                <a:gd name="connsiteX8" fmla="*/ 17196 w 46389"/>
                <a:gd name="connsiteY8" fmla="*/ 5211 h 40465"/>
                <a:gd name="connsiteX9" fmla="*/ 11242 w 46389"/>
                <a:gd name="connsiteY9" fmla="*/ 10542 h 40465"/>
                <a:gd name="connsiteX10" fmla="*/ 10774 w 46389"/>
                <a:gd name="connsiteY10" fmla="*/ 11241 h 40465"/>
                <a:gd name="connsiteX11" fmla="*/ 8706 w 46389"/>
                <a:gd name="connsiteY11" fmla="*/ 16429 h 40465"/>
                <a:gd name="connsiteX12" fmla="*/ 2912 w 46389"/>
                <a:gd name="connsiteY12" fmla="*/ 18540 h 40465"/>
                <a:gd name="connsiteX13" fmla="*/ 1769 w 46389"/>
                <a:gd name="connsiteY13" fmla="*/ 19769 h 40465"/>
                <a:gd name="connsiteX14" fmla="*/ 0 w 46389"/>
                <a:gd name="connsiteY14" fmla="*/ 26326 h 40465"/>
                <a:gd name="connsiteX15" fmla="*/ 130 w 46389"/>
                <a:gd name="connsiteY15" fmla="*/ 27656 h 40465"/>
                <a:gd name="connsiteX16" fmla="*/ 3731 w 46389"/>
                <a:gd name="connsiteY16" fmla="*/ 34222 h 40465"/>
                <a:gd name="connsiteX17" fmla="*/ 5496 w 46389"/>
                <a:gd name="connsiteY17" fmla="*/ 35133 h 40465"/>
                <a:gd name="connsiteX18" fmla="*/ 10581 w 46389"/>
                <a:gd name="connsiteY18" fmla="*/ 34617 h 40465"/>
                <a:gd name="connsiteX19" fmla="*/ 15908 w 46389"/>
                <a:gd name="connsiteY19" fmla="*/ 39968 h 40465"/>
                <a:gd name="connsiteX20" fmla="*/ 16116 w 46389"/>
                <a:gd name="connsiteY20" fmla="*/ 39968 h 40465"/>
                <a:gd name="connsiteX21" fmla="*/ 18184 w 46389"/>
                <a:gd name="connsiteY21" fmla="*/ 40214 h 40465"/>
                <a:gd name="connsiteX22" fmla="*/ 22966 w 46389"/>
                <a:gd name="connsiteY22" fmla="*/ 37230 h 40465"/>
                <a:gd name="connsiteX23" fmla="*/ 23703 w 46389"/>
                <a:gd name="connsiteY23" fmla="*/ 36324 h 40465"/>
                <a:gd name="connsiteX24" fmla="*/ 25704 w 46389"/>
                <a:gd name="connsiteY24" fmla="*/ 30766 h 40465"/>
                <a:gd name="connsiteX25" fmla="*/ 30669 w 46389"/>
                <a:gd name="connsiteY25" fmla="*/ 29743 h 40465"/>
                <a:gd name="connsiteX26" fmla="*/ 31441 w 46389"/>
                <a:gd name="connsiteY26" fmla="*/ 29396 h 40465"/>
                <a:gd name="connsiteX27" fmla="*/ 37987 w 46389"/>
                <a:gd name="connsiteY27" fmla="*/ 24026 h 40465"/>
                <a:gd name="connsiteX28" fmla="*/ 38055 w 46389"/>
                <a:gd name="connsiteY28" fmla="*/ 23983 h 40465"/>
                <a:gd name="connsiteX29" fmla="*/ 44023 w 46389"/>
                <a:gd name="connsiteY29" fmla="*/ 18632 h 40465"/>
                <a:gd name="connsiteX30" fmla="*/ 44553 w 46389"/>
                <a:gd name="connsiteY30" fmla="*/ 17720 h 40465"/>
                <a:gd name="connsiteX31" fmla="*/ 46332 w 46389"/>
                <a:gd name="connsiteY31" fmla="*/ 11227 h 40465"/>
                <a:gd name="connsiteX32" fmla="*/ 46390 w 46389"/>
                <a:gd name="connsiteY32" fmla="*/ 10398 h 40465"/>
                <a:gd name="connsiteX33" fmla="*/ 45199 w 46389"/>
                <a:gd name="connsiteY33" fmla="*/ 3861 h 40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6389" h="40465">
                  <a:moveTo>
                    <a:pt x="45199" y="3861"/>
                  </a:moveTo>
                  <a:lnTo>
                    <a:pt x="44095" y="2492"/>
                  </a:lnTo>
                  <a:lnTo>
                    <a:pt x="38122" y="101"/>
                  </a:lnTo>
                  <a:lnTo>
                    <a:pt x="37124" y="0"/>
                  </a:lnTo>
                  <a:lnTo>
                    <a:pt x="30592" y="1205"/>
                  </a:lnTo>
                  <a:lnTo>
                    <a:pt x="30385" y="1253"/>
                  </a:lnTo>
                  <a:lnTo>
                    <a:pt x="24431" y="3018"/>
                  </a:lnTo>
                  <a:lnTo>
                    <a:pt x="17938" y="4777"/>
                  </a:lnTo>
                  <a:lnTo>
                    <a:pt x="17196" y="5211"/>
                  </a:lnTo>
                  <a:lnTo>
                    <a:pt x="11242" y="10542"/>
                  </a:lnTo>
                  <a:lnTo>
                    <a:pt x="10774" y="11241"/>
                  </a:lnTo>
                  <a:lnTo>
                    <a:pt x="8706" y="16429"/>
                  </a:lnTo>
                  <a:lnTo>
                    <a:pt x="2912" y="18540"/>
                  </a:lnTo>
                  <a:lnTo>
                    <a:pt x="1769" y="19769"/>
                  </a:lnTo>
                  <a:lnTo>
                    <a:pt x="0" y="26326"/>
                  </a:lnTo>
                  <a:lnTo>
                    <a:pt x="130" y="27656"/>
                  </a:lnTo>
                  <a:lnTo>
                    <a:pt x="3731" y="34222"/>
                  </a:lnTo>
                  <a:lnTo>
                    <a:pt x="5496" y="35133"/>
                  </a:lnTo>
                  <a:lnTo>
                    <a:pt x="10581" y="34617"/>
                  </a:lnTo>
                  <a:lnTo>
                    <a:pt x="15908" y="39968"/>
                  </a:lnTo>
                  <a:lnTo>
                    <a:pt x="16116" y="39968"/>
                  </a:lnTo>
                  <a:cubicBezTo>
                    <a:pt x="16694" y="40475"/>
                    <a:pt x="17499" y="40658"/>
                    <a:pt x="18184" y="40214"/>
                  </a:cubicBezTo>
                  <a:lnTo>
                    <a:pt x="22966" y="37230"/>
                  </a:lnTo>
                  <a:lnTo>
                    <a:pt x="23703" y="36324"/>
                  </a:lnTo>
                  <a:lnTo>
                    <a:pt x="25704" y="30766"/>
                  </a:lnTo>
                  <a:lnTo>
                    <a:pt x="30669" y="29743"/>
                  </a:lnTo>
                  <a:lnTo>
                    <a:pt x="31441" y="29396"/>
                  </a:lnTo>
                  <a:lnTo>
                    <a:pt x="37987" y="24026"/>
                  </a:lnTo>
                  <a:lnTo>
                    <a:pt x="38055" y="23983"/>
                  </a:lnTo>
                  <a:lnTo>
                    <a:pt x="44023" y="18632"/>
                  </a:lnTo>
                  <a:lnTo>
                    <a:pt x="44553" y="17720"/>
                  </a:lnTo>
                  <a:lnTo>
                    <a:pt x="46332" y="11227"/>
                  </a:lnTo>
                  <a:lnTo>
                    <a:pt x="46390" y="10398"/>
                  </a:lnTo>
                  <a:lnTo>
                    <a:pt x="45199" y="386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12" name="Freihandform: Form 111">
              <a:extLst>
                <a:ext uri="{FF2B5EF4-FFF2-40B4-BE49-F238E27FC236}">
                  <a16:creationId xmlns:a16="http://schemas.microsoft.com/office/drawing/2014/main" id="{F82288CF-7CA5-007A-DA59-9763702321A7}"/>
                </a:ext>
              </a:extLst>
            </p:cNvPr>
            <p:cNvSpPr/>
            <p:nvPr/>
          </p:nvSpPr>
          <p:spPr>
            <a:xfrm>
              <a:off x="5153168" y="6158009"/>
              <a:ext cx="12699" cy="19051"/>
            </a:xfrm>
            <a:custGeom>
              <a:avLst/>
              <a:gdLst>
                <a:gd name="connsiteX0" fmla="*/ 9367 w 9366"/>
                <a:gd name="connsiteY0" fmla="*/ 9107 h 15435"/>
                <a:gd name="connsiteX1" fmla="*/ 9227 w 9366"/>
                <a:gd name="connsiteY1" fmla="*/ 7400 h 15435"/>
                <a:gd name="connsiteX2" fmla="*/ 5071 w 9366"/>
                <a:gd name="connsiteY2" fmla="*/ 829 h 15435"/>
                <a:gd name="connsiteX3" fmla="*/ 3273 w 9366"/>
                <a:gd name="connsiteY3" fmla="*/ 0 h 15435"/>
                <a:gd name="connsiteX4" fmla="*/ 1798 w 9366"/>
                <a:gd name="connsiteY4" fmla="*/ 1321 h 15435"/>
                <a:gd name="connsiteX5" fmla="*/ 0 w 9366"/>
                <a:gd name="connsiteY5" fmla="*/ 7246 h 15435"/>
                <a:gd name="connsiteX6" fmla="*/ 178 w 9366"/>
                <a:gd name="connsiteY6" fmla="*/ 8696 h 15435"/>
                <a:gd name="connsiteX7" fmla="*/ 3746 w 9366"/>
                <a:gd name="connsiteY7" fmla="*/ 14679 h 15435"/>
                <a:gd name="connsiteX8" fmla="*/ 4218 w 9366"/>
                <a:gd name="connsiteY8" fmla="*/ 15026 h 15435"/>
                <a:gd name="connsiteX9" fmla="*/ 4589 w 9366"/>
                <a:gd name="connsiteY9" fmla="*/ 15402 h 15435"/>
                <a:gd name="connsiteX10" fmla="*/ 4739 w 9366"/>
                <a:gd name="connsiteY10" fmla="*/ 15402 h 15435"/>
                <a:gd name="connsiteX11" fmla="*/ 5389 w 9366"/>
                <a:gd name="connsiteY11" fmla="*/ 15402 h 15435"/>
                <a:gd name="connsiteX12" fmla="*/ 6103 w 9366"/>
                <a:gd name="connsiteY12" fmla="*/ 15311 h 15435"/>
                <a:gd name="connsiteX13" fmla="*/ 6233 w 9366"/>
                <a:gd name="connsiteY13" fmla="*/ 15282 h 15435"/>
                <a:gd name="connsiteX14" fmla="*/ 6561 w 9366"/>
                <a:gd name="connsiteY14" fmla="*/ 14872 h 15435"/>
                <a:gd name="connsiteX15" fmla="*/ 6975 w 9366"/>
                <a:gd name="connsiteY15" fmla="*/ 14462 h 15435"/>
                <a:gd name="connsiteX16" fmla="*/ 9367 w 9366"/>
                <a:gd name="connsiteY16" fmla="*/ 9107 h 15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6" h="15435">
                  <a:moveTo>
                    <a:pt x="9367" y="9107"/>
                  </a:moveTo>
                  <a:lnTo>
                    <a:pt x="9227" y="7400"/>
                  </a:lnTo>
                  <a:lnTo>
                    <a:pt x="5071" y="829"/>
                  </a:lnTo>
                  <a:lnTo>
                    <a:pt x="3273" y="0"/>
                  </a:lnTo>
                  <a:lnTo>
                    <a:pt x="1798" y="1321"/>
                  </a:lnTo>
                  <a:lnTo>
                    <a:pt x="0" y="7246"/>
                  </a:lnTo>
                  <a:lnTo>
                    <a:pt x="178" y="8696"/>
                  </a:lnTo>
                  <a:lnTo>
                    <a:pt x="3746" y="14679"/>
                  </a:lnTo>
                  <a:cubicBezTo>
                    <a:pt x="3852" y="14877"/>
                    <a:pt x="4049" y="14877"/>
                    <a:pt x="4218" y="15026"/>
                  </a:cubicBezTo>
                  <a:cubicBezTo>
                    <a:pt x="4353" y="15137"/>
                    <a:pt x="4411" y="15315"/>
                    <a:pt x="4589" y="15402"/>
                  </a:cubicBezTo>
                  <a:cubicBezTo>
                    <a:pt x="4637" y="15402"/>
                    <a:pt x="4676" y="15364"/>
                    <a:pt x="4739" y="15402"/>
                  </a:cubicBezTo>
                  <a:cubicBezTo>
                    <a:pt x="4951" y="15455"/>
                    <a:pt x="5173" y="15436"/>
                    <a:pt x="5389" y="15402"/>
                  </a:cubicBezTo>
                  <a:cubicBezTo>
                    <a:pt x="5645" y="15402"/>
                    <a:pt x="5881" y="15402"/>
                    <a:pt x="6103" y="15311"/>
                  </a:cubicBezTo>
                  <a:cubicBezTo>
                    <a:pt x="6132" y="15282"/>
                    <a:pt x="6194" y="15311"/>
                    <a:pt x="6233" y="15282"/>
                  </a:cubicBezTo>
                  <a:cubicBezTo>
                    <a:pt x="6431" y="15195"/>
                    <a:pt x="6455" y="15002"/>
                    <a:pt x="6561" y="14872"/>
                  </a:cubicBezTo>
                  <a:cubicBezTo>
                    <a:pt x="6691" y="14708"/>
                    <a:pt x="6898" y="14655"/>
                    <a:pt x="6975" y="14462"/>
                  </a:cubicBezTo>
                  <a:lnTo>
                    <a:pt x="9367" y="910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13" name="Freihandform: Form 112">
              <a:extLst>
                <a:ext uri="{FF2B5EF4-FFF2-40B4-BE49-F238E27FC236}">
                  <a16:creationId xmlns:a16="http://schemas.microsoft.com/office/drawing/2014/main" id="{0E4DF0EA-F676-8A90-E988-443F84F9B73D}"/>
                </a:ext>
              </a:extLst>
            </p:cNvPr>
            <p:cNvSpPr/>
            <p:nvPr/>
          </p:nvSpPr>
          <p:spPr>
            <a:xfrm>
              <a:off x="5673809" y="6361216"/>
              <a:ext cx="6349" cy="11112"/>
            </a:xfrm>
            <a:custGeom>
              <a:avLst/>
              <a:gdLst>
                <a:gd name="connsiteX0" fmla="*/ 3550 w 5425"/>
                <a:gd name="connsiteY0" fmla="*/ 1274 h 9560"/>
                <a:gd name="connsiteX1" fmla="*/ 1309 w 5425"/>
                <a:gd name="connsiteY1" fmla="*/ 78 h 9560"/>
                <a:gd name="connsiteX2" fmla="*/ 84 w 5425"/>
                <a:gd name="connsiteY2" fmla="*/ 2344 h 9560"/>
                <a:gd name="connsiteX3" fmla="*/ 1873 w 5425"/>
                <a:gd name="connsiteY3" fmla="*/ 8269 h 9560"/>
                <a:gd name="connsiteX4" fmla="*/ 4148 w 5425"/>
                <a:gd name="connsiteY4" fmla="*/ 9479 h 9560"/>
                <a:gd name="connsiteX5" fmla="*/ 5353 w 5425"/>
                <a:gd name="connsiteY5" fmla="*/ 7232 h 9560"/>
                <a:gd name="connsiteX6" fmla="*/ 3550 w 5425"/>
                <a:gd name="connsiteY6" fmla="*/ 1274 h 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5" h="9560">
                  <a:moveTo>
                    <a:pt x="3550" y="1274"/>
                  </a:moveTo>
                  <a:cubicBezTo>
                    <a:pt x="3261" y="305"/>
                    <a:pt x="2249" y="-206"/>
                    <a:pt x="1309" y="78"/>
                  </a:cubicBezTo>
                  <a:cubicBezTo>
                    <a:pt x="325" y="348"/>
                    <a:pt x="-220" y="1351"/>
                    <a:pt x="84" y="2344"/>
                  </a:cubicBezTo>
                  <a:lnTo>
                    <a:pt x="1873" y="8269"/>
                  </a:lnTo>
                  <a:cubicBezTo>
                    <a:pt x="2142" y="9190"/>
                    <a:pt x="3169" y="9787"/>
                    <a:pt x="4148" y="9479"/>
                  </a:cubicBezTo>
                  <a:cubicBezTo>
                    <a:pt x="5098" y="9190"/>
                    <a:pt x="5628" y="8168"/>
                    <a:pt x="5353" y="7232"/>
                  </a:cubicBezTo>
                  <a:lnTo>
                    <a:pt x="3550" y="127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14" name="Freihandform: Form 113">
              <a:extLst>
                <a:ext uri="{FF2B5EF4-FFF2-40B4-BE49-F238E27FC236}">
                  <a16:creationId xmlns:a16="http://schemas.microsoft.com/office/drawing/2014/main" id="{10F564B4-084E-78E2-A7D4-6A16D39D38C5}"/>
                </a:ext>
              </a:extLst>
            </p:cNvPr>
            <p:cNvSpPr/>
            <p:nvPr/>
          </p:nvSpPr>
          <p:spPr>
            <a:xfrm>
              <a:off x="5705556" y="6370742"/>
              <a:ext cx="12699" cy="7937"/>
            </a:xfrm>
            <a:custGeom>
              <a:avLst/>
              <a:gdLst>
                <a:gd name="connsiteX0" fmla="*/ 9603 w 9602"/>
                <a:gd name="connsiteY0" fmla="*/ 1750 h 5963"/>
                <a:gd name="connsiteX1" fmla="*/ 8899 w 9602"/>
                <a:gd name="connsiteY1" fmla="*/ 342 h 5963"/>
                <a:gd name="connsiteX2" fmla="*/ 7400 w 9602"/>
                <a:gd name="connsiteY2" fmla="*/ 0 h 5963"/>
                <a:gd name="connsiteX3" fmla="*/ 1461 w 9602"/>
                <a:gd name="connsiteY3" fmla="*/ 1172 h 5963"/>
                <a:gd name="connsiteX4" fmla="*/ 0 w 9602"/>
                <a:gd name="connsiteY4" fmla="*/ 2960 h 5963"/>
                <a:gd name="connsiteX5" fmla="*/ 1461 w 9602"/>
                <a:gd name="connsiteY5" fmla="*/ 4734 h 5963"/>
                <a:gd name="connsiteX6" fmla="*/ 7400 w 9602"/>
                <a:gd name="connsiteY6" fmla="*/ 5915 h 5963"/>
                <a:gd name="connsiteX7" fmla="*/ 7602 w 9602"/>
                <a:gd name="connsiteY7" fmla="*/ 5867 h 5963"/>
                <a:gd name="connsiteX8" fmla="*/ 7771 w 9602"/>
                <a:gd name="connsiteY8" fmla="*/ 5964 h 5963"/>
                <a:gd name="connsiteX9" fmla="*/ 8244 w 9602"/>
                <a:gd name="connsiteY9" fmla="*/ 5737 h 5963"/>
                <a:gd name="connsiteX10" fmla="*/ 8885 w 9602"/>
                <a:gd name="connsiteY10" fmla="*/ 5486 h 5963"/>
                <a:gd name="connsiteX11" fmla="*/ 9246 w 9602"/>
                <a:gd name="connsiteY11" fmla="*/ 4898 h 5963"/>
                <a:gd name="connsiteX12" fmla="*/ 9559 w 9602"/>
                <a:gd name="connsiteY12" fmla="*/ 4488 h 5963"/>
                <a:gd name="connsiteX13" fmla="*/ 9516 w 9602"/>
                <a:gd name="connsiteY13" fmla="*/ 4300 h 5963"/>
                <a:gd name="connsiteX14" fmla="*/ 9598 w 9602"/>
                <a:gd name="connsiteY14" fmla="*/ 4112 h 5963"/>
                <a:gd name="connsiteX15" fmla="*/ 9598 w 9602"/>
                <a:gd name="connsiteY15" fmla="*/ 1750 h 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602" h="5963">
                  <a:moveTo>
                    <a:pt x="9603" y="1750"/>
                  </a:moveTo>
                  <a:lnTo>
                    <a:pt x="8899" y="342"/>
                  </a:lnTo>
                  <a:lnTo>
                    <a:pt x="7400" y="0"/>
                  </a:lnTo>
                  <a:lnTo>
                    <a:pt x="1461" y="1172"/>
                  </a:lnTo>
                  <a:cubicBezTo>
                    <a:pt x="627" y="1355"/>
                    <a:pt x="0" y="2102"/>
                    <a:pt x="0" y="2960"/>
                  </a:cubicBezTo>
                  <a:cubicBezTo>
                    <a:pt x="0" y="3813"/>
                    <a:pt x="627" y="4570"/>
                    <a:pt x="1461" y="4734"/>
                  </a:cubicBezTo>
                  <a:lnTo>
                    <a:pt x="7400" y="5915"/>
                  </a:lnTo>
                  <a:cubicBezTo>
                    <a:pt x="7482" y="5939"/>
                    <a:pt x="7525" y="5867"/>
                    <a:pt x="7602" y="5867"/>
                  </a:cubicBezTo>
                  <a:cubicBezTo>
                    <a:pt x="7655" y="5867"/>
                    <a:pt x="7718" y="5964"/>
                    <a:pt x="7771" y="5964"/>
                  </a:cubicBezTo>
                  <a:cubicBezTo>
                    <a:pt x="7959" y="5964"/>
                    <a:pt x="8070" y="5828"/>
                    <a:pt x="8244" y="5737"/>
                  </a:cubicBezTo>
                  <a:cubicBezTo>
                    <a:pt x="8475" y="5679"/>
                    <a:pt x="8687" y="5679"/>
                    <a:pt x="8885" y="5486"/>
                  </a:cubicBezTo>
                  <a:cubicBezTo>
                    <a:pt x="9068" y="5366"/>
                    <a:pt x="9135" y="5148"/>
                    <a:pt x="9246" y="4898"/>
                  </a:cubicBezTo>
                  <a:cubicBezTo>
                    <a:pt x="9347" y="4768"/>
                    <a:pt x="9521" y="4695"/>
                    <a:pt x="9559" y="4488"/>
                  </a:cubicBezTo>
                  <a:cubicBezTo>
                    <a:pt x="9564" y="4431"/>
                    <a:pt x="9516" y="4353"/>
                    <a:pt x="9516" y="4300"/>
                  </a:cubicBezTo>
                  <a:cubicBezTo>
                    <a:pt x="9535" y="4252"/>
                    <a:pt x="9598" y="4199"/>
                    <a:pt x="9598" y="4112"/>
                  </a:cubicBezTo>
                  <a:lnTo>
                    <a:pt x="9598" y="175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15" name="Freihandform: Form 114">
              <a:extLst>
                <a:ext uri="{FF2B5EF4-FFF2-40B4-BE49-F238E27FC236}">
                  <a16:creationId xmlns:a16="http://schemas.microsoft.com/office/drawing/2014/main" id="{9F4BB615-20EA-A604-748F-500FE2645B9E}"/>
                </a:ext>
              </a:extLst>
            </p:cNvPr>
            <p:cNvSpPr/>
            <p:nvPr/>
          </p:nvSpPr>
          <p:spPr>
            <a:xfrm>
              <a:off x="5661111" y="6564424"/>
              <a:ext cx="23810" cy="19051"/>
            </a:xfrm>
            <a:custGeom>
              <a:avLst/>
              <a:gdLst>
                <a:gd name="connsiteX0" fmla="*/ 16549 w 17754"/>
                <a:gd name="connsiteY0" fmla="*/ 4435 h 14828"/>
                <a:gd name="connsiteX1" fmla="*/ 15373 w 17754"/>
                <a:gd name="connsiteY1" fmla="*/ 3056 h 14828"/>
                <a:gd name="connsiteX2" fmla="*/ 8822 w 17754"/>
                <a:gd name="connsiteY2" fmla="*/ 666 h 14828"/>
                <a:gd name="connsiteX3" fmla="*/ 8354 w 17754"/>
                <a:gd name="connsiteY3" fmla="*/ 588 h 14828"/>
                <a:gd name="connsiteX4" fmla="*/ 1822 w 17754"/>
                <a:gd name="connsiteY4" fmla="*/ 0 h 14828"/>
                <a:gd name="connsiteX5" fmla="*/ 174 w 17754"/>
                <a:gd name="connsiteY5" fmla="*/ 757 h 14828"/>
                <a:gd name="connsiteX6" fmla="*/ 0 w 17754"/>
                <a:gd name="connsiteY6" fmla="*/ 2570 h 14828"/>
                <a:gd name="connsiteX7" fmla="*/ 2979 w 17754"/>
                <a:gd name="connsiteY7" fmla="*/ 9102 h 14828"/>
                <a:gd name="connsiteX8" fmla="*/ 3490 w 17754"/>
                <a:gd name="connsiteY8" fmla="*/ 9777 h 14828"/>
                <a:gd name="connsiteX9" fmla="*/ 9449 w 17754"/>
                <a:gd name="connsiteY9" fmla="*/ 14545 h 14828"/>
                <a:gd name="connsiteX10" fmla="*/ 9651 w 17754"/>
                <a:gd name="connsiteY10" fmla="*/ 14607 h 14828"/>
                <a:gd name="connsiteX11" fmla="*/ 10297 w 17754"/>
                <a:gd name="connsiteY11" fmla="*/ 14756 h 14828"/>
                <a:gd name="connsiteX12" fmla="*/ 10986 w 17754"/>
                <a:gd name="connsiteY12" fmla="*/ 14805 h 14828"/>
                <a:gd name="connsiteX13" fmla="*/ 11150 w 17754"/>
                <a:gd name="connsiteY13" fmla="*/ 14829 h 14828"/>
                <a:gd name="connsiteX14" fmla="*/ 16487 w 17754"/>
                <a:gd name="connsiteY14" fmla="*/ 13045 h 14828"/>
                <a:gd name="connsiteX15" fmla="*/ 17726 w 17754"/>
                <a:gd name="connsiteY15" fmla="*/ 11011 h 14828"/>
                <a:gd name="connsiteX16" fmla="*/ 16549 w 17754"/>
                <a:gd name="connsiteY16" fmla="*/ 4435 h 1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754" h="14828">
                  <a:moveTo>
                    <a:pt x="16549" y="4435"/>
                  </a:moveTo>
                  <a:lnTo>
                    <a:pt x="15373" y="3056"/>
                  </a:lnTo>
                  <a:lnTo>
                    <a:pt x="8822" y="666"/>
                  </a:lnTo>
                  <a:lnTo>
                    <a:pt x="8354" y="588"/>
                  </a:lnTo>
                  <a:lnTo>
                    <a:pt x="1822" y="0"/>
                  </a:lnTo>
                  <a:lnTo>
                    <a:pt x="174" y="757"/>
                  </a:lnTo>
                  <a:lnTo>
                    <a:pt x="0" y="2570"/>
                  </a:lnTo>
                  <a:lnTo>
                    <a:pt x="2979" y="9102"/>
                  </a:lnTo>
                  <a:lnTo>
                    <a:pt x="3490" y="9777"/>
                  </a:lnTo>
                  <a:lnTo>
                    <a:pt x="9449" y="14545"/>
                  </a:lnTo>
                  <a:cubicBezTo>
                    <a:pt x="9516" y="14607"/>
                    <a:pt x="9555" y="14545"/>
                    <a:pt x="9651" y="14607"/>
                  </a:cubicBezTo>
                  <a:cubicBezTo>
                    <a:pt x="9844" y="14679"/>
                    <a:pt x="10046" y="14708"/>
                    <a:pt x="10297" y="14756"/>
                  </a:cubicBezTo>
                  <a:cubicBezTo>
                    <a:pt x="10533" y="14771"/>
                    <a:pt x="10736" y="14858"/>
                    <a:pt x="10986" y="14805"/>
                  </a:cubicBezTo>
                  <a:cubicBezTo>
                    <a:pt x="11025" y="14771"/>
                    <a:pt x="11088" y="14829"/>
                    <a:pt x="11150" y="14829"/>
                  </a:cubicBezTo>
                  <a:lnTo>
                    <a:pt x="16487" y="13045"/>
                  </a:lnTo>
                  <a:cubicBezTo>
                    <a:pt x="17364" y="12775"/>
                    <a:pt x="17885" y="11883"/>
                    <a:pt x="17726" y="11011"/>
                  </a:cubicBezTo>
                  <a:lnTo>
                    <a:pt x="16549" y="443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16" name="Freihandform: Form 115">
              <a:extLst>
                <a:ext uri="{FF2B5EF4-FFF2-40B4-BE49-F238E27FC236}">
                  <a16:creationId xmlns:a16="http://schemas.microsoft.com/office/drawing/2014/main" id="{F9C1F1A3-3A21-868B-0F18-2A1A50F55A0A}"/>
                </a:ext>
              </a:extLst>
            </p:cNvPr>
            <p:cNvSpPr/>
            <p:nvPr/>
          </p:nvSpPr>
          <p:spPr>
            <a:xfrm>
              <a:off x="6746838" y="6050055"/>
              <a:ext cx="11112" cy="11112"/>
            </a:xfrm>
            <a:custGeom>
              <a:avLst/>
              <a:gdLst>
                <a:gd name="connsiteX0" fmla="*/ 9434 w 9438"/>
                <a:gd name="connsiteY0" fmla="*/ 2418 h 8997"/>
                <a:gd name="connsiteX1" fmla="*/ 7800 w 9438"/>
                <a:gd name="connsiteY1" fmla="*/ 586 h 8997"/>
                <a:gd name="connsiteX2" fmla="*/ 1846 w 9438"/>
                <a:gd name="connsiteY2" fmla="*/ 7 h 8997"/>
                <a:gd name="connsiteX3" fmla="*/ 0 w 9438"/>
                <a:gd name="connsiteY3" fmla="*/ 1106 h 8997"/>
                <a:gd name="connsiteX4" fmla="*/ 443 w 9438"/>
                <a:gd name="connsiteY4" fmla="*/ 3184 h 8997"/>
                <a:gd name="connsiteX5" fmla="*/ 6397 w 9438"/>
                <a:gd name="connsiteY5" fmla="*/ 8545 h 8997"/>
                <a:gd name="connsiteX6" fmla="*/ 6966 w 9438"/>
                <a:gd name="connsiteY6" fmla="*/ 8757 h 8997"/>
                <a:gd name="connsiteX7" fmla="*/ 7602 w 9438"/>
                <a:gd name="connsiteY7" fmla="*/ 8998 h 8997"/>
                <a:gd name="connsiteX8" fmla="*/ 7670 w 9438"/>
                <a:gd name="connsiteY8" fmla="*/ 8998 h 8997"/>
                <a:gd name="connsiteX9" fmla="*/ 8244 w 9438"/>
                <a:gd name="connsiteY9" fmla="*/ 8757 h 8997"/>
                <a:gd name="connsiteX10" fmla="*/ 8913 w 9438"/>
                <a:gd name="connsiteY10" fmla="*/ 8424 h 8997"/>
                <a:gd name="connsiteX11" fmla="*/ 8986 w 9438"/>
                <a:gd name="connsiteY11" fmla="*/ 8424 h 8997"/>
                <a:gd name="connsiteX12" fmla="*/ 9183 w 9438"/>
                <a:gd name="connsiteY12" fmla="*/ 7803 h 8997"/>
                <a:gd name="connsiteX13" fmla="*/ 9439 w 9438"/>
                <a:gd name="connsiteY13" fmla="*/ 7190 h 8997"/>
                <a:gd name="connsiteX14" fmla="*/ 9439 w 9438"/>
                <a:gd name="connsiteY14" fmla="*/ 2418 h 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38" h="8997">
                  <a:moveTo>
                    <a:pt x="9434" y="2418"/>
                  </a:moveTo>
                  <a:cubicBezTo>
                    <a:pt x="9434" y="1487"/>
                    <a:pt x="8740" y="702"/>
                    <a:pt x="7800" y="586"/>
                  </a:cubicBezTo>
                  <a:lnTo>
                    <a:pt x="1846" y="7"/>
                  </a:lnTo>
                  <a:cubicBezTo>
                    <a:pt x="1056" y="-60"/>
                    <a:pt x="328" y="350"/>
                    <a:pt x="0" y="1106"/>
                  </a:cubicBezTo>
                  <a:lnTo>
                    <a:pt x="443" y="3184"/>
                  </a:lnTo>
                  <a:lnTo>
                    <a:pt x="6397" y="8545"/>
                  </a:lnTo>
                  <a:cubicBezTo>
                    <a:pt x="6551" y="8651"/>
                    <a:pt x="6783" y="8651"/>
                    <a:pt x="6966" y="8757"/>
                  </a:cubicBezTo>
                  <a:cubicBezTo>
                    <a:pt x="7212" y="8844"/>
                    <a:pt x="7361" y="8998"/>
                    <a:pt x="7602" y="8998"/>
                  </a:cubicBezTo>
                  <a:cubicBezTo>
                    <a:pt x="7641" y="8998"/>
                    <a:pt x="7641" y="8998"/>
                    <a:pt x="7670" y="8998"/>
                  </a:cubicBezTo>
                  <a:cubicBezTo>
                    <a:pt x="7872" y="8998"/>
                    <a:pt x="8022" y="8844"/>
                    <a:pt x="8244" y="8757"/>
                  </a:cubicBezTo>
                  <a:cubicBezTo>
                    <a:pt x="8494" y="8656"/>
                    <a:pt x="8745" y="8632"/>
                    <a:pt x="8913" y="8424"/>
                  </a:cubicBezTo>
                  <a:cubicBezTo>
                    <a:pt x="8938" y="8424"/>
                    <a:pt x="8957" y="8424"/>
                    <a:pt x="8986" y="8424"/>
                  </a:cubicBezTo>
                  <a:cubicBezTo>
                    <a:pt x="9121" y="8250"/>
                    <a:pt x="9087" y="7990"/>
                    <a:pt x="9183" y="7803"/>
                  </a:cubicBezTo>
                  <a:cubicBezTo>
                    <a:pt x="9251" y="7585"/>
                    <a:pt x="9439" y="7431"/>
                    <a:pt x="9439" y="7190"/>
                  </a:cubicBezTo>
                  <a:lnTo>
                    <a:pt x="9439" y="241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17" name="Freihandform: Form 116">
              <a:extLst>
                <a:ext uri="{FF2B5EF4-FFF2-40B4-BE49-F238E27FC236}">
                  <a16:creationId xmlns:a16="http://schemas.microsoft.com/office/drawing/2014/main" id="{4589E9B2-88A4-BA25-D734-82197EEB9129}"/>
                </a:ext>
              </a:extLst>
            </p:cNvPr>
            <p:cNvSpPr/>
            <p:nvPr/>
          </p:nvSpPr>
          <p:spPr>
            <a:xfrm>
              <a:off x="6832553" y="6164359"/>
              <a:ext cx="25397" cy="34926"/>
            </a:xfrm>
            <a:custGeom>
              <a:avLst/>
              <a:gdLst>
                <a:gd name="connsiteX0" fmla="*/ 17774 w 20160"/>
                <a:gd name="connsiteY0" fmla="*/ 15392 h 27268"/>
                <a:gd name="connsiteX1" fmla="*/ 17104 w 20160"/>
                <a:gd name="connsiteY1" fmla="*/ 14492 h 27268"/>
                <a:gd name="connsiteX2" fmla="*/ 11782 w 20160"/>
                <a:gd name="connsiteY2" fmla="*/ 10751 h 27268"/>
                <a:gd name="connsiteX3" fmla="*/ 10678 w 20160"/>
                <a:gd name="connsiteY3" fmla="*/ 5515 h 27268"/>
                <a:gd name="connsiteX4" fmla="*/ 9964 w 20160"/>
                <a:gd name="connsiteY4" fmla="*/ 4358 h 27268"/>
                <a:gd name="connsiteX5" fmla="*/ 4011 w 20160"/>
                <a:gd name="connsiteY5" fmla="*/ 208 h 27268"/>
                <a:gd name="connsiteX6" fmla="*/ 2304 w 20160"/>
                <a:gd name="connsiteY6" fmla="*/ 0 h 27268"/>
                <a:gd name="connsiteX7" fmla="*/ 1215 w 20160"/>
                <a:gd name="connsiteY7" fmla="*/ 1341 h 27268"/>
                <a:gd name="connsiteX8" fmla="*/ 0 w 20160"/>
                <a:gd name="connsiteY8" fmla="*/ 7313 h 27268"/>
                <a:gd name="connsiteX9" fmla="*/ 130 w 20160"/>
                <a:gd name="connsiteY9" fmla="*/ 8484 h 27268"/>
                <a:gd name="connsiteX10" fmla="*/ 3124 w 20160"/>
                <a:gd name="connsiteY10" fmla="*/ 14419 h 27268"/>
                <a:gd name="connsiteX11" fmla="*/ 3225 w 20160"/>
                <a:gd name="connsiteY11" fmla="*/ 14535 h 27268"/>
                <a:gd name="connsiteX12" fmla="*/ 6768 w 20160"/>
                <a:gd name="connsiteY12" fmla="*/ 20498 h 27268"/>
                <a:gd name="connsiteX13" fmla="*/ 7087 w 20160"/>
                <a:gd name="connsiteY13" fmla="*/ 20903 h 27268"/>
                <a:gd name="connsiteX14" fmla="*/ 13643 w 20160"/>
                <a:gd name="connsiteY14" fmla="*/ 26837 h 27268"/>
                <a:gd name="connsiteX15" fmla="*/ 13778 w 20160"/>
                <a:gd name="connsiteY15" fmla="*/ 26837 h 27268"/>
                <a:gd name="connsiteX16" fmla="*/ 16014 w 20160"/>
                <a:gd name="connsiteY16" fmla="*/ 26885 h 27268"/>
                <a:gd name="connsiteX17" fmla="*/ 19606 w 20160"/>
                <a:gd name="connsiteY17" fmla="*/ 23935 h 27268"/>
                <a:gd name="connsiteX18" fmla="*/ 20160 w 20160"/>
                <a:gd name="connsiteY18" fmla="*/ 21930 h 27268"/>
                <a:gd name="connsiteX19" fmla="*/ 17774 w 20160"/>
                <a:gd name="connsiteY19" fmla="*/ 15392 h 27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160" h="27268">
                  <a:moveTo>
                    <a:pt x="17774" y="15392"/>
                  </a:moveTo>
                  <a:lnTo>
                    <a:pt x="17104" y="14492"/>
                  </a:lnTo>
                  <a:lnTo>
                    <a:pt x="11782" y="10751"/>
                  </a:lnTo>
                  <a:lnTo>
                    <a:pt x="10678" y="5515"/>
                  </a:lnTo>
                  <a:lnTo>
                    <a:pt x="9964" y="4358"/>
                  </a:lnTo>
                  <a:lnTo>
                    <a:pt x="4011" y="208"/>
                  </a:lnTo>
                  <a:lnTo>
                    <a:pt x="2304" y="0"/>
                  </a:lnTo>
                  <a:lnTo>
                    <a:pt x="1215" y="1341"/>
                  </a:lnTo>
                  <a:lnTo>
                    <a:pt x="0" y="7313"/>
                  </a:lnTo>
                  <a:lnTo>
                    <a:pt x="130" y="8484"/>
                  </a:lnTo>
                  <a:lnTo>
                    <a:pt x="3124" y="14419"/>
                  </a:lnTo>
                  <a:lnTo>
                    <a:pt x="3225" y="14535"/>
                  </a:lnTo>
                  <a:lnTo>
                    <a:pt x="6768" y="20498"/>
                  </a:lnTo>
                  <a:lnTo>
                    <a:pt x="7087" y="20903"/>
                  </a:lnTo>
                  <a:lnTo>
                    <a:pt x="13643" y="26837"/>
                  </a:lnTo>
                  <a:lnTo>
                    <a:pt x="13778" y="26837"/>
                  </a:lnTo>
                  <a:cubicBezTo>
                    <a:pt x="14448" y="27343"/>
                    <a:pt x="15378" y="27459"/>
                    <a:pt x="16014" y="26885"/>
                  </a:cubicBezTo>
                  <a:lnTo>
                    <a:pt x="19606" y="23935"/>
                  </a:lnTo>
                  <a:lnTo>
                    <a:pt x="20160" y="21930"/>
                  </a:lnTo>
                  <a:lnTo>
                    <a:pt x="17774" y="1539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18" name="Freihandform: Form 117">
              <a:extLst>
                <a:ext uri="{FF2B5EF4-FFF2-40B4-BE49-F238E27FC236}">
                  <a16:creationId xmlns:a16="http://schemas.microsoft.com/office/drawing/2014/main" id="{2DED0E73-89D9-6A16-8562-C309F6F4A2D3}"/>
                </a:ext>
              </a:extLst>
            </p:cNvPr>
            <p:cNvSpPr/>
            <p:nvPr/>
          </p:nvSpPr>
          <p:spPr>
            <a:xfrm>
              <a:off x="6848426" y="6261200"/>
              <a:ext cx="57144" cy="49215"/>
            </a:xfrm>
            <a:custGeom>
              <a:avLst/>
              <a:gdLst>
                <a:gd name="connsiteX0" fmla="*/ 43791 w 44634"/>
                <a:gd name="connsiteY0" fmla="*/ 22294 h 38752"/>
                <a:gd name="connsiteX1" fmla="*/ 38088 w 44634"/>
                <a:gd name="connsiteY1" fmla="*/ 18886 h 38752"/>
                <a:gd name="connsiteX2" fmla="*/ 32935 w 44634"/>
                <a:gd name="connsiteY2" fmla="*/ 12565 h 38752"/>
                <a:gd name="connsiteX3" fmla="*/ 32029 w 44634"/>
                <a:gd name="connsiteY3" fmla="*/ 11978 h 38752"/>
                <a:gd name="connsiteX4" fmla="*/ 26075 w 44634"/>
                <a:gd name="connsiteY4" fmla="*/ 10232 h 38752"/>
                <a:gd name="connsiteX5" fmla="*/ 25916 w 44634"/>
                <a:gd name="connsiteY5" fmla="*/ 10170 h 38752"/>
                <a:gd name="connsiteX6" fmla="*/ 20228 w 44634"/>
                <a:gd name="connsiteY6" fmla="*/ 9022 h 38752"/>
                <a:gd name="connsiteX7" fmla="*/ 14838 w 44634"/>
                <a:gd name="connsiteY7" fmla="*/ 6332 h 38752"/>
                <a:gd name="connsiteX8" fmla="*/ 10350 w 44634"/>
                <a:gd name="connsiteY8" fmla="*/ 678 h 38752"/>
                <a:gd name="connsiteX9" fmla="*/ 7882 w 44634"/>
                <a:gd name="connsiteY9" fmla="*/ 321 h 38752"/>
                <a:gd name="connsiteX10" fmla="*/ 1909 w 44634"/>
                <a:gd name="connsiteY10" fmla="*/ 4486 h 38752"/>
                <a:gd name="connsiteX11" fmla="*/ 1157 w 44634"/>
                <a:gd name="connsiteY11" fmla="*/ 5672 h 38752"/>
                <a:gd name="connsiteX12" fmla="*/ 0 w 44634"/>
                <a:gd name="connsiteY12" fmla="*/ 12223 h 38752"/>
                <a:gd name="connsiteX13" fmla="*/ 101 w 44634"/>
                <a:gd name="connsiteY13" fmla="*/ 13202 h 38752"/>
                <a:gd name="connsiteX14" fmla="*/ 2468 w 44634"/>
                <a:gd name="connsiteY14" fmla="*/ 19170 h 38752"/>
                <a:gd name="connsiteX15" fmla="*/ 2849 w 44634"/>
                <a:gd name="connsiteY15" fmla="*/ 19801 h 38752"/>
                <a:gd name="connsiteX16" fmla="*/ 28389 w 44634"/>
                <a:gd name="connsiteY16" fmla="*/ 38588 h 38752"/>
                <a:gd name="connsiteX17" fmla="*/ 28871 w 44634"/>
                <a:gd name="connsiteY17" fmla="*/ 38588 h 38752"/>
                <a:gd name="connsiteX18" fmla="*/ 29377 w 44634"/>
                <a:gd name="connsiteY18" fmla="*/ 38752 h 38752"/>
                <a:gd name="connsiteX19" fmla="*/ 29556 w 44634"/>
                <a:gd name="connsiteY19" fmla="*/ 38636 h 38752"/>
                <a:gd name="connsiteX20" fmla="*/ 30182 w 44634"/>
                <a:gd name="connsiteY20" fmla="*/ 38318 h 38752"/>
                <a:gd name="connsiteX21" fmla="*/ 30650 w 44634"/>
                <a:gd name="connsiteY21" fmla="*/ 37850 h 38752"/>
                <a:gd name="connsiteX22" fmla="*/ 30799 w 44634"/>
                <a:gd name="connsiteY22" fmla="*/ 37667 h 38752"/>
                <a:gd name="connsiteX23" fmla="*/ 30814 w 44634"/>
                <a:gd name="connsiteY23" fmla="*/ 37175 h 38752"/>
                <a:gd name="connsiteX24" fmla="*/ 30920 w 44634"/>
                <a:gd name="connsiteY24" fmla="*/ 36717 h 38752"/>
                <a:gd name="connsiteX25" fmla="*/ 30380 w 44634"/>
                <a:gd name="connsiteY25" fmla="*/ 32413 h 38752"/>
                <a:gd name="connsiteX26" fmla="*/ 32284 w 44634"/>
                <a:gd name="connsiteY26" fmla="*/ 27727 h 38752"/>
                <a:gd name="connsiteX27" fmla="*/ 37240 w 44634"/>
                <a:gd name="connsiteY27" fmla="*/ 26218 h 38752"/>
                <a:gd name="connsiteX28" fmla="*/ 43005 w 44634"/>
                <a:gd name="connsiteY28" fmla="*/ 25668 h 38752"/>
                <a:gd name="connsiteX29" fmla="*/ 44582 w 44634"/>
                <a:gd name="connsiteY29" fmla="*/ 24227 h 38752"/>
                <a:gd name="connsiteX30" fmla="*/ 43791 w 44634"/>
                <a:gd name="connsiteY30" fmla="*/ 22294 h 38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4634" h="38752">
                  <a:moveTo>
                    <a:pt x="43791" y="22294"/>
                  </a:moveTo>
                  <a:lnTo>
                    <a:pt x="38088" y="18886"/>
                  </a:lnTo>
                  <a:lnTo>
                    <a:pt x="32935" y="12565"/>
                  </a:lnTo>
                  <a:lnTo>
                    <a:pt x="32029" y="11978"/>
                  </a:lnTo>
                  <a:lnTo>
                    <a:pt x="26075" y="10232"/>
                  </a:lnTo>
                  <a:lnTo>
                    <a:pt x="25916" y="10170"/>
                  </a:lnTo>
                  <a:lnTo>
                    <a:pt x="20228" y="9022"/>
                  </a:lnTo>
                  <a:lnTo>
                    <a:pt x="14838" y="6332"/>
                  </a:lnTo>
                  <a:lnTo>
                    <a:pt x="10350" y="678"/>
                  </a:lnTo>
                  <a:cubicBezTo>
                    <a:pt x="9709" y="-70"/>
                    <a:pt x="8658" y="-214"/>
                    <a:pt x="7882" y="321"/>
                  </a:cubicBezTo>
                  <a:lnTo>
                    <a:pt x="1909" y="4486"/>
                  </a:lnTo>
                  <a:lnTo>
                    <a:pt x="1157" y="5672"/>
                  </a:lnTo>
                  <a:lnTo>
                    <a:pt x="0" y="12223"/>
                  </a:lnTo>
                  <a:lnTo>
                    <a:pt x="101" y="13202"/>
                  </a:lnTo>
                  <a:lnTo>
                    <a:pt x="2468" y="19170"/>
                  </a:lnTo>
                  <a:lnTo>
                    <a:pt x="2849" y="19801"/>
                  </a:lnTo>
                  <a:cubicBezTo>
                    <a:pt x="8783" y="26222"/>
                    <a:pt x="19861" y="36013"/>
                    <a:pt x="28389" y="38588"/>
                  </a:cubicBezTo>
                  <a:cubicBezTo>
                    <a:pt x="28548" y="38641"/>
                    <a:pt x="28688" y="38569"/>
                    <a:pt x="28871" y="38588"/>
                  </a:cubicBezTo>
                  <a:cubicBezTo>
                    <a:pt x="29059" y="38641"/>
                    <a:pt x="29180" y="38766"/>
                    <a:pt x="29377" y="38752"/>
                  </a:cubicBezTo>
                  <a:cubicBezTo>
                    <a:pt x="29440" y="38752"/>
                    <a:pt x="29503" y="38641"/>
                    <a:pt x="29556" y="38636"/>
                  </a:cubicBezTo>
                  <a:cubicBezTo>
                    <a:pt x="29816" y="38569"/>
                    <a:pt x="29961" y="38448"/>
                    <a:pt x="30182" y="38318"/>
                  </a:cubicBezTo>
                  <a:cubicBezTo>
                    <a:pt x="30341" y="38154"/>
                    <a:pt x="30500" y="38057"/>
                    <a:pt x="30650" y="37850"/>
                  </a:cubicBezTo>
                  <a:cubicBezTo>
                    <a:pt x="30688" y="37782"/>
                    <a:pt x="30785" y="37744"/>
                    <a:pt x="30799" y="37667"/>
                  </a:cubicBezTo>
                  <a:cubicBezTo>
                    <a:pt x="30901" y="37527"/>
                    <a:pt x="30799" y="37349"/>
                    <a:pt x="30814" y="37175"/>
                  </a:cubicBezTo>
                  <a:cubicBezTo>
                    <a:pt x="30833" y="37001"/>
                    <a:pt x="30978" y="36900"/>
                    <a:pt x="30920" y="36717"/>
                  </a:cubicBezTo>
                  <a:lnTo>
                    <a:pt x="30380" y="32413"/>
                  </a:lnTo>
                  <a:lnTo>
                    <a:pt x="32284" y="27727"/>
                  </a:lnTo>
                  <a:lnTo>
                    <a:pt x="37240" y="26218"/>
                  </a:lnTo>
                  <a:lnTo>
                    <a:pt x="43005" y="25668"/>
                  </a:lnTo>
                  <a:cubicBezTo>
                    <a:pt x="43806" y="25562"/>
                    <a:pt x="44442" y="25017"/>
                    <a:pt x="44582" y="24227"/>
                  </a:cubicBezTo>
                  <a:cubicBezTo>
                    <a:pt x="44770" y="23465"/>
                    <a:pt x="44442" y="22708"/>
                    <a:pt x="43791" y="2229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19" name="Freihandform: Form 118">
              <a:extLst>
                <a:ext uri="{FF2B5EF4-FFF2-40B4-BE49-F238E27FC236}">
                  <a16:creationId xmlns:a16="http://schemas.microsoft.com/office/drawing/2014/main" id="{8827603C-6F52-D1BF-7787-E95C8169F8E6}"/>
                </a:ext>
              </a:extLst>
            </p:cNvPr>
            <p:cNvSpPr/>
            <p:nvPr/>
          </p:nvSpPr>
          <p:spPr>
            <a:xfrm>
              <a:off x="5161105" y="3660776"/>
              <a:ext cx="11111" cy="6350"/>
            </a:xfrm>
            <a:custGeom>
              <a:avLst/>
              <a:gdLst>
                <a:gd name="connsiteX0" fmla="*/ 8293 w 9586"/>
                <a:gd name="connsiteY0" fmla="*/ 1869 h 5433"/>
                <a:gd name="connsiteX1" fmla="*/ 2339 w 9586"/>
                <a:gd name="connsiteY1" fmla="*/ 66 h 5433"/>
                <a:gd name="connsiteX2" fmla="*/ 83 w 9586"/>
                <a:gd name="connsiteY2" fmla="*/ 1310 h 5433"/>
                <a:gd name="connsiteX3" fmla="*/ 1303 w 9586"/>
                <a:gd name="connsiteY3" fmla="*/ 3546 h 5433"/>
                <a:gd name="connsiteX4" fmla="*/ 7232 w 9586"/>
                <a:gd name="connsiteY4" fmla="*/ 5364 h 5433"/>
                <a:gd name="connsiteX5" fmla="*/ 9512 w 9586"/>
                <a:gd name="connsiteY5" fmla="*/ 4115 h 5433"/>
                <a:gd name="connsiteX6" fmla="*/ 8293 w 9586"/>
                <a:gd name="connsiteY6" fmla="*/ 1869 h 5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86" h="5433">
                  <a:moveTo>
                    <a:pt x="8293" y="1869"/>
                  </a:moveTo>
                  <a:lnTo>
                    <a:pt x="2339" y="66"/>
                  </a:lnTo>
                  <a:cubicBezTo>
                    <a:pt x="1365" y="-189"/>
                    <a:pt x="353" y="312"/>
                    <a:pt x="83" y="1310"/>
                  </a:cubicBezTo>
                  <a:cubicBezTo>
                    <a:pt x="-216" y="2269"/>
                    <a:pt x="315" y="3272"/>
                    <a:pt x="1303" y="3546"/>
                  </a:cubicBezTo>
                  <a:lnTo>
                    <a:pt x="7232" y="5364"/>
                  </a:lnTo>
                  <a:cubicBezTo>
                    <a:pt x="8225" y="5634"/>
                    <a:pt x="9228" y="5104"/>
                    <a:pt x="9512" y="4115"/>
                  </a:cubicBezTo>
                  <a:cubicBezTo>
                    <a:pt x="9792" y="3166"/>
                    <a:pt x="9262" y="2149"/>
                    <a:pt x="8293" y="186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20" name="Freihandform: Form 119">
              <a:extLst>
                <a:ext uri="{FF2B5EF4-FFF2-40B4-BE49-F238E27FC236}">
                  <a16:creationId xmlns:a16="http://schemas.microsoft.com/office/drawing/2014/main" id="{3943E330-B48C-9F4D-D5B0-CADC6AD23479}"/>
                </a:ext>
              </a:extLst>
            </p:cNvPr>
            <p:cNvSpPr/>
            <p:nvPr/>
          </p:nvSpPr>
          <p:spPr>
            <a:xfrm>
              <a:off x="5137295" y="3660776"/>
              <a:ext cx="12699" cy="9525"/>
            </a:xfrm>
            <a:custGeom>
              <a:avLst/>
              <a:gdLst>
                <a:gd name="connsiteX0" fmla="*/ 9001 w 10080"/>
                <a:gd name="connsiteY0" fmla="*/ 0 h 6502"/>
                <a:gd name="connsiteX1" fmla="*/ 7612 w 10080"/>
                <a:gd name="connsiteY1" fmla="*/ 43 h 6502"/>
                <a:gd name="connsiteX2" fmla="*/ 1080 w 10080"/>
                <a:gd name="connsiteY2" fmla="*/ 3023 h 6502"/>
                <a:gd name="connsiteX3" fmla="*/ 155 w 10080"/>
                <a:gd name="connsiteY3" fmla="*/ 5428 h 6502"/>
                <a:gd name="connsiteX4" fmla="*/ 2565 w 10080"/>
                <a:gd name="connsiteY4" fmla="*/ 6344 h 6502"/>
                <a:gd name="connsiteX5" fmla="*/ 9112 w 10080"/>
                <a:gd name="connsiteY5" fmla="*/ 3341 h 6502"/>
                <a:gd name="connsiteX6" fmla="*/ 10081 w 10080"/>
                <a:gd name="connsiteY6" fmla="*/ 2343 h 6502"/>
                <a:gd name="connsiteX7" fmla="*/ 10028 w 10080"/>
                <a:gd name="connsiteY7" fmla="*/ 945 h 6502"/>
                <a:gd name="connsiteX8" fmla="*/ 9001 w 10080"/>
                <a:gd name="connsiteY8" fmla="*/ 0 h 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80" h="6502">
                  <a:moveTo>
                    <a:pt x="9001" y="0"/>
                  </a:moveTo>
                  <a:lnTo>
                    <a:pt x="7612" y="43"/>
                  </a:lnTo>
                  <a:lnTo>
                    <a:pt x="1080" y="3023"/>
                  </a:lnTo>
                  <a:cubicBezTo>
                    <a:pt x="155" y="3423"/>
                    <a:pt x="-246" y="4488"/>
                    <a:pt x="155" y="5428"/>
                  </a:cubicBezTo>
                  <a:cubicBezTo>
                    <a:pt x="593" y="6344"/>
                    <a:pt x="1659" y="6754"/>
                    <a:pt x="2565" y="6344"/>
                  </a:cubicBezTo>
                  <a:lnTo>
                    <a:pt x="9112" y="3341"/>
                  </a:lnTo>
                  <a:lnTo>
                    <a:pt x="10081" y="2343"/>
                  </a:lnTo>
                  <a:lnTo>
                    <a:pt x="10028" y="945"/>
                  </a:lnTo>
                  <a:lnTo>
                    <a:pt x="9001"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21" name="Freihandform: Form 120">
              <a:extLst>
                <a:ext uri="{FF2B5EF4-FFF2-40B4-BE49-F238E27FC236}">
                  <a16:creationId xmlns:a16="http://schemas.microsoft.com/office/drawing/2014/main" id="{B60A96D0-390B-49B4-1EF2-9B254DFE23DD}"/>
                </a:ext>
              </a:extLst>
            </p:cNvPr>
            <p:cNvSpPr/>
            <p:nvPr/>
          </p:nvSpPr>
          <p:spPr>
            <a:xfrm>
              <a:off x="5118247" y="3663951"/>
              <a:ext cx="12699" cy="11113"/>
            </a:xfrm>
            <a:custGeom>
              <a:avLst/>
              <a:gdLst>
                <a:gd name="connsiteX0" fmla="*/ 6635 w 9571"/>
                <a:gd name="connsiteY0" fmla="*/ 420 h 8431"/>
                <a:gd name="connsiteX1" fmla="*/ 676 w 9571"/>
                <a:gd name="connsiteY1" fmla="*/ 5163 h 8431"/>
                <a:gd name="connsiteX2" fmla="*/ 392 w 9571"/>
                <a:gd name="connsiteY2" fmla="*/ 7723 h 8431"/>
                <a:gd name="connsiteX3" fmla="*/ 2952 w 9571"/>
                <a:gd name="connsiteY3" fmla="*/ 8046 h 8431"/>
                <a:gd name="connsiteX4" fmla="*/ 8886 w 9571"/>
                <a:gd name="connsiteY4" fmla="*/ 3221 h 8431"/>
                <a:gd name="connsiteX5" fmla="*/ 9175 w 9571"/>
                <a:gd name="connsiteY5" fmla="*/ 690 h 8431"/>
                <a:gd name="connsiteX6" fmla="*/ 6635 w 9571"/>
                <a:gd name="connsiteY6" fmla="*/ 420 h 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71" h="8431">
                  <a:moveTo>
                    <a:pt x="6635" y="420"/>
                  </a:moveTo>
                  <a:lnTo>
                    <a:pt x="676" y="5163"/>
                  </a:lnTo>
                  <a:cubicBezTo>
                    <a:pt x="-95" y="5800"/>
                    <a:pt x="-230" y="6957"/>
                    <a:pt x="392" y="7723"/>
                  </a:cubicBezTo>
                  <a:cubicBezTo>
                    <a:pt x="1033" y="8533"/>
                    <a:pt x="2176" y="8658"/>
                    <a:pt x="2952" y="8046"/>
                  </a:cubicBezTo>
                  <a:lnTo>
                    <a:pt x="8886" y="3221"/>
                  </a:lnTo>
                  <a:cubicBezTo>
                    <a:pt x="9677" y="2652"/>
                    <a:pt x="9797" y="1500"/>
                    <a:pt x="9175" y="690"/>
                  </a:cubicBezTo>
                  <a:cubicBezTo>
                    <a:pt x="8558" y="-101"/>
                    <a:pt x="7416" y="-240"/>
                    <a:pt x="6635" y="42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22" name="Freihandform: Form 121">
              <a:extLst>
                <a:ext uri="{FF2B5EF4-FFF2-40B4-BE49-F238E27FC236}">
                  <a16:creationId xmlns:a16="http://schemas.microsoft.com/office/drawing/2014/main" id="{367CB8FB-6F2F-4AD6-B818-3C9A70E5FAEF}"/>
                </a:ext>
              </a:extLst>
            </p:cNvPr>
            <p:cNvSpPr/>
            <p:nvPr/>
          </p:nvSpPr>
          <p:spPr>
            <a:xfrm>
              <a:off x="5397615" y="3470269"/>
              <a:ext cx="17461" cy="14289"/>
            </a:xfrm>
            <a:custGeom>
              <a:avLst/>
              <a:gdLst>
                <a:gd name="connsiteX0" fmla="*/ 11941 w 13541"/>
                <a:gd name="connsiteY0" fmla="*/ 11049 h 11309"/>
                <a:gd name="connsiteX1" fmla="*/ 13079 w 13541"/>
                <a:gd name="connsiteY1" fmla="*/ 10119 h 11309"/>
                <a:gd name="connsiteX2" fmla="*/ 13541 w 13541"/>
                <a:gd name="connsiteY2" fmla="*/ 10008 h 11309"/>
                <a:gd name="connsiteX3" fmla="*/ 13238 w 13541"/>
                <a:gd name="connsiteY3" fmla="*/ 9849 h 11309"/>
                <a:gd name="connsiteX4" fmla="*/ 7265 w 13541"/>
                <a:gd name="connsiteY4" fmla="*/ 6291 h 11309"/>
                <a:gd name="connsiteX5" fmla="*/ 6913 w 13541"/>
                <a:gd name="connsiteY5" fmla="*/ 6016 h 11309"/>
                <a:gd name="connsiteX6" fmla="*/ 1311 w 13541"/>
                <a:gd name="connsiteY6" fmla="*/ 376 h 11309"/>
                <a:gd name="connsiteX7" fmla="*/ 0 w 13541"/>
                <a:gd name="connsiteY7" fmla="*/ 0 h 11309"/>
                <a:gd name="connsiteX8" fmla="*/ 1311 w 13541"/>
                <a:gd name="connsiteY8" fmla="*/ 2357 h 11309"/>
                <a:gd name="connsiteX9" fmla="*/ 7578 w 13541"/>
                <a:gd name="connsiteY9" fmla="*/ 7506 h 11309"/>
                <a:gd name="connsiteX10" fmla="*/ 7651 w 13541"/>
                <a:gd name="connsiteY10" fmla="*/ 7544 h 11309"/>
                <a:gd name="connsiteX11" fmla="*/ 11816 w 13541"/>
                <a:gd name="connsiteY11" fmla="*/ 11309 h 11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41" h="11309">
                  <a:moveTo>
                    <a:pt x="11941" y="11049"/>
                  </a:moveTo>
                  <a:lnTo>
                    <a:pt x="13079" y="10119"/>
                  </a:lnTo>
                  <a:lnTo>
                    <a:pt x="13541" y="10008"/>
                  </a:lnTo>
                  <a:lnTo>
                    <a:pt x="13238" y="9849"/>
                  </a:lnTo>
                  <a:lnTo>
                    <a:pt x="7265" y="6291"/>
                  </a:lnTo>
                  <a:lnTo>
                    <a:pt x="6913" y="6016"/>
                  </a:lnTo>
                  <a:lnTo>
                    <a:pt x="1311" y="376"/>
                  </a:lnTo>
                  <a:lnTo>
                    <a:pt x="0" y="0"/>
                  </a:lnTo>
                  <a:lnTo>
                    <a:pt x="1311" y="2357"/>
                  </a:lnTo>
                  <a:lnTo>
                    <a:pt x="7578" y="7506"/>
                  </a:lnTo>
                  <a:lnTo>
                    <a:pt x="7651" y="7544"/>
                  </a:lnTo>
                  <a:lnTo>
                    <a:pt x="11816" y="1130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23" name="Freihandform: Form 122">
              <a:extLst>
                <a:ext uri="{FF2B5EF4-FFF2-40B4-BE49-F238E27FC236}">
                  <a16:creationId xmlns:a16="http://schemas.microsoft.com/office/drawing/2014/main" id="{F472A0FE-FF4F-8101-D663-2CAC42BF014E}"/>
                </a:ext>
              </a:extLst>
            </p:cNvPr>
            <p:cNvSpPr/>
            <p:nvPr/>
          </p:nvSpPr>
          <p:spPr>
            <a:xfrm>
              <a:off x="5391266" y="3463919"/>
              <a:ext cx="34921" cy="26989"/>
            </a:xfrm>
            <a:custGeom>
              <a:avLst/>
              <a:gdLst>
                <a:gd name="connsiteX0" fmla="*/ 20146 w 27246"/>
                <a:gd name="connsiteY0" fmla="*/ 18208 h 20536"/>
                <a:gd name="connsiteX1" fmla="*/ 25897 w 27246"/>
                <a:gd name="connsiteY1" fmla="*/ 16617 h 20536"/>
                <a:gd name="connsiteX2" fmla="*/ 27247 w 27246"/>
                <a:gd name="connsiteY2" fmla="*/ 14891 h 20536"/>
                <a:gd name="connsiteX3" fmla="*/ 25940 w 27246"/>
                <a:gd name="connsiteY3" fmla="*/ 13117 h 20536"/>
                <a:gd name="connsiteX4" fmla="*/ 20208 w 27246"/>
                <a:gd name="connsiteY4" fmla="*/ 11377 h 20536"/>
                <a:gd name="connsiteX5" fmla="*/ 14635 w 27246"/>
                <a:gd name="connsiteY5" fmla="*/ 8060 h 20536"/>
                <a:gd name="connsiteX6" fmla="*/ 8851 w 27246"/>
                <a:gd name="connsiteY6" fmla="*/ 2261 h 20536"/>
                <a:gd name="connsiteX7" fmla="*/ 8094 w 27246"/>
                <a:gd name="connsiteY7" fmla="*/ 1817 h 20536"/>
                <a:gd name="connsiteX8" fmla="*/ 2131 w 27246"/>
                <a:gd name="connsiteY8" fmla="*/ 0 h 20536"/>
                <a:gd name="connsiteX9" fmla="*/ 227 w 27246"/>
                <a:gd name="connsiteY9" fmla="*/ 656 h 20536"/>
                <a:gd name="connsiteX10" fmla="*/ 0 w 27246"/>
                <a:gd name="connsiteY10" fmla="*/ 2598 h 20536"/>
                <a:gd name="connsiteX11" fmla="*/ 3586 w 27246"/>
                <a:gd name="connsiteY11" fmla="*/ 9184 h 20536"/>
                <a:gd name="connsiteX12" fmla="*/ 4049 w 27246"/>
                <a:gd name="connsiteY12" fmla="*/ 9704 h 20536"/>
                <a:gd name="connsiteX13" fmla="*/ 10562 w 27246"/>
                <a:gd name="connsiteY13" fmla="*/ 15065 h 20536"/>
                <a:gd name="connsiteX14" fmla="*/ 16467 w 27246"/>
                <a:gd name="connsiteY14" fmla="*/ 20377 h 20536"/>
                <a:gd name="connsiteX15" fmla="*/ 20146 w 27246"/>
                <a:gd name="connsiteY15" fmla="*/ 18208 h 20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246" h="20536">
                  <a:moveTo>
                    <a:pt x="20146" y="18208"/>
                  </a:moveTo>
                  <a:lnTo>
                    <a:pt x="25897" y="16617"/>
                  </a:lnTo>
                  <a:cubicBezTo>
                    <a:pt x="26682" y="16395"/>
                    <a:pt x="27222" y="15672"/>
                    <a:pt x="27247" y="14891"/>
                  </a:cubicBezTo>
                  <a:cubicBezTo>
                    <a:pt x="27256" y="14076"/>
                    <a:pt x="26702" y="13353"/>
                    <a:pt x="25940" y="13117"/>
                  </a:cubicBezTo>
                  <a:lnTo>
                    <a:pt x="20208" y="11377"/>
                  </a:lnTo>
                  <a:lnTo>
                    <a:pt x="14635" y="8060"/>
                  </a:lnTo>
                  <a:lnTo>
                    <a:pt x="8851" y="2261"/>
                  </a:lnTo>
                  <a:lnTo>
                    <a:pt x="8094" y="1817"/>
                  </a:lnTo>
                  <a:lnTo>
                    <a:pt x="2131" y="0"/>
                  </a:lnTo>
                  <a:lnTo>
                    <a:pt x="227" y="656"/>
                  </a:lnTo>
                  <a:lnTo>
                    <a:pt x="0" y="2598"/>
                  </a:lnTo>
                  <a:lnTo>
                    <a:pt x="3586" y="9184"/>
                  </a:lnTo>
                  <a:lnTo>
                    <a:pt x="4049" y="9704"/>
                  </a:lnTo>
                  <a:lnTo>
                    <a:pt x="10562" y="15065"/>
                  </a:lnTo>
                  <a:lnTo>
                    <a:pt x="16467" y="20377"/>
                  </a:lnTo>
                  <a:cubicBezTo>
                    <a:pt x="16463" y="20382"/>
                    <a:pt x="18868" y="21404"/>
                    <a:pt x="20146" y="1820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24" name="Freihandform: Form 123">
              <a:extLst>
                <a:ext uri="{FF2B5EF4-FFF2-40B4-BE49-F238E27FC236}">
                  <a16:creationId xmlns:a16="http://schemas.microsoft.com/office/drawing/2014/main" id="{0C13787E-97B3-371C-903C-D93B74616A78}"/>
                </a:ext>
              </a:extLst>
            </p:cNvPr>
            <p:cNvSpPr/>
            <p:nvPr/>
          </p:nvSpPr>
          <p:spPr>
            <a:xfrm>
              <a:off x="5196026" y="2125606"/>
              <a:ext cx="14285" cy="3175"/>
            </a:xfrm>
            <a:custGeom>
              <a:avLst/>
              <a:gdLst>
                <a:gd name="connsiteX0" fmla="*/ 4777 w 10600"/>
                <a:gd name="connsiteY0" fmla="*/ 2762 h 2762"/>
                <a:gd name="connsiteX1" fmla="*/ 10601 w 10600"/>
                <a:gd name="connsiteY1" fmla="*/ 1731 h 2762"/>
                <a:gd name="connsiteX2" fmla="*/ 8513 w 10600"/>
                <a:gd name="connsiteY2" fmla="*/ 0 h 2762"/>
                <a:gd name="connsiteX3" fmla="*/ 3558 w 10600"/>
                <a:gd name="connsiteY3" fmla="*/ 979 h 2762"/>
                <a:gd name="connsiteX4" fmla="*/ 0 w 10600"/>
                <a:gd name="connsiteY4" fmla="*/ 2304 h 2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00" h="2762">
                  <a:moveTo>
                    <a:pt x="4777" y="2762"/>
                  </a:moveTo>
                  <a:lnTo>
                    <a:pt x="10601" y="1731"/>
                  </a:lnTo>
                  <a:lnTo>
                    <a:pt x="8513" y="0"/>
                  </a:lnTo>
                  <a:lnTo>
                    <a:pt x="3558" y="979"/>
                  </a:lnTo>
                  <a:lnTo>
                    <a:pt x="0" y="230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25" name="Freihandform: Form 124">
              <a:extLst>
                <a:ext uri="{FF2B5EF4-FFF2-40B4-BE49-F238E27FC236}">
                  <a16:creationId xmlns:a16="http://schemas.microsoft.com/office/drawing/2014/main" id="{24F00E96-65AC-0C7A-E3C3-513C8417307E}"/>
                </a:ext>
              </a:extLst>
            </p:cNvPr>
            <p:cNvSpPr/>
            <p:nvPr/>
          </p:nvSpPr>
          <p:spPr>
            <a:xfrm>
              <a:off x="5126184" y="2201809"/>
              <a:ext cx="6349" cy="7937"/>
            </a:xfrm>
            <a:custGeom>
              <a:avLst/>
              <a:gdLst>
                <a:gd name="connsiteX0" fmla="*/ 651 w 4897"/>
                <a:gd name="connsiteY0" fmla="*/ 974 h 7052"/>
                <a:gd name="connsiteX1" fmla="*/ 921 w 4897"/>
                <a:gd name="connsiteY1" fmla="*/ 1803 h 7052"/>
                <a:gd name="connsiteX2" fmla="*/ 1441 w 4897"/>
                <a:gd name="connsiteY2" fmla="*/ 7053 h 7052"/>
                <a:gd name="connsiteX3" fmla="*/ 4898 w 4897"/>
                <a:gd name="connsiteY3" fmla="*/ 3216 h 7052"/>
                <a:gd name="connsiteX4" fmla="*/ 4633 w 4897"/>
                <a:gd name="connsiteY4" fmla="*/ 3134 h 7052"/>
                <a:gd name="connsiteX5" fmla="*/ 3794 w 4897"/>
                <a:gd name="connsiteY5" fmla="*/ 2651 h 7052"/>
                <a:gd name="connsiteX6" fmla="*/ 2198 w 4897"/>
                <a:gd name="connsiteY6" fmla="*/ 1080 h 7052"/>
                <a:gd name="connsiteX7" fmla="*/ 0 w 4897"/>
                <a:gd name="connsiteY7" fmla="*/ 0 h 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7" h="7052">
                  <a:moveTo>
                    <a:pt x="651" y="974"/>
                  </a:moveTo>
                  <a:lnTo>
                    <a:pt x="921" y="1803"/>
                  </a:lnTo>
                  <a:lnTo>
                    <a:pt x="1441" y="7053"/>
                  </a:lnTo>
                  <a:lnTo>
                    <a:pt x="4898" y="3216"/>
                  </a:lnTo>
                  <a:lnTo>
                    <a:pt x="4633" y="3134"/>
                  </a:lnTo>
                  <a:lnTo>
                    <a:pt x="3794" y="2651"/>
                  </a:lnTo>
                  <a:lnTo>
                    <a:pt x="2198" y="1080"/>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26" name="Freihandform: Form 125">
              <a:extLst>
                <a:ext uri="{FF2B5EF4-FFF2-40B4-BE49-F238E27FC236}">
                  <a16:creationId xmlns:a16="http://schemas.microsoft.com/office/drawing/2014/main" id="{74D5116A-9A52-5676-33A0-FDF3E68DAD00}"/>
                </a:ext>
              </a:extLst>
            </p:cNvPr>
            <p:cNvSpPr/>
            <p:nvPr/>
          </p:nvSpPr>
          <p:spPr>
            <a:xfrm>
              <a:off x="5124596" y="2233560"/>
              <a:ext cx="1588" cy="1587"/>
            </a:xfrm>
            <a:custGeom>
              <a:avLst/>
              <a:gdLst>
                <a:gd name="connsiteX0" fmla="*/ 0 w 1161"/>
                <a:gd name="connsiteY0" fmla="*/ 0 h 940"/>
                <a:gd name="connsiteX1" fmla="*/ 236 w 1161"/>
                <a:gd name="connsiteY1" fmla="*/ 848 h 940"/>
                <a:gd name="connsiteX2" fmla="*/ 1162 w 1161"/>
                <a:gd name="connsiteY2" fmla="*/ 940 h 940"/>
              </a:gdLst>
              <a:ahLst/>
              <a:cxnLst>
                <a:cxn ang="0">
                  <a:pos x="connsiteX0" y="connsiteY0"/>
                </a:cxn>
                <a:cxn ang="0">
                  <a:pos x="connsiteX1" y="connsiteY1"/>
                </a:cxn>
                <a:cxn ang="0">
                  <a:pos x="connsiteX2" y="connsiteY2"/>
                </a:cxn>
              </a:cxnLst>
              <a:rect l="l" t="t" r="r" b="b"/>
              <a:pathLst>
                <a:path w="1161" h="940">
                  <a:moveTo>
                    <a:pt x="0" y="0"/>
                  </a:moveTo>
                  <a:lnTo>
                    <a:pt x="236" y="848"/>
                  </a:lnTo>
                  <a:lnTo>
                    <a:pt x="1162" y="94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27" name="Freihandform: Form 126">
              <a:extLst>
                <a:ext uri="{FF2B5EF4-FFF2-40B4-BE49-F238E27FC236}">
                  <a16:creationId xmlns:a16="http://schemas.microsoft.com/office/drawing/2014/main" id="{477B4AD6-CE7A-F4BA-049F-122D3CB77F11}"/>
                </a:ext>
              </a:extLst>
            </p:cNvPr>
            <p:cNvSpPr/>
            <p:nvPr/>
          </p:nvSpPr>
          <p:spPr>
            <a:xfrm>
              <a:off x="5165867" y="2158944"/>
              <a:ext cx="0" cy="0"/>
            </a:xfrm>
            <a:custGeom>
              <a:avLst/>
              <a:gdLst>
                <a:gd name="connsiteX0" fmla="*/ 0 w 86"/>
                <a:gd name="connsiteY0" fmla="*/ 0 h 67"/>
                <a:gd name="connsiteX1" fmla="*/ 87 w 86"/>
                <a:gd name="connsiteY1" fmla="*/ 68 h 67"/>
                <a:gd name="connsiteX2" fmla="*/ 87 w 86"/>
                <a:gd name="connsiteY2" fmla="*/ 68 h 67"/>
              </a:gdLst>
              <a:ahLst/>
              <a:cxnLst>
                <a:cxn ang="0">
                  <a:pos x="connsiteX0" y="connsiteY0"/>
                </a:cxn>
                <a:cxn ang="0">
                  <a:pos x="connsiteX1" y="connsiteY1"/>
                </a:cxn>
                <a:cxn ang="0">
                  <a:pos x="connsiteX2" y="connsiteY2"/>
                </a:cxn>
              </a:cxnLst>
              <a:rect l="l" t="t" r="r" b="b"/>
              <a:pathLst>
                <a:path w="86" h="67">
                  <a:moveTo>
                    <a:pt x="0" y="0"/>
                  </a:moveTo>
                  <a:lnTo>
                    <a:pt x="87" y="68"/>
                  </a:lnTo>
                  <a:lnTo>
                    <a:pt x="87" y="6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28" name="Freihandform: Form 127">
              <a:extLst>
                <a:ext uri="{FF2B5EF4-FFF2-40B4-BE49-F238E27FC236}">
                  <a16:creationId xmlns:a16="http://schemas.microsoft.com/office/drawing/2014/main" id="{72D963F0-92A4-7299-9329-83CEB6B7E652}"/>
                </a:ext>
              </a:extLst>
            </p:cNvPr>
            <p:cNvSpPr/>
            <p:nvPr/>
          </p:nvSpPr>
          <p:spPr>
            <a:xfrm>
              <a:off x="5119835" y="2184345"/>
              <a:ext cx="3175" cy="7938"/>
            </a:xfrm>
            <a:custGeom>
              <a:avLst/>
              <a:gdLst>
                <a:gd name="connsiteX0" fmla="*/ 781 w 1894"/>
                <a:gd name="connsiteY0" fmla="*/ 2873 h 6421"/>
                <a:gd name="connsiteX1" fmla="*/ 810 w 1894"/>
                <a:gd name="connsiteY1" fmla="*/ 2984 h 6421"/>
                <a:gd name="connsiteX2" fmla="*/ 1504 w 1894"/>
                <a:gd name="connsiteY2" fmla="*/ 6421 h 6421"/>
                <a:gd name="connsiteX3" fmla="*/ 1895 w 1894"/>
                <a:gd name="connsiteY3" fmla="*/ 4165 h 6421"/>
                <a:gd name="connsiteX4" fmla="*/ 0 w 1894"/>
                <a:gd name="connsiteY4" fmla="*/ 0 h 6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4" h="6421">
                  <a:moveTo>
                    <a:pt x="781" y="2873"/>
                  </a:moveTo>
                  <a:lnTo>
                    <a:pt x="810" y="2984"/>
                  </a:lnTo>
                  <a:lnTo>
                    <a:pt x="1504" y="6421"/>
                  </a:lnTo>
                  <a:lnTo>
                    <a:pt x="1895" y="4165"/>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29" name="Freihandform: Form 128">
              <a:extLst>
                <a:ext uri="{FF2B5EF4-FFF2-40B4-BE49-F238E27FC236}">
                  <a16:creationId xmlns:a16="http://schemas.microsoft.com/office/drawing/2014/main" id="{5BCE81BD-716C-7707-6801-23732022C12A}"/>
                </a:ext>
              </a:extLst>
            </p:cNvPr>
            <p:cNvSpPr/>
            <p:nvPr/>
          </p:nvSpPr>
          <p:spPr>
            <a:xfrm>
              <a:off x="5019833" y="2271662"/>
              <a:ext cx="9524" cy="4762"/>
            </a:xfrm>
            <a:custGeom>
              <a:avLst/>
              <a:gdLst>
                <a:gd name="connsiteX0" fmla="*/ 1605 w 6667"/>
                <a:gd name="connsiteY0" fmla="*/ 0 h 3610"/>
                <a:gd name="connsiteX1" fmla="*/ 1509 w 6667"/>
                <a:gd name="connsiteY1" fmla="*/ 820 h 3610"/>
                <a:gd name="connsiteX2" fmla="*/ 0 w 6667"/>
                <a:gd name="connsiteY2" fmla="*/ 3611 h 3610"/>
                <a:gd name="connsiteX3" fmla="*/ 2338 w 6667"/>
                <a:gd name="connsiteY3" fmla="*/ 2955 h 3610"/>
                <a:gd name="connsiteX4" fmla="*/ 6667 w 6667"/>
                <a:gd name="connsiteY4" fmla="*/ 1393 h 3610"/>
                <a:gd name="connsiteX5" fmla="*/ 1605 w 6667"/>
                <a:gd name="connsiteY5" fmla="*/ 0 h 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7" h="3610">
                  <a:moveTo>
                    <a:pt x="1605" y="0"/>
                  </a:moveTo>
                  <a:cubicBezTo>
                    <a:pt x="1605" y="275"/>
                    <a:pt x="1658" y="540"/>
                    <a:pt x="1509" y="820"/>
                  </a:cubicBezTo>
                  <a:lnTo>
                    <a:pt x="0" y="3611"/>
                  </a:lnTo>
                  <a:lnTo>
                    <a:pt x="2338" y="2955"/>
                  </a:lnTo>
                  <a:lnTo>
                    <a:pt x="6667" y="1393"/>
                  </a:lnTo>
                  <a:lnTo>
                    <a:pt x="1605"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30" name="Freihandform: Form 129">
              <a:extLst>
                <a:ext uri="{FF2B5EF4-FFF2-40B4-BE49-F238E27FC236}">
                  <a16:creationId xmlns:a16="http://schemas.microsoft.com/office/drawing/2014/main" id="{856C29C4-149A-E5E8-D609-85E917844DE4}"/>
                </a:ext>
              </a:extLst>
            </p:cNvPr>
            <p:cNvSpPr/>
            <p:nvPr/>
          </p:nvSpPr>
          <p:spPr>
            <a:xfrm>
              <a:off x="4997611" y="2231972"/>
              <a:ext cx="11112" cy="7938"/>
            </a:xfrm>
            <a:custGeom>
              <a:avLst/>
              <a:gdLst>
                <a:gd name="connsiteX0" fmla="*/ 651 w 8609"/>
                <a:gd name="connsiteY0" fmla="*/ 800 h 6348"/>
                <a:gd name="connsiteX1" fmla="*/ 4170 w 8609"/>
                <a:gd name="connsiteY1" fmla="*/ 6349 h 6348"/>
                <a:gd name="connsiteX2" fmla="*/ 5428 w 8609"/>
                <a:gd name="connsiteY2" fmla="*/ 4816 h 6348"/>
                <a:gd name="connsiteX3" fmla="*/ 6494 w 8609"/>
                <a:gd name="connsiteY3" fmla="*/ 4155 h 6348"/>
                <a:gd name="connsiteX4" fmla="*/ 8610 w 8609"/>
                <a:gd name="connsiteY4" fmla="*/ 3712 h 6348"/>
                <a:gd name="connsiteX5" fmla="*/ 5987 w 8609"/>
                <a:gd name="connsiteY5" fmla="*/ 1649 h 6348"/>
                <a:gd name="connsiteX6" fmla="*/ 0 w 8609"/>
                <a:gd name="connsiteY6" fmla="*/ 0 h 6348"/>
                <a:gd name="connsiteX7" fmla="*/ 516 w 8609"/>
                <a:gd name="connsiteY7" fmla="*/ 632 h 6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09" h="6348">
                  <a:moveTo>
                    <a:pt x="651" y="800"/>
                  </a:moveTo>
                  <a:lnTo>
                    <a:pt x="4170" y="6349"/>
                  </a:lnTo>
                  <a:lnTo>
                    <a:pt x="5428" y="4816"/>
                  </a:lnTo>
                  <a:lnTo>
                    <a:pt x="6494" y="4155"/>
                  </a:lnTo>
                  <a:lnTo>
                    <a:pt x="8610" y="3712"/>
                  </a:lnTo>
                  <a:lnTo>
                    <a:pt x="5987" y="1649"/>
                  </a:lnTo>
                  <a:lnTo>
                    <a:pt x="0" y="0"/>
                  </a:lnTo>
                  <a:lnTo>
                    <a:pt x="516" y="63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31" name="Freihandform: Form 130">
              <a:extLst>
                <a:ext uri="{FF2B5EF4-FFF2-40B4-BE49-F238E27FC236}">
                  <a16:creationId xmlns:a16="http://schemas.microsoft.com/office/drawing/2014/main" id="{F323612B-A69F-4AB9-CEA2-859F38DC1E4D}"/>
                </a:ext>
              </a:extLst>
            </p:cNvPr>
            <p:cNvSpPr/>
            <p:nvPr/>
          </p:nvSpPr>
          <p:spPr>
            <a:xfrm>
              <a:off x="4975388" y="2212921"/>
              <a:ext cx="25397" cy="30164"/>
            </a:xfrm>
            <a:custGeom>
              <a:avLst/>
              <a:gdLst>
                <a:gd name="connsiteX0" fmla="*/ 19264 w 19263"/>
                <a:gd name="connsiteY0" fmla="*/ 23192 h 23602"/>
                <a:gd name="connsiteX1" fmla="*/ 15610 w 19263"/>
                <a:gd name="connsiteY1" fmla="*/ 17451 h 23602"/>
                <a:gd name="connsiteX2" fmla="*/ 10919 w 19263"/>
                <a:gd name="connsiteY2" fmla="*/ 11565 h 23602"/>
                <a:gd name="connsiteX3" fmla="*/ 10591 w 19263"/>
                <a:gd name="connsiteY3" fmla="*/ 10977 h 23602"/>
                <a:gd name="connsiteX4" fmla="*/ 8909 w 19263"/>
                <a:gd name="connsiteY4" fmla="*/ 5361 h 23602"/>
                <a:gd name="connsiteX5" fmla="*/ 4503 w 19263"/>
                <a:gd name="connsiteY5" fmla="*/ 0 h 23602"/>
                <a:gd name="connsiteX6" fmla="*/ 0 w 19263"/>
                <a:gd name="connsiteY6" fmla="*/ 1114 h 23602"/>
                <a:gd name="connsiteX7" fmla="*/ 458 w 19263"/>
                <a:gd name="connsiteY7" fmla="*/ 6132 h 23602"/>
                <a:gd name="connsiteX8" fmla="*/ 458 w 19263"/>
                <a:gd name="connsiteY8" fmla="*/ 6296 h 23602"/>
                <a:gd name="connsiteX9" fmla="*/ 458 w 19263"/>
                <a:gd name="connsiteY9" fmla="*/ 10586 h 23602"/>
                <a:gd name="connsiteX10" fmla="*/ 5351 w 19263"/>
                <a:gd name="connsiteY10" fmla="*/ 11025 h 23602"/>
                <a:gd name="connsiteX11" fmla="*/ 6421 w 19263"/>
                <a:gd name="connsiteY11" fmla="*/ 11483 h 23602"/>
                <a:gd name="connsiteX12" fmla="*/ 13566 w 19263"/>
                <a:gd name="connsiteY12" fmla="*/ 18058 h 23602"/>
                <a:gd name="connsiteX13" fmla="*/ 13619 w 19263"/>
                <a:gd name="connsiteY13" fmla="*/ 18073 h 23602"/>
                <a:gd name="connsiteX14" fmla="*/ 19143 w 19263"/>
                <a:gd name="connsiteY14" fmla="*/ 23602 h 23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263" h="23602">
                  <a:moveTo>
                    <a:pt x="19264" y="23192"/>
                  </a:moveTo>
                  <a:lnTo>
                    <a:pt x="15610" y="17451"/>
                  </a:lnTo>
                  <a:lnTo>
                    <a:pt x="10919" y="11565"/>
                  </a:lnTo>
                  <a:lnTo>
                    <a:pt x="10591" y="10977"/>
                  </a:lnTo>
                  <a:lnTo>
                    <a:pt x="8909" y="5361"/>
                  </a:lnTo>
                  <a:lnTo>
                    <a:pt x="4503" y="0"/>
                  </a:lnTo>
                  <a:lnTo>
                    <a:pt x="0" y="1114"/>
                  </a:lnTo>
                  <a:lnTo>
                    <a:pt x="458" y="6132"/>
                  </a:lnTo>
                  <a:lnTo>
                    <a:pt x="458" y="6296"/>
                  </a:lnTo>
                  <a:lnTo>
                    <a:pt x="458" y="10586"/>
                  </a:lnTo>
                  <a:lnTo>
                    <a:pt x="5351" y="11025"/>
                  </a:lnTo>
                  <a:lnTo>
                    <a:pt x="6421" y="11483"/>
                  </a:lnTo>
                  <a:lnTo>
                    <a:pt x="13566" y="18058"/>
                  </a:lnTo>
                  <a:lnTo>
                    <a:pt x="13619" y="18073"/>
                  </a:lnTo>
                  <a:lnTo>
                    <a:pt x="19143" y="2360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32" name="Freihandform: Form 131">
              <a:extLst>
                <a:ext uri="{FF2B5EF4-FFF2-40B4-BE49-F238E27FC236}">
                  <a16:creationId xmlns:a16="http://schemas.microsoft.com/office/drawing/2014/main" id="{8CF6E90B-E45A-DFE8-751B-B7EA0530EA42}"/>
                </a:ext>
              </a:extLst>
            </p:cNvPr>
            <p:cNvSpPr/>
            <p:nvPr/>
          </p:nvSpPr>
          <p:spPr>
            <a:xfrm>
              <a:off x="5299202" y="2019239"/>
              <a:ext cx="9524" cy="7938"/>
            </a:xfrm>
            <a:custGeom>
              <a:avLst/>
              <a:gdLst>
                <a:gd name="connsiteX0" fmla="*/ 2304 w 7530"/>
                <a:gd name="connsiteY0" fmla="*/ 4787 h 7076"/>
                <a:gd name="connsiteX1" fmla="*/ 2859 w 7530"/>
                <a:gd name="connsiteY1" fmla="*/ 4401 h 7076"/>
                <a:gd name="connsiteX2" fmla="*/ 7530 w 7530"/>
                <a:gd name="connsiteY2" fmla="*/ 2275 h 7076"/>
                <a:gd name="connsiteX3" fmla="*/ 2979 w 7530"/>
                <a:gd name="connsiteY3" fmla="*/ 632 h 7076"/>
                <a:gd name="connsiteX4" fmla="*/ 2194 w 7530"/>
                <a:gd name="connsiteY4" fmla="*/ 0 h 7076"/>
                <a:gd name="connsiteX5" fmla="*/ 627 w 7530"/>
                <a:gd name="connsiteY5" fmla="*/ 5934 h 7076"/>
                <a:gd name="connsiteX6" fmla="*/ 444 w 7530"/>
                <a:gd name="connsiteY6" fmla="*/ 6378 h 7076"/>
                <a:gd name="connsiteX7" fmla="*/ 0 w 7530"/>
                <a:gd name="connsiteY7" fmla="*/ 7077 h 7076"/>
                <a:gd name="connsiteX8" fmla="*/ 2304 w 7530"/>
                <a:gd name="connsiteY8" fmla="*/ 4787 h 7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0" h="7076">
                  <a:moveTo>
                    <a:pt x="2304" y="4787"/>
                  </a:moveTo>
                  <a:lnTo>
                    <a:pt x="2859" y="4401"/>
                  </a:lnTo>
                  <a:lnTo>
                    <a:pt x="7530" y="2275"/>
                  </a:lnTo>
                  <a:lnTo>
                    <a:pt x="2979" y="632"/>
                  </a:lnTo>
                  <a:cubicBezTo>
                    <a:pt x="2651" y="492"/>
                    <a:pt x="2420" y="270"/>
                    <a:pt x="2194" y="0"/>
                  </a:cubicBezTo>
                  <a:lnTo>
                    <a:pt x="627" y="5934"/>
                  </a:lnTo>
                  <a:lnTo>
                    <a:pt x="444" y="6378"/>
                  </a:lnTo>
                  <a:lnTo>
                    <a:pt x="0" y="7077"/>
                  </a:lnTo>
                  <a:lnTo>
                    <a:pt x="2304" y="478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33" name="Freihandform: Form 132">
              <a:extLst>
                <a:ext uri="{FF2B5EF4-FFF2-40B4-BE49-F238E27FC236}">
                  <a16:creationId xmlns:a16="http://schemas.microsoft.com/office/drawing/2014/main" id="{3E8C5ED6-AF2A-5E98-3281-460B147D3DF3}"/>
                </a:ext>
              </a:extLst>
            </p:cNvPr>
            <p:cNvSpPr/>
            <p:nvPr/>
          </p:nvSpPr>
          <p:spPr>
            <a:xfrm>
              <a:off x="5465871" y="1749354"/>
              <a:ext cx="9524" cy="3175"/>
            </a:xfrm>
            <a:custGeom>
              <a:avLst/>
              <a:gdLst>
                <a:gd name="connsiteX0" fmla="*/ 935 w 7433"/>
                <a:gd name="connsiteY0" fmla="*/ 2194 h 2381"/>
                <a:gd name="connsiteX1" fmla="*/ 7376 w 7433"/>
                <a:gd name="connsiteY1" fmla="*/ 1012 h 2381"/>
                <a:gd name="connsiteX2" fmla="*/ 7433 w 7433"/>
                <a:gd name="connsiteY2" fmla="*/ 1012 h 2381"/>
                <a:gd name="connsiteX3" fmla="*/ 1967 w 7433"/>
                <a:gd name="connsiteY3" fmla="*/ 0 h 2381"/>
                <a:gd name="connsiteX4" fmla="*/ 0 w 7433"/>
                <a:gd name="connsiteY4" fmla="*/ 2382 h 2381"/>
                <a:gd name="connsiteX5" fmla="*/ 887 w 7433"/>
                <a:gd name="connsiteY5" fmla="*/ 2194 h 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33" h="2381">
                  <a:moveTo>
                    <a:pt x="935" y="2194"/>
                  </a:moveTo>
                  <a:lnTo>
                    <a:pt x="7376" y="1012"/>
                  </a:lnTo>
                  <a:lnTo>
                    <a:pt x="7433" y="1012"/>
                  </a:lnTo>
                  <a:lnTo>
                    <a:pt x="1967" y="0"/>
                  </a:lnTo>
                  <a:lnTo>
                    <a:pt x="0" y="2382"/>
                  </a:lnTo>
                  <a:lnTo>
                    <a:pt x="887" y="219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34" name="Freihandform: Form 133">
              <a:extLst>
                <a:ext uri="{FF2B5EF4-FFF2-40B4-BE49-F238E27FC236}">
                  <a16:creationId xmlns:a16="http://schemas.microsoft.com/office/drawing/2014/main" id="{CA58272B-3671-C932-68FA-B409B5952553}"/>
                </a:ext>
              </a:extLst>
            </p:cNvPr>
            <p:cNvSpPr/>
            <p:nvPr/>
          </p:nvSpPr>
          <p:spPr>
            <a:xfrm>
              <a:off x="5440474" y="1903348"/>
              <a:ext cx="34921" cy="25401"/>
            </a:xfrm>
            <a:custGeom>
              <a:avLst/>
              <a:gdLst>
                <a:gd name="connsiteX0" fmla="*/ 5751 w 27858"/>
                <a:gd name="connsiteY0" fmla="*/ 20165 h 20164"/>
                <a:gd name="connsiteX1" fmla="*/ 10562 w 27858"/>
                <a:gd name="connsiteY1" fmla="*/ 15344 h 20164"/>
                <a:gd name="connsiteX2" fmla="*/ 15282 w 27858"/>
                <a:gd name="connsiteY2" fmla="*/ 9492 h 20164"/>
                <a:gd name="connsiteX3" fmla="*/ 16038 w 27858"/>
                <a:gd name="connsiteY3" fmla="*/ 8938 h 20164"/>
                <a:gd name="connsiteX4" fmla="*/ 21929 w 27858"/>
                <a:gd name="connsiteY4" fmla="*/ 6566 h 20164"/>
                <a:gd name="connsiteX5" fmla="*/ 26765 w 27858"/>
                <a:gd name="connsiteY5" fmla="*/ 4411 h 20164"/>
                <a:gd name="connsiteX6" fmla="*/ 27859 w 27858"/>
                <a:gd name="connsiteY6" fmla="*/ 2632 h 20164"/>
                <a:gd name="connsiteX7" fmla="*/ 24272 w 27858"/>
                <a:gd name="connsiteY7" fmla="*/ 2299 h 20164"/>
                <a:gd name="connsiteX8" fmla="*/ 24099 w 27858"/>
                <a:gd name="connsiteY8" fmla="*/ 2299 h 20164"/>
                <a:gd name="connsiteX9" fmla="*/ 17562 w 27858"/>
                <a:gd name="connsiteY9" fmla="*/ 1104 h 20164"/>
                <a:gd name="connsiteX10" fmla="*/ 16313 w 27858"/>
                <a:gd name="connsiteY10" fmla="*/ 0 h 20164"/>
                <a:gd name="connsiteX11" fmla="*/ 0 w 27858"/>
                <a:gd name="connsiteY11" fmla="*/ 18116 h 20164"/>
                <a:gd name="connsiteX12" fmla="*/ 4522 w 27858"/>
                <a:gd name="connsiteY12" fmla="*/ 18955 h 20164"/>
                <a:gd name="connsiteX13" fmla="*/ 5751 w 27858"/>
                <a:gd name="connsiteY13" fmla="*/ 20165 h 2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858" h="20164">
                  <a:moveTo>
                    <a:pt x="5751" y="20165"/>
                  </a:moveTo>
                  <a:lnTo>
                    <a:pt x="10562" y="15344"/>
                  </a:lnTo>
                  <a:lnTo>
                    <a:pt x="15282" y="9492"/>
                  </a:lnTo>
                  <a:lnTo>
                    <a:pt x="16038" y="8938"/>
                  </a:lnTo>
                  <a:lnTo>
                    <a:pt x="21929" y="6566"/>
                  </a:lnTo>
                  <a:lnTo>
                    <a:pt x="26765" y="4411"/>
                  </a:lnTo>
                  <a:lnTo>
                    <a:pt x="27859" y="2632"/>
                  </a:lnTo>
                  <a:lnTo>
                    <a:pt x="24272" y="2299"/>
                  </a:lnTo>
                  <a:lnTo>
                    <a:pt x="24099" y="2299"/>
                  </a:lnTo>
                  <a:lnTo>
                    <a:pt x="17562" y="1104"/>
                  </a:lnTo>
                  <a:cubicBezTo>
                    <a:pt x="16940" y="988"/>
                    <a:pt x="16564" y="540"/>
                    <a:pt x="16313" y="0"/>
                  </a:cubicBezTo>
                  <a:cubicBezTo>
                    <a:pt x="7650" y="13001"/>
                    <a:pt x="10181" y="6103"/>
                    <a:pt x="0" y="18116"/>
                  </a:cubicBezTo>
                  <a:lnTo>
                    <a:pt x="4522" y="18955"/>
                  </a:lnTo>
                  <a:lnTo>
                    <a:pt x="5751" y="2016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35" name="Freihandform: Form 134">
              <a:extLst>
                <a:ext uri="{FF2B5EF4-FFF2-40B4-BE49-F238E27FC236}">
                  <a16:creationId xmlns:a16="http://schemas.microsoft.com/office/drawing/2014/main" id="{F738E402-99AA-EC50-6431-31C766027E22}"/>
                </a:ext>
              </a:extLst>
            </p:cNvPr>
            <p:cNvSpPr/>
            <p:nvPr/>
          </p:nvSpPr>
          <p:spPr>
            <a:xfrm>
              <a:off x="5353170" y="1954150"/>
              <a:ext cx="12699" cy="7937"/>
            </a:xfrm>
            <a:custGeom>
              <a:avLst/>
              <a:gdLst>
                <a:gd name="connsiteX0" fmla="*/ 5688 w 9776"/>
                <a:gd name="connsiteY0" fmla="*/ 3047 h 6102"/>
                <a:gd name="connsiteX1" fmla="*/ 7443 w 9776"/>
                <a:gd name="connsiteY1" fmla="*/ 2357 h 6102"/>
                <a:gd name="connsiteX2" fmla="*/ 9227 w 9776"/>
                <a:gd name="connsiteY2" fmla="*/ 2651 h 6102"/>
                <a:gd name="connsiteX3" fmla="*/ 9039 w 9776"/>
                <a:gd name="connsiteY3" fmla="*/ 1610 h 6102"/>
                <a:gd name="connsiteX4" fmla="*/ 9776 w 9776"/>
                <a:gd name="connsiteY4" fmla="*/ 0 h 6102"/>
                <a:gd name="connsiteX5" fmla="*/ 0 w 9776"/>
                <a:gd name="connsiteY5" fmla="*/ 6103 h 6102"/>
                <a:gd name="connsiteX6" fmla="*/ 4276 w 9776"/>
                <a:gd name="connsiteY6" fmla="*/ 4927 h 6102"/>
                <a:gd name="connsiteX7" fmla="*/ 5688 w 9776"/>
                <a:gd name="connsiteY7" fmla="*/ 3047 h 6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76" h="6102">
                  <a:moveTo>
                    <a:pt x="5688" y="3047"/>
                  </a:moveTo>
                  <a:lnTo>
                    <a:pt x="7443" y="2357"/>
                  </a:lnTo>
                  <a:lnTo>
                    <a:pt x="9227" y="2651"/>
                  </a:lnTo>
                  <a:lnTo>
                    <a:pt x="9039" y="1610"/>
                  </a:lnTo>
                  <a:lnTo>
                    <a:pt x="9776" y="0"/>
                  </a:lnTo>
                  <a:cubicBezTo>
                    <a:pt x="5023" y="3533"/>
                    <a:pt x="2497" y="4927"/>
                    <a:pt x="0" y="6103"/>
                  </a:cubicBezTo>
                  <a:lnTo>
                    <a:pt x="4276" y="4927"/>
                  </a:lnTo>
                  <a:lnTo>
                    <a:pt x="5688" y="304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36" name="Freihandform: Form 135">
              <a:extLst>
                <a:ext uri="{FF2B5EF4-FFF2-40B4-BE49-F238E27FC236}">
                  <a16:creationId xmlns:a16="http://schemas.microsoft.com/office/drawing/2014/main" id="{98C5570D-1BCC-F39E-3001-4D12857343D2}"/>
                </a:ext>
              </a:extLst>
            </p:cNvPr>
            <p:cNvSpPr/>
            <p:nvPr/>
          </p:nvSpPr>
          <p:spPr>
            <a:xfrm>
              <a:off x="5515077" y="1700140"/>
              <a:ext cx="15873" cy="19051"/>
            </a:xfrm>
            <a:custGeom>
              <a:avLst/>
              <a:gdLst>
                <a:gd name="connsiteX0" fmla="*/ 0 w 12100"/>
                <a:gd name="connsiteY0" fmla="*/ 14091 h 15040"/>
                <a:gd name="connsiteX1" fmla="*/ 5216 w 12100"/>
                <a:gd name="connsiteY1" fmla="*/ 15041 h 15040"/>
                <a:gd name="connsiteX2" fmla="*/ 9622 w 12100"/>
                <a:gd name="connsiteY2" fmla="*/ 14168 h 15040"/>
                <a:gd name="connsiteX3" fmla="*/ 10610 w 12100"/>
                <a:gd name="connsiteY3" fmla="*/ 8832 h 15040"/>
                <a:gd name="connsiteX4" fmla="*/ 10630 w 12100"/>
                <a:gd name="connsiteY4" fmla="*/ 8706 h 15040"/>
                <a:gd name="connsiteX5" fmla="*/ 12100 w 12100"/>
                <a:gd name="connsiteY5" fmla="*/ 3278 h 15040"/>
                <a:gd name="connsiteX6" fmla="*/ 8094 w 12100"/>
                <a:gd name="connsiteY6" fmla="*/ 0 h 15040"/>
                <a:gd name="connsiteX7" fmla="*/ 5958 w 12100"/>
                <a:gd name="connsiteY7" fmla="*/ 3563 h 15040"/>
                <a:gd name="connsiteX8" fmla="*/ 7033 w 12100"/>
                <a:gd name="connsiteY8" fmla="*/ 8807 h 15040"/>
                <a:gd name="connsiteX9" fmla="*/ 6108 w 12100"/>
                <a:gd name="connsiteY9" fmla="*/ 10774 h 15040"/>
                <a:gd name="connsiteX10" fmla="*/ 0 w 12100"/>
                <a:gd name="connsiteY10" fmla="*/ 14091 h 1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00" h="15040">
                  <a:moveTo>
                    <a:pt x="0" y="14091"/>
                  </a:moveTo>
                  <a:lnTo>
                    <a:pt x="5216" y="15041"/>
                  </a:lnTo>
                  <a:lnTo>
                    <a:pt x="9622" y="14168"/>
                  </a:lnTo>
                  <a:lnTo>
                    <a:pt x="10610" y="8832"/>
                  </a:lnTo>
                  <a:lnTo>
                    <a:pt x="10630" y="8706"/>
                  </a:lnTo>
                  <a:lnTo>
                    <a:pt x="12100" y="3278"/>
                  </a:lnTo>
                  <a:lnTo>
                    <a:pt x="8094" y="0"/>
                  </a:lnTo>
                  <a:lnTo>
                    <a:pt x="5958" y="3563"/>
                  </a:lnTo>
                  <a:lnTo>
                    <a:pt x="7033" y="8807"/>
                  </a:lnTo>
                  <a:cubicBezTo>
                    <a:pt x="7173" y="9598"/>
                    <a:pt x="6807" y="10398"/>
                    <a:pt x="6108" y="10774"/>
                  </a:cubicBezTo>
                  <a:lnTo>
                    <a:pt x="0" y="1409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37" name="Freihandform: Form 136">
              <a:extLst>
                <a:ext uri="{FF2B5EF4-FFF2-40B4-BE49-F238E27FC236}">
                  <a16:creationId xmlns:a16="http://schemas.microsoft.com/office/drawing/2014/main" id="{631434A8-3557-95AD-5AEB-1E75DB60B875}"/>
                </a:ext>
              </a:extLst>
            </p:cNvPr>
            <p:cNvSpPr/>
            <p:nvPr/>
          </p:nvSpPr>
          <p:spPr>
            <a:xfrm>
              <a:off x="5223010" y="2071629"/>
              <a:ext cx="33334" cy="30163"/>
            </a:xfrm>
            <a:custGeom>
              <a:avLst/>
              <a:gdLst>
                <a:gd name="connsiteX0" fmla="*/ 6426 w 25279"/>
                <a:gd name="connsiteY0" fmla="*/ 9526 h 23283"/>
                <a:gd name="connsiteX1" fmla="*/ 6961 w 25279"/>
                <a:gd name="connsiteY1" fmla="*/ 10263 h 23283"/>
                <a:gd name="connsiteX2" fmla="*/ 9333 w 25279"/>
                <a:gd name="connsiteY2" fmla="*/ 16164 h 23283"/>
                <a:gd name="connsiteX3" fmla="*/ 12457 w 25279"/>
                <a:gd name="connsiteY3" fmla="*/ 22903 h 23283"/>
                <a:gd name="connsiteX4" fmla="*/ 16506 w 25279"/>
                <a:gd name="connsiteY4" fmla="*/ 23284 h 23283"/>
                <a:gd name="connsiteX5" fmla="*/ 15971 w 25279"/>
                <a:gd name="connsiteY5" fmla="*/ 22537 h 23283"/>
                <a:gd name="connsiteX6" fmla="*/ 14775 w 25279"/>
                <a:gd name="connsiteY6" fmla="*/ 15407 h 23283"/>
                <a:gd name="connsiteX7" fmla="*/ 15132 w 25279"/>
                <a:gd name="connsiteY7" fmla="*/ 14004 h 23283"/>
                <a:gd name="connsiteX8" fmla="*/ 16410 w 25279"/>
                <a:gd name="connsiteY8" fmla="*/ 13295 h 23283"/>
                <a:gd name="connsiteX9" fmla="*/ 21997 w 25279"/>
                <a:gd name="connsiteY9" fmla="*/ 12741 h 23283"/>
                <a:gd name="connsiteX10" fmla="*/ 25280 w 25279"/>
                <a:gd name="connsiteY10" fmla="*/ 10938 h 23283"/>
                <a:gd name="connsiteX11" fmla="*/ 22662 w 25279"/>
                <a:gd name="connsiteY11" fmla="*/ 9497 h 23283"/>
                <a:gd name="connsiteX12" fmla="*/ 17625 w 25279"/>
                <a:gd name="connsiteY12" fmla="*/ 13016 h 23283"/>
                <a:gd name="connsiteX13" fmla="*/ 15812 w 25279"/>
                <a:gd name="connsiteY13" fmla="*/ 13175 h 23283"/>
                <a:gd name="connsiteX14" fmla="*/ 9270 w 25279"/>
                <a:gd name="connsiteY14" fmla="*/ 10205 h 23283"/>
                <a:gd name="connsiteX15" fmla="*/ 8311 w 25279"/>
                <a:gd name="connsiteY15" fmla="*/ 8778 h 23283"/>
                <a:gd name="connsiteX16" fmla="*/ 8311 w 25279"/>
                <a:gd name="connsiteY16" fmla="*/ 8778 h 23283"/>
                <a:gd name="connsiteX17" fmla="*/ 2338 w 25279"/>
                <a:gd name="connsiteY17" fmla="*/ 4020 h 23283"/>
                <a:gd name="connsiteX18" fmla="*/ 1904 w 25279"/>
                <a:gd name="connsiteY18" fmla="*/ 3471 h 23283"/>
                <a:gd name="connsiteX19" fmla="*/ 0 w 25279"/>
                <a:gd name="connsiteY19" fmla="*/ 0 h 23283"/>
                <a:gd name="connsiteX20" fmla="*/ 468 w 25279"/>
                <a:gd name="connsiteY20" fmla="*/ 4642 h 23283"/>
                <a:gd name="connsiteX21" fmla="*/ 6426 w 25279"/>
                <a:gd name="connsiteY21" fmla="*/ 9526 h 2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279" h="23283">
                  <a:moveTo>
                    <a:pt x="6426" y="9526"/>
                  </a:moveTo>
                  <a:lnTo>
                    <a:pt x="6961" y="10263"/>
                  </a:lnTo>
                  <a:lnTo>
                    <a:pt x="9333" y="16164"/>
                  </a:lnTo>
                  <a:lnTo>
                    <a:pt x="12457" y="22903"/>
                  </a:lnTo>
                  <a:cubicBezTo>
                    <a:pt x="13807" y="22903"/>
                    <a:pt x="15152" y="23086"/>
                    <a:pt x="16506" y="23284"/>
                  </a:cubicBezTo>
                  <a:lnTo>
                    <a:pt x="15971" y="22537"/>
                  </a:lnTo>
                  <a:lnTo>
                    <a:pt x="14775" y="15407"/>
                  </a:lnTo>
                  <a:lnTo>
                    <a:pt x="15132" y="14004"/>
                  </a:lnTo>
                  <a:lnTo>
                    <a:pt x="16410" y="13295"/>
                  </a:lnTo>
                  <a:lnTo>
                    <a:pt x="21997" y="12741"/>
                  </a:lnTo>
                  <a:lnTo>
                    <a:pt x="25280" y="10938"/>
                  </a:lnTo>
                  <a:lnTo>
                    <a:pt x="22662" y="9497"/>
                  </a:lnTo>
                  <a:lnTo>
                    <a:pt x="17625" y="13016"/>
                  </a:lnTo>
                  <a:lnTo>
                    <a:pt x="15812" y="13175"/>
                  </a:lnTo>
                  <a:lnTo>
                    <a:pt x="9270" y="10205"/>
                  </a:lnTo>
                  <a:cubicBezTo>
                    <a:pt x="8706" y="9926"/>
                    <a:pt x="8412" y="9386"/>
                    <a:pt x="8311" y="8778"/>
                  </a:cubicBezTo>
                  <a:lnTo>
                    <a:pt x="8311" y="8778"/>
                  </a:lnTo>
                  <a:lnTo>
                    <a:pt x="2338" y="4020"/>
                  </a:lnTo>
                  <a:lnTo>
                    <a:pt x="1904" y="3471"/>
                  </a:lnTo>
                  <a:lnTo>
                    <a:pt x="0" y="0"/>
                  </a:lnTo>
                  <a:lnTo>
                    <a:pt x="468" y="4642"/>
                  </a:lnTo>
                  <a:lnTo>
                    <a:pt x="6426" y="952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38" name="Freihandform: Form 137">
              <a:extLst>
                <a:ext uri="{FF2B5EF4-FFF2-40B4-BE49-F238E27FC236}">
                  <a16:creationId xmlns:a16="http://schemas.microsoft.com/office/drawing/2014/main" id="{B5969D5B-63C8-D11F-A847-41DD96F06FA5}"/>
                </a:ext>
              </a:extLst>
            </p:cNvPr>
            <p:cNvSpPr/>
            <p:nvPr/>
          </p:nvSpPr>
          <p:spPr>
            <a:xfrm>
              <a:off x="5310313" y="2004952"/>
              <a:ext cx="3175" cy="1587"/>
            </a:xfrm>
            <a:custGeom>
              <a:avLst/>
              <a:gdLst>
                <a:gd name="connsiteX0" fmla="*/ 2299 w 2887"/>
                <a:gd name="connsiteY0" fmla="*/ 434 h 877"/>
                <a:gd name="connsiteX1" fmla="*/ 2888 w 2887"/>
                <a:gd name="connsiteY1" fmla="*/ 260 h 877"/>
                <a:gd name="connsiteX2" fmla="*/ 2150 w 2887"/>
                <a:gd name="connsiteY2" fmla="*/ 0 h 877"/>
                <a:gd name="connsiteX3" fmla="*/ 0 w 2887"/>
                <a:gd name="connsiteY3" fmla="*/ 877 h 877"/>
              </a:gdLst>
              <a:ahLst/>
              <a:cxnLst>
                <a:cxn ang="0">
                  <a:pos x="connsiteX0" y="connsiteY0"/>
                </a:cxn>
                <a:cxn ang="0">
                  <a:pos x="connsiteX1" y="connsiteY1"/>
                </a:cxn>
                <a:cxn ang="0">
                  <a:pos x="connsiteX2" y="connsiteY2"/>
                </a:cxn>
                <a:cxn ang="0">
                  <a:pos x="connsiteX3" y="connsiteY3"/>
                </a:cxn>
              </a:cxnLst>
              <a:rect l="l" t="t" r="r" b="b"/>
              <a:pathLst>
                <a:path w="2887" h="877">
                  <a:moveTo>
                    <a:pt x="2299" y="434"/>
                  </a:moveTo>
                  <a:lnTo>
                    <a:pt x="2888" y="260"/>
                  </a:lnTo>
                  <a:lnTo>
                    <a:pt x="2150" y="0"/>
                  </a:lnTo>
                  <a:lnTo>
                    <a:pt x="0" y="87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39" name="Freihandform: Form 138">
              <a:extLst>
                <a:ext uri="{FF2B5EF4-FFF2-40B4-BE49-F238E27FC236}">
                  <a16:creationId xmlns:a16="http://schemas.microsoft.com/office/drawing/2014/main" id="{1CBC37D0-AEF8-E647-FAEA-3D198A1472F6}"/>
                </a:ext>
              </a:extLst>
            </p:cNvPr>
            <p:cNvSpPr/>
            <p:nvPr/>
          </p:nvSpPr>
          <p:spPr>
            <a:xfrm>
              <a:off x="5223010" y="2112906"/>
              <a:ext cx="4762" cy="3175"/>
            </a:xfrm>
            <a:custGeom>
              <a:avLst/>
              <a:gdLst>
                <a:gd name="connsiteX0" fmla="*/ 3823 w 3822"/>
                <a:gd name="connsiteY0" fmla="*/ 3533 h 3533"/>
                <a:gd name="connsiteX1" fmla="*/ 0 w 3822"/>
                <a:gd name="connsiteY1" fmla="*/ 0 h 3533"/>
                <a:gd name="connsiteX2" fmla="*/ 1721 w 3822"/>
                <a:gd name="connsiteY2" fmla="*/ 2560 h 3533"/>
              </a:gdLst>
              <a:ahLst/>
              <a:cxnLst>
                <a:cxn ang="0">
                  <a:pos x="connsiteX0" y="connsiteY0"/>
                </a:cxn>
                <a:cxn ang="0">
                  <a:pos x="connsiteX1" y="connsiteY1"/>
                </a:cxn>
                <a:cxn ang="0">
                  <a:pos x="connsiteX2" y="connsiteY2"/>
                </a:cxn>
              </a:cxnLst>
              <a:rect l="l" t="t" r="r" b="b"/>
              <a:pathLst>
                <a:path w="3822" h="3533">
                  <a:moveTo>
                    <a:pt x="3823" y="3533"/>
                  </a:moveTo>
                  <a:lnTo>
                    <a:pt x="0" y="0"/>
                  </a:lnTo>
                  <a:lnTo>
                    <a:pt x="1721" y="256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40" name="Freihandform: Form 139">
              <a:extLst>
                <a:ext uri="{FF2B5EF4-FFF2-40B4-BE49-F238E27FC236}">
                  <a16:creationId xmlns:a16="http://schemas.microsoft.com/office/drawing/2014/main" id="{3853B64E-6494-4E77-2D55-C63B9070FCFE}"/>
                </a:ext>
              </a:extLst>
            </p:cNvPr>
            <p:cNvSpPr/>
            <p:nvPr/>
          </p:nvSpPr>
          <p:spPr>
            <a:xfrm>
              <a:off x="5034120" y="2273249"/>
              <a:ext cx="17460" cy="11113"/>
            </a:xfrm>
            <a:custGeom>
              <a:avLst/>
              <a:gdLst>
                <a:gd name="connsiteX0" fmla="*/ 5105 w 13550"/>
                <a:gd name="connsiteY0" fmla="*/ 4575 h 8455"/>
                <a:gd name="connsiteX1" fmla="*/ 5621 w 13550"/>
                <a:gd name="connsiteY1" fmla="*/ 6407 h 8455"/>
                <a:gd name="connsiteX2" fmla="*/ 5047 w 13550"/>
                <a:gd name="connsiteY2" fmla="*/ 8456 h 8455"/>
                <a:gd name="connsiteX3" fmla="*/ 8465 w 13550"/>
                <a:gd name="connsiteY3" fmla="*/ 4676 h 8455"/>
                <a:gd name="connsiteX4" fmla="*/ 10022 w 13550"/>
                <a:gd name="connsiteY4" fmla="*/ 4141 h 8455"/>
                <a:gd name="connsiteX5" fmla="*/ 10153 w 13550"/>
                <a:gd name="connsiteY5" fmla="*/ 4213 h 8455"/>
                <a:gd name="connsiteX6" fmla="*/ 10153 w 13550"/>
                <a:gd name="connsiteY6" fmla="*/ 4213 h 8455"/>
                <a:gd name="connsiteX7" fmla="*/ 11613 w 13550"/>
                <a:gd name="connsiteY7" fmla="*/ 3500 h 8455"/>
                <a:gd name="connsiteX8" fmla="*/ 13551 w 13550"/>
                <a:gd name="connsiteY8" fmla="*/ 3500 h 8455"/>
                <a:gd name="connsiteX9" fmla="*/ 8629 w 13550"/>
                <a:gd name="connsiteY9" fmla="*/ 550 h 8455"/>
                <a:gd name="connsiteX10" fmla="*/ 2579 w 13550"/>
                <a:gd name="connsiteY10" fmla="*/ 0 h 8455"/>
                <a:gd name="connsiteX11" fmla="*/ 0 w 13550"/>
                <a:gd name="connsiteY11" fmla="*/ 0 h 8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50" h="8455">
                  <a:moveTo>
                    <a:pt x="5105" y="4575"/>
                  </a:moveTo>
                  <a:lnTo>
                    <a:pt x="5621" y="6407"/>
                  </a:lnTo>
                  <a:lnTo>
                    <a:pt x="5047" y="8456"/>
                  </a:lnTo>
                  <a:lnTo>
                    <a:pt x="8465" y="4676"/>
                  </a:lnTo>
                  <a:lnTo>
                    <a:pt x="10022" y="4141"/>
                  </a:lnTo>
                  <a:lnTo>
                    <a:pt x="10153" y="4213"/>
                  </a:lnTo>
                  <a:lnTo>
                    <a:pt x="10153" y="4213"/>
                  </a:lnTo>
                  <a:lnTo>
                    <a:pt x="11613" y="3500"/>
                  </a:lnTo>
                  <a:lnTo>
                    <a:pt x="13551" y="3500"/>
                  </a:lnTo>
                  <a:lnTo>
                    <a:pt x="8629" y="550"/>
                  </a:lnTo>
                  <a:lnTo>
                    <a:pt x="2579" y="0"/>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41" name="Freihandform: Form 140">
              <a:extLst>
                <a:ext uri="{FF2B5EF4-FFF2-40B4-BE49-F238E27FC236}">
                  <a16:creationId xmlns:a16="http://schemas.microsoft.com/office/drawing/2014/main" id="{06C4BDB5-710C-C7B8-CED1-C73879AD23E0}"/>
                </a:ext>
              </a:extLst>
            </p:cNvPr>
            <p:cNvSpPr/>
            <p:nvPr/>
          </p:nvSpPr>
          <p:spPr>
            <a:xfrm>
              <a:off x="4959515" y="2427243"/>
              <a:ext cx="1588" cy="0"/>
            </a:xfrm>
            <a:custGeom>
              <a:avLst/>
              <a:gdLst>
                <a:gd name="connsiteX0" fmla="*/ 1118 w 1118"/>
                <a:gd name="connsiteY0" fmla="*/ 0 h 255"/>
                <a:gd name="connsiteX1" fmla="*/ 0 w 1118"/>
                <a:gd name="connsiteY1" fmla="*/ 0 h 255"/>
                <a:gd name="connsiteX2" fmla="*/ 1027 w 1118"/>
                <a:gd name="connsiteY2" fmla="*/ 256 h 255"/>
                <a:gd name="connsiteX3" fmla="*/ 1118 w 1118"/>
                <a:gd name="connsiteY3" fmla="*/ 0 h 255"/>
              </a:gdLst>
              <a:ahLst/>
              <a:cxnLst>
                <a:cxn ang="0">
                  <a:pos x="connsiteX0" y="connsiteY0"/>
                </a:cxn>
                <a:cxn ang="0">
                  <a:pos x="connsiteX1" y="connsiteY1"/>
                </a:cxn>
                <a:cxn ang="0">
                  <a:pos x="connsiteX2" y="connsiteY2"/>
                </a:cxn>
                <a:cxn ang="0">
                  <a:pos x="connsiteX3" y="connsiteY3"/>
                </a:cxn>
              </a:cxnLst>
              <a:rect l="l" t="t" r="r" b="b"/>
              <a:pathLst>
                <a:path w="1118" h="255">
                  <a:moveTo>
                    <a:pt x="1118" y="0"/>
                  </a:moveTo>
                  <a:lnTo>
                    <a:pt x="0" y="0"/>
                  </a:lnTo>
                  <a:lnTo>
                    <a:pt x="1027" y="256"/>
                  </a:lnTo>
                  <a:cubicBezTo>
                    <a:pt x="1051" y="169"/>
                    <a:pt x="1080" y="87"/>
                    <a:pt x="1118"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42" name="Freihandform: Form 141">
              <a:extLst>
                <a:ext uri="{FF2B5EF4-FFF2-40B4-BE49-F238E27FC236}">
                  <a16:creationId xmlns:a16="http://schemas.microsoft.com/office/drawing/2014/main" id="{AFEDDFB2-BFC7-6CFF-5A55-01A0F96E8C48}"/>
                </a:ext>
              </a:extLst>
            </p:cNvPr>
            <p:cNvSpPr/>
            <p:nvPr/>
          </p:nvSpPr>
          <p:spPr>
            <a:xfrm>
              <a:off x="4954753" y="2432005"/>
              <a:ext cx="1587" cy="6350"/>
            </a:xfrm>
            <a:custGeom>
              <a:avLst/>
              <a:gdLst>
                <a:gd name="connsiteX0" fmla="*/ 1817 w 1817"/>
                <a:gd name="connsiteY0" fmla="*/ 3490 h 5143"/>
                <a:gd name="connsiteX1" fmla="*/ 1817 w 1817"/>
                <a:gd name="connsiteY1" fmla="*/ 0 h 5143"/>
                <a:gd name="connsiteX2" fmla="*/ 0 w 1817"/>
                <a:gd name="connsiteY2" fmla="*/ 352 h 5143"/>
                <a:gd name="connsiteX3" fmla="*/ 1191 w 1817"/>
                <a:gd name="connsiteY3" fmla="*/ 4372 h 5143"/>
                <a:gd name="connsiteX4" fmla="*/ 1210 w 1817"/>
                <a:gd name="connsiteY4" fmla="*/ 4425 h 5143"/>
                <a:gd name="connsiteX5" fmla="*/ 1403 w 1817"/>
                <a:gd name="connsiteY5" fmla="*/ 5144 h 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7" h="5143">
                  <a:moveTo>
                    <a:pt x="1817" y="3490"/>
                  </a:moveTo>
                  <a:lnTo>
                    <a:pt x="1817" y="0"/>
                  </a:lnTo>
                  <a:lnTo>
                    <a:pt x="0" y="352"/>
                  </a:lnTo>
                  <a:lnTo>
                    <a:pt x="1191" y="4372"/>
                  </a:lnTo>
                  <a:lnTo>
                    <a:pt x="1210" y="4425"/>
                  </a:lnTo>
                  <a:lnTo>
                    <a:pt x="1403" y="514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43" name="Freihandform: Form 142">
              <a:extLst>
                <a:ext uri="{FF2B5EF4-FFF2-40B4-BE49-F238E27FC236}">
                  <a16:creationId xmlns:a16="http://schemas.microsoft.com/office/drawing/2014/main" id="{32619618-8937-0D33-77F9-289EBA882022}"/>
                </a:ext>
              </a:extLst>
            </p:cNvPr>
            <p:cNvSpPr/>
            <p:nvPr/>
          </p:nvSpPr>
          <p:spPr>
            <a:xfrm>
              <a:off x="4973801" y="2463756"/>
              <a:ext cx="4761" cy="6350"/>
            </a:xfrm>
            <a:custGeom>
              <a:avLst/>
              <a:gdLst>
                <a:gd name="connsiteX0" fmla="*/ 4160 w 4449"/>
                <a:gd name="connsiteY0" fmla="*/ 4531 h 5056"/>
                <a:gd name="connsiteX1" fmla="*/ 4449 w 4449"/>
                <a:gd name="connsiteY1" fmla="*/ 5057 h 5056"/>
                <a:gd name="connsiteX2" fmla="*/ 4097 w 4449"/>
                <a:gd name="connsiteY2" fmla="*/ 1200 h 5056"/>
                <a:gd name="connsiteX3" fmla="*/ 0 w 4449"/>
                <a:gd name="connsiteY3" fmla="*/ 0 h 5056"/>
              </a:gdLst>
              <a:ahLst/>
              <a:cxnLst>
                <a:cxn ang="0">
                  <a:pos x="connsiteX0" y="connsiteY0"/>
                </a:cxn>
                <a:cxn ang="0">
                  <a:pos x="connsiteX1" y="connsiteY1"/>
                </a:cxn>
                <a:cxn ang="0">
                  <a:pos x="connsiteX2" y="connsiteY2"/>
                </a:cxn>
                <a:cxn ang="0">
                  <a:pos x="connsiteX3" y="connsiteY3"/>
                </a:cxn>
              </a:cxnLst>
              <a:rect l="l" t="t" r="r" b="b"/>
              <a:pathLst>
                <a:path w="4449" h="5056">
                  <a:moveTo>
                    <a:pt x="4160" y="4531"/>
                  </a:moveTo>
                  <a:lnTo>
                    <a:pt x="4449" y="5057"/>
                  </a:lnTo>
                  <a:lnTo>
                    <a:pt x="4097" y="1200"/>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44" name="Freihandform: Form 143">
              <a:extLst>
                <a:ext uri="{FF2B5EF4-FFF2-40B4-BE49-F238E27FC236}">
                  <a16:creationId xmlns:a16="http://schemas.microsoft.com/office/drawing/2014/main" id="{CEB9F2F1-D1D3-688F-CB6D-D5555505BDF1}"/>
                </a:ext>
              </a:extLst>
            </p:cNvPr>
            <p:cNvSpPr/>
            <p:nvPr/>
          </p:nvSpPr>
          <p:spPr>
            <a:xfrm>
              <a:off x="5016658" y="2689189"/>
              <a:ext cx="19048" cy="9525"/>
            </a:xfrm>
            <a:custGeom>
              <a:avLst/>
              <a:gdLst>
                <a:gd name="connsiteX0" fmla="*/ 15070 w 15199"/>
                <a:gd name="connsiteY0" fmla="*/ 371 h 7930"/>
                <a:gd name="connsiteX1" fmla="*/ 15200 w 15199"/>
                <a:gd name="connsiteY1" fmla="*/ 0 h 7930"/>
                <a:gd name="connsiteX2" fmla="*/ 11497 w 15199"/>
                <a:gd name="connsiteY2" fmla="*/ 1856 h 7930"/>
                <a:gd name="connsiteX3" fmla="*/ 11020 w 15199"/>
                <a:gd name="connsiteY3" fmla="*/ 2020 h 7930"/>
                <a:gd name="connsiteX4" fmla="*/ 4672 w 15199"/>
                <a:gd name="connsiteY4" fmla="*/ 3162 h 7930"/>
                <a:gd name="connsiteX5" fmla="*/ 0 w 15199"/>
                <a:gd name="connsiteY5" fmla="*/ 5023 h 7930"/>
                <a:gd name="connsiteX6" fmla="*/ 0 w 15199"/>
                <a:gd name="connsiteY6" fmla="*/ 7930 h 7930"/>
                <a:gd name="connsiteX7" fmla="*/ 3804 w 15199"/>
                <a:gd name="connsiteY7" fmla="*/ 7930 h 7930"/>
                <a:gd name="connsiteX8" fmla="*/ 9107 w 15199"/>
                <a:gd name="connsiteY8" fmla="*/ 5819 h 7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99" h="7930">
                  <a:moveTo>
                    <a:pt x="15070" y="371"/>
                  </a:moveTo>
                  <a:lnTo>
                    <a:pt x="15200" y="0"/>
                  </a:lnTo>
                  <a:lnTo>
                    <a:pt x="11497" y="1856"/>
                  </a:lnTo>
                  <a:lnTo>
                    <a:pt x="11020" y="2020"/>
                  </a:lnTo>
                  <a:lnTo>
                    <a:pt x="4672" y="3162"/>
                  </a:lnTo>
                  <a:lnTo>
                    <a:pt x="0" y="5023"/>
                  </a:lnTo>
                  <a:lnTo>
                    <a:pt x="0" y="7930"/>
                  </a:lnTo>
                  <a:lnTo>
                    <a:pt x="3804" y="7930"/>
                  </a:lnTo>
                  <a:lnTo>
                    <a:pt x="9107" y="581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45" name="Freihandform: Form 144">
              <a:extLst>
                <a:ext uri="{FF2B5EF4-FFF2-40B4-BE49-F238E27FC236}">
                  <a16:creationId xmlns:a16="http://schemas.microsoft.com/office/drawing/2014/main" id="{A937570D-B3AE-276B-4FC8-BD363DFBFC3C}"/>
                </a:ext>
              </a:extLst>
            </p:cNvPr>
            <p:cNvSpPr/>
            <p:nvPr/>
          </p:nvSpPr>
          <p:spPr>
            <a:xfrm>
              <a:off x="5007135" y="2684427"/>
              <a:ext cx="19048" cy="12700"/>
            </a:xfrm>
            <a:custGeom>
              <a:avLst/>
              <a:gdLst>
                <a:gd name="connsiteX0" fmla="*/ 10977 w 14389"/>
                <a:gd name="connsiteY0" fmla="*/ 2651 h 9708"/>
                <a:gd name="connsiteX1" fmla="*/ 14390 w 14389"/>
                <a:gd name="connsiteY1" fmla="*/ 2049 h 9708"/>
                <a:gd name="connsiteX2" fmla="*/ 11883 w 14389"/>
                <a:gd name="connsiteY2" fmla="*/ 1557 h 9708"/>
                <a:gd name="connsiteX3" fmla="*/ 5664 w 14389"/>
                <a:gd name="connsiteY3" fmla="*/ 2675 h 9708"/>
                <a:gd name="connsiteX4" fmla="*/ 4319 w 14389"/>
                <a:gd name="connsiteY4" fmla="*/ 2377 h 9708"/>
                <a:gd name="connsiteX5" fmla="*/ 926 w 14389"/>
                <a:gd name="connsiteY5" fmla="*/ 0 h 9708"/>
                <a:gd name="connsiteX6" fmla="*/ 608 w 14389"/>
                <a:gd name="connsiteY6" fmla="*/ 3408 h 9708"/>
                <a:gd name="connsiteX7" fmla="*/ 0 w 14389"/>
                <a:gd name="connsiteY7" fmla="*/ 4531 h 9708"/>
                <a:gd name="connsiteX8" fmla="*/ 1687 w 14389"/>
                <a:gd name="connsiteY8" fmla="*/ 5553 h 9708"/>
                <a:gd name="connsiteX9" fmla="*/ 3350 w 14389"/>
                <a:gd name="connsiteY9" fmla="*/ 9709 h 9708"/>
                <a:gd name="connsiteX10" fmla="*/ 3529 w 14389"/>
                <a:gd name="connsiteY10" fmla="*/ 6831 h 9708"/>
                <a:gd name="connsiteX11" fmla="*/ 4686 w 14389"/>
                <a:gd name="connsiteY11" fmla="*/ 5134 h 9708"/>
                <a:gd name="connsiteX12" fmla="*/ 10615 w 14389"/>
                <a:gd name="connsiteY12" fmla="*/ 2748 h 9708"/>
                <a:gd name="connsiteX13" fmla="*/ 10977 w 14389"/>
                <a:gd name="connsiteY13" fmla="*/ 2651 h 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89" h="9708">
                  <a:moveTo>
                    <a:pt x="10977" y="2651"/>
                  </a:moveTo>
                  <a:lnTo>
                    <a:pt x="14390" y="2049"/>
                  </a:lnTo>
                  <a:lnTo>
                    <a:pt x="11883" y="1557"/>
                  </a:lnTo>
                  <a:lnTo>
                    <a:pt x="5664" y="2675"/>
                  </a:lnTo>
                  <a:lnTo>
                    <a:pt x="4319" y="2377"/>
                  </a:lnTo>
                  <a:lnTo>
                    <a:pt x="926" y="0"/>
                  </a:lnTo>
                  <a:lnTo>
                    <a:pt x="608" y="3408"/>
                  </a:lnTo>
                  <a:lnTo>
                    <a:pt x="0" y="4531"/>
                  </a:lnTo>
                  <a:cubicBezTo>
                    <a:pt x="723" y="4531"/>
                    <a:pt x="1403" y="4869"/>
                    <a:pt x="1687" y="5553"/>
                  </a:cubicBezTo>
                  <a:lnTo>
                    <a:pt x="3350" y="9709"/>
                  </a:lnTo>
                  <a:cubicBezTo>
                    <a:pt x="3413" y="8870"/>
                    <a:pt x="3457" y="7916"/>
                    <a:pt x="3529" y="6831"/>
                  </a:cubicBezTo>
                  <a:lnTo>
                    <a:pt x="4686" y="5134"/>
                  </a:lnTo>
                  <a:lnTo>
                    <a:pt x="10615" y="2748"/>
                  </a:lnTo>
                  <a:lnTo>
                    <a:pt x="10977" y="265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46" name="Freihandform: Form 145">
              <a:extLst>
                <a:ext uri="{FF2B5EF4-FFF2-40B4-BE49-F238E27FC236}">
                  <a16:creationId xmlns:a16="http://schemas.microsoft.com/office/drawing/2014/main" id="{983BDA7C-CA37-2EE5-A249-20D984FCC178}"/>
                </a:ext>
              </a:extLst>
            </p:cNvPr>
            <p:cNvSpPr/>
            <p:nvPr/>
          </p:nvSpPr>
          <p:spPr>
            <a:xfrm>
              <a:off x="5000785" y="2690777"/>
              <a:ext cx="3175" cy="1587"/>
            </a:xfrm>
            <a:custGeom>
              <a:avLst/>
              <a:gdLst>
                <a:gd name="connsiteX0" fmla="*/ 0 w 2805"/>
                <a:gd name="connsiteY0" fmla="*/ 0 h 1345"/>
                <a:gd name="connsiteX1" fmla="*/ 265 w 2805"/>
                <a:gd name="connsiteY1" fmla="*/ 1345 h 1345"/>
                <a:gd name="connsiteX2" fmla="*/ 2806 w 2805"/>
                <a:gd name="connsiteY2" fmla="*/ 593 h 1345"/>
              </a:gdLst>
              <a:ahLst/>
              <a:cxnLst>
                <a:cxn ang="0">
                  <a:pos x="connsiteX0" y="connsiteY0"/>
                </a:cxn>
                <a:cxn ang="0">
                  <a:pos x="connsiteX1" y="connsiteY1"/>
                </a:cxn>
                <a:cxn ang="0">
                  <a:pos x="connsiteX2" y="connsiteY2"/>
                </a:cxn>
              </a:cxnLst>
              <a:rect l="l" t="t" r="r" b="b"/>
              <a:pathLst>
                <a:path w="2805" h="1345">
                  <a:moveTo>
                    <a:pt x="0" y="0"/>
                  </a:moveTo>
                  <a:lnTo>
                    <a:pt x="265" y="1345"/>
                  </a:lnTo>
                  <a:lnTo>
                    <a:pt x="2806" y="59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47" name="Freihandform: Form 146">
              <a:extLst>
                <a:ext uri="{FF2B5EF4-FFF2-40B4-BE49-F238E27FC236}">
                  <a16:creationId xmlns:a16="http://schemas.microsoft.com/office/drawing/2014/main" id="{DA9E2345-C602-59B4-AA71-2922587C8F53}"/>
                </a:ext>
              </a:extLst>
            </p:cNvPr>
            <p:cNvSpPr/>
            <p:nvPr/>
          </p:nvSpPr>
          <p:spPr>
            <a:xfrm>
              <a:off x="5121422" y="2425654"/>
              <a:ext cx="0" cy="3175"/>
            </a:xfrm>
            <a:custGeom>
              <a:avLst/>
              <a:gdLst>
                <a:gd name="connsiteX0" fmla="*/ 743 w 742"/>
                <a:gd name="connsiteY0" fmla="*/ 2164 h 2164"/>
                <a:gd name="connsiteX1" fmla="*/ 10 w 742"/>
                <a:gd name="connsiteY1" fmla="*/ 0 h 2164"/>
                <a:gd name="connsiteX2" fmla="*/ 188 w 742"/>
                <a:gd name="connsiteY2" fmla="*/ 1615 h 2164"/>
                <a:gd name="connsiteX3" fmla="*/ 0 w 742"/>
                <a:gd name="connsiteY3" fmla="*/ 2111 h 2164"/>
              </a:gdLst>
              <a:ahLst/>
              <a:cxnLst>
                <a:cxn ang="0">
                  <a:pos x="connsiteX0" y="connsiteY0"/>
                </a:cxn>
                <a:cxn ang="0">
                  <a:pos x="connsiteX1" y="connsiteY1"/>
                </a:cxn>
                <a:cxn ang="0">
                  <a:pos x="connsiteX2" y="connsiteY2"/>
                </a:cxn>
                <a:cxn ang="0">
                  <a:pos x="connsiteX3" y="connsiteY3"/>
                </a:cxn>
              </a:cxnLst>
              <a:rect l="l" t="t" r="r" b="b"/>
              <a:pathLst>
                <a:path w="742" h="2164">
                  <a:moveTo>
                    <a:pt x="743" y="2164"/>
                  </a:moveTo>
                  <a:lnTo>
                    <a:pt x="10" y="0"/>
                  </a:lnTo>
                  <a:lnTo>
                    <a:pt x="188" y="1615"/>
                  </a:lnTo>
                  <a:lnTo>
                    <a:pt x="0" y="211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48" name="Freihandform: Form 147">
              <a:extLst>
                <a:ext uri="{FF2B5EF4-FFF2-40B4-BE49-F238E27FC236}">
                  <a16:creationId xmlns:a16="http://schemas.microsoft.com/office/drawing/2014/main" id="{587C3A7A-E935-116C-CD2F-F231320D72CD}"/>
                </a:ext>
              </a:extLst>
            </p:cNvPr>
            <p:cNvSpPr/>
            <p:nvPr/>
          </p:nvSpPr>
          <p:spPr>
            <a:xfrm>
              <a:off x="5538887" y="1638225"/>
              <a:ext cx="17460" cy="15876"/>
            </a:xfrm>
            <a:custGeom>
              <a:avLst/>
              <a:gdLst>
                <a:gd name="connsiteX0" fmla="*/ 4194 w 13382"/>
                <a:gd name="connsiteY0" fmla="*/ 6421 h 12591"/>
                <a:gd name="connsiteX1" fmla="*/ 4623 w 13382"/>
                <a:gd name="connsiteY1" fmla="*/ 12534 h 12591"/>
                <a:gd name="connsiteX2" fmla="*/ 8668 w 13382"/>
                <a:gd name="connsiteY2" fmla="*/ 10312 h 12591"/>
                <a:gd name="connsiteX3" fmla="*/ 10948 w 13382"/>
                <a:gd name="connsiteY3" fmla="*/ 10789 h 12591"/>
                <a:gd name="connsiteX4" fmla="*/ 12375 w 13382"/>
                <a:gd name="connsiteY4" fmla="*/ 12592 h 12591"/>
                <a:gd name="connsiteX5" fmla="*/ 12944 w 13382"/>
                <a:gd name="connsiteY5" fmla="*/ 12066 h 12591"/>
                <a:gd name="connsiteX6" fmla="*/ 13382 w 13382"/>
                <a:gd name="connsiteY6" fmla="*/ 11878 h 12591"/>
                <a:gd name="connsiteX7" fmla="*/ 12278 w 13382"/>
                <a:gd name="connsiteY7" fmla="*/ 11280 h 12591"/>
                <a:gd name="connsiteX8" fmla="*/ 7530 w 13382"/>
                <a:gd name="connsiteY8" fmla="*/ 5336 h 12591"/>
                <a:gd name="connsiteX9" fmla="*/ 7327 w 13382"/>
                <a:gd name="connsiteY9" fmla="*/ 4565 h 12591"/>
                <a:gd name="connsiteX10" fmla="*/ 5997 w 13382"/>
                <a:gd name="connsiteY10" fmla="*/ 4710 h 12591"/>
                <a:gd name="connsiteX11" fmla="*/ 4743 w 13382"/>
                <a:gd name="connsiteY11" fmla="*/ 2791 h 12591"/>
                <a:gd name="connsiteX12" fmla="*/ 5028 w 13382"/>
                <a:gd name="connsiteY12" fmla="*/ 0 h 12591"/>
                <a:gd name="connsiteX13" fmla="*/ 1369 w 13382"/>
                <a:gd name="connsiteY13" fmla="*/ 1673 h 12591"/>
                <a:gd name="connsiteX14" fmla="*/ 0 w 13382"/>
                <a:gd name="connsiteY14" fmla="*/ 1620 h 12591"/>
                <a:gd name="connsiteX15" fmla="*/ 3683 w 13382"/>
                <a:gd name="connsiteY15" fmla="*/ 5284 h 12591"/>
                <a:gd name="connsiteX16" fmla="*/ 4194 w 13382"/>
                <a:gd name="connsiteY16" fmla="*/ 6421 h 1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382" h="12591">
                  <a:moveTo>
                    <a:pt x="4194" y="6421"/>
                  </a:moveTo>
                  <a:lnTo>
                    <a:pt x="4623" y="12534"/>
                  </a:lnTo>
                  <a:lnTo>
                    <a:pt x="8668" y="10312"/>
                  </a:lnTo>
                  <a:cubicBezTo>
                    <a:pt x="9420" y="9902"/>
                    <a:pt x="10413" y="10104"/>
                    <a:pt x="10948" y="10789"/>
                  </a:cubicBezTo>
                  <a:lnTo>
                    <a:pt x="12375" y="12592"/>
                  </a:lnTo>
                  <a:cubicBezTo>
                    <a:pt x="12548" y="12394"/>
                    <a:pt x="12717" y="12148"/>
                    <a:pt x="12944" y="12066"/>
                  </a:cubicBezTo>
                  <a:lnTo>
                    <a:pt x="13382" y="11878"/>
                  </a:lnTo>
                  <a:lnTo>
                    <a:pt x="12278" y="11280"/>
                  </a:lnTo>
                  <a:lnTo>
                    <a:pt x="7530" y="5336"/>
                  </a:lnTo>
                  <a:lnTo>
                    <a:pt x="7327" y="4565"/>
                  </a:lnTo>
                  <a:cubicBezTo>
                    <a:pt x="6927" y="4787"/>
                    <a:pt x="6450" y="4898"/>
                    <a:pt x="5997" y="4710"/>
                  </a:cubicBezTo>
                  <a:cubicBezTo>
                    <a:pt x="5177" y="4459"/>
                    <a:pt x="4671" y="3669"/>
                    <a:pt x="4743" y="2791"/>
                  </a:cubicBezTo>
                  <a:lnTo>
                    <a:pt x="5028" y="0"/>
                  </a:lnTo>
                  <a:lnTo>
                    <a:pt x="1369" y="1673"/>
                  </a:lnTo>
                  <a:lnTo>
                    <a:pt x="0" y="1620"/>
                  </a:lnTo>
                  <a:lnTo>
                    <a:pt x="3683" y="5284"/>
                  </a:lnTo>
                  <a:lnTo>
                    <a:pt x="4194" y="642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49" name="Freihandform: Form 148">
              <a:extLst>
                <a:ext uri="{FF2B5EF4-FFF2-40B4-BE49-F238E27FC236}">
                  <a16:creationId xmlns:a16="http://schemas.microsoft.com/office/drawing/2014/main" id="{3635DC8F-F333-042A-DC1D-C583291AAB7B}"/>
                </a:ext>
              </a:extLst>
            </p:cNvPr>
            <p:cNvSpPr/>
            <p:nvPr/>
          </p:nvSpPr>
          <p:spPr>
            <a:xfrm>
              <a:off x="5018246" y="2266898"/>
              <a:ext cx="1587" cy="1588"/>
            </a:xfrm>
            <a:custGeom>
              <a:avLst/>
              <a:gdLst>
                <a:gd name="connsiteX0" fmla="*/ 1976 w 2323"/>
                <a:gd name="connsiteY0" fmla="*/ 1186 h 1185"/>
                <a:gd name="connsiteX1" fmla="*/ 2324 w 2323"/>
                <a:gd name="connsiteY1" fmla="*/ 323 h 1185"/>
                <a:gd name="connsiteX2" fmla="*/ 1928 w 2323"/>
                <a:gd name="connsiteY2" fmla="*/ 323 h 1185"/>
                <a:gd name="connsiteX3" fmla="*/ 1586 w 2323"/>
                <a:gd name="connsiteY3" fmla="*/ 309 h 1185"/>
                <a:gd name="connsiteX4" fmla="*/ 0 w 2323"/>
                <a:gd name="connsiteY4" fmla="*/ 0 h 1185"/>
                <a:gd name="connsiteX5" fmla="*/ 1976 w 2323"/>
                <a:gd name="connsiteY5" fmla="*/ 1186 h 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3" h="1185">
                  <a:moveTo>
                    <a:pt x="1976" y="1186"/>
                  </a:moveTo>
                  <a:cubicBezTo>
                    <a:pt x="2034" y="877"/>
                    <a:pt x="2126" y="578"/>
                    <a:pt x="2324" y="323"/>
                  </a:cubicBezTo>
                  <a:lnTo>
                    <a:pt x="1928" y="323"/>
                  </a:lnTo>
                  <a:lnTo>
                    <a:pt x="1586" y="309"/>
                  </a:lnTo>
                  <a:lnTo>
                    <a:pt x="0" y="0"/>
                  </a:lnTo>
                  <a:lnTo>
                    <a:pt x="1976" y="118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50" name="Freihandform: Form 149">
              <a:extLst>
                <a:ext uri="{FF2B5EF4-FFF2-40B4-BE49-F238E27FC236}">
                  <a16:creationId xmlns:a16="http://schemas.microsoft.com/office/drawing/2014/main" id="{73481304-AB37-C302-233D-46794C8CC4E9}"/>
                </a:ext>
              </a:extLst>
            </p:cNvPr>
            <p:cNvSpPr/>
            <p:nvPr/>
          </p:nvSpPr>
          <p:spPr>
            <a:xfrm>
              <a:off x="5023008" y="2784443"/>
              <a:ext cx="1588" cy="1588"/>
            </a:xfrm>
            <a:custGeom>
              <a:avLst/>
              <a:gdLst>
                <a:gd name="connsiteX0" fmla="*/ 983 w 983"/>
                <a:gd name="connsiteY0" fmla="*/ 0 h 1243"/>
                <a:gd name="connsiteX1" fmla="*/ 868 w 983"/>
                <a:gd name="connsiteY1" fmla="*/ 121 h 1243"/>
                <a:gd name="connsiteX2" fmla="*/ 0 w 983"/>
                <a:gd name="connsiteY2" fmla="*/ 530 h 1243"/>
                <a:gd name="connsiteX3" fmla="*/ 718 w 983"/>
                <a:gd name="connsiteY3" fmla="*/ 1244 h 1243"/>
              </a:gdLst>
              <a:ahLst/>
              <a:cxnLst>
                <a:cxn ang="0">
                  <a:pos x="connsiteX0" y="connsiteY0"/>
                </a:cxn>
                <a:cxn ang="0">
                  <a:pos x="connsiteX1" y="connsiteY1"/>
                </a:cxn>
                <a:cxn ang="0">
                  <a:pos x="connsiteX2" y="connsiteY2"/>
                </a:cxn>
                <a:cxn ang="0">
                  <a:pos x="connsiteX3" y="connsiteY3"/>
                </a:cxn>
              </a:cxnLst>
              <a:rect l="l" t="t" r="r" b="b"/>
              <a:pathLst>
                <a:path w="983" h="1243">
                  <a:moveTo>
                    <a:pt x="983" y="0"/>
                  </a:moveTo>
                  <a:lnTo>
                    <a:pt x="868" y="121"/>
                  </a:lnTo>
                  <a:lnTo>
                    <a:pt x="0" y="530"/>
                  </a:lnTo>
                  <a:lnTo>
                    <a:pt x="718" y="124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51" name="Freihandform: Form 150">
              <a:extLst>
                <a:ext uri="{FF2B5EF4-FFF2-40B4-BE49-F238E27FC236}">
                  <a16:creationId xmlns:a16="http://schemas.microsoft.com/office/drawing/2014/main" id="{0FFE9E0C-587A-A379-95E8-81FD9CDCECC4}"/>
                </a:ext>
              </a:extLst>
            </p:cNvPr>
            <p:cNvSpPr/>
            <p:nvPr/>
          </p:nvSpPr>
          <p:spPr>
            <a:xfrm>
              <a:off x="5115072" y="2406604"/>
              <a:ext cx="14286" cy="7938"/>
            </a:xfrm>
            <a:custGeom>
              <a:avLst/>
              <a:gdLst>
                <a:gd name="connsiteX0" fmla="*/ 2034 w 10957"/>
                <a:gd name="connsiteY0" fmla="*/ 4237 h 6643"/>
                <a:gd name="connsiteX1" fmla="*/ 2714 w 10957"/>
                <a:gd name="connsiteY1" fmla="*/ 6643 h 6643"/>
                <a:gd name="connsiteX2" fmla="*/ 2661 w 10957"/>
                <a:gd name="connsiteY2" fmla="*/ 6079 h 6643"/>
                <a:gd name="connsiteX3" fmla="*/ 3538 w 10957"/>
                <a:gd name="connsiteY3" fmla="*/ 4324 h 6643"/>
                <a:gd name="connsiteX4" fmla="*/ 10606 w 10957"/>
                <a:gd name="connsiteY4" fmla="*/ 217 h 6643"/>
                <a:gd name="connsiteX5" fmla="*/ 10958 w 10957"/>
                <a:gd name="connsiteY5" fmla="*/ 0 h 6643"/>
                <a:gd name="connsiteX6" fmla="*/ 5467 w 10957"/>
                <a:gd name="connsiteY6" fmla="*/ 0 h 6643"/>
                <a:gd name="connsiteX7" fmla="*/ 0 w 10957"/>
                <a:gd name="connsiteY7" fmla="*/ 2704 h 6643"/>
                <a:gd name="connsiteX8" fmla="*/ 805 w 10957"/>
                <a:gd name="connsiteY8" fmla="*/ 2984 h 6643"/>
                <a:gd name="connsiteX9" fmla="*/ 2034 w 10957"/>
                <a:gd name="connsiteY9" fmla="*/ 4237 h 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57" h="6643">
                  <a:moveTo>
                    <a:pt x="2034" y="4237"/>
                  </a:moveTo>
                  <a:lnTo>
                    <a:pt x="2714" y="6643"/>
                  </a:lnTo>
                  <a:lnTo>
                    <a:pt x="2661" y="6079"/>
                  </a:lnTo>
                  <a:lnTo>
                    <a:pt x="3538" y="4324"/>
                  </a:lnTo>
                  <a:lnTo>
                    <a:pt x="10606" y="217"/>
                  </a:lnTo>
                  <a:cubicBezTo>
                    <a:pt x="10750" y="125"/>
                    <a:pt x="10818" y="58"/>
                    <a:pt x="10958" y="0"/>
                  </a:cubicBezTo>
                  <a:lnTo>
                    <a:pt x="5467" y="0"/>
                  </a:lnTo>
                  <a:lnTo>
                    <a:pt x="0" y="2704"/>
                  </a:lnTo>
                  <a:lnTo>
                    <a:pt x="805" y="2984"/>
                  </a:lnTo>
                  <a:lnTo>
                    <a:pt x="2034" y="423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52" name="Freihandform: Form 151">
              <a:extLst>
                <a:ext uri="{FF2B5EF4-FFF2-40B4-BE49-F238E27FC236}">
                  <a16:creationId xmlns:a16="http://schemas.microsoft.com/office/drawing/2014/main" id="{3F1B7C2B-4348-34EF-77AD-C8A48FB81483}"/>
                </a:ext>
              </a:extLst>
            </p:cNvPr>
            <p:cNvSpPr/>
            <p:nvPr/>
          </p:nvSpPr>
          <p:spPr>
            <a:xfrm>
              <a:off x="5145232" y="2371677"/>
              <a:ext cx="1587" cy="7938"/>
            </a:xfrm>
            <a:custGeom>
              <a:avLst/>
              <a:gdLst>
                <a:gd name="connsiteX0" fmla="*/ 911 w 1296"/>
                <a:gd name="connsiteY0" fmla="*/ 1383 h 5119"/>
                <a:gd name="connsiteX1" fmla="*/ 1037 w 1296"/>
                <a:gd name="connsiteY1" fmla="*/ 487 h 5119"/>
                <a:gd name="connsiteX2" fmla="*/ 1297 w 1296"/>
                <a:gd name="connsiteY2" fmla="*/ 0 h 5119"/>
                <a:gd name="connsiteX3" fmla="*/ 0 w 1296"/>
                <a:gd name="connsiteY3" fmla="*/ 2015 h 5119"/>
                <a:gd name="connsiteX4" fmla="*/ 1253 w 1296"/>
                <a:gd name="connsiteY4" fmla="*/ 5120 h 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6" h="5119">
                  <a:moveTo>
                    <a:pt x="911" y="1383"/>
                  </a:moveTo>
                  <a:lnTo>
                    <a:pt x="1037" y="487"/>
                  </a:lnTo>
                  <a:lnTo>
                    <a:pt x="1297" y="0"/>
                  </a:lnTo>
                  <a:lnTo>
                    <a:pt x="0" y="2015"/>
                  </a:lnTo>
                  <a:lnTo>
                    <a:pt x="1253" y="512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53" name="Freihandform: Form 152">
              <a:extLst>
                <a:ext uri="{FF2B5EF4-FFF2-40B4-BE49-F238E27FC236}">
                  <a16:creationId xmlns:a16="http://schemas.microsoft.com/office/drawing/2014/main" id="{60DE41CB-96B3-EA7A-71AA-327ED1BD3B8A}"/>
                </a:ext>
              </a:extLst>
            </p:cNvPr>
            <p:cNvSpPr/>
            <p:nvPr/>
          </p:nvSpPr>
          <p:spPr>
            <a:xfrm>
              <a:off x="5146819" y="2393903"/>
              <a:ext cx="11112" cy="11113"/>
            </a:xfrm>
            <a:custGeom>
              <a:avLst/>
              <a:gdLst>
                <a:gd name="connsiteX0" fmla="*/ 4001 w 9516"/>
                <a:gd name="connsiteY0" fmla="*/ 781 h 8706"/>
                <a:gd name="connsiteX1" fmla="*/ 2733 w 9516"/>
                <a:gd name="connsiteY1" fmla="*/ 222 h 8706"/>
                <a:gd name="connsiteX2" fmla="*/ 2642 w 9516"/>
                <a:gd name="connsiteY2" fmla="*/ 0 h 8706"/>
                <a:gd name="connsiteX3" fmla="*/ 1017 w 9516"/>
                <a:gd name="connsiteY3" fmla="*/ 5963 h 8706"/>
                <a:gd name="connsiteX4" fmla="*/ 140 w 9516"/>
                <a:gd name="connsiteY4" fmla="*/ 7096 h 8706"/>
                <a:gd name="connsiteX5" fmla="*/ 0 w 9516"/>
                <a:gd name="connsiteY5" fmla="*/ 7096 h 8706"/>
                <a:gd name="connsiteX6" fmla="*/ 3201 w 9516"/>
                <a:gd name="connsiteY6" fmla="*/ 8706 h 8706"/>
                <a:gd name="connsiteX7" fmla="*/ 2367 w 9516"/>
                <a:gd name="connsiteY7" fmla="*/ 6841 h 8706"/>
                <a:gd name="connsiteX8" fmla="*/ 3114 w 9516"/>
                <a:gd name="connsiteY8" fmla="*/ 4546 h 8706"/>
                <a:gd name="connsiteX9" fmla="*/ 9516 w 9516"/>
                <a:gd name="connsiteY9" fmla="*/ 781 h 8706"/>
                <a:gd name="connsiteX10" fmla="*/ 4001 w 9516"/>
                <a:gd name="connsiteY10" fmla="*/ 781 h 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6" h="8706">
                  <a:moveTo>
                    <a:pt x="4001" y="781"/>
                  </a:moveTo>
                  <a:lnTo>
                    <a:pt x="2733" y="222"/>
                  </a:lnTo>
                  <a:lnTo>
                    <a:pt x="2642" y="0"/>
                  </a:lnTo>
                  <a:lnTo>
                    <a:pt x="1017" y="5963"/>
                  </a:lnTo>
                  <a:lnTo>
                    <a:pt x="140" y="7096"/>
                  </a:lnTo>
                  <a:lnTo>
                    <a:pt x="0" y="7096"/>
                  </a:lnTo>
                  <a:cubicBezTo>
                    <a:pt x="911" y="7573"/>
                    <a:pt x="1948" y="8099"/>
                    <a:pt x="3201" y="8706"/>
                  </a:cubicBezTo>
                  <a:lnTo>
                    <a:pt x="2367" y="6841"/>
                  </a:lnTo>
                  <a:cubicBezTo>
                    <a:pt x="1981" y="5997"/>
                    <a:pt x="2295" y="4980"/>
                    <a:pt x="3114" y="4546"/>
                  </a:cubicBezTo>
                  <a:lnTo>
                    <a:pt x="9516" y="781"/>
                  </a:lnTo>
                  <a:lnTo>
                    <a:pt x="4001" y="78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54" name="Freihandform: Form 153">
              <a:extLst>
                <a:ext uri="{FF2B5EF4-FFF2-40B4-BE49-F238E27FC236}">
                  <a16:creationId xmlns:a16="http://schemas.microsoft.com/office/drawing/2014/main" id="{6F0ADFCB-EA03-4954-6D50-D4EF5456FE8F}"/>
                </a:ext>
              </a:extLst>
            </p:cNvPr>
            <p:cNvSpPr/>
            <p:nvPr/>
          </p:nvSpPr>
          <p:spPr>
            <a:xfrm>
              <a:off x="5084914" y="2378028"/>
              <a:ext cx="4761" cy="6350"/>
            </a:xfrm>
            <a:custGeom>
              <a:avLst/>
              <a:gdLst>
                <a:gd name="connsiteX0" fmla="*/ 598 w 3948"/>
                <a:gd name="connsiteY0" fmla="*/ 0 h 4994"/>
                <a:gd name="connsiteX1" fmla="*/ 193 w 3948"/>
                <a:gd name="connsiteY1" fmla="*/ 3982 h 4994"/>
                <a:gd name="connsiteX2" fmla="*/ 174 w 3948"/>
                <a:gd name="connsiteY2" fmla="*/ 4175 h 4994"/>
                <a:gd name="connsiteX3" fmla="*/ 0 w 3948"/>
                <a:gd name="connsiteY3" fmla="*/ 4994 h 4994"/>
                <a:gd name="connsiteX4" fmla="*/ 0 w 3948"/>
                <a:gd name="connsiteY4" fmla="*/ 4975 h 4994"/>
                <a:gd name="connsiteX5" fmla="*/ 3948 w 3948"/>
                <a:gd name="connsiteY5" fmla="*/ 622 h 4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48" h="4994">
                  <a:moveTo>
                    <a:pt x="598" y="0"/>
                  </a:moveTo>
                  <a:lnTo>
                    <a:pt x="193" y="3982"/>
                  </a:lnTo>
                  <a:lnTo>
                    <a:pt x="174" y="4175"/>
                  </a:lnTo>
                  <a:lnTo>
                    <a:pt x="0" y="4994"/>
                  </a:lnTo>
                  <a:lnTo>
                    <a:pt x="0" y="4975"/>
                  </a:lnTo>
                  <a:lnTo>
                    <a:pt x="3948" y="62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55" name="Freihandform: Form 154">
              <a:extLst>
                <a:ext uri="{FF2B5EF4-FFF2-40B4-BE49-F238E27FC236}">
                  <a16:creationId xmlns:a16="http://schemas.microsoft.com/office/drawing/2014/main" id="{741F759E-18EC-553D-53CD-E917FA3ACE66}"/>
                </a:ext>
              </a:extLst>
            </p:cNvPr>
            <p:cNvSpPr/>
            <p:nvPr/>
          </p:nvSpPr>
          <p:spPr>
            <a:xfrm>
              <a:off x="6265880" y="572972"/>
              <a:ext cx="6349" cy="9525"/>
            </a:xfrm>
            <a:custGeom>
              <a:avLst/>
              <a:gdLst>
                <a:gd name="connsiteX0" fmla="*/ 3143 w 5076"/>
                <a:gd name="connsiteY0" fmla="*/ 6036 h 7033"/>
                <a:gd name="connsiteX1" fmla="*/ 3211 w 5076"/>
                <a:gd name="connsiteY1" fmla="*/ 7033 h 7033"/>
                <a:gd name="connsiteX2" fmla="*/ 5076 w 5076"/>
                <a:gd name="connsiteY2" fmla="*/ 4339 h 7033"/>
                <a:gd name="connsiteX3" fmla="*/ 2319 w 5076"/>
                <a:gd name="connsiteY3" fmla="*/ 0 h 7033"/>
                <a:gd name="connsiteX4" fmla="*/ 0 w 5076"/>
                <a:gd name="connsiteY4" fmla="*/ 680 h 7033"/>
                <a:gd name="connsiteX5" fmla="*/ 2863 w 5076"/>
                <a:gd name="connsiteY5" fmla="*/ 5187 h 7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76" h="7033">
                  <a:moveTo>
                    <a:pt x="3143" y="6036"/>
                  </a:moveTo>
                  <a:lnTo>
                    <a:pt x="3211" y="7033"/>
                  </a:lnTo>
                  <a:lnTo>
                    <a:pt x="5076" y="4339"/>
                  </a:lnTo>
                  <a:lnTo>
                    <a:pt x="2319" y="0"/>
                  </a:lnTo>
                  <a:lnTo>
                    <a:pt x="0" y="680"/>
                  </a:lnTo>
                  <a:lnTo>
                    <a:pt x="2863" y="518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56" name="Freihandform: Form 155">
              <a:extLst>
                <a:ext uri="{FF2B5EF4-FFF2-40B4-BE49-F238E27FC236}">
                  <a16:creationId xmlns:a16="http://schemas.microsoft.com/office/drawing/2014/main" id="{2AAE4800-AD8E-6814-3EFC-666BDFA00EE6}"/>
                </a:ext>
              </a:extLst>
            </p:cNvPr>
            <p:cNvSpPr/>
            <p:nvPr/>
          </p:nvSpPr>
          <p:spPr>
            <a:xfrm>
              <a:off x="6243658" y="584085"/>
              <a:ext cx="1587" cy="3175"/>
            </a:xfrm>
            <a:custGeom>
              <a:avLst/>
              <a:gdLst>
                <a:gd name="connsiteX0" fmla="*/ 1596 w 1595"/>
                <a:gd name="connsiteY0" fmla="*/ 0 h 2424"/>
                <a:gd name="connsiteX1" fmla="*/ 0 w 1595"/>
                <a:gd name="connsiteY1" fmla="*/ 1981 h 2424"/>
                <a:gd name="connsiteX2" fmla="*/ 1596 w 1595"/>
                <a:gd name="connsiteY2" fmla="*/ 2425 h 2424"/>
              </a:gdLst>
              <a:ahLst/>
              <a:cxnLst>
                <a:cxn ang="0">
                  <a:pos x="connsiteX0" y="connsiteY0"/>
                </a:cxn>
                <a:cxn ang="0">
                  <a:pos x="connsiteX1" y="connsiteY1"/>
                </a:cxn>
                <a:cxn ang="0">
                  <a:pos x="connsiteX2" y="connsiteY2"/>
                </a:cxn>
              </a:cxnLst>
              <a:rect l="l" t="t" r="r" b="b"/>
              <a:pathLst>
                <a:path w="1595" h="2424">
                  <a:moveTo>
                    <a:pt x="1596" y="0"/>
                  </a:moveTo>
                  <a:lnTo>
                    <a:pt x="0" y="1981"/>
                  </a:lnTo>
                  <a:lnTo>
                    <a:pt x="1596" y="242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57" name="Freihandform: Form 156">
              <a:extLst>
                <a:ext uri="{FF2B5EF4-FFF2-40B4-BE49-F238E27FC236}">
                  <a16:creationId xmlns:a16="http://schemas.microsoft.com/office/drawing/2014/main" id="{631CCFD4-B7C5-98BD-A0D4-7EB0F28A6096}"/>
                </a:ext>
              </a:extLst>
            </p:cNvPr>
            <p:cNvSpPr/>
            <p:nvPr/>
          </p:nvSpPr>
          <p:spPr>
            <a:xfrm>
              <a:off x="5630952" y="1503283"/>
              <a:ext cx="11111" cy="7937"/>
            </a:xfrm>
            <a:custGeom>
              <a:avLst/>
              <a:gdLst>
                <a:gd name="connsiteX0" fmla="*/ 762 w 7790"/>
                <a:gd name="connsiteY0" fmla="*/ 3452 h 6575"/>
                <a:gd name="connsiteX1" fmla="*/ 1379 w 7790"/>
                <a:gd name="connsiteY1" fmla="*/ 6576 h 6575"/>
                <a:gd name="connsiteX2" fmla="*/ 5944 w 7790"/>
                <a:gd name="connsiteY2" fmla="*/ 3158 h 6575"/>
                <a:gd name="connsiteX3" fmla="*/ 7790 w 7790"/>
                <a:gd name="connsiteY3" fmla="*/ 0 h 6575"/>
                <a:gd name="connsiteX4" fmla="*/ 6735 w 7790"/>
                <a:gd name="connsiteY4" fmla="*/ 964 h 6575"/>
                <a:gd name="connsiteX5" fmla="*/ 5848 w 7790"/>
                <a:gd name="connsiteY5" fmla="*/ 1432 h 6575"/>
                <a:gd name="connsiteX6" fmla="*/ 0 w 7790"/>
                <a:gd name="connsiteY6" fmla="*/ 2502 h 6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0" h="6575">
                  <a:moveTo>
                    <a:pt x="762" y="3452"/>
                  </a:moveTo>
                  <a:lnTo>
                    <a:pt x="1379" y="6576"/>
                  </a:lnTo>
                  <a:lnTo>
                    <a:pt x="5944" y="3158"/>
                  </a:lnTo>
                  <a:lnTo>
                    <a:pt x="7790" y="0"/>
                  </a:lnTo>
                  <a:lnTo>
                    <a:pt x="6735" y="964"/>
                  </a:lnTo>
                  <a:lnTo>
                    <a:pt x="5848" y="1432"/>
                  </a:lnTo>
                  <a:lnTo>
                    <a:pt x="0" y="250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58" name="Freihandform: Form 157">
              <a:extLst>
                <a:ext uri="{FF2B5EF4-FFF2-40B4-BE49-F238E27FC236}">
                  <a16:creationId xmlns:a16="http://schemas.microsoft.com/office/drawing/2014/main" id="{6AC9AE0C-9687-DB3F-50CE-7170875C9AB5}"/>
                </a:ext>
              </a:extLst>
            </p:cNvPr>
            <p:cNvSpPr/>
            <p:nvPr/>
          </p:nvSpPr>
          <p:spPr>
            <a:xfrm>
              <a:off x="5624603" y="1511220"/>
              <a:ext cx="4761" cy="6350"/>
            </a:xfrm>
            <a:custGeom>
              <a:avLst/>
              <a:gdLst>
                <a:gd name="connsiteX0" fmla="*/ 4372 w 4502"/>
                <a:gd name="connsiteY0" fmla="*/ 3481 h 4902"/>
                <a:gd name="connsiteX1" fmla="*/ 3717 w 4502"/>
                <a:gd name="connsiteY1" fmla="*/ 0 h 4902"/>
                <a:gd name="connsiteX2" fmla="*/ 0 w 4502"/>
                <a:gd name="connsiteY2" fmla="*/ 2165 h 4902"/>
                <a:gd name="connsiteX3" fmla="*/ 819 w 4502"/>
                <a:gd name="connsiteY3" fmla="*/ 4903 h 4902"/>
                <a:gd name="connsiteX4" fmla="*/ 4502 w 4502"/>
                <a:gd name="connsiteY4" fmla="*/ 3553 h 4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2" h="4902">
                  <a:moveTo>
                    <a:pt x="4372" y="3481"/>
                  </a:moveTo>
                  <a:lnTo>
                    <a:pt x="3717" y="0"/>
                  </a:lnTo>
                  <a:lnTo>
                    <a:pt x="0" y="2165"/>
                  </a:lnTo>
                  <a:lnTo>
                    <a:pt x="819" y="4903"/>
                  </a:lnTo>
                  <a:lnTo>
                    <a:pt x="4502" y="355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59" name="Freihandform: Form 158">
              <a:extLst>
                <a:ext uri="{FF2B5EF4-FFF2-40B4-BE49-F238E27FC236}">
                  <a16:creationId xmlns:a16="http://schemas.microsoft.com/office/drawing/2014/main" id="{C2629316-7D21-792C-3043-A10FC5534E7C}"/>
                </a:ext>
              </a:extLst>
            </p:cNvPr>
            <p:cNvSpPr/>
            <p:nvPr/>
          </p:nvSpPr>
          <p:spPr>
            <a:xfrm>
              <a:off x="5583332" y="1566785"/>
              <a:ext cx="4761" cy="6350"/>
            </a:xfrm>
            <a:custGeom>
              <a:avLst/>
              <a:gdLst>
                <a:gd name="connsiteX0" fmla="*/ 400 w 4025"/>
                <a:gd name="connsiteY0" fmla="*/ 284 h 4598"/>
                <a:gd name="connsiteX1" fmla="*/ 4025 w 4025"/>
                <a:gd name="connsiteY1" fmla="*/ 4599 h 4598"/>
                <a:gd name="connsiteX2" fmla="*/ 2454 w 4025"/>
                <a:gd name="connsiteY2" fmla="*/ 212 h 4598"/>
                <a:gd name="connsiteX3" fmla="*/ 0 w 4025"/>
                <a:gd name="connsiteY3" fmla="*/ 0 h 4598"/>
              </a:gdLst>
              <a:ahLst/>
              <a:cxnLst>
                <a:cxn ang="0">
                  <a:pos x="connsiteX0" y="connsiteY0"/>
                </a:cxn>
                <a:cxn ang="0">
                  <a:pos x="connsiteX1" y="connsiteY1"/>
                </a:cxn>
                <a:cxn ang="0">
                  <a:pos x="connsiteX2" y="connsiteY2"/>
                </a:cxn>
                <a:cxn ang="0">
                  <a:pos x="connsiteX3" y="connsiteY3"/>
                </a:cxn>
              </a:cxnLst>
              <a:rect l="l" t="t" r="r" b="b"/>
              <a:pathLst>
                <a:path w="4025" h="4598">
                  <a:moveTo>
                    <a:pt x="400" y="284"/>
                  </a:moveTo>
                  <a:lnTo>
                    <a:pt x="4025" y="4599"/>
                  </a:lnTo>
                  <a:lnTo>
                    <a:pt x="2454" y="212"/>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60" name="Freihandform: Form 159">
              <a:extLst>
                <a:ext uri="{FF2B5EF4-FFF2-40B4-BE49-F238E27FC236}">
                  <a16:creationId xmlns:a16="http://schemas.microsoft.com/office/drawing/2014/main" id="{FDB1C1AB-554A-F3B8-82EC-96A4D3A00FA8}"/>
                </a:ext>
              </a:extLst>
            </p:cNvPr>
            <p:cNvSpPr/>
            <p:nvPr/>
          </p:nvSpPr>
          <p:spPr>
            <a:xfrm>
              <a:off x="5613491" y="1506458"/>
              <a:ext cx="7937" cy="15876"/>
            </a:xfrm>
            <a:custGeom>
              <a:avLst/>
              <a:gdLst>
                <a:gd name="connsiteX0" fmla="*/ 1070 w 7313"/>
                <a:gd name="connsiteY0" fmla="*/ 1186 h 12017"/>
                <a:gd name="connsiteX1" fmla="*/ 5221 w 7313"/>
                <a:gd name="connsiteY1" fmla="*/ 7747 h 12017"/>
                <a:gd name="connsiteX2" fmla="*/ 5428 w 7313"/>
                <a:gd name="connsiteY2" fmla="*/ 9188 h 12017"/>
                <a:gd name="connsiteX3" fmla="*/ 4671 w 7313"/>
                <a:gd name="connsiteY3" fmla="*/ 12018 h 12017"/>
                <a:gd name="connsiteX4" fmla="*/ 6739 w 7313"/>
                <a:gd name="connsiteY4" fmla="*/ 11088 h 12017"/>
                <a:gd name="connsiteX5" fmla="*/ 6691 w 7313"/>
                <a:gd name="connsiteY5" fmla="*/ 11025 h 12017"/>
                <a:gd name="connsiteX6" fmla="*/ 4893 w 7313"/>
                <a:gd name="connsiteY6" fmla="*/ 5067 h 12017"/>
                <a:gd name="connsiteX7" fmla="*/ 5737 w 7313"/>
                <a:gd name="connsiteY7" fmla="*/ 2955 h 12017"/>
                <a:gd name="connsiteX8" fmla="*/ 7313 w 7313"/>
                <a:gd name="connsiteY8" fmla="*/ 2058 h 12017"/>
                <a:gd name="connsiteX9" fmla="*/ 5983 w 7313"/>
                <a:gd name="connsiteY9" fmla="*/ 2058 h 12017"/>
                <a:gd name="connsiteX10" fmla="*/ 829 w 7313"/>
                <a:gd name="connsiteY10" fmla="*/ 0 h 12017"/>
                <a:gd name="connsiteX11" fmla="*/ 0 w 7313"/>
                <a:gd name="connsiteY11" fmla="*/ 472 h 12017"/>
                <a:gd name="connsiteX12" fmla="*/ 1070 w 7313"/>
                <a:gd name="connsiteY12" fmla="*/ 1186 h 12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13" h="12017">
                  <a:moveTo>
                    <a:pt x="1070" y="1186"/>
                  </a:moveTo>
                  <a:lnTo>
                    <a:pt x="5221" y="7747"/>
                  </a:lnTo>
                  <a:lnTo>
                    <a:pt x="5428" y="9188"/>
                  </a:lnTo>
                  <a:lnTo>
                    <a:pt x="4671" y="12018"/>
                  </a:lnTo>
                  <a:lnTo>
                    <a:pt x="6739" y="11088"/>
                  </a:lnTo>
                  <a:lnTo>
                    <a:pt x="6691" y="11025"/>
                  </a:lnTo>
                  <a:lnTo>
                    <a:pt x="4893" y="5067"/>
                  </a:lnTo>
                  <a:cubicBezTo>
                    <a:pt x="4667" y="4266"/>
                    <a:pt x="5014" y="3403"/>
                    <a:pt x="5737" y="2955"/>
                  </a:cubicBezTo>
                  <a:lnTo>
                    <a:pt x="7313" y="2058"/>
                  </a:lnTo>
                  <a:lnTo>
                    <a:pt x="5983" y="2058"/>
                  </a:lnTo>
                  <a:lnTo>
                    <a:pt x="829" y="0"/>
                  </a:lnTo>
                  <a:lnTo>
                    <a:pt x="0" y="472"/>
                  </a:lnTo>
                  <a:cubicBezTo>
                    <a:pt x="415" y="578"/>
                    <a:pt x="805" y="800"/>
                    <a:pt x="1070" y="118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61" name="Freihandform: Form 160">
              <a:extLst>
                <a:ext uri="{FF2B5EF4-FFF2-40B4-BE49-F238E27FC236}">
                  <a16:creationId xmlns:a16="http://schemas.microsoft.com/office/drawing/2014/main" id="{F5005530-7222-8ECB-4D3B-CD8BDA042266}"/>
                </a:ext>
              </a:extLst>
            </p:cNvPr>
            <p:cNvSpPr/>
            <p:nvPr/>
          </p:nvSpPr>
          <p:spPr>
            <a:xfrm>
              <a:off x="5689682" y="1317537"/>
              <a:ext cx="46033" cy="22226"/>
            </a:xfrm>
            <a:custGeom>
              <a:avLst/>
              <a:gdLst>
                <a:gd name="connsiteX0" fmla="*/ 5433 w 35769"/>
                <a:gd name="connsiteY0" fmla="*/ 7728 h 17966"/>
                <a:gd name="connsiteX1" fmla="*/ 7805 w 35769"/>
                <a:gd name="connsiteY1" fmla="*/ 5346 h 17966"/>
                <a:gd name="connsiteX2" fmla="*/ 9791 w 35769"/>
                <a:gd name="connsiteY2" fmla="*/ 4965 h 17966"/>
                <a:gd name="connsiteX3" fmla="*/ 10919 w 35769"/>
                <a:gd name="connsiteY3" fmla="*/ 6624 h 17966"/>
                <a:gd name="connsiteX4" fmla="*/ 10919 w 35769"/>
                <a:gd name="connsiteY4" fmla="*/ 8610 h 17966"/>
                <a:gd name="connsiteX5" fmla="*/ 11768 w 35769"/>
                <a:gd name="connsiteY5" fmla="*/ 7400 h 17966"/>
                <a:gd name="connsiteX6" fmla="*/ 13865 w 35769"/>
                <a:gd name="connsiteY6" fmla="*/ 6734 h 17966"/>
                <a:gd name="connsiteX7" fmla="*/ 20223 w 35769"/>
                <a:gd name="connsiteY7" fmla="*/ 9015 h 17966"/>
                <a:gd name="connsiteX8" fmla="*/ 25931 w 35769"/>
                <a:gd name="connsiteY8" fmla="*/ 9612 h 17966"/>
                <a:gd name="connsiteX9" fmla="*/ 26128 w 35769"/>
                <a:gd name="connsiteY9" fmla="*/ 9612 h 17966"/>
                <a:gd name="connsiteX10" fmla="*/ 32053 w 35769"/>
                <a:gd name="connsiteY10" fmla="*/ 10808 h 17966"/>
                <a:gd name="connsiteX11" fmla="*/ 33480 w 35769"/>
                <a:gd name="connsiteY11" fmla="*/ 12225 h 17966"/>
                <a:gd name="connsiteX12" fmla="*/ 34603 w 35769"/>
                <a:gd name="connsiteY12" fmla="*/ 17808 h 17966"/>
                <a:gd name="connsiteX13" fmla="*/ 34719 w 35769"/>
                <a:gd name="connsiteY13" fmla="*/ 17967 h 17966"/>
                <a:gd name="connsiteX14" fmla="*/ 35770 w 35769"/>
                <a:gd name="connsiteY14" fmla="*/ 12674 h 17966"/>
                <a:gd name="connsiteX15" fmla="*/ 34140 w 35769"/>
                <a:gd name="connsiteY15" fmla="*/ 7144 h 17966"/>
                <a:gd name="connsiteX16" fmla="*/ 34232 w 35769"/>
                <a:gd name="connsiteY16" fmla="*/ 6262 h 17966"/>
                <a:gd name="connsiteX17" fmla="*/ 31364 w 35769"/>
                <a:gd name="connsiteY17" fmla="*/ 5457 h 17966"/>
                <a:gd name="connsiteX18" fmla="*/ 25738 w 35769"/>
                <a:gd name="connsiteY18" fmla="*/ 4907 h 17966"/>
                <a:gd name="connsiteX19" fmla="*/ 19370 w 35769"/>
                <a:gd name="connsiteY19" fmla="*/ 5476 h 17966"/>
                <a:gd name="connsiteX20" fmla="*/ 18700 w 35769"/>
                <a:gd name="connsiteY20" fmla="*/ 5389 h 17966"/>
                <a:gd name="connsiteX21" fmla="*/ 12736 w 35769"/>
                <a:gd name="connsiteY21" fmla="*/ 3625 h 17966"/>
                <a:gd name="connsiteX22" fmla="*/ 11488 w 35769"/>
                <a:gd name="connsiteY22" fmla="*/ 1533 h 17966"/>
                <a:gd name="connsiteX23" fmla="*/ 11787 w 35769"/>
                <a:gd name="connsiteY23" fmla="*/ 0 h 17966"/>
                <a:gd name="connsiteX24" fmla="*/ 9550 w 35769"/>
                <a:gd name="connsiteY24" fmla="*/ 1600 h 17966"/>
                <a:gd name="connsiteX25" fmla="*/ 9400 w 35769"/>
                <a:gd name="connsiteY25" fmla="*/ 1697 h 17966"/>
                <a:gd name="connsiteX26" fmla="*/ 4064 w 35769"/>
                <a:gd name="connsiteY26" fmla="*/ 4633 h 17966"/>
                <a:gd name="connsiteX27" fmla="*/ 0 w 35769"/>
                <a:gd name="connsiteY27" fmla="*/ 7236 h 17966"/>
                <a:gd name="connsiteX28" fmla="*/ 5433 w 35769"/>
                <a:gd name="connsiteY28" fmla="*/ 7728 h 17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5769" h="17966">
                  <a:moveTo>
                    <a:pt x="5433" y="7728"/>
                  </a:moveTo>
                  <a:lnTo>
                    <a:pt x="7805" y="5346"/>
                  </a:lnTo>
                  <a:lnTo>
                    <a:pt x="9791" y="4965"/>
                  </a:lnTo>
                  <a:lnTo>
                    <a:pt x="10919" y="6624"/>
                  </a:lnTo>
                  <a:lnTo>
                    <a:pt x="10919" y="8610"/>
                  </a:lnTo>
                  <a:lnTo>
                    <a:pt x="11768" y="7400"/>
                  </a:lnTo>
                  <a:cubicBezTo>
                    <a:pt x="12235" y="6720"/>
                    <a:pt x="13098" y="6440"/>
                    <a:pt x="13865" y="6734"/>
                  </a:cubicBezTo>
                  <a:lnTo>
                    <a:pt x="20223" y="9015"/>
                  </a:lnTo>
                  <a:lnTo>
                    <a:pt x="25931" y="9612"/>
                  </a:lnTo>
                  <a:lnTo>
                    <a:pt x="26128" y="9612"/>
                  </a:lnTo>
                  <a:lnTo>
                    <a:pt x="32053" y="10808"/>
                  </a:lnTo>
                  <a:lnTo>
                    <a:pt x="33480" y="12225"/>
                  </a:lnTo>
                  <a:lnTo>
                    <a:pt x="34603" y="17808"/>
                  </a:lnTo>
                  <a:lnTo>
                    <a:pt x="34719" y="17967"/>
                  </a:lnTo>
                  <a:lnTo>
                    <a:pt x="35770" y="12674"/>
                  </a:lnTo>
                  <a:lnTo>
                    <a:pt x="34140" y="7144"/>
                  </a:lnTo>
                  <a:lnTo>
                    <a:pt x="34232" y="6262"/>
                  </a:lnTo>
                  <a:lnTo>
                    <a:pt x="31364" y="5457"/>
                  </a:lnTo>
                  <a:lnTo>
                    <a:pt x="25738" y="4907"/>
                  </a:lnTo>
                  <a:lnTo>
                    <a:pt x="19370" y="5476"/>
                  </a:lnTo>
                  <a:lnTo>
                    <a:pt x="18700" y="5389"/>
                  </a:lnTo>
                  <a:lnTo>
                    <a:pt x="12736" y="3625"/>
                  </a:lnTo>
                  <a:cubicBezTo>
                    <a:pt x="11849" y="3346"/>
                    <a:pt x="11290" y="2430"/>
                    <a:pt x="11488" y="1533"/>
                  </a:cubicBezTo>
                  <a:lnTo>
                    <a:pt x="11787" y="0"/>
                  </a:lnTo>
                  <a:lnTo>
                    <a:pt x="9550" y="1600"/>
                  </a:lnTo>
                  <a:lnTo>
                    <a:pt x="9400" y="1697"/>
                  </a:lnTo>
                  <a:lnTo>
                    <a:pt x="4064" y="4633"/>
                  </a:lnTo>
                  <a:lnTo>
                    <a:pt x="0" y="7236"/>
                  </a:lnTo>
                  <a:lnTo>
                    <a:pt x="5433" y="772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62" name="Freihandform: Form 161">
              <a:extLst>
                <a:ext uri="{FF2B5EF4-FFF2-40B4-BE49-F238E27FC236}">
                  <a16:creationId xmlns:a16="http://schemas.microsoft.com/office/drawing/2014/main" id="{18BDA24D-C4AD-5C6C-D30A-5CCA0CF8FC34}"/>
                </a:ext>
              </a:extLst>
            </p:cNvPr>
            <p:cNvSpPr/>
            <p:nvPr/>
          </p:nvSpPr>
          <p:spPr>
            <a:xfrm>
              <a:off x="5703969" y="1269911"/>
              <a:ext cx="34921" cy="19051"/>
            </a:xfrm>
            <a:custGeom>
              <a:avLst/>
              <a:gdLst>
                <a:gd name="connsiteX0" fmla="*/ 0 w 27116"/>
                <a:gd name="connsiteY0" fmla="*/ 5693 h 14973"/>
                <a:gd name="connsiteX1" fmla="*/ 1104 w 27116"/>
                <a:gd name="connsiteY1" fmla="*/ 5081 h 14973"/>
                <a:gd name="connsiteX2" fmla="*/ 1292 w 27116"/>
                <a:gd name="connsiteY2" fmla="*/ 5004 h 14973"/>
                <a:gd name="connsiteX3" fmla="*/ 7241 w 27116"/>
                <a:gd name="connsiteY3" fmla="*/ 2622 h 14973"/>
                <a:gd name="connsiteX4" fmla="*/ 9063 w 27116"/>
                <a:gd name="connsiteY4" fmla="*/ 2912 h 14973"/>
                <a:gd name="connsiteX5" fmla="*/ 9714 w 27116"/>
                <a:gd name="connsiteY5" fmla="*/ 4618 h 14973"/>
                <a:gd name="connsiteX6" fmla="*/ 9106 w 27116"/>
                <a:gd name="connsiteY6" fmla="*/ 7935 h 14973"/>
                <a:gd name="connsiteX7" fmla="*/ 14992 w 27116"/>
                <a:gd name="connsiteY7" fmla="*/ 5582 h 14973"/>
                <a:gd name="connsiteX8" fmla="*/ 16159 w 27116"/>
                <a:gd name="connsiteY8" fmla="*/ 5534 h 14973"/>
                <a:gd name="connsiteX9" fmla="*/ 22137 w 27116"/>
                <a:gd name="connsiteY9" fmla="*/ 7337 h 14973"/>
                <a:gd name="connsiteX10" fmla="*/ 23241 w 27116"/>
                <a:gd name="connsiteY10" fmla="*/ 8263 h 14973"/>
                <a:gd name="connsiteX11" fmla="*/ 26191 w 27116"/>
                <a:gd name="connsiteY11" fmla="*/ 14178 h 14973"/>
                <a:gd name="connsiteX12" fmla="*/ 26625 w 27116"/>
                <a:gd name="connsiteY12" fmla="*/ 14973 h 14973"/>
                <a:gd name="connsiteX13" fmla="*/ 26345 w 27116"/>
                <a:gd name="connsiteY13" fmla="*/ 10697 h 14973"/>
                <a:gd name="connsiteX14" fmla="*/ 26938 w 27116"/>
                <a:gd name="connsiteY14" fmla="*/ 4165 h 14973"/>
                <a:gd name="connsiteX15" fmla="*/ 27116 w 27116"/>
                <a:gd name="connsiteY15" fmla="*/ 3678 h 14973"/>
                <a:gd name="connsiteX16" fmla="*/ 26943 w 27116"/>
                <a:gd name="connsiteY16" fmla="*/ 3760 h 14973"/>
                <a:gd name="connsiteX17" fmla="*/ 14486 w 27116"/>
                <a:gd name="connsiteY17" fmla="*/ 3760 h 14973"/>
                <a:gd name="connsiteX18" fmla="*/ 13652 w 27116"/>
                <a:gd name="connsiteY18" fmla="*/ 3567 h 14973"/>
                <a:gd name="connsiteX19" fmla="*/ 7689 w 27116"/>
                <a:gd name="connsiteY19" fmla="*/ 569 h 14973"/>
                <a:gd name="connsiteX20" fmla="*/ 7106 w 27116"/>
                <a:gd name="connsiteY20" fmla="*/ 0 h 14973"/>
                <a:gd name="connsiteX21" fmla="*/ 6474 w 27116"/>
                <a:gd name="connsiteY21" fmla="*/ 1133 h 14973"/>
                <a:gd name="connsiteX22" fmla="*/ 873 w 27116"/>
                <a:gd name="connsiteY22" fmla="*/ 4498 h 14973"/>
                <a:gd name="connsiteX23" fmla="*/ 0 w 27116"/>
                <a:gd name="connsiteY23" fmla="*/ 5693 h 14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116" h="14973">
                  <a:moveTo>
                    <a:pt x="0" y="5693"/>
                  </a:moveTo>
                  <a:lnTo>
                    <a:pt x="1104" y="5081"/>
                  </a:lnTo>
                  <a:lnTo>
                    <a:pt x="1292" y="5004"/>
                  </a:lnTo>
                  <a:lnTo>
                    <a:pt x="7241" y="2622"/>
                  </a:lnTo>
                  <a:lnTo>
                    <a:pt x="9063" y="2912"/>
                  </a:lnTo>
                  <a:lnTo>
                    <a:pt x="9714" y="4618"/>
                  </a:lnTo>
                  <a:lnTo>
                    <a:pt x="9106" y="7935"/>
                  </a:lnTo>
                  <a:lnTo>
                    <a:pt x="14992" y="5582"/>
                  </a:lnTo>
                  <a:lnTo>
                    <a:pt x="16159" y="5534"/>
                  </a:lnTo>
                  <a:lnTo>
                    <a:pt x="22137" y="7337"/>
                  </a:lnTo>
                  <a:lnTo>
                    <a:pt x="23241" y="8263"/>
                  </a:lnTo>
                  <a:lnTo>
                    <a:pt x="26191" y="14178"/>
                  </a:lnTo>
                  <a:lnTo>
                    <a:pt x="26625" y="14973"/>
                  </a:lnTo>
                  <a:cubicBezTo>
                    <a:pt x="26514" y="13826"/>
                    <a:pt x="26461" y="12433"/>
                    <a:pt x="26345" y="10697"/>
                  </a:cubicBezTo>
                  <a:lnTo>
                    <a:pt x="26938" y="4165"/>
                  </a:lnTo>
                  <a:lnTo>
                    <a:pt x="27116" y="3678"/>
                  </a:lnTo>
                  <a:lnTo>
                    <a:pt x="26943" y="3760"/>
                  </a:lnTo>
                  <a:lnTo>
                    <a:pt x="14486" y="3760"/>
                  </a:lnTo>
                  <a:lnTo>
                    <a:pt x="13652" y="3567"/>
                  </a:lnTo>
                  <a:lnTo>
                    <a:pt x="7689" y="569"/>
                  </a:lnTo>
                  <a:cubicBezTo>
                    <a:pt x="7462" y="453"/>
                    <a:pt x="7289" y="222"/>
                    <a:pt x="7106" y="0"/>
                  </a:cubicBezTo>
                  <a:lnTo>
                    <a:pt x="6474" y="1133"/>
                  </a:lnTo>
                  <a:lnTo>
                    <a:pt x="873" y="4498"/>
                  </a:lnTo>
                  <a:lnTo>
                    <a:pt x="0" y="569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63" name="Freihandform: Form 162">
              <a:extLst>
                <a:ext uri="{FF2B5EF4-FFF2-40B4-BE49-F238E27FC236}">
                  <a16:creationId xmlns:a16="http://schemas.microsoft.com/office/drawing/2014/main" id="{8FA9EC9E-3AF1-6116-38D8-4BA8A6329B30}"/>
                </a:ext>
              </a:extLst>
            </p:cNvPr>
            <p:cNvSpPr/>
            <p:nvPr/>
          </p:nvSpPr>
          <p:spPr>
            <a:xfrm>
              <a:off x="5716667" y="1223872"/>
              <a:ext cx="17460" cy="19051"/>
            </a:xfrm>
            <a:custGeom>
              <a:avLst/>
              <a:gdLst>
                <a:gd name="connsiteX0" fmla="*/ 7915 w 13676"/>
                <a:gd name="connsiteY0" fmla="*/ 12548 h 15209"/>
                <a:gd name="connsiteX1" fmla="*/ 13238 w 13676"/>
                <a:gd name="connsiteY1" fmla="*/ 15209 h 15209"/>
                <a:gd name="connsiteX2" fmla="*/ 13676 w 13676"/>
                <a:gd name="connsiteY2" fmla="*/ 15123 h 15209"/>
                <a:gd name="connsiteX3" fmla="*/ 11531 w 13676"/>
                <a:gd name="connsiteY3" fmla="*/ 13941 h 15209"/>
                <a:gd name="connsiteX4" fmla="*/ 10576 w 13676"/>
                <a:gd name="connsiteY4" fmla="*/ 12370 h 15209"/>
                <a:gd name="connsiteX5" fmla="*/ 10576 w 13676"/>
                <a:gd name="connsiteY5" fmla="*/ 5828 h 15209"/>
                <a:gd name="connsiteX6" fmla="*/ 11213 w 13676"/>
                <a:gd name="connsiteY6" fmla="*/ 4440 h 15209"/>
                <a:gd name="connsiteX7" fmla="*/ 12568 w 13676"/>
                <a:gd name="connsiteY7" fmla="*/ 4054 h 15209"/>
                <a:gd name="connsiteX8" fmla="*/ 7405 w 13676"/>
                <a:gd name="connsiteY8" fmla="*/ 1504 h 15209"/>
                <a:gd name="connsiteX9" fmla="*/ 6503 w 13676"/>
                <a:gd name="connsiteY9" fmla="*/ 0 h 15209"/>
                <a:gd name="connsiteX10" fmla="*/ 0 w 13676"/>
                <a:gd name="connsiteY10" fmla="*/ 9193 h 15209"/>
                <a:gd name="connsiteX11" fmla="*/ 2020 w 13676"/>
                <a:gd name="connsiteY11" fmla="*/ 9024 h 15209"/>
                <a:gd name="connsiteX12" fmla="*/ 7915 w 13676"/>
                <a:gd name="connsiteY12" fmla="*/ 12548 h 1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676" h="15209">
                  <a:moveTo>
                    <a:pt x="7915" y="12548"/>
                  </a:moveTo>
                  <a:lnTo>
                    <a:pt x="13238" y="15209"/>
                  </a:lnTo>
                  <a:lnTo>
                    <a:pt x="13676" y="15123"/>
                  </a:lnTo>
                  <a:lnTo>
                    <a:pt x="11531" y="13941"/>
                  </a:lnTo>
                  <a:lnTo>
                    <a:pt x="10576" y="12370"/>
                  </a:lnTo>
                  <a:lnTo>
                    <a:pt x="10576" y="5828"/>
                  </a:lnTo>
                  <a:lnTo>
                    <a:pt x="11213" y="4440"/>
                  </a:lnTo>
                  <a:lnTo>
                    <a:pt x="12568" y="4054"/>
                  </a:lnTo>
                  <a:lnTo>
                    <a:pt x="7405" y="1504"/>
                  </a:lnTo>
                  <a:lnTo>
                    <a:pt x="6503" y="0"/>
                  </a:lnTo>
                  <a:cubicBezTo>
                    <a:pt x="4609" y="2878"/>
                    <a:pt x="2449" y="6079"/>
                    <a:pt x="0" y="9193"/>
                  </a:cubicBezTo>
                  <a:lnTo>
                    <a:pt x="2020" y="9024"/>
                  </a:lnTo>
                  <a:lnTo>
                    <a:pt x="7915" y="1254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64" name="Freihandform: Form 163">
              <a:extLst>
                <a:ext uri="{FF2B5EF4-FFF2-40B4-BE49-F238E27FC236}">
                  <a16:creationId xmlns:a16="http://schemas.microsoft.com/office/drawing/2014/main" id="{DB7F0C47-E53B-9BAC-4F23-77E7D9B353A4}"/>
                </a:ext>
              </a:extLst>
            </p:cNvPr>
            <p:cNvSpPr/>
            <p:nvPr/>
          </p:nvSpPr>
          <p:spPr>
            <a:xfrm>
              <a:off x="5929368" y="2808257"/>
              <a:ext cx="23809" cy="3175"/>
            </a:xfrm>
            <a:custGeom>
              <a:avLst/>
              <a:gdLst>
                <a:gd name="connsiteX0" fmla="*/ 0 w 19369"/>
                <a:gd name="connsiteY0" fmla="*/ 545 h 2613"/>
                <a:gd name="connsiteX1" fmla="*/ 636 w 19369"/>
                <a:gd name="connsiteY1" fmla="*/ 2614 h 2613"/>
                <a:gd name="connsiteX2" fmla="*/ 4734 w 19369"/>
                <a:gd name="connsiteY2" fmla="*/ 1008 h 2613"/>
                <a:gd name="connsiteX3" fmla="*/ 5385 w 19369"/>
                <a:gd name="connsiteY3" fmla="*/ 849 h 2613"/>
                <a:gd name="connsiteX4" fmla="*/ 11960 w 19369"/>
                <a:gd name="connsiteY4" fmla="*/ 849 h 2613"/>
                <a:gd name="connsiteX5" fmla="*/ 12129 w 19369"/>
                <a:gd name="connsiteY5" fmla="*/ 873 h 2613"/>
                <a:gd name="connsiteX6" fmla="*/ 17740 w 19369"/>
                <a:gd name="connsiteY6" fmla="*/ 1418 h 2613"/>
                <a:gd name="connsiteX7" fmla="*/ 19370 w 19369"/>
                <a:gd name="connsiteY7" fmla="*/ 931 h 2613"/>
                <a:gd name="connsiteX8" fmla="*/ 0 w 19369"/>
                <a:gd name="connsiteY8" fmla="*/ 545 h 2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69" h="2613">
                  <a:moveTo>
                    <a:pt x="0" y="545"/>
                  </a:moveTo>
                  <a:lnTo>
                    <a:pt x="636" y="2614"/>
                  </a:lnTo>
                  <a:lnTo>
                    <a:pt x="4734" y="1008"/>
                  </a:lnTo>
                  <a:lnTo>
                    <a:pt x="5385" y="849"/>
                  </a:lnTo>
                  <a:lnTo>
                    <a:pt x="11960" y="849"/>
                  </a:lnTo>
                  <a:lnTo>
                    <a:pt x="12129" y="873"/>
                  </a:lnTo>
                  <a:lnTo>
                    <a:pt x="17740" y="1418"/>
                  </a:lnTo>
                  <a:lnTo>
                    <a:pt x="19370" y="931"/>
                  </a:lnTo>
                  <a:cubicBezTo>
                    <a:pt x="12886" y="160"/>
                    <a:pt x="6421" y="-510"/>
                    <a:pt x="0" y="54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65" name="Freihandform: Form 164">
              <a:extLst>
                <a:ext uri="{FF2B5EF4-FFF2-40B4-BE49-F238E27FC236}">
                  <a16:creationId xmlns:a16="http://schemas.microsoft.com/office/drawing/2014/main" id="{6CF50899-845F-5291-D1DA-1C68774A4DF3}"/>
                </a:ext>
              </a:extLst>
            </p:cNvPr>
            <p:cNvSpPr/>
            <p:nvPr/>
          </p:nvSpPr>
          <p:spPr>
            <a:xfrm>
              <a:off x="6480168" y="5526160"/>
              <a:ext cx="3175" cy="3175"/>
            </a:xfrm>
            <a:custGeom>
              <a:avLst/>
              <a:gdLst>
                <a:gd name="connsiteX0" fmla="*/ 2806 w 2805"/>
                <a:gd name="connsiteY0" fmla="*/ 2246 h 2246"/>
                <a:gd name="connsiteX1" fmla="*/ 2584 w 2805"/>
                <a:gd name="connsiteY1" fmla="*/ 0 h 2246"/>
                <a:gd name="connsiteX2" fmla="*/ 0 w 2805"/>
                <a:gd name="connsiteY2" fmla="*/ 1432 h 2246"/>
              </a:gdLst>
              <a:ahLst/>
              <a:cxnLst>
                <a:cxn ang="0">
                  <a:pos x="connsiteX0" y="connsiteY0"/>
                </a:cxn>
                <a:cxn ang="0">
                  <a:pos x="connsiteX1" y="connsiteY1"/>
                </a:cxn>
                <a:cxn ang="0">
                  <a:pos x="connsiteX2" y="connsiteY2"/>
                </a:cxn>
              </a:cxnLst>
              <a:rect l="l" t="t" r="r" b="b"/>
              <a:pathLst>
                <a:path w="2805" h="2246">
                  <a:moveTo>
                    <a:pt x="2806" y="2246"/>
                  </a:moveTo>
                  <a:lnTo>
                    <a:pt x="2584" y="0"/>
                  </a:lnTo>
                  <a:lnTo>
                    <a:pt x="0" y="143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66" name="Freihandform: Form 165">
              <a:extLst>
                <a:ext uri="{FF2B5EF4-FFF2-40B4-BE49-F238E27FC236}">
                  <a16:creationId xmlns:a16="http://schemas.microsoft.com/office/drawing/2014/main" id="{A36CFB58-AB13-380D-B1D1-1A2C7F3AF252}"/>
                </a:ext>
              </a:extLst>
            </p:cNvPr>
            <p:cNvSpPr/>
            <p:nvPr/>
          </p:nvSpPr>
          <p:spPr>
            <a:xfrm>
              <a:off x="6488105" y="5518222"/>
              <a:ext cx="6349" cy="3175"/>
            </a:xfrm>
            <a:custGeom>
              <a:avLst/>
              <a:gdLst>
                <a:gd name="connsiteX0" fmla="*/ 4763 w 5148"/>
                <a:gd name="connsiteY0" fmla="*/ 617 h 1933"/>
                <a:gd name="connsiteX1" fmla="*/ 5148 w 5148"/>
                <a:gd name="connsiteY1" fmla="*/ 641 h 1933"/>
                <a:gd name="connsiteX2" fmla="*/ 4526 w 5148"/>
                <a:gd name="connsiteY2" fmla="*/ 0 h 1933"/>
                <a:gd name="connsiteX3" fmla="*/ 622 w 5148"/>
                <a:gd name="connsiteY3" fmla="*/ 0 h 1933"/>
                <a:gd name="connsiteX4" fmla="*/ 0 w 5148"/>
                <a:gd name="connsiteY4" fmla="*/ 1933 h 1933"/>
                <a:gd name="connsiteX5" fmla="*/ 4763 w 5148"/>
                <a:gd name="connsiteY5" fmla="*/ 617 h 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8" h="1933">
                  <a:moveTo>
                    <a:pt x="4763" y="617"/>
                  </a:moveTo>
                  <a:cubicBezTo>
                    <a:pt x="4932" y="578"/>
                    <a:pt x="5023" y="641"/>
                    <a:pt x="5148" y="641"/>
                  </a:cubicBezTo>
                  <a:lnTo>
                    <a:pt x="4526" y="0"/>
                  </a:lnTo>
                  <a:lnTo>
                    <a:pt x="622" y="0"/>
                  </a:lnTo>
                  <a:lnTo>
                    <a:pt x="0" y="1933"/>
                  </a:lnTo>
                  <a:lnTo>
                    <a:pt x="4763" y="61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67" name="Freihandform: Form 166">
              <a:extLst>
                <a:ext uri="{FF2B5EF4-FFF2-40B4-BE49-F238E27FC236}">
                  <a16:creationId xmlns:a16="http://schemas.microsoft.com/office/drawing/2014/main" id="{2FAB9A89-4788-5D43-759A-3341175DC6F2}"/>
                </a:ext>
              </a:extLst>
            </p:cNvPr>
            <p:cNvSpPr/>
            <p:nvPr/>
          </p:nvSpPr>
          <p:spPr>
            <a:xfrm>
              <a:off x="3013460" y="5300726"/>
              <a:ext cx="3175" cy="3175"/>
            </a:xfrm>
            <a:custGeom>
              <a:avLst/>
              <a:gdLst>
                <a:gd name="connsiteX0" fmla="*/ 1417 w 1417"/>
                <a:gd name="connsiteY0" fmla="*/ 0 h 2824"/>
                <a:gd name="connsiteX1" fmla="*/ 0 w 1417"/>
                <a:gd name="connsiteY1" fmla="*/ 578 h 2824"/>
                <a:gd name="connsiteX2" fmla="*/ 1417 w 1417"/>
                <a:gd name="connsiteY2" fmla="*/ 2825 h 2824"/>
              </a:gdLst>
              <a:ahLst/>
              <a:cxnLst>
                <a:cxn ang="0">
                  <a:pos x="connsiteX0" y="connsiteY0"/>
                </a:cxn>
                <a:cxn ang="0">
                  <a:pos x="connsiteX1" y="connsiteY1"/>
                </a:cxn>
                <a:cxn ang="0">
                  <a:pos x="connsiteX2" y="connsiteY2"/>
                </a:cxn>
              </a:cxnLst>
              <a:rect l="l" t="t" r="r" b="b"/>
              <a:pathLst>
                <a:path w="1417" h="2824">
                  <a:moveTo>
                    <a:pt x="1417" y="0"/>
                  </a:moveTo>
                  <a:lnTo>
                    <a:pt x="0" y="578"/>
                  </a:lnTo>
                  <a:lnTo>
                    <a:pt x="1417" y="282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68" name="Freihandform: Form 167">
              <a:extLst>
                <a:ext uri="{FF2B5EF4-FFF2-40B4-BE49-F238E27FC236}">
                  <a16:creationId xmlns:a16="http://schemas.microsoft.com/office/drawing/2014/main" id="{CA5534E4-9CE4-D439-4A62-5CE1256A8811}"/>
                </a:ext>
              </a:extLst>
            </p:cNvPr>
            <p:cNvSpPr/>
            <p:nvPr/>
          </p:nvSpPr>
          <p:spPr>
            <a:xfrm>
              <a:off x="3907122" y="4595850"/>
              <a:ext cx="20635" cy="9525"/>
            </a:xfrm>
            <a:custGeom>
              <a:avLst/>
              <a:gdLst>
                <a:gd name="connsiteX0" fmla="*/ 10726 w 16293"/>
                <a:gd name="connsiteY0" fmla="*/ 7351 h 7351"/>
                <a:gd name="connsiteX1" fmla="*/ 15426 w 16293"/>
                <a:gd name="connsiteY1" fmla="*/ 4040 h 7351"/>
                <a:gd name="connsiteX2" fmla="*/ 16294 w 16293"/>
                <a:gd name="connsiteY2" fmla="*/ 916 h 7351"/>
                <a:gd name="connsiteX3" fmla="*/ 12582 w 16293"/>
                <a:gd name="connsiteY3" fmla="*/ 1605 h 7351"/>
                <a:gd name="connsiteX4" fmla="*/ 11734 w 16293"/>
                <a:gd name="connsiteY4" fmla="*/ 1538 h 7351"/>
                <a:gd name="connsiteX5" fmla="*/ 6503 w 16293"/>
                <a:gd name="connsiteY5" fmla="*/ 0 h 7351"/>
                <a:gd name="connsiteX6" fmla="*/ 617 w 16293"/>
                <a:gd name="connsiteY6" fmla="*/ 3210 h 7351"/>
                <a:gd name="connsiteX7" fmla="*/ 0 w 16293"/>
                <a:gd name="connsiteY7" fmla="*/ 3278 h 7351"/>
                <a:gd name="connsiteX8" fmla="*/ 5158 w 16293"/>
                <a:gd name="connsiteY8" fmla="*/ 5823 h 7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93" h="7351">
                  <a:moveTo>
                    <a:pt x="10726" y="7351"/>
                  </a:moveTo>
                  <a:lnTo>
                    <a:pt x="15426" y="4040"/>
                  </a:lnTo>
                  <a:lnTo>
                    <a:pt x="16294" y="916"/>
                  </a:lnTo>
                  <a:lnTo>
                    <a:pt x="12582" y="1605"/>
                  </a:lnTo>
                  <a:lnTo>
                    <a:pt x="11734" y="1538"/>
                  </a:lnTo>
                  <a:lnTo>
                    <a:pt x="6503" y="0"/>
                  </a:lnTo>
                  <a:lnTo>
                    <a:pt x="617" y="3210"/>
                  </a:lnTo>
                  <a:lnTo>
                    <a:pt x="0" y="3278"/>
                  </a:lnTo>
                  <a:lnTo>
                    <a:pt x="5158" y="582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69" name="Freihandform: Form 168">
              <a:extLst>
                <a:ext uri="{FF2B5EF4-FFF2-40B4-BE49-F238E27FC236}">
                  <a16:creationId xmlns:a16="http://schemas.microsoft.com/office/drawing/2014/main" id="{1931A772-5AE7-2F34-05B4-89B362BEFECD}"/>
                </a:ext>
              </a:extLst>
            </p:cNvPr>
            <p:cNvSpPr/>
            <p:nvPr/>
          </p:nvSpPr>
          <p:spPr>
            <a:xfrm>
              <a:off x="5111898" y="2928911"/>
              <a:ext cx="1588" cy="1587"/>
            </a:xfrm>
            <a:custGeom>
              <a:avLst/>
              <a:gdLst>
                <a:gd name="connsiteX0" fmla="*/ 1302 w 1301"/>
                <a:gd name="connsiteY0" fmla="*/ 1046 h 1388"/>
                <a:gd name="connsiteX1" fmla="*/ 1138 w 1301"/>
                <a:gd name="connsiteY1" fmla="*/ 0 h 1388"/>
                <a:gd name="connsiteX2" fmla="*/ 0 w 1301"/>
                <a:gd name="connsiteY2" fmla="*/ 1388 h 1388"/>
              </a:gdLst>
              <a:ahLst/>
              <a:cxnLst>
                <a:cxn ang="0">
                  <a:pos x="connsiteX0" y="connsiteY0"/>
                </a:cxn>
                <a:cxn ang="0">
                  <a:pos x="connsiteX1" y="connsiteY1"/>
                </a:cxn>
                <a:cxn ang="0">
                  <a:pos x="connsiteX2" y="connsiteY2"/>
                </a:cxn>
              </a:cxnLst>
              <a:rect l="l" t="t" r="r" b="b"/>
              <a:pathLst>
                <a:path w="1301" h="1388">
                  <a:moveTo>
                    <a:pt x="1302" y="1046"/>
                  </a:moveTo>
                  <a:lnTo>
                    <a:pt x="1138" y="0"/>
                  </a:lnTo>
                  <a:lnTo>
                    <a:pt x="0" y="138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0" name="Freihandform: Form 169">
              <a:extLst>
                <a:ext uri="{FF2B5EF4-FFF2-40B4-BE49-F238E27FC236}">
                  <a16:creationId xmlns:a16="http://schemas.microsoft.com/office/drawing/2014/main" id="{6D935D20-90A2-9C62-9BA5-40B5EA4146CA}"/>
                </a:ext>
              </a:extLst>
            </p:cNvPr>
            <p:cNvSpPr/>
            <p:nvPr/>
          </p:nvSpPr>
          <p:spPr>
            <a:xfrm>
              <a:off x="3743627" y="4433918"/>
              <a:ext cx="26985" cy="15876"/>
            </a:xfrm>
            <a:custGeom>
              <a:avLst/>
              <a:gdLst>
                <a:gd name="connsiteX0" fmla="*/ 4724 w 20753"/>
                <a:gd name="connsiteY0" fmla="*/ 8576 h 11468"/>
                <a:gd name="connsiteX1" fmla="*/ 9820 w 20753"/>
                <a:gd name="connsiteY1" fmla="*/ 8576 h 11468"/>
                <a:gd name="connsiteX2" fmla="*/ 10634 w 20753"/>
                <a:gd name="connsiteY2" fmla="*/ 8774 h 11468"/>
                <a:gd name="connsiteX3" fmla="*/ 16125 w 20753"/>
                <a:gd name="connsiteY3" fmla="*/ 11468 h 11468"/>
                <a:gd name="connsiteX4" fmla="*/ 20753 w 20753"/>
                <a:gd name="connsiteY4" fmla="*/ 11093 h 11468"/>
                <a:gd name="connsiteX5" fmla="*/ 15204 w 20753"/>
                <a:gd name="connsiteY5" fmla="*/ 8581 h 11468"/>
                <a:gd name="connsiteX6" fmla="*/ 9463 w 20753"/>
                <a:gd name="connsiteY6" fmla="*/ 7395 h 11468"/>
                <a:gd name="connsiteX7" fmla="*/ 8104 w 20753"/>
                <a:gd name="connsiteY7" fmla="*/ 6262 h 11468"/>
                <a:gd name="connsiteX8" fmla="*/ 8378 w 20753"/>
                <a:gd name="connsiteY8" fmla="*/ 4512 h 11468"/>
                <a:gd name="connsiteX9" fmla="*/ 11979 w 20753"/>
                <a:gd name="connsiteY9" fmla="*/ 0 h 11468"/>
                <a:gd name="connsiteX10" fmla="*/ 3799 w 20753"/>
                <a:gd name="connsiteY10" fmla="*/ 2015 h 11468"/>
                <a:gd name="connsiteX11" fmla="*/ 3625 w 20753"/>
                <a:gd name="connsiteY11" fmla="*/ 2049 h 11468"/>
                <a:gd name="connsiteX12" fmla="*/ 0 w 20753"/>
                <a:gd name="connsiteY12" fmla="*/ 2791 h 11468"/>
                <a:gd name="connsiteX13" fmla="*/ 4724 w 20753"/>
                <a:gd name="connsiteY13" fmla="*/ 8576 h 1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753" h="11468">
                  <a:moveTo>
                    <a:pt x="4724" y="8576"/>
                  </a:moveTo>
                  <a:lnTo>
                    <a:pt x="9820" y="8576"/>
                  </a:lnTo>
                  <a:lnTo>
                    <a:pt x="10634" y="8774"/>
                  </a:lnTo>
                  <a:lnTo>
                    <a:pt x="16125" y="11468"/>
                  </a:lnTo>
                  <a:lnTo>
                    <a:pt x="20753" y="11093"/>
                  </a:lnTo>
                  <a:lnTo>
                    <a:pt x="15204" y="8581"/>
                  </a:lnTo>
                  <a:lnTo>
                    <a:pt x="9463" y="7395"/>
                  </a:lnTo>
                  <a:lnTo>
                    <a:pt x="8104" y="6262"/>
                  </a:lnTo>
                  <a:lnTo>
                    <a:pt x="8378" y="4512"/>
                  </a:lnTo>
                  <a:lnTo>
                    <a:pt x="11979" y="0"/>
                  </a:lnTo>
                  <a:cubicBezTo>
                    <a:pt x="8788" y="415"/>
                    <a:pt x="5809" y="1022"/>
                    <a:pt x="3799" y="2015"/>
                  </a:cubicBezTo>
                  <a:lnTo>
                    <a:pt x="3625" y="2049"/>
                  </a:lnTo>
                  <a:lnTo>
                    <a:pt x="0" y="2791"/>
                  </a:lnTo>
                  <a:lnTo>
                    <a:pt x="4724" y="857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1" name="Freihandform: Form 170">
              <a:extLst>
                <a:ext uri="{FF2B5EF4-FFF2-40B4-BE49-F238E27FC236}">
                  <a16:creationId xmlns:a16="http://schemas.microsoft.com/office/drawing/2014/main" id="{C57D1C30-4558-ABB2-1CB5-35D149E55DE6}"/>
                </a:ext>
              </a:extLst>
            </p:cNvPr>
            <p:cNvSpPr/>
            <p:nvPr/>
          </p:nvSpPr>
          <p:spPr>
            <a:xfrm>
              <a:off x="2962666" y="5599188"/>
              <a:ext cx="6349" cy="11112"/>
            </a:xfrm>
            <a:custGeom>
              <a:avLst/>
              <a:gdLst>
                <a:gd name="connsiteX0" fmla="*/ 4213 w 5215"/>
                <a:gd name="connsiteY0" fmla="*/ 0 h 9246"/>
                <a:gd name="connsiteX1" fmla="*/ 0 w 5215"/>
                <a:gd name="connsiteY1" fmla="*/ 7959 h 9246"/>
                <a:gd name="connsiteX2" fmla="*/ 916 w 5215"/>
                <a:gd name="connsiteY2" fmla="*/ 8557 h 9246"/>
                <a:gd name="connsiteX3" fmla="*/ 1427 w 5215"/>
                <a:gd name="connsiteY3" fmla="*/ 9246 h 9246"/>
                <a:gd name="connsiteX4" fmla="*/ 5216 w 5215"/>
                <a:gd name="connsiteY4" fmla="*/ 5476 h 9246"/>
                <a:gd name="connsiteX5" fmla="*/ 4213 w 5215"/>
                <a:gd name="connsiteY5" fmla="*/ 448 h 9246"/>
                <a:gd name="connsiteX6" fmla="*/ 4213 w 5215"/>
                <a:gd name="connsiteY6" fmla="*/ 0 h 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15" h="9246">
                  <a:moveTo>
                    <a:pt x="4213" y="0"/>
                  </a:moveTo>
                  <a:cubicBezTo>
                    <a:pt x="3408" y="1904"/>
                    <a:pt x="3109" y="3302"/>
                    <a:pt x="0" y="7959"/>
                  </a:cubicBezTo>
                  <a:cubicBezTo>
                    <a:pt x="342" y="8070"/>
                    <a:pt x="665" y="8253"/>
                    <a:pt x="916" y="8557"/>
                  </a:cubicBezTo>
                  <a:lnTo>
                    <a:pt x="1427" y="9246"/>
                  </a:lnTo>
                  <a:lnTo>
                    <a:pt x="5216" y="5476"/>
                  </a:lnTo>
                  <a:lnTo>
                    <a:pt x="4213" y="448"/>
                  </a:lnTo>
                  <a:lnTo>
                    <a:pt x="4213"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2" name="Freihandform: Form 171">
              <a:extLst>
                <a:ext uri="{FF2B5EF4-FFF2-40B4-BE49-F238E27FC236}">
                  <a16:creationId xmlns:a16="http://schemas.microsoft.com/office/drawing/2014/main" id="{215D1668-7DF2-340D-429B-4F8BC512FCB1}"/>
                </a:ext>
              </a:extLst>
            </p:cNvPr>
            <p:cNvSpPr/>
            <p:nvPr/>
          </p:nvSpPr>
          <p:spPr>
            <a:xfrm>
              <a:off x="7740501" y="4672053"/>
              <a:ext cx="3175" cy="7937"/>
            </a:xfrm>
            <a:custGeom>
              <a:avLst/>
              <a:gdLst>
                <a:gd name="connsiteX0" fmla="*/ 2825 w 2824"/>
                <a:gd name="connsiteY0" fmla="*/ 1012 h 6599"/>
                <a:gd name="connsiteX1" fmla="*/ 2025 w 2824"/>
                <a:gd name="connsiteY1" fmla="*/ 0 h 6599"/>
                <a:gd name="connsiteX2" fmla="*/ 2025 w 2824"/>
                <a:gd name="connsiteY2" fmla="*/ 766 h 6599"/>
                <a:gd name="connsiteX3" fmla="*/ 1899 w 2824"/>
                <a:gd name="connsiteY3" fmla="*/ 1379 h 6599"/>
                <a:gd name="connsiteX4" fmla="*/ 0 w 2824"/>
                <a:gd name="connsiteY4" fmla="*/ 6600 h 6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4" h="6599">
                  <a:moveTo>
                    <a:pt x="2825" y="1012"/>
                  </a:moveTo>
                  <a:lnTo>
                    <a:pt x="2025" y="0"/>
                  </a:lnTo>
                  <a:lnTo>
                    <a:pt x="2025" y="766"/>
                  </a:lnTo>
                  <a:lnTo>
                    <a:pt x="1899" y="1379"/>
                  </a:lnTo>
                  <a:lnTo>
                    <a:pt x="0" y="660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3" name="Freihandform: Form 172">
              <a:extLst>
                <a:ext uri="{FF2B5EF4-FFF2-40B4-BE49-F238E27FC236}">
                  <a16:creationId xmlns:a16="http://schemas.microsoft.com/office/drawing/2014/main" id="{DBB8173C-DFA8-CD36-A99C-87957862EE73}"/>
                </a:ext>
              </a:extLst>
            </p:cNvPr>
            <p:cNvSpPr/>
            <p:nvPr/>
          </p:nvSpPr>
          <p:spPr>
            <a:xfrm>
              <a:off x="7146843" y="6005603"/>
              <a:ext cx="0" cy="0"/>
            </a:xfrm>
            <a:custGeom>
              <a:avLst/>
              <a:gdLst>
                <a:gd name="connsiteX0" fmla="*/ 164 w 163"/>
                <a:gd name="connsiteY0" fmla="*/ 53 h 87"/>
                <a:gd name="connsiteX1" fmla="*/ 0 w 163"/>
                <a:gd name="connsiteY1" fmla="*/ 0 h 87"/>
                <a:gd name="connsiteX2" fmla="*/ 34 w 163"/>
                <a:gd name="connsiteY2" fmla="*/ 87 h 87"/>
              </a:gdLst>
              <a:ahLst/>
              <a:cxnLst>
                <a:cxn ang="0">
                  <a:pos x="connsiteX0" y="connsiteY0"/>
                </a:cxn>
                <a:cxn ang="0">
                  <a:pos x="connsiteX1" y="connsiteY1"/>
                </a:cxn>
                <a:cxn ang="0">
                  <a:pos x="connsiteX2" y="connsiteY2"/>
                </a:cxn>
              </a:cxnLst>
              <a:rect l="l" t="t" r="r" b="b"/>
              <a:pathLst>
                <a:path w="163" h="87">
                  <a:moveTo>
                    <a:pt x="164" y="53"/>
                  </a:moveTo>
                  <a:lnTo>
                    <a:pt x="0" y="0"/>
                  </a:lnTo>
                  <a:lnTo>
                    <a:pt x="34" y="8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4" name="Freihandform: Form 173">
              <a:extLst>
                <a:ext uri="{FF2B5EF4-FFF2-40B4-BE49-F238E27FC236}">
                  <a16:creationId xmlns:a16="http://schemas.microsoft.com/office/drawing/2014/main" id="{E5261DA9-1EB3-983A-76D4-FD731B1354D7}"/>
                </a:ext>
              </a:extLst>
            </p:cNvPr>
            <p:cNvSpPr/>
            <p:nvPr/>
          </p:nvSpPr>
          <p:spPr>
            <a:xfrm>
              <a:off x="7665897" y="4887961"/>
              <a:ext cx="4761" cy="4762"/>
            </a:xfrm>
            <a:custGeom>
              <a:avLst/>
              <a:gdLst>
                <a:gd name="connsiteX0" fmla="*/ 0 w 3143"/>
                <a:gd name="connsiteY0" fmla="*/ 1967 h 3953"/>
                <a:gd name="connsiteX1" fmla="*/ 907 w 3143"/>
                <a:gd name="connsiteY1" fmla="*/ 3953 h 3953"/>
                <a:gd name="connsiteX2" fmla="*/ 3143 w 3143"/>
                <a:gd name="connsiteY2" fmla="*/ 0 h 3953"/>
                <a:gd name="connsiteX3" fmla="*/ 0 w 3143"/>
                <a:gd name="connsiteY3" fmla="*/ 1967 h 3953"/>
              </a:gdLst>
              <a:ahLst/>
              <a:cxnLst>
                <a:cxn ang="0">
                  <a:pos x="connsiteX0" y="connsiteY0"/>
                </a:cxn>
                <a:cxn ang="0">
                  <a:pos x="connsiteX1" y="connsiteY1"/>
                </a:cxn>
                <a:cxn ang="0">
                  <a:pos x="connsiteX2" y="connsiteY2"/>
                </a:cxn>
                <a:cxn ang="0">
                  <a:pos x="connsiteX3" y="connsiteY3"/>
                </a:cxn>
              </a:cxnLst>
              <a:rect l="l" t="t" r="r" b="b"/>
              <a:pathLst>
                <a:path w="3143" h="3953">
                  <a:moveTo>
                    <a:pt x="0" y="1967"/>
                  </a:moveTo>
                  <a:lnTo>
                    <a:pt x="907" y="3953"/>
                  </a:lnTo>
                  <a:cubicBezTo>
                    <a:pt x="1572" y="2497"/>
                    <a:pt x="2319" y="1190"/>
                    <a:pt x="3143" y="0"/>
                  </a:cubicBezTo>
                  <a:lnTo>
                    <a:pt x="0" y="196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5" name="Freihandform: Form 174">
              <a:extLst>
                <a:ext uri="{FF2B5EF4-FFF2-40B4-BE49-F238E27FC236}">
                  <a16:creationId xmlns:a16="http://schemas.microsoft.com/office/drawing/2014/main" id="{7387CB53-326B-DF8E-D8A9-361521AAD81E}"/>
                </a:ext>
              </a:extLst>
            </p:cNvPr>
            <p:cNvSpPr/>
            <p:nvPr/>
          </p:nvSpPr>
          <p:spPr>
            <a:xfrm>
              <a:off x="7210336" y="5761119"/>
              <a:ext cx="68255" cy="38101"/>
            </a:xfrm>
            <a:custGeom>
              <a:avLst/>
              <a:gdLst>
                <a:gd name="connsiteX0" fmla="*/ 5452 w 53230"/>
                <a:gd name="connsiteY0" fmla="*/ 5925 h 28678"/>
                <a:gd name="connsiteX1" fmla="*/ 6214 w 53230"/>
                <a:gd name="connsiteY1" fmla="*/ 6214 h 28678"/>
                <a:gd name="connsiteX2" fmla="*/ 11941 w 53230"/>
                <a:gd name="connsiteY2" fmla="*/ 9632 h 28678"/>
                <a:gd name="connsiteX3" fmla="*/ 17904 w 53230"/>
                <a:gd name="connsiteY3" fmla="*/ 11261 h 28678"/>
                <a:gd name="connsiteX4" fmla="*/ 23554 w 53230"/>
                <a:gd name="connsiteY4" fmla="*/ 10683 h 28678"/>
                <a:gd name="connsiteX5" fmla="*/ 24070 w 53230"/>
                <a:gd name="connsiteY5" fmla="*/ 10721 h 28678"/>
                <a:gd name="connsiteX6" fmla="*/ 30014 w 53230"/>
                <a:gd name="connsiteY6" fmla="*/ 11931 h 28678"/>
                <a:gd name="connsiteX7" fmla="*/ 30930 w 53230"/>
                <a:gd name="connsiteY7" fmla="*/ 12423 h 28678"/>
                <a:gd name="connsiteX8" fmla="*/ 36883 w 53230"/>
                <a:gd name="connsiteY8" fmla="*/ 18362 h 28678"/>
                <a:gd name="connsiteX9" fmla="*/ 42798 w 53230"/>
                <a:gd name="connsiteY9" fmla="*/ 23675 h 28678"/>
                <a:gd name="connsiteX10" fmla="*/ 48299 w 53230"/>
                <a:gd name="connsiteY10" fmla="*/ 28679 h 28678"/>
                <a:gd name="connsiteX11" fmla="*/ 48877 w 53230"/>
                <a:gd name="connsiteY11" fmla="*/ 28298 h 28678"/>
                <a:gd name="connsiteX12" fmla="*/ 48993 w 53230"/>
                <a:gd name="connsiteY12" fmla="*/ 28230 h 28678"/>
                <a:gd name="connsiteX13" fmla="*/ 53230 w 53230"/>
                <a:gd name="connsiteY13" fmla="*/ 25641 h 28678"/>
                <a:gd name="connsiteX14" fmla="*/ 31716 w 53230"/>
                <a:gd name="connsiteY14" fmla="*/ 8128 h 28678"/>
                <a:gd name="connsiteX15" fmla="*/ 26181 w 53230"/>
                <a:gd name="connsiteY15" fmla="*/ 4816 h 28678"/>
                <a:gd name="connsiteX16" fmla="*/ 20141 w 53230"/>
                <a:gd name="connsiteY16" fmla="*/ 4816 h 28678"/>
                <a:gd name="connsiteX17" fmla="*/ 19331 w 53230"/>
                <a:gd name="connsiteY17" fmla="*/ 4580 h 28678"/>
                <a:gd name="connsiteX18" fmla="*/ 13435 w 53230"/>
                <a:gd name="connsiteY18" fmla="*/ 1663 h 28678"/>
                <a:gd name="connsiteX19" fmla="*/ 9251 w 53230"/>
                <a:gd name="connsiteY19" fmla="*/ 0 h 28678"/>
                <a:gd name="connsiteX20" fmla="*/ 7544 w 53230"/>
                <a:gd name="connsiteY20" fmla="*/ 4262 h 28678"/>
                <a:gd name="connsiteX21" fmla="*/ 5872 w 53230"/>
                <a:gd name="connsiteY21" fmla="*/ 5419 h 28678"/>
                <a:gd name="connsiteX22" fmla="*/ 0 w 53230"/>
                <a:gd name="connsiteY22" fmla="*/ 5419 h 28678"/>
                <a:gd name="connsiteX23" fmla="*/ 5452 w 53230"/>
                <a:gd name="connsiteY23" fmla="*/ 5925 h 2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230" h="28678">
                  <a:moveTo>
                    <a:pt x="5452" y="5925"/>
                  </a:moveTo>
                  <a:lnTo>
                    <a:pt x="6214" y="6214"/>
                  </a:lnTo>
                  <a:lnTo>
                    <a:pt x="11941" y="9632"/>
                  </a:lnTo>
                  <a:lnTo>
                    <a:pt x="17904" y="11261"/>
                  </a:lnTo>
                  <a:lnTo>
                    <a:pt x="23554" y="10683"/>
                  </a:lnTo>
                  <a:lnTo>
                    <a:pt x="24070" y="10721"/>
                  </a:lnTo>
                  <a:lnTo>
                    <a:pt x="30014" y="11931"/>
                  </a:lnTo>
                  <a:lnTo>
                    <a:pt x="30930" y="12423"/>
                  </a:lnTo>
                  <a:lnTo>
                    <a:pt x="36883" y="18362"/>
                  </a:lnTo>
                  <a:lnTo>
                    <a:pt x="42798" y="23675"/>
                  </a:lnTo>
                  <a:lnTo>
                    <a:pt x="48299" y="28679"/>
                  </a:lnTo>
                  <a:lnTo>
                    <a:pt x="48877" y="28298"/>
                  </a:lnTo>
                  <a:lnTo>
                    <a:pt x="48993" y="28230"/>
                  </a:lnTo>
                  <a:lnTo>
                    <a:pt x="53230" y="25641"/>
                  </a:lnTo>
                  <a:cubicBezTo>
                    <a:pt x="47301" y="18984"/>
                    <a:pt x="38923" y="13677"/>
                    <a:pt x="31716" y="8128"/>
                  </a:cubicBezTo>
                  <a:lnTo>
                    <a:pt x="26181" y="4816"/>
                  </a:lnTo>
                  <a:lnTo>
                    <a:pt x="20141" y="4816"/>
                  </a:lnTo>
                  <a:lnTo>
                    <a:pt x="19331" y="4580"/>
                  </a:lnTo>
                  <a:lnTo>
                    <a:pt x="13435" y="1663"/>
                  </a:lnTo>
                  <a:lnTo>
                    <a:pt x="9251" y="0"/>
                  </a:lnTo>
                  <a:lnTo>
                    <a:pt x="7544" y="4262"/>
                  </a:lnTo>
                  <a:lnTo>
                    <a:pt x="5872" y="5419"/>
                  </a:lnTo>
                  <a:lnTo>
                    <a:pt x="0" y="5419"/>
                  </a:lnTo>
                  <a:lnTo>
                    <a:pt x="5452" y="592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6" name="Freihandform: Form 175">
              <a:extLst>
                <a:ext uri="{FF2B5EF4-FFF2-40B4-BE49-F238E27FC236}">
                  <a16:creationId xmlns:a16="http://schemas.microsoft.com/office/drawing/2014/main" id="{B2BBCB15-E0F8-FCF7-6EDD-E21DFF5835AC}"/>
                </a:ext>
              </a:extLst>
            </p:cNvPr>
            <p:cNvSpPr/>
            <p:nvPr/>
          </p:nvSpPr>
          <p:spPr>
            <a:xfrm>
              <a:off x="7142081" y="5816683"/>
              <a:ext cx="52381" cy="33339"/>
            </a:xfrm>
            <a:custGeom>
              <a:avLst/>
              <a:gdLst>
                <a:gd name="connsiteX0" fmla="*/ 366 w 40272"/>
                <a:gd name="connsiteY0" fmla="*/ 4218 h 26335"/>
                <a:gd name="connsiteX1" fmla="*/ 940 w 40272"/>
                <a:gd name="connsiteY1" fmla="*/ 9574 h 26335"/>
                <a:gd name="connsiteX2" fmla="*/ 5872 w 40272"/>
                <a:gd name="connsiteY2" fmla="*/ 15060 h 26335"/>
                <a:gd name="connsiteX3" fmla="*/ 6036 w 40272"/>
                <a:gd name="connsiteY3" fmla="*/ 15248 h 26335"/>
                <a:gd name="connsiteX4" fmla="*/ 10109 w 40272"/>
                <a:gd name="connsiteY4" fmla="*/ 21115 h 26335"/>
                <a:gd name="connsiteX5" fmla="*/ 13416 w 40272"/>
                <a:gd name="connsiteY5" fmla="*/ 24827 h 26335"/>
                <a:gd name="connsiteX6" fmla="*/ 18140 w 40272"/>
                <a:gd name="connsiteY6" fmla="*/ 22927 h 26335"/>
                <a:gd name="connsiteX7" fmla="*/ 19288 w 40272"/>
                <a:gd name="connsiteY7" fmla="*/ 22831 h 26335"/>
                <a:gd name="connsiteX8" fmla="*/ 25772 w 40272"/>
                <a:gd name="connsiteY8" fmla="*/ 24629 h 26335"/>
                <a:gd name="connsiteX9" fmla="*/ 31581 w 40272"/>
                <a:gd name="connsiteY9" fmla="*/ 25781 h 26335"/>
                <a:gd name="connsiteX10" fmla="*/ 36902 w 40272"/>
                <a:gd name="connsiteY10" fmla="*/ 26336 h 26335"/>
                <a:gd name="connsiteX11" fmla="*/ 40272 w 40272"/>
                <a:gd name="connsiteY11" fmla="*/ 24629 h 26335"/>
                <a:gd name="connsiteX12" fmla="*/ 36406 w 40272"/>
                <a:gd name="connsiteY12" fmla="*/ 20392 h 26335"/>
                <a:gd name="connsiteX13" fmla="*/ 30568 w 40272"/>
                <a:gd name="connsiteY13" fmla="*/ 19876 h 26335"/>
                <a:gd name="connsiteX14" fmla="*/ 30346 w 40272"/>
                <a:gd name="connsiteY14" fmla="*/ 19876 h 26335"/>
                <a:gd name="connsiteX15" fmla="*/ 24248 w 40272"/>
                <a:gd name="connsiteY15" fmla="*/ 18608 h 26335"/>
                <a:gd name="connsiteX16" fmla="*/ 18256 w 40272"/>
                <a:gd name="connsiteY16" fmla="*/ 16848 h 26335"/>
                <a:gd name="connsiteX17" fmla="*/ 17504 w 40272"/>
                <a:gd name="connsiteY17" fmla="*/ 16361 h 26335"/>
                <a:gd name="connsiteX18" fmla="*/ 11594 w 40272"/>
                <a:gd name="connsiteY18" fmla="*/ 10437 h 26335"/>
                <a:gd name="connsiteX19" fmla="*/ 5693 w 40272"/>
                <a:gd name="connsiteY19" fmla="*/ 4536 h 26335"/>
                <a:gd name="connsiteX20" fmla="*/ 0 w 40272"/>
                <a:gd name="connsiteY20" fmla="*/ 0 h 26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72" h="26335">
                  <a:moveTo>
                    <a:pt x="366" y="4218"/>
                  </a:moveTo>
                  <a:lnTo>
                    <a:pt x="940" y="9574"/>
                  </a:lnTo>
                  <a:lnTo>
                    <a:pt x="5872" y="15060"/>
                  </a:lnTo>
                  <a:lnTo>
                    <a:pt x="6036" y="15248"/>
                  </a:lnTo>
                  <a:lnTo>
                    <a:pt x="10109" y="21115"/>
                  </a:lnTo>
                  <a:lnTo>
                    <a:pt x="13416" y="24827"/>
                  </a:lnTo>
                  <a:lnTo>
                    <a:pt x="18140" y="22927"/>
                  </a:lnTo>
                  <a:lnTo>
                    <a:pt x="19288" y="22831"/>
                  </a:lnTo>
                  <a:lnTo>
                    <a:pt x="25772" y="24629"/>
                  </a:lnTo>
                  <a:lnTo>
                    <a:pt x="31581" y="25781"/>
                  </a:lnTo>
                  <a:lnTo>
                    <a:pt x="36902" y="26336"/>
                  </a:lnTo>
                  <a:lnTo>
                    <a:pt x="40272" y="24629"/>
                  </a:lnTo>
                  <a:lnTo>
                    <a:pt x="36406" y="20392"/>
                  </a:lnTo>
                  <a:lnTo>
                    <a:pt x="30568" y="19876"/>
                  </a:lnTo>
                  <a:lnTo>
                    <a:pt x="30346" y="19876"/>
                  </a:lnTo>
                  <a:lnTo>
                    <a:pt x="24248" y="18608"/>
                  </a:lnTo>
                  <a:lnTo>
                    <a:pt x="18256" y="16848"/>
                  </a:lnTo>
                  <a:lnTo>
                    <a:pt x="17504" y="16361"/>
                  </a:lnTo>
                  <a:lnTo>
                    <a:pt x="11594" y="10437"/>
                  </a:lnTo>
                  <a:lnTo>
                    <a:pt x="5693" y="4536"/>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7" name="Freihandform: Form 176">
              <a:extLst>
                <a:ext uri="{FF2B5EF4-FFF2-40B4-BE49-F238E27FC236}">
                  <a16:creationId xmlns:a16="http://schemas.microsoft.com/office/drawing/2014/main" id="{DA8D80CD-868E-2D7B-8BCC-19BDA03F2B8B}"/>
                </a:ext>
              </a:extLst>
            </p:cNvPr>
            <p:cNvSpPr/>
            <p:nvPr/>
          </p:nvSpPr>
          <p:spPr>
            <a:xfrm>
              <a:off x="4100775" y="5062592"/>
              <a:ext cx="9524" cy="9525"/>
            </a:xfrm>
            <a:custGeom>
              <a:avLst/>
              <a:gdLst>
                <a:gd name="connsiteX0" fmla="*/ 6460 w 6459"/>
                <a:gd name="connsiteY0" fmla="*/ 8465 h 8465"/>
                <a:gd name="connsiteX1" fmla="*/ 5650 w 6459"/>
                <a:gd name="connsiteY1" fmla="*/ 6243 h 8465"/>
                <a:gd name="connsiteX2" fmla="*/ 0 w 6459"/>
                <a:gd name="connsiteY2" fmla="*/ 0 h 8465"/>
                <a:gd name="connsiteX3" fmla="*/ 5650 w 6459"/>
                <a:gd name="connsiteY3" fmla="*/ 7650 h 8465"/>
                <a:gd name="connsiteX4" fmla="*/ 6460 w 6459"/>
                <a:gd name="connsiteY4" fmla="*/ 8465 h 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9" h="8465">
                  <a:moveTo>
                    <a:pt x="6460" y="8465"/>
                  </a:moveTo>
                  <a:cubicBezTo>
                    <a:pt x="6223" y="7761"/>
                    <a:pt x="6031" y="7082"/>
                    <a:pt x="5650" y="6243"/>
                  </a:cubicBezTo>
                  <a:lnTo>
                    <a:pt x="0" y="0"/>
                  </a:lnTo>
                  <a:cubicBezTo>
                    <a:pt x="1229" y="2512"/>
                    <a:pt x="3013" y="5042"/>
                    <a:pt x="5650" y="7650"/>
                  </a:cubicBezTo>
                  <a:lnTo>
                    <a:pt x="6460" y="846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8" name="Freihandform: Form 177">
              <a:extLst>
                <a:ext uri="{FF2B5EF4-FFF2-40B4-BE49-F238E27FC236}">
                  <a16:creationId xmlns:a16="http://schemas.microsoft.com/office/drawing/2014/main" id="{48B5AA09-87A0-8A0D-A07F-D8B9A7C60D79}"/>
                </a:ext>
              </a:extLst>
            </p:cNvPr>
            <p:cNvSpPr/>
            <p:nvPr/>
          </p:nvSpPr>
          <p:spPr>
            <a:xfrm>
              <a:off x="5978575" y="2049403"/>
              <a:ext cx="3175" cy="7937"/>
            </a:xfrm>
            <a:custGeom>
              <a:avLst/>
              <a:gdLst>
                <a:gd name="connsiteX0" fmla="*/ 1904 w 3239"/>
                <a:gd name="connsiteY0" fmla="*/ 4691 h 6310"/>
                <a:gd name="connsiteX1" fmla="*/ 0 w 3239"/>
                <a:gd name="connsiteY1" fmla="*/ 0 h 6310"/>
                <a:gd name="connsiteX2" fmla="*/ 805 w 3239"/>
                <a:gd name="connsiteY2" fmla="*/ 4339 h 6310"/>
                <a:gd name="connsiteX3" fmla="*/ 3240 w 3239"/>
                <a:gd name="connsiteY3" fmla="*/ 6310 h 6310"/>
                <a:gd name="connsiteX4" fmla="*/ 1904 w 3239"/>
                <a:gd name="connsiteY4" fmla="*/ 4691 h 6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9" h="6310">
                  <a:moveTo>
                    <a:pt x="1904" y="4691"/>
                  </a:moveTo>
                  <a:cubicBezTo>
                    <a:pt x="1171" y="3215"/>
                    <a:pt x="622" y="1576"/>
                    <a:pt x="0" y="0"/>
                  </a:cubicBezTo>
                  <a:lnTo>
                    <a:pt x="805" y="4339"/>
                  </a:lnTo>
                  <a:lnTo>
                    <a:pt x="3240" y="6310"/>
                  </a:lnTo>
                  <a:lnTo>
                    <a:pt x="1904" y="469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9" name="Freihandform: Form 178">
              <a:extLst>
                <a:ext uri="{FF2B5EF4-FFF2-40B4-BE49-F238E27FC236}">
                  <a16:creationId xmlns:a16="http://schemas.microsoft.com/office/drawing/2014/main" id="{C07979FB-49E8-2586-8B85-02B15D117059}"/>
                </a:ext>
              </a:extLst>
            </p:cNvPr>
            <p:cNvSpPr/>
            <p:nvPr/>
          </p:nvSpPr>
          <p:spPr>
            <a:xfrm>
              <a:off x="6200800" y="1598536"/>
              <a:ext cx="7937" cy="6350"/>
            </a:xfrm>
            <a:custGeom>
              <a:avLst/>
              <a:gdLst>
                <a:gd name="connsiteX0" fmla="*/ 2377 w 6373"/>
                <a:gd name="connsiteY0" fmla="*/ 0 h 5230"/>
                <a:gd name="connsiteX1" fmla="*/ 0 w 6373"/>
                <a:gd name="connsiteY1" fmla="*/ 3799 h 5230"/>
                <a:gd name="connsiteX2" fmla="*/ 1191 w 6373"/>
                <a:gd name="connsiteY2" fmla="*/ 5230 h 5230"/>
                <a:gd name="connsiteX3" fmla="*/ 5862 w 6373"/>
                <a:gd name="connsiteY3" fmla="*/ 2897 h 5230"/>
                <a:gd name="connsiteX4" fmla="*/ 6373 w 6373"/>
                <a:gd name="connsiteY4" fmla="*/ 2873 h 52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3" h="5230">
                  <a:moveTo>
                    <a:pt x="2377" y="0"/>
                  </a:moveTo>
                  <a:lnTo>
                    <a:pt x="0" y="3799"/>
                  </a:lnTo>
                  <a:lnTo>
                    <a:pt x="1191" y="5230"/>
                  </a:lnTo>
                  <a:lnTo>
                    <a:pt x="5862" y="2897"/>
                  </a:lnTo>
                  <a:lnTo>
                    <a:pt x="6373" y="287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0" name="Freihandform: Form 179">
              <a:extLst>
                <a:ext uri="{FF2B5EF4-FFF2-40B4-BE49-F238E27FC236}">
                  <a16:creationId xmlns:a16="http://schemas.microsoft.com/office/drawing/2014/main" id="{BF1AB04B-20BD-0B27-0955-A9AE522990F8}"/>
                </a:ext>
              </a:extLst>
            </p:cNvPr>
            <p:cNvSpPr/>
            <p:nvPr/>
          </p:nvSpPr>
          <p:spPr>
            <a:xfrm>
              <a:off x="6057941" y="1993838"/>
              <a:ext cx="0" cy="0"/>
            </a:xfrm>
            <a:custGeom>
              <a:avLst/>
              <a:gdLst>
                <a:gd name="connsiteX0" fmla="*/ 0 w 578"/>
                <a:gd name="connsiteY0" fmla="*/ 140 h 351"/>
                <a:gd name="connsiteX1" fmla="*/ 578 w 578"/>
                <a:gd name="connsiteY1" fmla="*/ 352 h 351"/>
                <a:gd name="connsiteX2" fmla="*/ 332 w 578"/>
                <a:gd name="connsiteY2" fmla="*/ 0 h 351"/>
              </a:gdLst>
              <a:ahLst/>
              <a:cxnLst>
                <a:cxn ang="0">
                  <a:pos x="connsiteX0" y="connsiteY0"/>
                </a:cxn>
                <a:cxn ang="0">
                  <a:pos x="connsiteX1" y="connsiteY1"/>
                </a:cxn>
                <a:cxn ang="0">
                  <a:pos x="connsiteX2" y="connsiteY2"/>
                </a:cxn>
              </a:cxnLst>
              <a:rect l="l" t="t" r="r" b="b"/>
              <a:pathLst>
                <a:path w="578" h="351">
                  <a:moveTo>
                    <a:pt x="0" y="140"/>
                  </a:moveTo>
                  <a:lnTo>
                    <a:pt x="578" y="352"/>
                  </a:lnTo>
                  <a:lnTo>
                    <a:pt x="332"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1" name="Freihandform: Form 180">
              <a:extLst>
                <a:ext uri="{FF2B5EF4-FFF2-40B4-BE49-F238E27FC236}">
                  <a16:creationId xmlns:a16="http://schemas.microsoft.com/office/drawing/2014/main" id="{37C8D2AD-A39C-DB23-2E41-E2B63FF9F376}"/>
                </a:ext>
              </a:extLst>
            </p:cNvPr>
            <p:cNvSpPr/>
            <p:nvPr/>
          </p:nvSpPr>
          <p:spPr>
            <a:xfrm>
              <a:off x="6137307" y="2566948"/>
              <a:ext cx="9524" cy="7937"/>
            </a:xfrm>
            <a:custGeom>
              <a:avLst/>
              <a:gdLst>
                <a:gd name="connsiteX0" fmla="*/ 3293 w 7819"/>
                <a:gd name="connsiteY0" fmla="*/ 2463 h 6425"/>
                <a:gd name="connsiteX1" fmla="*/ 3500 w 7819"/>
                <a:gd name="connsiteY1" fmla="*/ 2651 h 6425"/>
                <a:gd name="connsiteX2" fmla="*/ 7308 w 7819"/>
                <a:gd name="connsiteY2" fmla="*/ 6426 h 6425"/>
                <a:gd name="connsiteX3" fmla="*/ 7819 w 7819"/>
                <a:gd name="connsiteY3" fmla="*/ 4676 h 6425"/>
                <a:gd name="connsiteX4" fmla="*/ 1967 w 7819"/>
                <a:gd name="connsiteY4" fmla="*/ 762 h 6425"/>
                <a:gd name="connsiteX5" fmla="*/ 0 w 7819"/>
                <a:gd name="connsiteY5" fmla="*/ 0 h 6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19" h="6425">
                  <a:moveTo>
                    <a:pt x="3293" y="2463"/>
                  </a:moveTo>
                  <a:lnTo>
                    <a:pt x="3500" y="2651"/>
                  </a:lnTo>
                  <a:lnTo>
                    <a:pt x="7308" y="6426"/>
                  </a:lnTo>
                  <a:lnTo>
                    <a:pt x="7819" y="4676"/>
                  </a:lnTo>
                  <a:lnTo>
                    <a:pt x="1967" y="762"/>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2" name="Freihandform: Form 181">
              <a:extLst>
                <a:ext uri="{FF2B5EF4-FFF2-40B4-BE49-F238E27FC236}">
                  <a16:creationId xmlns:a16="http://schemas.microsoft.com/office/drawing/2014/main" id="{2BCD351F-1ABC-D6B8-CA2B-6A25D2ED171F}"/>
                </a:ext>
              </a:extLst>
            </p:cNvPr>
            <p:cNvSpPr/>
            <p:nvPr/>
          </p:nvSpPr>
          <p:spPr>
            <a:xfrm>
              <a:off x="6076989" y="2659026"/>
              <a:ext cx="14286" cy="12700"/>
            </a:xfrm>
            <a:custGeom>
              <a:avLst/>
              <a:gdLst>
                <a:gd name="connsiteX0" fmla="*/ 10177 w 11357"/>
                <a:gd name="connsiteY0" fmla="*/ 5544 h 9790"/>
                <a:gd name="connsiteX1" fmla="*/ 4377 w 11357"/>
                <a:gd name="connsiteY1" fmla="*/ 1514 h 9790"/>
                <a:gd name="connsiteX2" fmla="*/ 665 w 11357"/>
                <a:gd name="connsiteY2" fmla="*/ 0 h 9790"/>
                <a:gd name="connsiteX3" fmla="*/ 0 w 11357"/>
                <a:gd name="connsiteY3" fmla="*/ 3302 h 9790"/>
                <a:gd name="connsiteX4" fmla="*/ 1885 w 11357"/>
                <a:gd name="connsiteY4" fmla="*/ 8537 h 9790"/>
                <a:gd name="connsiteX5" fmla="*/ 6040 w 11357"/>
                <a:gd name="connsiteY5" fmla="*/ 9791 h 9790"/>
                <a:gd name="connsiteX6" fmla="*/ 11251 w 11357"/>
                <a:gd name="connsiteY6" fmla="*/ 5606 h 9790"/>
                <a:gd name="connsiteX7" fmla="*/ 11358 w 11357"/>
                <a:gd name="connsiteY7" fmla="*/ 5582 h 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57" h="9790">
                  <a:moveTo>
                    <a:pt x="10177" y="5544"/>
                  </a:moveTo>
                  <a:lnTo>
                    <a:pt x="4377" y="1514"/>
                  </a:lnTo>
                  <a:lnTo>
                    <a:pt x="665" y="0"/>
                  </a:lnTo>
                  <a:lnTo>
                    <a:pt x="0" y="3302"/>
                  </a:lnTo>
                  <a:lnTo>
                    <a:pt x="1885" y="8537"/>
                  </a:lnTo>
                  <a:lnTo>
                    <a:pt x="6040" y="9791"/>
                  </a:lnTo>
                  <a:lnTo>
                    <a:pt x="11251" y="5606"/>
                  </a:lnTo>
                  <a:lnTo>
                    <a:pt x="11358" y="558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3" name="Freihandform: Form 182">
              <a:extLst>
                <a:ext uri="{FF2B5EF4-FFF2-40B4-BE49-F238E27FC236}">
                  <a16:creationId xmlns:a16="http://schemas.microsoft.com/office/drawing/2014/main" id="{A13541E1-C042-1423-59DD-F409F8403D22}"/>
                </a:ext>
              </a:extLst>
            </p:cNvPr>
            <p:cNvSpPr/>
            <p:nvPr/>
          </p:nvSpPr>
          <p:spPr>
            <a:xfrm>
              <a:off x="5415076" y="2620925"/>
              <a:ext cx="19048" cy="34926"/>
            </a:xfrm>
            <a:custGeom>
              <a:avLst/>
              <a:gdLst>
                <a:gd name="connsiteX0" fmla="*/ 4151 w 15291"/>
                <a:gd name="connsiteY0" fmla="*/ 25458 h 27540"/>
                <a:gd name="connsiteX1" fmla="*/ 4117 w 15291"/>
                <a:gd name="connsiteY1" fmla="*/ 25275 h 27540"/>
                <a:gd name="connsiteX2" fmla="*/ 2921 w 15291"/>
                <a:gd name="connsiteY2" fmla="*/ 18714 h 27540"/>
                <a:gd name="connsiteX3" fmla="*/ 2921 w 15291"/>
                <a:gd name="connsiteY3" fmla="*/ 18083 h 27540"/>
                <a:gd name="connsiteX4" fmla="*/ 4117 w 15291"/>
                <a:gd name="connsiteY4" fmla="*/ 11546 h 27540"/>
                <a:gd name="connsiteX5" fmla="*/ 4695 w 15291"/>
                <a:gd name="connsiteY5" fmla="*/ 10509 h 27540"/>
                <a:gd name="connsiteX6" fmla="*/ 10654 w 15291"/>
                <a:gd name="connsiteY6" fmla="*/ 5139 h 27540"/>
                <a:gd name="connsiteX7" fmla="*/ 12519 w 15291"/>
                <a:gd name="connsiteY7" fmla="*/ 4777 h 27540"/>
                <a:gd name="connsiteX8" fmla="*/ 13672 w 15291"/>
                <a:gd name="connsiteY8" fmla="*/ 6325 h 27540"/>
                <a:gd name="connsiteX9" fmla="*/ 14023 w 15291"/>
                <a:gd name="connsiteY9" fmla="*/ 10061 h 27540"/>
                <a:gd name="connsiteX10" fmla="*/ 14896 w 15291"/>
                <a:gd name="connsiteY10" fmla="*/ 7222 h 27540"/>
                <a:gd name="connsiteX11" fmla="*/ 15291 w 15291"/>
                <a:gd name="connsiteY11" fmla="*/ 5462 h 27540"/>
                <a:gd name="connsiteX12" fmla="*/ 13016 w 15291"/>
                <a:gd name="connsiteY12" fmla="*/ 473 h 27540"/>
                <a:gd name="connsiteX13" fmla="*/ 8523 w 15291"/>
                <a:gd name="connsiteY13" fmla="*/ 0 h 27540"/>
                <a:gd name="connsiteX14" fmla="*/ 4618 w 15291"/>
                <a:gd name="connsiteY14" fmla="*/ 1475 h 27540"/>
                <a:gd name="connsiteX15" fmla="*/ 0 w 15291"/>
                <a:gd name="connsiteY15" fmla="*/ 7140 h 27540"/>
                <a:gd name="connsiteX16" fmla="*/ 0 w 15291"/>
                <a:gd name="connsiteY16" fmla="*/ 12259 h 27540"/>
                <a:gd name="connsiteX17" fmla="*/ 1162 w 15291"/>
                <a:gd name="connsiteY17" fmla="*/ 18025 h 27540"/>
                <a:gd name="connsiteX18" fmla="*/ 1176 w 15291"/>
                <a:gd name="connsiteY18" fmla="*/ 18242 h 27540"/>
                <a:gd name="connsiteX19" fmla="*/ 1721 w 15291"/>
                <a:gd name="connsiteY19" fmla="*/ 24171 h 27540"/>
                <a:gd name="connsiteX20" fmla="*/ 4782 w 15291"/>
                <a:gd name="connsiteY20" fmla="*/ 27541 h 2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91" h="27540">
                  <a:moveTo>
                    <a:pt x="4151" y="25458"/>
                  </a:moveTo>
                  <a:lnTo>
                    <a:pt x="4117" y="25275"/>
                  </a:lnTo>
                  <a:lnTo>
                    <a:pt x="2921" y="18714"/>
                  </a:lnTo>
                  <a:lnTo>
                    <a:pt x="2921" y="18083"/>
                  </a:lnTo>
                  <a:lnTo>
                    <a:pt x="4117" y="11546"/>
                  </a:lnTo>
                  <a:lnTo>
                    <a:pt x="4695" y="10509"/>
                  </a:lnTo>
                  <a:lnTo>
                    <a:pt x="10654" y="5139"/>
                  </a:lnTo>
                  <a:lnTo>
                    <a:pt x="12519" y="4777"/>
                  </a:lnTo>
                  <a:lnTo>
                    <a:pt x="13672" y="6325"/>
                  </a:lnTo>
                  <a:lnTo>
                    <a:pt x="14023" y="10061"/>
                  </a:lnTo>
                  <a:lnTo>
                    <a:pt x="14896" y="7222"/>
                  </a:lnTo>
                  <a:lnTo>
                    <a:pt x="15291" y="5462"/>
                  </a:lnTo>
                  <a:lnTo>
                    <a:pt x="13016" y="473"/>
                  </a:lnTo>
                  <a:lnTo>
                    <a:pt x="8523" y="0"/>
                  </a:lnTo>
                  <a:lnTo>
                    <a:pt x="4618" y="1475"/>
                  </a:lnTo>
                  <a:lnTo>
                    <a:pt x="0" y="7140"/>
                  </a:lnTo>
                  <a:lnTo>
                    <a:pt x="0" y="12259"/>
                  </a:lnTo>
                  <a:lnTo>
                    <a:pt x="1162" y="18025"/>
                  </a:lnTo>
                  <a:lnTo>
                    <a:pt x="1176" y="18242"/>
                  </a:lnTo>
                  <a:lnTo>
                    <a:pt x="1721" y="24171"/>
                  </a:lnTo>
                  <a:lnTo>
                    <a:pt x="4782" y="2754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4" name="Freihandform: Form 183">
              <a:extLst>
                <a:ext uri="{FF2B5EF4-FFF2-40B4-BE49-F238E27FC236}">
                  <a16:creationId xmlns:a16="http://schemas.microsoft.com/office/drawing/2014/main" id="{EBECBC0B-999C-DEA7-B0DC-D182190EA34E}"/>
                </a:ext>
              </a:extLst>
            </p:cNvPr>
            <p:cNvSpPr/>
            <p:nvPr/>
          </p:nvSpPr>
          <p:spPr>
            <a:xfrm>
              <a:off x="5405553" y="2733641"/>
              <a:ext cx="1587" cy="6350"/>
            </a:xfrm>
            <a:custGeom>
              <a:avLst/>
              <a:gdLst>
                <a:gd name="connsiteX0" fmla="*/ 0 w 1595"/>
                <a:gd name="connsiteY0" fmla="*/ 3177 h 4989"/>
                <a:gd name="connsiteX1" fmla="*/ 1282 w 1595"/>
                <a:gd name="connsiteY1" fmla="*/ 4989 h 4989"/>
                <a:gd name="connsiteX2" fmla="*/ 1596 w 1595"/>
                <a:gd name="connsiteY2" fmla="*/ 3264 h 4989"/>
                <a:gd name="connsiteX3" fmla="*/ 299 w 1595"/>
                <a:gd name="connsiteY3" fmla="*/ 0 h 4989"/>
              </a:gdLst>
              <a:ahLst/>
              <a:cxnLst>
                <a:cxn ang="0">
                  <a:pos x="connsiteX0" y="connsiteY0"/>
                </a:cxn>
                <a:cxn ang="0">
                  <a:pos x="connsiteX1" y="connsiteY1"/>
                </a:cxn>
                <a:cxn ang="0">
                  <a:pos x="connsiteX2" y="connsiteY2"/>
                </a:cxn>
                <a:cxn ang="0">
                  <a:pos x="connsiteX3" y="connsiteY3"/>
                </a:cxn>
              </a:cxnLst>
              <a:rect l="l" t="t" r="r" b="b"/>
              <a:pathLst>
                <a:path w="1595" h="4989">
                  <a:moveTo>
                    <a:pt x="0" y="3177"/>
                  </a:moveTo>
                  <a:lnTo>
                    <a:pt x="1282" y="4989"/>
                  </a:lnTo>
                  <a:lnTo>
                    <a:pt x="1596" y="3264"/>
                  </a:lnTo>
                  <a:lnTo>
                    <a:pt x="299"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5" name="Freihandform: Form 184">
              <a:extLst>
                <a:ext uri="{FF2B5EF4-FFF2-40B4-BE49-F238E27FC236}">
                  <a16:creationId xmlns:a16="http://schemas.microsoft.com/office/drawing/2014/main" id="{F0CE56E8-84B6-192E-2B6A-E70729079655}"/>
                </a:ext>
              </a:extLst>
            </p:cNvPr>
            <p:cNvSpPr/>
            <p:nvPr/>
          </p:nvSpPr>
          <p:spPr>
            <a:xfrm>
              <a:off x="6103974" y="2679664"/>
              <a:ext cx="14285" cy="6350"/>
            </a:xfrm>
            <a:custGeom>
              <a:avLst/>
              <a:gdLst>
                <a:gd name="connsiteX0" fmla="*/ 0 w 11068"/>
                <a:gd name="connsiteY0" fmla="*/ 0 h 5866"/>
                <a:gd name="connsiteX1" fmla="*/ 824 w 11068"/>
                <a:gd name="connsiteY1" fmla="*/ 444 h 5866"/>
                <a:gd name="connsiteX2" fmla="*/ 6243 w 11068"/>
                <a:gd name="connsiteY2" fmla="*/ 5867 h 5866"/>
                <a:gd name="connsiteX3" fmla="*/ 10596 w 11068"/>
                <a:gd name="connsiteY3" fmla="*/ 5867 h 5866"/>
                <a:gd name="connsiteX4" fmla="*/ 11068 w 11068"/>
                <a:gd name="connsiteY4" fmla="*/ 4001 h 5866"/>
                <a:gd name="connsiteX5" fmla="*/ 5457 w 11068"/>
                <a:gd name="connsiteY5" fmla="*/ 1658 h 5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68" h="5866">
                  <a:moveTo>
                    <a:pt x="0" y="0"/>
                  </a:moveTo>
                  <a:lnTo>
                    <a:pt x="824" y="444"/>
                  </a:lnTo>
                  <a:lnTo>
                    <a:pt x="6243" y="5867"/>
                  </a:lnTo>
                  <a:lnTo>
                    <a:pt x="10596" y="5867"/>
                  </a:lnTo>
                  <a:lnTo>
                    <a:pt x="11068" y="4001"/>
                  </a:lnTo>
                  <a:lnTo>
                    <a:pt x="5457" y="165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6" name="Freihandform: Form 185">
              <a:extLst>
                <a:ext uri="{FF2B5EF4-FFF2-40B4-BE49-F238E27FC236}">
                  <a16:creationId xmlns:a16="http://schemas.microsoft.com/office/drawing/2014/main" id="{53E4106B-07C8-FFF3-A3C0-E36FD980C399}"/>
                </a:ext>
              </a:extLst>
            </p:cNvPr>
            <p:cNvSpPr/>
            <p:nvPr/>
          </p:nvSpPr>
          <p:spPr>
            <a:xfrm>
              <a:off x="5513490" y="2871759"/>
              <a:ext cx="3175" cy="7937"/>
            </a:xfrm>
            <a:custGeom>
              <a:avLst/>
              <a:gdLst>
                <a:gd name="connsiteX0" fmla="*/ 949 w 2227"/>
                <a:gd name="connsiteY0" fmla="*/ 5284 h 7018"/>
                <a:gd name="connsiteX1" fmla="*/ 2227 w 2227"/>
                <a:gd name="connsiteY1" fmla="*/ 959 h 7018"/>
                <a:gd name="connsiteX2" fmla="*/ 294 w 2227"/>
                <a:gd name="connsiteY2" fmla="*/ 0 h 7018"/>
                <a:gd name="connsiteX3" fmla="*/ 294 w 2227"/>
                <a:gd name="connsiteY3" fmla="*/ 3587 h 7018"/>
                <a:gd name="connsiteX4" fmla="*/ 280 w 2227"/>
                <a:gd name="connsiteY4" fmla="*/ 3765 h 7018"/>
                <a:gd name="connsiteX5" fmla="*/ 0 w 2227"/>
                <a:gd name="connsiteY5" fmla="*/ 7019 h 7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27" h="7018">
                  <a:moveTo>
                    <a:pt x="949" y="5284"/>
                  </a:moveTo>
                  <a:lnTo>
                    <a:pt x="2227" y="959"/>
                  </a:lnTo>
                  <a:lnTo>
                    <a:pt x="294" y="0"/>
                  </a:lnTo>
                  <a:lnTo>
                    <a:pt x="294" y="3587"/>
                  </a:lnTo>
                  <a:lnTo>
                    <a:pt x="280" y="3765"/>
                  </a:lnTo>
                  <a:lnTo>
                    <a:pt x="0" y="701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7" name="Freihandform: Form 186">
              <a:extLst>
                <a:ext uri="{FF2B5EF4-FFF2-40B4-BE49-F238E27FC236}">
                  <a16:creationId xmlns:a16="http://schemas.microsoft.com/office/drawing/2014/main" id="{D9D642E4-4FB5-8F2D-4706-4E94F436EEC8}"/>
                </a:ext>
              </a:extLst>
            </p:cNvPr>
            <p:cNvSpPr/>
            <p:nvPr/>
          </p:nvSpPr>
          <p:spPr>
            <a:xfrm>
              <a:off x="6045242" y="2720941"/>
              <a:ext cx="4762" cy="7938"/>
            </a:xfrm>
            <a:custGeom>
              <a:avLst/>
              <a:gdLst>
                <a:gd name="connsiteX0" fmla="*/ 3688 w 4758"/>
                <a:gd name="connsiteY0" fmla="*/ 4382 h 6271"/>
                <a:gd name="connsiteX1" fmla="*/ 3731 w 4758"/>
                <a:gd name="connsiteY1" fmla="*/ 3731 h 6271"/>
                <a:gd name="connsiteX2" fmla="*/ 4758 w 4758"/>
                <a:gd name="connsiteY2" fmla="*/ 0 h 6271"/>
                <a:gd name="connsiteX3" fmla="*/ 1711 w 4758"/>
                <a:gd name="connsiteY3" fmla="*/ 641 h 6271"/>
                <a:gd name="connsiteX4" fmla="*/ 954 w 4758"/>
                <a:gd name="connsiteY4" fmla="*/ 535 h 6271"/>
                <a:gd name="connsiteX5" fmla="*/ 0 w 4758"/>
                <a:gd name="connsiteY5" fmla="*/ 3702 h 6271"/>
                <a:gd name="connsiteX6" fmla="*/ 1229 w 4758"/>
                <a:gd name="connsiteY6" fmla="*/ 2994 h 6271"/>
                <a:gd name="connsiteX7" fmla="*/ 3037 w 4758"/>
                <a:gd name="connsiteY7" fmla="*/ 4107 h 6271"/>
                <a:gd name="connsiteX8" fmla="*/ 3895 w 4758"/>
                <a:gd name="connsiteY8" fmla="*/ 6272 h 6271"/>
                <a:gd name="connsiteX9" fmla="*/ 3688 w 4758"/>
                <a:gd name="connsiteY9" fmla="*/ 4382 h 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58" h="6271">
                  <a:moveTo>
                    <a:pt x="3688" y="4382"/>
                  </a:moveTo>
                  <a:lnTo>
                    <a:pt x="3731" y="3731"/>
                  </a:lnTo>
                  <a:lnTo>
                    <a:pt x="4758" y="0"/>
                  </a:lnTo>
                  <a:lnTo>
                    <a:pt x="1711" y="641"/>
                  </a:lnTo>
                  <a:cubicBezTo>
                    <a:pt x="1427" y="699"/>
                    <a:pt x="1186" y="588"/>
                    <a:pt x="954" y="535"/>
                  </a:cubicBezTo>
                  <a:lnTo>
                    <a:pt x="0" y="3702"/>
                  </a:lnTo>
                  <a:cubicBezTo>
                    <a:pt x="309" y="3317"/>
                    <a:pt x="742" y="3013"/>
                    <a:pt x="1229" y="2994"/>
                  </a:cubicBezTo>
                  <a:cubicBezTo>
                    <a:pt x="2005" y="2921"/>
                    <a:pt x="2738" y="3399"/>
                    <a:pt x="3037" y="4107"/>
                  </a:cubicBezTo>
                  <a:lnTo>
                    <a:pt x="3895" y="6272"/>
                  </a:lnTo>
                  <a:lnTo>
                    <a:pt x="3688" y="438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8" name="Freihandform: Form 187">
              <a:extLst>
                <a:ext uri="{FF2B5EF4-FFF2-40B4-BE49-F238E27FC236}">
                  <a16:creationId xmlns:a16="http://schemas.microsoft.com/office/drawing/2014/main" id="{B7D22C4B-2152-48FA-C8F1-6DB02ED155D6}"/>
                </a:ext>
              </a:extLst>
            </p:cNvPr>
            <p:cNvSpPr/>
            <p:nvPr/>
          </p:nvSpPr>
          <p:spPr>
            <a:xfrm>
              <a:off x="6300801" y="1966850"/>
              <a:ext cx="0" cy="0"/>
            </a:xfrm>
            <a:custGeom>
              <a:avLst/>
              <a:gdLst>
                <a:gd name="connsiteX0" fmla="*/ 275 w 274"/>
                <a:gd name="connsiteY0" fmla="*/ 0 h 294"/>
                <a:gd name="connsiteX1" fmla="*/ 0 w 274"/>
                <a:gd name="connsiteY1" fmla="*/ 48 h 294"/>
                <a:gd name="connsiteX2" fmla="*/ 121 w 274"/>
                <a:gd name="connsiteY2" fmla="*/ 294 h 294"/>
              </a:gdLst>
              <a:ahLst/>
              <a:cxnLst>
                <a:cxn ang="0">
                  <a:pos x="connsiteX0" y="connsiteY0"/>
                </a:cxn>
                <a:cxn ang="0">
                  <a:pos x="connsiteX1" y="connsiteY1"/>
                </a:cxn>
                <a:cxn ang="0">
                  <a:pos x="connsiteX2" y="connsiteY2"/>
                </a:cxn>
              </a:cxnLst>
              <a:rect l="l" t="t" r="r" b="b"/>
              <a:pathLst>
                <a:path w="274" h="294">
                  <a:moveTo>
                    <a:pt x="275" y="0"/>
                  </a:moveTo>
                  <a:lnTo>
                    <a:pt x="0" y="48"/>
                  </a:lnTo>
                  <a:lnTo>
                    <a:pt x="121" y="29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9" name="Freihandform: Form 188">
              <a:extLst>
                <a:ext uri="{FF2B5EF4-FFF2-40B4-BE49-F238E27FC236}">
                  <a16:creationId xmlns:a16="http://schemas.microsoft.com/office/drawing/2014/main" id="{39D9BA8F-F12E-8141-039E-577DF412DE18}"/>
                </a:ext>
              </a:extLst>
            </p:cNvPr>
            <p:cNvSpPr/>
            <p:nvPr/>
          </p:nvSpPr>
          <p:spPr>
            <a:xfrm>
              <a:off x="5224598" y="3428992"/>
              <a:ext cx="7936" cy="14289"/>
            </a:xfrm>
            <a:custGeom>
              <a:avLst/>
              <a:gdLst>
                <a:gd name="connsiteX0" fmla="*/ 4305 w 5418"/>
                <a:gd name="connsiteY0" fmla="*/ 8624 h 10923"/>
                <a:gd name="connsiteX1" fmla="*/ 5419 w 5418"/>
                <a:gd name="connsiteY1" fmla="*/ 4965 h 10923"/>
                <a:gd name="connsiteX2" fmla="*/ 5399 w 5418"/>
                <a:gd name="connsiteY2" fmla="*/ 4965 h 10923"/>
                <a:gd name="connsiteX3" fmla="*/ 4054 w 5418"/>
                <a:gd name="connsiteY3" fmla="*/ 3225 h 10923"/>
                <a:gd name="connsiteX4" fmla="*/ 4054 w 5418"/>
                <a:gd name="connsiteY4" fmla="*/ 0 h 10923"/>
                <a:gd name="connsiteX5" fmla="*/ 969 w 5418"/>
                <a:gd name="connsiteY5" fmla="*/ 1919 h 10923"/>
                <a:gd name="connsiteX6" fmla="*/ 0 w 5418"/>
                <a:gd name="connsiteY6" fmla="*/ 7303 h 10923"/>
                <a:gd name="connsiteX7" fmla="*/ 984 w 5418"/>
                <a:gd name="connsiteY7" fmla="*/ 10924 h 10923"/>
                <a:gd name="connsiteX8" fmla="*/ 4305 w 5418"/>
                <a:gd name="connsiteY8" fmla="*/ 8624 h 10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18" h="10923">
                  <a:moveTo>
                    <a:pt x="4305" y="8624"/>
                  </a:moveTo>
                  <a:lnTo>
                    <a:pt x="5419" y="4965"/>
                  </a:lnTo>
                  <a:lnTo>
                    <a:pt x="5399" y="4965"/>
                  </a:lnTo>
                  <a:cubicBezTo>
                    <a:pt x="4594" y="4753"/>
                    <a:pt x="4054" y="4016"/>
                    <a:pt x="4054" y="3225"/>
                  </a:cubicBezTo>
                  <a:lnTo>
                    <a:pt x="4054" y="0"/>
                  </a:lnTo>
                  <a:lnTo>
                    <a:pt x="969" y="1919"/>
                  </a:lnTo>
                  <a:lnTo>
                    <a:pt x="0" y="7303"/>
                  </a:lnTo>
                  <a:lnTo>
                    <a:pt x="984" y="10924"/>
                  </a:lnTo>
                  <a:lnTo>
                    <a:pt x="4305" y="862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90" name="Freihandform: Form 189">
              <a:extLst>
                <a:ext uri="{FF2B5EF4-FFF2-40B4-BE49-F238E27FC236}">
                  <a16:creationId xmlns:a16="http://schemas.microsoft.com/office/drawing/2014/main" id="{47B325B5-6FE4-EF87-0CDC-43727E6484B1}"/>
                </a:ext>
              </a:extLst>
            </p:cNvPr>
            <p:cNvSpPr/>
            <p:nvPr/>
          </p:nvSpPr>
          <p:spPr>
            <a:xfrm>
              <a:off x="5305551" y="3190858"/>
              <a:ext cx="1588" cy="1588"/>
            </a:xfrm>
            <a:custGeom>
              <a:avLst/>
              <a:gdLst>
                <a:gd name="connsiteX0" fmla="*/ 453 w 1176"/>
                <a:gd name="connsiteY0" fmla="*/ 1538 h 1624"/>
                <a:gd name="connsiteX1" fmla="*/ 1176 w 1176"/>
                <a:gd name="connsiteY1" fmla="*/ 1624 h 1624"/>
                <a:gd name="connsiteX2" fmla="*/ 0 w 1176"/>
                <a:gd name="connsiteY2" fmla="*/ 0 h 1624"/>
              </a:gdLst>
              <a:ahLst/>
              <a:cxnLst>
                <a:cxn ang="0">
                  <a:pos x="connsiteX0" y="connsiteY0"/>
                </a:cxn>
                <a:cxn ang="0">
                  <a:pos x="connsiteX1" y="connsiteY1"/>
                </a:cxn>
                <a:cxn ang="0">
                  <a:pos x="connsiteX2" y="connsiteY2"/>
                </a:cxn>
              </a:cxnLst>
              <a:rect l="l" t="t" r="r" b="b"/>
              <a:pathLst>
                <a:path w="1176" h="1624">
                  <a:moveTo>
                    <a:pt x="453" y="1538"/>
                  </a:moveTo>
                  <a:lnTo>
                    <a:pt x="1176" y="1624"/>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91" name="Freihandform: Form 190">
              <a:extLst>
                <a:ext uri="{FF2B5EF4-FFF2-40B4-BE49-F238E27FC236}">
                  <a16:creationId xmlns:a16="http://schemas.microsoft.com/office/drawing/2014/main" id="{6575711E-943A-3636-7110-CC132A78F0C2}"/>
                </a:ext>
              </a:extLst>
            </p:cNvPr>
            <p:cNvSpPr/>
            <p:nvPr/>
          </p:nvSpPr>
          <p:spPr>
            <a:xfrm>
              <a:off x="5207137" y="3468682"/>
              <a:ext cx="6349" cy="7937"/>
            </a:xfrm>
            <a:custGeom>
              <a:avLst/>
              <a:gdLst>
                <a:gd name="connsiteX0" fmla="*/ 2333 w 5008"/>
                <a:gd name="connsiteY0" fmla="*/ 4478 h 6372"/>
                <a:gd name="connsiteX1" fmla="*/ 1571 w 5008"/>
                <a:gd name="connsiteY1" fmla="*/ 3008 h 6372"/>
                <a:gd name="connsiteX2" fmla="*/ 1571 w 5008"/>
                <a:gd name="connsiteY2" fmla="*/ 0 h 6372"/>
                <a:gd name="connsiteX3" fmla="*/ 0 w 5008"/>
                <a:gd name="connsiteY3" fmla="*/ 5760 h 6372"/>
                <a:gd name="connsiteX4" fmla="*/ 1017 w 5008"/>
                <a:gd name="connsiteY4" fmla="*/ 4835 h 6372"/>
                <a:gd name="connsiteX5" fmla="*/ 2473 w 5008"/>
                <a:gd name="connsiteY5" fmla="*/ 4970 h 6372"/>
                <a:gd name="connsiteX6" fmla="*/ 5009 w 5008"/>
                <a:gd name="connsiteY6" fmla="*/ 6373 h 6372"/>
                <a:gd name="connsiteX7" fmla="*/ 2333 w 5008"/>
                <a:gd name="connsiteY7" fmla="*/ 4478 h 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8" h="6372">
                  <a:moveTo>
                    <a:pt x="2333" y="4478"/>
                  </a:moveTo>
                  <a:lnTo>
                    <a:pt x="1571" y="3008"/>
                  </a:lnTo>
                  <a:lnTo>
                    <a:pt x="1571" y="0"/>
                  </a:lnTo>
                  <a:cubicBezTo>
                    <a:pt x="921" y="1918"/>
                    <a:pt x="415" y="3823"/>
                    <a:pt x="0" y="5760"/>
                  </a:cubicBezTo>
                  <a:lnTo>
                    <a:pt x="1017" y="4835"/>
                  </a:lnTo>
                  <a:lnTo>
                    <a:pt x="2473" y="4970"/>
                  </a:lnTo>
                  <a:lnTo>
                    <a:pt x="5009" y="6373"/>
                  </a:lnTo>
                  <a:lnTo>
                    <a:pt x="2333" y="447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92" name="Freihandform: Form 191">
              <a:extLst>
                <a:ext uri="{FF2B5EF4-FFF2-40B4-BE49-F238E27FC236}">
                  <a16:creationId xmlns:a16="http://schemas.microsoft.com/office/drawing/2014/main" id="{B707B5C3-A282-9CD8-1194-B92A69D39B05}"/>
                </a:ext>
              </a:extLst>
            </p:cNvPr>
            <p:cNvSpPr/>
            <p:nvPr/>
          </p:nvSpPr>
          <p:spPr>
            <a:xfrm>
              <a:off x="5754763" y="3594099"/>
              <a:ext cx="14285" cy="12700"/>
            </a:xfrm>
            <a:custGeom>
              <a:avLst/>
              <a:gdLst>
                <a:gd name="connsiteX0" fmla="*/ 1118 w 11767"/>
                <a:gd name="connsiteY0" fmla="*/ 4811 h 10027"/>
                <a:gd name="connsiteX1" fmla="*/ 829 w 11767"/>
                <a:gd name="connsiteY1" fmla="*/ 6156 h 10027"/>
                <a:gd name="connsiteX2" fmla="*/ 1118 w 11767"/>
                <a:gd name="connsiteY2" fmla="*/ 7689 h 10027"/>
                <a:gd name="connsiteX3" fmla="*/ 1080 w 11767"/>
                <a:gd name="connsiteY3" fmla="*/ 8446 h 10027"/>
                <a:gd name="connsiteX4" fmla="*/ 1061 w 11767"/>
                <a:gd name="connsiteY4" fmla="*/ 8590 h 10027"/>
                <a:gd name="connsiteX5" fmla="*/ 4667 w 11767"/>
                <a:gd name="connsiteY5" fmla="*/ 8590 h 10027"/>
                <a:gd name="connsiteX6" fmla="*/ 6050 w 11767"/>
                <a:gd name="connsiteY6" fmla="*/ 9150 h 10027"/>
                <a:gd name="connsiteX7" fmla="*/ 6296 w 11767"/>
                <a:gd name="connsiteY7" fmla="*/ 10027 h 10027"/>
                <a:gd name="connsiteX8" fmla="*/ 6778 w 11767"/>
                <a:gd name="connsiteY8" fmla="*/ 9352 h 10027"/>
                <a:gd name="connsiteX9" fmla="*/ 8084 w 11767"/>
                <a:gd name="connsiteY9" fmla="*/ 8590 h 10027"/>
                <a:gd name="connsiteX10" fmla="*/ 11768 w 11767"/>
                <a:gd name="connsiteY10" fmla="*/ 8229 h 10027"/>
                <a:gd name="connsiteX11" fmla="*/ 8904 w 11767"/>
                <a:gd name="connsiteY11" fmla="*/ 7390 h 10027"/>
                <a:gd name="connsiteX12" fmla="*/ 8403 w 11767"/>
                <a:gd name="connsiteY12" fmla="*/ 7135 h 10027"/>
                <a:gd name="connsiteX13" fmla="*/ 2449 w 11767"/>
                <a:gd name="connsiteY13" fmla="*/ 2960 h 10027"/>
                <a:gd name="connsiteX14" fmla="*/ 1933 w 11767"/>
                <a:gd name="connsiteY14" fmla="*/ 2391 h 10027"/>
                <a:gd name="connsiteX15" fmla="*/ 487 w 11767"/>
                <a:gd name="connsiteY15" fmla="*/ 0 h 10027"/>
                <a:gd name="connsiteX16" fmla="*/ 0 w 11767"/>
                <a:gd name="connsiteY16" fmla="*/ 1586 h 10027"/>
                <a:gd name="connsiteX17" fmla="*/ 207 w 11767"/>
                <a:gd name="connsiteY17" fmla="*/ 2835 h 10027"/>
                <a:gd name="connsiteX18" fmla="*/ 487 w 11767"/>
                <a:gd name="connsiteY18" fmla="*/ 3027 h 10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767" h="10027">
                  <a:moveTo>
                    <a:pt x="1118" y="4811"/>
                  </a:moveTo>
                  <a:lnTo>
                    <a:pt x="829" y="6156"/>
                  </a:lnTo>
                  <a:lnTo>
                    <a:pt x="1118" y="7689"/>
                  </a:lnTo>
                  <a:lnTo>
                    <a:pt x="1080" y="8446"/>
                  </a:lnTo>
                  <a:lnTo>
                    <a:pt x="1061" y="8590"/>
                  </a:lnTo>
                  <a:lnTo>
                    <a:pt x="4667" y="8590"/>
                  </a:lnTo>
                  <a:lnTo>
                    <a:pt x="6050" y="9150"/>
                  </a:lnTo>
                  <a:lnTo>
                    <a:pt x="6296" y="10027"/>
                  </a:lnTo>
                  <a:lnTo>
                    <a:pt x="6778" y="9352"/>
                  </a:lnTo>
                  <a:lnTo>
                    <a:pt x="8084" y="8590"/>
                  </a:lnTo>
                  <a:lnTo>
                    <a:pt x="11768" y="8229"/>
                  </a:lnTo>
                  <a:lnTo>
                    <a:pt x="8904" y="7390"/>
                  </a:lnTo>
                  <a:lnTo>
                    <a:pt x="8403" y="7135"/>
                  </a:lnTo>
                  <a:lnTo>
                    <a:pt x="2449" y="2960"/>
                  </a:lnTo>
                  <a:lnTo>
                    <a:pt x="1933" y="2391"/>
                  </a:lnTo>
                  <a:lnTo>
                    <a:pt x="487" y="0"/>
                  </a:lnTo>
                  <a:lnTo>
                    <a:pt x="0" y="1586"/>
                  </a:lnTo>
                  <a:lnTo>
                    <a:pt x="207" y="2835"/>
                  </a:lnTo>
                  <a:lnTo>
                    <a:pt x="487" y="302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93" name="Freihandform: Form 192">
              <a:extLst>
                <a:ext uri="{FF2B5EF4-FFF2-40B4-BE49-F238E27FC236}">
                  <a16:creationId xmlns:a16="http://schemas.microsoft.com/office/drawing/2014/main" id="{95F55C3C-86E6-DB31-6A12-3ED4B2459DA1}"/>
                </a:ext>
              </a:extLst>
            </p:cNvPr>
            <p:cNvSpPr/>
            <p:nvPr/>
          </p:nvSpPr>
          <p:spPr>
            <a:xfrm>
              <a:off x="5753175" y="3608387"/>
              <a:ext cx="22222" cy="19051"/>
            </a:xfrm>
            <a:custGeom>
              <a:avLst/>
              <a:gdLst>
                <a:gd name="connsiteX0" fmla="*/ 9829 w 17696"/>
                <a:gd name="connsiteY0" fmla="*/ 410 h 14307"/>
                <a:gd name="connsiteX1" fmla="*/ 6142 w 17696"/>
                <a:gd name="connsiteY1" fmla="*/ 5669 h 14307"/>
                <a:gd name="connsiteX2" fmla="*/ 4011 w 17696"/>
                <a:gd name="connsiteY2" fmla="*/ 6344 h 14307"/>
                <a:gd name="connsiteX3" fmla="*/ 2854 w 17696"/>
                <a:gd name="connsiteY3" fmla="*/ 4474 h 14307"/>
                <a:gd name="connsiteX4" fmla="*/ 3225 w 17696"/>
                <a:gd name="connsiteY4" fmla="*/ 487 h 14307"/>
                <a:gd name="connsiteX5" fmla="*/ 337 w 17696"/>
                <a:gd name="connsiteY5" fmla="*/ 487 h 14307"/>
                <a:gd name="connsiteX6" fmla="*/ 0 w 17696"/>
                <a:gd name="connsiteY6" fmla="*/ 3384 h 14307"/>
                <a:gd name="connsiteX7" fmla="*/ 5399 w 17696"/>
                <a:gd name="connsiteY7" fmla="*/ 8778 h 14307"/>
                <a:gd name="connsiteX8" fmla="*/ 10364 w 17696"/>
                <a:gd name="connsiteY8" fmla="*/ 14308 h 14307"/>
                <a:gd name="connsiteX9" fmla="*/ 11883 w 17696"/>
                <a:gd name="connsiteY9" fmla="*/ 10480 h 14307"/>
                <a:gd name="connsiteX10" fmla="*/ 13223 w 17696"/>
                <a:gd name="connsiteY10" fmla="*/ 9405 h 14307"/>
                <a:gd name="connsiteX11" fmla="*/ 17697 w 17696"/>
                <a:gd name="connsiteY11" fmla="*/ 8489 h 14307"/>
                <a:gd name="connsiteX12" fmla="*/ 17697 w 17696"/>
                <a:gd name="connsiteY12" fmla="*/ 4681 h 14307"/>
                <a:gd name="connsiteX13" fmla="*/ 13970 w 17696"/>
                <a:gd name="connsiteY13" fmla="*/ 0 h 14307"/>
                <a:gd name="connsiteX14" fmla="*/ 9829 w 17696"/>
                <a:gd name="connsiteY14" fmla="*/ 410 h 14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696" h="14307">
                  <a:moveTo>
                    <a:pt x="9829" y="410"/>
                  </a:moveTo>
                  <a:lnTo>
                    <a:pt x="6142" y="5669"/>
                  </a:lnTo>
                  <a:cubicBezTo>
                    <a:pt x="5655" y="6358"/>
                    <a:pt x="4797" y="6619"/>
                    <a:pt x="4011" y="6344"/>
                  </a:cubicBezTo>
                  <a:cubicBezTo>
                    <a:pt x="3225" y="6026"/>
                    <a:pt x="2757" y="5250"/>
                    <a:pt x="2854" y="4474"/>
                  </a:cubicBezTo>
                  <a:lnTo>
                    <a:pt x="3225" y="487"/>
                  </a:lnTo>
                  <a:lnTo>
                    <a:pt x="337" y="487"/>
                  </a:lnTo>
                  <a:lnTo>
                    <a:pt x="0" y="3384"/>
                  </a:lnTo>
                  <a:lnTo>
                    <a:pt x="5399" y="8778"/>
                  </a:lnTo>
                  <a:lnTo>
                    <a:pt x="10364" y="14308"/>
                  </a:lnTo>
                  <a:lnTo>
                    <a:pt x="11883" y="10480"/>
                  </a:lnTo>
                  <a:lnTo>
                    <a:pt x="13223" y="9405"/>
                  </a:lnTo>
                  <a:lnTo>
                    <a:pt x="17697" y="8489"/>
                  </a:lnTo>
                  <a:lnTo>
                    <a:pt x="17697" y="4681"/>
                  </a:lnTo>
                  <a:lnTo>
                    <a:pt x="13970" y="0"/>
                  </a:lnTo>
                  <a:lnTo>
                    <a:pt x="9829" y="41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94" name="Freihandform: Form 193">
              <a:extLst>
                <a:ext uri="{FF2B5EF4-FFF2-40B4-BE49-F238E27FC236}">
                  <a16:creationId xmlns:a16="http://schemas.microsoft.com/office/drawing/2014/main" id="{87CD9A68-8434-4D01-DEDE-B5FF28DE4ACB}"/>
                </a:ext>
              </a:extLst>
            </p:cNvPr>
            <p:cNvSpPr/>
            <p:nvPr/>
          </p:nvSpPr>
          <p:spPr>
            <a:xfrm>
              <a:off x="5613491" y="3559172"/>
              <a:ext cx="11112" cy="9525"/>
            </a:xfrm>
            <a:custGeom>
              <a:avLst/>
              <a:gdLst>
                <a:gd name="connsiteX0" fmla="*/ 6045 w 8870"/>
                <a:gd name="connsiteY0" fmla="*/ 497 h 7809"/>
                <a:gd name="connsiteX1" fmla="*/ 5968 w 8870"/>
                <a:gd name="connsiteY1" fmla="*/ 497 h 7809"/>
                <a:gd name="connsiteX2" fmla="*/ 2656 w 8870"/>
                <a:gd name="connsiteY2" fmla="*/ 969 h 7809"/>
                <a:gd name="connsiteX3" fmla="*/ 0 w 8870"/>
                <a:gd name="connsiteY3" fmla="*/ 5428 h 7809"/>
                <a:gd name="connsiteX4" fmla="*/ 979 w 8870"/>
                <a:gd name="connsiteY4" fmla="*/ 7810 h 7809"/>
                <a:gd name="connsiteX5" fmla="*/ 4358 w 8870"/>
                <a:gd name="connsiteY5" fmla="*/ 4030 h 7809"/>
                <a:gd name="connsiteX6" fmla="*/ 4484 w 8870"/>
                <a:gd name="connsiteY6" fmla="*/ 3890 h 7809"/>
                <a:gd name="connsiteX7" fmla="*/ 8870 w 8870"/>
                <a:gd name="connsiteY7" fmla="*/ 0 h 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0" h="7809">
                  <a:moveTo>
                    <a:pt x="6045" y="497"/>
                  </a:moveTo>
                  <a:lnTo>
                    <a:pt x="5968" y="497"/>
                  </a:lnTo>
                  <a:lnTo>
                    <a:pt x="2656" y="969"/>
                  </a:lnTo>
                  <a:lnTo>
                    <a:pt x="0" y="5428"/>
                  </a:lnTo>
                  <a:lnTo>
                    <a:pt x="979" y="7810"/>
                  </a:lnTo>
                  <a:lnTo>
                    <a:pt x="4358" y="4030"/>
                  </a:lnTo>
                  <a:lnTo>
                    <a:pt x="4484" y="3890"/>
                  </a:lnTo>
                  <a:lnTo>
                    <a:pt x="887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95" name="Freihandform: Form 194">
              <a:extLst>
                <a:ext uri="{FF2B5EF4-FFF2-40B4-BE49-F238E27FC236}">
                  <a16:creationId xmlns:a16="http://schemas.microsoft.com/office/drawing/2014/main" id="{5E90AF2A-2A2B-1C5F-E781-94C2B572296F}"/>
                </a:ext>
              </a:extLst>
            </p:cNvPr>
            <p:cNvSpPr/>
            <p:nvPr/>
          </p:nvSpPr>
          <p:spPr>
            <a:xfrm>
              <a:off x="5616666" y="3544885"/>
              <a:ext cx="26985" cy="11112"/>
            </a:xfrm>
            <a:custGeom>
              <a:avLst/>
              <a:gdLst>
                <a:gd name="connsiteX0" fmla="*/ 3341 w 21630"/>
                <a:gd name="connsiteY0" fmla="*/ 8475 h 8976"/>
                <a:gd name="connsiteX1" fmla="*/ 9598 w 21630"/>
                <a:gd name="connsiteY1" fmla="*/ 7347 h 8976"/>
                <a:gd name="connsiteX2" fmla="*/ 21631 w 21630"/>
                <a:gd name="connsiteY2" fmla="*/ 3182 h 8976"/>
                <a:gd name="connsiteX3" fmla="*/ 16164 w 21630"/>
                <a:gd name="connsiteY3" fmla="*/ 3182 h 8976"/>
                <a:gd name="connsiteX4" fmla="*/ 15778 w 21630"/>
                <a:gd name="connsiteY4" fmla="*/ 3153 h 8976"/>
                <a:gd name="connsiteX5" fmla="*/ 9829 w 21630"/>
                <a:gd name="connsiteY5" fmla="*/ 1972 h 8976"/>
                <a:gd name="connsiteX6" fmla="*/ 9583 w 21630"/>
                <a:gd name="connsiteY6" fmla="*/ 1885 h 8976"/>
                <a:gd name="connsiteX7" fmla="*/ 4372 w 21630"/>
                <a:gd name="connsiteY7" fmla="*/ 0 h 8976"/>
                <a:gd name="connsiteX8" fmla="*/ 2362 w 21630"/>
                <a:gd name="connsiteY8" fmla="*/ 5004 h 8976"/>
                <a:gd name="connsiteX9" fmla="*/ 2213 w 21630"/>
                <a:gd name="connsiteY9" fmla="*/ 5284 h 8976"/>
                <a:gd name="connsiteX10" fmla="*/ 0 w 21630"/>
                <a:gd name="connsiteY10" fmla="*/ 8976 h 8976"/>
                <a:gd name="connsiteX11" fmla="*/ 3341 w 21630"/>
                <a:gd name="connsiteY11" fmla="*/ 8475 h 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30" h="8976">
                  <a:moveTo>
                    <a:pt x="3341" y="8475"/>
                  </a:moveTo>
                  <a:lnTo>
                    <a:pt x="9598" y="7347"/>
                  </a:lnTo>
                  <a:cubicBezTo>
                    <a:pt x="14621" y="4233"/>
                    <a:pt x="18111" y="3418"/>
                    <a:pt x="21631" y="3182"/>
                  </a:cubicBezTo>
                  <a:lnTo>
                    <a:pt x="16164" y="3182"/>
                  </a:lnTo>
                  <a:lnTo>
                    <a:pt x="15778" y="3153"/>
                  </a:lnTo>
                  <a:lnTo>
                    <a:pt x="9829" y="1972"/>
                  </a:lnTo>
                  <a:lnTo>
                    <a:pt x="9583" y="1885"/>
                  </a:lnTo>
                  <a:lnTo>
                    <a:pt x="4372" y="0"/>
                  </a:lnTo>
                  <a:lnTo>
                    <a:pt x="2362" y="5004"/>
                  </a:lnTo>
                  <a:lnTo>
                    <a:pt x="2213" y="5284"/>
                  </a:lnTo>
                  <a:lnTo>
                    <a:pt x="0" y="8976"/>
                  </a:lnTo>
                  <a:lnTo>
                    <a:pt x="3341" y="847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96" name="Freihandform: Form 195">
              <a:extLst>
                <a:ext uri="{FF2B5EF4-FFF2-40B4-BE49-F238E27FC236}">
                  <a16:creationId xmlns:a16="http://schemas.microsoft.com/office/drawing/2014/main" id="{A03A1007-61D5-22A9-CF00-9CD7DFC7B17B}"/>
                </a:ext>
              </a:extLst>
            </p:cNvPr>
            <p:cNvSpPr/>
            <p:nvPr/>
          </p:nvSpPr>
          <p:spPr>
            <a:xfrm>
              <a:off x="5637301" y="3552822"/>
              <a:ext cx="23809" cy="4763"/>
            </a:xfrm>
            <a:custGeom>
              <a:avLst/>
              <a:gdLst>
                <a:gd name="connsiteX0" fmla="*/ 5862 w 18265"/>
                <a:gd name="connsiteY0" fmla="*/ 593 h 4025"/>
                <a:gd name="connsiteX1" fmla="*/ 323 w 18265"/>
                <a:gd name="connsiteY1" fmla="*/ 1716 h 4025"/>
                <a:gd name="connsiteX2" fmla="*/ 0 w 18265"/>
                <a:gd name="connsiteY2" fmla="*/ 1856 h 4025"/>
                <a:gd name="connsiteX3" fmla="*/ 5433 w 18265"/>
                <a:gd name="connsiteY3" fmla="*/ 2936 h 4025"/>
                <a:gd name="connsiteX4" fmla="*/ 11531 w 18265"/>
                <a:gd name="connsiteY4" fmla="*/ 4025 h 4025"/>
                <a:gd name="connsiteX5" fmla="*/ 16453 w 18265"/>
                <a:gd name="connsiteY5" fmla="*/ 2560 h 4025"/>
                <a:gd name="connsiteX6" fmla="*/ 18266 w 18265"/>
                <a:gd name="connsiteY6" fmla="*/ 0 h 4025"/>
                <a:gd name="connsiteX7" fmla="*/ 11806 w 18265"/>
                <a:gd name="connsiteY7" fmla="*/ 593 h 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65" h="4025">
                  <a:moveTo>
                    <a:pt x="5862" y="593"/>
                  </a:moveTo>
                  <a:lnTo>
                    <a:pt x="323" y="1716"/>
                  </a:lnTo>
                  <a:lnTo>
                    <a:pt x="0" y="1856"/>
                  </a:lnTo>
                  <a:lnTo>
                    <a:pt x="5433" y="2936"/>
                  </a:lnTo>
                  <a:lnTo>
                    <a:pt x="11531" y="4025"/>
                  </a:lnTo>
                  <a:lnTo>
                    <a:pt x="16453" y="2560"/>
                  </a:lnTo>
                  <a:lnTo>
                    <a:pt x="18266" y="0"/>
                  </a:lnTo>
                  <a:lnTo>
                    <a:pt x="11806" y="59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97" name="Freihandform: Form 196">
              <a:extLst>
                <a:ext uri="{FF2B5EF4-FFF2-40B4-BE49-F238E27FC236}">
                  <a16:creationId xmlns:a16="http://schemas.microsoft.com/office/drawing/2014/main" id="{F523B213-EE47-6F32-FDB1-14A3AE4A2529}"/>
                </a:ext>
              </a:extLst>
            </p:cNvPr>
            <p:cNvSpPr/>
            <p:nvPr/>
          </p:nvSpPr>
          <p:spPr>
            <a:xfrm>
              <a:off x="7273828" y="6550136"/>
              <a:ext cx="11112" cy="7938"/>
            </a:xfrm>
            <a:custGeom>
              <a:avLst/>
              <a:gdLst>
                <a:gd name="connsiteX0" fmla="*/ 8427 w 9596"/>
                <a:gd name="connsiteY0" fmla="*/ 2440 h 5959"/>
                <a:gd name="connsiteX1" fmla="*/ 2487 w 9596"/>
                <a:gd name="connsiteY1" fmla="*/ 63 h 5959"/>
                <a:gd name="connsiteX2" fmla="*/ 2131 w 9596"/>
                <a:gd name="connsiteY2" fmla="*/ 121 h 5959"/>
                <a:gd name="connsiteX3" fmla="*/ 1827 w 9596"/>
                <a:gd name="connsiteY3" fmla="*/ 0 h 5959"/>
                <a:gd name="connsiteX4" fmla="*/ 1499 w 9596"/>
                <a:gd name="connsiteY4" fmla="*/ 121 h 5959"/>
                <a:gd name="connsiteX5" fmla="*/ 858 w 9596"/>
                <a:gd name="connsiteY5" fmla="*/ 376 h 5959"/>
                <a:gd name="connsiteX6" fmla="*/ 395 w 9596"/>
                <a:gd name="connsiteY6" fmla="*/ 849 h 5959"/>
                <a:gd name="connsiteX7" fmla="*/ 149 w 9596"/>
                <a:gd name="connsiteY7" fmla="*/ 1119 h 5959"/>
                <a:gd name="connsiteX8" fmla="*/ 149 w 9596"/>
                <a:gd name="connsiteY8" fmla="*/ 1437 h 5959"/>
                <a:gd name="connsiteX9" fmla="*/ 0 w 9596"/>
                <a:gd name="connsiteY9" fmla="*/ 1755 h 5959"/>
                <a:gd name="connsiteX10" fmla="*/ 0 w 9596"/>
                <a:gd name="connsiteY10" fmla="*/ 2970 h 5959"/>
                <a:gd name="connsiteX11" fmla="*/ 1480 w 9596"/>
                <a:gd name="connsiteY11" fmla="*/ 4754 h 5959"/>
                <a:gd name="connsiteX12" fmla="*/ 7429 w 9596"/>
                <a:gd name="connsiteY12" fmla="*/ 5920 h 5959"/>
                <a:gd name="connsiteX13" fmla="*/ 9535 w 9596"/>
                <a:gd name="connsiteY13" fmla="*/ 4667 h 5959"/>
                <a:gd name="connsiteX14" fmla="*/ 8427 w 9596"/>
                <a:gd name="connsiteY14" fmla="*/ 2440 h 5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96" h="5959">
                  <a:moveTo>
                    <a:pt x="8427" y="2440"/>
                  </a:moveTo>
                  <a:lnTo>
                    <a:pt x="2487" y="63"/>
                  </a:lnTo>
                  <a:cubicBezTo>
                    <a:pt x="2357" y="24"/>
                    <a:pt x="2241" y="125"/>
                    <a:pt x="2131" y="121"/>
                  </a:cubicBezTo>
                  <a:cubicBezTo>
                    <a:pt x="2015" y="63"/>
                    <a:pt x="1919" y="0"/>
                    <a:pt x="1827" y="0"/>
                  </a:cubicBezTo>
                  <a:cubicBezTo>
                    <a:pt x="1668" y="0"/>
                    <a:pt x="1596" y="68"/>
                    <a:pt x="1499" y="121"/>
                  </a:cubicBezTo>
                  <a:cubicBezTo>
                    <a:pt x="1239" y="159"/>
                    <a:pt x="1085" y="208"/>
                    <a:pt x="858" y="376"/>
                  </a:cubicBezTo>
                  <a:cubicBezTo>
                    <a:pt x="622" y="497"/>
                    <a:pt x="530" y="627"/>
                    <a:pt x="395" y="849"/>
                  </a:cubicBezTo>
                  <a:cubicBezTo>
                    <a:pt x="318" y="936"/>
                    <a:pt x="183" y="979"/>
                    <a:pt x="149" y="1119"/>
                  </a:cubicBezTo>
                  <a:cubicBezTo>
                    <a:pt x="67" y="1225"/>
                    <a:pt x="149" y="1341"/>
                    <a:pt x="149" y="1437"/>
                  </a:cubicBezTo>
                  <a:cubicBezTo>
                    <a:pt x="121" y="1581"/>
                    <a:pt x="0" y="1629"/>
                    <a:pt x="0" y="1755"/>
                  </a:cubicBezTo>
                  <a:lnTo>
                    <a:pt x="0" y="2970"/>
                  </a:lnTo>
                  <a:cubicBezTo>
                    <a:pt x="0" y="3847"/>
                    <a:pt x="598" y="4561"/>
                    <a:pt x="1480" y="4754"/>
                  </a:cubicBezTo>
                  <a:lnTo>
                    <a:pt x="7429" y="5920"/>
                  </a:lnTo>
                  <a:cubicBezTo>
                    <a:pt x="8330" y="6113"/>
                    <a:pt x="9237" y="5587"/>
                    <a:pt x="9535" y="4667"/>
                  </a:cubicBezTo>
                  <a:cubicBezTo>
                    <a:pt x="9767" y="3760"/>
                    <a:pt x="9333" y="2821"/>
                    <a:pt x="8427" y="244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98" name="Freihandform: Form 197">
              <a:extLst>
                <a:ext uri="{FF2B5EF4-FFF2-40B4-BE49-F238E27FC236}">
                  <a16:creationId xmlns:a16="http://schemas.microsoft.com/office/drawing/2014/main" id="{916979BB-42C0-5772-2185-5819F2CB40D1}"/>
                </a:ext>
              </a:extLst>
            </p:cNvPr>
            <p:cNvSpPr/>
            <p:nvPr/>
          </p:nvSpPr>
          <p:spPr>
            <a:xfrm>
              <a:off x="7026206" y="6435831"/>
              <a:ext cx="4762" cy="11113"/>
            </a:xfrm>
            <a:custGeom>
              <a:avLst/>
              <a:gdLst>
                <a:gd name="connsiteX0" fmla="*/ 3570 w 4780"/>
                <a:gd name="connsiteY0" fmla="*/ 1443 h 9590"/>
                <a:gd name="connsiteX1" fmla="*/ 1550 w 4780"/>
                <a:gd name="connsiteY1" fmla="*/ 26 h 9590"/>
                <a:gd name="connsiteX2" fmla="*/ 8 w 4780"/>
                <a:gd name="connsiteY2" fmla="*/ 1969 h 9590"/>
                <a:gd name="connsiteX3" fmla="*/ 601 w 4780"/>
                <a:gd name="connsiteY3" fmla="*/ 7942 h 9590"/>
                <a:gd name="connsiteX4" fmla="*/ 875 w 4780"/>
                <a:gd name="connsiteY4" fmla="*/ 8491 h 9590"/>
                <a:gd name="connsiteX5" fmla="*/ 1242 w 4780"/>
                <a:gd name="connsiteY5" fmla="*/ 9060 h 9590"/>
                <a:gd name="connsiteX6" fmla="*/ 1844 w 4780"/>
                <a:gd name="connsiteY6" fmla="*/ 9340 h 9590"/>
                <a:gd name="connsiteX7" fmla="*/ 2384 w 4780"/>
                <a:gd name="connsiteY7" fmla="*/ 9590 h 9590"/>
                <a:gd name="connsiteX8" fmla="*/ 3006 w 4780"/>
                <a:gd name="connsiteY8" fmla="*/ 9590 h 9590"/>
                <a:gd name="connsiteX9" fmla="*/ 4409 w 4780"/>
                <a:gd name="connsiteY9" fmla="*/ 8944 h 9590"/>
                <a:gd name="connsiteX10" fmla="*/ 4780 w 4780"/>
                <a:gd name="connsiteY10" fmla="*/ 7426 h 9590"/>
                <a:gd name="connsiteX11" fmla="*/ 3570 w 4780"/>
                <a:gd name="connsiteY11" fmla="*/ 1443 h 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80" h="9590">
                  <a:moveTo>
                    <a:pt x="3570" y="1443"/>
                  </a:moveTo>
                  <a:cubicBezTo>
                    <a:pt x="3406" y="489"/>
                    <a:pt x="2510" y="-138"/>
                    <a:pt x="1550" y="26"/>
                  </a:cubicBezTo>
                  <a:cubicBezTo>
                    <a:pt x="581" y="156"/>
                    <a:pt x="-79" y="1019"/>
                    <a:pt x="8" y="1969"/>
                  </a:cubicBezTo>
                  <a:lnTo>
                    <a:pt x="601" y="7942"/>
                  </a:lnTo>
                  <a:cubicBezTo>
                    <a:pt x="629" y="8154"/>
                    <a:pt x="798" y="8293"/>
                    <a:pt x="875" y="8491"/>
                  </a:cubicBezTo>
                  <a:cubicBezTo>
                    <a:pt x="977" y="8684"/>
                    <a:pt x="996" y="8944"/>
                    <a:pt x="1242" y="9060"/>
                  </a:cubicBezTo>
                  <a:cubicBezTo>
                    <a:pt x="1381" y="9239"/>
                    <a:pt x="1613" y="9248"/>
                    <a:pt x="1844" y="9340"/>
                  </a:cubicBezTo>
                  <a:cubicBezTo>
                    <a:pt x="2028" y="9407"/>
                    <a:pt x="2186" y="9590"/>
                    <a:pt x="2384" y="9590"/>
                  </a:cubicBezTo>
                  <a:lnTo>
                    <a:pt x="3006" y="9590"/>
                  </a:lnTo>
                  <a:lnTo>
                    <a:pt x="4409" y="8944"/>
                  </a:lnTo>
                  <a:lnTo>
                    <a:pt x="4780" y="7426"/>
                  </a:lnTo>
                  <a:lnTo>
                    <a:pt x="3570" y="144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99" name="Freihandform: Form 198">
              <a:extLst>
                <a:ext uri="{FF2B5EF4-FFF2-40B4-BE49-F238E27FC236}">
                  <a16:creationId xmlns:a16="http://schemas.microsoft.com/office/drawing/2014/main" id="{4449D2E3-AE81-6848-F90F-18FC776FFFB4}"/>
                </a:ext>
              </a:extLst>
            </p:cNvPr>
            <p:cNvSpPr/>
            <p:nvPr/>
          </p:nvSpPr>
          <p:spPr>
            <a:xfrm>
              <a:off x="7205574" y="6473933"/>
              <a:ext cx="33333" cy="46040"/>
            </a:xfrm>
            <a:custGeom>
              <a:avLst/>
              <a:gdLst>
                <a:gd name="connsiteX0" fmla="*/ 24402 w 25611"/>
                <a:gd name="connsiteY0" fmla="*/ 13154 h 35121"/>
                <a:gd name="connsiteX1" fmla="*/ 18121 w 25611"/>
                <a:gd name="connsiteY1" fmla="*/ 10845 h 35121"/>
                <a:gd name="connsiteX2" fmla="*/ 12013 w 25611"/>
                <a:gd name="connsiteY2" fmla="*/ 6439 h 35121"/>
                <a:gd name="connsiteX3" fmla="*/ 8022 w 25611"/>
                <a:gd name="connsiteY3" fmla="*/ 750 h 35121"/>
                <a:gd name="connsiteX4" fmla="*/ 7810 w 25611"/>
                <a:gd name="connsiteY4" fmla="*/ 601 h 35121"/>
                <a:gd name="connsiteX5" fmla="*/ 7810 w 25611"/>
                <a:gd name="connsiteY5" fmla="*/ 495 h 35121"/>
                <a:gd name="connsiteX6" fmla="*/ 7670 w 25611"/>
                <a:gd name="connsiteY6" fmla="*/ 495 h 35121"/>
                <a:gd name="connsiteX7" fmla="*/ 5491 w 25611"/>
                <a:gd name="connsiteY7" fmla="*/ 288 h 35121"/>
                <a:gd name="connsiteX8" fmla="*/ 5356 w 25611"/>
                <a:gd name="connsiteY8" fmla="*/ 495 h 35121"/>
                <a:gd name="connsiteX9" fmla="*/ 5284 w 25611"/>
                <a:gd name="connsiteY9" fmla="*/ 495 h 35121"/>
                <a:gd name="connsiteX10" fmla="*/ 1687 w 25611"/>
                <a:gd name="connsiteY10" fmla="*/ 4033 h 35121"/>
                <a:gd name="connsiteX11" fmla="*/ 1191 w 25611"/>
                <a:gd name="connsiteY11" fmla="*/ 5007 h 35121"/>
                <a:gd name="connsiteX12" fmla="*/ 0 w 25611"/>
                <a:gd name="connsiteY12" fmla="*/ 10937 h 35121"/>
                <a:gd name="connsiteX13" fmla="*/ 121 w 25611"/>
                <a:gd name="connsiteY13" fmla="*/ 12108 h 35121"/>
                <a:gd name="connsiteX14" fmla="*/ 2994 w 25611"/>
                <a:gd name="connsiteY14" fmla="*/ 17729 h 35121"/>
                <a:gd name="connsiteX15" fmla="*/ 3505 w 25611"/>
                <a:gd name="connsiteY15" fmla="*/ 23364 h 35121"/>
                <a:gd name="connsiteX16" fmla="*/ 3914 w 25611"/>
                <a:gd name="connsiteY16" fmla="*/ 24367 h 35121"/>
                <a:gd name="connsiteX17" fmla="*/ 9328 w 25611"/>
                <a:gd name="connsiteY17" fmla="*/ 30899 h 35121"/>
                <a:gd name="connsiteX18" fmla="*/ 9776 w 25611"/>
                <a:gd name="connsiteY18" fmla="*/ 31304 h 35121"/>
                <a:gd name="connsiteX19" fmla="*/ 15721 w 25611"/>
                <a:gd name="connsiteY19" fmla="*/ 34881 h 35121"/>
                <a:gd name="connsiteX20" fmla="*/ 18001 w 25611"/>
                <a:gd name="connsiteY20" fmla="*/ 34490 h 35121"/>
                <a:gd name="connsiteX21" fmla="*/ 23371 w 25611"/>
                <a:gd name="connsiteY21" fmla="*/ 28590 h 35121"/>
                <a:gd name="connsiteX22" fmla="*/ 23810 w 25611"/>
                <a:gd name="connsiteY22" fmla="*/ 27361 h 35121"/>
                <a:gd name="connsiteX23" fmla="*/ 23810 w 25611"/>
                <a:gd name="connsiteY23" fmla="*/ 21060 h 35121"/>
                <a:gd name="connsiteX24" fmla="*/ 25550 w 25611"/>
                <a:gd name="connsiteY24" fmla="*/ 15376 h 35121"/>
                <a:gd name="connsiteX25" fmla="*/ 24402 w 25611"/>
                <a:gd name="connsiteY25" fmla="*/ 13154 h 3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5611" h="35121">
                  <a:moveTo>
                    <a:pt x="24402" y="13154"/>
                  </a:moveTo>
                  <a:lnTo>
                    <a:pt x="18121" y="10845"/>
                  </a:lnTo>
                  <a:lnTo>
                    <a:pt x="12013" y="6439"/>
                  </a:lnTo>
                  <a:lnTo>
                    <a:pt x="8022" y="750"/>
                  </a:lnTo>
                  <a:cubicBezTo>
                    <a:pt x="7988" y="649"/>
                    <a:pt x="7896" y="649"/>
                    <a:pt x="7810" y="601"/>
                  </a:cubicBezTo>
                  <a:lnTo>
                    <a:pt x="7810" y="495"/>
                  </a:lnTo>
                  <a:lnTo>
                    <a:pt x="7670" y="495"/>
                  </a:lnTo>
                  <a:cubicBezTo>
                    <a:pt x="7038" y="-26"/>
                    <a:pt x="6204" y="-200"/>
                    <a:pt x="5491" y="288"/>
                  </a:cubicBezTo>
                  <a:cubicBezTo>
                    <a:pt x="5394" y="355"/>
                    <a:pt x="5438" y="418"/>
                    <a:pt x="5356" y="495"/>
                  </a:cubicBezTo>
                  <a:lnTo>
                    <a:pt x="5284" y="495"/>
                  </a:lnTo>
                  <a:lnTo>
                    <a:pt x="1687" y="4033"/>
                  </a:lnTo>
                  <a:lnTo>
                    <a:pt x="1191" y="5007"/>
                  </a:lnTo>
                  <a:lnTo>
                    <a:pt x="0" y="10937"/>
                  </a:lnTo>
                  <a:lnTo>
                    <a:pt x="121" y="12108"/>
                  </a:lnTo>
                  <a:lnTo>
                    <a:pt x="2994" y="17729"/>
                  </a:lnTo>
                  <a:lnTo>
                    <a:pt x="3505" y="23364"/>
                  </a:lnTo>
                  <a:lnTo>
                    <a:pt x="3914" y="24367"/>
                  </a:lnTo>
                  <a:lnTo>
                    <a:pt x="9328" y="30899"/>
                  </a:lnTo>
                  <a:lnTo>
                    <a:pt x="9776" y="31304"/>
                  </a:lnTo>
                  <a:lnTo>
                    <a:pt x="15721" y="34881"/>
                  </a:lnTo>
                  <a:cubicBezTo>
                    <a:pt x="16434" y="35295"/>
                    <a:pt x="17408" y="35180"/>
                    <a:pt x="18001" y="34490"/>
                  </a:cubicBezTo>
                  <a:lnTo>
                    <a:pt x="23371" y="28590"/>
                  </a:lnTo>
                  <a:lnTo>
                    <a:pt x="23810" y="27361"/>
                  </a:lnTo>
                  <a:lnTo>
                    <a:pt x="23810" y="21060"/>
                  </a:lnTo>
                  <a:lnTo>
                    <a:pt x="25550" y="15376"/>
                  </a:lnTo>
                  <a:cubicBezTo>
                    <a:pt x="25796" y="14480"/>
                    <a:pt x="25280" y="13462"/>
                    <a:pt x="24402" y="1315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00" name="Freihandform: Form 199">
              <a:extLst>
                <a:ext uri="{FF2B5EF4-FFF2-40B4-BE49-F238E27FC236}">
                  <a16:creationId xmlns:a16="http://schemas.microsoft.com/office/drawing/2014/main" id="{DDE319D3-8568-B3F9-2923-24E4E3F8F437}"/>
                </a:ext>
              </a:extLst>
            </p:cNvPr>
            <p:cNvSpPr/>
            <p:nvPr/>
          </p:nvSpPr>
          <p:spPr>
            <a:xfrm>
              <a:off x="7421450" y="6712067"/>
              <a:ext cx="12699" cy="6350"/>
            </a:xfrm>
            <a:custGeom>
              <a:avLst/>
              <a:gdLst>
                <a:gd name="connsiteX0" fmla="*/ 9600 w 9605"/>
                <a:gd name="connsiteY0" fmla="*/ 1817 h 5437"/>
                <a:gd name="connsiteX1" fmla="*/ 9037 w 9605"/>
                <a:gd name="connsiteY1" fmla="*/ 544 h 5437"/>
                <a:gd name="connsiteX2" fmla="*/ 7764 w 9605"/>
                <a:gd name="connsiteY2" fmla="*/ 0 h 5437"/>
                <a:gd name="connsiteX3" fmla="*/ 1786 w 9605"/>
                <a:gd name="connsiteY3" fmla="*/ 0 h 5437"/>
                <a:gd name="connsiteX4" fmla="*/ 17 w 9605"/>
                <a:gd name="connsiteY4" fmla="*/ 1566 h 5437"/>
                <a:gd name="connsiteX5" fmla="*/ 1299 w 9605"/>
                <a:gd name="connsiteY5" fmla="*/ 3548 h 5437"/>
                <a:gd name="connsiteX6" fmla="*/ 7238 w 9605"/>
                <a:gd name="connsiteY6" fmla="*/ 5341 h 5437"/>
                <a:gd name="connsiteX7" fmla="*/ 7528 w 9605"/>
                <a:gd name="connsiteY7" fmla="*/ 5322 h 5437"/>
                <a:gd name="connsiteX8" fmla="*/ 7769 w 9605"/>
                <a:gd name="connsiteY8" fmla="*/ 5437 h 5437"/>
                <a:gd name="connsiteX9" fmla="*/ 8174 w 9605"/>
                <a:gd name="connsiteY9" fmla="*/ 5274 h 5437"/>
                <a:gd name="connsiteX10" fmla="*/ 8795 w 9605"/>
                <a:gd name="connsiteY10" fmla="*/ 4994 h 5437"/>
                <a:gd name="connsiteX11" fmla="*/ 9244 w 9605"/>
                <a:gd name="connsiteY11" fmla="*/ 4498 h 5437"/>
                <a:gd name="connsiteX12" fmla="*/ 9523 w 9605"/>
                <a:gd name="connsiteY12" fmla="*/ 4112 h 5437"/>
                <a:gd name="connsiteX13" fmla="*/ 9475 w 9605"/>
                <a:gd name="connsiteY13" fmla="*/ 3880 h 5437"/>
                <a:gd name="connsiteX14" fmla="*/ 9605 w 9605"/>
                <a:gd name="connsiteY14" fmla="*/ 3610 h 5437"/>
                <a:gd name="connsiteX15" fmla="*/ 9605 w 9605"/>
                <a:gd name="connsiteY15" fmla="*/ 1817 h 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605" h="5437">
                  <a:moveTo>
                    <a:pt x="9600" y="1817"/>
                  </a:moveTo>
                  <a:lnTo>
                    <a:pt x="9037" y="544"/>
                  </a:lnTo>
                  <a:lnTo>
                    <a:pt x="7764" y="0"/>
                  </a:lnTo>
                  <a:lnTo>
                    <a:pt x="1786" y="0"/>
                  </a:lnTo>
                  <a:cubicBezTo>
                    <a:pt x="885" y="0"/>
                    <a:pt x="157" y="660"/>
                    <a:pt x="17" y="1566"/>
                  </a:cubicBezTo>
                  <a:cubicBezTo>
                    <a:pt x="-104" y="2453"/>
                    <a:pt x="427" y="3321"/>
                    <a:pt x="1299" y="3548"/>
                  </a:cubicBezTo>
                  <a:lnTo>
                    <a:pt x="7238" y="5341"/>
                  </a:lnTo>
                  <a:cubicBezTo>
                    <a:pt x="7349" y="5389"/>
                    <a:pt x="7417" y="5293"/>
                    <a:pt x="7528" y="5322"/>
                  </a:cubicBezTo>
                  <a:cubicBezTo>
                    <a:pt x="7619" y="5322"/>
                    <a:pt x="7663" y="5437"/>
                    <a:pt x="7769" y="5437"/>
                  </a:cubicBezTo>
                  <a:cubicBezTo>
                    <a:pt x="7933" y="5437"/>
                    <a:pt x="8034" y="5293"/>
                    <a:pt x="8174" y="5274"/>
                  </a:cubicBezTo>
                  <a:cubicBezTo>
                    <a:pt x="8444" y="5235"/>
                    <a:pt x="8622" y="5153"/>
                    <a:pt x="8795" y="4994"/>
                  </a:cubicBezTo>
                  <a:cubicBezTo>
                    <a:pt x="9003" y="4859"/>
                    <a:pt x="9128" y="4709"/>
                    <a:pt x="9244" y="4498"/>
                  </a:cubicBezTo>
                  <a:cubicBezTo>
                    <a:pt x="9292" y="4368"/>
                    <a:pt x="9456" y="4319"/>
                    <a:pt x="9523" y="4112"/>
                  </a:cubicBezTo>
                  <a:cubicBezTo>
                    <a:pt x="9562" y="4020"/>
                    <a:pt x="9456" y="3953"/>
                    <a:pt x="9475" y="3880"/>
                  </a:cubicBezTo>
                  <a:cubicBezTo>
                    <a:pt x="9475" y="3770"/>
                    <a:pt x="9605" y="3693"/>
                    <a:pt x="9605" y="3610"/>
                  </a:cubicBezTo>
                  <a:lnTo>
                    <a:pt x="9605" y="181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01" name="Freihandform: Form 200">
              <a:extLst>
                <a:ext uri="{FF2B5EF4-FFF2-40B4-BE49-F238E27FC236}">
                  <a16:creationId xmlns:a16="http://schemas.microsoft.com/office/drawing/2014/main" id="{F929CE23-3923-DFC0-CA0F-95CE557C2AF2}"/>
                </a:ext>
              </a:extLst>
            </p:cNvPr>
            <p:cNvSpPr/>
            <p:nvPr/>
          </p:nvSpPr>
          <p:spPr>
            <a:xfrm>
              <a:off x="5689682" y="1317537"/>
              <a:ext cx="46033" cy="22226"/>
            </a:xfrm>
            <a:custGeom>
              <a:avLst/>
              <a:gdLst>
                <a:gd name="connsiteX0" fmla="*/ 7805 w 35769"/>
                <a:gd name="connsiteY0" fmla="*/ 5346 h 17966"/>
                <a:gd name="connsiteX1" fmla="*/ 9791 w 35769"/>
                <a:gd name="connsiteY1" fmla="*/ 4965 h 17966"/>
                <a:gd name="connsiteX2" fmla="*/ 10919 w 35769"/>
                <a:gd name="connsiteY2" fmla="*/ 6624 h 17966"/>
                <a:gd name="connsiteX3" fmla="*/ 10919 w 35769"/>
                <a:gd name="connsiteY3" fmla="*/ 8610 h 17966"/>
                <a:gd name="connsiteX4" fmla="*/ 11768 w 35769"/>
                <a:gd name="connsiteY4" fmla="*/ 7400 h 17966"/>
                <a:gd name="connsiteX5" fmla="*/ 13865 w 35769"/>
                <a:gd name="connsiteY5" fmla="*/ 6734 h 17966"/>
                <a:gd name="connsiteX6" fmla="*/ 20223 w 35769"/>
                <a:gd name="connsiteY6" fmla="*/ 9015 h 17966"/>
                <a:gd name="connsiteX7" fmla="*/ 25931 w 35769"/>
                <a:gd name="connsiteY7" fmla="*/ 9612 h 17966"/>
                <a:gd name="connsiteX8" fmla="*/ 26128 w 35769"/>
                <a:gd name="connsiteY8" fmla="*/ 9612 h 17966"/>
                <a:gd name="connsiteX9" fmla="*/ 32053 w 35769"/>
                <a:gd name="connsiteY9" fmla="*/ 10808 h 17966"/>
                <a:gd name="connsiteX10" fmla="*/ 33480 w 35769"/>
                <a:gd name="connsiteY10" fmla="*/ 12225 h 17966"/>
                <a:gd name="connsiteX11" fmla="*/ 34603 w 35769"/>
                <a:gd name="connsiteY11" fmla="*/ 17808 h 17966"/>
                <a:gd name="connsiteX12" fmla="*/ 34719 w 35769"/>
                <a:gd name="connsiteY12" fmla="*/ 17967 h 17966"/>
                <a:gd name="connsiteX13" fmla="*/ 35770 w 35769"/>
                <a:gd name="connsiteY13" fmla="*/ 12674 h 17966"/>
                <a:gd name="connsiteX14" fmla="*/ 34140 w 35769"/>
                <a:gd name="connsiteY14" fmla="*/ 7144 h 17966"/>
                <a:gd name="connsiteX15" fmla="*/ 34232 w 35769"/>
                <a:gd name="connsiteY15" fmla="*/ 6262 h 17966"/>
                <a:gd name="connsiteX16" fmla="*/ 31364 w 35769"/>
                <a:gd name="connsiteY16" fmla="*/ 5457 h 17966"/>
                <a:gd name="connsiteX17" fmla="*/ 25738 w 35769"/>
                <a:gd name="connsiteY17" fmla="*/ 4907 h 17966"/>
                <a:gd name="connsiteX18" fmla="*/ 19370 w 35769"/>
                <a:gd name="connsiteY18" fmla="*/ 5476 h 17966"/>
                <a:gd name="connsiteX19" fmla="*/ 18700 w 35769"/>
                <a:gd name="connsiteY19" fmla="*/ 5389 h 17966"/>
                <a:gd name="connsiteX20" fmla="*/ 12736 w 35769"/>
                <a:gd name="connsiteY20" fmla="*/ 3625 h 17966"/>
                <a:gd name="connsiteX21" fmla="*/ 11488 w 35769"/>
                <a:gd name="connsiteY21" fmla="*/ 1533 h 17966"/>
                <a:gd name="connsiteX22" fmla="*/ 11787 w 35769"/>
                <a:gd name="connsiteY22" fmla="*/ 0 h 17966"/>
                <a:gd name="connsiteX23" fmla="*/ 9550 w 35769"/>
                <a:gd name="connsiteY23" fmla="*/ 1600 h 17966"/>
                <a:gd name="connsiteX24" fmla="*/ 9400 w 35769"/>
                <a:gd name="connsiteY24" fmla="*/ 1697 h 17966"/>
                <a:gd name="connsiteX25" fmla="*/ 4064 w 35769"/>
                <a:gd name="connsiteY25" fmla="*/ 4633 h 17966"/>
                <a:gd name="connsiteX26" fmla="*/ 0 w 35769"/>
                <a:gd name="connsiteY26" fmla="*/ 7236 h 17966"/>
                <a:gd name="connsiteX27" fmla="*/ 5438 w 35769"/>
                <a:gd name="connsiteY27" fmla="*/ 7723 h 17966"/>
                <a:gd name="connsiteX28" fmla="*/ 7805 w 35769"/>
                <a:gd name="connsiteY28" fmla="*/ 5346 h 17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5769" h="17966">
                  <a:moveTo>
                    <a:pt x="7805" y="5346"/>
                  </a:moveTo>
                  <a:lnTo>
                    <a:pt x="9791" y="4965"/>
                  </a:lnTo>
                  <a:lnTo>
                    <a:pt x="10919" y="6624"/>
                  </a:lnTo>
                  <a:lnTo>
                    <a:pt x="10919" y="8610"/>
                  </a:lnTo>
                  <a:lnTo>
                    <a:pt x="11768" y="7400"/>
                  </a:lnTo>
                  <a:cubicBezTo>
                    <a:pt x="12235" y="6720"/>
                    <a:pt x="13098" y="6440"/>
                    <a:pt x="13865" y="6734"/>
                  </a:cubicBezTo>
                  <a:lnTo>
                    <a:pt x="20223" y="9015"/>
                  </a:lnTo>
                  <a:lnTo>
                    <a:pt x="25931" y="9612"/>
                  </a:lnTo>
                  <a:lnTo>
                    <a:pt x="26128" y="9612"/>
                  </a:lnTo>
                  <a:lnTo>
                    <a:pt x="32053" y="10808"/>
                  </a:lnTo>
                  <a:lnTo>
                    <a:pt x="33480" y="12225"/>
                  </a:lnTo>
                  <a:lnTo>
                    <a:pt x="34603" y="17808"/>
                  </a:lnTo>
                  <a:lnTo>
                    <a:pt x="34719" y="17967"/>
                  </a:lnTo>
                  <a:lnTo>
                    <a:pt x="35770" y="12674"/>
                  </a:lnTo>
                  <a:lnTo>
                    <a:pt x="34140" y="7144"/>
                  </a:lnTo>
                  <a:lnTo>
                    <a:pt x="34232" y="6262"/>
                  </a:lnTo>
                  <a:lnTo>
                    <a:pt x="31364" y="5457"/>
                  </a:lnTo>
                  <a:lnTo>
                    <a:pt x="25738" y="4907"/>
                  </a:lnTo>
                  <a:lnTo>
                    <a:pt x="19370" y="5476"/>
                  </a:lnTo>
                  <a:lnTo>
                    <a:pt x="18700" y="5389"/>
                  </a:lnTo>
                  <a:lnTo>
                    <a:pt x="12736" y="3625"/>
                  </a:lnTo>
                  <a:cubicBezTo>
                    <a:pt x="11849" y="3346"/>
                    <a:pt x="11290" y="2430"/>
                    <a:pt x="11488" y="1533"/>
                  </a:cubicBezTo>
                  <a:lnTo>
                    <a:pt x="11787" y="0"/>
                  </a:lnTo>
                  <a:lnTo>
                    <a:pt x="9550" y="1600"/>
                  </a:lnTo>
                  <a:lnTo>
                    <a:pt x="9400" y="1697"/>
                  </a:lnTo>
                  <a:lnTo>
                    <a:pt x="4064" y="4633"/>
                  </a:lnTo>
                  <a:lnTo>
                    <a:pt x="0" y="7236"/>
                  </a:lnTo>
                  <a:lnTo>
                    <a:pt x="5438" y="7723"/>
                  </a:lnTo>
                  <a:lnTo>
                    <a:pt x="7805" y="534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02" name="Freihandform: Form 201">
              <a:extLst>
                <a:ext uri="{FF2B5EF4-FFF2-40B4-BE49-F238E27FC236}">
                  <a16:creationId xmlns:a16="http://schemas.microsoft.com/office/drawing/2014/main" id="{12FAE256-5FFE-557A-1E97-F73756E50CCF}"/>
                </a:ext>
              </a:extLst>
            </p:cNvPr>
            <p:cNvSpPr/>
            <p:nvPr/>
          </p:nvSpPr>
          <p:spPr>
            <a:xfrm>
              <a:off x="5613491" y="1506458"/>
              <a:ext cx="7937" cy="15876"/>
            </a:xfrm>
            <a:custGeom>
              <a:avLst/>
              <a:gdLst>
                <a:gd name="connsiteX0" fmla="*/ 5221 w 7313"/>
                <a:gd name="connsiteY0" fmla="*/ 7747 h 12018"/>
                <a:gd name="connsiteX1" fmla="*/ 5428 w 7313"/>
                <a:gd name="connsiteY1" fmla="*/ 9188 h 12018"/>
                <a:gd name="connsiteX2" fmla="*/ 4671 w 7313"/>
                <a:gd name="connsiteY2" fmla="*/ 12018 h 12018"/>
                <a:gd name="connsiteX3" fmla="*/ 6739 w 7313"/>
                <a:gd name="connsiteY3" fmla="*/ 11088 h 12018"/>
                <a:gd name="connsiteX4" fmla="*/ 6691 w 7313"/>
                <a:gd name="connsiteY4" fmla="*/ 11025 h 12018"/>
                <a:gd name="connsiteX5" fmla="*/ 4893 w 7313"/>
                <a:gd name="connsiteY5" fmla="*/ 5067 h 12018"/>
                <a:gd name="connsiteX6" fmla="*/ 5737 w 7313"/>
                <a:gd name="connsiteY6" fmla="*/ 2955 h 12018"/>
                <a:gd name="connsiteX7" fmla="*/ 7313 w 7313"/>
                <a:gd name="connsiteY7" fmla="*/ 2058 h 12018"/>
                <a:gd name="connsiteX8" fmla="*/ 5983 w 7313"/>
                <a:gd name="connsiteY8" fmla="*/ 2058 h 12018"/>
                <a:gd name="connsiteX9" fmla="*/ 829 w 7313"/>
                <a:gd name="connsiteY9" fmla="*/ 0 h 12018"/>
                <a:gd name="connsiteX10" fmla="*/ 0 w 7313"/>
                <a:gd name="connsiteY10" fmla="*/ 472 h 12018"/>
                <a:gd name="connsiteX11" fmla="*/ 1070 w 7313"/>
                <a:gd name="connsiteY11" fmla="*/ 1181 h 12018"/>
                <a:gd name="connsiteX12" fmla="*/ 5221 w 7313"/>
                <a:gd name="connsiteY12" fmla="*/ 7747 h 12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13" h="12018">
                  <a:moveTo>
                    <a:pt x="5221" y="7747"/>
                  </a:moveTo>
                  <a:lnTo>
                    <a:pt x="5428" y="9188"/>
                  </a:lnTo>
                  <a:lnTo>
                    <a:pt x="4671" y="12018"/>
                  </a:lnTo>
                  <a:lnTo>
                    <a:pt x="6739" y="11088"/>
                  </a:lnTo>
                  <a:lnTo>
                    <a:pt x="6691" y="11025"/>
                  </a:lnTo>
                  <a:lnTo>
                    <a:pt x="4893" y="5067"/>
                  </a:lnTo>
                  <a:cubicBezTo>
                    <a:pt x="4667" y="4266"/>
                    <a:pt x="5014" y="3403"/>
                    <a:pt x="5737" y="2955"/>
                  </a:cubicBezTo>
                  <a:lnTo>
                    <a:pt x="7313" y="2058"/>
                  </a:lnTo>
                  <a:lnTo>
                    <a:pt x="5983" y="2058"/>
                  </a:lnTo>
                  <a:lnTo>
                    <a:pt x="829" y="0"/>
                  </a:lnTo>
                  <a:lnTo>
                    <a:pt x="0" y="472"/>
                  </a:lnTo>
                  <a:cubicBezTo>
                    <a:pt x="410" y="578"/>
                    <a:pt x="805" y="795"/>
                    <a:pt x="1070" y="1181"/>
                  </a:cubicBezTo>
                  <a:lnTo>
                    <a:pt x="5221" y="774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03" name="Freihandform: Form 202">
              <a:extLst>
                <a:ext uri="{FF2B5EF4-FFF2-40B4-BE49-F238E27FC236}">
                  <a16:creationId xmlns:a16="http://schemas.microsoft.com/office/drawing/2014/main" id="{A97F8005-9722-549E-057C-37417A86E935}"/>
                </a:ext>
              </a:extLst>
            </p:cNvPr>
            <p:cNvSpPr/>
            <p:nvPr/>
          </p:nvSpPr>
          <p:spPr>
            <a:xfrm>
              <a:off x="5165867" y="2158944"/>
              <a:ext cx="0" cy="0"/>
            </a:xfrm>
            <a:custGeom>
              <a:avLst/>
              <a:gdLst>
                <a:gd name="connsiteX0" fmla="*/ 87 w 86"/>
                <a:gd name="connsiteY0" fmla="*/ 68 h 67"/>
                <a:gd name="connsiteX1" fmla="*/ 0 w 86"/>
                <a:gd name="connsiteY1" fmla="*/ 0 h 67"/>
                <a:gd name="connsiteX2" fmla="*/ 87 w 86"/>
                <a:gd name="connsiteY2" fmla="*/ 68 h 67"/>
              </a:gdLst>
              <a:ahLst/>
              <a:cxnLst>
                <a:cxn ang="0">
                  <a:pos x="connsiteX0" y="connsiteY0"/>
                </a:cxn>
                <a:cxn ang="0">
                  <a:pos x="connsiteX1" y="connsiteY1"/>
                </a:cxn>
                <a:cxn ang="0">
                  <a:pos x="connsiteX2" y="connsiteY2"/>
                </a:cxn>
              </a:cxnLst>
              <a:rect l="l" t="t" r="r" b="b"/>
              <a:pathLst>
                <a:path w="86" h="67">
                  <a:moveTo>
                    <a:pt x="87" y="68"/>
                  </a:moveTo>
                  <a:lnTo>
                    <a:pt x="0" y="0"/>
                  </a:lnTo>
                  <a:lnTo>
                    <a:pt x="87" y="6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04" name="Freihandform: Form 203">
              <a:extLst>
                <a:ext uri="{FF2B5EF4-FFF2-40B4-BE49-F238E27FC236}">
                  <a16:creationId xmlns:a16="http://schemas.microsoft.com/office/drawing/2014/main" id="{266F2F13-6A51-3B4A-61E0-6E1A59DD5926}"/>
                </a:ext>
              </a:extLst>
            </p:cNvPr>
            <p:cNvSpPr/>
            <p:nvPr/>
          </p:nvSpPr>
          <p:spPr>
            <a:xfrm>
              <a:off x="5624603" y="1511220"/>
              <a:ext cx="4761" cy="6350"/>
            </a:xfrm>
            <a:custGeom>
              <a:avLst/>
              <a:gdLst>
                <a:gd name="connsiteX0" fmla="*/ 4502 w 4502"/>
                <a:gd name="connsiteY0" fmla="*/ 3553 h 4902"/>
                <a:gd name="connsiteX1" fmla="*/ 4372 w 4502"/>
                <a:gd name="connsiteY1" fmla="*/ 3481 h 4902"/>
                <a:gd name="connsiteX2" fmla="*/ 3717 w 4502"/>
                <a:gd name="connsiteY2" fmla="*/ 0 h 4902"/>
                <a:gd name="connsiteX3" fmla="*/ 0 w 4502"/>
                <a:gd name="connsiteY3" fmla="*/ 2165 h 4902"/>
                <a:gd name="connsiteX4" fmla="*/ 819 w 4502"/>
                <a:gd name="connsiteY4" fmla="*/ 4903 h 4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2" h="4902">
                  <a:moveTo>
                    <a:pt x="4502" y="3553"/>
                  </a:moveTo>
                  <a:lnTo>
                    <a:pt x="4372" y="3481"/>
                  </a:lnTo>
                  <a:lnTo>
                    <a:pt x="3717" y="0"/>
                  </a:lnTo>
                  <a:lnTo>
                    <a:pt x="0" y="2165"/>
                  </a:lnTo>
                  <a:lnTo>
                    <a:pt x="819" y="490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05" name="Freihandform: Form 204">
              <a:extLst>
                <a:ext uri="{FF2B5EF4-FFF2-40B4-BE49-F238E27FC236}">
                  <a16:creationId xmlns:a16="http://schemas.microsoft.com/office/drawing/2014/main" id="{B920F1A4-F80F-4711-BFC3-DA26DF0550FE}"/>
                </a:ext>
              </a:extLst>
            </p:cNvPr>
            <p:cNvSpPr/>
            <p:nvPr/>
          </p:nvSpPr>
          <p:spPr>
            <a:xfrm>
              <a:off x="5538887" y="1638225"/>
              <a:ext cx="17460" cy="15876"/>
            </a:xfrm>
            <a:custGeom>
              <a:avLst/>
              <a:gdLst>
                <a:gd name="connsiteX0" fmla="*/ 4194 w 13382"/>
                <a:gd name="connsiteY0" fmla="*/ 6421 h 12591"/>
                <a:gd name="connsiteX1" fmla="*/ 4623 w 13382"/>
                <a:gd name="connsiteY1" fmla="*/ 12534 h 12591"/>
                <a:gd name="connsiteX2" fmla="*/ 8668 w 13382"/>
                <a:gd name="connsiteY2" fmla="*/ 10312 h 12591"/>
                <a:gd name="connsiteX3" fmla="*/ 10948 w 13382"/>
                <a:gd name="connsiteY3" fmla="*/ 10789 h 12591"/>
                <a:gd name="connsiteX4" fmla="*/ 12375 w 13382"/>
                <a:gd name="connsiteY4" fmla="*/ 12592 h 12591"/>
                <a:gd name="connsiteX5" fmla="*/ 12944 w 13382"/>
                <a:gd name="connsiteY5" fmla="*/ 12066 h 12591"/>
                <a:gd name="connsiteX6" fmla="*/ 13382 w 13382"/>
                <a:gd name="connsiteY6" fmla="*/ 11878 h 12591"/>
                <a:gd name="connsiteX7" fmla="*/ 12278 w 13382"/>
                <a:gd name="connsiteY7" fmla="*/ 11280 h 12591"/>
                <a:gd name="connsiteX8" fmla="*/ 7530 w 13382"/>
                <a:gd name="connsiteY8" fmla="*/ 5336 h 12591"/>
                <a:gd name="connsiteX9" fmla="*/ 7327 w 13382"/>
                <a:gd name="connsiteY9" fmla="*/ 4565 h 12591"/>
                <a:gd name="connsiteX10" fmla="*/ 5997 w 13382"/>
                <a:gd name="connsiteY10" fmla="*/ 4710 h 12591"/>
                <a:gd name="connsiteX11" fmla="*/ 4743 w 13382"/>
                <a:gd name="connsiteY11" fmla="*/ 2791 h 12591"/>
                <a:gd name="connsiteX12" fmla="*/ 5028 w 13382"/>
                <a:gd name="connsiteY12" fmla="*/ 0 h 12591"/>
                <a:gd name="connsiteX13" fmla="*/ 1369 w 13382"/>
                <a:gd name="connsiteY13" fmla="*/ 1673 h 12591"/>
                <a:gd name="connsiteX14" fmla="*/ 0 w 13382"/>
                <a:gd name="connsiteY14" fmla="*/ 1620 h 12591"/>
                <a:gd name="connsiteX15" fmla="*/ 3683 w 13382"/>
                <a:gd name="connsiteY15" fmla="*/ 5284 h 12591"/>
                <a:gd name="connsiteX16" fmla="*/ 4194 w 13382"/>
                <a:gd name="connsiteY16" fmla="*/ 6421 h 1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382" h="12591">
                  <a:moveTo>
                    <a:pt x="4194" y="6421"/>
                  </a:moveTo>
                  <a:lnTo>
                    <a:pt x="4623" y="12534"/>
                  </a:lnTo>
                  <a:lnTo>
                    <a:pt x="8668" y="10312"/>
                  </a:lnTo>
                  <a:cubicBezTo>
                    <a:pt x="9420" y="9902"/>
                    <a:pt x="10413" y="10104"/>
                    <a:pt x="10948" y="10789"/>
                  </a:cubicBezTo>
                  <a:lnTo>
                    <a:pt x="12375" y="12592"/>
                  </a:lnTo>
                  <a:cubicBezTo>
                    <a:pt x="12548" y="12394"/>
                    <a:pt x="12717" y="12148"/>
                    <a:pt x="12944" y="12066"/>
                  </a:cubicBezTo>
                  <a:lnTo>
                    <a:pt x="13382" y="11878"/>
                  </a:lnTo>
                  <a:lnTo>
                    <a:pt x="12278" y="11280"/>
                  </a:lnTo>
                  <a:lnTo>
                    <a:pt x="7530" y="5336"/>
                  </a:lnTo>
                  <a:lnTo>
                    <a:pt x="7327" y="4565"/>
                  </a:lnTo>
                  <a:cubicBezTo>
                    <a:pt x="6927" y="4787"/>
                    <a:pt x="6450" y="4898"/>
                    <a:pt x="5997" y="4710"/>
                  </a:cubicBezTo>
                  <a:cubicBezTo>
                    <a:pt x="5177" y="4459"/>
                    <a:pt x="4671" y="3669"/>
                    <a:pt x="4743" y="2791"/>
                  </a:cubicBezTo>
                  <a:lnTo>
                    <a:pt x="5028" y="0"/>
                  </a:lnTo>
                  <a:lnTo>
                    <a:pt x="1369" y="1673"/>
                  </a:lnTo>
                  <a:lnTo>
                    <a:pt x="0" y="1620"/>
                  </a:lnTo>
                  <a:lnTo>
                    <a:pt x="3683" y="5284"/>
                  </a:lnTo>
                  <a:lnTo>
                    <a:pt x="4194" y="642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06" name="Freihandform: Form 205">
              <a:extLst>
                <a:ext uri="{FF2B5EF4-FFF2-40B4-BE49-F238E27FC236}">
                  <a16:creationId xmlns:a16="http://schemas.microsoft.com/office/drawing/2014/main" id="{293877C9-8584-33B7-60BF-75780A55A63B}"/>
                </a:ext>
              </a:extLst>
            </p:cNvPr>
            <p:cNvSpPr/>
            <p:nvPr/>
          </p:nvSpPr>
          <p:spPr>
            <a:xfrm>
              <a:off x="5310313" y="2004952"/>
              <a:ext cx="3175" cy="1587"/>
            </a:xfrm>
            <a:custGeom>
              <a:avLst/>
              <a:gdLst>
                <a:gd name="connsiteX0" fmla="*/ 2888 w 2887"/>
                <a:gd name="connsiteY0" fmla="*/ 260 h 877"/>
                <a:gd name="connsiteX1" fmla="*/ 2150 w 2887"/>
                <a:gd name="connsiteY1" fmla="*/ 0 h 877"/>
                <a:gd name="connsiteX2" fmla="*/ 0 w 2887"/>
                <a:gd name="connsiteY2" fmla="*/ 877 h 877"/>
                <a:gd name="connsiteX3" fmla="*/ 2299 w 2887"/>
                <a:gd name="connsiteY3" fmla="*/ 434 h 877"/>
              </a:gdLst>
              <a:ahLst/>
              <a:cxnLst>
                <a:cxn ang="0">
                  <a:pos x="connsiteX0" y="connsiteY0"/>
                </a:cxn>
                <a:cxn ang="0">
                  <a:pos x="connsiteX1" y="connsiteY1"/>
                </a:cxn>
                <a:cxn ang="0">
                  <a:pos x="connsiteX2" y="connsiteY2"/>
                </a:cxn>
                <a:cxn ang="0">
                  <a:pos x="connsiteX3" y="connsiteY3"/>
                </a:cxn>
              </a:cxnLst>
              <a:rect l="l" t="t" r="r" b="b"/>
              <a:pathLst>
                <a:path w="2887" h="877">
                  <a:moveTo>
                    <a:pt x="2888" y="260"/>
                  </a:moveTo>
                  <a:lnTo>
                    <a:pt x="2150" y="0"/>
                  </a:lnTo>
                  <a:lnTo>
                    <a:pt x="0" y="877"/>
                  </a:lnTo>
                  <a:lnTo>
                    <a:pt x="2299" y="43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07" name="Freihandform: Form 206">
              <a:extLst>
                <a:ext uri="{FF2B5EF4-FFF2-40B4-BE49-F238E27FC236}">
                  <a16:creationId xmlns:a16="http://schemas.microsoft.com/office/drawing/2014/main" id="{EFA8AEA0-02B5-6B82-32FC-ACE1207BB994}"/>
                </a:ext>
              </a:extLst>
            </p:cNvPr>
            <p:cNvSpPr/>
            <p:nvPr/>
          </p:nvSpPr>
          <p:spPr>
            <a:xfrm>
              <a:off x="5196026" y="2125606"/>
              <a:ext cx="14285" cy="3175"/>
            </a:xfrm>
            <a:custGeom>
              <a:avLst/>
              <a:gdLst>
                <a:gd name="connsiteX0" fmla="*/ 10601 w 10600"/>
                <a:gd name="connsiteY0" fmla="*/ 1731 h 2762"/>
                <a:gd name="connsiteX1" fmla="*/ 8513 w 10600"/>
                <a:gd name="connsiteY1" fmla="*/ 0 h 2762"/>
                <a:gd name="connsiteX2" fmla="*/ 3558 w 10600"/>
                <a:gd name="connsiteY2" fmla="*/ 979 h 2762"/>
                <a:gd name="connsiteX3" fmla="*/ 0 w 10600"/>
                <a:gd name="connsiteY3" fmla="*/ 2304 h 2762"/>
                <a:gd name="connsiteX4" fmla="*/ 4777 w 10600"/>
                <a:gd name="connsiteY4" fmla="*/ 2762 h 2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00" h="2762">
                  <a:moveTo>
                    <a:pt x="10601" y="1731"/>
                  </a:moveTo>
                  <a:lnTo>
                    <a:pt x="8513" y="0"/>
                  </a:lnTo>
                  <a:lnTo>
                    <a:pt x="3558" y="979"/>
                  </a:lnTo>
                  <a:lnTo>
                    <a:pt x="0" y="2304"/>
                  </a:lnTo>
                  <a:lnTo>
                    <a:pt x="4777" y="276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08" name="Freihandform: Form 207">
              <a:extLst>
                <a:ext uri="{FF2B5EF4-FFF2-40B4-BE49-F238E27FC236}">
                  <a16:creationId xmlns:a16="http://schemas.microsoft.com/office/drawing/2014/main" id="{9716F0CE-5B27-A520-51BE-ABF523EFCE93}"/>
                </a:ext>
              </a:extLst>
            </p:cNvPr>
            <p:cNvSpPr/>
            <p:nvPr/>
          </p:nvSpPr>
          <p:spPr>
            <a:xfrm>
              <a:off x="5223010" y="2112906"/>
              <a:ext cx="4762" cy="3175"/>
            </a:xfrm>
            <a:custGeom>
              <a:avLst/>
              <a:gdLst>
                <a:gd name="connsiteX0" fmla="*/ 3823 w 3822"/>
                <a:gd name="connsiteY0" fmla="*/ 3533 h 3533"/>
                <a:gd name="connsiteX1" fmla="*/ 0 w 3822"/>
                <a:gd name="connsiteY1" fmla="*/ 0 h 3533"/>
                <a:gd name="connsiteX2" fmla="*/ 1721 w 3822"/>
                <a:gd name="connsiteY2" fmla="*/ 2560 h 3533"/>
              </a:gdLst>
              <a:ahLst/>
              <a:cxnLst>
                <a:cxn ang="0">
                  <a:pos x="connsiteX0" y="connsiteY0"/>
                </a:cxn>
                <a:cxn ang="0">
                  <a:pos x="connsiteX1" y="connsiteY1"/>
                </a:cxn>
                <a:cxn ang="0">
                  <a:pos x="connsiteX2" y="connsiteY2"/>
                </a:cxn>
              </a:cxnLst>
              <a:rect l="l" t="t" r="r" b="b"/>
              <a:pathLst>
                <a:path w="3822" h="3533">
                  <a:moveTo>
                    <a:pt x="3823" y="3533"/>
                  </a:moveTo>
                  <a:lnTo>
                    <a:pt x="0" y="0"/>
                  </a:lnTo>
                  <a:lnTo>
                    <a:pt x="1721" y="256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09" name="Freihandform: Form 208">
              <a:extLst>
                <a:ext uri="{FF2B5EF4-FFF2-40B4-BE49-F238E27FC236}">
                  <a16:creationId xmlns:a16="http://schemas.microsoft.com/office/drawing/2014/main" id="{4AA994F5-BEF3-3AB7-572A-6D25072D87FB}"/>
                </a:ext>
              </a:extLst>
            </p:cNvPr>
            <p:cNvSpPr/>
            <p:nvPr/>
          </p:nvSpPr>
          <p:spPr>
            <a:xfrm>
              <a:off x="5630952" y="1503283"/>
              <a:ext cx="11111" cy="7937"/>
            </a:xfrm>
            <a:custGeom>
              <a:avLst/>
              <a:gdLst>
                <a:gd name="connsiteX0" fmla="*/ 1379 w 7790"/>
                <a:gd name="connsiteY0" fmla="*/ 6576 h 6575"/>
                <a:gd name="connsiteX1" fmla="*/ 5944 w 7790"/>
                <a:gd name="connsiteY1" fmla="*/ 3158 h 6575"/>
                <a:gd name="connsiteX2" fmla="*/ 7790 w 7790"/>
                <a:gd name="connsiteY2" fmla="*/ 0 h 6575"/>
                <a:gd name="connsiteX3" fmla="*/ 6735 w 7790"/>
                <a:gd name="connsiteY3" fmla="*/ 964 h 6575"/>
                <a:gd name="connsiteX4" fmla="*/ 5848 w 7790"/>
                <a:gd name="connsiteY4" fmla="*/ 1432 h 6575"/>
                <a:gd name="connsiteX5" fmla="*/ 0 w 7790"/>
                <a:gd name="connsiteY5" fmla="*/ 2502 h 6575"/>
                <a:gd name="connsiteX6" fmla="*/ 762 w 7790"/>
                <a:gd name="connsiteY6" fmla="*/ 3452 h 6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0" h="6575">
                  <a:moveTo>
                    <a:pt x="1379" y="6576"/>
                  </a:moveTo>
                  <a:lnTo>
                    <a:pt x="5944" y="3158"/>
                  </a:lnTo>
                  <a:lnTo>
                    <a:pt x="7790" y="0"/>
                  </a:lnTo>
                  <a:lnTo>
                    <a:pt x="6735" y="964"/>
                  </a:lnTo>
                  <a:lnTo>
                    <a:pt x="5848" y="1432"/>
                  </a:lnTo>
                  <a:lnTo>
                    <a:pt x="0" y="2502"/>
                  </a:lnTo>
                  <a:lnTo>
                    <a:pt x="762" y="345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10" name="Freihandform: Form 209">
              <a:extLst>
                <a:ext uri="{FF2B5EF4-FFF2-40B4-BE49-F238E27FC236}">
                  <a16:creationId xmlns:a16="http://schemas.microsoft.com/office/drawing/2014/main" id="{D31193F0-2454-E266-3C53-DD529229A636}"/>
                </a:ext>
              </a:extLst>
            </p:cNvPr>
            <p:cNvSpPr/>
            <p:nvPr/>
          </p:nvSpPr>
          <p:spPr>
            <a:xfrm>
              <a:off x="5583332" y="1566785"/>
              <a:ext cx="4761" cy="6350"/>
            </a:xfrm>
            <a:custGeom>
              <a:avLst/>
              <a:gdLst>
                <a:gd name="connsiteX0" fmla="*/ 4025 w 4025"/>
                <a:gd name="connsiteY0" fmla="*/ 4599 h 4598"/>
                <a:gd name="connsiteX1" fmla="*/ 2454 w 4025"/>
                <a:gd name="connsiteY1" fmla="*/ 212 h 4598"/>
                <a:gd name="connsiteX2" fmla="*/ 0 w 4025"/>
                <a:gd name="connsiteY2" fmla="*/ 0 h 4598"/>
                <a:gd name="connsiteX3" fmla="*/ 400 w 4025"/>
                <a:gd name="connsiteY3" fmla="*/ 284 h 4598"/>
              </a:gdLst>
              <a:ahLst/>
              <a:cxnLst>
                <a:cxn ang="0">
                  <a:pos x="connsiteX0" y="connsiteY0"/>
                </a:cxn>
                <a:cxn ang="0">
                  <a:pos x="connsiteX1" y="connsiteY1"/>
                </a:cxn>
                <a:cxn ang="0">
                  <a:pos x="connsiteX2" y="connsiteY2"/>
                </a:cxn>
                <a:cxn ang="0">
                  <a:pos x="connsiteX3" y="connsiteY3"/>
                </a:cxn>
              </a:cxnLst>
              <a:rect l="l" t="t" r="r" b="b"/>
              <a:pathLst>
                <a:path w="4025" h="4598">
                  <a:moveTo>
                    <a:pt x="4025" y="4599"/>
                  </a:moveTo>
                  <a:lnTo>
                    <a:pt x="2454" y="212"/>
                  </a:lnTo>
                  <a:lnTo>
                    <a:pt x="0" y="0"/>
                  </a:lnTo>
                  <a:lnTo>
                    <a:pt x="400" y="28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11" name="Freihandform: Form 210">
              <a:extLst>
                <a:ext uri="{FF2B5EF4-FFF2-40B4-BE49-F238E27FC236}">
                  <a16:creationId xmlns:a16="http://schemas.microsoft.com/office/drawing/2014/main" id="{32D7468C-9694-A6A4-E0FA-FDFC2065DBAB}"/>
                </a:ext>
              </a:extLst>
            </p:cNvPr>
            <p:cNvSpPr/>
            <p:nvPr/>
          </p:nvSpPr>
          <p:spPr>
            <a:xfrm>
              <a:off x="6243658" y="584085"/>
              <a:ext cx="1587" cy="3175"/>
            </a:xfrm>
            <a:custGeom>
              <a:avLst/>
              <a:gdLst>
                <a:gd name="connsiteX0" fmla="*/ 1596 w 1595"/>
                <a:gd name="connsiteY0" fmla="*/ 0 h 2424"/>
                <a:gd name="connsiteX1" fmla="*/ 0 w 1595"/>
                <a:gd name="connsiteY1" fmla="*/ 1981 h 2424"/>
                <a:gd name="connsiteX2" fmla="*/ 1596 w 1595"/>
                <a:gd name="connsiteY2" fmla="*/ 2425 h 2424"/>
              </a:gdLst>
              <a:ahLst/>
              <a:cxnLst>
                <a:cxn ang="0">
                  <a:pos x="connsiteX0" y="connsiteY0"/>
                </a:cxn>
                <a:cxn ang="0">
                  <a:pos x="connsiteX1" y="connsiteY1"/>
                </a:cxn>
                <a:cxn ang="0">
                  <a:pos x="connsiteX2" y="connsiteY2"/>
                </a:cxn>
              </a:cxnLst>
              <a:rect l="l" t="t" r="r" b="b"/>
              <a:pathLst>
                <a:path w="1595" h="2424">
                  <a:moveTo>
                    <a:pt x="1596" y="0"/>
                  </a:moveTo>
                  <a:lnTo>
                    <a:pt x="0" y="1981"/>
                  </a:lnTo>
                  <a:lnTo>
                    <a:pt x="1596" y="242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12" name="Freihandform: Form 211">
              <a:extLst>
                <a:ext uri="{FF2B5EF4-FFF2-40B4-BE49-F238E27FC236}">
                  <a16:creationId xmlns:a16="http://schemas.microsoft.com/office/drawing/2014/main" id="{D9BC090E-83A5-467B-9C9F-A85187BA9180}"/>
                </a:ext>
              </a:extLst>
            </p:cNvPr>
            <p:cNvSpPr/>
            <p:nvPr/>
          </p:nvSpPr>
          <p:spPr>
            <a:xfrm>
              <a:off x="6265880" y="572972"/>
              <a:ext cx="6349" cy="9525"/>
            </a:xfrm>
            <a:custGeom>
              <a:avLst/>
              <a:gdLst>
                <a:gd name="connsiteX0" fmla="*/ 3143 w 5076"/>
                <a:gd name="connsiteY0" fmla="*/ 6036 h 7033"/>
                <a:gd name="connsiteX1" fmla="*/ 3211 w 5076"/>
                <a:gd name="connsiteY1" fmla="*/ 7033 h 7033"/>
                <a:gd name="connsiteX2" fmla="*/ 5076 w 5076"/>
                <a:gd name="connsiteY2" fmla="*/ 4339 h 7033"/>
                <a:gd name="connsiteX3" fmla="*/ 2319 w 5076"/>
                <a:gd name="connsiteY3" fmla="*/ 0 h 7033"/>
                <a:gd name="connsiteX4" fmla="*/ 0 w 5076"/>
                <a:gd name="connsiteY4" fmla="*/ 680 h 7033"/>
                <a:gd name="connsiteX5" fmla="*/ 2863 w 5076"/>
                <a:gd name="connsiteY5" fmla="*/ 5187 h 7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76" h="7033">
                  <a:moveTo>
                    <a:pt x="3143" y="6036"/>
                  </a:moveTo>
                  <a:lnTo>
                    <a:pt x="3211" y="7033"/>
                  </a:lnTo>
                  <a:lnTo>
                    <a:pt x="5076" y="4339"/>
                  </a:lnTo>
                  <a:lnTo>
                    <a:pt x="2319" y="0"/>
                  </a:lnTo>
                  <a:lnTo>
                    <a:pt x="0" y="680"/>
                  </a:lnTo>
                  <a:lnTo>
                    <a:pt x="2863" y="518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13" name="Freihandform: Form 212">
              <a:extLst>
                <a:ext uri="{FF2B5EF4-FFF2-40B4-BE49-F238E27FC236}">
                  <a16:creationId xmlns:a16="http://schemas.microsoft.com/office/drawing/2014/main" id="{A69AD9AD-36F1-28CC-8928-571B14981496}"/>
                </a:ext>
              </a:extLst>
            </p:cNvPr>
            <p:cNvSpPr/>
            <p:nvPr/>
          </p:nvSpPr>
          <p:spPr>
            <a:xfrm>
              <a:off x="5772223" y="1130205"/>
              <a:ext cx="23810" cy="15876"/>
            </a:xfrm>
            <a:custGeom>
              <a:avLst/>
              <a:gdLst>
                <a:gd name="connsiteX0" fmla="*/ 13527 w 18742"/>
                <a:gd name="connsiteY0" fmla="*/ 8957 h 12254"/>
                <a:gd name="connsiteX1" fmla="*/ 18743 w 18742"/>
                <a:gd name="connsiteY1" fmla="*/ 12254 h 12254"/>
                <a:gd name="connsiteX2" fmla="*/ 16453 w 18742"/>
                <a:gd name="connsiteY2" fmla="*/ 8036 h 12254"/>
                <a:gd name="connsiteX3" fmla="*/ 11102 w 18742"/>
                <a:gd name="connsiteY3" fmla="*/ 3254 h 12254"/>
                <a:gd name="connsiteX4" fmla="*/ 5071 w 18742"/>
                <a:gd name="connsiteY4" fmla="*/ 2155 h 12254"/>
                <a:gd name="connsiteX5" fmla="*/ 4551 w 18742"/>
                <a:gd name="connsiteY5" fmla="*/ 2001 h 12254"/>
                <a:gd name="connsiteX6" fmla="*/ 612 w 18742"/>
                <a:gd name="connsiteY6" fmla="*/ 0 h 12254"/>
                <a:gd name="connsiteX7" fmla="*/ 0 w 18742"/>
                <a:gd name="connsiteY7" fmla="*/ 2295 h 12254"/>
                <a:gd name="connsiteX8" fmla="*/ 4363 w 18742"/>
                <a:gd name="connsiteY8" fmla="*/ 2709 h 12254"/>
                <a:gd name="connsiteX9" fmla="*/ 5949 w 18742"/>
                <a:gd name="connsiteY9" fmla="*/ 3972 h 12254"/>
                <a:gd name="connsiteX10" fmla="*/ 5423 w 18742"/>
                <a:gd name="connsiteY10" fmla="*/ 5881 h 12254"/>
                <a:gd name="connsiteX11" fmla="*/ 2647 w 18742"/>
                <a:gd name="connsiteY11" fmla="*/ 8364 h 12254"/>
                <a:gd name="connsiteX12" fmla="*/ 6653 w 18742"/>
                <a:gd name="connsiteY12" fmla="*/ 8648 h 12254"/>
                <a:gd name="connsiteX13" fmla="*/ 12539 w 18742"/>
                <a:gd name="connsiteY13" fmla="*/ 8648 h 12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42" h="12254">
                  <a:moveTo>
                    <a:pt x="13527" y="8957"/>
                  </a:moveTo>
                  <a:lnTo>
                    <a:pt x="18743" y="12254"/>
                  </a:lnTo>
                  <a:lnTo>
                    <a:pt x="16453" y="8036"/>
                  </a:lnTo>
                  <a:lnTo>
                    <a:pt x="11102" y="3254"/>
                  </a:lnTo>
                  <a:lnTo>
                    <a:pt x="5071" y="2155"/>
                  </a:lnTo>
                  <a:lnTo>
                    <a:pt x="4551" y="2001"/>
                  </a:lnTo>
                  <a:lnTo>
                    <a:pt x="612" y="0"/>
                  </a:lnTo>
                  <a:lnTo>
                    <a:pt x="0" y="2295"/>
                  </a:lnTo>
                  <a:lnTo>
                    <a:pt x="4363" y="2709"/>
                  </a:lnTo>
                  <a:lnTo>
                    <a:pt x="5949" y="3972"/>
                  </a:lnTo>
                  <a:lnTo>
                    <a:pt x="5423" y="5881"/>
                  </a:lnTo>
                  <a:lnTo>
                    <a:pt x="2647" y="8364"/>
                  </a:lnTo>
                  <a:lnTo>
                    <a:pt x="6653" y="8648"/>
                  </a:lnTo>
                  <a:lnTo>
                    <a:pt x="12539" y="864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14" name="Freihandform: Form 213">
              <a:extLst>
                <a:ext uri="{FF2B5EF4-FFF2-40B4-BE49-F238E27FC236}">
                  <a16:creationId xmlns:a16="http://schemas.microsoft.com/office/drawing/2014/main" id="{5ECED73E-4299-0770-07C0-F07CDFE3616C}"/>
                </a:ext>
              </a:extLst>
            </p:cNvPr>
            <p:cNvSpPr/>
            <p:nvPr/>
          </p:nvSpPr>
          <p:spPr>
            <a:xfrm>
              <a:off x="6024608" y="2657438"/>
              <a:ext cx="38096" cy="31751"/>
            </a:xfrm>
            <a:custGeom>
              <a:avLst/>
              <a:gdLst>
                <a:gd name="connsiteX0" fmla="*/ 0 w 29956"/>
                <a:gd name="connsiteY0" fmla="*/ 7231 h 24291"/>
                <a:gd name="connsiteX1" fmla="*/ 9295 w 29956"/>
                <a:gd name="connsiteY1" fmla="*/ 24292 h 24291"/>
                <a:gd name="connsiteX2" fmla="*/ 23742 w 29956"/>
                <a:gd name="connsiteY2" fmla="*/ 24292 h 24291"/>
                <a:gd name="connsiteX3" fmla="*/ 29956 w 29956"/>
                <a:gd name="connsiteY3" fmla="*/ 19119 h 24291"/>
                <a:gd name="connsiteX4" fmla="*/ 7217 w 29956"/>
                <a:gd name="connsiteY4" fmla="*/ 0 h 24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56" h="24291">
                  <a:moveTo>
                    <a:pt x="0" y="7231"/>
                  </a:moveTo>
                  <a:lnTo>
                    <a:pt x="9295" y="24292"/>
                  </a:lnTo>
                  <a:lnTo>
                    <a:pt x="23742" y="24292"/>
                  </a:lnTo>
                  <a:lnTo>
                    <a:pt x="29956" y="19119"/>
                  </a:lnTo>
                  <a:lnTo>
                    <a:pt x="7217"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15" name="Freihandform: Form 214">
              <a:extLst>
                <a:ext uri="{FF2B5EF4-FFF2-40B4-BE49-F238E27FC236}">
                  <a16:creationId xmlns:a16="http://schemas.microsoft.com/office/drawing/2014/main" id="{7B2D137B-9E12-11E1-AD1E-1588C35EDE3D}"/>
                </a:ext>
              </a:extLst>
            </p:cNvPr>
            <p:cNvSpPr/>
            <p:nvPr/>
          </p:nvSpPr>
          <p:spPr>
            <a:xfrm>
              <a:off x="5900797" y="5111806"/>
              <a:ext cx="31746" cy="88903"/>
            </a:xfrm>
            <a:custGeom>
              <a:avLst/>
              <a:gdLst>
                <a:gd name="connsiteX0" fmla="*/ 17244 w 24407"/>
                <a:gd name="connsiteY0" fmla="*/ 38691 h 69630"/>
                <a:gd name="connsiteX1" fmla="*/ 17244 w 24407"/>
                <a:gd name="connsiteY1" fmla="*/ 32159 h 69630"/>
                <a:gd name="connsiteX2" fmla="*/ 19051 w 24407"/>
                <a:gd name="connsiteY2" fmla="*/ 25593 h 69630"/>
                <a:gd name="connsiteX3" fmla="*/ 13093 w 24407"/>
                <a:gd name="connsiteY3" fmla="*/ 22040 h 69630"/>
                <a:gd name="connsiteX4" fmla="*/ 11295 w 24407"/>
                <a:gd name="connsiteY4" fmla="*/ 19042 h 69630"/>
                <a:gd name="connsiteX5" fmla="*/ 5929 w 24407"/>
                <a:gd name="connsiteY5" fmla="*/ 6542 h 69630"/>
                <a:gd name="connsiteX6" fmla="*/ 5929 w 24407"/>
                <a:gd name="connsiteY6" fmla="*/ 0 h 69630"/>
                <a:gd name="connsiteX7" fmla="*/ 0 w 24407"/>
                <a:gd name="connsiteY7" fmla="*/ 3587 h 69630"/>
                <a:gd name="connsiteX8" fmla="*/ 593 w 24407"/>
                <a:gd name="connsiteY8" fmla="*/ 10128 h 69630"/>
                <a:gd name="connsiteX9" fmla="*/ 6542 w 24407"/>
                <a:gd name="connsiteY9" fmla="*/ 16077 h 69630"/>
                <a:gd name="connsiteX10" fmla="*/ 7718 w 24407"/>
                <a:gd name="connsiteY10" fmla="*/ 22040 h 69630"/>
                <a:gd name="connsiteX11" fmla="*/ 10712 w 24407"/>
                <a:gd name="connsiteY11" fmla="*/ 28621 h 69630"/>
                <a:gd name="connsiteX12" fmla="*/ 8345 w 24407"/>
                <a:gd name="connsiteY12" fmla="*/ 34555 h 69630"/>
                <a:gd name="connsiteX13" fmla="*/ 2372 w 24407"/>
                <a:gd name="connsiteY13" fmla="*/ 32159 h 69630"/>
                <a:gd name="connsiteX14" fmla="*/ 6542 w 24407"/>
                <a:gd name="connsiteY14" fmla="*/ 44640 h 69630"/>
                <a:gd name="connsiteX15" fmla="*/ 13093 w 24407"/>
                <a:gd name="connsiteY15" fmla="*/ 57164 h 69630"/>
                <a:gd name="connsiteX16" fmla="*/ 13696 w 24407"/>
                <a:gd name="connsiteY16" fmla="*/ 63677 h 69630"/>
                <a:gd name="connsiteX17" fmla="*/ 18449 w 24407"/>
                <a:gd name="connsiteY17" fmla="*/ 69630 h 69630"/>
                <a:gd name="connsiteX18" fmla="*/ 24407 w 24407"/>
                <a:gd name="connsiteY18" fmla="*/ 69028 h 69630"/>
                <a:gd name="connsiteX19" fmla="*/ 20247 w 24407"/>
                <a:gd name="connsiteY19" fmla="*/ 57164 h 69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407" h="69630">
                  <a:moveTo>
                    <a:pt x="17244" y="38691"/>
                  </a:moveTo>
                  <a:lnTo>
                    <a:pt x="17244" y="32159"/>
                  </a:lnTo>
                  <a:lnTo>
                    <a:pt x="19051" y="25593"/>
                  </a:lnTo>
                  <a:lnTo>
                    <a:pt x="13093" y="22040"/>
                  </a:lnTo>
                  <a:lnTo>
                    <a:pt x="11295" y="19042"/>
                  </a:lnTo>
                  <a:lnTo>
                    <a:pt x="5929" y="6542"/>
                  </a:lnTo>
                  <a:lnTo>
                    <a:pt x="5929" y="0"/>
                  </a:lnTo>
                  <a:lnTo>
                    <a:pt x="0" y="3587"/>
                  </a:lnTo>
                  <a:lnTo>
                    <a:pt x="593" y="10128"/>
                  </a:lnTo>
                  <a:lnTo>
                    <a:pt x="6542" y="16077"/>
                  </a:lnTo>
                  <a:lnTo>
                    <a:pt x="7718" y="22040"/>
                  </a:lnTo>
                  <a:lnTo>
                    <a:pt x="10712" y="28621"/>
                  </a:lnTo>
                  <a:lnTo>
                    <a:pt x="8345" y="34555"/>
                  </a:lnTo>
                  <a:lnTo>
                    <a:pt x="2372" y="32159"/>
                  </a:lnTo>
                  <a:lnTo>
                    <a:pt x="6542" y="44640"/>
                  </a:lnTo>
                  <a:lnTo>
                    <a:pt x="13093" y="57164"/>
                  </a:lnTo>
                  <a:lnTo>
                    <a:pt x="13696" y="63677"/>
                  </a:lnTo>
                  <a:lnTo>
                    <a:pt x="18449" y="69630"/>
                  </a:lnTo>
                  <a:lnTo>
                    <a:pt x="24407" y="69028"/>
                  </a:lnTo>
                  <a:lnTo>
                    <a:pt x="20247" y="5716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16" name="Freihandform: Form 215">
              <a:extLst>
                <a:ext uri="{FF2B5EF4-FFF2-40B4-BE49-F238E27FC236}">
                  <a16:creationId xmlns:a16="http://schemas.microsoft.com/office/drawing/2014/main" id="{4E683FD7-0ABE-D231-5F43-D7BBED460F92}"/>
                </a:ext>
              </a:extLst>
            </p:cNvPr>
            <p:cNvSpPr/>
            <p:nvPr/>
          </p:nvSpPr>
          <p:spPr>
            <a:xfrm>
              <a:off x="5232534" y="3125769"/>
              <a:ext cx="36509" cy="46039"/>
            </a:xfrm>
            <a:custGeom>
              <a:avLst/>
              <a:gdLst>
                <a:gd name="connsiteX0" fmla="*/ 24388 w 28552"/>
                <a:gd name="connsiteY0" fmla="*/ 0 h 36887"/>
                <a:gd name="connsiteX1" fmla="*/ 22011 w 28552"/>
                <a:gd name="connsiteY1" fmla="*/ 5954 h 36887"/>
                <a:gd name="connsiteX2" fmla="*/ 9502 w 28552"/>
                <a:gd name="connsiteY2" fmla="*/ 10119 h 36887"/>
                <a:gd name="connsiteX3" fmla="*/ 8330 w 28552"/>
                <a:gd name="connsiteY3" fmla="*/ 19620 h 36887"/>
                <a:gd name="connsiteX4" fmla="*/ 2362 w 28552"/>
                <a:gd name="connsiteY4" fmla="*/ 23192 h 36887"/>
                <a:gd name="connsiteX5" fmla="*/ 0 w 28552"/>
                <a:gd name="connsiteY5" fmla="*/ 29161 h 36887"/>
                <a:gd name="connsiteX6" fmla="*/ 6556 w 28552"/>
                <a:gd name="connsiteY6" fmla="*/ 30930 h 36887"/>
                <a:gd name="connsiteX7" fmla="*/ 9502 w 28552"/>
                <a:gd name="connsiteY7" fmla="*/ 36888 h 36887"/>
                <a:gd name="connsiteX8" fmla="*/ 13672 w 28552"/>
                <a:gd name="connsiteY8" fmla="*/ 35104 h 36887"/>
                <a:gd name="connsiteX9" fmla="*/ 19635 w 28552"/>
                <a:gd name="connsiteY9" fmla="*/ 30356 h 36887"/>
                <a:gd name="connsiteX10" fmla="*/ 23800 w 28552"/>
                <a:gd name="connsiteY10" fmla="*/ 24383 h 36887"/>
                <a:gd name="connsiteX11" fmla="*/ 24388 w 28552"/>
                <a:gd name="connsiteY11" fmla="*/ 18458 h 36887"/>
                <a:gd name="connsiteX12" fmla="*/ 23183 w 28552"/>
                <a:gd name="connsiteY12" fmla="*/ 12485 h 36887"/>
                <a:gd name="connsiteX13" fmla="*/ 28553 w 28552"/>
                <a:gd name="connsiteY13" fmla="*/ 5954 h 36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552" h="36887">
                  <a:moveTo>
                    <a:pt x="24388" y="0"/>
                  </a:moveTo>
                  <a:lnTo>
                    <a:pt x="22011" y="5954"/>
                  </a:lnTo>
                  <a:lnTo>
                    <a:pt x="9502" y="10119"/>
                  </a:lnTo>
                  <a:lnTo>
                    <a:pt x="8330" y="19620"/>
                  </a:lnTo>
                  <a:lnTo>
                    <a:pt x="2362" y="23192"/>
                  </a:lnTo>
                  <a:lnTo>
                    <a:pt x="0" y="29161"/>
                  </a:lnTo>
                  <a:lnTo>
                    <a:pt x="6556" y="30930"/>
                  </a:lnTo>
                  <a:lnTo>
                    <a:pt x="9502" y="36888"/>
                  </a:lnTo>
                  <a:lnTo>
                    <a:pt x="13672" y="35104"/>
                  </a:lnTo>
                  <a:lnTo>
                    <a:pt x="19635" y="30356"/>
                  </a:lnTo>
                  <a:lnTo>
                    <a:pt x="23800" y="24383"/>
                  </a:lnTo>
                  <a:lnTo>
                    <a:pt x="24388" y="18458"/>
                  </a:lnTo>
                  <a:lnTo>
                    <a:pt x="23183" y="12485"/>
                  </a:lnTo>
                  <a:lnTo>
                    <a:pt x="28553" y="595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17" name="Freihandform: Form 216">
              <a:extLst>
                <a:ext uri="{FF2B5EF4-FFF2-40B4-BE49-F238E27FC236}">
                  <a16:creationId xmlns:a16="http://schemas.microsoft.com/office/drawing/2014/main" id="{200837F1-AAFF-F7E9-FAD9-C84744224032}"/>
                </a:ext>
              </a:extLst>
            </p:cNvPr>
            <p:cNvSpPr/>
            <p:nvPr/>
          </p:nvSpPr>
          <p:spPr>
            <a:xfrm>
              <a:off x="5911907" y="858733"/>
              <a:ext cx="12699" cy="14288"/>
            </a:xfrm>
            <a:custGeom>
              <a:avLst/>
              <a:gdLst>
                <a:gd name="connsiteX0" fmla="*/ 4396 w 9590"/>
                <a:gd name="connsiteY0" fmla="*/ 11411 h 11613"/>
                <a:gd name="connsiteX1" fmla="*/ 5978 w 9590"/>
                <a:gd name="connsiteY1" fmla="*/ 11613 h 11613"/>
                <a:gd name="connsiteX2" fmla="*/ 7110 w 9590"/>
                <a:gd name="connsiteY2" fmla="*/ 10495 h 11613"/>
                <a:gd name="connsiteX3" fmla="*/ 7723 w 9590"/>
                <a:gd name="connsiteY3" fmla="*/ 8687 h 11613"/>
                <a:gd name="connsiteX4" fmla="*/ 7703 w 9590"/>
                <a:gd name="connsiteY4" fmla="*/ 8629 h 11613"/>
                <a:gd name="connsiteX5" fmla="*/ 7732 w 9590"/>
                <a:gd name="connsiteY5" fmla="*/ 8595 h 11613"/>
                <a:gd name="connsiteX6" fmla="*/ 9516 w 9590"/>
                <a:gd name="connsiteY6" fmla="*/ 2068 h 11613"/>
                <a:gd name="connsiteX7" fmla="*/ 8687 w 9590"/>
                <a:gd name="connsiteY7" fmla="*/ 0 h 11613"/>
                <a:gd name="connsiteX8" fmla="*/ 6489 w 9590"/>
                <a:gd name="connsiteY8" fmla="*/ 294 h 11613"/>
                <a:gd name="connsiteX9" fmla="*/ 530 w 9590"/>
                <a:gd name="connsiteY9" fmla="*/ 6252 h 11613"/>
                <a:gd name="connsiteX10" fmla="*/ 0 w 9590"/>
                <a:gd name="connsiteY10" fmla="*/ 7704 h 11613"/>
                <a:gd name="connsiteX11" fmla="*/ 810 w 9590"/>
                <a:gd name="connsiteY11" fmla="*/ 9034 h 11613"/>
                <a:gd name="connsiteX12" fmla="*/ 4396 w 9590"/>
                <a:gd name="connsiteY12" fmla="*/ 11411 h 1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90" h="11613">
                  <a:moveTo>
                    <a:pt x="4396" y="11411"/>
                  </a:moveTo>
                  <a:lnTo>
                    <a:pt x="5978" y="11613"/>
                  </a:lnTo>
                  <a:lnTo>
                    <a:pt x="7110" y="10495"/>
                  </a:lnTo>
                  <a:lnTo>
                    <a:pt x="7723" y="8687"/>
                  </a:lnTo>
                  <a:cubicBezTo>
                    <a:pt x="7723" y="8687"/>
                    <a:pt x="7703" y="8658"/>
                    <a:pt x="7703" y="8629"/>
                  </a:cubicBezTo>
                  <a:cubicBezTo>
                    <a:pt x="7723" y="8629"/>
                    <a:pt x="7732" y="8629"/>
                    <a:pt x="7732" y="8595"/>
                  </a:cubicBezTo>
                  <a:lnTo>
                    <a:pt x="9516" y="2068"/>
                  </a:lnTo>
                  <a:cubicBezTo>
                    <a:pt x="9752" y="1239"/>
                    <a:pt x="9415" y="415"/>
                    <a:pt x="8687" y="0"/>
                  </a:cubicBezTo>
                  <a:lnTo>
                    <a:pt x="6489" y="294"/>
                  </a:lnTo>
                  <a:lnTo>
                    <a:pt x="530" y="6252"/>
                  </a:lnTo>
                  <a:lnTo>
                    <a:pt x="0" y="7704"/>
                  </a:lnTo>
                  <a:lnTo>
                    <a:pt x="810" y="9034"/>
                  </a:lnTo>
                  <a:lnTo>
                    <a:pt x="4396" y="1141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18" name="Freihandform: Form 217">
              <a:extLst>
                <a:ext uri="{FF2B5EF4-FFF2-40B4-BE49-F238E27FC236}">
                  <a16:creationId xmlns:a16="http://schemas.microsoft.com/office/drawing/2014/main" id="{5247297A-B50D-F6F7-CA89-93650C6F7C15}"/>
                </a:ext>
              </a:extLst>
            </p:cNvPr>
            <p:cNvSpPr/>
            <p:nvPr/>
          </p:nvSpPr>
          <p:spPr>
            <a:xfrm>
              <a:off x="4116648" y="5075293"/>
              <a:ext cx="4761" cy="4762"/>
            </a:xfrm>
            <a:custGeom>
              <a:avLst/>
              <a:gdLst>
                <a:gd name="connsiteX0" fmla="*/ 0 w 3176"/>
                <a:gd name="connsiteY0" fmla="*/ 0 h 3172"/>
                <a:gd name="connsiteX1" fmla="*/ 0 w 3176"/>
                <a:gd name="connsiteY1" fmla="*/ 2613 h 3172"/>
                <a:gd name="connsiteX2" fmla="*/ 607 w 3176"/>
                <a:gd name="connsiteY2" fmla="*/ 3172 h 3172"/>
                <a:gd name="connsiteX3" fmla="*/ 3177 w 3176"/>
                <a:gd name="connsiteY3" fmla="*/ 3172 h 3172"/>
                <a:gd name="connsiteX4" fmla="*/ 3177 w 3176"/>
                <a:gd name="connsiteY4" fmla="*/ 588 h 3172"/>
                <a:gd name="connsiteX5" fmla="*/ 2579 w 3176"/>
                <a:gd name="connsiteY5" fmla="*/ 0 h 3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6" h="3172">
                  <a:moveTo>
                    <a:pt x="0" y="0"/>
                  </a:moveTo>
                  <a:lnTo>
                    <a:pt x="0" y="2613"/>
                  </a:lnTo>
                  <a:lnTo>
                    <a:pt x="607" y="3172"/>
                  </a:lnTo>
                  <a:lnTo>
                    <a:pt x="3177" y="3172"/>
                  </a:lnTo>
                  <a:lnTo>
                    <a:pt x="3177" y="588"/>
                  </a:lnTo>
                  <a:lnTo>
                    <a:pt x="2579"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19" name="Freihandform: Form 218">
              <a:extLst>
                <a:ext uri="{FF2B5EF4-FFF2-40B4-BE49-F238E27FC236}">
                  <a16:creationId xmlns:a16="http://schemas.microsoft.com/office/drawing/2014/main" id="{67AFDA2B-E39A-0A7C-547D-301EFB96E87B}"/>
                </a:ext>
              </a:extLst>
            </p:cNvPr>
            <p:cNvSpPr/>
            <p:nvPr/>
          </p:nvSpPr>
          <p:spPr>
            <a:xfrm>
              <a:off x="6016670" y="760304"/>
              <a:ext cx="12699" cy="17463"/>
            </a:xfrm>
            <a:custGeom>
              <a:avLst/>
              <a:gdLst>
                <a:gd name="connsiteX0" fmla="*/ 8920 w 9531"/>
                <a:gd name="connsiteY0" fmla="*/ 13263 h 13595"/>
                <a:gd name="connsiteX1" fmla="*/ 9532 w 9531"/>
                <a:gd name="connsiteY1" fmla="*/ 11557 h 13595"/>
                <a:gd name="connsiteX2" fmla="*/ 8346 w 9531"/>
                <a:gd name="connsiteY2" fmla="*/ 5574 h 13595"/>
                <a:gd name="connsiteX3" fmla="*/ 8134 w 9531"/>
                <a:gd name="connsiteY3" fmla="*/ 5044 h 13595"/>
                <a:gd name="connsiteX4" fmla="*/ 5781 w 9531"/>
                <a:gd name="connsiteY4" fmla="*/ 884 h 13595"/>
                <a:gd name="connsiteX5" fmla="*/ 5044 w 9531"/>
                <a:gd name="connsiteY5" fmla="*/ 305 h 13595"/>
                <a:gd name="connsiteX6" fmla="*/ 4726 w 9531"/>
                <a:gd name="connsiteY6" fmla="*/ 25 h 13595"/>
                <a:gd name="connsiteX7" fmla="*/ 4692 w 9531"/>
                <a:gd name="connsiteY7" fmla="*/ 25 h 13595"/>
                <a:gd name="connsiteX8" fmla="*/ 3872 w 9531"/>
                <a:gd name="connsiteY8" fmla="*/ 117 h 13595"/>
                <a:gd name="connsiteX9" fmla="*/ 3323 w 9531"/>
                <a:gd name="connsiteY9" fmla="*/ 204 h 13595"/>
                <a:gd name="connsiteX10" fmla="*/ 3279 w 9531"/>
                <a:gd name="connsiteY10" fmla="*/ 204 h 13595"/>
                <a:gd name="connsiteX11" fmla="*/ 2445 w 9531"/>
                <a:gd name="connsiteY11" fmla="*/ 1356 h 13595"/>
                <a:gd name="connsiteX12" fmla="*/ 69 w 9531"/>
                <a:gd name="connsiteY12" fmla="*/ 8977 h 13595"/>
                <a:gd name="connsiteX13" fmla="*/ 1115 w 9531"/>
                <a:gd name="connsiteY13" fmla="*/ 11185 h 13595"/>
                <a:gd name="connsiteX14" fmla="*/ 7068 w 9531"/>
                <a:gd name="connsiteY14" fmla="*/ 13596 h 13595"/>
                <a:gd name="connsiteX15" fmla="*/ 8920 w 9531"/>
                <a:gd name="connsiteY15" fmla="*/ 13263 h 13595"/>
                <a:gd name="connsiteX16" fmla="*/ 4036 w 9531"/>
                <a:gd name="connsiteY16" fmla="*/ 8462 h 13595"/>
                <a:gd name="connsiteX17" fmla="*/ 4692 w 9531"/>
                <a:gd name="connsiteY17" fmla="*/ 6321 h 13595"/>
                <a:gd name="connsiteX18" fmla="*/ 4827 w 9531"/>
                <a:gd name="connsiteY18" fmla="*/ 6567 h 13595"/>
                <a:gd name="connsiteX19" fmla="*/ 5319 w 9531"/>
                <a:gd name="connsiteY19" fmla="*/ 8953 h 13595"/>
                <a:gd name="connsiteX20" fmla="*/ 4036 w 9531"/>
                <a:gd name="connsiteY20" fmla="*/ 8462 h 1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531" h="13595">
                  <a:moveTo>
                    <a:pt x="8920" y="13263"/>
                  </a:moveTo>
                  <a:lnTo>
                    <a:pt x="9532" y="11557"/>
                  </a:lnTo>
                  <a:lnTo>
                    <a:pt x="8346" y="5574"/>
                  </a:lnTo>
                  <a:lnTo>
                    <a:pt x="8134" y="5044"/>
                  </a:lnTo>
                  <a:lnTo>
                    <a:pt x="5781" y="884"/>
                  </a:lnTo>
                  <a:cubicBezTo>
                    <a:pt x="5603" y="585"/>
                    <a:pt x="5323" y="474"/>
                    <a:pt x="5044" y="305"/>
                  </a:cubicBezTo>
                  <a:cubicBezTo>
                    <a:pt x="4933" y="228"/>
                    <a:pt x="4856" y="88"/>
                    <a:pt x="4726" y="25"/>
                  </a:cubicBezTo>
                  <a:cubicBezTo>
                    <a:pt x="4726" y="25"/>
                    <a:pt x="4706" y="25"/>
                    <a:pt x="4692" y="25"/>
                  </a:cubicBezTo>
                  <a:cubicBezTo>
                    <a:pt x="4427" y="-57"/>
                    <a:pt x="4157" y="83"/>
                    <a:pt x="3872" y="117"/>
                  </a:cubicBezTo>
                  <a:cubicBezTo>
                    <a:pt x="3699" y="175"/>
                    <a:pt x="3487" y="117"/>
                    <a:pt x="3323" y="204"/>
                  </a:cubicBezTo>
                  <a:cubicBezTo>
                    <a:pt x="3323" y="204"/>
                    <a:pt x="3294" y="204"/>
                    <a:pt x="3279" y="204"/>
                  </a:cubicBezTo>
                  <a:cubicBezTo>
                    <a:pt x="2831" y="450"/>
                    <a:pt x="2551" y="879"/>
                    <a:pt x="2445" y="1356"/>
                  </a:cubicBezTo>
                  <a:lnTo>
                    <a:pt x="69" y="8977"/>
                  </a:lnTo>
                  <a:cubicBezTo>
                    <a:pt x="-182" y="9903"/>
                    <a:pt x="271" y="10858"/>
                    <a:pt x="1115" y="11185"/>
                  </a:cubicBezTo>
                  <a:lnTo>
                    <a:pt x="7068" y="13596"/>
                  </a:lnTo>
                  <a:lnTo>
                    <a:pt x="8920" y="13263"/>
                  </a:lnTo>
                  <a:close/>
                  <a:moveTo>
                    <a:pt x="4036" y="8462"/>
                  </a:moveTo>
                  <a:lnTo>
                    <a:pt x="4692" y="6321"/>
                  </a:lnTo>
                  <a:lnTo>
                    <a:pt x="4827" y="6567"/>
                  </a:lnTo>
                  <a:lnTo>
                    <a:pt x="5319" y="8953"/>
                  </a:lnTo>
                  <a:lnTo>
                    <a:pt x="4036" y="846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20" name="Freihandform: Form 219">
              <a:extLst>
                <a:ext uri="{FF2B5EF4-FFF2-40B4-BE49-F238E27FC236}">
                  <a16:creationId xmlns:a16="http://schemas.microsoft.com/office/drawing/2014/main" id="{08F8307D-50EE-ADB4-C438-74578463C8DD}"/>
                </a:ext>
              </a:extLst>
            </p:cNvPr>
            <p:cNvSpPr/>
            <p:nvPr/>
          </p:nvSpPr>
          <p:spPr>
            <a:xfrm>
              <a:off x="6029369" y="777767"/>
              <a:ext cx="7937" cy="12700"/>
            </a:xfrm>
            <a:custGeom>
              <a:avLst/>
              <a:gdLst>
                <a:gd name="connsiteX0" fmla="*/ 3466 w 6598"/>
                <a:gd name="connsiteY0" fmla="*/ 9101 h 10179"/>
                <a:gd name="connsiteX1" fmla="*/ 6440 w 6598"/>
                <a:gd name="connsiteY1" fmla="*/ 2559 h 10179"/>
                <a:gd name="connsiteX2" fmla="*/ 5534 w 6598"/>
                <a:gd name="connsiteY2" fmla="*/ 163 h 10179"/>
                <a:gd name="connsiteX3" fmla="*/ 3123 w 6598"/>
                <a:gd name="connsiteY3" fmla="*/ 1060 h 10179"/>
                <a:gd name="connsiteX4" fmla="*/ 159 w 6598"/>
                <a:gd name="connsiteY4" fmla="*/ 7602 h 10179"/>
                <a:gd name="connsiteX5" fmla="*/ 1089 w 6598"/>
                <a:gd name="connsiteY5" fmla="*/ 10007 h 10179"/>
                <a:gd name="connsiteX6" fmla="*/ 3466 w 6598"/>
                <a:gd name="connsiteY6" fmla="*/ 9101 h 10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98" h="10179">
                  <a:moveTo>
                    <a:pt x="3466" y="9101"/>
                  </a:moveTo>
                  <a:lnTo>
                    <a:pt x="6440" y="2559"/>
                  </a:lnTo>
                  <a:cubicBezTo>
                    <a:pt x="6840" y="1629"/>
                    <a:pt x="6459" y="578"/>
                    <a:pt x="5534" y="163"/>
                  </a:cubicBezTo>
                  <a:cubicBezTo>
                    <a:pt x="4608" y="-256"/>
                    <a:pt x="3548" y="163"/>
                    <a:pt x="3123" y="1060"/>
                  </a:cubicBezTo>
                  <a:lnTo>
                    <a:pt x="159" y="7602"/>
                  </a:lnTo>
                  <a:cubicBezTo>
                    <a:pt x="-246" y="8537"/>
                    <a:pt x="144" y="9598"/>
                    <a:pt x="1089" y="10007"/>
                  </a:cubicBezTo>
                  <a:cubicBezTo>
                    <a:pt x="1981" y="10441"/>
                    <a:pt x="3042" y="10022"/>
                    <a:pt x="3466" y="910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21" name="Freihandform: Form 220">
              <a:extLst>
                <a:ext uri="{FF2B5EF4-FFF2-40B4-BE49-F238E27FC236}">
                  <a16:creationId xmlns:a16="http://schemas.microsoft.com/office/drawing/2014/main" id="{A74A57F5-B605-4C81-F3C8-8734846C1750}"/>
                </a:ext>
              </a:extLst>
            </p:cNvPr>
            <p:cNvSpPr/>
            <p:nvPr/>
          </p:nvSpPr>
          <p:spPr>
            <a:xfrm>
              <a:off x="4949991" y="2519321"/>
              <a:ext cx="6349" cy="12700"/>
            </a:xfrm>
            <a:custGeom>
              <a:avLst/>
              <a:gdLst>
                <a:gd name="connsiteX0" fmla="*/ 3336 w 4808"/>
                <a:gd name="connsiteY0" fmla="*/ 30 h 9551"/>
                <a:gd name="connsiteX1" fmla="*/ 1215 w 4808"/>
                <a:gd name="connsiteY1" fmla="*/ 1486 h 9551"/>
                <a:gd name="connsiteX2" fmla="*/ 0 w 4808"/>
                <a:gd name="connsiteY2" fmla="*/ 7416 h 9551"/>
                <a:gd name="connsiteX3" fmla="*/ 270 w 4808"/>
                <a:gd name="connsiteY3" fmla="*/ 8785 h 9551"/>
                <a:gd name="connsiteX4" fmla="*/ 1446 w 4808"/>
                <a:gd name="connsiteY4" fmla="*/ 9551 h 9551"/>
                <a:gd name="connsiteX5" fmla="*/ 2806 w 4808"/>
                <a:gd name="connsiteY5" fmla="*/ 9281 h 9551"/>
                <a:gd name="connsiteX6" fmla="*/ 3582 w 4808"/>
                <a:gd name="connsiteY6" fmla="*/ 8134 h 9551"/>
                <a:gd name="connsiteX7" fmla="*/ 4772 w 4808"/>
                <a:gd name="connsiteY7" fmla="*/ 2175 h 9551"/>
                <a:gd name="connsiteX8" fmla="*/ 3336 w 4808"/>
                <a:gd name="connsiteY8" fmla="*/ 30 h 9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 h="9551">
                  <a:moveTo>
                    <a:pt x="3336" y="30"/>
                  </a:moveTo>
                  <a:cubicBezTo>
                    <a:pt x="2362" y="-148"/>
                    <a:pt x="1408" y="479"/>
                    <a:pt x="1215" y="1486"/>
                  </a:cubicBezTo>
                  <a:lnTo>
                    <a:pt x="0" y="7416"/>
                  </a:lnTo>
                  <a:lnTo>
                    <a:pt x="270" y="8785"/>
                  </a:lnTo>
                  <a:lnTo>
                    <a:pt x="1446" y="9551"/>
                  </a:lnTo>
                  <a:lnTo>
                    <a:pt x="2806" y="9281"/>
                  </a:lnTo>
                  <a:lnTo>
                    <a:pt x="3582" y="8134"/>
                  </a:lnTo>
                  <a:lnTo>
                    <a:pt x="4772" y="2175"/>
                  </a:lnTo>
                  <a:cubicBezTo>
                    <a:pt x="4970" y="1202"/>
                    <a:pt x="4348" y="233"/>
                    <a:pt x="3336" y="3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22" name="Freihandform: Form 221">
              <a:extLst>
                <a:ext uri="{FF2B5EF4-FFF2-40B4-BE49-F238E27FC236}">
                  <a16:creationId xmlns:a16="http://schemas.microsoft.com/office/drawing/2014/main" id="{B2AB4CC5-82F8-F4AE-6262-50BC7F157947}"/>
                </a:ext>
              </a:extLst>
            </p:cNvPr>
            <p:cNvSpPr/>
            <p:nvPr/>
          </p:nvSpPr>
          <p:spPr>
            <a:xfrm>
              <a:off x="4930943" y="2398666"/>
              <a:ext cx="7937" cy="11112"/>
            </a:xfrm>
            <a:custGeom>
              <a:avLst/>
              <a:gdLst>
                <a:gd name="connsiteX0" fmla="*/ 3422 w 6512"/>
                <a:gd name="connsiteY0" fmla="*/ 1003 h 9477"/>
                <a:gd name="connsiteX1" fmla="*/ 978 w 6512"/>
                <a:gd name="connsiteY1" fmla="*/ 193 h 9477"/>
                <a:gd name="connsiteX2" fmla="*/ 192 w 6512"/>
                <a:gd name="connsiteY2" fmla="*/ 2623 h 9477"/>
                <a:gd name="connsiteX3" fmla="*/ 3162 w 6512"/>
                <a:gd name="connsiteY3" fmla="*/ 8586 h 9477"/>
                <a:gd name="connsiteX4" fmla="*/ 4203 w 6512"/>
                <a:gd name="connsiteY4" fmla="*/ 9478 h 9477"/>
                <a:gd name="connsiteX5" fmla="*/ 5601 w 6512"/>
                <a:gd name="connsiteY5" fmla="*/ 9405 h 9477"/>
                <a:gd name="connsiteX6" fmla="*/ 6512 w 6512"/>
                <a:gd name="connsiteY6" fmla="*/ 8359 h 9477"/>
                <a:gd name="connsiteX7" fmla="*/ 6392 w 6512"/>
                <a:gd name="connsiteY7" fmla="*/ 6961 h 9477"/>
                <a:gd name="connsiteX8" fmla="*/ 3422 w 6512"/>
                <a:gd name="connsiteY8" fmla="*/ 1003 h 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12" h="9477">
                  <a:moveTo>
                    <a:pt x="3422" y="1003"/>
                  </a:moveTo>
                  <a:cubicBezTo>
                    <a:pt x="2979" y="92"/>
                    <a:pt x="1903" y="-251"/>
                    <a:pt x="978" y="193"/>
                  </a:cubicBezTo>
                  <a:cubicBezTo>
                    <a:pt x="110" y="656"/>
                    <a:pt x="-256" y="1740"/>
                    <a:pt x="192" y="2623"/>
                  </a:cubicBezTo>
                  <a:lnTo>
                    <a:pt x="3162" y="8586"/>
                  </a:lnTo>
                  <a:lnTo>
                    <a:pt x="4203" y="9478"/>
                  </a:lnTo>
                  <a:lnTo>
                    <a:pt x="5601" y="9405"/>
                  </a:lnTo>
                  <a:lnTo>
                    <a:pt x="6512" y="8359"/>
                  </a:lnTo>
                  <a:lnTo>
                    <a:pt x="6392" y="6961"/>
                  </a:lnTo>
                  <a:lnTo>
                    <a:pt x="3422" y="100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23" name="Freihandform: Form 222">
              <a:extLst>
                <a:ext uri="{FF2B5EF4-FFF2-40B4-BE49-F238E27FC236}">
                  <a16:creationId xmlns:a16="http://schemas.microsoft.com/office/drawing/2014/main" id="{DE330EE7-DE3A-3FAC-3818-FB711E54FAF1}"/>
                </a:ext>
              </a:extLst>
            </p:cNvPr>
            <p:cNvSpPr/>
            <p:nvPr/>
          </p:nvSpPr>
          <p:spPr>
            <a:xfrm>
              <a:off x="4919832" y="2406604"/>
              <a:ext cx="9524" cy="12700"/>
            </a:xfrm>
            <a:custGeom>
              <a:avLst/>
              <a:gdLst>
                <a:gd name="connsiteX0" fmla="*/ 3841 w 7210"/>
                <a:gd name="connsiteY0" fmla="*/ 886 h 9600"/>
                <a:gd name="connsiteX1" fmla="*/ 269 w 7210"/>
                <a:gd name="connsiteY1" fmla="*/ 6845 h 9600"/>
                <a:gd name="connsiteX2" fmla="*/ 876 w 7210"/>
                <a:gd name="connsiteY2" fmla="*/ 9342 h 9600"/>
                <a:gd name="connsiteX3" fmla="*/ 3379 w 7210"/>
                <a:gd name="connsiteY3" fmla="*/ 8710 h 9600"/>
                <a:gd name="connsiteX4" fmla="*/ 6960 w 7210"/>
                <a:gd name="connsiteY4" fmla="*/ 2757 h 9600"/>
                <a:gd name="connsiteX5" fmla="*/ 6319 w 7210"/>
                <a:gd name="connsiteY5" fmla="*/ 264 h 9600"/>
                <a:gd name="connsiteX6" fmla="*/ 3841 w 7210"/>
                <a:gd name="connsiteY6" fmla="*/ 886 h 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10" h="9600">
                  <a:moveTo>
                    <a:pt x="3841" y="886"/>
                  </a:moveTo>
                  <a:lnTo>
                    <a:pt x="269" y="6845"/>
                  </a:lnTo>
                  <a:cubicBezTo>
                    <a:pt x="-261" y="7707"/>
                    <a:pt x="18" y="8821"/>
                    <a:pt x="876" y="9342"/>
                  </a:cubicBezTo>
                  <a:cubicBezTo>
                    <a:pt x="1754" y="9862"/>
                    <a:pt x="2848" y="9568"/>
                    <a:pt x="3379" y="8710"/>
                  </a:cubicBezTo>
                  <a:lnTo>
                    <a:pt x="6960" y="2757"/>
                  </a:lnTo>
                  <a:cubicBezTo>
                    <a:pt x="7462" y="1894"/>
                    <a:pt x="7192" y="790"/>
                    <a:pt x="6319" y="264"/>
                  </a:cubicBezTo>
                  <a:cubicBezTo>
                    <a:pt x="5466" y="-256"/>
                    <a:pt x="4362" y="14"/>
                    <a:pt x="3841" y="88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24" name="Freihandform: Form 223">
              <a:extLst>
                <a:ext uri="{FF2B5EF4-FFF2-40B4-BE49-F238E27FC236}">
                  <a16:creationId xmlns:a16="http://schemas.microsoft.com/office/drawing/2014/main" id="{C05F6516-6E8C-B56F-1738-1C3C5546E20D}"/>
                </a:ext>
              </a:extLst>
            </p:cNvPr>
            <p:cNvSpPr/>
            <p:nvPr/>
          </p:nvSpPr>
          <p:spPr>
            <a:xfrm>
              <a:off x="4959515" y="2330401"/>
              <a:ext cx="12699" cy="7938"/>
            </a:xfrm>
            <a:custGeom>
              <a:avLst/>
              <a:gdLst>
                <a:gd name="connsiteX0" fmla="*/ 9377 w 9579"/>
                <a:gd name="connsiteY0" fmla="*/ 5619 h 6620"/>
                <a:gd name="connsiteX1" fmla="*/ 8582 w 9579"/>
                <a:gd name="connsiteY1" fmla="*/ 3175 h 6620"/>
                <a:gd name="connsiteX2" fmla="*/ 2638 w 9579"/>
                <a:gd name="connsiteY2" fmla="*/ 196 h 6620"/>
                <a:gd name="connsiteX3" fmla="*/ 199 w 9579"/>
                <a:gd name="connsiteY3" fmla="*/ 1025 h 6620"/>
                <a:gd name="connsiteX4" fmla="*/ 1018 w 9579"/>
                <a:gd name="connsiteY4" fmla="*/ 3459 h 6620"/>
                <a:gd name="connsiteX5" fmla="*/ 6957 w 9579"/>
                <a:gd name="connsiteY5" fmla="*/ 6429 h 6620"/>
                <a:gd name="connsiteX6" fmla="*/ 9377 w 9579"/>
                <a:gd name="connsiteY6" fmla="*/ 5619 h 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79" h="6620">
                  <a:moveTo>
                    <a:pt x="9377" y="5619"/>
                  </a:moveTo>
                  <a:cubicBezTo>
                    <a:pt x="9845" y="4718"/>
                    <a:pt x="9469" y="3614"/>
                    <a:pt x="8582" y="3175"/>
                  </a:cubicBezTo>
                  <a:lnTo>
                    <a:pt x="2638" y="196"/>
                  </a:lnTo>
                  <a:cubicBezTo>
                    <a:pt x="1741" y="-267"/>
                    <a:pt x="628" y="123"/>
                    <a:pt x="199" y="1025"/>
                  </a:cubicBezTo>
                  <a:cubicBezTo>
                    <a:pt x="-264" y="1888"/>
                    <a:pt x="112" y="3016"/>
                    <a:pt x="1018" y="3459"/>
                  </a:cubicBezTo>
                  <a:lnTo>
                    <a:pt x="6957" y="6429"/>
                  </a:lnTo>
                  <a:cubicBezTo>
                    <a:pt x="7854" y="6872"/>
                    <a:pt x="8943" y="6525"/>
                    <a:pt x="9377" y="561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25" name="Freihandform: Form 224">
              <a:extLst>
                <a:ext uri="{FF2B5EF4-FFF2-40B4-BE49-F238E27FC236}">
                  <a16:creationId xmlns:a16="http://schemas.microsoft.com/office/drawing/2014/main" id="{ABF5DBCB-96AA-024A-22F9-CC38B8AFA41B}"/>
                </a:ext>
              </a:extLst>
            </p:cNvPr>
            <p:cNvSpPr/>
            <p:nvPr/>
          </p:nvSpPr>
          <p:spPr>
            <a:xfrm>
              <a:off x="5018246" y="2182758"/>
              <a:ext cx="7936" cy="12700"/>
            </a:xfrm>
            <a:custGeom>
              <a:avLst/>
              <a:gdLst>
                <a:gd name="connsiteX0" fmla="*/ 4794 w 6973"/>
                <a:gd name="connsiteY0" fmla="*/ 0 h 9568"/>
                <a:gd name="connsiteX1" fmla="*/ 4524 w 6973"/>
                <a:gd name="connsiteY1" fmla="*/ 106 h 9568"/>
                <a:gd name="connsiteX2" fmla="*/ 3888 w 6973"/>
                <a:gd name="connsiteY2" fmla="*/ 347 h 9568"/>
                <a:gd name="connsiteX3" fmla="*/ 3387 w 6973"/>
                <a:gd name="connsiteY3" fmla="*/ 815 h 9568"/>
                <a:gd name="connsiteX4" fmla="*/ 3170 w 6973"/>
                <a:gd name="connsiteY4" fmla="*/ 1012 h 9568"/>
                <a:gd name="connsiteX5" fmla="*/ 181 w 6973"/>
                <a:gd name="connsiteY5" fmla="*/ 6913 h 9568"/>
                <a:gd name="connsiteX6" fmla="*/ 938 w 6973"/>
                <a:gd name="connsiteY6" fmla="*/ 9352 h 9568"/>
                <a:gd name="connsiteX7" fmla="*/ 3367 w 6973"/>
                <a:gd name="connsiteY7" fmla="*/ 8706 h 9568"/>
                <a:gd name="connsiteX8" fmla="*/ 6949 w 6973"/>
                <a:gd name="connsiteY8" fmla="*/ 2743 h 9568"/>
                <a:gd name="connsiteX9" fmla="*/ 6973 w 6973"/>
                <a:gd name="connsiteY9" fmla="*/ 902 h 9568"/>
                <a:gd name="connsiteX10" fmla="*/ 5392 w 6973"/>
                <a:gd name="connsiteY10" fmla="*/ 0 h 9568"/>
                <a:gd name="connsiteX11" fmla="*/ 4794 w 6973"/>
                <a:gd name="connsiteY11" fmla="*/ 0 h 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73" h="9568">
                  <a:moveTo>
                    <a:pt x="4794" y="0"/>
                  </a:moveTo>
                  <a:cubicBezTo>
                    <a:pt x="4698" y="0"/>
                    <a:pt x="4635" y="77"/>
                    <a:pt x="4524" y="106"/>
                  </a:cubicBezTo>
                  <a:cubicBezTo>
                    <a:pt x="4269" y="140"/>
                    <a:pt x="4125" y="236"/>
                    <a:pt x="3888" y="347"/>
                  </a:cubicBezTo>
                  <a:cubicBezTo>
                    <a:pt x="3686" y="497"/>
                    <a:pt x="3531" y="593"/>
                    <a:pt x="3387" y="815"/>
                  </a:cubicBezTo>
                  <a:cubicBezTo>
                    <a:pt x="3334" y="868"/>
                    <a:pt x="3213" y="902"/>
                    <a:pt x="3170" y="1012"/>
                  </a:cubicBezTo>
                  <a:lnTo>
                    <a:pt x="181" y="6913"/>
                  </a:lnTo>
                  <a:cubicBezTo>
                    <a:pt x="-238" y="7819"/>
                    <a:pt x="94" y="8889"/>
                    <a:pt x="938" y="9352"/>
                  </a:cubicBezTo>
                  <a:cubicBezTo>
                    <a:pt x="1801" y="9810"/>
                    <a:pt x="2861" y="9516"/>
                    <a:pt x="3367" y="8706"/>
                  </a:cubicBezTo>
                  <a:lnTo>
                    <a:pt x="6949" y="2743"/>
                  </a:lnTo>
                  <a:lnTo>
                    <a:pt x="6973" y="902"/>
                  </a:lnTo>
                  <a:lnTo>
                    <a:pt x="5392" y="0"/>
                  </a:lnTo>
                  <a:lnTo>
                    <a:pt x="4794"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26" name="Freihandform: Form 225">
              <a:extLst>
                <a:ext uri="{FF2B5EF4-FFF2-40B4-BE49-F238E27FC236}">
                  <a16:creationId xmlns:a16="http://schemas.microsoft.com/office/drawing/2014/main" id="{7986FF82-7D1D-D2CC-BBB4-E10491A6E5B5}"/>
                </a:ext>
              </a:extLst>
            </p:cNvPr>
            <p:cNvSpPr/>
            <p:nvPr/>
          </p:nvSpPr>
          <p:spPr>
            <a:xfrm>
              <a:off x="5061103" y="2130368"/>
              <a:ext cx="9524" cy="14289"/>
            </a:xfrm>
            <a:custGeom>
              <a:avLst/>
              <a:gdLst>
                <a:gd name="connsiteX0" fmla="*/ 3669 w 6594"/>
                <a:gd name="connsiteY0" fmla="*/ 1094 h 10146"/>
                <a:gd name="connsiteX1" fmla="*/ 3062 w 6594"/>
                <a:gd name="connsiteY1" fmla="*/ 492 h 10146"/>
                <a:gd name="connsiteX2" fmla="*/ 2874 w 6594"/>
                <a:gd name="connsiteY2" fmla="*/ 492 h 10146"/>
                <a:gd name="connsiteX3" fmla="*/ 1042 w 6594"/>
                <a:gd name="connsiteY3" fmla="*/ 130 h 10146"/>
                <a:gd name="connsiteX4" fmla="*/ 695 w 6594"/>
                <a:gd name="connsiteY4" fmla="*/ 492 h 10146"/>
                <a:gd name="connsiteX5" fmla="*/ 507 w 6594"/>
                <a:gd name="connsiteY5" fmla="*/ 492 h 10146"/>
                <a:gd name="connsiteX6" fmla="*/ 507 w 6594"/>
                <a:gd name="connsiteY6" fmla="*/ 718 h 10146"/>
                <a:gd name="connsiteX7" fmla="*/ 121 w 6594"/>
                <a:gd name="connsiteY7" fmla="*/ 2531 h 10146"/>
                <a:gd name="connsiteX8" fmla="*/ 3100 w 6594"/>
                <a:gd name="connsiteY8" fmla="*/ 9068 h 10146"/>
                <a:gd name="connsiteX9" fmla="*/ 5506 w 6594"/>
                <a:gd name="connsiteY9" fmla="*/ 9998 h 10146"/>
                <a:gd name="connsiteX10" fmla="*/ 6465 w 6594"/>
                <a:gd name="connsiteY10" fmla="*/ 7660 h 10146"/>
                <a:gd name="connsiteX11" fmla="*/ 4108 w 6594"/>
                <a:gd name="connsiteY11" fmla="*/ 1702 h 10146"/>
                <a:gd name="connsiteX12" fmla="*/ 3669 w 6594"/>
                <a:gd name="connsiteY12" fmla="*/ 1094 h 1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4" h="10146">
                  <a:moveTo>
                    <a:pt x="3669" y="1094"/>
                  </a:moveTo>
                  <a:lnTo>
                    <a:pt x="3062" y="492"/>
                  </a:lnTo>
                  <a:lnTo>
                    <a:pt x="2874" y="492"/>
                  </a:lnTo>
                  <a:cubicBezTo>
                    <a:pt x="2353" y="77"/>
                    <a:pt x="1693" y="-164"/>
                    <a:pt x="1042" y="130"/>
                  </a:cubicBezTo>
                  <a:cubicBezTo>
                    <a:pt x="868" y="212"/>
                    <a:pt x="815" y="371"/>
                    <a:pt x="695" y="492"/>
                  </a:cubicBezTo>
                  <a:lnTo>
                    <a:pt x="507" y="492"/>
                  </a:lnTo>
                  <a:lnTo>
                    <a:pt x="507" y="718"/>
                  </a:lnTo>
                  <a:cubicBezTo>
                    <a:pt x="78" y="1229"/>
                    <a:pt x="-158" y="1880"/>
                    <a:pt x="121" y="2531"/>
                  </a:cubicBezTo>
                  <a:lnTo>
                    <a:pt x="3100" y="9068"/>
                  </a:lnTo>
                  <a:cubicBezTo>
                    <a:pt x="3529" y="9974"/>
                    <a:pt x="4585" y="10393"/>
                    <a:pt x="5506" y="9998"/>
                  </a:cubicBezTo>
                  <a:cubicBezTo>
                    <a:pt x="6407" y="9612"/>
                    <a:pt x="6827" y="8557"/>
                    <a:pt x="6465" y="7660"/>
                  </a:cubicBezTo>
                  <a:lnTo>
                    <a:pt x="4108" y="1702"/>
                  </a:lnTo>
                  <a:lnTo>
                    <a:pt x="3669" y="109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27" name="Freihandform: Form 226">
              <a:extLst>
                <a:ext uri="{FF2B5EF4-FFF2-40B4-BE49-F238E27FC236}">
                  <a16:creationId xmlns:a16="http://schemas.microsoft.com/office/drawing/2014/main" id="{8A20D7D5-DDBC-DA4A-3C67-85558577BE4E}"/>
                </a:ext>
              </a:extLst>
            </p:cNvPr>
            <p:cNvSpPr/>
            <p:nvPr/>
          </p:nvSpPr>
          <p:spPr>
            <a:xfrm>
              <a:off x="5092850" y="2130368"/>
              <a:ext cx="11112" cy="12700"/>
            </a:xfrm>
            <a:custGeom>
              <a:avLst/>
              <a:gdLst>
                <a:gd name="connsiteX0" fmla="*/ 5814 w 9003"/>
                <a:gd name="connsiteY0" fmla="*/ 587 h 9592"/>
                <a:gd name="connsiteX1" fmla="*/ 458 w 9003"/>
                <a:gd name="connsiteY1" fmla="*/ 6570 h 9592"/>
                <a:gd name="connsiteX2" fmla="*/ 0 w 9003"/>
                <a:gd name="connsiteY2" fmla="*/ 7848 h 9592"/>
                <a:gd name="connsiteX3" fmla="*/ 612 w 9003"/>
                <a:gd name="connsiteY3" fmla="*/ 9096 h 9592"/>
                <a:gd name="connsiteX4" fmla="*/ 1895 w 9003"/>
                <a:gd name="connsiteY4" fmla="*/ 9593 h 9592"/>
                <a:gd name="connsiteX5" fmla="*/ 3182 w 9003"/>
                <a:gd name="connsiteY5" fmla="*/ 8990 h 9592"/>
                <a:gd name="connsiteX6" fmla="*/ 8528 w 9003"/>
                <a:gd name="connsiteY6" fmla="*/ 3017 h 9592"/>
                <a:gd name="connsiteX7" fmla="*/ 8412 w 9003"/>
                <a:gd name="connsiteY7" fmla="*/ 462 h 9592"/>
                <a:gd name="connsiteX8" fmla="*/ 5814 w 9003"/>
                <a:gd name="connsiteY8" fmla="*/ 587 h 9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03" h="9592">
                  <a:moveTo>
                    <a:pt x="5814" y="587"/>
                  </a:moveTo>
                  <a:lnTo>
                    <a:pt x="458" y="6570"/>
                  </a:lnTo>
                  <a:lnTo>
                    <a:pt x="0" y="7848"/>
                  </a:lnTo>
                  <a:lnTo>
                    <a:pt x="612" y="9096"/>
                  </a:lnTo>
                  <a:lnTo>
                    <a:pt x="1895" y="9593"/>
                  </a:lnTo>
                  <a:lnTo>
                    <a:pt x="3182" y="8990"/>
                  </a:lnTo>
                  <a:lnTo>
                    <a:pt x="8528" y="3017"/>
                  </a:lnTo>
                  <a:cubicBezTo>
                    <a:pt x="9198" y="2304"/>
                    <a:pt x="9159" y="1147"/>
                    <a:pt x="8412" y="462"/>
                  </a:cubicBezTo>
                  <a:cubicBezTo>
                    <a:pt x="7646" y="-203"/>
                    <a:pt x="6489" y="-140"/>
                    <a:pt x="5814" y="587"/>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28" name="Freihandform: Form 227">
              <a:extLst>
                <a:ext uri="{FF2B5EF4-FFF2-40B4-BE49-F238E27FC236}">
                  <a16:creationId xmlns:a16="http://schemas.microsoft.com/office/drawing/2014/main" id="{BBD30A26-2628-AC68-E456-87EC40ED6F69}"/>
                </a:ext>
              </a:extLst>
            </p:cNvPr>
            <p:cNvSpPr/>
            <p:nvPr/>
          </p:nvSpPr>
          <p:spPr>
            <a:xfrm>
              <a:off x="5288091" y="1968437"/>
              <a:ext cx="12699" cy="11113"/>
            </a:xfrm>
            <a:custGeom>
              <a:avLst/>
              <a:gdLst>
                <a:gd name="connsiteX0" fmla="*/ 7289 w 10181"/>
                <a:gd name="connsiteY0" fmla="*/ 331 h 8394"/>
                <a:gd name="connsiteX1" fmla="*/ 748 w 10181"/>
                <a:gd name="connsiteY1" fmla="*/ 5093 h 8394"/>
                <a:gd name="connsiteX2" fmla="*/ 353 w 10181"/>
                <a:gd name="connsiteY2" fmla="*/ 7673 h 8394"/>
                <a:gd name="connsiteX3" fmla="*/ 2878 w 10181"/>
                <a:gd name="connsiteY3" fmla="*/ 8053 h 8394"/>
                <a:gd name="connsiteX4" fmla="*/ 9425 w 10181"/>
                <a:gd name="connsiteY4" fmla="*/ 3295 h 8394"/>
                <a:gd name="connsiteX5" fmla="*/ 9830 w 10181"/>
                <a:gd name="connsiteY5" fmla="*/ 740 h 8394"/>
                <a:gd name="connsiteX6" fmla="*/ 7289 w 10181"/>
                <a:gd name="connsiteY6" fmla="*/ 331 h 8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81" h="8394">
                  <a:moveTo>
                    <a:pt x="7289" y="331"/>
                  </a:moveTo>
                  <a:lnTo>
                    <a:pt x="748" y="5093"/>
                  </a:lnTo>
                  <a:cubicBezTo>
                    <a:pt x="-48" y="5696"/>
                    <a:pt x="-255" y="6815"/>
                    <a:pt x="353" y="7673"/>
                  </a:cubicBezTo>
                  <a:cubicBezTo>
                    <a:pt x="960" y="8463"/>
                    <a:pt x="2078" y="8627"/>
                    <a:pt x="2878" y="8053"/>
                  </a:cubicBezTo>
                  <a:lnTo>
                    <a:pt x="9425" y="3295"/>
                  </a:lnTo>
                  <a:cubicBezTo>
                    <a:pt x="10235" y="2683"/>
                    <a:pt x="10433" y="1570"/>
                    <a:pt x="9830" y="740"/>
                  </a:cubicBezTo>
                  <a:cubicBezTo>
                    <a:pt x="9232" y="-69"/>
                    <a:pt x="8094" y="-229"/>
                    <a:pt x="7289" y="33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29" name="Freihandform: Form 228">
              <a:extLst>
                <a:ext uri="{FF2B5EF4-FFF2-40B4-BE49-F238E27FC236}">
                  <a16:creationId xmlns:a16="http://schemas.microsoft.com/office/drawing/2014/main" id="{D03FBDFF-CF16-5D78-88A3-34A08E9EEA76}"/>
                </a:ext>
              </a:extLst>
            </p:cNvPr>
            <p:cNvSpPr/>
            <p:nvPr/>
          </p:nvSpPr>
          <p:spPr>
            <a:xfrm>
              <a:off x="5565871" y="1514395"/>
              <a:ext cx="11112" cy="9525"/>
            </a:xfrm>
            <a:custGeom>
              <a:avLst/>
              <a:gdLst>
                <a:gd name="connsiteX0" fmla="*/ 7920 w 8137"/>
                <a:gd name="connsiteY0" fmla="*/ 1277 h 8007"/>
                <a:gd name="connsiteX1" fmla="*/ 7757 w 8137"/>
                <a:gd name="connsiteY1" fmla="*/ 685 h 8007"/>
                <a:gd name="connsiteX2" fmla="*/ 7631 w 8137"/>
                <a:gd name="connsiteY2" fmla="*/ 631 h 8007"/>
                <a:gd name="connsiteX3" fmla="*/ 6947 w 8137"/>
                <a:gd name="connsiteY3" fmla="*/ 270 h 8007"/>
                <a:gd name="connsiteX4" fmla="*/ 6450 w 8137"/>
                <a:gd name="connsiteY4" fmla="*/ 48 h 8007"/>
                <a:gd name="connsiteX5" fmla="*/ 6325 w 8137"/>
                <a:gd name="connsiteY5" fmla="*/ 0 h 8007"/>
                <a:gd name="connsiteX6" fmla="*/ 5630 w 8137"/>
                <a:gd name="connsiteY6" fmla="*/ 275 h 8007"/>
                <a:gd name="connsiteX7" fmla="*/ 5187 w 8137"/>
                <a:gd name="connsiteY7" fmla="*/ 424 h 8007"/>
                <a:gd name="connsiteX8" fmla="*/ 5255 w 8137"/>
                <a:gd name="connsiteY8" fmla="*/ 443 h 8007"/>
                <a:gd name="connsiteX9" fmla="*/ 4503 w 8137"/>
                <a:gd name="connsiteY9" fmla="*/ 1841 h 8007"/>
                <a:gd name="connsiteX10" fmla="*/ 4488 w 8137"/>
                <a:gd name="connsiteY10" fmla="*/ 3910 h 8007"/>
                <a:gd name="connsiteX11" fmla="*/ 0 w 8137"/>
                <a:gd name="connsiteY11" fmla="*/ 4816 h 8007"/>
                <a:gd name="connsiteX12" fmla="*/ 376 w 8137"/>
                <a:gd name="connsiteY12" fmla="*/ 6585 h 8007"/>
                <a:gd name="connsiteX13" fmla="*/ 1490 w 8137"/>
                <a:gd name="connsiteY13" fmla="*/ 8007 h 8007"/>
                <a:gd name="connsiteX14" fmla="*/ 7462 w 8137"/>
                <a:gd name="connsiteY14" fmla="*/ 3254 h 8007"/>
                <a:gd name="connsiteX15" fmla="*/ 8060 w 8137"/>
                <a:gd name="connsiteY15" fmla="*/ 1774 h 8007"/>
                <a:gd name="connsiteX16" fmla="*/ 8137 w 8137"/>
                <a:gd name="connsiteY16" fmla="*/ 1832 h 8007"/>
                <a:gd name="connsiteX17" fmla="*/ 7920 w 8137"/>
                <a:gd name="connsiteY17" fmla="*/ 1277 h 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37" h="8007">
                  <a:moveTo>
                    <a:pt x="7920" y="1277"/>
                  </a:moveTo>
                  <a:cubicBezTo>
                    <a:pt x="7838" y="1089"/>
                    <a:pt x="7887" y="877"/>
                    <a:pt x="7757" y="685"/>
                  </a:cubicBezTo>
                  <a:cubicBezTo>
                    <a:pt x="7723" y="656"/>
                    <a:pt x="7674" y="656"/>
                    <a:pt x="7631" y="631"/>
                  </a:cubicBezTo>
                  <a:cubicBezTo>
                    <a:pt x="7467" y="439"/>
                    <a:pt x="7212" y="381"/>
                    <a:pt x="6947" y="270"/>
                  </a:cubicBezTo>
                  <a:cubicBezTo>
                    <a:pt x="6783" y="188"/>
                    <a:pt x="6643" y="48"/>
                    <a:pt x="6450" y="48"/>
                  </a:cubicBezTo>
                  <a:cubicBezTo>
                    <a:pt x="6387" y="48"/>
                    <a:pt x="6368" y="0"/>
                    <a:pt x="6325" y="0"/>
                  </a:cubicBezTo>
                  <a:cubicBezTo>
                    <a:pt x="6064" y="0"/>
                    <a:pt x="5872" y="193"/>
                    <a:pt x="5630" y="275"/>
                  </a:cubicBezTo>
                  <a:cubicBezTo>
                    <a:pt x="5500" y="366"/>
                    <a:pt x="5312" y="299"/>
                    <a:pt x="5187" y="424"/>
                  </a:cubicBezTo>
                  <a:lnTo>
                    <a:pt x="5255" y="443"/>
                  </a:lnTo>
                  <a:cubicBezTo>
                    <a:pt x="4825" y="791"/>
                    <a:pt x="4503" y="1244"/>
                    <a:pt x="4503" y="1841"/>
                  </a:cubicBezTo>
                  <a:lnTo>
                    <a:pt x="4488" y="3910"/>
                  </a:lnTo>
                  <a:lnTo>
                    <a:pt x="0" y="4816"/>
                  </a:lnTo>
                  <a:lnTo>
                    <a:pt x="376" y="6585"/>
                  </a:lnTo>
                  <a:lnTo>
                    <a:pt x="1490" y="8007"/>
                  </a:lnTo>
                  <a:lnTo>
                    <a:pt x="7462" y="3254"/>
                  </a:lnTo>
                  <a:cubicBezTo>
                    <a:pt x="7915" y="2863"/>
                    <a:pt x="8065" y="2328"/>
                    <a:pt x="8060" y="1774"/>
                  </a:cubicBezTo>
                  <a:lnTo>
                    <a:pt x="8137" y="1832"/>
                  </a:lnTo>
                  <a:cubicBezTo>
                    <a:pt x="8142" y="1620"/>
                    <a:pt x="7988" y="1475"/>
                    <a:pt x="7920" y="1277"/>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30" name="Freihandform: Form 229">
              <a:extLst>
                <a:ext uri="{FF2B5EF4-FFF2-40B4-BE49-F238E27FC236}">
                  <a16:creationId xmlns:a16="http://schemas.microsoft.com/office/drawing/2014/main" id="{60AF5D6D-9534-C818-9C26-8102134FE3CE}"/>
                </a:ext>
              </a:extLst>
            </p:cNvPr>
            <p:cNvSpPr/>
            <p:nvPr/>
          </p:nvSpPr>
          <p:spPr>
            <a:xfrm>
              <a:off x="5569046" y="1509633"/>
              <a:ext cx="1588" cy="3175"/>
            </a:xfrm>
            <a:custGeom>
              <a:avLst/>
              <a:gdLst>
                <a:gd name="connsiteX0" fmla="*/ 738 w 961"/>
                <a:gd name="connsiteY0" fmla="*/ 0 h 2497"/>
                <a:gd name="connsiteX1" fmla="*/ 0 w 961"/>
                <a:gd name="connsiteY1" fmla="*/ 2497 h 2497"/>
                <a:gd name="connsiteX2" fmla="*/ 738 w 961"/>
                <a:gd name="connsiteY2" fmla="*/ 0 h 2497"/>
              </a:gdLst>
              <a:ahLst/>
              <a:cxnLst>
                <a:cxn ang="0">
                  <a:pos x="connsiteX0" y="connsiteY0"/>
                </a:cxn>
                <a:cxn ang="0">
                  <a:pos x="connsiteX1" y="connsiteY1"/>
                </a:cxn>
                <a:cxn ang="0">
                  <a:pos x="connsiteX2" y="connsiteY2"/>
                </a:cxn>
              </a:cxnLst>
              <a:rect l="l" t="t" r="r" b="b"/>
              <a:pathLst>
                <a:path w="961" h="2497">
                  <a:moveTo>
                    <a:pt x="738" y="0"/>
                  </a:moveTo>
                  <a:lnTo>
                    <a:pt x="0" y="2497"/>
                  </a:lnTo>
                  <a:cubicBezTo>
                    <a:pt x="877" y="1996"/>
                    <a:pt x="1229" y="897"/>
                    <a:pt x="738"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31" name="Freihandform: Form 230">
              <a:extLst>
                <a:ext uri="{FF2B5EF4-FFF2-40B4-BE49-F238E27FC236}">
                  <a16:creationId xmlns:a16="http://schemas.microsoft.com/office/drawing/2014/main" id="{26920D7C-BC19-364A-1044-3F8ECE7B6ECE}"/>
                </a:ext>
              </a:extLst>
            </p:cNvPr>
            <p:cNvSpPr/>
            <p:nvPr/>
          </p:nvSpPr>
          <p:spPr>
            <a:xfrm>
              <a:off x="5591269" y="1412791"/>
              <a:ext cx="12699" cy="6350"/>
            </a:xfrm>
            <a:custGeom>
              <a:avLst/>
              <a:gdLst>
                <a:gd name="connsiteX0" fmla="*/ 9049 w 10192"/>
                <a:gd name="connsiteY0" fmla="*/ 2502 h 6005"/>
                <a:gd name="connsiteX1" fmla="*/ 8981 w 10192"/>
                <a:gd name="connsiteY1" fmla="*/ 2478 h 6005"/>
                <a:gd name="connsiteX2" fmla="*/ 8981 w 10192"/>
                <a:gd name="connsiteY2" fmla="*/ 2478 h 6005"/>
                <a:gd name="connsiteX3" fmla="*/ 8624 w 10192"/>
                <a:gd name="connsiteY3" fmla="*/ 2353 h 6005"/>
                <a:gd name="connsiteX4" fmla="*/ 3081 w 10192"/>
                <a:gd name="connsiteY4" fmla="*/ 101 h 6005"/>
                <a:gd name="connsiteX5" fmla="*/ 2410 w 10192"/>
                <a:gd name="connsiteY5" fmla="*/ 0 h 6005"/>
                <a:gd name="connsiteX6" fmla="*/ 1822 w 10192"/>
                <a:gd name="connsiteY6" fmla="*/ 0 h 6005"/>
                <a:gd name="connsiteX7" fmla="*/ 1427 w 10192"/>
                <a:gd name="connsiteY7" fmla="*/ 159 h 6005"/>
                <a:gd name="connsiteX8" fmla="*/ 844 w 10192"/>
                <a:gd name="connsiteY8" fmla="*/ 395 h 6005"/>
                <a:gd name="connsiteX9" fmla="*/ 381 w 10192"/>
                <a:gd name="connsiteY9" fmla="*/ 897 h 6005"/>
                <a:gd name="connsiteX10" fmla="*/ 111 w 10192"/>
                <a:gd name="connsiteY10" fmla="*/ 1200 h 6005"/>
                <a:gd name="connsiteX11" fmla="*/ 130 w 10192"/>
                <a:gd name="connsiteY11" fmla="*/ 1494 h 6005"/>
                <a:gd name="connsiteX12" fmla="*/ 0 w 10192"/>
                <a:gd name="connsiteY12" fmla="*/ 1832 h 6005"/>
                <a:gd name="connsiteX13" fmla="*/ 169 w 10192"/>
                <a:gd name="connsiteY13" fmla="*/ 2213 h 6005"/>
                <a:gd name="connsiteX14" fmla="*/ 391 w 10192"/>
                <a:gd name="connsiteY14" fmla="*/ 2772 h 6005"/>
                <a:gd name="connsiteX15" fmla="*/ 935 w 10192"/>
                <a:gd name="connsiteY15" fmla="*/ 3249 h 6005"/>
                <a:gd name="connsiteX16" fmla="*/ 1225 w 10192"/>
                <a:gd name="connsiteY16" fmla="*/ 3529 h 6005"/>
                <a:gd name="connsiteX17" fmla="*/ 7732 w 10192"/>
                <a:gd name="connsiteY17" fmla="*/ 5901 h 6005"/>
                <a:gd name="connsiteX18" fmla="*/ 10071 w 10192"/>
                <a:gd name="connsiteY18" fmla="*/ 4840 h 6005"/>
                <a:gd name="connsiteX19" fmla="*/ 9049 w 10192"/>
                <a:gd name="connsiteY19" fmla="*/ 2502 h 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192" h="6005">
                  <a:moveTo>
                    <a:pt x="9049" y="2502"/>
                  </a:moveTo>
                  <a:lnTo>
                    <a:pt x="8981" y="2478"/>
                  </a:lnTo>
                  <a:lnTo>
                    <a:pt x="8981" y="2478"/>
                  </a:lnTo>
                  <a:lnTo>
                    <a:pt x="8624" y="2353"/>
                  </a:lnTo>
                  <a:lnTo>
                    <a:pt x="3081" y="101"/>
                  </a:lnTo>
                  <a:lnTo>
                    <a:pt x="2410" y="0"/>
                  </a:lnTo>
                  <a:lnTo>
                    <a:pt x="1822" y="0"/>
                  </a:lnTo>
                  <a:cubicBezTo>
                    <a:pt x="1678" y="0"/>
                    <a:pt x="1576" y="101"/>
                    <a:pt x="1427" y="159"/>
                  </a:cubicBezTo>
                  <a:cubicBezTo>
                    <a:pt x="1205" y="217"/>
                    <a:pt x="1027" y="275"/>
                    <a:pt x="844" y="395"/>
                  </a:cubicBezTo>
                  <a:cubicBezTo>
                    <a:pt x="651" y="530"/>
                    <a:pt x="506" y="675"/>
                    <a:pt x="381" y="897"/>
                  </a:cubicBezTo>
                  <a:cubicBezTo>
                    <a:pt x="294" y="998"/>
                    <a:pt x="169" y="1061"/>
                    <a:pt x="111" y="1200"/>
                  </a:cubicBezTo>
                  <a:cubicBezTo>
                    <a:pt x="72" y="1306"/>
                    <a:pt x="149" y="1388"/>
                    <a:pt x="130" y="1494"/>
                  </a:cubicBezTo>
                  <a:cubicBezTo>
                    <a:pt x="97" y="1629"/>
                    <a:pt x="0" y="1697"/>
                    <a:pt x="0" y="1832"/>
                  </a:cubicBezTo>
                  <a:cubicBezTo>
                    <a:pt x="0" y="1972"/>
                    <a:pt x="130" y="2073"/>
                    <a:pt x="169" y="2213"/>
                  </a:cubicBezTo>
                  <a:cubicBezTo>
                    <a:pt x="203" y="2425"/>
                    <a:pt x="275" y="2603"/>
                    <a:pt x="391" y="2772"/>
                  </a:cubicBezTo>
                  <a:cubicBezTo>
                    <a:pt x="550" y="2970"/>
                    <a:pt x="694" y="3109"/>
                    <a:pt x="935" y="3249"/>
                  </a:cubicBezTo>
                  <a:cubicBezTo>
                    <a:pt x="1051" y="3336"/>
                    <a:pt x="1080" y="3466"/>
                    <a:pt x="1225" y="3529"/>
                  </a:cubicBezTo>
                  <a:lnTo>
                    <a:pt x="7732" y="5901"/>
                  </a:lnTo>
                  <a:cubicBezTo>
                    <a:pt x="8682" y="6228"/>
                    <a:pt x="9709" y="5765"/>
                    <a:pt x="10071" y="4840"/>
                  </a:cubicBezTo>
                  <a:cubicBezTo>
                    <a:pt x="10427" y="3905"/>
                    <a:pt x="9979" y="2863"/>
                    <a:pt x="9049" y="250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32" name="Freihandform: Form 231">
              <a:extLst>
                <a:ext uri="{FF2B5EF4-FFF2-40B4-BE49-F238E27FC236}">
                  <a16:creationId xmlns:a16="http://schemas.microsoft.com/office/drawing/2014/main" id="{D8447AE3-1E17-7B11-1CC6-A4FD78F7C5E3}"/>
                </a:ext>
              </a:extLst>
            </p:cNvPr>
            <p:cNvSpPr/>
            <p:nvPr/>
          </p:nvSpPr>
          <p:spPr>
            <a:xfrm>
              <a:off x="5992861" y="2079566"/>
              <a:ext cx="4761" cy="4763"/>
            </a:xfrm>
            <a:custGeom>
              <a:avLst/>
              <a:gdLst>
                <a:gd name="connsiteX0" fmla="*/ 2401 w 4227"/>
                <a:gd name="connsiteY0" fmla="*/ 0 h 3605"/>
                <a:gd name="connsiteX1" fmla="*/ 1822 w 4227"/>
                <a:gd name="connsiteY1" fmla="*/ 0 h 3605"/>
                <a:gd name="connsiteX2" fmla="*/ 0 w 4227"/>
                <a:gd name="connsiteY2" fmla="*/ 1798 h 3605"/>
                <a:gd name="connsiteX3" fmla="*/ 1822 w 4227"/>
                <a:gd name="connsiteY3" fmla="*/ 3606 h 3605"/>
                <a:gd name="connsiteX4" fmla="*/ 2401 w 4227"/>
                <a:gd name="connsiteY4" fmla="*/ 3606 h 3605"/>
                <a:gd name="connsiteX5" fmla="*/ 4228 w 4227"/>
                <a:gd name="connsiteY5" fmla="*/ 1798 h 3605"/>
                <a:gd name="connsiteX6" fmla="*/ 2401 w 4227"/>
                <a:gd name="connsiteY6" fmla="*/ 0 h 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7" h="3605">
                  <a:moveTo>
                    <a:pt x="2401" y="0"/>
                  </a:moveTo>
                  <a:lnTo>
                    <a:pt x="1822" y="0"/>
                  </a:lnTo>
                  <a:cubicBezTo>
                    <a:pt x="810" y="0"/>
                    <a:pt x="0" y="791"/>
                    <a:pt x="0" y="1798"/>
                  </a:cubicBezTo>
                  <a:cubicBezTo>
                    <a:pt x="0" y="2825"/>
                    <a:pt x="805" y="3606"/>
                    <a:pt x="1822" y="3606"/>
                  </a:cubicBezTo>
                  <a:lnTo>
                    <a:pt x="2401" y="3606"/>
                  </a:lnTo>
                  <a:cubicBezTo>
                    <a:pt x="3418" y="3606"/>
                    <a:pt x="4228" y="2825"/>
                    <a:pt x="4228" y="1798"/>
                  </a:cubicBezTo>
                  <a:cubicBezTo>
                    <a:pt x="4228" y="791"/>
                    <a:pt x="3418" y="0"/>
                    <a:pt x="2401"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33" name="Freihandform: Form 232">
              <a:extLst>
                <a:ext uri="{FF2B5EF4-FFF2-40B4-BE49-F238E27FC236}">
                  <a16:creationId xmlns:a16="http://schemas.microsoft.com/office/drawing/2014/main" id="{E870A6F3-51CA-E585-F392-6D381126186D}"/>
                </a:ext>
              </a:extLst>
            </p:cNvPr>
            <p:cNvSpPr/>
            <p:nvPr/>
          </p:nvSpPr>
          <p:spPr>
            <a:xfrm>
              <a:off x="6108735" y="2512971"/>
              <a:ext cx="7937" cy="14288"/>
            </a:xfrm>
            <a:custGeom>
              <a:avLst/>
              <a:gdLst>
                <a:gd name="connsiteX0" fmla="*/ 4172 w 5398"/>
                <a:gd name="connsiteY0" fmla="*/ 689 h 10770"/>
                <a:gd name="connsiteX1" fmla="*/ 2388 w 5398"/>
                <a:gd name="connsiteY1" fmla="*/ 87 h 10770"/>
                <a:gd name="connsiteX2" fmla="*/ 1993 w 5398"/>
                <a:gd name="connsiteY2" fmla="*/ 97 h 10770"/>
                <a:gd name="connsiteX3" fmla="*/ 1636 w 5398"/>
                <a:gd name="connsiteY3" fmla="*/ 0 h 10770"/>
                <a:gd name="connsiteX4" fmla="*/ 1323 w 5398"/>
                <a:gd name="connsiteY4" fmla="*/ 164 h 10770"/>
                <a:gd name="connsiteX5" fmla="*/ 749 w 5398"/>
                <a:gd name="connsiteY5" fmla="*/ 468 h 10770"/>
                <a:gd name="connsiteX6" fmla="*/ 310 w 5398"/>
                <a:gd name="connsiteY6" fmla="*/ 983 h 10770"/>
                <a:gd name="connsiteX7" fmla="*/ 79 w 5398"/>
                <a:gd name="connsiteY7" fmla="*/ 1258 h 10770"/>
                <a:gd name="connsiteX8" fmla="*/ 108 w 5398"/>
                <a:gd name="connsiteY8" fmla="*/ 1610 h 10770"/>
                <a:gd name="connsiteX9" fmla="*/ 2 w 5398"/>
                <a:gd name="connsiteY9" fmla="*/ 1967 h 10770"/>
                <a:gd name="connsiteX10" fmla="*/ 576 w 5398"/>
                <a:gd name="connsiteY10" fmla="*/ 9111 h 10770"/>
                <a:gd name="connsiteX11" fmla="*/ 2311 w 5398"/>
                <a:gd name="connsiteY11" fmla="*/ 10770 h 10770"/>
                <a:gd name="connsiteX12" fmla="*/ 4181 w 5398"/>
                <a:gd name="connsiteY12" fmla="*/ 9290 h 10770"/>
                <a:gd name="connsiteX13" fmla="*/ 5372 w 5398"/>
                <a:gd name="connsiteY13" fmla="*/ 2733 h 10770"/>
                <a:gd name="connsiteX14" fmla="*/ 4172 w 5398"/>
                <a:gd name="connsiteY14" fmla="*/ 689 h 1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98" h="10770">
                  <a:moveTo>
                    <a:pt x="4172" y="689"/>
                  </a:moveTo>
                  <a:lnTo>
                    <a:pt x="2388" y="87"/>
                  </a:lnTo>
                  <a:cubicBezTo>
                    <a:pt x="2253" y="34"/>
                    <a:pt x="2138" y="145"/>
                    <a:pt x="1993" y="97"/>
                  </a:cubicBezTo>
                  <a:cubicBezTo>
                    <a:pt x="1868" y="87"/>
                    <a:pt x="1771" y="0"/>
                    <a:pt x="1636" y="0"/>
                  </a:cubicBezTo>
                  <a:cubicBezTo>
                    <a:pt x="1525" y="0"/>
                    <a:pt x="1443" y="140"/>
                    <a:pt x="1323" y="164"/>
                  </a:cubicBezTo>
                  <a:cubicBezTo>
                    <a:pt x="1091" y="217"/>
                    <a:pt x="942" y="333"/>
                    <a:pt x="749" y="468"/>
                  </a:cubicBezTo>
                  <a:cubicBezTo>
                    <a:pt x="561" y="607"/>
                    <a:pt x="426" y="767"/>
                    <a:pt x="310" y="983"/>
                  </a:cubicBezTo>
                  <a:cubicBezTo>
                    <a:pt x="238" y="1085"/>
                    <a:pt x="118" y="1114"/>
                    <a:pt x="79" y="1258"/>
                  </a:cubicBezTo>
                  <a:cubicBezTo>
                    <a:pt x="45" y="1360"/>
                    <a:pt x="122" y="1475"/>
                    <a:pt x="108" y="1610"/>
                  </a:cubicBezTo>
                  <a:cubicBezTo>
                    <a:pt x="103" y="1721"/>
                    <a:pt x="-17" y="1832"/>
                    <a:pt x="2" y="1967"/>
                  </a:cubicBezTo>
                  <a:lnTo>
                    <a:pt x="576" y="9111"/>
                  </a:lnTo>
                  <a:cubicBezTo>
                    <a:pt x="662" y="10008"/>
                    <a:pt x="1376" y="10721"/>
                    <a:pt x="2311" y="10770"/>
                  </a:cubicBezTo>
                  <a:cubicBezTo>
                    <a:pt x="3222" y="10798"/>
                    <a:pt x="3989" y="10172"/>
                    <a:pt x="4181" y="9290"/>
                  </a:cubicBezTo>
                  <a:lnTo>
                    <a:pt x="5372" y="2733"/>
                  </a:lnTo>
                  <a:cubicBezTo>
                    <a:pt x="5522" y="1856"/>
                    <a:pt x="5020" y="969"/>
                    <a:pt x="4172" y="68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34" name="Freihandform: Form 233">
              <a:extLst>
                <a:ext uri="{FF2B5EF4-FFF2-40B4-BE49-F238E27FC236}">
                  <a16:creationId xmlns:a16="http://schemas.microsoft.com/office/drawing/2014/main" id="{DB6927F2-EA47-61D1-1332-97E2B0D5635E}"/>
                </a:ext>
              </a:extLst>
            </p:cNvPr>
            <p:cNvSpPr/>
            <p:nvPr/>
          </p:nvSpPr>
          <p:spPr>
            <a:xfrm>
              <a:off x="6218261" y="1608061"/>
              <a:ext cx="12699" cy="7937"/>
            </a:xfrm>
            <a:custGeom>
              <a:avLst/>
              <a:gdLst>
                <a:gd name="connsiteX0" fmla="*/ 8275 w 9514"/>
                <a:gd name="connsiteY0" fmla="*/ 1866 h 5327"/>
                <a:gd name="connsiteX1" fmla="*/ 2317 w 9514"/>
                <a:gd name="connsiteY1" fmla="*/ 78 h 5327"/>
                <a:gd name="connsiteX2" fmla="*/ 80 w 9514"/>
                <a:gd name="connsiteY2" fmla="*/ 1288 h 5327"/>
                <a:gd name="connsiteX3" fmla="*/ 1295 w 9514"/>
                <a:gd name="connsiteY3" fmla="*/ 3525 h 5327"/>
                <a:gd name="connsiteX4" fmla="*/ 7229 w 9514"/>
                <a:gd name="connsiteY4" fmla="*/ 5328 h 5327"/>
                <a:gd name="connsiteX5" fmla="*/ 8608 w 9514"/>
                <a:gd name="connsiteY5" fmla="*/ 5183 h 5327"/>
                <a:gd name="connsiteX6" fmla="*/ 9514 w 9514"/>
                <a:gd name="connsiteY6" fmla="*/ 4098 h 5327"/>
                <a:gd name="connsiteX7" fmla="*/ 9370 w 9514"/>
                <a:gd name="connsiteY7" fmla="*/ 2739 h 5327"/>
                <a:gd name="connsiteX8" fmla="*/ 8275 w 9514"/>
                <a:gd name="connsiteY8" fmla="*/ 1866 h 5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14" h="5327">
                  <a:moveTo>
                    <a:pt x="8275" y="1866"/>
                  </a:moveTo>
                  <a:lnTo>
                    <a:pt x="2317" y="78"/>
                  </a:lnTo>
                  <a:cubicBezTo>
                    <a:pt x="1387" y="-211"/>
                    <a:pt x="379" y="329"/>
                    <a:pt x="80" y="1288"/>
                  </a:cubicBezTo>
                  <a:cubicBezTo>
                    <a:pt x="-218" y="2242"/>
                    <a:pt x="346" y="3250"/>
                    <a:pt x="1295" y="3525"/>
                  </a:cubicBezTo>
                  <a:lnTo>
                    <a:pt x="7229" y="5328"/>
                  </a:lnTo>
                  <a:lnTo>
                    <a:pt x="8608" y="5183"/>
                  </a:lnTo>
                  <a:lnTo>
                    <a:pt x="9514" y="4098"/>
                  </a:lnTo>
                  <a:lnTo>
                    <a:pt x="9370" y="2739"/>
                  </a:lnTo>
                  <a:lnTo>
                    <a:pt x="8275" y="186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35" name="Freihandform: Form 234">
              <a:extLst>
                <a:ext uri="{FF2B5EF4-FFF2-40B4-BE49-F238E27FC236}">
                  <a16:creationId xmlns:a16="http://schemas.microsoft.com/office/drawing/2014/main" id="{EDDB222D-4E2D-C71C-BE3E-AE95706CEE98}"/>
                </a:ext>
              </a:extLst>
            </p:cNvPr>
            <p:cNvSpPr/>
            <p:nvPr/>
          </p:nvSpPr>
          <p:spPr>
            <a:xfrm>
              <a:off x="6280166" y="2478044"/>
              <a:ext cx="7937" cy="11112"/>
            </a:xfrm>
            <a:custGeom>
              <a:avLst/>
              <a:gdLst>
                <a:gd name="connsiteX0" fmla="*/ 4748 w 5893"/>
                <a:gd name="connsiteY0" fmla="*/ 132 h 9450"/>
                <a:gd name="connsiteX1" fmla="*/ 2391 w 5893"/>
                <a:gd name="connsiteY1" fmla="*/ 1145 h 9450"/>
                <a:gd name="connsiteX2" fmla="*/ 0 w 5893"/>
                <a:gd name="connsiteY2" fmla="*/ 7103 h 9450"/>
                <a:gd name="connsiteX3" fmla="*/ 14 w 5893"/>
                <a:gd name="connsiteY3" fmla="*/ 8496 h 9450"/>
                <a:gd name="connsiteX4" fmla="*/ 1022 w 5893"/>
                <a:gd name="connsiteY4" fmla="*/ 9451 h 9450"/>
                <a:gd name="connsiteX5" fmla="*/ 2410 w 5893"/>
                <a:gd name="connsiteY5" fmla="*/ 9432 h 9450"/>
                <a:gd name="connsiteX6" fmla="*/ 3384 w 5893"/>
                <a:gd name="connsiteY6" fmla="*/ 8453 h 9450"/>
                <a:gd name="connsiteX7" fmla="*/ 5761 w 5893"/>
                <a:gd name="connsiteY7" fmla="*/ 2519 h 9450"/>
                <a:gd name="connsiteX8" fmla="*/ 4748 w 5893"/>
                <a:gd name="connsiteY8" fmla="*/ 132 h 9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93" h="9450">
                  <a:moveTo>
                    <a:pt x="4748" y="132"/>
                  </a:moveTo>
                  <a:cubicBezTo>
                    <a:pt x="3823" y="-248"/>
                    <a:pt x="2762" y="224"/>
                    <a:pt x="2391" y="1145"/>
                  </a:cubicBezTo>
                  <a:lnTo>
                    <a:pt x="0" y="7103"/>
                  </a:lnTo>
                  <a:lnTo>
                    <a:pt x="14" y="8496"/>
                  </a:lnTo>
                  <a:lnTo>
                    <a:pt x="1022" y="9451"/>
                  </a:lnTo>
                  <a:lnTo>
                    <a:pt x="2410" y="9432"/>
                  </a:lnTo>
                  <a:lnTo>
                    <a:pt x="3384" y="8453"/>
                  </a:lnTo>
                  <a:lnTo>
                    <a:pt x="5761" y="2519"/>
                  </a:lnTo>
                  <a:cubicBezTo>
                    <a:pt x="6142" y="1555"/>
                    <a:pt x="5669" y="513"/>
                    <a:pt x="4748" y="13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36" name="Freihandform: Form 235">
              <a:extLst>
                <a:ext uri="{FF2B5EF4-FFF2-40B4-BE49-F238E27FC236}">
                  <a16:creationId xmlns:a16="http://schemas.microsoft.com/office/drawing/2014/main" id="{C2FB22A8-1E89-D609-84F1-2A8569B97C4C}"/>
                </a:ext>
              </a:extLst>
            </p:cNvPr>
            <p:cNvSpPr/>
            <p:nvPr/>
          </p:nvSpPr>
          <p:spPr>
            <a:xfrm>
              <a:off x="6303976" y="2312938"/>
              <a:ext cx="7936" cy="11112"/>
            </a:xfrm>
            <a:custGeom>
              <a:avLst/>
              <a:gdLst>
                <a:gd name="connsiteX0" fmla="*/ 3552 w 5345"/>
                <a:gd name="connsiteY0" fmla="*/ 8258 h 9582"/>
                <a:gd name="connsiteX1" fmla="*/ 5345 w 5345"/>
                <a:gd name="connsiteY1" fmla="*/ 2324 h 9582"/>
                <a:gd name="connsiteX2" fmla="*/ 5056 w 5345"/>
                <a:gd name="connsiteY2" fmla="*/ 704 h 9582"/>
                <a:gd name="connsiteX3" fmla="*/ 3619 w 5345"/>
                <a:gd name="connsiteY3" fmla="*/ 0 h 9582"/>
                <a:gd name="connsiteX4" fmla="*/ 2419 w 5345"/>
                <a:gd name="connsiteY4" fmla="*/ 0 h 9582"/>
                <a:gd name="connsiteX5" fmla="*/ 1932 w 5345"/>
                <a:gd name="connsiteY5" fmla="*/ 198 h 9582"/>
                <a:gd name="connsiteX6" fmla="*/ 1204 w 5345"/>
                <a:gd name="connsiteY6" fmla="*/ 497 h 9582"/>
                <a:gd name="connsiteX7" fmla="*/ 900 w 5345"/>
                <a:gd name="connsiteY7" fmla="*/ 1075 h 9582"/>
                <a:gd name="connsiteX8" fmla="*/ 597 w 5345"/>
                <a:gd name="connsiteY8" fmla="*/ 1620 h 9582"/>
                <a:gd name="connsiteX9" fmla="*/ 9 w 5345"/>
                <a:gd name="connsiteY9" fmla="*/ 7569 h 9582"/>
                <a:gd name="connsiteX10" fmla="*/ 1484 w 5345"/>
                <a:gd name="connsiteY10" fmla="*/ 9550 h 9582"/>
                <a:gd name="connsiteX11" fmla="*/ 3552 w 5345"/>
                <a:gd name="connsiteY11" fmla="*/ 8258 h 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45" h="9582">
                  <a:moveTo>
                    <a:pt x="3552" y="8258"/>
                  </a:moveTo>
                  <a:lnTo>
                    <a:pt x="5345" y="2324"/>
                  </a:lnTo>
                  <a:lnTo>
                    <a:pt x="5056" y="704"/>
                  </a:lnTo>
                  <a:lnTo>
                    <a:pt x="3619" y="0"/>
                  </a:lnTo>
                  <a:lnTo>
                    <a:pt x="2419" y="0"/>
                  </a:lnTo>
                  <a:cubicBezTo>
                    <a:pt x="2217" y="0"/>
                    <a:pt x="2101" y="135"/>
                    <a:pt x="1932" y="198"/>
                  </a:cubicBezTo>
                  <a:cubicBezTo>
                    <a:pt x="1653" y="275"/>
                    <a:pt x="1402" y="304"/>
                    <a:pt x="1204" y="497"/>
                  </a:cubicBezTo>
                  <a:cubicBezTo>
                    <a:pt x="1036" y="651"/>
                    <a:pt x="992" y="844"/>
                    <a:pt x="900" y="1075"/>
                  </a:cubicBezTo>
                  <a:cubicBezTo>
                    <a:pt x="809" y="1258"/>
                    <a:pt x="611" y="1408"/>
                    <a:pt x="597" y="1620"/>
                  </a:cubicBezTo>
                  <a:lnTo>
                    <a:pt x="9" y="7569"/>
                  </a:lnTo>
                  <a:cubicBezTo>
                    <a:pt x="-83" y="8504"/>
                    <a:pt x="563" y="9352"/>
                    <a:pt x="1484" y="9550"/>
                  </a:cubicBezTo>
                  <a:cubicBezTo>
                    <a:pt x="2390" y="9723"/>
                    <a:pt x="3277" y="9183"/>
                    <a:pt x="3552" y="825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37" name="Freihandform: Form 236">
              <a:extLst>
                <a:ext uri="{FF2B5EF4-FFF2-40B4-BE49-F238E27FC236}">
                  <a16:creationId xmlns:a16="http://schemas.microsoft.com/office/drawing/2014/main" id="{A16E8AA8-D37D-723B-FAFC-0901DAB36559}"/>
                </a:ext>
              </a:extLst>
            </p:cNvPr>
            <p:cNvSpPr/>
            <p:nvPr/>
          </p:nvSpPr>
          <p:spPr>
            <a:xfrm>
              <a:off x="6307151" y="2351040"/>
              <a:ext cx="6349" cy="12700"/>
            </a:xfrm>
            <a:custGeom>
              <a:avLst/>
              <a:gdLst>
                <a:gd name="connsiteX0" fmla="*/ 1631 w 4224"/>
                <a:gd name="connsiteY0" fmla="*/ 6 h 9579"/>
                <a:gd name="connsiteX1" fmla="*/ 11 w 4224"/>
                <a:gd name="connsiteY1" fmla="*/ 2001 h 9579"/>
                <a:gd name="connsiteX2" fmla="*/ 594 w 4224"/>
                <a:gd name="connsiteY2" fmla="*/ 7965 h 9579"/>
                <a:gd name="connsiteX3" fmla="*/ 1255 w 4224"/>
                <a:gd name="connsiteY3" fmla="*/ 9184 h 9579"/>
                <a:gd name="connsiteX4" fmla="*/ 2605 w 4224"/>
                <a:gd name="connsiteY4" fmla="*/ 9579 h 9579"/>
                <a:gd name="connsiteX5" fmla="*/ 3829 w 4224"/>
                <a:gd name="connsiteY5" fmla="*/ 8919 h 9579"/>
                <a:gd name="connsiteX6" fmla="*/ 4224 w 4224"/>
                <a:gd name="connsiteY6" fmla="*/ 7579 h 9579"/>
                <a:gd name="connsiteX7" fmla="*/ 3622 w 4224"/>
                <a:gd name="connsiteY7" fmla="*/ 1649 h 9579"/>
                <a:gd name="connsiteX8" fmla="*/ 1631 w 4224"/>
                <a:gd name="connsiteY8" fmla="*/ 6 h 9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24" h="9579">
                  <a:moveTo>
                    <a:pt x="1631" y="6"/>
                  </a:moveTo>
                  <a:cubicBezTo>
                    <a:pt x="628" y="116"/>
                    <a:pt x="-100" y="1013"/>
                    <a:pt x="11" y="2001"/>
                  </a:cubicBezTo>
                  <a:lnTo>
                    <a:pt x="594" y="7965"/>
                  </a:lnTo>
                  <a:lnTo>
                    <a:pt x="1255" y="9184"/>
                  </a:lnTo>
                  <a:lnTo>
                    <a:pt x="2605" y="9579"/>
                  </a:lnTo>
                  <a:lnTo>
                    <a:pt x="3829" y="8919"/>
                  </a:lnTo>
                  <a:lnTo>
                    <a:pt x="4224" y="7579"/>
                  </a:lnTo>
                  <a:lnTo>
                    <a:pt x="3622" y="1649"/>
                  </a:lnTo>
                  <a:cubicBezTo>
                    <a:pt x="3516" y="661"/>
                    <a:pt x="2619" y="-72"/>
                    <a:pt x="1631" y="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38" name="Freihandform: Form 237">
              <a:extLst>
                <a:ext uri="{FF2B5EF4-FFF2-40B4-BE49-F238E27FC236}">
                  <a16:creationId xmlns:a16="http://schemas.microsoft.com/office/drawing/2014/main" id="{21E3FB4A-54E9-DB9A-A96C-7ADAE026E3FB}"/>
                </a:ext>
              </a:extLst>
            </p:cNvPr>
            <p:cNvSpPr/>
            <p:nvPr/>
          </p:nvSpPr>
          <p:spPr>
            <a:xfrm>
              <a:off x="6419850" y="2438355"/>
              <a:ext cx="12699" cy="7938"/>
            </a:xfrm>
            <a:custGeom>
              <a:avLst/>
              <a:gdLst>
                <a:gd name="connsiteX0" fmla="*/ 9453 w 9577"/>
                <a:gd name="connsiteY0" fmla="*/ 1143 h 6029"/>
                <a:gd name="connsiteX1" fmla="*/ 7072 w 9577"/>
                <a:gd name="connsiteY1" fmla="*/ 140 h 6029"/>
                <a:gd name="connsiteX2" fmla="*/ 1161 w 9577"/>
                <a:gd name="connsiteY2" fmla="*/ 2551 h 6029"/>
                <a:gd name="connsiteX3" fmla="*/ 111 w 9577"/>
                <a:gd name="connsiteY3" fmla="*/ 4889 h 6029"/>
                <a:gd name="connsiteX4" fmla="*/ 2497 w 9577"/>
                <a:gd name="connsiteY4" fmla="*/ 5906 h 6029"/>
                <a:gd name="connsiteX5" fmla="*/ 8422 w 9577"/>
                <a:gd name="connsiteY5" fmla="*/ 3525 h 6029"/>
                <a:gd name="connsiteX6" fmla="*/ 9453 w 9577"/>
                <a:gd name="connsiteY6" fmla="*/ 1143 h 6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77" h="6029">
                  <a:moveTo>
                    <a:pt x="9453" y="1143"/>
                  </a:moveTo>
                  <a:cubicBezTo>
                    <a:pt x="9092" y="218"/>
                    <a:pt x="8016" y="-255"/>
                    <a:pt x="7072" y="140"/>
                  </a:cubicBezTo>
                  <a:lnTo>
                    <a:pt x="1161" y="2551"/>
                  </a:lnTo>
                  <a:cubicBezTo>
                    <a:pt x="231" y="2903"/>
                    <a:pt x="-227" y="3958"/>
                    <a:pt x="111" y="4889"/>
                  </a:cubicBezTo>
                  <a:cubicBezTo>
                    <a:pt x="511" y="5824"/>
                    <a:pt x="1547" y="6263"/>
                    <a:pt x="2497" y="5906"/>
                  </a:cubicBezTo>
                  <a:lnTo>
                    <a:pt x="8422" y="3525"/>
                  </a:lnTo>
                  <a:cubicBezTo>
                    <a:pt x="9381" y="3149"/>
                    <a:pt x="9810" y="2078"/>
                    <a:pt x="9453" y="1143"/>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39" name="Freihandform: Form 238">
              <a:extLst>
                <a:ext uri="{FF2B5EF4-FFF2-40B4-BE49-F238E27FC236}">
                  <a16:creationId xmlns:a16="http://schemas.microsoft.com/office/drawing/2014/main" id="{78190320-1BBD-2800-B9F0-0016894A4032}"/>
                </a:ext>
              </a:extLst>
            </p:cNvPr>
            <p:cNvSpPr/>
            <p:nvPr/>
          </p:nvSpPr>
          <p:spPr>
            <a:xfrm>
              <a:off x="6400802" y="2444705"/>
              <a:ext cx="12699" cy="4763"/>
            </a:xfrm>
            <a:custGeom>
              <a:avLst/>
              <a:gdLst>
                <a:gd name="connsiteX0" fmla="*/ 7782 w 9589"/>
                <a:gd name="connsiteY0" fmla="*/ 0 h 4232"/>
                <a:gd name="connsiteX1" fmla="*/ 1842 w 9589"/>
                <a:gd name="connsiteY1" fmla="*/ 0 h 4232"/>
                <a:gd name="connsiteX2" fmla="*/ 1 w 9589"/>
                <a:gd name="connsiteY2" fmla="*/ 1750 h 4232"/>
                <a:gd name="connsiteX3" fmla="*/ 1649 w 9589"/>
                <a:gd name="connsiteY3" fmla="*/ 3659 h 4232"/>
                <a:gd name="connsiteX4" fmla="*/ 7608 w 9589"/>
                <a:gd name="connsiteY4" fmla="*/ 4233 h 4232"/>
                <a:gd name="connsiteX5" fmla="*/ 9001 w 9589"/>
                <a:gd name="connsiteY5" fmla="*/ 3770 h 4232"/>
                <a:gd name="connsiteX6" fmla="*/ 9589 w 9589"/>
                <a:gd name="connsiteY6" fmla="*/ 2430 h 4232"/>
                <a:gd name="connsiteX7" fmla="*/ 9589 w 9589"/>
                <a:gd name="connsiteY7" fmla="*/ 1827 h 4232"/>
                <a:gd name="connsiteX8" fmla="*/ 7782 w 9589"/>
                <a:gd name="connsiteY8" fmla="*/ 0 h 4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89" h="4232">
                  <a:moveTo>
                    <a:pt x="7782" y="0"/>
                  </a:moveTo>
                  <a:lnTo>
                    <a:pt x="1842" y="0"/>
                  </a:lnTo>
                  <a:cubicBezTo>
                    <a:pt x="864" y="0"/>
                    <a:pt x="73" y="771"/>
                    <a:pt x="1" y="1750"/>
                  </a:cubicBezTo>
                  <a:cubicBezTo>
                    <a:pt x="-28" y="2700"/>
                    <a:pt x="695" y="3553"/>
                    <a:pt x="1649" y="3659"/>
                  </a:cubicBezTo>
                  <a:lnTo>
                    <a:pt x="7608" y="4233"/>
                  </a:lnTo>
                  <a:lnTo>
                    <a:pt x="9001" y="3770"/>
                  </a:lnTo>
                  <a:lnTo>
                    <a:pt x="9589" y="2430"/>
                  </a:lnTo>
                  <a:lnTo>
                    <a:pt x="9589" y="1827"/>
                  </a:lnTo>
                  <a:cubicBezTo>
                    <a:pt x="9589" y="824"/>
                    <a:pt x="8808" y="0"/>
                    <a:pt x="7782"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40" name="Freihandform: Form 239">
              <a:extLst>
                <a:ext uri="{FF2B5EF4-FFF2-40B4-BE49-F238E27FC236}">
                  <a16:creationId xmlns:a16="http://schemas.microsoft.com/office/drawing/2014/main" id="{8E251E0C-5F49-F733-D2EB-B1AB4F6534A8}"/>
                </a:ext>
              </a:extLst>
            </p:cNvPr>
            <p:cNvSpPr/>
            <p:nvPr/>
          </p:nvSpPr>
          <p:spPr>
            <a:xfrm>
              <a:off x="6464295" y="2478044"/>
              <a:ext cx="12699" cy="4762"/>
            </a:xfrm>
            <a:custGeom>
              <a:avLst/>
              <a:gdLst>
                <a:gd name="connsiteX0" fmla="*/ 7801 w 9608"/>
                <a:gd name="connsiteY0" fmla="*/ 0 h 4208"/>
                <a:gd name="connsiteX1" fmla="*/ 1828 w 9608"/>
                <a:gd name="connsiteY1" fmla="*/ 0 h 4208"/>
                <a:gd name="connsiteX2" fmla="*/ 1 w 9608"/>
                <a:gd name="connsiteY2" fmla="*/ 1731 h 4208"/>
                <a:gd name="connsiteX3" fmla="*/ 1683 w 9608"/>
                <a:gd name="connsiteY3" fmla="*/ 3640 h 4208"/>
                <a:gd name="connsiteX4" fmla="*/ 7613 w 9608"/>
                <a:gd name="connsiteY4" fmla="*/ 4208 h 4208"/>
                <a:gd name="connsiteX5" fmla="*/ 9030 w 9608"/>
                <a:gd name="connsiteY5" fmla="*/ 3750 h 4208"/>
                <a:gd name="connsiteX6" fmla="*/ 9608 w 9608"/>
                <a:gd name="connsiteY6" fmla="*/ 2434 h 4208"/>
                <a:gd name="connsiteX7" fmla="*/ 9608 w 9608"/>
                <a:gd name="connsiteY7" fmla="*/ 1808 h 4208"/>
                <a:gd name="connsiteX8" fmla="*/ 7801 w 9608"/>
                <a:gd name="connsiteY8" fmla="*/ 0 h 4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08" h="4208">
                  <a:moveTo>
                    <a:pt x="7801" y="0"/>
                  </a:moveTo>
                  <a:lnTo>
                    <a:pt x="1828" y="0"/>
                  </a:lnTo>
                  <a:cubicBezTo>
                    <a:pt x="883" y="0"/>
                    <a:pt x="58" y="757"/>
                    <a:pt x="1" y="1731"/>
                  </a:cubicBezTo>
                  <a:cubicBezTo>
                    <a:pt x="-28" y="2709"/>
                    <a:pt x="700" y="3538"/>
                    <a:pt x="1683" y="3640"/>
                  </a:cubicBezTo>
                  <a:lnTo>
                    <a:pt x="7613" y="4208"/>
                  </a:lnTo>
                  <a:lnTo>
                    <a:pt x="9030" y="3750"/>
                  </a:lnTo>
                  <a:lnTo>
                    <a:pt x="9608" y="2434"/>
                  </a:lnTo>
                  <a:lnTo>
                    <a:pt x="9608" y="1808"/>
                  </a:lnTo>
                  <a:cubicBezTo>
                    <a:pt x="9608" y="815"/>
                    <a:pt x="8808" y="0"/>
                    <a:pt x="7801"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41" name="Freihandform: Form 240">
              <a:extLst>
                <a:ext uri="{FF2B5EF4-FFF2-40B4-BE49-F238E27FC236}">
                  <a16:creationId xmlns:a16="http://schemas.microsoft.com/office/drawing/2014/main" id="{9B6E2118-49A1-F154-03F2-3091B6BCE916}"/>
                </a:ext>
              </a:extLst>
            </p:cNvPr>
            <p:cNvSpPr/>
            <p:nvPr/>
          </p:nvSpPr>
          <p:spPr>
            <a:xfrm>
              <a:off x="6270642" y="1950974"/>
              <a:ext cx="4762" cy="11112"/>
            </a:xfrm>
            <a:custGeom>
              <a:avLst/>
              <a:gdLst>
                <a:gd name="connsiteX0" fmla="*/ 2463 w 4198"/>
                <a:gd name="connsiteY0" fmla="*/ 4 h 9592"/>
                <a:gd name="connsiteX1" fmla="*/ 593 w 4198"/>
                <a:gd name="connsiteY1" fmla="*/ 1638 h 9592"/>
                <a:gd name="connsiteX2" fmla="*/ 0 w 4198"/>
                <a:gd name="connsiteY2" fmla="*/ 7597 h 9592"/>
                <a:gd name="connsiteX3" fmla="*/ 458 w 4198"/>
                <a:gd name="connsiteY3" fmla="*/ 8995 h 9592"/>
                <a:gd name="connsiteX4" fmla="*/ 1793 w 4198"/>
                <a:gd name="connsiteY4" fmla="*/ 9593 h 9592"/>
                <a:gd name="connsiteX5" fmla="*/ 2386 w 4198"/>
                <a:gd name="connsiteY5" fmla="*/ 9593 h 9592"/>
                <a:gd name="connsiteX6" fmla="*/ 4199 w 4198"/>
                <a:gd name="connsiteY6" fmla="*/ 7756 h 9592"/>
                <a:gd name="connsiteX7" fmla="*/ 4199 w 4198"/>
                <a:gd name="connsiteY7" fmla="*/ 1831 h 9592"/>
                <a:gd name="connsiteX8" fmla="*/ 2463 w 4198"/>
                <a:gd name="connsiteY8" fmla="*/ 4 h 9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98" h="9592">
                  <a:moveTo>
                    <a:pt x="2463" y="4"/>
                  </a:moveTo>
                  <a:cubicBezTo>
                    <a:pt x="1519" y="-63"/>
                    <a:pt x="670" y="679"/>
                    <a:pt x="593" y="1638"/>
                  </a:cubicBezTo>
                  <a:lnTo>
                    <a:pt x="0" y="7597"/>
                  </a:lnTo>
                  <a:lnTo>
                    <a:pt x="458" y="8995"/>
                  </a:lnTo>
                  <a:lnTo>
                    <a:pt x="1793" y="9593"/>
                  </a:lnTo>
                  <a:lnTo>
                    <a:pt x="2386" y="9593"/>
                  </a:lnTo>
                  <a:cubicBezTo>
                    <a:pt x="3365" y="9593"/>
                    <a:pt x="4199" y="8773"/>
                    <a:pt x="4199" y="7756"/>
                  </a:cubicBezTo>
                  <a:lnTo>
                    <a:pt x="4199" y="1831"/>
                  </a:lnTo>
                  <a:cubicBezTo>
                    <a:pt x="4204" y="833"/>
                    <a:pt x="3432" y="48"/>
                    <a:pt x="2463" y="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42" name="Freihandform: Form 241">
              <a:extLst>
                <a:ext uri="{FF2B5EF4-FFF2-40B4-BE49-F238E27FC236}">
                  <a16:creationId xmlns:a16="http://schemas.microsoft.com/office/drawing/2014/main" id="{EC60D2A7-61B5-2969-CB1B-9E4B8B518744}"/>
                </a:ext>
              </a:extLst>
            </p:cNvPr>
            <p:cNvSpPr/>
            <p:nvPr/>
          </p:nvSpPr>
          <p:spPr>
            <a:xfrm>
              <a:off x="6151593" y="1895409"/>
              <a:ext cx="7936" cy="12700"/>
            </a:xfrm>
            <a:custGeom>
              <a:avLst/>
              <a:gdLst>
                <a:gd name="connsiteX0" fmla="*/ 4676 w 5892"/>
                <a:gd name="connsiteY0" fmla="*/ 107 h 10071"/>
                <a:gd name="connsiteX1" fmla="*/ 2362 w 5892"/>
                <a:gd name="connsiteY1" fmla="*/ 1182 h 10071"/>
                <a:gd name="connsiteX2" fmla="*/ 0 w 5892"/>
                <a:gd name="connsiteY2" fmla="*/ 7748 h 10071"/>
                <a:gd name="connsiteX3" fmla="*/ 58 w 5892"/>
                <a:gd name="connsiteY3" fmla="*/ 9136 h 10071"/>
                <a:gd name="connsiteX4" fmla="*/ 1075 w 5892"/>
                <a:gd name="connsiteY4" fmla="*/ 10072 h 10071"/>
                <a:gd name="connsiteX5" fmla="*/ 2468 w 5892"/>
                <a:gd name="connsiteY5" fmla="*/ 10014 h 10071"/>
                <a:gd name="connsiteX6" fmla="*/ 3413 w 5892"/>
                <a:gd name="connsiteY6" fmla="*/ 8982 h 10071"/>
                <a:gd name="connsiteX7" fmla="*/ 5775 w 5892"/>
                <a:gd name="connsiteY7" fmla="*/ 2455 h 10071"/>
                <a:gd name="connsiteX8" fmla="*/ 4676 w 5892"/>
                <a:gd name="connsiteY8" fmla="*/ 107 h 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92" h="10071">
                  <a:moveTo>
                    <a:pt x="4676" y="107"/>
                  </a:moveTo>
                  <a:cubicBezTo>
                    <a:pt x="3770" y="-230"/>
                    <a:pt x="2714" y="257"/>
                    <a:pt x="2362" y="1182"/>
                  </a:cubicBezTo>
                  <a:lnTo>
                    <a:pt x="0" y="7748"/>
                  </a:lnTo>
                  <a:lnTo>
                    <a:pt x="58" y="9136"/>
                  </a:lnTo>
                  <a:lnTo>
                    <a:pt x="1075" y="10072"/>
                  </a:lnTo>
                  <a:lnTo>
                    <a:pt x="2468" y="10014"/>
                  </a:lnTo>
                  <a:lnTo>
                    <a:pt x="3413" y="8982"/>
                  </a:lnTo>
                  <a:lnTo>
                    <a:pt x="5775" y="2455"/>
                  </a:lnTo>
                  <a:cubicBezTo>
                    <a:pt x="6137" y="1486"/>
                    <a:pt x="5635" y="478"/>
                    <a:pt x="4676" y="107"/>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43" name="Freihandform: Form 242">
              <a:extLst>
                <a:ext uri="{FF2B5EF4-FFF2-40B4-BE49-F238E27FC236}">
                  <a16:creationId xmlns:a16="http://schemas.microsoft.com/office/drawing/2014/main" id="{93531850-DD99-4322-928E-277B9E4751CF}"/>
                </a:ext>
              </a:extLst>
            </p:cNvPr>
            <p:cNvSpPr/>
            <p:nvPr/>
          </p:nvSpPr>
          <p:spPr>
            <a:xfrm>
              <a:off x="6759537" y="2358977"/>
              <a:ext cx="12699" cy="7938"/>
            </a:xfrm>
            <a:custGeom>
              <a:avLst/>
              <a:gdLst>
                <a:gd name="connsiteX0" fmla="*/ 10055 w 10175"/>
                <a:gd name="connsiteY0" fmla="*/ 1572 h 5405"/>
                <a:gd name="connsiteX1" fmla="*/ 10108 w 10175"/>
                <a:gd name="connsiteY1" fmla="*/ 1350 h 5405"/>
                <a:gd name="connsiteX2" fmla="*/ 9819 w 10175"/>
                <a:gd name="connsiteY2" fmla="*/ 988 h 5405"/>
                <a:gd name="connsiteX3" fmla="*/ 9404 w 10175"/>
                <a:gd name="connsiteY3" fmla="*/ 439 h 5405"/>
                <a:gd name="connsiteX4" fmla="*/ 8773 w 10175"/>
                <a:gd name="connsiteY4" fmla="*/ 164 h 5405"/>
                <a:gd name="connsiteX5" fmla="*/ 8363 w 10175"/>
                <a:gd name="connsiteY5" fmla="*/ 0 h 5405"/>
                <a:gd name="connsiteX6" fmla="*/ 7761 w 10175"/>
                <a:gd name="connsiteY6" fmla="*/ 0 h 5405"/>
                <a:gd name="connsiteX7" fmla="*/ 7245 w 10175"/>
                <a:gd name="connsiteY7" fmla="*/ 53 h 5405"/>
                <a:gd name="connsiteX8" fmla="*/ 1470 w 10175"/>
                <a:gd name="connsiteY8" fmla="*/ 1808 h 5405"/>
                <a:gd name="connsiteX9" fmla="*/ 1320 w 10175"/>
                <a:gd name="connsiteY9" fmla="*/ 1842 h 5405"/>
                <a:gd name="connsiteX10" fmla="*/ 1320 w 10175"/>
                <a:gd name="connsiteY10" fmla="*/ 1842 h 5405"/>
                <a:gd name="connsiteX11" fmla="*/ 1277 w 10175"/>
                <a:gd name="connsiteY11" fmla="*/ 1866 h 5405"/>
                <a:gd name="connsiteX12" fmla="*/ 76 w 10175"/>
                <a:gd name="connsiteY12" fmla="*/ 4074 h 5405"/>
                <a:gd name="connsiteX13" fmla="*/ 2255 w 10175"/>
                <a:gd name="connsiteY13" fmla="*/ 5336 h 5405"/>
                <a:gd name="connsiteX14" fmla="*/ 2303 w 10175"/>
                <a:gd name="connsiteY14" fmla="*/ 5336 h 5405"/>
                <a:gd name="connsiteX15" fmla="*/ 2323 w 10175"/>
                <a:gd name="connsiteY15" fmla="*/ 5336 h 5405"/>
                <a:gd name="connsiteX16" fmla="*/ 2790 w 10175"/>
                <a:gd name="connsiteY16" fmla="*/ 5197 h 5405"/>
                <a:gd name="connsiteX17" fmla="*/ 8840 w 10175"/>
                <a:gd name="connsiteY17" fmla="*/ 3558 h 5405"/>
                <a:gd name="connsiteX18" fmla="*/ 9192 w 10175"/>
                <a:gd name="connsiteY18" fmla="*/ 3288 h 5405"/>
                <a:gd name="connsiteX19" fmla="*/ 9718 w 10175"/>
                <a:gd name="connsiteY19" fmla="*/ 2873 h 5405"/>
                <a:gd name="connsiteX20" fmla="*/ 9993 w 10175"/>
                <a:gd name="connsiteY20" fmla="*/ 2261 h 5405"/>
                <a:gd name="connsiteX21" fmla="*/ 10176 w 10175"/>
                <a:gd name="connsiteY21" fmla="*/ 1808 h 5405"/>
                <a:gd name="connsiteX22" fmla="*/ 10055 w 10175"/>
                <a:gd name="connsiteY22" fmla="*/ 1572 h 5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75" h="5405">
                  <a:moveTo>
                    <a:pt x="10055" y="1572"/>
                  </a:moveTo>
                  <a:cubicBezTo>
                    <a:pt x="10055" y="1480"/>
                    <a:pt x="10132" y="1432"/>
                    <a:pt x="10108" y="1350"/>
                  </a:cubicBezTo>
                  <a:cubicBezTo>
                    <a:pt x="10055" y="1171"/>
                    <a:pt x="9906" y="1138"/>
                    <a:pt x="9819" y="988"/>
                  </a:cubicBezTo>
                  <a:cubicBezTo>
                    <a:pt x="9698" y="771"/>
                    <a:pt x="9597" y="578"/>
                    <a:pt x="9404" y="439"/>
                  </a:cubicBezTo>
                  <a:cubicBezTo>
                    <a:pt x="9211" y="270"/>
                    <a:pt x="9023" y="256"/>
                    <a:pt x="8773" y="164"/>
                  </a:cubicBezTo>
                  <a:cubicBezTo>
                    <a:pt x="8624" y="145"/>
                    <a:pt x="8527" y="0"/>
                    <a:pt x="8363" y="0"/>
                  </a:cubicBezTo>
                  <a:lnTo>
                    <a:pt x="7761" y="0"/>
                  </a:lnTo>
                  <a:lnTo>
                    <a:pt x="7245" y="53"/>
                  </a:lnTo>
                  <a:lnTo>
                    <a:pt x="1470" y="1808"/>
                  </a:lnTo>
                  <a:lnTo>
                    <a:pt x="1320" y="1842"/>
                  </a:lnTo>
                  <a:lnTo>
                    <a:pt x="1320" y="1842"/>
                  </a:lnTo>
                  <a:lnTo>
                    <a:pt x="1277" y="1866"/>
                  </a:lnTo>
                  <a:cubicBezTo>
                    <a:pt x="327" y="2145"/>
                    <a:pt x="-208" y="3158"/>
                    <a:pt x="76" y="4074"/>
                  </a:cubicBezTo>
                  <a:cubicBezTo>
                    <a:pt x="327" y="5067"/>
                    <a:pt x="1320" y="5606"/>
                    <a:pt x="2255" y="5336"/>
                  </a:cubicBezTo>
                  <a:lnTo>
                    <a:pt x="2303" y="5336"/>
                  </a:lnTo>
                  <a:lnTo>
                    <a:pt x="2323" y="5336"/>
                  </a:lnTo>
                  <a:lnTo>
                    <a:pt x="2790" y="5197"/>
                  </a:lnTo>
                  <a:lnTo>
                    <a:pt x="8840" y="3558"/>
                  </a:lnTo>
                  <a:cubicBezTo>
                    <a:pt x="8990" y="3514"/>
                    <a:pt x="9057" y="3365"/>
                    <a:pt x="9192" y="3288"/>
                  </a:cubicBezTo>
                  <a:cubicBezTo>
                    <a:pt x="9409" y="3158"/>
                    <a:pt x="9602" y="3066"/>
                    <a:pt x="9718" y="2873"/>
                  </a:cubicBezTo>
                  <a:cubicBezTo>
                    <a:pt x="9853" y="2671"/>
                    <a:pt x="9925" y="2487"/>
                    <a:pt x="9993" y="2261"/>
                  </a:cubicBezTo>
                  <a:cubicBezTo>
                    <a:pt x="10026" y="2112"/>
                    <a:pt x="10176" y="1972"/>
                    <a:pt x="10176" y="1808"/>
                  </a:cubicBezTo>
                  <a:cubicBezTo>
                    <a:pt x="10171" y="1716"/>
                    <a:pt x="10084" y="1673"/>
                    <a:pt x="10055" y="157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44" name="Freihandform: Form 243">
              <a:extLst>
                <a:ext uri="{FF2B5EF4-FFF2-40B4-BE49-F238E27FC236}">
                  <a16:creationId xmlns:a16="http://schemas.microsoft.com/office/drawing/2014/main" id="{D294A31B-9768-5E9B-DF51-90B5BA9A10CE}"/>
                </a:ext>
              </a:extLst>
            </p:cNvPr>
            <p:cNvSpPr/>
            <p:nvPr/>
          </p:nvSpPr>
          <p:spPr>
            <a:xfrm>
              <a:off x="4354746" y="2605049"/>
              <a:ext cx="9524" cy="11112"/>
            </a:xfrm>
            <a:custGeom>
              <a:avLst/>
              <a:gdLst>
                <a:gd name="connsiteX0" fmla="*/ 3832 w 7208"/>
                <a:gd name="connsiteY0" fmla="*/ 883 h 9608"/>
                <a:gd name="connsiteX1" fmla="*/ 255 w 7208"/>
                <a:gd name="connsiteY1" fmla="*/ 6851 h 9608"/>
                <a:gd name="connsiteX2" fmla="*/ 198 w 7208"/>
                <a:gd name="connsiteY2" fmla="*/ 7314 h 9608"/>
                <a:gd name="connsiteX3" fmla="*/ 0 w 7208"/>
                <a:gd name="connsiteY3" fmla="*/ 7786 h 9608"/>
                <a:gd name="connsiteX4" fmla="*/ 92 w 7208"/>
                <a:gd name="connsiteY4" fmla="*/ 7989 h 9608"/>
                <a:gd name="connsiteX5" fmla="*/ 347 w 7208"/>
                <a:gd name="connsiteY5" fmla="*/ 8596 h 9608"/>
                <a:gd name="connsiteX6" fmla="*/ 762 w 7208"/>
                <a:gd name="connsiteY6" fmla="*/ 9150 h 9608"/>
                <a:gd name="connsiteX7" fmla="*/ 887 w 7208"/>
                <a:gd name="connsiteY7" fmla="*/ 9338 h 9608"/>
                <a:gd name="connsiteX8" fmla="*/ 1345 w 7208"/>
                <a:gd name="connsiteY8" fmla="*/ 9420 h 9608"/>
                <a:gd name="connsiteX9" fmla="*/ 1817 w 7208"/>
                <a:gd name="connsiteY9" fmla="*/ 9608 h 9608"/>
                <a:gd name="connsiteX10" fmla="*/ 2410 w 7208"/>
                <a:gd name="connsiteY10" fmla="*/ 9608 h 9608"/>
                <a:gd name="connsiteX11" fmla="*/ 4045 w 7208"/>
                <a:gd name="connsiteY11" fmla="*/ 8601 h 9608"/>
                <a:gd name="connsiteX12" fmla="*/ 7024 w 7208"/>
                <a:gd name="connsiteY12" fmla="*/ 2633 h 9608"/>
                <a:gd name="connsiteX13" fmla="*/ 6267 w 7208"/>
                <a:gd name="connsiteY13" fmla="*/ 232 h 9608"/>
                <a:gd name="connsiteX14" fmla="*/ 3832 w 7208"/>
                <a:gd name="connsiteY14" fmla="*/ 883 h 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08" h="9608">
                  <a:moveTo>
                    <a:pt x="3832" y="883"/>
                  </a:moveTo>
                  <a:lnTo>
                    <a:pt x="255" y="6851"/>
                  </a:lnTo>
                  <a:cubicBezTo>
                    <a:pt x="183" y="6991"/>
                    <a:pt x="227" y="7140"/>
                    <a:pt x="198" y="7314"/>
                  </a:cubicBezTo>
                  <a:cubicBezTo>
                    <a:pt x="140" y="7473"/>
                    <a:pt x="0" y="7579"/>
                    <a:pt x="0" y="7786"/>
                  </a:cubicBezTo>
                  <a:cubicBezTo>
                    <a:pt x="0" y="7858"/>
                    <a:pt x="92" y="7921"/>
                    <a:pt x="92" y="7989"/>
                  </a:cubicBezTo>
                  <a:cubicBezTo>
                    <a:pt x="130" y="8239"/>
                    <a:pt x="231" y="8418"/>
                    <a:pt x="347" y="8596"/>
                  </a:cubicBezTo>
                  <a:cubicBezTo>
                    <a:pt x="472" y="8818"/>
                    <a:pt x="564" y="8996"/>
                    <a:pt x="762" y="9150"/>
                  </a:cubicBezTo>
                  <a:cubicBezTo>
                    <a:pt x="824" y="9198"/>
                    <a:pt x="824" y="9305"/>
                    <a:pt x="887" y="9338"/>
                  </a:cubicBezTo>
                  <a:cubicBezTo>
                    <a:pt x="1027" y="9420"/>
                    <a:pt x="1191" y="9362"/>
                    <a:pt x="1345" y="9420"/>
                  </a:cubicBezTo>
                  <a:cubicBezTo>
                    <a:pt x="1509" y="9444"/>
                    <a:pt x="1624" y="9608"/>
                    <a:pt x="1817" y="9608"/>
                  </a:cubicBezTo>
                  <a:lnTo>
                    <a:pt x="2410" y="9608"/>
                  </a:lnTo>
                  <a:lnTo>
                    <a:pt x="4045" y="8601"/>
                  </a:lnTo>
                  <a:lnTo>
                    <a:pt x="7024" y="2633"/>
                  </a:lnTo>
                  <a:cubicBezTo>
                    <a:pt x="7453" y="1789"/>
                    <a:pt x="7106" y="709"/>
                    <a:pt x="6267" y="232"/>
                  </a:cubicBezTo>
                  <a:cubicBezTo>
                    <a:pt x="5409" y="-245"/>
                    <a:pt x="4334" y="34"/>
                    <a:pt x="3832" y="883"/>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45" name="Freihandform: Form 244">
              <a:extLst>
                <a:ext uri="{FF2B5EF4-FFF2-40B4-BE49-F238E27FC236}">
                  <a16:creationId xmlns:a16="http://schemas.microsoft.com/office/drawing/2014/main" id="{9DDBE465-0F79-D85A-6DE0-7A770D00854C}"/>
                </a:ext>
              </a:extLst>
            </p:cNvPr>
            <p:cNvSpPr/>
            <p:nvPr/>
          </p:nvSpPr>
          <p:spPr>
            <a:xfrm>
              <a:off x="4969039" y="2716178"/>
              <a:ext cx="4762" cy="12700"/>
            </a:xfrm>
            <a:custGeom>
              <a:avLst/>
              <a:gdLst>
                <a:gd name="connsiteX0" fmla="*/ 2589 w 4216"/>
                <a:gd name="connsiteY0" fmla="*/ 9 h 9583"/>
                <a:gd name="connsiteX1" fmla="*/ 598 w 4216"/>
                <a:gd name="connsiteY1" fmla="*/ 1624 h 9583"/>
                <a:gd name="connsiteX2" fmla="*/ 0 w 4216"/>
                <a:gd name="connsiteY2" fmla="*/ 7583 h 9583"/>
                <a:gd name="connsiteX3" fmla="*/ 405 w 4216"/>
                <a:gd name="connsiteY3" fmla="*/ 8928 h 9583"/>
                <a:gd name="connsiteX4" fmla="*/ 1629 w 4216"/>
                <a:gd name="connsiteY4" fmla="*/ 9583 h 9583"/>
                <a:gd name="connsiteX5" fmla="*/ 2960 w 4216"/>
                <a:gd name="connsiteY5" fmla="*/ 9169 h 9583"/>
                <a:gd name="connsiteX6" fmla="*/ 3606 w 4216"/>
                <a:gd name="connsiteY6" fmla="*/ 7939 h 9583"/>
                <a:gd name="connsiteX7" fmla="*/ 4208 w 4216"/>
                <a:gd name="connsiteY7" fmla="*/ 2015 h 9583"/>
                <a:gd name="connsiteX8" fmla="*/ 2589 w 4216"/>
                <a:gd name="connsiteY8" fmla="*/ 9 h 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16" h="9583">
                  <a:moveTo>
                    <a:pt x="2589" y="9"/>
                  </a:moveTo>
                  <a:cubicBezTo>
                    <a:pt x="1576" y="-92"/>
                    <a:pt x="685" y="641"/>
                    <a:pt x="598" y="1624"/>
                  </a:cubicBezTo>
                  <a:lnTo>
                    <a:pt x="0" y="7583"/>
                  </a:lnTo>
                  <a:lnTo>
                    <a:pt x="405" y="8928"/>
                  </a:lnTo>
                  <a:lnTo>
                    <a:pt x="1629" y="9583"/>
                  </a:lnTo>
                  <a:lnTo>
                    <a:pt x="2960" y="9169"/>
                  </a:lnTo>
                  <a:lnTo>
                    <a:pt x="3606" y="7939"/>
                  </a:lnTo>
                  <a:lnTo>
                    <a:pt x="4208" y="2015"/>
                  </a:lnTo>
                  <a:cubicBezTo>
                    <a:pt x="4300" y="988"/>
                    <a:pt x="3567" y="115"/>
                    <a:pt x="2589" y="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46" name="Freihandform: Form 245">
              <a:extLst>
                <a:ext uri="{FF2B5EF4-FFF2-40B4-BE49-F238E27FC236}">
                  <a16:creationId xmlns:a16="http://schemas.microsoft.com/office/drawing/2014/main" id="{35E5FD51-035D-0805-AFFD-A77FDED290F4}"/>
                </a:ext>
              </a:extLst>
            </p:cNvPr>
            <p:cNvSpPr/>
            <p:nvPr/>
          </p:nvSpPr>
          <p:spPr>
            <a:xfrm>
              <a:off x="4980151" y="2739991"/>
              <a:ext cx="20635" cy="14289"/>
            </a:xfrm>
            <a:custGeom>
              <a:avLst/>
              <a:gdLst>
                <a:gd name="connsiteX0" fmla="*/ 9564 w 16091"/>
                <a:gd name="connsiteY0" fmla="*/ 3428 h 11950"/>
                <a:gd name="connsiteX1" fmla="*/ 9097 w 16091"/>
                <a:gd name="connsiteY1" fmla="*/ 3134 h 11950"/>
                <a:gd name="connsiteX2" fmla="*/ 2540 w 16091"/>
                <a:gd name="connsiteY2" fmla="*/ 160 h 11950"/>
                <a:gd name="connsiteX3" fmla="*/ 646 w 16091"/>
                <a:gd name="connsiteY3" fmla="*/ 579 h 11950"/>
                <a:gd name="connsiteX4" fmla="*/ 458 w 16091"/>
                <a:gd name="connsiteY4" fmla="*/ 579 h 11950"/>
                <a:gd name="connsiteX5" fmla="*/ 458 w 16091"/>
                <a:gd name="connsiteY5" fmla="*/ 743 h 11950"/>
                <a:gd name="connsiteX6" fmla="*/ 144 w 16091"/>
                <a:gd name="connsiteY6" fmla="*/ 1042 h 11950"/>
                <a:gd name="connsiteX7" fmla="*/ 554 w 16091"/>
                <a:gd name="connsiteY7" fmla="*/ 2941 h 11950"/>
                <a:gd name="connsiteX8" fmla="*/ 554 w 16091"/>
                <a:gd name="connsiteY8" fmla="*/ 3149 h 11950"/>
                <a:gd name="connsiteX9" fmla="*/ 7115 w 16091"/>
                <a:gd name="connsiteY9" fmla="*/ 9088 h 11950"/>
                <a:gd name="connsiteX10" fmla="*/ 7646 w 16091"/>
                <a:gd name="connsiteY10" fmla="*/ 9440 h 11950"/>
                <a:gd name="connsiteX11" fmla="*/ 13619 w 16091"/>
                <a:gd name="connsiteY11" fmla="*/ 11821 h 11950"/>
                <a:gd name="connsiteX12" fmla="*/ 15812 w 16091"/>
                <a:gd name="connsiteY12" fmla="*/ 11083 h 11950"/>
                <a:gd name="connsiteX13" fmla="*/ 15489 w 16091"/>
                <a:gd name="connsiteY13" fmla="*/ 8784 h 11950"/>
                <a:gd name="connsiteX14" fmla="*/ 9564 w 16091"/>
                <a:gd name="connsiteY14" fmla="*/ 3428 h 1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091" h="11950">
                  <a:moveTo>
                    <a:pt x="9564" y="3428"/>
                  </a:moveTo>
                  <a:lnTo>
                    <a:pt x="9097" y="3134"/>
                  </a:lnTo>
                  <a:lnTo>
                    <a:pt x="2540" y="160"/>
                  </a:lnTo>
                  <a:cubicBezTo>
                    <a:pt x="1870" y="-197"/>
                    <a:pt x="1167" y="88"/>
                    <a:pt x="646" y="579"/>
                  </a:cubicBezTo>
                  <a:lnTo>
                    <a:pt x="458" y="579"/>
                  </a:lnTo>
                  <a:lnTo>
                    <a:pt x="458" y="743"/>
                  </a:lnTo>
                  <a:cubicBezTo>
                    <a:pt x="352" y="859"/>
                    <a:pt x="202" y="917"/>
                    <a:pt x="144" y="1042"/>
                  </a:cubicBezTo>
                  <a:cubicBezTo>
                    <a:pt x="-183" y="1731"/>
                    <a:pt x="87" y="2416"/>
                    <a:pt x="554" y="2941"/>
                  </a:cubicBezTo>
                  <a:lnTo>
                    <a:pt x="554" y="3149"/>
                  </a:lnTo>
                  <a:lnTo>
                    <a:pt x="7115" y="9088"/>
                  </a:lnTo>
                  <a:lnTo>
                    <a:pt x="7646" y="9440"/>
                  </a:lnTo>
                  <a:lnTo>
                    <a:pt x="13619" y="11821"/>
                  </a:lnTo>
                  <a:cubicBezTo>
                    <a:pt x="14433" y="12144"/>
                    <a:pt x="15349" y="11850"/>
                    <a:pt x="15812" y="11083"/>
                  </a:cubicBezTo>
                  <a:cubicBezTo>
                    <a:pt x="16284" y="10351"/>
                    <a:pt x="16145" y="9353"/>
                    <a:pt x="15489" y="8784"/>
                  </a:cubicBezTo>
                  <a:lnTo>
                    <a:pt x="9564" y="342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47" name="Freihandform: Form 246">
              <a:extLst>
                <a:ext uri="{FF2B5EF4-FFF2-40B4-BE49-F238E27FC236}">
                  <a16:creationId xmlns:a16="http://schemas.microsoft.com/office/drawing/2014/main" id="{AA780826-C273-8BA5-3611-6C742A670EC2}"/>
                </a:ext>
              </a:extLst>
            </p:cNvPr>
            <p:cNvSpPr/>
            <p:nvPr/>
          </p:nvSpPr>
          <p:spPr>
            <a:xfrm>
              <a:off x="5513490" y="3160695"/>
              <a:ext cx="6349" cy="12700"/>
            </a:xfrm>
            <a:custGeom>
              <a:avLst/>
              <a:gdLst>
                <a:gd name="connsiteX0" fmla="*/ 3345 w 4829"/>
                <a:gd name="connsiteY0" fmla="*/ 37 h 9598"/>
                <a:gd name="connsiteX1" fmla="*/ 1209 w 4829"/>
                <a:gd name="connsiteY1" fmla="*/ 1464 h 9598"/>
                <a:gd name="connsiteX2" fmla="*/ 38 w 4829"/>
                <a:gd name="connsiteY2" fmla="*/ 7399 h 9598"/>
                <a:gd name="connsiteX3" fmla="*/ 1450 w 4829"/>
                <a:gd name="connsiteY3" fmla="*/ 9563 h 9598"/>
                <a:gd name="connsiteX4" fmla="*/ 3591 w 4829"/>
                <a:gd name="connsiteY4" fmla="*/ 8102 h 9598"/>
                <a:gd name="connsiteX5" fmla="*/ 4796 w 4829"/>
                <a:gd name="connsiteY5" fmla="*/ 2168 h 9598"/>
                <a:gd name="connsiteX6" fmla="*/ 3345 w 4829"/>
                <a:gd name="connsiteY6" fmla="*/ 37 h 9598"/>
                <a:gd name="connsiteX7" fmla="*/ 1826 w 4829"/>
                <a:gd name="connsiteY7" fmla="*/ 7774 h 9598"/>
                <a:gd name="connsiteX8" fmla="*/ 3002 w 4829"/>
                <a:gd name="connsiteY8" fmla="*/ 1816 h 9598"/>
                <a:gd name="connsiteX9" fmla="*/ 1826 w 4829"/>
                <a:gd name="connsiteY9" fmla="*/ 7774 h 9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29" h="9598">
                  <a:moveTo>
                    <a:pt x="3345" y="37"/>
                  </a:moveTo>
                  <a:cubicBezTo>
                    <a:pt x="2371" y="-165"/>
                    <a:pt x="1392" y="481"/>
                    <a:pt x="1209" y="1464"/>
                  </a:cubicBezTo>
                  <a:lnTo>
                    <a:pt x="38" y="7399"/>
                  </a:lnTo>
                  <a:cubicBezTo>
                    <a:pt x="-165" y="8406"/>
                    <a:pt x="467" y="9361"/>
                    <a:pt x="1450" y="9563"/>
                  </a:cubicBezTo>
                  <a:cubicBezTo>
                    <a:pt x="2438" y="9761"/>
                    <a:pt x="3388" y="9120"/>
                    <a:pt x="3591" y="8102"/>
                  </a:cubicBezTo>
                  <a:lnTo>
                    <a:pt x="4796" y="2168"/>
                  </a:lnTo>
                  <a:cubicBezTo>
                    <a:pt x="4989" y="1194"/>
                    <a:pt x="4343" y="235"/>
                    <a:pt x="3345" y="37"/>
                  </a:cubicBezTo>
                  <a:close/>
                  <a:moveTo>
                    <a:pt x="1826" y="7774"/>
                  </a:moveTo>
                  <a:lnTo>
                    <a:pt x="3002" y="1816"/>
                  </a:lnTo>
                  <a:lnTo>
                    <a:pt x="1826" y="777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48" name="Freihandform: Form 247">
              <a:extLst>
                <a:ext uri="{FF2B5EF4-FFF2-40B4-BE49-F238E27FC236}">
                  <a16:creationId xmlns:a16="http://schemas.microsoft.com/office/drawing/2014/main" id="{DBF595AA-E804-B61B-AC11-C85DA1D01E20}"/>
                </a:ext>
              </a:extLst>
            </p:cNvPr>
            <p:cNvSpPr/>
            <p:nvPr/>
          </p:nvSpPr>
          <p:spPr>
            <a:xfrm>
              <a:off x="5423013" y="2684427"/>
              <a:ext cx="6349" cy="14288"/>
            </a:xfrm>
            <a:custGeom>
              <a:avLst/>
              <a:gdLst>
                <a:gd name="connsiteX0" fmla="*/ 5074 w 5382"/>
                <a:gd name="connsiteY0" fmla="*/ 709 h 10188"/>
                <a:gd name="connsiteX1" fmla="*/ 3613 w 5382"/>
                <a:gd name="connsiteY1" fmla="*/ 0 h 10188"/>
                <a:gd name="connsiteX2" fmla="*/ 3025 w 5382"/>
                <a:gd name="connsiteY2" fmla="*/ 0 h 10188"/>
                <a:gd name="connsiteX3" fmla="*/ 2471 w 5382"/>
                <a:gd name="connsiteY3" fmla="*/ 246 h 10188"/>
                <a:gd name="connsiteX4" fmla="*/ 1911 w 5382"/>
                <a:gd name="connsiteY4" fmla="*/ 453 h 10188"/>
                <a:gd name="connsiteX5" fmla="*/ 1526 w 5382"/>
                <a:gd name="connsiteY5" fmla="*/ 1037 h 10188"/>
                <a:gd name="connsiteX6" fmla="*/ 1208 w 5382"/>
                <a:gd name="connsiteY6" fmla="*/ 1499 h 10188"/>
                <a:gd name="connsiteX7" fmla="*/ 26 w 5382"/>
                <a:gd name="connsiteY7" fmla="*/ 8031 h 10188"/>
                <a:gd name="connsiteX8" fmla="*/ 1424 w 5382"/>
                <a:gd name="connsiteY8" fmla="*/ 10143 h 10188"/>
                <a:gd name="connsiteX9" fmla="*/ 3565 w 5382"/>
                <a:gd name="connsiteY9" fmla="*/ 8870 h 10188"/>
                <a:gd name="connsiteX10" fmla="*/ 3613 w 5382"/>
                <a:gd name="connsiteY10" fmla="*/ 8692 h 10188"/>
                <a:gd name="connsiteX11" fmla="*/ 3613 w 5382"/>
                <a:gd name="connsiteY11" fmla="*/ 8692 h 10188"/>
                <a:gd name="connsiteX12" fmla="*/ 3652 w 5382"/>
                <a:gd name="connsiteY12" fmla="*/ 8605 h 10188"/>
                <a:gd name="connsiteX13" fmla="*/ 5382 w 5382"/>
                <a:gd name="connsiteY13" fmla="*/ 2309 h 10188"/>
                <a:gd name="connsiteX14" fmla="*/ 5074 w 5382"/>
                <a:gd name="connsiteY14" fmla="*/ 709 h 1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82" h="10188">
                  <a:moveTo>
                    <a:pt x="5074" y="709"/>
                  </a:moveTo>
                  <a:lnTo>
                    <a:pt x="3613" y="0"/>
                  </a:lnTo>
                  <a:lnTo>
                    <a:pt x="3025" y="0"/>
                  </a:lnTo>
                  <a:cubicBezTo>
                    <a:pt x="2808" y="0"/>
                    <a:pt x="2659" y="164"/>
                    <a:pt x="2471" y="246"/>
                  </a:cubicBezTo>
                  <a:cubicBezTo>
                    <a:pt x="2259" y="294"/>
                    <a:pt x="2066" y="328"/>
                    <a:pt x="1911" y="453"/>
                  </a:cubicBezTo>
                  <a:cubicBezTo>
                    <a:pt x="1714" y="632"/>
                    <a:pt x="1656" y="815"/>
                    <a:pt x="1526" y="1037"/>
                  </a:cubicBezTo>
                  <a:cubicBezTo>
                    <a:pt x="1439" y="1205"/>
                    <a:pt x="1261" y="1311"/>
                    <a:pt x="1208" y="1499"/>
                  </a:cubicBezTo>
                  <a:lnTo>
                    <a:pt x="26" y="8031"/>
                  </a:lnTo>
                  <a:cubicBezTo>
                    <a:pt x="-137" y="9000"/>
                    <a:pt x="475" y="9926"/>
                    <a:pt x="1424" y="10143"/>
                  </a:cubicBezTo>
                  <a:cubicBezTo>
                    <a:pt x="2379" y="10360"/>
                    <a:pt x="3309" y="9786"/>
                    <a:pt x="3565" y="8870"/>
                  </a:cubicBezTo>
                  <a:lnTo>
                    <a:pt x="3613" y="8692"/>
                  </a:lnTo>
                  <a:lnTo>
                    <a:pt x="3613" y="8692"/>
                  </a:lnTo>
                  <a:lnTo>
                    <a:pt x="3652" y="8605"/>
                  </a:lnTo>
                  <a:lnTo>
                    <a:pt x="5382" y="2309"/>
                  </a:lnTo>
                  <a:lnTo>
                    <a:pt x="5074" y="70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49" name="Freihandform: Form 248">
              <a:extLst>
                <a:ext uri="{FF2B5EF4-FFF2-40B4-BE49-F238E27FC236}">
                  <a16:creationId xmlns:a16="http://schemas.microsoft.com/office/drawing/2014/main" id="{F3ED0FDE-5065-4AED-7B37-33EA79D29251}"/>
                </a:ext>
              </a:extLst>
            </p:cNvPr>
            <p:cNvSpPr/>
            <p:nvPr/>
          </p:nvSpPr>
          <p:spPr>
            <a:xfrm>
              <a:off x="5491268" y="2909861"/>
              <a:ext cx="9524" cy="12700"/>
            </a:xfrm>
            <a:custGeom>
              <a:avLst/>
              <a:gdLst>
                <a:gd name="connsiteX0" fmla="*/ 4205 w 7603"/>
                <a:gd name="connsiteY0" fmla="*/ 0 h 9585"/>
                <a:gd name="connsiteX1" fmla="*/ 3863 w 7603"/>
                <a:gd name="connsiteY1" fmla="*/ 140 h 9585"/>
                <a:gd name="connsiteX2" fmla="*/ 3222 w 7603"/>
                <a:gd name="connsiteY2" fmla="*/ 400 h 9585"/>
                <a:gd name="connsiteX3" fmla="*/ 2778 w 7603"/>
                <a:gd name="connsiteY3" fmla="*/ 877 h 9585"/>
                <a:gd name="connsiteX4" fmla="*/ 2508 w 7603"/>
                <a:gd name="connsiteY4" fmla="*/ 1138 h 9585"/>
                <a:gd name="connsiteX5" fmla="*/ 126 w 7603"/>
                <a:gd name="connsiteY5" fmla="*/ 7077 h 9585"/>
                <a:gd name="connsiteX6" fmla="*/ 965 w 7603"/>
                <a:gd name="connsiteY6" fmla="*/ 9376 h 9585"/>
                <a:gd name="connsiteX7" fmla="*/ 3313 w 7603"/>
                <a:gd name="connsiteY7" fmla="*/ 8822 h 9585"/>
                <a:gd name="connsiteX8" fmla="*/ 7473 w 7603"/>
                <a:gd name="connsiteY8" fmla="*/ 2873 h 9585"/>
                <a:gd name="connsiteX9" fmla="*/ 7604 w 7603"/>
                <a:gd name="connsiteY9" fmla="*/ 993 h 9585"/>
                <a:gd name="connsiteX10" fmla="*/ 5993 w 7603"/>
                <a:gd name="connsiteY10" fmla="*/ 0 h 9585"/>
                <a:gd name="connsiteX11" fmla="*/ 4205 w 7603"/>
                <a:gd name="connsiteY11" fmla="*/ 0 h 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03" h="9585">
                  <a:moveTo>
                    <a:pt x="4205" y="0"/>
                  </a:moveTo>
                  <a:cubicBezTo>
                    <a:pt x="4065" y="0"/>
                    <a:pt x="3988" y="111"/>
                    <a:pt x="3863" y="140"/>
                  </a:cubicBezTo>
                  <a:cubicBezTo>
                    <a:pt x="3631" y="188"/>
                    <a:pt x="3438" y="270"/>
                    <a:pt x="3222" y="400"/>
                  </a:cubicBezTo>
                  <a:cubicBezTo>
                    <a:pt x="3043" y="545"/>
                    <a:pt x="2908" y="689"/>
                    <a:pt x="2778" y="877"/>
                  </a:cubicBezTo>
                  <a:cubicBezTo>
                    <a:pt x="2686" y="988"/>
                    <a:pt x="2566" y="1008"/>
                    <a:pt x="2508" y="1138"/>
                  </a:cubicBezTo>
                  <a:lnTo>
                    <a:pt x="126" y="7077"/>
                  </a:lnTo>
                  <a:cubicBezTo>
                    <a:pt x="-216" y="7945"/>
                    <a:pt x="160" y="8923"/>
                    <a:pt x="965" y="9376"/>
                  </a:cubicBezTo>
                  <a:cubicBezTo>
                    <a:pt x="1766" y="9796"/>
                    <a:pt x="2778" y="9569"/>
                    <a:pt x="3313" y="8822"/>
                  </a:cubicBezTo>
                  <a:lnTo>
                    <a:pt x="7473" y="2873"/>
                  </a:lnTo>
                  <a:lnTo>
                    <a:pt x="7604" y="993"/>
                  </a:lnTo>
                  <a:lnTo>
                    <a:pt x="5993" y="0"/>
                  </a:lnTo>
                  <a:lnTo>
                    <a:pt x="4205"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50" name="Freihandform: Form 249">
              <a:extLst>
                <a:ext uri="{FF2B5EF4-FFF2-40B4-BE49-F238E27FC236}">
                  <a16:creationId xmlns:a16="http://schemas.microsoft.com/office/drawing/2014/main" id="{44F3174D-1374-C83D-11C1-D42FD75E6F95}"/>
                </a:ext>
              </a:extLst>
            </p:cNvPr>
            <p:cNvSpPr/>
            <p:nvPr/>
          </p:nvSpPr>
          <p:spPr>
            <a:xfrm>
              <a:off x="6427787" y="2505032"/>
              <a:ext cx="6349" cy="12700"/>
            </a:xfrm>
            <a:custGeom>
              <a:avLst/>
              <a:gdLst>
                <a:gd name="connsiteX0" fmla="*/ 3349 w 4821"/>
                <a:gd name="connsiteY0" fmla="*/ 25 h 10207"/>
                <a:gd name="connsiteX1" fmla="*/ 1214 w 4821"/>
                <a:gd name="connsiteY1" fmla="*/ 1514 h 10207"/>
                <a:gd name="connsiteX2" fmla="*/ 33 w 4821"/>
                <a:gd name="connsiteY2" fmla="*/ 8042 h 10207"/>
                <a:gd name="connsiteX3" fmla="*/ 1474 w 4821"/>
                <a:gd name="connsiteY3" fmla="*/ 10182 h 10207"/>
                <a:gd name="connsiteX4" fmla="*/ 3590 w 4821"/>
                <a:gd name="connsiteY4" fmla="*/ 8697 h 10207"/>
                <a:gd name="connsiteX5" fmla="*/ 4795 w 4821"/>
                <a:gd name="connsiteY5" fmla="*/ 2160 h 10207"/>
                <a:gd name="connsiteX6" fmla="*/ 3349 w 4821"/>
                <a:gd name="connsiteY6" fmla="*/ 25 h 1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21" h="10207">
                  <a:moveTo>
                    <a:pt x="3349" y="25"/>
                  </a:moveTo>
                  <a:cubicBezTo>
                    <a:pt x="2332" y="-139"/>
                    <a:pt x="1406" y="521"/>
                    <a:pt x="1214" y="1514"/>
                  </a:cubicBezTo>
                  <a:lnTo>
                    <a:pt x="33" y="8042"/>
                  </a:lnTo>
                  <a:cubicBezTo>
                    <a:pt x="-155" y="9045"/>
                    <a:pt x="490" y="9980"/>
                    <a:pt x="1474" y="10182"/>
                  </a:cubicBezTo>
                  <a:cubicBezTo>
                    <a:pt x="2472" y="10346"/>
                    <a:pt x="3426" y="9686"/>
                    <a:pt x="3590" y="8697"/>
                  </a:cubicBezTo>
                  <a:lnTo>
                    <a:pt x="4795" y="2160"/>
                  </a:lnTo>
                  <a:cubicBezTo>
                    <a:pt x="4959" y="1177"/>
                    <a:pt x="4337" y="218"/>
                    <a:pt x="3349" y="2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51" name="Freihandform: Form 250">
              <a:extLst>
                <a:ext uri="{FF2B5EF4-FFF2-40B4-BE49-F238E27FC236}">
                  <a16:creationId xmlns:a16="http://schemas.microsoft.com/office/drawing/2014/main" id="{E9F9A330-476C-B8DD-CC50-A95BBFAB8F18}"/>
                </a:ext>
              </a:extLst>
            </p:cNvPr>
            <p:cNvSpPr/>
            <p:nvPr/>
          </p:nvSpPr>
          <p:spPr>
            <a:xfrm>
              <a:off x="3684897" y="4403754"/>
              <a:ext cx="12699" cy="7938"/>
            </a:xfrm>
            <a:custGeom>
              <a:avLst/>
              <a:gdLst>
                <a:gd name="connsiteX0" fmla="*/ 7075 w 9578"/>
                <a:gd name="connsiteY0" fmla="*/ 143 h 6014"/>
                <a:gd name="connsiteX1" fmla="*/ 1150 w 9578"/>
                <a:gd name="connsiteY1" fmla="*/ 2486 h 6014"/>
                <a:gd name="connsiteX2" fmla="*/ 133 w 9578"/>
                <a:gd name="connsiteY2" fmla="*/ 4862 h 6014"/>
                <a:gd name="connsiteX3" fmla="*/ 2490 w 9578"/>
                <a:gd name="connsiteY3" fmla="*/ 5860 h 6014"/>
                <a:gd name="connsiteX4" fmla="*/ 8434 w 9578"/>
                <a:gd name="connsiteY4" fmla="*/ 3493 h 6014"/>
                <a:gd name="connsiteX5" fmla="*/ 9461 w 9578"/>
                <a:gd name="connsiteY5" fmla="*/ 1150 h 6014"/>
                <a:gd name="connsiteX6" fmla="*/ 7075 w 9578"/>
                <a:gd name="connsiteY6" fmla="*/ 143 h 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78" h="6014">
                  <a:moveTo>
                    <a:pt x="7075" y="143"/>
                  </a:moveTo>
                  <a:lnTo>
                    <a:pt x="1150" y="2486"/>
                  </a:lnTo>
                  <a:cubicBezTo>
                    <a:pt x="205" y="2910"/>
                    <a:pt x="-243" y="3951"/>
                    <a:pt x="133" y="4862"/>
                  </a:cubicBezTo>
                  <a:cubicBezTo>
                    <a:pt x="499" y="5812"/>
                    <a:pt x="1555" y="6280"/>
                    <a:pt x="2490" y="5860"/>
                  </a:cubicBezTo>
                  <a:lnTo>
                    <a:pt x="8434" y="3493"/>
                  </a:lnTo>
                  <a:cubicBezTo>
                    <a:pt x="9360" y="3151"/>
                    <a:pt x="9808" y="2062"/>
                    <a:pt x="9461" y="1150"/>
                  </a:cubicBezTo>
                  <a:cubicBezTo>
                    <a:pt x="9066" y="201"/>
                    <a:pt x="8010" y="-252"/>
                    <a:pt x="7075" y="143"/>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52" name="Freihandform: Form 251">
              <a:extLst>
                <a:ext uri="{FF2B5EF4-FFF2-40B4-BE49-F238E27FC236}">
                  <a16:creationId xmlns:a16="http://schemas.microsoft.com/office/drawing/2014/main" id="{A1CB61EA-E52F-76DD-803C-949EDA4A7BE8}"/>
                </a:ext>
              </a:extLst>
            </p:cNvPr>
            <p:cNvSpPr/>
            <p:nvPr/>
          </p:nvSpPr>
          <p:spPr>
            <a:xfrm>
              <a:off x="7873836" y="4540285"/>
              <a:ext cx="90478" cy="19051"/>
            </a:xfrm>
            <a:custGeom>
              <a:avLst/>
              <a:gdLst>
                <a:gd name="connsiteX0" fmla="*/ 70296 w 70459"/>
                <a:gd name="connsiteY0" fmla="*/ 8653 h 13854"/>
                <a:gd name="connsiteX1" fmla="*/ 70021 w 70459"/>
                <a:gd name="connsiteY1" fmla="*/ 7964 h 13854"/>
                <a:gd name="connsiteX2" fmla="*/ 69529 w 70459"/>
                <a:gd name="connsiteY2" fmla="*/ 7617 h 13854"/>
                <a:gd name="connsiteX3" fmla="*/ 69095 w 70459"/>
                <a:gd name="connsiteY3" fmla="*/ 7274 h 13854"/>
                <a:gd name="connsiteX4" fmla="*/ 32747 w 70459"/>
                <a:gd name="connsiteY4" fmla="*/ 7829 h 13854"/>
                <a:gd name="connsiteX5" fmla="*/ 32622 w 70459"/>
                <a:gd name="connsiteY5" fmla="*/ 7862 h 13854"/>
                <a:gd name="connsiteX6" fmla="*/ 26413 w 70459"/>
                <a:gd name="connsiteY6" fmla="*/ 9010 h 13854"/>
                <a:gd name="connsiteX7" fmla="*/ 20787 w 70459"/>
                <a:gd name="connsiteY7" fmla="*/ 7862 h 13854"/>
                <a:gd name="connsiteX8" fmla="*/ 20286 w 70459"/>
                <a:gd name="connsiteY8" fmla="*/ 7829 h 13854"/>
                <a:gd name="connsiteX9" fmla="*/ 14264 w 70459"/>
                <a:gd name="connsiteY9" fmla="*/ 8378 h 13854"/>
                <a:gd name="connsiteX10" fmla="*/ 8971 w 70459"/>
                <a:gd name="connsiteY10" fmla="*/ 5790 h 13854"/>
                <a:gd name="connsiteX11" fmla="*/ 2637 w 70459"/>
                <a:gd name="connsiteY11" fmla="*/ 0 h 13854"/>
                <a:gd name="connsiteX12" fmla="*/ 145 w 70459"/>
                <a:gd name="connsiteY12" fmla="*/ 0 h 13854"/>
                <a:gd name="connsiteX13" fmla="*/ 0 w 70459"/>
                <a:gd name="connsiteY13" fmla="*/ 2482 h 13854"/>
                <a:gd name="connsiteX14" fmla="*/ 5327 w 70459"/>
                <a:gd name="connsiteY14" fmla="*/ 9034 h 13854"/>
                <a:gd name="connsiteX15" fmla="*/ 5823 w 70459"/>
                <a:gd name="connsiteY15" fmla="*/ 9424 h 13854"/>
                <a:gd name="connsiteX16" fmla="*/ 11763 w 70459"/>
                <a:gd name="connsiteY16" fmla="*/ 13021 h 13854"/>
                <a:gd name="connsiteX17" fmla="*/ 12712 w 70459"/>
                <a:gd name="connsiteY17" fmla="*/ 13238 h 13854"/>
                <a:gd name="connsiteX18" fmla="*/ 18589 w 70459"/>
                <a:gd name="connsiteY18" fmla="*/ 13238 h 13854"/>
                <a:gd name="connsiteX19" fmla="*/ 25034 w 70459"/>
                <a:gd name="connsiteY19" fmla="*/ 13855 h 13854"/>
                <a:gd name="connsiteX20" fmla="*/ 25396 w 70459"/>
                <a:gd name="connsiteY20" fmla="*/ 13855 h 13854"/>
                <a:gd name="connsiteX21" fmla="*/ 68637 w 70459"/>
                <a:gd name="connsiteY21" fmla="*/ 10885 h 13854"/>
                <a:gd name="connsiteX22" fmla="*/ 69105 w 70459"/>
                <a:gd name="connsiteY22" fmla="*/ 10702 h 13854"/>
                <a:gd name="connsiteX23" fmla="*/ 69712 w 70459"/>
                <a:gd name="connsiteY23" fmla="*/ 10422 h 13854"/>
                <a:gd name="connsiteX24" fmla="*/ 70132 w 70459"/>
                <a:gd name="connsiteY24" fmla="*/ 9902 h 13854"/>
                <a:gd name="connsiteX25" fmla="*/ 70426 w 70459"/>
                <a:gd name="connsiteY25" fmla="*/ 9506 h 13854"/>
                <a:gd name="connsiteX26" fmla="*/ 70363 w 70459"/>
                <a:gd name="connsiteY26" fmla="*/ 9285 h 13854"/>
                <a:gd name="connsiteX27" fmla="*/ 70460 w 70459"/>
                <a:gd name="connsiteY27" fmla="*/ 9053 h 13854"/>
                <a:gd name="connsiteX28" fmla="*/ 70296 w 70459"/>
                <a:gd name="connsiteY28" fmla="*/ 8653 h 1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0459" h="13854">
                  <a:moveTo>
                    <a:pt x="70296" y="8653"/>
                  </a:moveTo>
                  <a:cubicBezTo>
                    <a:pt x="70218" y="8378"/>
                    <a:pt x="70185" y="8190"/>
                    <a:pt x="70021" y="7964"/>
                  </a:cubicBezTo>
                  <a:cubicBezTo>
                    <a:pt x="69857" y="7805"/>
                    <a:pt x="69693" y="7713"/>
                    <a:pt x="69529" y="7617"/>
                  </a:cubicBezTo>
                  <a:cubicBezTo>
                    <a:pt x="69365" y="7506"/>
                    <a:pt x="69259" y="7361"/>
                    <a:pt x="69095" y="7274"/>
                  </a:cubicBezTo>
                  <a:cubicBezTo>
                    <a:pt x="57516" y="3312"/>
                    <a:pt x="45165" y="7390"/>
                    <a:pt x="32747" y="7829"/>
                  </a:cubicBezTo>
                  <a:lnTo>
                    <a:pt x="32622" y="7862"/>
                  </a:lnTo>
                  <a:lnTo>
                    <a:pt x="26413" y="9010"/>
                  </a:lnTo>
                  <a:lnTo>
                    <a:pt x="20787" y="7862"/>
                  </a:lnTo>
                  <a:lnTo>
                    <a:pt x="20286" y="7829"/>
                  </a:lnTo>
                  <a:lnTo>
                    <a:pt x="14264" y="8378"/>
                  </a:lnTo>
                  <a:lnTo>
                    <a:pt x="8971" y="5790"/>
                  </a:lnTo>
                  <a:lnTo>
                    <a:pt x="2637" y="0"/>
                  </a:lnTo>
                  <a:lnTo>
                    <a:pt x="145" y="0"/>
                  </a:lnTo>
                  <a:lnTo>
                    <a:pt x="0" y="2482"/>
                  </a:lnTo>
                  <a:lnTo>
                    <a:pt x="5327" y="9034"/>
                  </a:lnTo>
                  <a:lnTo>
                    <a:pt x="5823" y="9424"/>
                  </a:lnTo>
                  <a:lnTo>
                    <a:pt x="11763" y="13021"/>
                  </a:lnTo>
                  <a:lnTo>
                    <a:pt x="12712" y="13238"/>
                  </a:lnTo>
                  <a:lnTo>
                    <a:pt x="18589" y="13238"/>
                  </a:lnTo>
                  <a:lnTo>
                    <a:pt x="25034" y="13855"/>
                  </a:lnTo>
                  <a:lnTo>
                    <a:pt x="25396" y="13855"/>
                  </a:lnTo>
                  <a:cubicBezTo>
                    <a:pt x="42128" y="11603"/>
                    <a:pt x="51090" y="10176"/>
                    <a:pt x="68637" y="10885"/>
                  </a:cubicBezTo>
                  <a:cubicBezTo>
                    <a:pt x="68840" y="10885"/>
                    <a:pt x="68936" y="10721"/>
                    <a:pt x="69105" y="10702"/>
                  </a:cubicBezTo>
                  <a:cubicBezTo>
                    <a:pt x="69351" y="10629"/>
                    <a:pt x="69544" y="10601"/>
                    <a:pt x="69712" y="10422"/>
                  </a:cubicBezTo>
                  <a:cubicBezTo>
                    <a:pt x="69920" y="10297"/>
                    <a:pt x="69987" y="10099"/>
                    <a:pt x="70132" y="9902"/>
                  </a:cubicBezTo>
                  <a:cubicBezTo>
                    <a:pt x="70199" y="9743"/>
                    <a:pt x="70363" y="9670"/>
                    <a:pt x="70426" y="9506"/>
                  </a:cubicBezTo>
                  <a:cubicBezTo>
                    <a:pt x="70435" y="9424"/>
                    <a:pt x="70363" y="9357"/>
                    <a:pt x="70363" y="9285"/>
                  </a:cubicBezTo>
                  <a:cubicBezTo>
                    <a:pt x="70383" y="9198"/>
                    <a:pt x="70460" y="9135"/>
                    <a:pt x="70460" y="9053"/>
                  </a:cubicBezTo>
                  <a:cubicBezTo>
                    <a:pt x="70455" y="8913"/>
                    <a:pt x="70329" y="8783"/>
                    <a:pt x="70296" y="8653"/>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53" name="Freihandform: Form 252">
              <a:extLst>
                <a:ext uri="{FF2B5EF4-FFF2-40B4-BE49-F238E27FC236}">
                  <a16:creationId xmlns:a16="http://schemas.microsoft.com/office/drawing/2014/main" id="{9815B430-9476-A005-85C1-C79AF424126C}"/>
                </a:ext>
              </a:extLst>
            </p:cNvPr>
            <p:cNvSpPr/>
            <p:nvPr/>
          </p:nvSpPr>
          <p:spPr>
            <a:xfrm>
              <a:off x="6867474" y="6142133"/>
              <a:ext cx="6349" cy="12700"/>
            </a:xfrm>
            <a:custGeom>
              <a:avLst/>
              <a:gdLst>
                <a:gd name="connsiteX0" fmla="*/ 3294 w 4808"/>
                <a:gd name="connsiteY0" fmla="*/ 31 h 10200"/>
                <a:gd name="connsiteX1" fmla="*/ 1212 w 4808"/>
                <a:gd name="connsiteY1" fmla="*/ 1491 h 10200"/>
                <a:gd name="connsiteX2" fmla="*/ 40 w 4808"/>
                <a:gd name="connsiteY2" fmla="*/ 8047 h 10200"/>
                <a:gd name="connsiteX3" fmla="*/ 1462 w 4808"/>
                <a:gd name="connsiteY3" fmla="*/ 10169 h 10200"/>
                <a:gd name="connsiteX4" fmla="*/ 3588 w 4808"/>
                <a:gd name="connsiteY4" fmla="*/ 8684 h 10200"/>
                <a:gd name="connsiteX5" fmla="*/ 4774 w 4808"/>
                <a:gd name="connsiteY5" fmla="*/ 2157 h 10200"/>
                <a:gd name="connsiteX6" fmla="*/ 3294 w 4808"/>
                <a:gd name="connsiteY6" fmla="*/ 31 h 1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 h="10200">
                  <a:moveTo>
                    <a:pt x="3294" y="31"/>
                  </a:moveTo>
                  <a:cubicBezTo>
                    <a:pt x="2359" y="-152"/>
                    <a:pt x="1395" y="503"/>
                    <a:pt x="1212" y="1491"/>
                  </a:cubicBezTo>
                  <a:lnTo>
                    <a:pt x="40" y="8047"/>
                  </a:lnTo>
                  <a:cubicBezTo>
                    <a:pt x="-172" y="9021"/>
                    <a:pt x="479" y="10015"/>
                    <a:pt x="1462" y="10169"/>
                  </a:cubicBezTo>
                  <a:cubicBezTo>
                    <a:pt x="2465" y="10356"/>
                    <a:pt x="3424" y="9681"/>
                    <a:pt x="3588" y="8684"/>
                  </a:cubicBezTo>
                  <a:lnTo>
                    <a:pt x="4774" y="2157"/>
                  </a:lnTo>
                  <a:cubicBezTo>
                    <a:pt x="4972" y="1178"/>
                    <a:pt x="4307" y="224"/>
                    <a:pt x="3294" y="3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54" name="Freihandform: Form 253">
              <a:extLst>
                <a:ext uri="{FF2B5EF4-FFF2-40B4-BE49-F238E27FC236}">
                  <a16:creationId xmlns:a16="http://schemas.microsoft.com/office/drawing/2014/main" id="{FCC1CF23-484F-4E73-EF40-091AC1A7BACA}"/>
                </a:ext>
              </a:extLst>
            </p:cNvPr>
            <p:cNvSpPr/>
            <p:nvPr/>
          </p:nvSpPr>
          <p:spPr>
            <a:xfrm>
              <a:off x="7205574" y="6315177"/>
              <a:ext cx="7936" cy="11113"/>
            </a:xfrm>
            <a:custGeom>
              <a:avLst/>
              <a:gdLst>
                <a:gd name="connsiteX0" fmla="*/ 3418 w 6608"/>
                <a:gd name="connsiteY0" fmla="*/ 1002 h 9598"/>
                <a:gd name="connsiteX1" fmla="*/ 993 w 6608"/>
                <a:gd name="connsiteY1" fmla="*/ 192 h 9598"/>
                <a:gd name="connsiteX2" fmla="*/ 183 w 6608"/>
                <a:gd name="connsiteY2" fmla="*/ 2655 h 9598"/>
                <a:gd name="connsiteX3" fmla="*/ 3153 w 6608"/>
                <a:gd name="connsiteY3" fmla="*/ 8580 h 9598"/>
                <a:gd name="connsiteX4" fmla="*/ 5626 w 6608"/>
                <a:gd name="connsiteY4" fmla="*/ 9409 h 9598"/>
                <a:gd name="connsiteX5" fmla="*/ 6436 w 6608"/>
                <a:gd name="connsiteY5" fmla="*/ 6955 h 9598"/>
                <a:gd name="connsiteX6" fmla="*/ 3418 w 6608"/>
                <a:gd name="connsiteY6" fmla="*/ 1002 h 9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08" h="9598">
                  <a:moveTo>
                    <a:pt x="3418" y="1002"/>
                  </a:moveTo>
                  <a:cubicBezTo>
                    <a:pt x="3008" y="110"/>
                    <a:pt x="1900" y="-257"/>
                    <a:pt x="993" y="192"/>
                  </a:cubicBezTo>
                  <a:cubicBezTo>
                    <a:pt x="111" y="655"/>
                    <a:pt x="-250" y="1749"/>
                    <a:pt x="183" y="2655"/>
                  </a:cubicBezTo>
                  <a:lnTo>
                    <a:pt x="3153" y="8580"/>
                  </a:lnTo>
                  <a:cubicBezTo>
                    <a:pt x="3635" y="9505"/>
                    <a:pt x="4725" y="9848"/>
                    <a:pt x="5626" y="9409"/>
                  </a:cubicBezTo>
                  <a:cubicBezTo>
                    <a:pt x="6504" y="8946"/>
                    <a:pt x="6846" y="7876"/>
                    <a:pt x="6436" y="6955"/>
                  </a:cubicBezTo>
                  <a:lnTo>
                    <a:pt x="3418" y="100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55" name="Freihandform: Form 254">
              <a:extLst>
                <a:ext uri="{FF2B5EF4-FFF2-40B4-BE49-F238E27FC236}">
                  <a16:creationId xmlns:a16="http://schemas.microsoft.com/office/drawing/2014/main" id="{4848EED9-3B45-611B-CF5D-E95110C53934}"/>
                </a:ext>
              </a:extLst>
            </p:cNvPr>
            <p:cNvSpPr/>
            <p:nvPr/>
          </p:nvSpPr>
          <p:spPr>
            <a:xfrm>
              <a:off x="7034143" y="6440594"/>
              <a:ext cx="9524" cy="12700"/>
            </a:xfrm>
            <a:custGeom>
              <a:avLst/>
              <a:gdLst>
                <a:gd name="connsiteX0" fmla="*/ 3450 w 6599"/>
                <a:gd name="connsiteY0" fmla="*/ 993 h 9583"/>
                <a:gd name="connsiteX1" fmla="*/ 977 w 6599"/>
                <a:gd name="connsiteY1" fmla="*/ 193 h 9583"/>
                <a:gd name="connsiteX2" fmla="*/ 206 w 6599"/>
                <a:gd name="connsiteY2" fmla="*/ 2594 h 9583"/>
                <a:gd name="connsiteX3" fmla="*/ 3127 w 6599"/>
                <a:gd name="connsiteY3" fmla="*/ 8571 h 9583"/>
                <a:gd name="connsiteX4" fmla="*/ 5610 w 6599"/>
                <a:gd name="connsiteY4" fmla="*/ 9396 h 9583"/>
                <a:gd name="connsiteX5" fmla="*/ 6386 w 6599"/>
                <a:gd name="connsiteY5" fmla="*/ 6957 h 9583"/>
                <a:gd name="connsiteX6" fmla="*/ 3450 w 6599"/>
                <a:gd name="connsiteY6" fmla="*/ 993 h 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99" h="9583">
                  <a:moveTo>
                    <a:pt x="3450" y="993"/>
                  </a:moveTo>
                  <a:cubicBezTo>
                    <a:pt x="2973" y="92"/>
                    <a:pt x="1869" y="-250"/>
                    <a:pt x="977" y="193"/>
                  </a:cubicBezTo>
                  <a:cubicBezTo>
                    <a:pt x="109" y="622"/>
                    <a:pt x="-267" y="1740"/>
                    <a:pt x="206" y="2594"/>
                  </a:cubicBezTo>
                  <a:lnTo>
                    <a:pt x="3127" y="8571"/>
                  </a:lnTo>
                  <a:cubicBezTo>
                    <a:pt x="3600" y="9473"/>
                    <a:pt x="4723" y="9839"/>
                    <a:pt x="5610" y="9396"/>
                  </a:cubicBezTo>
                  <a:cubicBezTo>
                    <a:pt x="6502" y="8952"/>
                    <a:pt x="6868" y="7858"/>
                    <a:pt x="6386" y="6957"/>
                  </a:cubicBezTo>
                  <a:lnTo>
                    <a:pt x="3450" y="99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56" name="Freihandform: Form 255">
              <a:extLst>
                <a:ext uri="{FF2B5EF4-FFF2-40B4-BE49-F238E27FC236}">
                  <a16:creationId xmlns:a16="http://schemas.microsoft.com/office/drawing/2014/main" id="{E78BD44C-CD70-55D7-B210-4F853676EFE2}"/>
                </a:ext>
              </a:extLst>
            </p:cNvPr>
            <p:cNvSpPr/>
            <p:nvPr/>
          </p:nvSpPr>
          <p:spPr>
            <a:xfrm>
              <a:off x="6062703" y="5264212"/>
              <a:ext cx="7936" cy="3175"/>
            </a:xfrm>
            <a:custGeom>
              <a:avLst/>
              <a:gdLst>
                <a:gd name="connsiteX0" fmla="*/ 4710 w 5375"/>
                <a:gd name="connsiteY0" fmla="*/ 1904 h 2540"/>
                <a:gd name="connsiteX1" fmla="*/ 5375 w 5375"/>
                <a:gd name="connsiteY1" fmla="*/ 583 h 2540"/>
                <a:gd name="connsiteX2" fmla="*/ 3433 w 5375"/>
                <a:gd name="connsiteY2" fmla="*/ 1109 h 2540"/>
                <a:gd name="connsiteX3" fmla="*/ 2121 w 5375"/>
                <a:gd name="connsiteY3" fmla="*/ 1017 h 2540"/>
                <a:gd name="connsiteX4" fmla="*/ 0 w 5375"/>
                <a:gd name="connsiteY4" fmla="*/ 0 h 2540"/>
                <a:gd name="connsiteX5" fmla="*/ 0 w 5375"/>
                <a:gd name="connsiteY5" fmla="*/ 2540 h 2540"/>
                <a:gd name="connsiteX6" fmla="*/ 3775 w 5375"/>
                <a:gd name="connsiteY6" fmla="*/ 1808 h 2540"/>
                <a:gd name="connsiteX7" fmla="*/ 4710 w 5375"/>
                <a:gd name="connsiteY7" fmla="*/ 1904 h 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75" h="2540">
                  <a:moveTo>
                    <a:pt x="4710" y="1904"/>
                  </a:moveTo>
                  <a:lnTo>
                    <a:pt x="5375" y="583"/>
                  </a:lnTo>
                  <a:lnTo>
                    <a:pt x="3433" y="1109"/>
                  </a:lnTo>
                  <a:lnTo>
                    <a:pt x="2121" y="1017"/>
                  </a:lnTo>
                  <a:lnTo>
                    <a:pt x="0" y="0"/>
                  </a:lnTo>
                  <a:lnTo>
                    <a:pt x="0" y="2540"/>
                  </a:lnTo>
                  <a:lnTo>
                    <a:pt x="3775" y="1808"/>
                  </a:lnTo>
                  <a:cubicBezTo>
                    <a:pt x="4088" y="1697"/>
                    <a:pt x="4396" y="1812"/>
                    <a:pt x="4710" y="190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57" name="Freihandform: Form 256">
              <a:extLst>
                <a:ext uri="{FF2B5EF4-FFF2-40B4-BE49-F238E27FC236}">
                  <a16:creationId xmlns:a16="http://schemas.microsoft.com/office/drawing/2014/main" id="{B6D2BF55-25ED-22FE-801C-9943A3CE3632}"/>
                </a:ext>
              </a:extLst>
            </p:cNvPr>
            <p:cNvSpPr/>
            <p:nvPr/>
          </p:nvSpPr>
          <p:spPr>
            <a:xfrm>
              <a:off x="6480168" y="5526160"/>
              <a:ext cx="3175" cy="3175"/>
            </a:xfrm>
            <a:custGeom>
              <a:avLst/>
              <a:gdLst>
                <a:gd name="connsiteX0" fmla="*/ 2584 w 2805"/>
                <a:gd name="connsiteY0" fmla="*/ 0 h 2246"/>
                <a:gd name="connsiteX1" fmla="*/ 0 w 2805"/>
                <a:gd name="connsiteY1" fmla="*/ 1432 h 2246"/>
                <a:gd name="connsiteX2" fmla="*/ 2806 w 2805"/>
                <a:gd name="connsiteY2" fmla="*/ 2246 h 2246"/>
              </a:gdLst>
              <a:ahLst/>
              <a:cxnLst>
                <a:cxn ang="0">
                  <a:pos x="connsiteX0" y="connsiteY0"/>
                </a:cxn>
                <a:cxn ang="0">
                  <a:pos x="connsiteX1" y="connsiteY1"/>
                </a:cxn>
                <a:cxn ang="0">
                  <a:pos x="connsiteX2" y="connsiteY2"/>
                </a:cxn>
              </a:cxnLst>
              <a:rect l="l" t="t" r="r" b="b"/>
              <a:pathLst>
                <a:path w="2805" h="2246">
                  <a:moveTo>
                    <a:pt x="2584" y="0"/>
                  </a:moveTo>
                  <a:lnTo>
                    <a:pt x="0" y="1432"/>
                  </a:lnTo>
                  <a:lnTo>
                    <a:pt x="2806" y="224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58" name="Freihandform: Form 257">
              <a:extLst>
                <a:ext uri="{FF2B5EF4-FFF2-40B4-BE49-F238E27FC236}">
                  <a16:creationId xmlns:a16="http://schemas.microsoft.com/office/drawing/2014/main" id="{94CF7E8E-A521-E0C7-4C32-F6DF6C6E3D09}"/>
                </a:ext>
              </a:extLst>
            </p:cNvPr>
            <p:cNvSpPr/>
            <p:nvPr/>
          </p:nvSpPr>
          <p:spPr>
            <a:xfrm>
              <a:off x="5978575" y="2049403"/>
              <a:ext cx="3175" cy="7937"/>
            </a:xfrm>
            <a:custGeom>
              <a:avLst/>
              <a:gdLst>
                <a:gd name="connsiteX0" fmla="*/ 0 w 3239"/>
                <a:gd name="connsiteY0" fmla="*/ 0 h 6310"/>
                <a:gd name="connsiteX1" fmla="*/ 805 w 3239"/>
                <a:gd name="connsiteY1" fmla="*/ 4339 h 6310"/>
                <a:gd name="connsiteX2" fmla="*/ 3240 w 3239"/>
                <a:gd name="connsiteY2" fmla="*/ 6310 h 6310"/>
                <a:gd name="connsiteX3" fmla="*/ 1909 w 3239"/>
                <a:gd name="connsiteY3" fmla="*/ 4695 h 6310"/>
                <a:gd name="connsiteX4" fmla="*/ 0 w 3239"/>
                <a:gd name="connsiteY4" fmla="*/ 0 h 6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9" h="6310">
                  <a:moveTo>
                    <a:pt x="0" y="0"/>
                  </a:moveTo>
                  <a:lnTo>
                    <a:pt x="805" y="4339"/>
                  </a:lnTo>
                  <a:lnTo>
                    <a:pt x="3240" y="6310"/>
                  </a:lnTo>
                  <a:lnTo>
                    <a:pt x="1909" y="4695"/>
                  </a:lnTo>
                  <a:cubicBezTo>
                    <a:pt x="1171" y="3215"/>
                    <a:pt x="622" y="1576"/>
                    <a:pt x="0"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59" name="Freihandform: Form 258">
              <a:extLst>
                <a:ext uri="{FF2B5EF4-FFF2-40B4-BE49-F238E27FC236}">
                  <a16:creationId xmlns:a16="http://schemas.microsoft.com/office/drawing/2014/main" id="{B339EECA-B314-BBAF-6E51-DB5812C0C7AF}"/>
                </a:ext>
              </a:extLst>
            </p:cNvPr>
            <p:cNvSpPr/>
            <p:nvPr/>
          </p:nvSpPr>
          <p:spPr>
            <a:xfrm>
              <a:off x="5018246" y="2266898"/>
              <a:ext cx="1587" cy="1588"/>
            </a:xfrm>
            <a:custGeom>
              <a:avLst/>
              <a:gdLst>
                <a:gd name="connsiteX0" fmla="*/ 2324 w 2323"/>
                <a:gd name="connsiteY0" fmla="*/ 323 h 1190"/>
                <a:gd name="connsiteX1" fmla="*/ 1928 w 2323"/>
                <a:gd name="connsiteY1" fmla="*/ 323 h 1190"/>
                <a:gd name="connsiteX2" fmla="*/ 1586 w 2323"/>
                <a:gd name="connsiteY2" fmla="*/ 309 h 1190"/>
                <a:gd name="connsiteX3" fmla="*/ 0 w 2323"/>
                <a:gd name="connsiteY3" fmla="*/ 0 h 1190"/>
                <a:gd name="connsiteX4" fmla="*/ 1972 w 2323"/>
                <a:gd name="connsiteY4" fmla="*/ 1191 h 1190"/>
                <a:gd name="connsiteX5" fmla="*/ 2324 w 2323"/>
                <a:gd name="connsiteY5" fmla="*/ 323 h 1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3" h="1190">
                  <a:moveTo>
                    <a:pt x="2324" y="323"/>
                  </a:moveTo>
                  <a:lnTo>
                    <a:pt x="1928" y="323"/>
                  </a:lnTo>
                  <a:lnTo>
                    <a:pt x="1586" y="309"/>
                  </a:lnTo>
                  <a:lnTo>
                    <a:pt x="0" y="0"/>
                  </a:lnTo>
                  <a:lnTo>
                    <a:pt x="1972" y="1191"/>
                  </a:lnTo>
                  <a:cubicBezTo>
                    <a:pt x="2034" y="877"/>
                    <a:pt x="2126" y="583"/>
                    <a:pt x="2324" y="323"/>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60" name="Freihandform: Form 259">
              <a:extLst>
                <a:ext uri="{FF2B5EF4-FFF2-40B4-BE49-F238E27FC236}">
                  <a16:creationId xmlns:a16="http://schemas.microsoft.com/office/drawing/2014/main" id="{191D4FF7-BF8F-3111-56E7-769BB82B2CC5}"/>
                </a:ext>
              </a:extLst>
            </p:cNvPr>
            <p:cNvSpPr/>
            <p:nvPr/>
          </p:nvSpPr>
          <p:spPr>
            <a:xfrm>
              <a:off x="5019833" y="2271662"/>
              <a:ext cx="9524" cy="4762"/>
            </a:xfrm>
            <a:custGeom>
              <a:avLst/>
              <a:gdLst>
                <a:gd name="connsiteX0" fmla="*/ 2338 w 6667"/>
                <a:gd name="connsiteY0" fmla="*/ 2960 h 3610"/>
                <a:gd name="connsiteX1" fmla="*/ 6667 w 6667"/>
                <a:gd name="connsiteY1" fmla="*/ 1398 h 3610"/>
                <a:gd name="connsiteX2" fmla="*/ 1605 w 6667"/>
                <a:gd name="connsiteY2" fmla="*/ 0 h 3610"/>
                <a:gd name="connsiteX3" fmla="*/ 1509 w 6667"/>
                <a:gd name="connsiteY3" fmla="*/ 820 h 3610"/>
                <a:gd name="connsiteX4" fmla="*/ 0 w 6667"/>
                <a:gd name="connsiteY4" fmla="*/ 3611 h 3610"/>
                <a:gd name="connsiteX5" fmla="*/ 2338 w 6667"/>
                <a:gd name="connsiteY5" fmla="*/ 2960 h 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7" h="3610">
                  <a:moveTo>
                    <a:pt x="2338" y="2960"/>
                  </a:moveTo>
                  <a:lnTo>
                    <a:pt x="6667" y="1398"/>
                  </a:lnTo>
                  <a:lnTo>
                    <a:pt x="1605" y="0"/>
                  </a:lnTo>
                  <a:cubicBezTo>
                    <a:pt x="1605" y="275"/>
                    <a:pt x="1658" y="540"/>
                    <a:pt x="1509" y="820"/>
                  </a:cubicBezTo>
                  <a:lnTo>
                    <a:pt x="0" y="3611"/>
                  </a:lnTo>
                  <a:lnTo>
                    <a:pt x="2338" y="296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61" name="Freihandform: Form 260">
              <a:extLst>
                <a:ext uri="{FF2B5EF4-FFF2-40B4-BE49-F238E27FC236}">
                  <a16:creationId xmlns:a16="http://schemas.microsoft.com/office/drawing/2014/main" id="{617297F0-FF09-179C-D941-595FAF96E6E5}"/>
                </a:ext>
              </a:extLst>
            </p:cNvPr>
            <p:cNvSpPr/>
            <p:nvPr/>
          </p:nvSpPr>
          <p:spPr>
            <a:xfrm>
              <a:off x="5034120" y="2273249"/>
              <a:ext cx="17460" cy="11113"/>
            </a:xfrm>
            <a:custGeom>
              <a:avLst/>
              <a:gdLst>
                <a:gd name="connsiteX0" fmla="*/ 5621 w 13550"/>
                <a:gd name="connsiteY0" fmla="*/ 6407 h 8455"/>
                <a:gd name="connsiteX1" fmla="*/ 5047 w 13550"/>
                <a:gd name="connsiteY1" fmla="*/ 8456 h 8455"/>
                <a:gd name="connsiteX2" fmla="*/ 8465 w 13550"/>
                <a:gd name="connsiteY2" fmla="*/ 4676 h 8455"/>
                <a:gd name="connsiteX3" fmla="*/ 10022 w 13550"/>
                <a:gd name="connsiteY3" fmla="*/ 4141 h 8455"/>
                <a:gd name="connsiteX4" fmla="*/ 10153 w 13550"/>
                <a:gd name="connsiteY4" fmla="*/ 4213 h 8455"/>
                <a:gd name="connsiteX5" fmla="*/ 11613 w 13550"/>
                <a:gd name="connsiteY5" fmla="*/ 3500 h 8455"/>
                <a:gd name="connsiteX6" fmla="*/ 13551 w 13550"/>
                <a:gd name="connsiteY6" fmla="*/ 3500 h 8455"/>
                <a:gd name="connsiteX7" fmla="*/ 8629 w 13550"/>
                <a:gd name="connsiteY7" fmla="*/ 550 h 8455"/>
                <a:gd name="connsiteX8" fmla="*/ 2579 w 13550"/>
                <a:gd name="connsiteY8" fmla="*/ 0 h 8455"/>
                <a:gd name="connsiteX9" fmla="*/ 0 w 13550"/>
                <a:gd name="connsiteY9" fmla="*/ 0 h 8455"/>
                <a:gd name="connsiteX10" fmla="*/ 5105 w 13550"/>
                <a:gd name="connsiteY10" fmla="*/ 4575 h 8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550" h="8455">
                  <a:moveTo>
                    <a:pt x="5621" y="6407"/>
                  </a:moveTo>
                  <a:lnTo>
                    <a:pt x="5047" y="8456"/>
                  </a:lnTo>
                  <a:lnTo>
                    <a:pt x="8465" y="4676"/>
                  </a:lnTo>
                  <a:lnTo>
                    <a:pt x="10022" y="4141"/>
                  </a:lnTo>
                  <a:lnTo>
                    <a:pt x="10153" y="4213"/>
                  </a:lnTo>
                  <a:lnTo>
                    <a:pt x="11613" y="3500"/>
                  </a:lnTo>
                  <a:lnTo>
                    <a:pt x="13551" y="3500"/>
                  </a:lnTo>
                  <a:lnTo>
                    <a:pt x="8629" y="550"/>
                  </a:lnTo>
                  <a:lnTo>
                    <a:pt x="2579" y="0"/>
                  </a:lnTo>
                  <a:lnTo>
                    <a:pt x="0" y="0"/>
                  </a:lnTo>
                  <a:lnTo>
                    <a:pt x="5105" y="457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62" name="Freihandform: Form 261">
              <a:extLst>
                <a:ext uri="{FF2B5EF4-FFF2-40B4-BE49-F238E27FC236}">
                  <a16:creationId xmlns:a16="http://schemas.microsoft.com/office/drawing/2014/main" id="{B412CCAC-F9EF-7F56-6C1A-CC6B547CA9E7}"/>
                </a:ext>
              </a:extLst>
            </p:cNvPr>
            <p:cNvSpPr/>
            <p:nvPr/>
          </p:nvSpPr>
          <p:spPr>
            <a:xfrm>
              <a:off x="5145232" y="2371677"/>
              <a:ext cx="1587" cy="7938"/>
            </a:xfrm>
            <a:custGeom>
              <a:avLst/>
              <a:gdLst>
                <a:gd name="connsiteX0" fmla="*/ 911 w 1296"/>
                <a:gd name="connsiteY0" fmla="*/ 1383 h 5119"/>
                <a:gd name="connsiteX1" fmla="*/ 1037 w 1296"/>
                <a:gd name="connsiteY1" fmla="*/ 487 h 5119"/>
                <a:gd name="connsiteX2" fmla="*/ 1297 w 1296"/>
                <a:gd name="connsiteY2" fmla="*/ 0 h 5119"/>
                <a:gd name="connsiteX3" fmla="*/ 0 w 1296"/>
                <a:gd name="connsiteY3" fmla="*/ 2015 h 5119"/>
                <a:gd name="connsiteX4" fmla="*/ 1253 w 1296"/>
                <a:gd name="connsiteY4" fmla="*/ 5120 h 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6" h="5119">
                  <a:moveTo>
                    <a:pt x="911" y="1383"/>
                  </a:moveTo>
                  <a:lnTo>
                    <a:pt x="1037" y="487"/>
                  </a:lnTo>
                  <a:lnTo>
                    <a:pt x="1297" y="0"/>
                  </a:lnTo>
                  <a:lnTo>
                    <a:pt x="0" y="2015"/>
                  </a:lnTo>
                  <a:lnTo>
                    <a:pt x="1253" y="512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63" name="Freihandform: Form 262">
              <a:extLst>
                <a:ext uri="{FF2B5EF4-FFF2-40B4-BE49-F238E27FC236}">
                  <a16:creationId xmlns:a16="http://schemas.microsoft.com/office/drawing/2014/main" id="{265AAF68-1FDE-78BB-45C3-A08CDB366275}"/>
                </a:ext>
              </a:extLst>
            </p:cNvPr>
            <p:cNvSpPr/>
            <p:nvPr/>
          </p:nvSpPr>
          <p:spPr>
            <a:xfrm>
              <a:off x="5124596" y="2233560"/>
              <a:ext cx="1588" cy="1587"/>
            </a:xfrm>
            <a:custGeom>
              <a:avLst/>
              <a:gdLst>
                <a:gd name="connsiteX0" fmla="*/ 1162 w 1161"/>
                <a:gd name="connsiteY0" fmla="*/ 940 h 940"/>
                <a:gd name="connsiteX1" fmla="*/ 0 w 1161"/>
                <a:gd name="connsiteY1" fmla="*/ 0 h 940"/>
                <a:gd name="connsiteX2" fmla="*/ 236 w 1161"/>
                <a:gd name="connsiteY2" fmla="*/ 848 h 940"/>
              </a:gdLst>
              <a:ahLst/>
              <a:cxnLst>
                <a:cxn ang="0">
                  <a:pos x="connsiteX0" y="connsiteY0"/>
                </a:cxn>
                <a:cxn ang="0">
                  <a:pos x="connsiteX1" y="connsiteY1"/>
                </a:cxn>
                <a:cxn ang="0">
                  <a:pos x="connsiteX2" y="connsiteY2"/>
                </a:cxn>
              </a:cxnLst>
              <a:rect l="l" t="t" r="r" b="b"/>
              <a:pathLst>
                <a:path w="1161" h="940">
                  <a:moveTo>
                    <a:pt x="1162" y="940"/>
                  </a:moveTo>
                  <a:lnTo>
                    <a:pt x="0" y="0"/>
                  </a:lnTo>
                  <a:lnTo>
                    <a:pt x="236" y="84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64" name="Freihandform: Form 263">
              <a:extLst>
                <a:ext uri="{FF2B5EF4-FFF2-40B4-BE49-F238E27FC236}">
                  <a16:creationId xmlns:a16="http://schemas.microsoft.com/office/drawing/2014/main" id="{2E7D1F9A-2AC3-32F2-7782-EBB6286E5678}"/>
                </a:ext>
              </a:extLst>
            </p:cNvPr>
            <p:cNvSpPr/>
            <p:nvPr/>
          </p:nvSpPr>
          <p:spPr>
            <a:xfrm>
              <a:off x="5146819" y="2393903"/>
              <a:ext cx="11112" cy="11113"/>
            </a:xfrm>
            <a:custGeom>
              <a:avLst/>
              <a:gdLst>
                <a:gd name="connsiteX0" fmla="*/ 0 w 9516"/>
                <a:gd name="connsiteY0" fmla="*/ 7096 h 8706"/>
                <a:gd name="connsiteX1" fmla="*/ 3201 w 9516"/>
                <a:gd name="connsiteY1" fmla="*/ 8706 h 8706"/>
                <a:gd name="connsiteX2" fmla="*/ 2367 w 9516"/>
                <a:gd name="connsiteY2" fmla="*/ 6841 h 8706"/>
                <a:gd name="connsiteX3" fmla="*/ 3114 w 9516"/>
                <a:gd name="connsiteY3" fmla="*/ 4546 h 8706"/>
                <a:gd name="connsiteX4" fmla="*/ 9516 w 9516"/>
                <a:gd name="connsiteY4" fmla="*/ 781 h 8706"/>
                <a:gd name="connsiteX5" fmla="*/ 3996 w 9516"/>
                <a:gd name="connsiteY5" fmla="*/ 781 h 8706"/>
                <a:gd name="connsiteX6" fmla="*/ 2728 w 9516"/>
                <a:gd name="connsiteY6" fmla="*/ 222 h 8706"/>
                <a:gd name="connsiteX7" fmla="*/ 2637 w 9516"/>
                <a:gd name="connsiteY7" fmla="*/ 0 h 8706"/>
                <a:gd name="connsiteX8" fmla="*/ 1012 w 9516"/>
                <a:gd name="connsiteY8" fmla="*/ 5963 h 8706"/>
                <a:gd name="connsiteX9" fmla="*/ 135 w 9516"/>
                <a:gd name="connsiteY9" fmla="*/ 7096 h 8706"/>
                <a:gd name="connsiteX10" fmla="*/ 0 w 9516"/>
                <a:gd name="connsiteY10" fmla="*/ 7096 h 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6" h="8706">
                  <a:moveTo>
                    <a:pt x="0" y="7096"/>
                  </a:moveTo>
                  <a:cubicBezTo>
                    <a:pt x="911" y="7573"/>
                    <a:pt x="1948" y="8099"/>
                    <a:pt x="3201" y="8706"/>
                  </a:cubicBezTo>
                  <a:lnTo>
                    <a:pt x="2367" y="6841"/>
                  </a:lnTo>
                  <a:cubicBezTo>
                    <a:pt x="1981" y="5997"/>
                    <a:pt x="2294" y="4980"/>
                    <a:pt x="3114" y="4546"/>
                  </a:cubicBezTo>
                  <a:lnTo>
                    <a:pt x="9516" y="781"/>
                  </a:lnTo>
                  <a:lnTo>
                    <a:pt x="3996" y="781"/>
                  </a:lnTo>
                  <a:lnTo>
                    <a:pt x="2728" y="222"/>
                  </a:lnTo>
                  <a:lnTo>
                    <a:pt x="2637" y="0"/>
                  </a:lnTo>
                  <a:lnTo>
                    <a:pt x="1012" y="5963"/>
                  </a:lnTo>
                  <a:lnTo>
                    <a:pt x="135" y="7096"/>
                  </a:lnTo>
                  <a:lnTo>
                    <a:pt x="0" y="709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65" name="Freihandform: Form 264">
              <a:extLst>
                <a:ext uri="{FF2B5EF4-FFF2-40B4-BE49-F238E27FC236}">
                  <a16:creationId xmlns:a16="http://schemas.microsoft.com/office/drawing/2014/main" id="{5EC44973-7178-08E8-16B7-5D6872281CF5}"/>
                </a:ext>
              </a:extLst>
            </p:cNvPr>
            <p:cNvSpPr/>
            <p:nvPr/>
          </p:nvSpPr>
          <p:spPr>
            <a:xfrm>
              <a:off x="5126184" y="2201809"/>
              <a:ext cx="6349" cy="7937"/>
            </a:xfrm>
            <a:custGeom>
              <a:avLst/>
              <a:gdLst>
                <a:gd name="connsiteX0" fmla="*/ 921 w 4897"/>
                <a:gd name="connsiteY0" fmla="*/ 1803 h 7052"/>
                <a:gd name="connsiteX1" fmla="*/ 1441 w 4897"/>
                <a:gd name="connsiteY1" fmla="*/ 7053 h 7052"/>
                <a:gd name="connsiteX2" fmla="*/ 4898 w 4897"/>
                <a:gd name="connsiteY2" fmla="*/ 3216 h 7052"/>
                <a:gd name="connsiteX3" fmla="*/ 4633 w 4897"/>
                <a:gd name="connsiteY3" fmla="*/ 3134 h 7052"/>
                <a:gd name="connsiteX4" fmla="*/ 3794 w 4897"/>
                <a:gd name="connsiteY4" fmla="*/ 2651 h 7052"/>
                <a:gd name="connsiteX5" fmla="*/ 2198 w 4897"/>
                <a:gd name="connsiteY5" fmla="*/ 1080 h 7052"/>
                <a:gd name="connsiteX6" fmla="*/ 0 w 4897"/>
                <a:gd name="connsiteY6" fmla="*/ 0 h 7052"/>
                <a:gd name="connsiteX7" fmla="*/ 651 w 4897"/>
                <a:gd name="connsiteY7" fmla="*/ 974 h 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7" h="7052">
                  <a:moveTo>
                    <a:pt x="921" y="1803"/>
                  </a:moveTo>
                  <a:lnTo>
                    <a:pt x="1441" y="7053"/>
                  </a:lnTo>
                  <a:lnTo>
                    <a:pt x="4898" y="3216"/>
                  </a:lnTo>
                  <a:lnTo>
                    <a:pt x="4633" y="3134"/>
                  </a:lnTo>
                  <a:lnTo>
                    <a:pt x="3794" y="2651"/>
                  </a:lnTo>
                  <a:lnTo>
                    <a:pt x="2198" y="1080"/>
                  </a:lnTo>
                  <a:lnTo>
                    <a:pt x="0" y="0"/>
                  </a:lnTo>
                  <a:lnTo>
                    <a:pt x="651" y="97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66" name="Freihandform: Form 265">
              <a:extLst>
                <a:ext uri="{FF2B5EF4-FFF2-40B4-BE49-F238E27FC236}">
                  <a16:creationId xmlns:a16="http://schemas.microsoft.com/office/drawing/2014/main" id="{17877D17-08B3-AEBD-7A2E-C04FBEAAB1FC}"/>
                </a:ext>
              </a:extLst>
            </p:cNvPr>
            <p:cNvSpPr/>
            <p:nvPr/>
          </p:nvSpPr>
          <p:spPr>
            <a:xfrm>
              <a:off x="5119835" y="2184345"/>
              <a:ext cx="3175" cy="7938"/>
            </a:xfrm>
            <a:custGeom>
              <a:avLst/>
              <a:gdLst>
                <a:gd name="connsiteX0" fmla="*/ 810 w 1894"/>
                <a:gd name="connsiteY0" fmla="*/ 2984 h 6421"/>
                <a:gd name="connsiteX1" fmla="*/ 1504 w 1894"/>
                <a:gd name="connsiteY1" fmla="*/ 6421 h 6421"/>
                <a:gd name="connsiteX2" fmla="*/ 1895 w 1894"/>
                <a:gd name="connsiteY2" fmla="*/ 4165 h 6421"/>
                <a:gd name="connsiteX3" fmla="*/ 0 w 1894"/>
                <a:gd name="connsiteY3" fmla="*/ 0 h 6421"/>
                <a:gd name="connsiteX4" fmla="*/ 781 w 1894"/>
                <a:gd name="connsiteY4" fmla="*/ 2873 h 6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4" h="6421">
                  <a:moveTo>
                    <a:pt x="810" y="2984"/>
                  </a:moveTo>
                  <a:lnTo>
                    <a:pt x="1504" y="6421"/>
                  </a:lnTo>
                  <a:lnTo>
                    <a:pt x="1895" y="4165"/>
                  </a:lnTo>
                  <a:lnTo>
                    <a:pt x="0" y="0"/>
                  </a:lnTo>
                  <a:lnTo>
                    <a:pt x="781" y="287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67" name="Freihandform: Form 266">
              <a:extLst>
                <a:ext uri="{FF2B5EF4-FFF2-40B4-BE49-F238E27FC236}">
                  <a16:creationId xmlns:a16="http://schemas.microsoft.com/office/drawing/2014/main" id="{1B8ED2EA-3B80-C6FF-A4B3-3A3EE94AFF2D}"/>
                </a:ext>
              </a:extLst>
            </p:cNvPr>
            <p:cNvSpPr/>
            <p:nvPr/>
          </p:nvSpPr>
          <p:spPr>
            <a:xfrm>
              <a:off x="5000785" y="2690777"/>
              <a:ext cx="3175" cy="1587"/>
            </a:xfrm>
            <a:custGeom>
              <a:avLst/>
              <a:gdLst>
                <a:gd name="connsiteX0" fmla="*/ 265 w 2805"/>
                <a:gd name="connsiteY0" fmla="*/ 1345 h 1345"/>
                <a:gd name="connsiteX1" fmla="*/ 2806 w 2805"/>
                <a:gd name="connsiteY1" fmla="*/ 593 h 1345"/>
                <a:gd name="connsiteX2" fmla="*/ 0 w 2805"/>
                <a:gd name="connsiteY2" fmla="*/ 0 h 1345"/>
              </a:gdLst>
              <a:ahLst/>
              <a:cxnLst>
                <a:cxn ang="0">
                  <a:pos x="connsiteX0" y="connsiteY0"/>
                </a:cxn>
                <a:cxn ang="0">
                  <a:pos x="connsiteX1" y="connsiteY1"/>
                </a:cxn>
                <a:cxn ang="0">
                  <a:pos x="connsiteX2" y="connsiteY2"/>
                </a:cxn>
              </a:cxnLst>
              <a:rect l="l" t="t" r="r" b="b"/>
              <a:pathLst>
                <a:path w="2805" h="1345">
                  <a:moveTo>
                    <a:pt x="265" y="1345"/>
                  </a:moveTo>
                  <a:lnTo>
                    <a:pt x="2806" y="593"/>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68" name="Freihandform: Form 267">
              <a:extLst>
                <a:ext uri="{FF2B5EF4-FFF2-40B4-BE49-F238E27FC236}">
                  <a16:creationId xmlns:a16="http://schemas.microsoft.com/office/drawing/2014/main" id="{A0F2DF0C-6006-FF23-A949-F4F032021EF0}"/>
                </a:ext>
              </a:extLst>
            </p:cNvPr>
            <p:cNvSpPr/>
            <p:nvPr/>
          </p:nvSpPr>
          <p:spPr>
            <a:xfrm>
              <a:off x="6200800" y="1598536"/>
              <a:ext cx="7937" cy="6350"/>
            </a:xfrm>
            <a:custGeom>
              <a:avLst/>
              <a:gdLst>
                <a:gd name="connsiteX0" fmla="*/ 0 w 6373"/>
                <a:gd name="connsiteY0" fmla="*/ 3799 h 5230"/>
                <a:gd name="connsiteX1" fmla="*/ 1191 w 6373"/>
                <a:gd name="connsiteY1" fmla="*/ 5230 h 5230"/>
                <a:gd name="connsiteX2" fmla="*/ 5862 w 6373"/>
                <a:gd name="connsiteY2" fmla="*/ 2897 h 5230"/>
                <a:gd name="connsiteX3" fmla="*/ 6373 w 6373"/>
                <a:gd name="connsiteY3" fmla="*/ 2873 h 5230"/>
                <a:gd name="connsiteX4" fmla="*/ 2377 w 6373"/>
                <a:gd name="connsiteY4" fmla="*/ 0 h 52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3" h="5230">
                  <a:moveTo>
                    <a:pt x="0" y="3799"/>
                  </a:moveTo>
                  <a:lnTo>
                    <a:pt x="1191" y="5230"/>
                  </a:lnTo>
                  <a:lnTo>
                    <a:pt x="5862" y="2897"/>
                  </a:lnTo>
                  <a:lnTo>
                    <a:pt x="6373" y="2873"/>
                  </a:lnTo>
                  <a:lnTo>
                    <a:pt x="2377"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69" name="Freihandform: Form 268">
              <a:extLst>
                <a:ext uri="{FF2B5EF4-FFF2-40B4-BE49-F238E27FC236}">
                  <a16:creationId xmlns:a16="http://schemas.microsoft.com/office/drawing/2014/main" id="{FE28B9F7-8E9A-7E0E-57EE-366636F51143}"/>
                </a:ext>
              </a:extLst>
            </p:cNvPr>
            <p:cNvSpPr/>
            <p:nvPr/>
          </p:nvSpPr>
          <p:spPr>
            <a:xfrm>
              <a:off x="5929368" y="2808257"/>
              <a:ext cx="23809" cy="3175"/>
            </a:xfrm>
            <a:custGeom>
              <a:avLst/>
              <a:gdLst>
                <a:gd name="connsiteX0" fmla="*/ 0 w 19369"/>
                <a:gd name="connsiteY0" fmla="*/ 545 h 2613"/>
                <a:gd name="connsiteX1" fmla="*/ 636 w 19369"/>
                <a:gd name="connsiteY1" fmla="*/ 2614 h 2613"/>
                <a:gd name="connsiteX2" fmla="*/ 4734 w 19369"/>
                <a:gd name="connsiteY2" fmla="*/ 1008 h 2613"/>
                <a:gd name="connsiteX3" fmla="*/ 5385 w 19369"/>
                <a:gd name="connsiteY3" fmla="*/ 849 h 2613"/>
                <a:gd name="connsiteX4" fmla="*/ 11960 w 19369"/>
                <a:gd name="connsiteY4" fmla="*/ 849 h 2613"/>
                <a:gd name="connsiteX5" fmla="*/ 12129 w 19369"/>
                <a:gd name="connsiteY5" fmla="*/ 873 h 2613"/>
                <a:gd name="connsiteX6" fmla="*/ 17740 w 19369"/>
                <a:gd name="connsiteY6" fmla="*/ 1418 h 2613"/>
                <a:gd name="connsiteX7" fmla="*/ 19370 w 19369"/>
                <a:gd name="connsiteY7" fmla="*/ 931 h 2613"/>
                <a:gd name="connsiteX8" fmla="*/ 0 w 19369"/>
                <a:gd name="connsiteY8" fmla="*/ 545 h 2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69" h="2613">
                  <a:moveTo>
                    <a:pt x="0" y="545"/>
                  </a:moveTo>
                  <a:lnTo>
                    <a:pt x="636" y="2614"/>
                  </a:lnTo>
                  <a:lnTo>
                    <a:pt x="4734" y="1008"/>
                  </a:lnTo>
                  <a:lnTo>
                    <a:pt x="5385" y="849"/>
                  </a:lnTo>
                  <a:lnTo>
                    <a:pt x="11960" y="849"/>
                  </a:lnTo>
                  <a:lnTo>
                    <a:pt x="12129" y="873"/>
                  </a:lnTo>
                  <a:lnTo>
                    <a:pt x="17740" y="1418"/>
                  </a:lnTo>
                  <a:lnTo>
                    <a:pt x="19370" y="931"/>
                  </a:lnTo>
                  <a:cubicBezTo>
                    <a:pt x="12886" y="160"/>
                    <a:pt x="6421" y="-510"/>
                    <a:pt x="0" y="54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70" name="Freihandform: Form 269">
              <a:extLst>
                <a:ext uri="{FF2B5EF4-FFF2-40B4-BE49-F238E27FC236}">
                  <a16:creationId xmlns:a16="http://schemas.microsoft.com/office/drawing/2014/main" id="{8C0555E0-2F12-B0B1-8A7D-8B55096C7031}"/>
                </a:ext>
              </a:extLst>
            </p:cNvPr>
            <p:cNvSpPr/>
            <p:nvPr/>
          </p:nvSpPr>
          <p:spPr>
            <a:xfrm>
              <a:off x="5023008" y="2784443"/>
              <a:ext cx="1588" cy="1588"/>
            </a:xfrm>
            <a:custGeom>
              <a:avLst/>
              <a:gdLst>
                <a:gd name="connsiteX0" fmla="*/ 983 w 983"/>
                <a:gd name="connsiteY0" fmla="*/ 0 h 1243"/>
                <a:gd name="connsiteX1" fmla="*/ 868 w 983"/>
                <a:gd name="connsiteY1" fmla="*/ 121 h 1243"/>
                <a:gd name="connsiteX2" fmla="*/ 0 w 983"/>
                <a:gd name="connsiteY2" fmla="*/ 530 h 1243"/>
                <a:gd name="connsiteX3" fmla="*/ 718 w 983"/>
                <a:gd name="connsiteY3" fmla="*/ 1244 h 1243"/>
              </a:gdLst>
              <a:ahLst/>
              <a:cxnLst>
                <a:cxn ang="0">
                  <a:pos x="connsiteX0" y="connsiteY0"/>
                </a:cxn>
                <a:cxn ang="0">
                  <a:pos x="connsiteX1" y="connsiteY1"/>
                </a:cxn>
                <a:cxn ang="0">
                  <a:pos x="connsiteX2" y="connsiteY2"/>
                </a:cxn>
                <a:cxn ang="0">
                  <a:pos x="connsiteX3" y="connsiteY3"/>
                </a:cxn>
              </a:cxnLst>
              <a:rect l="l" t="t" r="r" b="b"/>
              <a:pathLst>
                <a:path w="983" h="1243">
                  <a:moveTo>
                    <a:pt x="983" y="0"/>
                  </a:moveTo>
                  <a:lnTo>
                    <a:pt x="868" y="121"/>
                  </a:lnTo>
                  <a:lnTo>
                    <a:pt x="0" y="530"/>
                  </a:lnTo>
                  <a:lnTo>
                    <a:pt x="718" y="124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71" name="Freihandform: Form 270">
              <a:extLst>
                <a:ext uri="{FF2B5EF4-FFF2-40B4-BE49-F238E27FC236}">
                  <a16:creationId xmlns:a16="http://schemas.microsoft.com/office/drawing/2014/main" id="{4453E11D-6285-A2FB-1B5C-ACCB2A5F25D0}"/>
                </a:ext>
              </a:extLst>
            </p:cNvPr>
            <p:cNvSpPr/>
            <p:nvPr/>
          </p:nvSpPr>
          <p:spPr>
            <a:xfrm>
              <a:off x="5513490" y="2871759"/>
              <a:ext cx="3175" cy="7937"/>
            </a:xfrm>
            <a:custGeom>
              <a:avLst/>
              <a:gdLst>
                <a:gd name="connsiteX0" fmla="*/ 2227 w 2227"/>
                <a:gd name="connsiteY0" fmla="*/ 959 h 7018"/>
                <a:gd name="connsiteX1" fmla="*/ 294 w 2227"/>
                <a:gd name="connsiteY1" fmla="*/ 0 h 7018"/>
                <a:gd name="connsiteX2" fmla="*/ 294 w 2227"/>
                <a:gd name="connsiteY2" fmla="*/ 3587 h 7018"/>
                <a:gd name="connsiteX3" fmla="*/ 280 w 2227"/>
                <a:gd name="connsiteY3" fmla="*/ 3765 h 7018"/>
                <a:gd name="connsiteX4" fmla="*/ 0 w 2227"/>
                <a:gd name="connsiteY4" fmla="*/ 7019 h 7018"/>
                <a:gd name="connsiteX5" fmla="*/ 949 w 2227"/>
                <a:gd name="connsiteY5" fmla="*/ 5284 h 7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27" h="7018">
                  <a:moveTo>
                    <a:pt x="2227" y="959"/>
                  </a:moveTo>
                  <a:lnTo>
                    <a:pt x="294" y="0"/>
                  </a:lnTo>
                  <a:lnTo>
                    <a:pt x="294" y="3587"/>
                  </a:lnTo>
                  <a:lnTo>
                    <a:pt x="280" y="3765"/>
                  </a:lnTo>
                  <a:lnTo>
                    <a:pt x="0" y="7019"/>
                  </a:lnTo>
                  <a:lnTo>
                    <a:pt x="949" y="528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72" name="Freihandform: Form 271">
              <a:extLst>
                <a:ext uri="{FF2B5EF4-FFF2-40B4-BE49-F238E27FC236}">
                  <a16:creationId xmlns:a16="http://schemas.microsoft.com/office/drawing/2014/main" id="{20E028CF-F69B-3DF3-EDFF-D184394B7DAC}"/>
                </a:ext>
              </a:extLst>
            </p:cNvPr>
            <p:cNvSpPr/>
            <p:nvPr/>
          </p:nvSpPr>
          <p:spPr>
            <a:xfrm>
              <a:off x="4100775" y="5062592"/>
              <a:ext cx="9524" cy="9525"/>
            </a:xfrm>
            <a:custGeom>
              <a:avLst/>
              <a:gdLst>
                <a:gd name="connsiteX0" fmla="*/ 6460 w 6459"/>
                <a:gd name="connsiteY0" fmla="*/ 8465 h 8465"/>
                <a:gd name="connsiteX1" fmla="*/ 5650 w 6459"/>
                <a:gd name="connsiteY1" fmla="*/ 6243 h 8465"/>
                <a:gd name="connsiteX2" fmla="*/ 0 w 6459"/>
                <a:gd name="connsiteY2" fmla="*/ 0 h 8465"/>
                <a:gd name="connsiteX3" fmla="*/ 5650 w 6459"/>
                <a:gd name="connsiteY3" fmla="*/ 7650 h 8465"/>
                <a:gd name="connsiteX4" fmla="*/ 6460 w 6459"/>
                <a:gd name="connsiteY4" fmla="*/ 8465 h 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9" h="8465">
                  <a:moveTo>
                    <a:pt x="6460" y="8465"/>
                  </a:moveTo>
                  <a:cubicBezTo>
                    <a:pt x="6223" y="7761"/>
                    <a:pt x="6031" y="7082"/>
                    <a:pt x="5650" y="6243"/>
                  </a:cubicBezTo>
                  <a:lnTo>
                    <a:pt x="0" y="0"/>
                  </a:lnTo>
                  <a:cubicBezTo>
                    <a:pt x="1229" y="2512"/>
                    <a:pt x="3013" y="5042"/>
                    <a:pt x="5650" y="7650"/>
                  </a:cubicBezTo>
                  <a:lnTo>
                    <a:pt x="6460" y="846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73" name="Freihandform: Form 272">
              <a:extLst>
                <a:ext uri="{FF2B5EF4-FFF2-40B4-BE49-F238E27FC236}">
                  <a16:creationId xmlns:a16="http://schemas.microsoft.com/office/drawing/2014/main" id="{CE2B426F-9010-BB50-D4FF-67789119640E}"/>
                </a:ext>
              </a:extLst>
            </p:cNvPr>
            <p:cNvSpPr/>
            <p:nvPr/>
          </p:nvSpPr>
          <p:spPr>
            <a:xfrm>
              <a:off x="3907122" y="4595850"/>
              <a:ext cx="20635" cy="9525"/>
            </a:xfrm>
            <a:custGeom>
              <a:avLst/>
              <a:gdLst>
                <a:gd name="connsiteX0" fmla="*/ 10726 w 16293"/>
                <a:gd name="connsiteY0" fmla="*/ 7351 h 7351"/>
                <a:gd name="connsiteX1" fmla="*/ 15426 w 16293"/>
                <a:gd name="connsiteY1" fmla="*/ 4040 h 7351"/>
                <a:gd name="connsiteX2" fmla="*/ 16294 w 16293"/>
                <a:gd name="connsiteY2" fmla="*/ 916 h 7351"/>
                <a:gd name="connsiteX3" fmla="*/ 12582 w 16293"/>
                <a:gd name="connsiteY3" fmla="*/ 1605 h 7351"/>
                <a:gd name="connsiteX4" fmla="*/ 11734 w 16293"/>
                <a:gd name="connsiteY4" fmla="*/ 1538 h 7351"/>
                <a:gd name="connsiteX5" fmla="*/ 6503 w 16293"/>
                <a:gd name="connsiteY5" fmla="*/ 0 h 7351"/>
                <a:gd name="connsiteX6" fmla="*/ 617 w 16293"/>
                <a:gd name="connsiteY6" fmla="*/ 3210 h 7351"/>
                <a:gd name="connsiteX7" fmla="*/ 0 w 16293"/>
                <a:gd name="connsiteY7" fmla="*/ 3278 h 7351"/>
                <a:gd name="connsiteX8" fmla="*/ 5158 w 16293"/>
                <a:gd name="connsiteY8" fmla="*/ 5823 h 7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93" h="7351">
                  <a:moveTo>
                    <a:pt x="10726" y="7351"/>
                  </a:moveTo>
                  <a:lnTo>
                    <a:pt x="15426" y="4040"/>
                  </a:lnTo>
                  <a:lnTo>
                    <a:pt x="16294" y="916"/>
                  </a:lnTo>
                  <a:lnTo>
                    <a:pt x="12582" y="1605"/>
                  </a:lnTo>
                  <a:lnTo>
                    <a:pt x="11734" y="1538"/>
                  </a:lnTo>
                  <a:lnTo>
                    <a:pt x="6503" y="0"/>
                  </a:lnTo>
                  <a:lnTo>
                    <a:pt x="617" y="3210"/>
                  </a:lnTo>
                  <a:lnTo>
                    <a:pt x="0" y="3278"/>
                  </a:lnTo>
                  <a:lnTo>
                    <a:pt x="5158" y="582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74" name="Freihandform: Form 273">
              <a:extLst>
                <a:ext uri="{FF2B5EF4-FFF2-40B4-BE49-F238E27FC236}">
                  <a16:creationId xmlns:a16="http://schemas.microsoft.com/office/drawing/2014/main" id="{5CC93BD4-C4A0-EBE4-22EC-7831EAEF7D50}"/>
                </a:ext>
              </a:extLst>
            </p:cNvPr>
            <p:cNvSpPr/>
            <p:nvPr/>
          </p:nvSpPr>
          <p:spPr>
            <a:xfrm>
              <a:off x="5207137" y="3468682"/>
              <a:ext cx="6349" cy="7937"/>
            </a:xfrm>
            <a:custGeom>
              <a:avLst/>
              <a:gdLst>
                <a:gd name="connsiteX0" fmla="*/ 1571 w 5008"/>
                <a:gd name="connsiteY0" fmla="*/ 3008 h 6372"/>
                <a:gd name="connsiteX1" fmla="*/ 1571 w 5008"/>
                <a:gd name="connsiteY1" fmla="*/ 0 h 6372"/>
                <a:gd name="connsiteX2" fmla="*/ 0 w 5008"/>
                <a:gd name="connsiteY2" fmla="*/ 5760 h 6372"/>
                <a:gd name="connsiteX3" fmla="*/ 1017 w 5008"/>
                <a:gd name="connsiteY3" fmla="*/ 4835 h 6372"/>
                <a:gd name="connsiteX4" fmla="*/ 2473 w 5008"/>
                <a:gd name="connsiteY4" fmla="*/ 4970 h 6372"/>
                <a:gd name="connsiteX5" fmla="*/ 5009 w 5008"/>
                <a:gd name="connsiteY5" fmla="*/ 6373 h 6372"/>
                <a:gd name="connsiteX6" fmla="*/ 2333 w 5008"/>
                <a:gd name="connsiteY6" fmla="*/ 4478 h 6372"/>
                <a:gd name="connsiteX7" fmla="*/ 1571 w 5008"/>
                <a:gd name="connsiteY7" fmla="*/ 3008 h 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8" h="6372">
                  <a:moveTo>
                    <a:pt x="1571" y="3008"/>
                  </a:moveTo>
                  <a:lnTo>
                    <a:pt x="1571" y="0"/>
                  </a:lnTo>
                  <a:cubicBezTo>
                    <a:pt x="921" y="1918"/>
                    <a:pt x="415" y="3823"/>
                    <a:pt x="0" y="5760"/>
                  </a:cubicBezTo>
                  <a:lnTo>
                    <a:pt x="1017" y="4835"/>
                  </a:lnTo>
                  <a:lnTo>
                    <a:pt x="2473" y="4970"/>
                  </a:lnTo>
                  <a:lnTo>
                    <a:pt x="5009" y="6373"/>
                  </a:lnTo>
                  <a:lnTo>
                    <a:pt x="2333" y="4478"/>
                  </a:lnTo>
                  <a:lnTo>
                    <a:pt x="1571" y="300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75" name="Freihandform: Form 274">
              <a:extLst>
                <a:ext uri="{FF2B5EF4-FFF2-40B4-BE49-F238E27FC236}">
                  <a16:creationId xmlns:a16="http://schemas.microsoft.com/office/drawing/2014/main" id="{8EEABDDB-A6BD-A1DA-7619-7AA9E338964D}"/>
                </a:ext>
              </a:extLst>
            </p:cNvPr>
            <p:cNvSpPr/>
            <p:nvPr/>
          </p:nvSpPr>
          <p:spPr>
            <a:xfrm>
              <a:off x="3013460" y="5300726"/>
              <a:ext cx="3175" cy="3175"/>
            </a:xfrm>
            <a:custGeom>
              <a:avLst/>
              <a:gdLst>
                <a:gd name="connsiteX0" fmla="*/ 1417 w 1417"/>
                <a:gd name="connsiteY0" fmla="*/ 2825 h 2824"/>
                <a:gd name="connsiteX1" fmla="*/ 1417 w 1417"/>
                <a:gd name="connsiteY1" fmla="*/ 0 h 2824"/>
                <a:gd name="connsiteX2" fmla="*/ 0 w 1417"/>
                <a:gd name="connsiteY2" fmla="*/ 578 h 2824"/>
              </a:gdLst>
              <a:ahLst/>
              <a:cxnLst>
                <a:cxn ang="0">
                  <a:pos x="connsiteX0" y="connsiteY0"/>
                </a:cxn>
                <a:cxn ang="0">
                  <a:pos x="connsiteX1" y="connsiteY1"/>
                </a:cxn>
                <a:cxn ang="0">
                  <a:pos x="connsiteX2" y="connsiteY2"/>
                </a:cxn>
              </a:cxnLst>
              <a:rect l="l" t="t" r="r" b="b"/>
              <a:pathLst>
                <a:path w="1417" h="2824">
                  <a:moveTo>
                    <a:pt x="1417" y="2825"/>
                  </a:moveTo>
                  <a:lnTo>
                    <a:pt x="1417" y="0"/>
                  </a:lnTo>
                  <a:lnTo>
                    <a:pt x="0" y="57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76" name="Freihandform: Form 275">
              <a:extLst>
                <a:ext uri="{FF2B5EF4-FFF2-40B4-BE49-F238E27FC236}">
                  <a16:creationId xmlns:a16="http://schemas.microsoft.com/office/drawing/2014/main" id="{0BBB393A-3C64-7B22-E539-B649CEDB5653}"/>
                </a:ext>
              </a:extLst>
            </p:cNvPr>
            <p:cNvSpPr/>
            <p:nvPr/>
          </p:nvSpPr>
          <p:spPr>
            <a:xfrm>
              <a:off x="2962666" y="5599188"/>
              <a:ext cx="6349" cy="11112"/>
            </a:xfrm>
            <a:custGeom>
              <a:avLst/>
              <a:gdLst>
                <a:gd name="connsiteX0" fmla="*/ 1427 w 5216"/>
                <a:gd name="connsiteY0" fmla="*/ 9246 h 9246"/>
                <a:gd name="connsiteX1" fmla="*/ 5216 w 5216"/>
                <a:gd name="connsiteY1" fmla="*/ 5476 h 9246"/>
                <a:gd name="connsiteX2" fmla="*/ 4213 w 5216"/>
                <a:gd name="connsiteY2" fmla="*/ 448 h 9246"/>
                <a:gd name="connsiteX3" fmla="*/ 4213 w 5216"/>
                <a:gd name="connsiteY3" fmla="*/ 0 h 9246"/>
                <a:gd name="connsiteX4" fmla="*/ 0 w 5216"/>
                <a:gd name="connsiteY4" fmla="*/ 7959 h 9246"/>
                <a:gd name="connsiteX5" fmla="*/ 916 w 5216"/>
                <a:gd name="connsiteY5" fmla="*/ 8557 h 9246"/>
                <a:gd name="connsiteX6" fmla="*/ 1427 w 5216"/>
                <a:gd name="connsiteY6" fmla="*/ 9246 h 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16" h="9246">
                  <a:moveTo>
                    <a:pt x="1427" y="9246"/>
                  </a:moveTo>
                  <a:lnTo>
                    <a:pt x="5216" y="5476"/>
                  </a:lnTo>
                  <a:lnTo>
                    <a:pt x="4213" y="448"/>
                  </a:lnTo>
                  <a:lnTo>
                    <a:pt x="4213" y="0"/>
                  </a:lnTo>
                  <a:cubicBezTo>
                    <a:pt x="3408" y="1904"/>
                    <a:pt x="3109" y="3302"/>
                    <a:pt x="0" y="7959"/>
                  </a:cubicBezTo>
                  <a:cubicBezTo>
                    <a:pt x="342" y="8070"/>
                    <a:pt x="665" y="8253"/>
                    <a:pt x="916" y="8557"/>
                  </a:cubicBezTo>
                  <a:lnTo>
                    <a:pt x="1427" y="924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77" name="Freihandform: Form 276">
              <a:extLst>
                <a:ext uri="{FF2B5EF4-FFF2-40B4-BE49-F238E27FC236}">
                  <a16:creationId xmlns:a16="http://schemas.microsoft.com/office/drawing/2014/main" id="{4935CCC0-A342-BC12-7617-BAE5ADBBB114}"/>
                </a:ext>
              </a:extLst>
            </p:cNvPr>
            <p:cNvSpPr/>
            <p:nvPr/>
          </p:nvSpPr>
          <p:spPr>
            <a:xfrm>
              <a:off x="5224598" y="3428992"/>
              <a:ext cx="7936" cy="14289"/>
            </a:xfrm>
            <a:custGeom>
              <a:avLst/>
              <a:gdLst>
                <a:gd name="connsiteX0" fmla="*/ 4305 w 5418"/>
                <a:gd name="connsiteY0" fmla="*/ 8624 h 10923"/>
                <a:gd name="connsiteX1" fmla="*/ 5419 w 5418"/>
                <a:gd name="connsiteY1" fmla="*/ 4965 h 10923"/>
                <a:gd name="connsiteX2" fmla="*/ 5399 w 5418"/>
                <a:gd name="connsiteY2" fmla="*/ 4965 h 10923"/>
                <a:gd name="connsiteX3" fmla="*/ 4054 w 5418"/>
                <a:gd name="connsiteY3" fmla="*/ 3225 h 10923"/>
                <a:gd name="connsiteX4" fmla="*/ 4054 w 5418"/>
                <a:gd name="connsiteY4" fmla="*/ 0 h 10923"/>
                <a:gd name="connsiteX5" fmla="*/ 969 w 5418"/>
                <a:gd name="connsiteY5" fmla="*/ 1919 h 10923"/>
                <a:gd name="connsiteX6" fmla="*/ 0 w 5418"/>
                <a:gd name="connsiteY6" fmla="*/ 7303 h 10923"/>
                <a:gd name="connsiteX7" fmla="*/ 984 w 5418"/>
                <a:gd name="connsiteY7" fmla="*/ 10924 h 10923"/>
                <a:gd name="connsiteX8" fmla="*/ 4305 w 5418"/>
                <a:gd name="connsiteY8" fmla="*/ 8624 h 10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18" h="10923">
                  <a:moveTo>
                    <a:pt x="4305" y="8624"/>
                  </a:moveTo>
                  <a:lnTo>
                    <a:pt x="5419" y="4965"/>
                  </a:lnTo>
                  <a:lnTo>
                    <a:pt x="5399" y="4965"/>
                  </a:lnTo>
                  <a:cubicBezTo>
                    <a:pt x="4594" y="4753"/>
                    <a:pt x="4054" y="4016"/>
                    <a:pt x="4054" y="3225"/>
                  </a:cubicBezTo>
                  <a:lnTo>
                    <a:pt x="4054" y="0"/>
                  </a:lnTo>
                  <a:lnTo>
                    <a:pt x="969" y="1919"/>
                  </a:lnTo>
                  <a:lnTo>
                    <a:pt x="0" y="7303"/>
                  </a:lnTo>
                  <a:lnTo>
                    <a:pt x="984" y="10924"/>
                  </a:lnTo>
                  <a:lnTo>
                    <a:pt x="4305" y="862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78" name="Freihandform: Form 277">
              <a:extLst>
                <a:ext uri="{FF2B5EF4-FFF2-40B4-BE49-F238E27FC236}">
                  <a16:creationId xmlns:a16="http://schemas.microsoft.com/office/drawing/2014/main" id="{C6D33EB1-F81E-AA85-B089-FCD99FF90768}"/>
                </a:ext>
              </a:extLst>
            </p:cNvPr>
            <p:cNvSpPr/>
            <p:nvPr/>
          </p:nvSpPr>
          <p:spPr>
            <a:xfrm>
              <a:off x="5616666" y="3544885"/>
              <a:ext cx="26985" cy="11112"/>
            </a:xfrm>
            <a:custGeom>
              <a:avLst/>
              <a:gdLst>
                <a:gd name="connsiteX0" fmla="*/ 9598 w 21630"/>
                <a:gd name="connsiteY0" fmla="*/ 7347 h 8976"/>
                <a:gd name="connsiteX1" fmla="*/ 21631 w 21630"/>
                <a:gd name="connsiteY1" fmla="*/ 3182 h 8976"/>
                <a:gd name="connsiteX2" fmla="*/ 16164 w 21630"/>
                <a:gd name="connsiteY2" fmla="*/ 3182 h 8976"/>
                <a:gd name="connsiteX3" fmla="*/ 15778 w 21630"/>
                <a:gd name="connsiteY3" fmla="*/ 3153 h 8976"/>
                <a:gd name="connsiteX4" fmla="*/ 9829 w 21630"/>
                <a:gd name="connsiteY4" fmla="*/ 1972 h 8976"/>
                <a:gd name="connsiteX5" fmla="*/ 9583 w 21630"/>
                <a:gd name="connsiteY5" fmla="*/ 1885 h 8976"/>
                <a:gd name="connsiteX6" fmla="*/ 4372 w 21630"/>
                <a:gd name="connsiteY6" fmla="*/ 0 h 8976"/>
                <a:gd name="connsiteX7" fmla="*/ 2362 w 21630"/>
                <a:gd name="connsiteY7" fmla="*/ 5004 h 8976"/>
                <a:gd name="connsiteX8" fmla="*/ 2213 w 21630"/>
                <a:gd name="connsiteY8" fmla="*/ 5284 h 8976"/>
                <a:gd name="connsiteX9" fmla="*/ 0 w 21630"/>
                <a:gd name="connsiteY9" fmla="*/ 8976 h 8976"/>
                <a:gd name="connsiteX10" fmla="*/ 3341 w 21630"/>
                <a:gd name="connsiteY10" fmla="*/ 8475 h 8976"/>
                <a:gd name="connsiteX11" fmla="*/ 9598 w 21630"/>
                <a:gd name="connsiteY11" fmla="*/ 7347 h 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30" h="8976">
                  <a:moveTo>
                    <a:pt x="9598" y="7347"/>
                  </a:moveTo>
                  <a:cubicBezTo>
                    <a:pt x="14621" y="4233"/>
                    <a:pt x="18111" y="3418"/>
                    <a:pt x="21631" y="3182"/>
                  </a:cubicBezTo>
                  <a:lnTo>
                    <a:pt x="16164" y="3182"/>
                  </a:lnTo>
                  <a:lnTo>
                    <a:pt x="15778" y="3153"/>
                  </a:lnTo>
                  <a:lnTo>
                    <a:pt x="9829" y="1972"/>
                  </a:lnTo>
                  <a:lnTo>
                    <a:pt x="9583" y="1885"/>
                  </a:lnTo>
                  <a:lnTo>
                    <a:pt x="4372" y="0"/>
                  </a:lnTo>
                  <a:lnTo>
                    <a:pt x="2362" y="5004"/>
                  </a:lnTo>
                  <a:lnTo>
                    <a:pt x="2213" y="5284"/>
                  </a:lnTo>
                  <a:lnTo>
                    <a:pt x="0" y="8976"/>
                  </a:lnTo>
                  <a:lnTo>
                    <a:pt x="3341" y="8475"/>
                  </a:lnTo>
                  <a:lnTo>
                    <a:pt x="9598" y="734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79" name="Freihandform: Form 278">
              <a:extLst>
                <a:ext uri="{FF2B5EF4-FFF2-40B4-BE49-F238E27FC236}">
                  <a16:creationId xmlns:a16="http://schemas.microsoft.com/office/drawing/2014/main" id="{DB7BD270-44CB-BCBD-0368-0E62EBF09C65}"/>
                </a:ext>
              </a:extLst>
            </p:cNvPr>
            <p:cNvSpPr/>
            <p:nvPr/>
          </p:nvSpPr>
          <p:spPr>
            <a:xfrm>
              <a:off x="5637301" y="3552822"/>
              <a:ext cx="23809" cy="4763"/>
            </a:xfrm>
            <a:custGeom>
              <a:avLst/>
              <a:gdLst>
                <a:gd name="connsiteX0" fmla="*/ 0 w 18265"/>
                <a:gd name="connsiteY0" fmla="*/ 1856 h 4025"/>
                <a:gd name="connsiteX1" fmla="*/ 5433 w 18265"/>
                <a:gd name="connsiteY1" fmla="*/ 2936 h 4025"/>
                <a:gd name="connsiteX2" fmla="*/ 11531 w 18265"/>
                <a:gd name="connsiteY2" fmla="*/ 4025 h 4025"/>
                <a:gd name="connsiteX3" fmla="*/ 16453 w 18265"/>
                <a:gd name="connsiteY3" fmla="*/ 2560 h 4025"/>
                <a:gd name="connsiteX4" fmla="*/ 18266 w 18265"/>
                <a:gd name="connsiteY4" fmla="*/ 0 h 4025"/>
                <a:gd name="connsiteX5" fmla="*/ 11806 w 18265"/>
                <a:gd name="connsiteY5" fmla="*/ 593 h 4025"/>
                <a:gd name="connsiteX6" fmla="*/ 5862 w 18265"/>
                <a:gd name="connsiteY6" fmla="*/ 593 h 4025"/>
                <a:gd name="connsiteX7" fmla="*/ 323 w 18265"/>
                <a:gd name="connsiteY7" fmla="*/ 1716 h 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65" h="4025">
                  <a:moveTo>
                    <a:pt x="0" y="1856"/>
                  </a:moveTo>
                  <a:lnTo>
                    <a:pt x="5433" y="2936"/>
                  </a:lnTo>
                  <a:lnTo>
                    <a:pt x="11531" y="4025"/>
                  </a:lnTo>
                  <a:lnTo>
                    <a:pt x="16453" y="2560"/>
                  </a:lnTo>
                  <a:lnTo>
                    <a:pt x="18266" y="0"/>
                  </a:lnTo>
                  <a:lnTo>
                    <a:pt x="11806" y="593"/>
                  </a:lnTo>
                  <a:lnTo>
                    <a:pt x="5862" y="593"/>
                  </a:lnTo>
                  <a:lnTo>
                    <a:pt x="323" y="171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80" name="Freihandform: Form 279">
              <a:extLst>
                <a:ext uri="{FF2B5EF4-FFF2-40B4-BE49-F238E27FC236}">
                  <a16:creationId xmlns:a16="http://schemas.microsoft.com/office/drawing/2014/main" id="{F2DF36E3-166C-A15D-7D07-1CF166288674}"/>
                </a:ext>
              </a:extLst>
            </p:cNvPr>
            <p:cNvSpPr/>
            <p:nvPr/>
          </p:nvSpPr>
          <p:spPr>
            <a:xfrm>
              <a:off x="5613491" y="3559172"/>
              <a:ext cx="11112" cy="9525"/>
            </a:xfrm>
            <a:custGeom>
              <a:avLst/>
              <a:gdLst>
                <a:gd name="connsiteX0" fmla="*/ 4358 w 8870"/>
                <a:gd name="connsiteY0" fmla="*/ 4030 h 7809"/>
                <a:gd name="connsiteX1" fmla="*/ 4484 w 8870"/>
                <a:gd name="connsiteY1" fmla="*/ 3890 h 7809"/>
                <a:gd name="connsiteX2" fmla="*/ 8870 w 8870"/>
                <a:gd name="connsiteY2" fmla="*/ 0 h 7809"/>
                <a:gd name="connsiteX3" fmla="*/ 6045 w 8870"/>
                <a:gd name="connsiteY3" fmla="*/ 497 h 7809"/>
                <a:gd name="connsiteX4" fmla="*/ 5968 w 8870"/>
                <a:gd name="connsiteY4" fmla="*/ 497 h 7809"/>
                <a:gd name="connsiteX5" fmla="*/ 2656 w 8870"/>
                <a:gd name="connsiteY5" fmla="*/ 969 h 7809"/>
                <a:gd name="connsiteX6" fmla="*/ 0 w 8870"/>
                <a:gd name="connsiteY6" fmla="*/ 5428 h 7809"/>
                <a:gd name="connsiteX7" fmla="*/ 979 w 8870"/>
                <a:gd name="connsiteY7" fmla="*/ 7810 h 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0" h="7809">
                  <a:moveTo>
                    <a:pt x="4358" y="4030"/>
                  </a:moveTo>
                  <a:lnTo>
                    <a:pt x="4484" y="3890"/>
                  </a:lnTo>
                  <a:lnTo>
                    <a:pt x="8870" y="0"/>
                  </a:lnTo>
                  <a:lnTo>
                    <a:pt x="6045" y="497"/>
                  </a:lnTo>
                  <a:lnTo>
                    <a:pt x="5968" y="497"/>
                  </a:lnTo>
                  <a:lnTo>
                    <a:pt x="2656" y="969"/>
                  </a:lnTo>
                  <a:lnTo>
                    <a:pt x="0" y="5428"/>
                  </a:lnTo>
                  <a:lnTo>
                    <a:pt x="979" y="781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81" name="Freihandform: Form 280">
              <a:extLst>
                <a:ext uri="{FF2B5EF4-FFF2-40B4-BE49-F238E27FC236}">
                  <a16:creationId xmlns:a16="http://schemas.microsoft.com/office/drawing/2014/main" id="{9FB29CC5-D6CF-5D07-D5BC-7EDB6A705B32}"/>
                </a:ext>
              </a:extLst>
            </p:cNvPr>
            <p:cNvSpPr/>
            <p:nvPr/>
          </p:nvSpPr>
          <p:spPr>
            <a:xfrm>
              <a:off x="5305551" y="3190858"/>
              <a:ext cx="1588" cy="1588"/>
            </a:xfrm>
            <a:custGeom>
              <a:avLst/>
              <a:gdLst>
                <a:gd name="connsiteX0" fmla="*/ 1176 w 1176"/>
                <a:gd name="connsiteY0" fmla="*/ 1624 h 1624"/>
                <a:gd name="connsiteX1" fmla="*/ 0 w 1176"/>
                <a:gd name="connsiteY1" fmla="*/ 0 h 1624"/>
                <a:gd name="connsiteX2" fmla="*/ 453 w 1176"/>
                <a:gd name="connsiteY2" fmla="*/ 1538 h 1624"/>
              </a:gdLst>
              <a:ahLst/>
              <a:cxnLst>
                <a:cxn ang="0">
                  <a:pos x="connsiteX0" y="connsiteY0"/>
                </a:cxn>
                <a:cxn ang="0">
                  <a:pos x="connsiteX1" y="connsiteY1"/>
                </a:cxn>
                <a:cxn ang="0">
                  <a:pos x="connsiteX2" y="connsiteY2"/>
                </a:cxn>
              </a:cxnLst>
              <a:rect l="l" t="t" r="r" b="b"/>
              <a:pathLst>
                <a:path w="1176" h="1624">
                  <a:moveTo>
                    <a:pt x="1176" y="1624"/>
                  </a:moveTo>
                  <a:lnTo>
                    <a:pt x="0" y="0"/>
                  </a:lnTo>
                  <a:lnTo>
                    <a:pt x="453" y="153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82" name="Freihandform: Form 281">
              <a:extLst>
                <a:ext uri="{FF2B5EF4-FFF2-40B4-BE49-F238E27FC236}">
                  <a16:creationId xmlns:a16="http://schemas.microsoft.com/office/drawing/2014/main" id="{3CEC9612-49AD-8CDF-A5CC-E1C4B71CFD6E}"/>
                </a:ext>
              </a:extLst>
            </p:cNvPr>
            <p:cNvSpPr/>
            <p:nvPr/>
          </p:nvSpPr>
          <p:spPr>
            <a:xfrm>
              <a:off x="7740501" y="4672053"/>
              <a:ext cx="3175" cy="7937"/>
            </a:xfrm>
            <a:custGeom>
              <a:avLst/>
              <a:gdLst>
                <a:gd name="connsiteX0" fmla="*/ 2025 w 2824"/>
                <a:gd name="connsiteY0" fmla="*/ 766 h 6599"/>
                <a:gd name="connsiteX1" fmla="*/ 1899 w 2824"/>
                <a:gd name="connsiteY1" fmla="*/ 1379 h 6599"/>
                <a:gd name="connsiteX2" fmla="*/ 0 w 2824"/>
                <a:gd name="connsiteY2" fmla="*/ 6600 h 6599"/>
                <a:gd name="connsiteX3" fmla="*/ 2825 w 2824"/>
                <a:gd name="connsiteY3" fmla="*/ 1012 h 6599"/>
                <a:gd name="connsiteX4" fmla="*/ 2025 w 2824"/>
                <a:gd name="connsiteY4" fmla="*/ 0 h 6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4" h="6599">
                  <a:moveTo>
                    <a:pt x="2025" y="766"/>
                  </a:moveTo>
                  <a:lnTo>
                    <a:pt x="1899" y="1379"/>
                  </a:lnTo>
                  <a:lnTo>
                    <a:pt x="0" y="6600"/>
                  </a:lnTo>
                  <a:lnTo>
                    <a:pt x="2825" y="1012"/>
                  </a:lnTo>
                  <a:lnTo>
                    <a:pt x="2025"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83" name="Freihandform: Form 282">
              <a:extLst>
                <a:ext uri="{FF2B5EF4-FFF2-40B4-BE49-F238E27FC236}">
                  <a16:creationId xmlns:a16="http://schemas.microsoft.com/office/drawing/2014/main" id="{4D62C7A5-5785-BF78-FB34-704C09411897}"/>
                </a:ext>
              </a:extLst>
            </p:cNvPr>
            <p:cNvSpPr/>
            <p:nvPr/>
          </p:nvSpPr>
          <p:spPr>
            <a:xfrm>
              <a:off x="5753175" y="3608387"/>
              <a:ext cx="22222" cy="19051"/>
            </a:xfrm>
            <a:custGeom>
              <a:avLst/>
              <a:gdLst>
                <a:gd name="connsiteX0" fmla="*/ 10364 w 17696"/>
                <a:gd name="connsiteY0" fmla="*/ 14308 h 14307"/>
                <a:gd name="connsiteX1" fmla="*/ 11883 w 17696"/>
                <a:gd name="connsiteY1" fmla="*/ 10480 h 14307"/>
                <a:gd name="connsiteX2" fmla="*/ 13223 w 17696"/>
                <a:gd name="connsiteY2" fmla="*/ 9405 h 14307"/>
                <a:gd name="connsiteX3" fmla="*/ 17697 w 17696"/>
                <a:gd name="connsiteY3" fmla="*/ 8489 h 14307"/>
                <a:gd name="connsiteX4" fmla="*/ 17697 w 17696"/>
                <a:gd name="connsiteY4" fmla="*/ 4681 h 14307"/>
                <a:gd name="connsiteX5" fmla="*/ 13970 w 17696"/>
                <a:gd name="connsiteY5" fmla="*/ 0 h 14307"/>
                <a:gd name="connsiteX6" fmla="*/ 9829 w 17696"/>
                <a:gd name="connsiteY6" fmla="*/ 410 h 14307"/>
                <a:gd name="connsiteX7" fmla="*/ 6142 w 17696"/>
                <a:gd name="connsiteY7" fmla="*/ 5669 h 14307"/>
                <a:gd name="connsiteX8" fmla="*/ 4011 w 17696"/>
                <a:gd name="connsiteY8" fmla="*/ 6344 h 14307"/>
                <a:gd name="connsiteX9" fmla="*/ 2854 w 17696"/>
                <a:gd name="connsiteY9" fmla="*/ 4474 h 14307"/>
                <a:gd name="connsiteX10" fmla="*/ 3225 w 17696"/>
                <a:gd name="connsiteY10" fmla="*/ 487 h 14307"/>
                <a:gd name="connsiteX11" fmla="*/ 337 w 17696"/>
                <a:gd name="connsiteY11" fmla="*/ 487 h 14307"/>
                <a:gd name="connsiteX12" fmla="*/ 0 w 17696"/>
                <a:gd name="connsiteY12" fmla="*/ 3384 h 14307"/>
                <a:gd name="connsiteX13" fmla="*/ 5399 w 17696"/>
                <a:gd name="connsiteY13" fmla="*/ 8778 h 14307"/>
                <a:gd name="connsiteX14" fmla="*/ 10364 w 17696"/>
                <a:gd name="connsiteY14" fmla="*/ 14308 h 14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696" h="14307">
                  <a:moveTo>
                    <a:pt x="10364" y="14308"/>
                  </a:moveTo>
                  <a:lnTo>
                    <a:pt x="11883" y="10480"/>
                  </a:lnTo>
                  <a:lnTo>
                    <a:pt x="13223" y="9405"/>
                  </a:lnTo>
                  <a:lnTo>
                    <a:pt x="17697" y="8489"/>
                  </a:lnTo>
                  <a:lnTo>
                    <a:pt x="17697" y="4681"/>
                  </a:lnTo>
                  <a:lnTo>
                    <a:pt x="13970" y="0"/>
                  </a:lnTo>
                  <a:lnTo>
                    <a:pt x="9829" y="410"/>
                  </a:lnTo>
                  <a:lnTo>
                    <a:pt x="6142" y="5669"/>
                  </a:lnTo>
                  <a:cubicBezTo>
                    <a:pt x="5655" y="6359"/>
                    <a:pt x="4797" y="6619"/>
                    <a:pt x="4011" y="6344"/>
                  </a:cubicBezTo>
                  <a:cubicBezTo>
                    <a:pt x="3225" y="6026"/>
                    <a:pt x="2757" y="5250"/>
                    <a:pt x="2854" y="4474"/>
                  </a:cubicBezTo>
                  <a:lnTo>
                    <a:pt x="3225" y="487"/>
                  </a:lnTo>
                  <a:lnTo>
                    <a:pt x="337" y="487"/>
                  </a:lnTo>
                  <a:lnTo>
                    <a:pt x="0" y="3384"/>
                  </a:lnTo>
                  <a:lnTo>
                    <a:pt x="5399" y="8778"/>
                  </a:lnTo>
                  <a:lnTo>
                    <a:pt x="10364" y="1430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84" name="Freihandform: Form 283">
              <a:extLst>
                <a:ext uri="{FF2B5EF4-FFF2-40B4-BE49-F238E27FC236}">
                  <a16:creationId xmlns:a16="http://schemas.microsoft.com/office/drawing/2014/main" id="{3756C422-18CB-38E6-4A0F-C2C2EE9EB8B5}"/>
                </a:ext>
              </a:extLst>
            </p:cNvPr>
            <p:cNvSpPr/>
            <p:nvPr/>
          </p:nvSpPr>
          <p:spPr>
            <a:xfrm>
              <a:off x="7665897" y="4887961"/>
              <a:ext cx="4761" cy="4762"/>
            </a:xfrm>
            <a:custGeom>
              <a:avLst/>
              <a:gdLst>
                <a:gd name="connsiteX0" fmla="*/ 902 w 3138"/>
                <a:gd name="connsiteY0" fmla="*/ 3953 h 3953"/>
                <a:gd name="connsiteX1" fmla="*/ 3138 w 3138"/>
                <a:gd name="connsiteY1" fmla="*/ 0 h 3953"/>
                <a:gd name="connsiteX2" fmla="*/ 0 w 3138"/>
                <a:gd name="connsiteY2" fmla="*/ 1967 h 3953"/>
                <a:gd name="connsiteX3" fmla="*/ 902 w 3138"/>
                <a:gd name="connsiteY3" fmla="*/ 3953 h 3953"/>
              </a:gdLst>
              <a:ahLst/>
              <a:cxnLst>
                <a:cxn ang="0">
                  <a:pos x="connsiteX0" y="connsiteY0"/>
                </a:cxn>
                <a:cxn ang="0">
                  <a:pos x="connsiteX1" y="connsiteY1"/>
                </a:cxn>
                <a:cxn ang="0">
                  <a:pos x="connsiteX2" y="connsiteY2"/>
                </a:cxn>
                <a:cxn ang="0">
                  <a:pos x="connsiteX3" y="connsiteY3"/>
                </a:cxn>
              </a:cxnLst>
              <a:rect l="l" t="t" r="r" b="b"/>
              <a:pathLst>
                <a:path w="3138" h="3953">
                  <a:moveTo>
                    <a:pt x="902" y="3953"/>
                  </a:moveTo>
                  <a:cubicBezTo>
                    <a:pt x="1567" y="2497"/>
                    <a:pt x="2314" y="1190"/>
                    <a:pt x="3138" y="0"/>
                  </a:cubicBezTo>
                  <a:lnTo>
                    <a:pt x="0" y="1967"/>
                  </a:lnTo>
                  <a:lnTo>
                    <a:pt x="902" y="395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85" name="Freihandform: Form 284">
              <a:extLst>
                <a:ext uri="{FF2B5EF4-FFF2-40B4-BE49-F238E27FC236}">
                  <a16:creationId xmlns:a16="http://schemas.microsoft.com/office/drawing/2014/main" id="{7E21CB9E-8E6C-A7A1-2B6C-F2C8944AEA4E}"/>
                </a:ext>
              </a:extLst>
            </p:cNvPr>
            <p:cNvSpPr/>
            <p:nvPr/>
          </p:nvSpPr>
          <p:spPr>
            <a:xfrm>
              <a:off x="7210336" y="5761119"/>
              <a:ext cx="68255" cy="38101"/>
            </a:xfrm>
            <a:custGeom>
              <a:avLst/>
              <a:gdLst>
                <a:gd name="connsiteX0" fmla="*/ 6214 w 53230"/>
                <a:gd name="connsiteY0" fmla="*/ 6214 h 28678"/>
                <a:gd name="connsiteX1" fmla="*/ 11941 w 53230"/>
                <a:gd name="connsiteY1" fmla="*/ 9632 h 28678"/>
                <a:gd name="connsiteX2" fmla="*/ 17904 w 53230"/>
                <a:gd name="connsiteY2" fmla="*/ 11261 h 28678"/>
                <a:gd name="connsiteX3" fmla="*/ 23554 w 53230"/>
                <a:gd name="connsiteY3" fmla="*/ 10683 h 28678"/>
                <a:gd name="connsiteX4" fmla="*/ 24070 w 53230"/>
                <a:gd name="connsiteY4" fmla="*/ 10721 h 28678"/>
                <a:gd name="connsiteX5" fmla="*/ 30014 w 53230"/>
                <a:gd name="connsiteY5" fmla="*/ 11931 h 28678"/>
                <a:gd name="connsiteX6" fmla="*/ 30929 w 53230"/>
                <a:gd name="connsiteY6" fmla="*/ 12423 h 28678"/>
                <a:gd name="connsiteX7" fmla="*/ 36883 w 53230"/>
                <a:gd name="connsiteY7" fmla="*/ 18362 h 28678"/>
                <a:gd name="connsiteX8" fmla="*/ 42798 w 53230"/>
                <a:gd name="connsiteY8" fmla="*/ 23675 h 28678"/>
                <a:gd name="connsiteX9" fmla="*/ 48299 w 53230"/>
                <a:gd name="connsiteY9" fmla="*/ 28678 h 28678"/>
                <a:gd name="connsiteX10" fmla="*/ 48877 w 53230"/>
                <a:gd name="connsiteY10" fmla="*/ 28298 h 28678"/>
                <a:gd name="connsiteX11" fmla="*/ 48993 w 53230"/>
                <a:gd name="connsiteY11" fmla="*/ 28230 h 28678"/>
                <a:gd name="connsiteX12" fmla="*/ 53230 w 53230"/>
                <a:gd name="connsiteY12" fmla="*/ 25641 h 28678"/>
                <a:gd name="connsiteX13" fmla="*/ 31715 w 53230"/>
                <a:gd name="connsiteY13" fmla="*/ 8128 h 28678"/>
                <a:gd name="connsiteX14" fmla="*/ 26181 w 53230"/>
                <a:gd name="connsiteY14" fmla="*/ 4816 h 28678"/>
                <a:gd name="connsiteX15" fmla="*/ 20141 w 53230"/>
                <a:gd name="connsiteY15" fmla="*/ 4816 h 28678"/>
                <a:gd name="connsiteX16" fmla="*/ 19331 w 53230"/>
                <a:gd name="connsiteY16" fmla="*/ 4580 h 28678"/>
                <a:gd name="connsiteX17" fmla="*/ 13435 w 53230"/>
                <a:gd name="connsiteY17" fmla="*/ 1663 h 28678"/>
                <a:gd name="connsiteX18" fmla="*/ 9251 w 53230"/>
                <a:gd name="connsiteY18" fmla="*/ 0 h 28678"/>
                <a:gd name="connsiteX19" fmla="*/ 7544 w 53230"/>
                <a:gd name="connsiteY19" fmla="*/ 4261 h 28678"/>
                <a:gd name="connsiteX20" fmla="*/ 5871 w 53230"/>
                <a:gd name="connsiteY20" fmla="*/ 5419 h 28678"/>
                <a:gd name="connsiteX21" fmla="*/ 0 w 53230"/>
                <a:gd name="connsiteY21" fmla="*/ 5419 h 28678"/>
                <a:gd name="connsiteX22" fmla="*/ 5442 w 53230"/>
                <a:gd name="connsiteY22" fmla="*/ 5925 h 28678"/>
                <a:gd name="connsiteX23" fmla="*/ 6214 w 53230"/>
                <a:gd name="connsiteY23" fmla="*/ 6214 h 2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230" h="28678">
                  <a:moveTo>
                    <a:pt x="6214" y="6214"/>
                  </a:moveTo>
                  <a:lnTo>
                    <a:pt x="11941" y="9632"/>
                  </a:lnTo>
                  <a:lnTo>
                    <a:pt x="17904" y="11261"/>
                  </a:lnTo>
                  <a:lnTo>
                    <a:pt x="23554" y="10683"/>
                  </a:lnTo>
                  <a:lnTo>
                    <a:pt x="24070" y="10721"/>
                  </a:lnTo>
                  <a:lnTo>
                    <a:pt x="30014" y="11931"/>
                  </a:lnTo>
                  <a:lnTo>
                    <a:pt x="30929" y="12423"/>
                  </a:lnTo>
                  <a:lnTo>
                    <a:pt x="36883" y="18362"/>
                  </a:lnTo>
                  <a:lnTo>
                    <a:pt x="42798" y="23675"/>
                  </a:lnTo>
                  <a:lnTo>
                    <a:pt x="48299" y="28678"/>
                  </a:lnTo>
                  <a:lnTo>
                    <a:pt x="48877" y="28298"/>
                  </a:lnTo>
                  <a:lnTo>
                    <a:pt x="48993" y="28230"/>
                  </a:lnTo>
                  <a:lnTo>
                    <a:pt x="53230" y="25641"/>
                  </a:lnTo>
                  <a:cubicBezTo>
                    <a:pt x="47301" y="18984"/>
                    <a:pt x="38922" y="13676"/>
                    <a:pt x="31715" y="8128"/>
                  </a:cubicBezTo>
                  <a:lnTo>
                    <a:pt x="26181" y="4816"/>
                  </a:lnTo>
                  <a:lnTo>
                    <a:pt x="20141" y="4816"/>
                  </a:lnTo>
                  <a:lnTo>
                    <a:pt x="19331" y="4580"/>
                  </a:lnTo>
                  <a:lnTo>
                    <a:pt x="13435" y="1663"/>
                  </a:lnTo>
                  <a:lnTo>
                    <a:pt x="9251" y="0"/>
                  </a:lnTo>
                  <a:lnTo>
                    <a:pt x="7544" y="4261"/>
                  </a:lnTo>
                  <a:lnTo>
                    <a:pt x="5871" y="5419"/>
                  </a:lnTo>
                  <a:lnTo>
                    <a:pt x="0" y="5419"/>
                  </a:lnTo>
                  <a:lnTo>
                    <a:pt x="5442" y="5925"/>
                  </a:lnTo>
                  <a:lnTo>
                    <a:pt x="6214" y="621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86" name="Freihandform: Form 285">
              <a:extLst>
                <a:ext uri="{FF2B5EF4-FFF2-40B4-BE49-F238E27FC236}">
                  <a16:creationId xmlns:a16="http://schemas.microsoft.com/office/drawing/2014/main" id="{224DF237-06EB-C57B-B0D4-23561240D251}"/>
                </a:ext>
              </a:extLst>
            </p:cNvPr>
            <p:cNvSpPr/>
            <p:nvPr/>
          </p:nvSpPr>
          <p:spPr>
            <a:xfrm>
              <a:off x="7142081" y="5816683"/>
              <a:ext cx="52381" cy="33339"/>
            </a:xfrm>
            <a:custGeom>
              <a:avLst/>
              <a:gdLst>
                <a:gd name="connsiteX0" fmla="*/ 366 w 40272"/>
                <a:gd name="connsiteY0" fmla="*/ 4218 h 26335"/>
                <a:gd name="connsiteX1" fmla="*/ 940 w 40272"/>
                <a:gd name="connsiteY1" fmla="*/ 9574 h 26335"/>
                <a:gd name="connsiteX2" fmla="*/ 5872 w 40272"/>
                <a:gd name="connsiteY2" fmla="*/ 15060 h 26335"/>
                <a:gd name="connsiteX3" fmla="*/ 6036 w 40272"/>
                <a:gd name="connsiteY3" fmla="*/ 15248 h 26335"/>
                <a:gd name="connsiteX4" fmla="*/ 10109 w 40272"/>
                <a:gd name="connsiteY4" fmla="*/ 21115 h 26335"/>
                <a:gd name="connsiteX5" fmla="*/ 13416 w 40272"/>
                <a:gd name="connsiteY5" fmla="*/ 24827 h 26335"/>
                <a:gd name="connsiteX6" fmla="*/ 18140 w 40272"/>
                <a:gd name="connsiteY6" fmla="*/ 22927 h 26335"/>
                <a:gd name="connsiteX7" fmla="*/ 19288 w 40272"/>
                <a:gd name="connsiteY7" fmla="*/ 22831 h 26335"/>
                <a:gd name="connsiteX8" fmla="*/ 25772 w 40272"/>
                <a:gd name="connsiteY8" fmla="*/ 24629 h 26335"/>
                <a:gd name="connsiteX9" fmla="*/ 31581 w 40272"/>
                <a:gd name="connsiteY9" fmla="*/ 25781 h 26335"/>
                <a:gd name="connsiteX10" fmla="*/ 36902 w 40272"/>
                <a:gd name="connsiteY10" fmla="*/ 26336 h 26335"/>
                <a:gd name="connsiteX11" fmla="*/ 40272 w 40272"/>
                <a:gd name="connsiteY11" fmla="*/ 24629 h 26335"/>
                <a:gd name="connsiteX12" fmla="*/ 36406 w 40272"/>
                <a:gd name="connsiteY12" fmla="*/ 20392 h 26335"/>
                <a:gd name="connsiteX13" fmla="*/ 30568 w 40272"/>
                <a:gd name="connsiteY13" fmla="*/ 19876 h 26335"/>
                <a:gd name="connsiteX14" fmla="*/ 30346 w 40272"/>
                <a:gd name="connsiteY14" fmla="*/ 19876 h 26335"/>
                <a:gd name="connsiteX15" fmla="*/ 24248 w 40272"/>
                <a:gd name="connsiteY15" fmla="*/ 18608 h 26335"/>
                <a:gd name="connsiteX16" fmla="*/ 18256 w 40272"/>
                <a:gd name="connsiteY16" fmla="*/ 16848 h 26335"/>
                <a:gd name="connsiteX17" fmla="*/ 17504 w 40272"/>
                <a:gd name="connsiteY17" fmla="*/ 16361 h 26335"/>
                <a:gd name="connsiteX18" fmla="*/ 11594 w 40272"/>
                <a:gd name="connsiteY18" fmla="*/ 10437 h 26335"/>
                <a:gd name="connsiteX19" fmla="*/ 5693 w 40272"/>
                <a:gd name="connsiteY19" fmla="*/ 4536 h 26335"/>
                <a:gd name="connsiteX20" fmla="*/ 0 w 40272"/>
                <a:gd name="connsiteY20" fmla="*/ 0 h 26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72" h="26335">
                  <a:moveTo>
                    <a:pt x="366" y="4218"/>
                  </a:moveTo>
                  <a:lnTo>
                    <a:pt x="940" y="9574"/>
                  </a:lnTo>
                  <a:lnTo>
                    <a:pt x="5872" y="15060"/>
                  </a:lnTo>
                  <a:lnTo>
                    <a:pt x="6036" y="15248"/>
                  </a:lnTo>
                  <a:lnTo>
                    <a:pt x="10109" y="21115"/>
                  </a:lnTo>
                  <a:lnTo>
                    <a:pt x="13416" y="24827"/>
                  </a:lnTo>
                  <a:lnTo>
                    <a:pt x="18140" y="22927"/>
                  </a:lnTo>
                  <a:lnTo>
                    <a:pt x="19288" y="22831"/>
                  </a:lnTo>
                  <a:lnTo>
                    <a:pt x="25772" y="24629"/>
                  </a:lnTo>
                  <a:lnTo>
                    <a:pt x="31581" y="25781"/>
                  </a:lnTo>
                  <a:lnTo>
                    <a:pt x="36902" y="26336"/>
                  </a:lnTo>
                  <a:lnTo>
                    <a:pt x="40272" y="24629"/>
                  </a:lnTo>
                  <a:lnTo>
                    <a:pt x="36406" y="20392"/>
                  </a:lnTo>
                  <a:lnTo>
                    <a:pt x="30568" y="19876"/>
                  </a:lnTo>
                  <a:lnTo>
                    <a:pt x="30346" y="19876"/>
                  </a:lnTo>
                  <a:lnTo>
                    <a:pt x="24248" y="18608"/>
                  </a:lnTo>
                  <a:lnTo>
                    <a:pt x="18256" y="16848"/>
                  </a:lnTo>
                  <a:lnTo>
                    <a:pt x="17504" y="16361"/>
                  </a:lnTo>
                  <a:lnTo>
                    <a:pt x="11594" y="10437"/>
                  </a:lnTo>
                  <a:lnTo>
                    <a:pt x="5693" y="4536"/>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87" name="Freihandform: Form 286">
              <a:extLst>
                <a:ext uri="{FF2B5EF4-FFF2-40B4-BE49-F238E27FC236}">
                  <a16:creationId xmlns:a16="http://schemas.microsoft.com/office/drawing/2014/main" id="{8935A817-E8DB-4008-D96A-D94046C90958}"/>
                </a:ext>
              </a:extLst>
            </p:cNvPr>
            <p:cNvSpPr/>
            <p:nvPr/>
          </p:nvSpPr>
          <p:spPr>
            <a:xfrm>
              <a:off x="7146843" y="6005603"/>
              <a:ext cx="0" cy="0"/>
            </a:xfrm>
            <a:custGeom>
              <a:avLst/>
              <a:gdLst>
                <a:gd name="connsiteX0" fmla="*/ 34 w 163"/>
                <a:gd name="connsiteY0" fmla="*/ 87 h 87"/>
                <a:gd name="connsiteX1" fmla="*/ 164 w 163"/>
                <a:gd name="connsiteY1" fmla="*/ 53 h 87"/>
                <a:gd name="connsiteX2" fmla="*/ 0 w 163"/>
                <a:gd name="connsiteY2" fmla="*/ 0 h 87"/>
              </a:gdLst>
              <a:ahLst/>
              <a:cxnLst>
                <a:cxn ang="0">
                  <a:pos x="connsiteX0" y="connsiteY0"/>
                </a:cxn>
                <a:cxn ang="0">
                  <a:pos x="connsiteX1" y="connsiteY1"/>
                </a:cxn>
                <a:cxn ang="0">
                  <a:pos x="connsiteX2" y="connsiteY2"/>
                </a:cxn>
              </a:cxnLst>
              <a:rect l="l" t="t" r="r" b="b"/>
              <a:pathLst>
                <a:path w="163" h="87">
                  <a:moveTo>
                    <a:pt x="34" y="87"/>
                  </a:moveTo>
                  <a:lnTo>
                    <a:pt x="164" y="53"/>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88" name="Freihandform: Form 287">
              <a:extLst>
                <a:ext uri="{FF2B5EF4-FFF2-40B4-BE49-F238E27FC236}">
                  <a16:creationId xmlns:a16="http://schemas.microsoft.com/office/drawing/2014/main" id="{AD227769-138E-F97C-5BE9-551AB1CA3285}"/>
                </a:ext>
              </a:extLst>
            </p:cNvPr>
            <p:cNvSpPr/>
            <p:nvPr/>
          </p:nvSpPr>
          <p:spPr>
            <a:xfrm>
              <a:off x="5465871" y="1749354"/>
              <a:ext cx="9524" cy="3175"/>
            </a:xfrm>
            <a:custGeom>
              <a:avLst/>
              <a:gdLst>
                <a:gd name="connsiteX0" fmla="*/ 935 w 7433"/>
                <a:gd name="connsiteY0" fmla="*/ 2194 h 2381"/>
                <a:gd name="connsiteX1" fmla="*/ 7376 w 7433"/>
                <a:gd name="connsiteY1" fmla="*/ 1012 h 2381"/>
                <a:gd name="connsiteX2" fmla="*/ 7433 w 7433"/>
                <a:gd name="connsiteY2" fmla="*/ 1012 h 2381"/>
                <a:gd name="connsiteX3" fmla="*/ 1967 w 7433"/>
                <a:gd name="connsiteY3" fmla="*/ 0 h 2381"/>
                <a:gd name="connsiteX4" fmla="*/ 0 w 7433"/>
                <a:gd name="connsiteY4" fmla="*/ 2382 h 2381"/>
                <a:gd name="connsiteX5" fmla="*/ 887 w 7433"/>
                <a:gd name="connsiteY5" fmla="*/ 2194 h 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33" h="2381">
                  <a:moveTo>
                    <a:pt x="935" y="2194"/>
                  </a:moveTo>
                  <a:lnTo>
                    <a:pt x="7376" y="1012"/>
                  </a:lnTo>
                  <a:lnTo>
                    <a:pt x="7433" y="1012"/>
                  </a:lnTo>
                  <a:lnTo>
                    <a:pt x="1967" y="0"/>
                  </a:lnTo>
                  <a:lnTo>
                    <a:pt x="0" y="2382"/>
                  </a:lnTo>
                  <a:lnTo>
                    <a:pt x="887" y="219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89" name="Freihandform: Form 288">
              <a:extLst>
                <a:ext uri="{FF2B5EF4-FFF2-40B4-BE49-F238E27FC236}">
                  <a16:creationId xmlns:a16="http://schemas.microsoft.com/office/drawing/2014/main" id="{10814A58-2573-050A-DA75-74CBCFECE147}"/>
                </a:ext>
              </a:extLst>
            </p:cNvPr>
            <p:cNvSpPr/>
            <p:nvPr/>
          </p:nvSpPr>
          <p:spPr>
            <a:xfrm>
              <a:off x="5223010" y="2071629"/>
              <a:ext cx="33334" cy="30163"/>
            </a:xfrm>
            <a:custGeom>
              <a:avLst/>
              <a:gdLst>
                <a:gd name="connsiteX0" fmla="*/ 6426 w 25279"/>
                <a:gd name="connsiteY0" fmla="*/ 9526 h 23283"/>
                <a:gd name="connsiteX1" fmla="*/ 6961 w 25279"/>
                <a:gd name="connsiteY1" fmla="*/ 10263 h 23283"/>
                <a:gd name="connsiteX2" fmla="*/ 9333 w 25279"/>
                <a:gd name="connsiteY2" fmla="*/ 16164 h 23283"/>
                <a:gd name="connsiteX3" fmla="*/ 12457 w 25279"/>
                <a:gd name="connsiteY3" fmla="*/ 22903 h 23283"/>
                <a:gd name="connsiteX4" fmla="*/ 16506 w 25279"/>
                <a:gd name="connsiteY4" fmla="*/ 23284 h 23283"/>
                <a:gd name="connsiteX5" fmla="*/ 15971 w 25279"/>
                <a:gd name="connsiteY5" fmla="*/ 22537 h 23283"/>
                <a:gd name="connsiteX6" fmla="*/ 14775 w 25279"/>
                <a:gd name="connsiteY6" fmla="*/ 15407 h 23283"/>
                <a:gd name="connsiteX7" fmla="*/ 15132 w 25279"/>
                <a:gd name="connsiteY7" fmla="*/ 14004 h 23283"/>
                <a:gd name="connsiteX8" fmla="*/ 16410 w 25279"/>
                <a:gd name="connsiteY8" fmla="*/ 13295 h 23283"/>
                <a:gd name="connsiteX9" fmla="*/ 21997 w 25279"/>
                <a:gd name="connsiteY9" fmla="*/ 12741 h 23283"/>
                <a:gd name="connsiteX10" fmla="*/ 25280 w 25279"/>
                <a:gd name="connsiteY10" fmla="*/ 10938 h 23283"/>
                <a:gd name="connsiteX11" fmla="*/ 22662 w 25279"/>
                <a:gd name="connsiteY11" fmla="*/ 9497 h 23283"/>
                <a:gd name="connsiteX12" fmla="*/ 17625 w 25279"/>
                <a:gd name="connsiteY12" fmla="*/ 13016 h 23283"/>
                <a:gd name="connsiteX13" fmla="*/ 15812 w 25279"/>
                <a:gd name="connsiteY13" fmla="*/ 13175 h 23283"/>
                <a:gd name="connsiteX14" fmla="*/ 9270 w 25279"/>
                <a:gd name="connsiteY14" fmla="*/ 10205 h 23283"/>
                <a:gd name="connsiteX15" fmla="*/ 8311 w 25279"/>
                <a:gd name="connsiteY15" fmla="*/ 8778 h 23283"/>
                <a:gd name="connsiteX16" fmla="*/ 8311 w 25279"/>
                <a:gd name="connsiteY16" fmla="*/ 8778 h 23283"/>
                <a:gd name="connsiteX17" fmla="*/ 2338 w 25279"/>
                <a:gd name="connsiteY17" fmla="*/ 4020 h 23283"/>
                <a:gd name="connsiteX18" fmla="*/ 1904 w 25279"/>
                <a:gd name="connsiteY18" fmla="*/ 3471 h 23283"/>
                <a:gd name="connsiteX19" fmla="*/ 0 w 25279"/>
                <a:gd name="connsiteY19" fmla="*/ 0 h 23283"/>
                <a:gd name="connsiteX20" fmla="*/ 468 w 25279"/>
                <a:gd name="connsiteY20" fmla="*/ 4642 h 23283"/>
                <a:gd name="connsiteX21" fmla="*/ 6426 w 25279"/>
                <a:gd name="connsiteY21" fmla="*/ 9526 h 2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279" h="23283">
                  <a:moveTo>
                    <a:pt x="6426" y="9526"/>
                  </a:moveTo>
                  <a:lnTo>
                    <a:pt x="6961" y="10263"/>
                  </a:lnTo>
                  <a:lnTo>
                    <a:pt x="9333" y="16164"/>
                  </a:lnTo>
                  <a:lnTo>
                    <a:pt x="12457" y="22903"/>
                  </a:lnTo>
                  <a:cubicBezTo>
                    <a:pt x="13807" y="22903"/>
                    <a:pt x="15152" y="23086"/>
                    <a:pt x="16506" y="23284"/>
                  </a:cubicBezTo>
                  <a:lnTo>
                    <a:pt x="15971" y="22537"/>
                  </a:lnTo>
                  <a:lnTo>
                    <a:pt x="14775" y="15407"/>
                  </a:lnTo>
                  <a:lnTo>
                    <a:pt x="15132" y="14004"/>
                  </a:lnTo>
                  <a:lnTo>
                    <a:pt x="16410" y="13295"/>
                  </a:lnTo>
                  <a:lnTo>
                    <a:pt x="21997" y="12741"/>
                  </a:lnTo>
                  <a:lnTo>
                    <a:pt x="25280" y="10938"/>
                  </a:lnTo>
                  <a:lnTo>
                    <a:pt x="22662" y="9497"/>
                  </a:lnTo>
                  <a:lnTo>
                    <a:pt x="17625" y="13016"/>
                  </a:lnTo>
                  <a:lnTo>
                    <a:pt x="15812" y="13175"/>
                  </a:lnTo>
                  <a:lnTo>
                    <a:pt x="9270" y="10205"/>
                  </a:lnTo>
                  <a:cubicBezTo>
                    <a:pt x="8706" y="9926"/>
                    <a:pt x="8412" y="9386"/>
                    <a:pt x="8311" y="8778"/>
                  </a:cubicBezTo>
                  <a:lnTo>
                    <a:pt x="8311" y="8778"/>
                  </a:lnTo>
                  <a:lnTo>
                    <a:pt x="2338" y="4020"/>
                  </a:lnTo>
                  <a:lnTo>
                    <a:pt x="1904" y="3471"/>
                  </a:lnTo>
                  <a:lnTo>
                    <a:pt x="0" y="0"/>
                  </a:lnTo>
                  <a:lnTo>
                    <a:pt x="468" y="4642"/>
                  </a:lnTo>
                  <a:lnTo>
                    <a:pt x="6426" y="952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90" name="Freihandform: Form 289">
              <a:extLst>
                <a:ext uri="{FF2B5EF4-FFF2-40B4-BE49-F238E27FC236}">
                  <a16:creationId xmlns:a16="http://schemas.microsoft.com/office/drawing/2014/main" id="{99AA12CE-2966-EE58-B845-1B8E30278203}"/>
                </a:ext>
              </a:extLst>
            </p:cNvPr>
            <p:cNvSpPr/>
            <p:nvPr/>
          </p:nvSpPr>
          <p:spPr>
            <a:xfrm>
              <a:off x="4975388" y="2212921"/>
              <a:ext cx="25397" cy="30164"/>
            </a:xfrm>
            <a:custGeom>
              <a:avLst/>
              <a:gdLst>
                <a:gd name="connsiteX0" fmla="*/ 19264 w 19263"/>
                <a:gd name="connsiteY0" fmla="*/ 23192 h 23602"/>
                <a:gd name="connsiteX1" fmla="*/ 15610 w 19263"/>
                <a:gd name="connsiteY1" fmla="*/ 17451 h 23602"/>
                <a:gd name="connsiteX2" fmla="*/ 10919 w 19263"/>
                <a:gd name="connsiteY2" fmla="*/ 11565 h 23602"/>
                <a:gd name="connsiteX3" fmla="*/ 10591 w 19263"/>
                <a:gd name="connsiteY3" fmla="*/ 10977 h 23602"/>
                <a:gd name="connsiteX4" fmla="*/ 8909 w 19263"/>
                <a:gd name="connsiteY4" fmla="*/ 5361 h 23602"/>
                <a:gd name="connsiteX5" fmla="*/ 4503 w 19263"/>
                <a:gd name="connsiteY5" fmla="*/ 0 h 23602"/>
                <a:gd name="connsiteX6" fmla="*/ 0 w 19263"/>
                <a:gd name="connsiteY6" fmla="*/ 1114 h 23602"/>
                <a:gd name="connsiteX7" fmla="*/ 458 w 19263"/>
                <a:gd name="connsiteY7" fmla="*/ 6132 h 23602"/>
                <a:gd name="connsiteX8" fmla="*/ 458 w 19263"/>
                <a:gd name="connsiteY8" fmla="*/ 6296 h 23602"/>
                <a:gd name="connsiteX9" fmla="*/ 458 w 19263"/>
                <a:gd name="connsiteY9" fmla="*/ 10586 h 23602"/>
                <a:gd name="connsiteX10" fmla="*/ 5351 w 19263"/>
                <a:gd name="connsiteY10" fmla="*/ 11025 h 23602"/>
                <a:gd name="connsiteX11" fmla="*/ 6421 w 19263"/>
                <a:gd name="connsiteY11" fmla="*/ 11483 h 23602"/>
                <a:gd name="connsiteX12" fmla="*/ 13566 w 19263"/>
                <a:gd name="connsiteY12" fmla="*/ 18058 h 23602"/>
                <a:gd name="connsiteX13" fmla="*/ 13619 w 19263"/>
                <a:gd name="connsiteY13" fmla="*/ 18073 h 23602"/>
                <a:gd name="connsiteX14" fmla="*/ 19143 w 19263"/>
                <a:gd name="connsiteY14" fmla="*/ 23602 h 23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263" h="23602">
                  <a:moveTo>
                    <a:pt x="19264" y="23192"/>
                  </a:moveTo>
                  <a:lnTo>
                    <a:pt x="15610" y="17451"/>
                  </a:lnTo>
                  <a:lnTo>
                    <a:pt x="10919" y="11565"/>
                  </a:lnTo>
                  <a:lnTo>
                    <a:pt x="10591" y="10977"/>
                  </a:lnTo>
                  <a:lnTo>
                    <a:pt x="8909" y="5361"/>
                  </a:lnTo>
                  <a:lnTo>
                    <a:pt x="4503" y="0"/>
                  </a:lnTo>
                  <a:lnTo>
                    <a:pt x="0" y="1114"/>
                  </a:lnTo>
                  <a:lnTo>
                    <a:pt x="458" y="6132"/>
                  </a:lnTo>
                  <a:lnTo>
                    <a:pt x="458" y="6296"/>
                  </a:lnTo>
                  <a:lnTo>
                    <a:pt x="458" y="10586"/>
                  </a:lnTo>
                  <a:lnTo>
                    <a:pt x="5351" y="11025"/>
                  </a:lnTo>
                  <a:lnTo>
                    <a:pt x="6421" y="11483"/>
                  </a:lnTo>
                  <a:lnTo>
                    <a:pt x="13566" y="18058"/>
                  </a:lnTo>
                  <a:lnTo>
                    <a:pt x="13619" y="18073"/>
                  </a:lnTo>
                  <a:lnTo>
                    <a:pt x="19143" y="2360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91" name="Freihandform: Form 290">
              <a:extLst>
                <a:ext uri="{FF2B5EF4-FFF2-40B4-BE49-F238E27FC236}">
                  <a16:creationId xmlns:a16="http://schemas.microsoft.com/office/drawing/2014/main" id="{72D5D69C-E370-CC19-E42E-B73675D52481}"/>
                </a:ext>
              </a:extLst>
            </p:cNvPr>
            <p:cNvSpPr/>
            <p:nvPr/>
          </p:nvSpPr>
          <p:spPr>
            <a:xfrm>
              <a:off x="4997611" y="2231972"/>
              <a:ext cx="11112" cy="7938"/>
            </a:xfrm>
            <a:custGeom>
              <a:avLst/>
              <a:gdLst>
                <a:gd name="connsiteX0" fmla="*/ 651 w 8609"/>
                <a:gd name="connsiteY0" fmla="*/ 800 h 6348"/>
                <a:gd name="connsiteX1" fmla="*/ 4170 w 8609"/>
                <a:gd name="connsiteY1" fmla="*/ 6349 h 6348"/>
                <a:gd name="connsiteX2" fmla="*/ 5428 w 8609"/>
                <a:gd name="connsiteY2" fmla="*/ 4816 h 6348"/>
                <a:gd name="connsiteX3" fmla="*/ 6494 w 8609"/>
                <a:gd name="connsiteY3" fmla="*/ 4155 h 6348"/>
                <a:gd name="connsiteX4" fmla="*/ 8610 w 8609"/>
                <a:gd name="connsiteY4" fmla="*/ 3712 h 6348"/>
                <a:gd name="connsiteX5" fmla="*/ 5987 w 8609"/>
                <a:gd name="connsiteY5" fmla="*/ 1649 h 6348"/>
                <a:gd name="connsiteX6" fmla="*/ 0 w 8609"/>
                <a:gd name="connsiteY6" fmla="*/ 0 h 6348"/>
                <a:gd name="connsiteX7" fmla="*/ 516 w 8609"/>
                <a:gd name="connsiteY7" fmla="*/ 632 h 6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09" h="6348">
                  <a:moveTo>
                    <a:pt x="651" y="800"/>
                  </a:moveTo>
                  <a:lnTo>
                    <a:pt x="4170" y="6349"/>
                  </a:lnTo>
                  <a:lnTo>
                    <a:pt x="5428" y="4816"/>
                  </a:lnTo>
                  <a:lnTo>
                    <a:pt x="6494" y="4155"/>
                  </a:lnTo>
                  <a:lnTo>
                    <a:pt x="8610" y="3712"/>
                  </a:lnTo>
                  <a:lnTo>
                    <a:pt x="5987" y="1649"/>
                  </a:lnTo>
                  <a:lnTo>
                    <a:pt x="0" y="0"/>
                  </a:lnTo>
                  <a:lnTo>
                    <a:pt x="516" y="63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92" name="Freihandform: Form 291">
              <a:extLst>
                <a:ext uri="{FF2B5EF4-FFF2-40B4-BE49-F238E27FC236}">
                  <a16:creationId xmlns:a16="http://schemas.microsoft.com/office/drawing/2014/main" id="{074139C2-E530-CD55-EDEF-E41F90EC8627}"/>
                </a:ext>
              </a:extLst>
            </p:cNvPr>
            <p:cNvSpPr/>
            <p:nvPr/>
          </p:nvSpPr>
          <p:spPr>
            <a:xfrm>
              <a:off x="5121422" y="2425654"/>
              <a:ext cx="0" cy="3175"/>
            </a:xfrm>
            <a:custGeom>
              <a:avLst/>
              <a:gdLst>
                <a:gd name="connsiteX0" fmla="*/ 188 w 742"/>
                <a:gd name="connsiteY0" fmla="*/ 1615 h 2164"/>
                <a:gd name="connsiteX1" fmla="*/ 0 w 742"/>
                <a:gd name="connsiteY1" fmla="*/ 2111 h 2164"/>
                <a:gd name="connsiteX2" fmla="*/ 743 w 742"/>
                <a:gd name="connsiteY2" fmla="*/ 2164 h 2164"/>
                <a:gd name="connsiteX3" fmla="*/ 10 w 742"/>
                <a:gd name="connsiteY3" fmla="*/ 0 h 2164"/>
              </a:gdLst>
              <a:ahLst/>
              <a:cxnLst>
                <a:cxn ang="0">
                  <a:pos x="connsiteX0" y="connsiteY0"/>
                </a:cxn>
                <a:cxn ang="0">
                  <a:pos x="connsiteX1" y="connsiteY1"/>
                </a:cxn>
                <a:cxn ang="0">
                  <a:pos x="connsiteX2" y="connsiteY2"/>
                </a:cxn>
                <a:cxn ang="0">
                  <a:pos x="connsiteX3" y="connsiteY3"/>
                </a:cxn>
              </a:cxnLst>
              <a:rect l="l" t="t" r="r" b="b"/>
              <a:pathLst>
                <a:path w="742" h="2164">
                  <a:moveTo>
                    <a:pt x="188" y="1615"/>
                  </a:moveTo>
                  <a:lnTo>
                    <a:pt x="0" y="2111"/>
                  </a:lnTo>
                  <a:lnTo>
                    <a:pt x="743" y="2164"/>
                  </a:lnTo>
                  <a:lnTo>
                    <a:pt x="1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93" name="Freihandform: Form 292">
              <a:extLst>
                <a:ext uri="{FF2B5EF4-FFF2-40B4-BE49-F238E27FC236}">
                  <a16:creationId xmlns:a16="http://schemas.microsoft.com/office/drawing/2014/main" id="{8FFCDB69-E4D7-0E1A-2878-DF04722FA97A}"/>
                </a:ext>
              </a:extLst>
            </p:cNvPr>
            <p:cNvSpPr/>
            <p:nvPr/>
          </p:nvSpPr>
          <p:spPr>
            <a:xfrm>
              <a:off x="5084914" y="2378028"/>
              <a:ext cx="4761" cy="6350"/>
            </a:xfrm>
            <a:custGeom>
              <a:avLst/>
              <a:gdLst>
                <a:gd name="connsiteX0" fmla="*/ 598 w 3948"/>
                <a:gd name="connsiteY0" fmla="*/ 0 h 4994"/>
                <a:gd name="connsiteX1" fmla="*/ 193 w 3948"/>
                <a:gd name="connsiteY1" fmla="*/ 3982 h 4994"/>
                <a:gd name="connsiteX2" fmla="*/ 174 w 3948"/>
                <a:gd name="connsiteY2" fmla="*/ 4175 h 4994"/>
                <a:gd name="connsiteX3" fmla="*/ 0 w 3948"/>
                <a:gd name="connsiteY3" fmla="*/ 4994 h 4994"/>
                <a:gd name="connsiteX4" fmla="*/ 0 w 3948"/>
                <a:gd name="connsiteY4" fmla="*/ 4975 h 4994"/>
                <a:gd name="connsiteX5" fmla="*/ 3948 w 3948"/>
                <a:gd name="connsiteY5" fmla="*/ 622 h 4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48" h="4994">
                  <a:moveTo>
                    <a:pt x="598" y="0"/>
                  </a:moveTo>
                  <a:lnTo>
                    <a:pt x="193" y="3982"/>
                  </a:lnTo>
                  <a:lnTo>
                    <a:pt x="174" y="4175"/>
                  </a:lnTo>
                  <a:lnTo>
                    <a:pt x="0" y="4994"/>
                  </a:lnTo>
                  <a:lnTo>
                    <a:pt x="0" y="4975"/>
                  </a:lnTo>
                  <a:lnTo>
                    <a:pt x="3948" y="62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94" name="Freihandform: Form 293">
              <a:extLst>
                <a:ext uri="{FF2B5EF4-FFF2-40B4-BE49-F238E27FC236}">
                  <a16:creationId xmlns:a16="http://schemas.microsoft.com/office/drawing/2014/main" id="{DAC71DC9-8884-7A48-1A29-3B6A18F4B457}"/>
                </a:ext>
              </a:extLst>
            </p:cNvPr>
            <p:cNvSpPr/>
            <p:nvPr/>
          </p:nvSpPr>
          <p:spPr>
            <a:xfrm>
              <a:off x="5115072" y="2406604"/>
              <a:ext cx="14286" cy="7938"/>
            </a:xfrm>
            <a:custGeom>
              <a:avLst/>
              <a:gdLst>
                <a:gd name="connsiteX0" fmla="*/ 2034 w 10957"/>
                <a:gd name="connsiteY0" fmla="*/ 4237 h 6643"/>
                <a:gd name="connsiteX1" fmla="*/ 2714 w 10957"/>
                <a:gd name="connsiteY1" fmla="*/ 6643 h 6643"/>
                <a:gd name="connsiteX2" fmla="*/ 2661 w 10957"/>
                <a:gd name="connsiteY2" fmla="*/ 6079 h 6643"/>
                <a:gd name="connsiteX3" fmla="*/ 3538 w 10957"/>
                <a:gd name="connsiteY3" fmla="*/ 4324 h 6643"/>
                <a:gd name="connsiteX4" fmla="*/ 10606 w 10957"/>
                <a:gd name="connsiteY4" fmla="*/ 217 h 6643"/>
                <a:gd name="connsiteX5" fmla="*/ 10958 w 10957"/>
                <a:gd name="connsiteY5" fmla="*/ 0 h 6643"/>
                <a:gd name="connsiteX6" fmla="*/ 5467 w 10957"/>
                <a:gd name="connsiteY6" fmla="*/ 0 h 6643"/>
                <a:gd name="connsiteX7" fmla="*/ 0 w 10957"/>
                <a:gd name="connsiteY7" fmla="*/ 2704 h 6643"/>
                <a:gd name="connsiteX8" fmla="*/ 805 w 10957"/>
                <a:gd name="connsiteY8" fmla="*/ 2984 h 6643"/>
                <a:gd name="connsiteX9" fmla="*/ 2034 w 10957"/>
                <a:gd name="connsiteY9" fmla="*/ 4237 h 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57" h="6643">
                  <a:moveTo>
                    <a:pt x="2034" y="4237"/>
                  </a:moveTo>
                  <a:lnTo>
                    <a:pt x="2714" y="6643"/>
                  </a:lnTo>
                  <a:lnTo>
                    <a:pt x="2661" y="6079"/>
                  </a:lnTo>
                  <a:lnTo>
                    <a:pt x="3538" y="4324"/>
                  </a:lnTo>
                  <a:lnTo>
                    <a:pt x="10606" y="217"/>
                  </a:lnTo>
                  <a:cubicBezTo>
                    <a:pt x="10750" y="125"/>
                    <a:pt x="10818" y="58"/>
                    <a:pt x="10958" y="0"/>
                  </a:cubicBezTo>
                  <a:lnTo>
                    <a:pt x="5467" y="0"/>
                  </a:lnTo>
                  <a:lnTo>
                    <a:pt x="0" y="2704"/>
                  </a:lnTo>
                  <a:lnTo>
                    <a:pt x="805" y="2984"/>
                  </a:lnTo>
                  <a:lnTo>
                    <a:pt x="2034" y="423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95" name="Freihandform: Form 294">
              <a:extLst>
                <a:ext uri="{FF2B5EF4-FFF2-40B4-BE49-F238E27FC236}">
                  <a16:creationId xmlns:a16="http://schemas.microsoft.com/office/drawing/2014/main" id="{3BCB115C-6FCD-5522-FC53-43FF44F7B5C9}"/>
                </a:ext>
              </a:extLst>
            </p:cNvPr>
            <p:cNvSpPr/>
            <p:nvPr/>
          </p:nvSpPr>
          <p:spPr>
            <a:xfrm>
              <a:off x="4954753" y="2432005"/>
              <a:ext cx="1587" cy="6350"/>
            </a:xfrm>
            <a:custGeom>
              <a:avLst/>
              <a:gdLst>
                <a:gd name="connsiteX0" fmla="*/ 1191 w 1817"/>
                <a:gd name="connsiteY0" fmla="*/ 4372 h 5143"/>
                <a:gd name="connsiteX1" fmla="*/ 1210 w 1817"/>
                <a:gd name="connsiteY1" fmla="*/ 4425 h 5143"/>
                <a:gd name="connsiteX2" fmla="*/ 1403 w 1817"/>
                <a:gd name="connsiteY2" fmla="*/ 5144 h 5143"/>
                <a:gd name="connsiteX3" fmla="*/ 1817 w 1817"/>
                <a:gd name="connsiteY3" fmla="*/ 3490 h 5143"/>
                <a:gd name="connsiteX4" fmla="*/ 1817 w 1817"/>
                <a:gd name="connsiteY4" fmla="*/ 0 h 5143"/>
                <a:gd name="connsiteX5" fmla="*/ 0 w 1817"/>
                <a:gd name="connsiteY5" fmla="*/ 352 h 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7" h="5143">
                  <a:moveTo>
                    <a:pt x="1191" y="4372"/>
                  </a:moveTo>
                  <a:lnTo>
                    <a:pt x="1210" y="4425"/>
                  </a:lnTo>
                  <a:lnTo>
                    <a:pt x="1403" y="5144"/>
                  </a:lnTo>
                  <a:lnTo>
                    <a:pt x="1817" y="3490"/>
                  </a:lnTo>
                  <a:lnTo>
                    <a:pt x="1817" y="0"/>
                  </a:lnTo>
                  <a:lnTo>
                    <a:pt x="0" y="35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96" name="Freihandform: Form 295">
              <a:extLst>
                <a:ext uri="{FF2B5EF4-FFF2-40B4-BE49-F238E27FC236}">
                  <a16:creationId xmlns:a16="http://schemas.microsoft.com/office/drawing/2014/main" id="{B6DB62AB-F973-2108-42B5-74103ACD1583}"/>
                </a:ext>
              </a:extLst>
            </p:cNvPr>
            <p:cNvSpPr/>
            <p:nvPr/>
          </p:nvSpPr>
          <p:spPr>
            <a:xfrm>
              <a:off x="4959515" y="2427243"/>
              <a:ext cx="1588" cy="0"/>
            </a:xfrm>
            <a:custGeom>
              <a:avLst/>
              <a:gdLst>
                <a:gd name="connsiteX0" fmla="*/ 1118 w 1118"/>
                <a:gd name="connsiteY0" fmla="*/ 0 h 255"/>
                <a:gd name="connsiteX1" fmla="*/ 0 w 1118"/>
                <a:gd name="connsiteY1" fmla="*/ 0 h 255"/>
                <a:gd name="connsiteX2" fmla="*/ 1027 w 1118"/>
                <a:gd name="connsiteY2" fmla="*/ 256 h 255"/>
                <a:gd name="connsiteX3" fmla="*/ 1118 w 1118"/>
                <a:gd name="connsiteY3" fmla="*/ 0 h 255"/>
              </a:gdLst>
              <a:ahLst/>
              <a:cxnLst>
                <a:cxn ang="0">
                  <a:pos x="connsiteX0" y="connsiteY0"/>
                </a:cxn>
                <a:cxn ang="0">
                  <a:pos x="connsiteX1" y="connsiteY1"/>
                </a:cxn>
                <a:cxn ang="0">
                  <a:pos x="connsiteX2" y="connsiteY2"/>
                </a:cxn>
                <a:cxn ang="0">
                  <a:pos x="connsiteX3" y="connsiteY3"/>
                </a:cxn>
              </a:cxnLst>
              <a:rect l="l" t="t" r="r" b="b"/>
              <a:pathLst>
                <a:path w="1118" h="255">
                  <a:moveTo>
                    <a:pt x="1118" y="0"/>
                  </a:moveTo>
                  <a:lnTo>
                    <a:pt x="0" y="0"/>
                  </a:lnTo>
                  <a:lnTo>
                    <a:pt x="1027" y="256"/>
                  </a:lnTo>
                  <a:cubicBezTo>
                    <a:pt x="1051" y="169"/>
                    <a:pt x="1080" y="87"/>
                    <a:pt x="1118"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97" name="Freihandform: Form 296">
              <a:extLst>
                <a:ext uri="{FF2B5EF4-FFF2-40B4-BE49-F238E27FC236}">
                  <a16:creationId xmlns:a16="http://schemas.microsoft.com/office/drawing/2014/main" id="{C60CD5A1-87ED-55CF-B113-E80D1D98D282}"/>
                </a:ext>
              </a:extLst>
            </p:cNvPr>
            <p:cNvSpPr/>
            <p:nvPr/>
          </p:nvSpPr>
          <p:spPr>
            <a:xfrm>
              <a:off x="5754763" y="3594099"/>
              <a:ext cx="14285" cy="12700"/>
            </a:xfrm>
            <a:custGeom>
              <a:avLst/>
              <a:gdLst>
                <a:gd name="connsiteX0" fmla="*/ 487 w 11767"/>
                <a:gd name="connsiteY0" fmla="*/ 3027 h 10027"/>
                <a:gd name="connsiteX1" fmla="*/ 1118 w 11767"/>
                <a:gd name="connsiteY1" fmla="*/ 4811 h 10027"/>
                <a:gd name="connsiteX2" fmla="*/ 829 w 11767"/>
                <a:gd name="connsiteY2" fmla="*/ 6156 h 10027"/>
                <a:gd name="connsiteX3" fmla="*/ 1118 w 11767"/>
                <a:gd name="connsiteY3" fmla="*/ 7689 h 10027"/>
                <a:gd name="connsiteX4" fmla="*/ 1080 w 11767"/>
                <a:gd name="connsiteY4" fmla="*/ 8446 h 10027"/>
                <a:gd name="connsiteX5" fmla="*/ 1061 w 11767"/>
                <a:gd name="connsiteY5" fmla="*/ 8590 h 10027"/>
                <a:gd name="connsiteX6" fmla="*/ 4667 w 11767"/>
                <a:gd name="connsiteY6" fmla="*/ 8590 h 10027"/>
                <a:gd name="connsiteX7" fmla="*/ 6050 w 11767"/>
                <a:gd name="connsiteY7" fmla="*/ 9150 h 10027"/>
                <a:gd name="connsiteX8" fmla="*/ 6296 w 11767"/>
                <a:gd name="connsiteY8" fmla="*/ 10027 h 10027"/>
                <a:gd name="connsiteX9" fmla="*/ 6778 w 11767"/>
                <a:gd name="connsiteY9" fmla="*/ 9352 h 10027"/>
                <a:gd name="connsiteX10" fmla="*/ 8084 w 11767"/>
                <a:gd name="connsiteY10" fmla="*/ 8590 h 10027"/>
                <a:gd name="connsiteX11" fmla="*/ 11768 w 11767"/>
                <a:gd name="connsiteY11" fmla="*/ 8229 h 10027"/>
                <a:gd name="connsiteX12" fmla="*/ 8904 w 11767"/>
                <a:gd name="connsiteY12" fmla="*/ 7390 h 10027"/>
                <a:gd name="connsiteX13" fmla="*/ 8403 w 11767"/>
                <a:gd name="connsiteY13" fmla="*/ 7135 h 10027"/>
                <a:gd name="connsiteX14" fmla="*/ 2449 w 11767"/>
                <a:gd name="connsiteY14" fmla="*/ 2960 h 10027"/>
                <a:gd name="connsiteX15" fmla="*/ 1933 w 11767"/>
                <a:gd name="connsiteY15" fmla="*/ 2391 h 10027"/>
                <a:gd name="connsiteX16" fmla="*/ 487 w 11767"/>
                <a:gd name="connsiteY16" fmla="*/ 0 h 10027"/>
                <a:gd name="connsiteX17" fmla="*/ 0 w 11767"/>
                <a:gd name="connsiteY17" fmla="*/ 1586 h 10027"/>
                <a:gd name="connsiteX18" fmla="*/ 207 w 11767"/>
                <a:gd name="connsiteY18" fmla="*/ 2835 h 10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767" h="10027">
                  <a:moveTo>
                    <a:pt x="487" y="3027"/>
                  </a:moveTo>
                  <a:lnTo>
                    <a:pt x="1118" y="4811"/>
                  </a:lnTo>
                  <a:lnTo>
                    <a:pt x="829" y="6156"/>
                  </a:lnTo>
                  <a:lnTo>
                    <a:pt x="1118" y="7689"/>
                  </a:lnTo>
                  <a:lnTo>
                    <a:pt x="1080" y="8446"/>
                  </a:lnTo>
                  <a:lnTo>
                    <a:pt x="1061" y="8590"/>
                  </a:lnTo>
                  <a:lnTo>
                    <a:pt x="4667" y="8590"/>
                  </a:lnTo>
                  <a:lnTo>
                    <a:pt x="6050" y="9150"/>
                  </a:lnTo>
                  <a:lnTo>
                    <a:pt x="6296" y="10027"/>
                  </a:lnTo>
                  <a:lnTo>
                    <a:pt x="6778" y="9352"/>
                  </a:lnTo>
                  <a:lnTo>
                    <a:pt x="8084" y="8590"/>
                  </a:lnTo>
                  <a:lnTo>
                    <a:pt x="11768" y="8229"/>
                  </a:lnTo>
                  <a:lnTo>
                    <a:pt x="8904" y="7390"/>
                  </a:lnTo>
                  <a:lnTo>
                    <a:pt x="8403" y="7135"/>
                  </a:lnTo>
                  <a:lnTo>
                    <a:pt x="2449" y="2960"/>
                  </a:lnTo>
                  <a:lnTo>
                    <a:pt x="1933" y="2391"/>
                  </a:lnTo>
                  <a:lnTo>
                    <a:pt x="487" y="0"/>
                  </a:lnTo>
                  <a:lnTo>
                    <a:pt x="0" y="1586"/>
                  </a:lnTo>
                  <a:lnTo>
                    <a:pt x="207" y="283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98" name="Freihandform: Form 297">
              <a:extLst>
                <a:ext uri="{FF2B5EF4-FFF2-40B4-BE49-F238E27FC236}">
                  <a16:creationId xmlns:a16="http://schemas.microsoft.com/office/drawing/2014/main" id="{F4730857-1608-13D9-DC83-2250E4E56763}"/>
                </a:ext>
              </a:extLst>
            </p:cNvPr>
            <p:cNvSpPr/>
            <p:nvPr/>
          </p:nvSpPr>
          <p:spPr>
            <a:xfrm>
              <a:off x="5515077" y="1700140"/>
              <a:ext cx="15873" cy="19051"/>
            </a:xfrm>
            <a:custGeom>
              <a:avLst/>
              <a:gdLst>
                <a:gd name="connsiteX0" fmla="*/ 9617 w 12095"/>
                <a:gd name="connsiteY0" fmla="*/ 14168 h 15045"/>
                <a:gd name="connsiteX1" fmla="*/ 10606 w 12095"/>
                <a:gd name="connsiteY1" fmla="*/ 8832 h 15045"/>
                <a:gd name="connsiteX2" fmla="*/ 10625 w 12095"/>
                <a:gd name="connsiteY2" fmla="*/ 8706 h 15045"/>
                <a:gd name="connsiteX3" fmla="*/ 12095 w 12095"/>
                <a:gd name="connsiteY3" fmla="*/ 3278 h 15045"/>
                <a:gd name="connsiteX4" fmla="*/ 8089 w 12095"/>
                <a:gd name="connsiteY4" fmla="*/ 0 h 15045"/>
                <a:gd name="connsiteX5" fmla="*/ 5954 w 12095"/>
                <a:gd name="connsiteY5" fmla="*/ 3563 h 15045"/>
                <a:gd name="connsiteX6" fmla="*/ 7029 w 12095"/>
                <a:gd name="connsiteY6" fmla="*/ 8807 h 15045"/>
                <a:gd name="connsiteX7" fmla="*/ 6103 w 12095"/>
                <a:gd name="connsiteY7" fmla="*/ 10774 h 15045"/>
                <a:gd name="connsiteX8" fmla="*/ 0 w 12095"/>
                <a:gd name="connsiteY8" fmla="*/ 14096 h 15045"/>
                <a:gd name="connsiteX9" fmla="*/ 5216 w 12095"/>
                <a:gd name="connsiteY9" fmla="*/ 15045 h 15045"/>
                <a:gd name="connsiteX10" fmla="*/ 9617 w 12095"/>
                <a:gd name="connsiteY10" fmla="*/ 14168 h 15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95" h="15045">
                  <a:moveTo>
                    <a:pt x="9617" y="14168"/>
                  </a:moveTo>
                  <a:lnTo>
                    <a:pt x="10606" y="8832"/>
                  </a:lnTo>
                  <a:lnTo>
                    <a:pt x="10625" y="8706"/>
                  </a:lnTo>
                  <a:lnTo>
                    <a:pt x="12095" y="3278"/>
                  </a:lnTo>
                  <a:lnTo>
                    <a:pt x="8089" y="0"/>
                  </a:lnTo>
                  <a:lnTo>
                    <a:pt x="5954" y="3563"/>
                  </a:lnTo>
                  <a:lnTo>
                    <a:pt x="7029" y="8807"/>
                  </a:lnTo>
                  <a:cubicBezTo>
                    <a:pt x="7168" y="9598"/>
                    <a:pt x="6802" y="10398"/>
                    <a:pt x="6103" y="10774"/>
                  </a:cubicBezTo>
                  <a:lnTo>
                    <a:pt x="0" y="14096"/>
                  </a:lnTo>
                  <a:lnTo>
                    <a:pt x="5216" y="15045"/>
                  </a:lnTo>
                  <a:lnTo>
                    <a:pt x="9617" y="1416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99" name="Freihandform: Form 298">
              <a:extLst>
                <a:ext uri="{FF2B5EF4-FFF2-40B4-BE49-F238E27FC236}">
                  <a16:creationId xmlns:a16="http://schemas.microsoft.com/office/drawing/2014/main" id="{0EC0F198-701C-98FD-C7BE-EB24174A8887}"/>
                </a:ext>
              </a:extLst>
            </p:cNvPr>
            <p:cNvSpPr/>
            <p:nvPr/>
          </p:nvSpPr>
          <p:spPr>
            <a:xfrm>
              <a:off x="5703969" y="1269911"/>
              <a:ext cx="34921" cy="19051"/>
            </a:xfrm>
            <a:custGeom>
              <a:avLst/>
              <a:gdLst>
                <a:gd name="connsiteX0" fmla="*/ 0 w 27116"/>
                <a:gd name="connsiteY0" fmla="*/ 5693 h 14973"/>
                <a:gd name="connsiteX1" fmla="*/ 1104 w 27116"/>
                <a:gd name="connsiteY1" fmla="*/ 5081 h 14973"/>
                <a:gd name="connsiteX2" fmla="*/ 1292 w 27116"/>
                <a:gd name="connsiteY2" fmla="*/ 5004 h 14973"/>
                <a:gd name="connsiteX3" fmla="*/ 7241 w 27116"/>
                <a:gd name="connsiteY3" fmla="*/ 2622 h 14973"/>
                <a:gd name="connsiteX4" fmla="*/ 9063 w 27116"/>
                <a:gd name="connsiteY4" fmla="*/ 2912 h 14973"/>
                <a:gd name="connsiteX5" fmla="*/ 9714 w 27116"/>
                <a:gd name="connsiteY5" fmla="*/ 4618 h 14973"/>
                <a:gd name="connsiteX6" fmla="*/ 9106 w 27116"/>
                <a:gd name="connsiteY6" fmla="*/ 7935 h 14973"/>
                <a:gd name="connsiteX7" fmla="*/ 14992 w 27116"/>
                <a:gd name="connsiteY7" fmla="*/ 5582 h 14973"/>
                <a:gd name="connsiteX8" fmla="*/ 16159 w 27116"/>
                <a:gd name="connsiteY8" fmla="*/ 5534 h 14973"/>
                <a:gd name="connsiteX9" fmla="*/ 22137 w 27116"/>
                <a:gd name="connsiteY9" fmla="*/ 7337 h 14973"/>
                <a:gd name="connsiteX10" fmla="*/ 23241 w 27116"/>
                <a:gd name="connsiteY10" fmla="*/ 8263 h 14973"/>
                <a:gd name="connsiteX11" fmla="*/ 26191 w 27116"/>
                <a:gd name="connsiteY11" fmla="*/ 14178 h 14973"/>
                <a:gd name="connsiteX12" fmla="*/ 26625 w 27116"/>
                <a:gd name="connsiteY12" fmla="*/ 14973 h 14973"/>
                <a:gd name="connsiteX13" fmla="*/ 26345 w 27116"/>
                <a:gd name="connsiteY13" fmla="*/ 10697 h 14973"/>
                <a:gd name="connsiteX14" fmla="*/ 26938 w 27116"/>
                <a:gd name="connsiteY14" fmla="*/ 4165 h 14973"/>
                <a:gd name="connsiteX15" fmla="*/ 27116 w 27116"/>
                <a:gd name="connsiteY15" fmla="*/ 3678 h 14973"/>
                <a:gd name="connsiteX16" fmla="*/ 26943 w 27116"/>
                <a:gd name="connsiteY16" fmla="*/ 3760 h 14973"/>
                <a:gd name="connsiteX17" fmla="*/ 14486 w 27116"/>
                <a:gd name="connsiteY17" fmla="*/ 3760 h 14973"/>
                <a:gd name="connsiteX18" fmla="*/ 13652 w 27116"/>
                <a:gd name="connsiteY18" fmla="*/ 3567 h 14973"/>
                <a:gd name="connsiteX19" fmla="*/ 7689 w 27116"/>
                <a:gd name="connsiteY19" fmla="*/ 569 h 14973"/>
                <a:gd name="connsiteX20" fmla="*/ 7106 w 27116"/>
                <a:gd name="connsiteY20" fmla="*/ 0 h 14973"/>
                <a:gd name="connsiteX21" fmla="*/ 6474 w 27116"/>
                <a:gd name="connsiteY21" fmla="*/ 1133 h 14973"/>
                <a:gd name="connsiteX22" fmla="*/ 873 w 27116"/>
                <a:gd name="connsiteY22" fmla="*/ 4498 h 14973"/>
                <a:gd name="connsiteX23" fmla="*/ 0 w 27116"/>
                <a:gd name="connsiteY23" fmla="*/ 5693 h 14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116" h="14973">
                  <a:moveTo>
                    <a:pt x="0" y="5693"/>
                  </a:moveTo>
                  <a:lnTo>
                    <a:pt x="1104" y="5081"/>
                  </a:lnTo>
                  <a:lnTo>
                    <a:pt x="1292" y="5004"/>
                  </a:lnTo>
                  <a:lnTo>
                    <a:pt x="7241" y="2622"/>
                  </a:lnTo>
                  <a:lnTo>
                    <a:pt x="9063" y="2912"/>
                  </a:lnTo>
                  <a:lnTo>
                    <a:pt x="9714" y="4618"/>
                  </a:lnTo>
                  <a:lnTo>
                    <a:pt x="9106" y="7935"/>
                  </a:lnTo>
                  <a:lnTo>
                    <a:pt x="14992" y="5582"/>
                  </a:lnTo>
                  <a:lnTo>
                    <a:pt x="16159" y="5534"/>
                  </a:lnTo>
                  <a:lnTo>
                    <a:pt x="22137" y="7337"/>
                  </a:lnTo>
                  <a:lnTo>
                    <a:pt x="23241" y="8263"/>
                  </a:lnTo>
                  <a:lnTo>
                    <a:pt x="26191" y="14178"/>
                  </a:lnTo>
                  <a:lnTo>
                    <a:pt x="26625" y="14973"/>
                  </a:lnTo>
                  <a:cubicBezTo>
                    <a:pt x="26514" y="13826"/>
                    <a:pt x="26461" y="12433"/>
                    <a:pt x="26345" y="10697"/>
                  </a:cubicBezTo>
                  <a:lnTo>
                    <a:pt x="26938" y="4165"/>
                  </a:lnTo>
                  <a:lnTo>
                    <a:pt x="27116" y="3678"/>
                  </a:lnTo>
                  <a:lnTo>
                    <a:pt x="26943" y="3760"/>
                  </a:lnTo>
                  <a:lnTo>
                    <a:pt x="14486" y="3760"/>
                  </a:lnTo>
                  <a:lnTo>
                    <a:pt x="13652" y="3567"/>
                  </a:lnTo>
                  <a:lnTo>
                    <a:pt x="7689" y="569"/>
                  </a:lnTo>
                  <a:cubicBezTo>
                    <a:pt x="7462" y="453"/>
                    <a:pt x="7289" y="222"/>
                    <a:pt x="7106" y="0"/>
                  </a:cubicBezTo>
                  <a:lnTo>
                    <a:pt x="6474" y="1133"/>
                  </a:lnTo>
                  <a:lnTo>
                    <a:pt x="873" y="4498"/>
                  </a:lnTo>
                  <a:lnTo>
                    <a:pt x="0" y="569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00" name="Freihandform: Form 299">
              <a:extLst>
                <a:ext uri="{FF2B5EF4-FFF2-40B4-BE49-F238E27FC236}">
                  <a16:creationId xmlns:a16="http://schemas.microsoft.com/office/drawing/2014/main" id="{9FE7E0AE-011E-ADC9-D135-5EDF38DF9619}"/>
                </a:ext>
              </a:extLst>
            </p:cNvPr>
            <p:cNvSpPr/>
            <p:nvPr/>
          </p:nvSpPr>
          <p:spPr>
            <a:xfrm>
              <a:off x="4973801" y="2463756"/>
              <a:ext cx="4761" cy="6350"/>
            </a:xfrm>
            <a:custGeom>
              <a:avLst/>
              <a:gdLst>
                <a:gd name="connsiteX0" fmla="*/ 4449 w 4449"/>
                <a:gd name="connsiteY0" fmla="*/ 5057 h 5056"/>
                <a:gd name="connsiteX1" fmla="*/ 4097 w 4449"/>
                <a:gd name="connsiteY1" fmla="*/ 1200 h 5056"/>
                <a:gd name="connsiteX2" fmla="*/ 0 w 4449"/>
                <a:gd name="connsiteY2" fmla="*/ 0 h 5056"/>
                <a:gd name="connsiteX3" fmla="*/ 4160 w 4449"/>
                <a:gd name="connsiteY3" fmla="*/ 4531 h 5056"/>
              </a:gdLst>
              <a:ahLst/>
              <a:cxnLst>
                <a:cxn ang="0">
                  <a:pos x="connsiteX0" y="connsiteY0"/>
                </a:cxn>
                <a:cxn ang="0">
                  <a:pos x="connsiteX1" y="connsiteY1"/>
                </a:cxn>
                <a:cxn ang="0">
                  <a:pos x="connsiteX2" y="connsiteY2"/>
                </a:cxn>
                <a:cxn ang="0">
                  <a:pos x="connsiteX3" y="connsiteY3"/>
                </a:cxn>
              </a:cxnLst>
              <a:rect l="l" t="t" r="r" b="b"/>
              <a:pathLst>
                <a:path w="4449" h="5056">
                  <a:moveTo>
                    <a:pt x="4449" y="5057"/>
                  </a:moveTo>
                  <a:lnTo>
                    <a:pt x="4097" y="1200"/>
                  </a:lnTo>
                  <a:lnTo>
                    <a:pt x="0" y="0"/>
                  </a:lnTo>
                  <a:lnTo>
                    <a:pt x="4160" y="453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01" name="Freihandform: Form 300">
              <a:extLst>
                <a:ext uri="{FF2B5EF4-FFF2-40B4-BE49-F238E27FC236}">
                  <a16:creationId xmlns:a16="http://schemas.microsoft.com/office/drawing/2014/main" id="{C23A0FAB-2219-9B18-8D9A-73CFE200396E}"/>
                </a:ext>
              </a:extLst>
            </p:cNvPr>
            <p:cNvSpPr/>
            <p:nvPr/>
          </p:nvSpPr>
          <p:spPr>
            <a:xfrm>
              <a:off x="5353170" y="1954150"/>
              <a:ext cx="12699" cy="7937"/>
            </a:xfrm>
            <a:custGeom>
              <a:avLst/>
              <a:gdLst>
                <a:gd name="connsiteX0" fmla="*/ 5688 w 9776"/>
                <a:gd name="connsiteY0" fmla="*/ 3047 h 6102"/>
                <a:gd name="connsiteX1" fmla="*/ 7443 w 9776"/>
                <a:gd name="connsiteY1" fmla="*/ 2357 h 6102"/>
                <a:gd name="connsiteX2" fmla="*/ 9227 w 9776"/>
                <a:gd name="connsiteY2" fmla="*/ 2651 h 6102"/>
                <a:gd name="connsiteX3" fmla="*/ 9039 w 9776"/>
                <a:gd name="connsiteY3" fmla="*/ 1610 h 6102"/>
                <a:gd name="connsiteX4" fmla="*/ 9776 w 9776"/>
                <a:gd name="connsiteY4" fmla="*/ 0 h 6102"/>
                <a:gd name="connsiteX5" fmla="*/ 0 w 9776"/>
                <a:gd name="connsiteY5" fmla="*/ 6103 h 6102"/>
                <a:gd name="connsiteX6" fmla="*/ 4276 w 9776"/>
                <a:gd name="connsiteY6" fmla="*/ 4927 h 6102"/>
                <a:gd name="connsiteX7" fmla="*/ 5688 w 9776"/>
                <a:gd name="connsiteY7" fmla="*/ 3047 h 6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76" h="6102">
                  <a:moveTo>
                    <a:pt x="5688" y="3047"/>
                  </a:moveTo>
                  <a:lnTo>
                    <a:pt x="7443" y="2357"/>
                  </a:lnTo>
                  <a:lnTo>
                    <a:pt x="9227" y="2651"/>
                  </a:lnTo>
                  <a:lnTo>
                    <a:pt x="9039" y="1610"/>
                  </a:lnTo>
                  <a:lnTo>
                    <a:pt x="9776" y="0"/>
                  </a:lnTo>
                  <a:cubicBezTo>
                    <a:pt x="5023" y="3533"/>
                    <a:pt x="2497" y="4927"/>
                    <a:pt x="0" y="6103"/>
                  </a:cubicBezTo>
                  <a:lnTo>
                    <a:pt x="4276" y="4927"/>
                  </a:lnTo>
                  <a:lnTo>
                    <a:pt x="5688" y="304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02" name="Freihandform: Form 301">
              <a:extLst>
                <a:ext uri="{FF2B5EF4-FFF2-40B4-BE49-F238E27FC236}">
                  <a16:creationId xmlns:a16="http://schemas.microsoft.com/office/drawing/2014/main" id="{72909D08-8D25-D0C2-F41F-0840CFB86FA9}"/>
                </a:ext>
              </a:extLst>
            </p:cNvPr>
            <p:cNvSpPr/>
            <p:nvPr/>
          </p:nvSpPr>
          <p:spPr>
            <a:xfrm>
              <a:off x="5440474" y="1903348"/>
              <a:ext cx="34921" cy="25401"/>
            </a:xfrm>
            <a:custGeom>
              <a:avLst/>
              <a:gdLst>
                <a:gd name="connsiteX0" fmla="*/ 15282 w 27858"/>
                <a:gd name="connsiteY0" fmla="*/ 9492 h 20160"/>
                <a:gd name="connsiteX1" fmla="*/ 16039 w 27858"/>
                <a:gd name="connsiteY1" fmla="*/ 8938 h 20160"/>
                <a:gd name="connsiteX2" fmla="*/ 21929 w 27858"/>
                <a:gd name="connsiteY2" fmla="*/ 6566 h 20160"/>
                <a:gd name="connsiteX3" fmla="*/ 26765 w 27858"/>
                <a:gd name="connsiteY3" fmla="*/ 4411 h 20160"/>
                <a:gd name="connsiteX4" fmla="*/ 27859 w 27858"/>
                <a:gd name="connsiteY4" fmla="*/ 2632 h 20160"/>
                <a:gd name="connsiteX5" fmla="*/ 24272 w 27858"/>
                <a:gd name="connsiteY5" fmla="*/ 2299 h 20160"/>
                <a:gd name="connsiteX6" fmla="*/ 24099 w 27858"/>
                <a:gd name="connsiteY6" fmla="*/ 2299 h 20160"/>
                <a:gd name="connsiteX7" fmla="*/ 17562 w 27858"/>
                <a:gd name="connsiteY7" fmla="*/ 1104 h 20160"/>
                <a:gd name="connsiteX8" fmla="*/ 16313 w 27858"/>
                <a:gd name="connsiteY8" fmla="*/ 0 h 20160"/>
                <a:gd name="connsiteX9" fmla="*/ 0 w 27858"/>
                <a:gd name="connsiteY9" fmla="*/ 18116 h 20160"/>
                <a:gd name="connsiteX10" fmla="*/ 4522 w 27858"/>
                <a:gd name="connsiteY10" fmla="*/ 18955 h 20160"/>
                <a:gd name="connsiteX11" fmla="*/ 5761 w 27858"/>
                <a:gd name="connsiteY11" fmla="*/ 20160 h 20160"/>
                <a:gd name="connsiteX12" fmla="*/ 10572 w 27858"/>
                <a:gd name="connsiteY12" fmla="*/ 15339 h 20160"/>
                <a:gd name="connsiteX13" fmla="*/ 15282 w 27858"/>
                <a:gd name="connsiteY13" fmla="*/ 9492 h 2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858" h="20160">
                  <a:moveTo>
                    <a:pt x="15282" y="9492"/>
                  </a:moveTo>
                  <a:lnTo>
                    <a:pt x="16039" y="8938"/>
                  </a:lnTo>
                  <a:lnTo>
                    <a:pt x="21929" y="6566"/>
                  </a:lnTo>
                  <a:lnTo>
                    <a:pt x="26765" y="4411"/>
                  </a:lnTo>
                  <a:lnTo>
                    <a:pt x="27859" y="2632"/>
                  </a:lnTo>
                  <a:lnTo>
                    <a:pt x="24272" y="2299"/>
                  </a:lnTo>
                  <a:lnTo>
                    <a:pt x="24099" y="2299"/>
                  </a:lnTo>
                  <a:lnTo>
                    <a:pt x="17562" y="1104"/>
                  </a:lnTo>
                  <a:cubicBezTo>
                    <a:pt x="16940" y="988"/>
                    <a:pt x="16564" y="540"/>
                    <a:pt x="16313" y="0"/>
                  </a:cubicBezTo>
                  <a:cubicBezTo>
                    <a:pt x="7651" y="13001"/>
                    <a:pt x="10181" y="6103"/>
                    <a:pt x="0" y="18116"/>
                  </a:cubicBezTo>
                  <a:lnTo>
                    <a:pt x="4522" y="18955"/>
                  </a:lnTo>
                  <a:lnTo>
                    <a:pt x="5761" y="20160"/>
                  </a:lnTo>
                  <a:lnTo>
                    <a:pt x="10572" y="15339"/>
                  </a:lnTo>
                  <a:lnTo>
                    <a:pt x="15282" y="949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03" name="Freihandform: Form 302">
              <a:extLst>
                <a:ext uri="{FF2B5EF4-FFF2-40B4-BE49-F238E27FC236}">
                  <a16:creationId xmlns:a16="http://schemas.microsoft.com/office/drawing/2014/main" id="{2602542D-6ECB-C750-B878-22E081D17D24}"/>
                </a:ext>
              </a:extLst>
            </p:cNvPr>
            <p:cNvSpPr/>
            <p:nvPr/>
          </p:nvSpPr>
          <p:spPr>
            <a:xfrm>
              <a:off x="5716667" y="1223872"/>
              <a:ext cx="17460" cy="19051"/>
            </a:xfrm>
            <a:custGeom>
              <a:avLst/>
              <a:gdLst>
                <a:gd name="connsiteX0" fmla="*/ 7915 w 13676"/>
                <a:gd name="connsiteY0" fmla="*/ 12548 h 15209"/>
                <a:gd name="connsiteX1" fmla="*/ 13238 w 13676"/>
                <a:gd name="connsiteY1" fmla="*/ 15209 h 15209"/>
                <a:gd name="connsiteX2" fmla="*/ 13676 w 13676"/>
                <a:gd name="connsiteY2" fmla="*/ 15123 h 15209"/>
                <a:gd name="connsiteX3" fmla="*/ 11531 w 13676"/>
                <a:gd name="connsiteY3" fmla="*/ 13941 h 15209"/>
                <a:gd name="connsiteX4" fmla="*/ 10576 w 13676"/>
                <a:gd name="connsiteY4" fmla="*/ 12370 h 15209"/>
                <a:gd name="connsiteX5" fmla="*/ 10576 w 13676"/>
                <a:gd name="connsiteY5" fmla="*/ 5828 h 15209"/>
                <a:gd name="connsiteX6" fmla="*/ 11213 w 13676"/>
                <a:gd name="connsiteY6" fmla="*/ 4440 h 15209"/>
                <a:gd name="connsiteX7" fmla="*/ 12568 w 13676"/>
                <a:gd name="connsiteY7" fmla="*/ 4054 h 15209"/>
                <a:gd name="connsiteX8" fmla="*/ 7405 w 13676"/>
                <a:gd name="connsiteY8" fmla="*/ 1504 h 15209"/>
                <a:gd name="connsiteX9" fmla="*/ 6503 w 13676"/>
                <a:gd name="connsiteY9" fmla="*/ 0 h 15209"/>
                <a:gd name="connsiteX10" fmla="*/ 0 w 13676"/>
                <a:gd name="connsiteY10" fmla="*/ 9193 h 15209"/>
                <a:gd name="connsiteX11" fmla="*/ 2020 w 13676"/>
                <a:gd name="connsiteY11" fmla="*/ 9024 h 15209"/>
                <a:gd name="connsiteX12" fmla="*/ 7915 w 13676"/>
                <a:gd name="connsiteY12" fmla="*/ 12548 h 1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676" h="15209">
                  <a:moveTo>
                    <a:pt x="7915" y="12548"/>
                  </a:moveTo>
                  <a:lnTo>
                    <a:pt x="13238" y="15209"/>
                  </a:lnTo>
                  <a:lnTo>
                    <a:pt x="13676" y="15123"/>
                  </a:lnTo>
                  <a:lnTo>
                    <a:pt x="11531" y="13941"/>
                  </a:lnTo>
                  <a:lnTo>
                    <a:pt x="10576" y="12370"/>
                  </a:lnTo>
                  <a:lnTo>
                    <a:pt x="10576" y="5828"/>
                  </a:lnTo>
                  <a:lnTo>
                    <a:pt x="11213" y="4440"/>
                  </a:lnTo>
                  <a:lnTo>
                    <a:pt x="12568" y="4054"/>
                  </a:lnTo>
                  <a:lnTo>
                    <a:pt x="7405" y="1504"/>
                  </a:lnTo>
                  <a:lnTo>
                    <a:pt x="6503" y="0"/>
                  </a:lnTo>
                  <a:cubicBezTo>
                    <a:pt x="4609" y="2878"/>
                    <a:pt x="2449" y="6079"/>
                    <a:pt x="0" y="9193"/>
                  </a:cubicBezTo>
                  <a:lnTo>
                    <a:pt x="2020" y="9024"/>
                  </a:lnTo>
                  <a:lnTo>
                    <a:pt x="7915" y="1254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04" name="Freihandform: Form 303">
              <a:extLst>
                <a:ext uri="{FF2B5EF4-FFF2-40B4-BE49-F238E27FC236}">
                  <a16:creationId xmlns:a16="http://schemas.microsoft.com/office/drawing/2014/main" id="{17D407C1-CA1D-C40E-44A0-F8BF303EE331}"/>
                </a:ext>
              </a:extLst>
            </p:cNvPr>
            <p:cNvSpPr/>
            <p:nvPr/>
          </p:nvSpPr>
          <p:spPr>
            <a:xfrm>
              <a:off x="5299202" y="2019239"/>
              <a:ext cx="9524" cy="7938"/>
            </a:xfrm>
            <a:custGeom>
              <a:avLst/>
              <a:gdLst>
                <a:gd name="connsiteX0" fmla="*/ 2859 w 7530"/>
                <a:gd name="connsiteY0" fmla="*/ 4401 h 7076"/>
                <a:gd name="connsiteX1" fmla="*/ 7530 w 7530"/>
                <a:gd name="connsiteY1" fmla="*/ 2275 h 7076"/>
                <a:gd name="connsiteX2" fmla="*/ 2979 w 7530"/>
                <a:gd name="connsiteY2" fmla="*/ 632 h 7076"/>
                <a:gd name="connsiteX3" fmla="*/ 2194 w 7530"/>
                <a:gd name="connsiteY3" fmla="*/ 0 h 7076"/>
                <a:gd name="connsiteX4" fmla="*/ 627 w 7530"/>
                <a:gd name="connsiteY4" fmla="*/ 5934 h 7076"/>
                <a:gd name="connsiteX5" fmla="*/ 444 w 7530"/>
                <a:gd name="connsiteY5" fmla="*/ 6378 h 7076"/>
                <a:gd name="connsiteX6" fmla="*/ 0 w 7530"/>
                <a:gd name="connsiteY6" fmla="*/ 7077 h 7076"/>
                <a:gd name="connsiteX7" fmla="*/ 2309 w 7530"/>
                <a:gd name="connsiteY7" fmla="*/ 4787 h 7076"/>
                <a:gd name="connsiteX8" fmla="*/ 2859 w 7530"/>
                <a:gd name="connsiteY8" fmla="*/ 4401 h 7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0" h="7076">
                  <a:moveTo>
                    <a:pt x="2859" y="4401"/>
                  </a:moveTo>
                  <a:lnTo>
                    <a:pt x="7530" y="2275"/>
                  </a:lnTo>
                  <a:lnTo>
                    <a:pt x="2979" y="632"/>
                  </a:lnTo>
                  <a:cubicBezTo>
                    <a:pt x="2651" y="492"/>
                    <a:pt x="2420" y="270"/>
                    <a:pt x="2194" y="0"/>
                  </a:cubicBezTo>
                  <a:lnTo>
                    <a:pt x="627" y="5934"/>
                  </a:lnTo>
                  <a:lnTo>
                    <a:pt x="444" y="6378"/>
                  </a:lnTo>
                  <a:lnTo>
                    <a:pt x="0" y="7077"/>
                  </a:lnTo>
                  <a:lnTo>
                    <a:pt x="2309" y="4787"/>
                  </a:lnTo>
                  <a:lnTo>
                    <a:pt x="2859" y="440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05" name="Freihandform: Form 304">
              <a:extLst>
                <a:ext uri="{FF2B5EF4-FFF2-40B4-BE49-F238E27FC236}">
                  <a16:creationId xmlns:a16="http://schemas.microsoft.com/office/drawing/2014/main" id="{A60B2A98-E7A0-BEAD-0760-5693A7EA57A5}"/>
                </a:ext>
              </a:extLst>
            </p:cNvPr>
            <p:cNvSpPr/>
            <p:nvPr/>
          </p:nvSpPr>
          <p:spPr>
            <a:xfrm>
              <a:off x="5007135" y="2684427"/>
              <a:ext cx="19048" cy="12700"/>
            </a:xfrm>
            <a:custGeom>
              <a:avLst/>
              <a:gdLst>
                <a:gd name="connsiteX0" fmla="*/ 10977 w 14389"/>
                <a:gd name="connsiteY0" fmla="*/ 2651 h 9708"/>
                <a:gd name="connsiteX1" fmla="*/ 14390 w 14389"/>
                <a:gd name="connsiteY1" fmla="*/ 2049 h 9708"/>
                <a:gd name="connsiteX2" fmla="*/ 11883 w 14389"/>
                <a:gd name="connsiteY2" fmla="*/ 1557 h 9708"/>
                <a:gd name="connsiteX3" fmla="*/ 5664 w 14389"/>
                <a:gd name="connsiteY3" fmla="*/ 2675 h 9708"/>
                <a:gd name="connsiteX4" fmla="*/ 4319 w 14389"/>
                <a:gd name="connsiteY4" fmla="*/ 2377 h 9708"/>
                <a:gd name="connsiteX5" fmla="*/ 926 w 14389"/>
                <a:gd name="connsiteY5" fmla="*/ 0 h 9708"/>
                <a:gd name="connsiteX6" fmla="*/ 608 w 14389"/>
                <a:gd name="connsiteY6" fmla="*/ 3408 h 9708"/>
                <a:gd name="connsiteX7" fmla="*/ 0 w 14389"/>
                <a:gd name="connsiteY7" fmla="*/ 4531 h 9708"/>
                <a:gd name="connsiteX8" fmla="*/ 1687 w 14389"/>
                <a:gd name="connsiteY8" fmla="*/ 5553 h 9708"/>
                <a:gd name="connsiteX9" fmla="*/ 3350 w 14389"/>
                <a:gd name="connsiteY9" fmla="*/ 9709 h 9708"/>
                <a:gd name="connsiteX10" fmla="*/ 3529 w 14389"/>
                <a:gd name="connsiteY10" fmla="*/ 6831 h 9708"/>
                <a:gd name="connsiteX11" fmla="*/ 4686 w 14389"/>
                <a:gd name="connsiteY11" fmla="*/ 5134 h 9708"/>
                <a:gd name="connsiteX12" fmla="*/ 10615 w 14389"/>
                <a:gd name="connsiteY12" fmla="*/ 2748 h 9708"/>
                <a:gd name="connsiteX13" fmla="*/ 10977 w 14389"/>
                <a:gd name="connsiteY13" fmla="*/ 2651 h 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89" h="9708">
                  <a:moveTo>
                    <a:pt x="10977" y="2651"/>
                  </a:moveTo>
                  <a:lnTo>
                    <a:pt x="14390" y="2049"/>
                  </a:lnTo>
                  <a:lnTo>
                    <a:pt x="11883" y="1557"/>
                  </a:lnTo>
                  <a:lnTo>
                    <a:pt x="5664" y="2675"/>
                  </a:lnTo>
                  <a:lnTo>
                    <a:pt x="4319" y="2377"/>
                  </a:lnTo>
                  <a:lnTo>
                    <a:pt x="926" y="0"/>
                  </a:lnTo>
                  <a:lnTo>
                    <a:pt x="608" y="3408"/>
                  </a:lnTo>
                  <a:lnTo>
                    <a:pt x="0" y="4531"/>
                  </a:lnTo>
                  <a:cubicBezTo>
                    <a:pt x="723" y="4531"/>
                    <a:pt x="1403" y="4869"/>
                    <a:pt x="1687" y="5553"/>
                  </a:cubicBezTo>
                  <a:lnTo>
                    <a:pt x="3350" y="9709"/>
                  </a:lnTo>
                  <a:cubicBezTo>
                    <a:pt x="3413" y="8870"/>
                    <a:pt x="3457" y="7916"/>
                    <a:pt x="3529" y="6831"/>
                  </a:cubicBezTo>
                  <a:lnTo>
                    <a:pt x="4686" y="5134"/>
                  </a:lnTo>
                  <a:lnTo>
                    <a:pt x="10615" y="2748"/>
                  </a:lnTo>
                  <a:lnTo>
                    <a:pt x="10977" y="265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06" name="Freihandform: Form 305">
              <a:extLst>
                <a:ext uri="{FF2B5EF4-FFF2-40B4-BE49-F238E27FC236}">
                  <a16:creationId xmlns:a16="http://schemas.microsoft.com/office/drawing/2014/main" id="{D05B2EFE-4728-7712-A366-CF7E4B04BCA7}"/>
                </a:ext>
              </a:extLst>
            </p:cNvPr>
            <p:cNvSpPr/>
            <p:nvPr/>
          </p:nvSpPr>
          <p:spPr>
            <a:xfrm>
              <a:off x="6057941" y="1993838"/>
              <a:ext cx="0" cy="0"/>
            </a:xfrm>
            <a:custGeom>
              <a:avLst/>
              <a:gdLst>
                <a:gd name="connsiteX0" fmla="*/ 0 w 578"/>
                <a:gd name="connsiteY0" fmla="*/ 140 h 351"/>
                <a:gd name="connsiteX1" fmla="*/ 578 w 578"/>
                <a:gd name="connsiteY1" fmla="*/ 352 h 351"/>
                <a:gd name="connsiteX2" fmla="*/ 332 w 578"/>
                <a:gd name="connsiteY2" fmla="*/ 0 h 351"/>
              </a:gdLst>
              <a:ahLst/>
              <a:cxnLst>
                <a:cxn ang="0">
                  <a:pos x="connsiteX0" y="connsiteY0"/>
                </a:cxn>
                <a:cxn ang="0">
                  <a:pos x="connsiteX1" y="connsiteY1"/>
                </a:cxn>
                <a:cxn ang="0">
                  <a:pos x="connsiteX2" y="connsiteY2"/>
                </a:cxn>
              </a:cxnLst>
              <a:rect l="l" t="t" r="r" b="b"/>
              <a:pathLst>
                <a:path w="578" h="351">
                  <a:moveTo>
                    <a:pt x="0" y="140"/>
                  </a:moveTo>
                  <a:lnTo>
                    <a:pt x="578" y="352"/>
                  </a:lnTo>
                  <a:lnTo>
                    <a:pt x="332"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07" name="Freihandform: Form 306">
              <a:extLst>
                <a:ext uri="{FF2B5EF4-FFF2-40B4-BE49-F238E27FC236}">
                  <a16:creationId xmlns:a16="http://schemas.microsoft.com/office/drawing/2014/main" id="{D677A970-5E7E-5661-5216-6145721DD066}"/>
                </a:ext>
              </a:extLst>
            </p:cNvPr>
            <p:cNvSpPr/>
            <p:nvPr/>
          </p:nvSpPr>
          <p:spPr>
            <a:xfrm>
              <a:off x="6076989" y="2659026"/>
              <a:ext cx="14286" cy="12700"/>
            </a:xfrm>
            <a:custGeom>
              <a:avLst/>
              <a:gdLst>
                <a:gd name="connsiteX0" fmla="*/ 4377 w 11357"/>
                <a:gd name="connsiteY0" fmla="*/ 1514 h 9790"/>
                <a:gd name="connsiteX1" fmla="*/ 665 w 11357"/>
                <a:gd name="connsiteY1" fmla="*/ 0 h 9790"/>
                <a:gd name="connsiteX2" fmla="*/ 0 w 11357"/>
                <a:gd name="connsiteY2" fmla="*/ 3302 h 9790"/>
                <a:gd name="connsiteX3" fmla="*/ 1885 w 11357"/>
                <a:gd name="connsiteY3" fmla="*/ 8537 h 9790"/>
                <a:gd name="connsiteX4" fmla="*/ 6040 w 11357"/>
                <a:gd name="connsiteY4" fmla="*/ 9791 h 9790"/>
                <a:gd name="connsiteX5" fmla="*/ 11251 w 11357"/>
                <a:gd name="connsiteY5" fmla="*/ 5606 h 9790"/>
                <a:gd name="connsiteX6" fmla="*/ 11358 w 11357"/>
                <a:gd name="connsiteY6" fmla="*/ 5582 h 9790"/>
                <a:gd name="connsiteX7" fmla="*/ 10177 w 11357"/>
                <a:gd name="connsiteY7" fmla="*/ 5544 h 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57" h="9790">
                  <a:moveTo>
                    <a:pt x="4377" y="1514"/>
                  </a:moveTo>
                  <a:lnTo>
                    <a:pt x="665" y="0"/>
                  </a:lnTo>
                  <a:lnTo>
                    <a:pt x="0" y="3302"/>
                  </a:lnTo>
                  <a:lnTo>
                    <a:pt x="1885" y="8537"/>
                  </a:lnTo>
                  <a:lnTo>
                    <a:pt x="6040" y="9791"/>
                  </a:lnTo>
                  <a:lnTo>
                    <a:pt x="11251" y="5606"/>
                  </a:lnTo>
                  <a:lnTo>
                    <a:pt x="11358" y="5582"/>
                  </a:lnTo>
                  <a:lnTo>
                    <a:pt x="10177" y="554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08" name="Freihandform: Form 307">
              <a:extLst>
                <a:ext uri="{FF2B5EF4-FFF2-40B4-BE49-F238E27FC236}">
                  <a16:creationId xmlns:a16="http://schemas.microsoft.com/office/drawing/2014/main" id="{A4E9AC9B-2FCF-6622-62AB-2C9068BD2E9D}"/>
                </a:ext>
              </a:extLst>
            </p:cNvPr>
            <p:cNvSpPr/>
            <p:nvPr/>
          </p:nvSpPr>
          <p:spPr>
            <a:xfrm>
              <a:off x="6137307" y="2566948"/>
              <a:ext cx="9524" cy="7937"/>
            </a:xfrm>
            <a:custGeom>
              <a:avLst/>
              <a:gdLst>
                <a:gd name="connsiteX0" fmla="*/ 3500 w 7819"/>
                <a:gd name="connsiteY0" fmla="*/ 2651 h 6425"/>
                <a:gd name="connsiteX1" fmla="*/ 7308 w 7819"/>
                <a:gd name="connsiteY1" fmla="*/ 6426 h 6425"/>
                <a:gd name="connsiteX2" fmla="*/ 7819 w 7819"/>
                <a:gd name="connsiteY2" fmla="*/ 4676 h 6425"/>
                <a:gd name="connsiteX3" fmla="*/ 1967 w 7819"/>
                <a:gd name="connsiteY3" fmla="*/ 762 h 6425"/>
                <a:gd name="connsiteX4" fmla="*/ 0 w 7819"/>
                <a:gd name="connsiteY4" fmla="*/ 0 h 6425"/>
                <a:gd name="connsiteX5" fmla="*/ 3293 w 7819"/>
                <a:gd name="connsiteY5" fmla="*/ 2463 h 6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19" h="6425">
                  <a:moveTo>
                    <a:pt x="3500" y="2651"/>
                  </a:moveTo>
                  <a:lnTo>
                    <a:pt x="7308" y="6426"/>
                  </a:lnTo>
                  <a:lnTo>
                    <a:pt x="7819" y="4676"/>
                  </a:lnTo>
                  <a:lnTo>
                    <a:pt x="1967" y="762"/>
                  </a:lnTo>
                  <a:lnTo>
                    <a:pt x="0" y="0"/>
                  </a:lnTo>
                  <a:lnTo>
                    <a:pt x="3293" y="246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09" name="Freihandform: Form 308">
              <a:extLst>
                <a:ext uri="{FF2B5EF4-FFF2-40B4-BE49-F238E27FC236}">
                  <a16:creationId xmlns:a16="http://schemas.microsoft.com/office/drawing/2014/main" id="{2E79C3E7-B5F5-6023-6D13-D5916C1B0AA9}"/>
                </a:ext>
              </a:extLst>
            </p:cNvPr>
            <p:cNvSpPr/>
            <p:nvPr/>
          </p:nvSpPr>
          <p:spPr>
            <a:xfrm>
              <a:off x="6103974" y="2679664"/>
              <a:ext cx="14285" cy="6350"/>
            </a:xfrm>
            <a:custGeom>
              <a:avLst/>
              <a:gdLst>
                <a:gd name="connsiteX0" fmla="*/ 0 w 11068"/>
                <a:gd name="connsiteY0" fmla="*/ 0 h 5866"/>
                <a:gd name="connsiteX1" fmla="*/ 824 w 11068"/>
                <a:gd name="connsiteY1" fmla="*/ 444 h 5866"/>
                <a:gd name="connsiteX2" fmla="*/ 6243 w 11068"/>
                <a:gd name="connsiteY2" fmla="*/ 5867 h 5866"/>
                <a:gd name="connsiteX3" fmla="*/ 10596 w 11068"/>
                <a:gd name="connsiteY3" fmla="*/ 5867 h 5866"/>
                <a:gd name="connsiteX4" fmla="*/ 11068 w 11068"/>
                <a:gd name="connsiteY4" fmla="*/ 4001 h 5866"/>
                <a:gd name="connsiteX5" fmla="*/ 5457 w 11068"/>
                <a:gd name="connsiteY5" fmla="*/ 1658 h 5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68" h="5866">
                  <a:moveTo>
                    <a:pt x="0" y="0"/>
                  </a:moveTo>
                  <a:lnTo>
                    <a:pt x="824" y="444"/>
                  </a:lnTo>
                  <a:lnTo>
                    <a:pt x="6243" y="5867"/>
                  </a:lnTo>
                  <a:lnTo>
                    <a:pt x="10596" y="5867"/>
                  </a:lnTo>
                  <a:lnTo>
                    <a:pt x="11068" y="4001"/>
                  </a:lnTo>
                  <a:lnTo>
                    <a:pt x="5457" y="165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10" name="Freihandform: Form 309">
              <a:extLst>
                <a:ext uri="{FF2B5EF4-FFF2-40B4-BE49-F238E27FC236}">
                  <a16:creationId xmlns:a16="http://schemas.microsoft.com/office/drawing/2014/main" id="{813CC172-BDFF-D8C1-338B-AA641632AAA9}"/>
                </a:ext>
              </a:extLst>
            </p:cNvPr>
            <p:cNvSpPr/>
            <p:nvPr/>
          </p:nvSpPr>
          <p:spPr>
            <a:xfrm>
              <a:off x="6300801" y="1966850"/>
              <a:ext cx="0" cy="0"/>
            </a:xfrm>
            <a:custGeom>
              <a:avLst/>
              <a:gdLst>
                <a:gd name="connsiteX0" fmla="*/ 275 w 274"/>
                <a:gd name="connsiteY0" fmla="*/ 0 h 294"/>
                <a:gd name="connsiteX1" fmla="*/ 0 w 274"/>
                <a:gd name="connsiteY1" fmla="*/ 48 h 294"/>
                <a:gd name="connsiteX2" fmla="*/ 121 w 274"/>
                <a:gd name="connsiteY2" fmla="*/ 294 h 294"/>
              </a:gdLst>
              <a:ahLst/>
              <a:cxnLst>
                <a:cxn ang="0">
                  <a:pos x="connsiteX0" y="connsiteY0"/>
                </a:cxn>
                <a:cxn ang="0">
                  <a:pos x="connsiteX1" y="connsiteY1"/>
                </a:cxn>
                <a:cxn ang="0">
                  <a:pos x="connsiteX2" y="connsiteY2"/>
                </a:cxn>
              </a:cxnLst>
              <a:rect l="l" t="t" r="r" b="b"/>
              <a:pathLst>
                <a:path w="274" h="294">
                  <a:moveTo>
                    <a:pt x="275" y="0"/>
                  </a:moveTo>
                  <a:lnTo>
                    <a:pt x="0" y="48"/>
                  </a:lnTo>
                  <a:lnTo>
                    <a:pt x="121" y="29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11" name="Freihandform: Form 310">
              <a:extLst>
                <a:ext uri="{FF2B5EF4-FFF2-40B4-BE49-F238E27FC236}">
                  <a16:creationId xmlns:a16="http://schemas.microsoft.com/office/drawing/2014/main" id="{F15372AC-B825-16BB-B1F9-7849A6B702E2}"/>
                </a:ext>
              </a:extLst>
            </p:cNvPr>
            <p:cNvSpPr/>
            <p:nvPr/>
          </p:nvSpPr>
          <p:spPr>
            <a:xfrm>
              <a:off x="6045242" y="2720941"/>
              <a:ext cx="4762" cy="7938"/>
            </a:xfrm>
            <a:custGeom>
              <a:avLst/>
              <a:gdLst>
                <a:gd name="connsiteX0" fmla="*/ 4758 w 4758"/>
                <a:gd name="connsiteY0" fmla="*/ 0 h 6271"/>
                <a:gd name="connsiteX1" fmla="*/ 1711 w 4758"/>
                <a:gd name="connsiteY1" fmla="*/ 641 h 6271"/>
                <a:gd name="connsiteX2" fmla="*/ 954 w 4758"/>
                <a:gd name="connsiteY2" fmla="*/ 535 h 6271"/>
                <a:gd name="connsiteX3" fmla="*/ 0 w 4758"/>
                <a:gd name="connsiteY3" fmla="*/ 3702 h 6271"/>
                <a:gd name="connsiteX4" fmla="*/ 1229 w 4758"/>
                <a:gd name="connsiteY4" fmla="*/ 2994 h 6271"/>
                <a:gd name="connsiteX5" fmla="*/ 3037 w 4758"/>
                <a:gd name="connsiteY5" fmla="*/ 4107 h 6271"/>
                <a:gd name="connsiteX6" fmla="*/ 3895 w 4758"/>
                <a:gd name="connsiteY6" fmla="*/ 6272 h 6271"/>
                <a:gd name="connsiteX7" fmla="*/ 3693 w 4758"/>
                <a:gd name="connsiteY7" fmla="*/ 4382 h 6271"/>
                <a:gd name="connsiteX8" fmla="*/ 3736 w 4758"/>
                <a:gd name="connsiteY8" fmla="*/ 3731 h 6271"/>
                <a:gd name="connsiteX9" fmla="*/ 4758 w 4758"/>
                <a:gd name="connsiteY9" fmla="*/ 0 h 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58" h="6271">
                  <a:moveTo>
                    <a:pt x="4758" y="0"/>
                  </a:moveTo>
                  <a:lnTo>
                    <a:pt x="1711" y="641"/>
                  </a:lnTo>
                  <a:cubicBezTo>
                    <a:pt x="1427" y="699"/>
                    <a:pt x="1186" y="588"/>
                    <a:pt x="954" y="535"/>
                  </a:cubicBezTo>
                  <a:lnTo>
                    <a:pt x="0" y="3702"/>
                  </a:lnTo>
                  <a:cubicBezTo>
                    <a:pt x="309" y="3317"/>
                    <a:pt x="742" y="3013"/>
                    <a:pt x="1229" y="2994"/>
                  </a:cubicBezTo>
                  <a:cubicBezTo>
                    <a:pt x="2005" y="2921"/>
                    <a:pt x="2738" y="3399"/>
                    <a:pt x="3037" y="4107"/>
                  </a:cubicBezTo>
                  <a:lnTo>
                    <a:pt x="3895" y="6272"/>
                  </a:lnTo>
                  <a:lnTo>
                    <a:pt x="3693" y="4382"/>
                  </a:lnTo>
                  <a:lnTo>
                    <a:pt x="3736" y="3731"/>
                  </a:lnTo>
                  <a:lnTo>
                    <a:pt x="4758"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12" name="Freihandform: Form 311">
              <a:extLst>
                <a:ext uri="{FF2B5EF4-FFF2-40B4-BE49-F238E27FC236}">
                  <a16:creationId xmlns:a16="http://schemas.microsoft.com/office/drawing/2014/main" id="{45EFE4AF-6B62-4B41-B7D4-2398FFBA0B25}"/>
                </a:ext>
              </a:extLst>
            </p:cNvPr>
            <p:cNvSpPr/>
            <p:nvPr/>
          </p:nvSpPr>
          <p:spPr>
            <a:xfrm>
              <a:off x="5016658" y="2689189"/>
              <a:ext cx="19048" cy="9525"/>
            </a:xfrm>
            <a:custGeom>
              <a:avLst/>
              <a:gdLst>
                <a:gd name="connsiteX0" fmla="*/ 15070 w 15199"/>
                <a:gd name="connsiteY0" fmla="*/ 371 h 7930"/>
                <a:gd name="connsiteX1" fmla="*/ 15200 w 15199"/>
                <a:gd name="connsiteY1" fmla="*/ 0 h 7930"/>
                <a:gd name="connsiteX2" fmla="*/ 11497 w 15199"/>
                <a:gd name="connsiteY2" fmla="*/ 1856 h 7930"/>
                <a:gd name="connsiteX3" fmla="*/ 11020 w 15199"/>
                <a:gd name="connsiteY3" fmla="*/ 2020 h 7930"/>
                <a:gd name="connsiteX4" fmla="*/ 4672 w 15199"/>
                <a:gd name="connsiteY4" fmla="*/ 3162 h 7930"/>
                <a:gd name="connsiteX5" fmla="*/ 0 w 15199"/>
                <a:gd name="connsiteY5" fmla="*/ 5023 h 7930"/>
                <a:gd name="connsiteX6" fmla="*/ 0 w 15199"/>
                <a:gd name="connsiteY6" fmla="*/ 7930 h 7930"/>
                <a:gd name="connsiteX7" fmla="*/ 3804 w 15199"/>
                <a:gd name="connsiteY7" fmla="*/ 7930 h 7930"/>
                <a:gd name="connsiteX8" fmla="*/ 9107 w 15199"/>
                <a:gd name="connsiteY8" fmla="*/ 5819 h 7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99" h="7930">
                  <a:moveTo>
                    <a:pt x="15070" y="371"/>
                  </a:moveTo>
                  <a:lnTo>
                    <a:pt x="15200" y="0"/>
                  </a:lnTo>
                  <a:lnTo>
                    <a:pt x="11497" y="1856"/>
                  </a:lnTo>
                  <a:lnTo>
                    <a:pt x="11020" y="2020"/>
                  </a:lnTo>
                  <a:lnTo>
                    <a:pt x="4672" y="3162"/>
                  </a:lnTo>
                  <a:lnTo>
                    <a:pt x="0" y="5023"/>
                  </a:lnTo>
                  <a:lnTo>
                    <a:pt x="0" y="7930"/>
                  </a:lnTo>
                  <a:lnTo>
                    <a:pt x="3804" y="7930"/>
                  </a:lnTo>
                  <a:lnTo>
                    <a:pt x="9107" y="581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13" name="Freihandform: Form 312">
              <a:extLst>
                <a:ext uri="{FF2B5EF4-FFF2-40B4-BE49-F238E27FC236}">
                  <a16:creationId xmlns:a16="http://schemas.microsoft.com/office/drawing/2014/main" id="{0ABF30E9-293A-91D1-6174-D1B380214E6A}"/>
                </a:ext>
              </a:extLst>
            </p:cNvPr>
            <p:cNvSpPr/>
            <p:nvPr/>
          </p:nvSpPr>
          <p:spPr>
            <a:xfrm>
              <a:off x="5415076" y="2620925"/>
              <a:ext cx="19048" cy="34926"/>
            </a:xfrm>
            <a:custGeom>
              <a:avLst/>
              <a:gdLst>
                <a:gd name="connsiteX0" fmla="*/ 4117 w 15291"/>
                <a:gd name="connsiteY0" fmla="*/ 25275 h 27540"/>
                <a:gd name="connsiteX1" fmla="*/ 2921 w 15291"/>
                <a:gd name="connsiteY1" fmla="*/ 18714 h 27540"/>
                <a:gd name="connsiteX2" fmla="*/ 2921 w 15291"/>
                <a:gd name="connsiteY2" fmla="*/ 18083 h 27540"/>
                <a:gd name="connsiteX3" fmla="*/ 4117 w 15291"/>
                <a:gd name="connsiteY3" fmla="*/ 11546 h 27540"/>
                <a:gd name="connsiteX4" fmla="*/ 4695 w 15291"/>
                <a:gd name="connsiteY4" fmla="*/ 10509 h 27540"/>
                <a:gd name="connsiteX5" fmla="*/ 10654 w 15291"/>
                <a:gd name="connsiteY5" fmla="*/ 5139 h 27540"/>
                <a:gd name="connsiteX6" fmla="*/ 12519 w 15291"/>
                <a:gd name="connsiteY6" fmla="*/ 4777 h 27540"/>
                <a:gd name="connsiteX7" fmla="*/ 13672 w 15291"/>
                <a:gd name="connsiteY7" fmla="*/ 6325 h 27540"/>
                <a:gd name="connsiteX8" fmla="*/ 14023 w 15291"/>
                <a:gd name="connsiteY8" fmla="*/ 10061 h 27540"/>
                <a:gd name="connsiteX9" fmla="*/ 14896 w 15291"/>
                <a:gd name="connsiteY9" fmla="*/ 7222 h 27540"/>
                <a:gd name="connsiteX10" fmla="*/ 15291 w 15291"/>
                <a:gd name="connsiteY10" fmla="*/ 5462 h 27540"/>
                <a:gd name="connsiteX11" fmla="*/ 13016 w 15291"/>
                <a:gd name="connsiteY11" fmla="*/ 473 h 27540"/>
                <a:gd name="connsiteX12" fmla="*/ 8523 w 15291"/>
                <a:gd name="connsiteY12" fmla="*/ 0 h 27540"/>
                <a:gd name="connsiteX13" fmla="*/ 4618 w 15291"/>
                <a:gd name="connsiteY13" fmla="*/ 1475 h 27540"/>
                <a:gd name="connsiteX14" fmla="*/ 0 w 15291"/>
                <a:gd name="connsiteY14" fmla="*/ 7140 h 27540"/>
                <a:gd name="connsiteX15" fmla="*/ 0 w 15291"/>
                <a:gd name="connsiteY15" fmla="*/ 12259 h 27540"/>
                <a:gd name="connsiteX16" fmla="*/ 1162 w 15291"/>
                <a:gd name="connsiteY16" fmla="*/ 18025 h 27540"/>
                <a:gd name="connsiteX17" fmla="*/ 1176 w 15291"/>
                <a:gd name="connsiteY17" fmla="*/ 18242 h 27540"/>
                <a:gd name="connsiteX18" fmla="*/ 1721 w 15291"/>
                <a:gd name="connsiteY18" fmla="*/ 24171 h 27540"/>
                <a:gd name="connsiteX19" fmla="*/ 4782 w 15291"/>
                <a:gd name="connsiteY19" fmla="*/ 27541 h 27540"/>
                <a:gd name="connsiteX20" fmla="*/ 4151 w 15291"/>
                <a:gd name="connsiteY20" fmla="*/ 25458 h 2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91" h="27540">
                  <a:moveTo>
                    <a:pt x="4117" y="25275"/>
                  </a:moveTo>
                  <a:lnTo>
                    <a:pt x="2921" y="18714"/>
                  </a:lnTo>
                  <a:lnTo>
                    <a:pt x="2921" y="18083"/>
                  </a:lnTo>
                  <a:lnTo>
                    <a:pt x="4117" y="11546"/>
                  </a:lnTo>
                  <a:lnTo>
                    <a:pt x="4695" y="10509"/>
                  </a:lnTo>
                  <a:lnTo>
                    <a:pt x="10654" y="5139"/>
                  </a:lnTo>
                  <a:lnTo>
                    <a:pt x="12519" y="4777"/>
                  </a:lnTo>
                  <a:lnTo>
                    <a:pt x="13672" y="6325"/>
                  </a:lnTo>
                  <a:lnTo>
                    <a:pt x="14023" y="10061"/>
                  </a:lnTo>
                  <a:lnTo>
                    <a:pt x="14896" y="7222"/>
                  </a:lnTo>
                  <a:lnTo>
                    <a:pt x="15291" y="5462"/>
                  </a:lnTo>
                  <a:lnTo>
                    <a:pt x="13016" y="473"/>
                  </a:lnTo>
                  <a:lnTo>
                    <a:pt x="8523" y="0"/>
                  </a:lnTo>
                  <a:lnTo>
                    <a:pt x="4618" y="1475"/>
                  </a:lnTo>
                  <a:lnTo>
                    <a:pt x="0" y="7140"/>
                  </a:lnTo>
                  <a:lnTo>
                    <a:pt x="0" y="12259"/>
                  </a:lnTo>
                  <a:lnTo>
                    <a:pt x="1162" y="18025"/>
                  </a:lnTo>
                  <a:lnTo>
                    <a:pt x="1176" y="18242"/>
                  </a:lnTo>
                  <a:lnTo>
                    <a:pt x="1721" y="24171"/>
                  </a:lnTo>
                  <a:lnTo>
                    <a:pt x="4782" y="27541"/>
                  </a:lnTo>
                  <a:lnTo>
                    <a:pt x="4151" y="2545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14" name="Freihandform: Form 313">
              <a:extLst>
                <a:ext uri="{FF2B5EF4-FFF2-40B4-BE49-F238E27FC236}">
                  <a16:creationId xmlns:a16="http://schemas.microsoft.com/office/drawing/2014/main" id="{B583D698-B729-939D-B4B6-EFB312E3AED8}"/>
                </a:ext>
              </a:extLst>
            </p:cNvPr>
            <p:cNvSpPr/>
            <p:nvPr/>
          </p:nvSpPr>
          <p:spPr>
            <a:xfrm>
              <a:off x="5111898" y="2928911"/>
              <a:ext cx="1588" cy="1587"/>
            </a:xfrm>
            <a:custGeom>
              <a:avLst/>
              <a:gdLst>
                <a:gd name="connsiteX0" fmla="*/ 0 w 1301"/>
                <a:gd name="connsiteY0" fmla="*/ 1388 h 1388"/>
                <a:gd name="connsiteX1" fmla="*/ 1302 w 1301"/>
                <a:gd name="connsiteY1" fmla="*/ 1046 h 1388"/>
                <a:gd name="connsiteX2" fmla="*/ 1138 w 1301"/>
                <a:gd name="connsiteY2" fmla="*/ 0 h 1388"/>
              </a:gdLst>
              <a:ahLst/>
              <a:cxnLst>
                <a:cxn ang="0">
                  <a:pos x="connsiteX0" y="connsiteY0"/>
                </a:cxn>
                <a:cxn ang="0">
                  <a:pos x="connsiteX1" y="connsiteY1"/>
                </a:cxn>
                <a:cxn ang="0">
                  <a:pos x="connsiteX2" y="connsiteY2"/>
                </a:cxn>
              </a:cxnLst>
              <a:rect l="l" t="t" r="r" b="b"/>
              <a:pathLst>
                <a:path w="1301" h="1388">
                  <a:moveTo>
                    <a:pt x="0" y="1388"/>
                  </a:moveTo>
                  <a:lnTo>
                    <a:pt x="1302" y="1046"/>
                  </a:lnTo>
                  <a:lnTo>
                    <a:pt x="1138"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15" name="Freihandform: Form 314">
              <a:extLst>
                <a:ext uri="{FF2B5EF4-FFF2-40B4-BE49-F238E27FC236}">
                  <a16:creationId xmlns:a16="http://schemas.microsoft.com/office/drawing/2014/main" id="{31F3AD22-9DBD-471A-3E2F-E05D244EBC0C}"/>
                </a:ext>
              </a:extLst>
            </p:cNvPr>
            <p:cNvSpPr/>
            <p:nvPr/>
          </p:nvSpPr>
          <p:spPr>
            <a:xfrm>
              <a:off x="5405553" y="2733641"/>
              <a:ext cx="1587" cy="6350"/>
            </a:xfrm>
            <a:custGeom>
              <a:avLst/>
              <a:gdLst>
                <a:gd name="connsiteX0" fmla="*/ 0 w 1595"/>
                <a:gd name="connsiteY0" fmla="*/ 3177 h 4989"/>
                <a:gd name="connsiteX1" fmla="*/ 1282 w 1595"/>
                <a:gd name="connsiteY1" fmla="*/ 4989 h 4989"/>
                <a:gd name="connsiteX2" fmla="*/ 1596 w 1595"/>
                <a:gd name="connsiteY2" fmla="*/ 3264 h 4989"/>
                <a:gd name="connsiteX3" fmla="*/ 299 w 1595"/>
                <a:gd name="connsiteY3" fmla="*/ 0 h 4989"/>
              </a:gdLst>
              <a:ahLst/>
              <a:cxnLst>
                <a:cxn ang="0">
                  <a:pos x="connsiteX0" y="connsiteY0"/>
                </a:cxn>
                <a:cxn ang="0">
                  <a:pos x="connsiteX1" y="connsiteY1"/>
                </a:cxn>
                <a:cxn ang="0">
                  <a:pos x="connsiteX2" y="connsiteY2"/>
                </a:cxn>
                <a:cxn ang="0">
                  <a:pos x="connsiteX3" y="connsiteY3"/>
                </a:cxn>
              </a:cxnLst>
              <a:rect l="l" t="t" r="r" b="b"/>
              <a:pathLst>
                <a:path w="1595" h="4989">
                  <a:moveTo>
                    <a:pt x="0" y="3177"/>
                  </a:moveTo>
                  <a:lnTo>
                    <a:pt x="1282" y="4989"/>
                  </a:lnTo>
                  <a:lnTo>
                    <a:pt x="1596" y="3264"/>
                  </a:lnTo>
                  <a:lnTo>
                    <a:pt x="299"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16" name="Freihandform: Form 315">
              <a:extLst>
                <a:ext uri="{FF2B5EF4-FFF2-40B4-BE49-F238E27FC236}">
                  <a16:creationId xmlns:a16="http://schemas.microsoft.com/office/drawing/2014/main" id="{5E94E5DB-9E47-1910-F077-D6C47A67363D}"/>
                </a:ext>
              </a:extLst>
            </p:cNvPr>
            <p:cNvSpPr/>
            <p:nvPr/>
          </p:nvSpPr>
          <p:spPr>
            <a:xfrm>
              <a:off x="6254769" y="526933"/>
              <a:ext cx="53969" cy="44452"/>
            </a:xfrm>
            <a:custGeom>
              <a:avLst/>
              <a:gdLst>
                <a:gd name="connsiteX0" fmla="*/ 9815 w 42619"/>
                <a:gd name="connsiteY0" fmla="*/ 2522 h 34672"/>
                <a:gd name="connsiteX1" fmla="*/ 20522 w 42619"/>
                <a:gd name="connsiteY1" fmla="*/ 198 h 34672"/>
                <a:gd name="connsiteX2" fmla="*/ 27386 w 42619"/>
                <a:gd name="connsiteY2" fmla="*/ 6928 h 34672"/>
                <a:gd name="connsiteX3" fmla="*/ 30746 w 42619"/>
                <a:gd name="connsiteY3" fmla="*/ 9252 h 34672"/>
                <a:gd name="connsiteX4" fmla="*/ 28664 w 42619"/>
                <a:gd name="connsiteY4" fmla="*/ 14400 h 34672"/>
                <a:gd name="connsiteX5" fmla="*/ 32275 w 42619"/>
                <a:gd name="connsiteY5" fmla="*/ 16473 h 34672"/>
                <a:gd name="connsiteX6" fmla="*/ 30751 w 42619"/>
                <a:gd name="connsiteY6" fmla="*/ 20879 h 34672"/>
                <a:gd name="connsiteX7" fmla="*/ 42620 w 42619"/>
                <a:gd name="connsiteY7" fmla="*/ 16343 h 34672"/>
                <a:gd name="connsiteX8" fmla="*/ 39125 w 42619"/>
                <a:gd name="connsiteY8" fmla="*/ 22933 h 34672"/>
                <a:gd name="connsiteX9" fmla="*/ 32651 w 42619"/>
                <a:gd name="connsiteY9" fmla="*/ 23945 h 34672"/>
                <a:gd name="connsiteX10" fmla="*/ 28544 w 42619"/>
                <a:gd name="connsiteY10" fmla="*/ 26785 h 34672"/>
                <a:gd name="connsiteX11" fmla="*/ 22064 w 42619"/>
                <a:gd name="connsiteY11" fmla="*/ 28110 h 34672"/>
                <a:gd name="connsiteX12" fmla="*/ 18454 w 42619"/>
                <a:gd name="connsiteY12" fmla="*/ 33519 h 34672"/>
                <a:gd name="connsiteX13" fmla="*/ 12389 w 42619"/>
                <a:gd name="connsiteY13" fmla="*/ 34035 h 34672"/>
                <a:gd name="connsiteX14" fmla="*/ 8147 w 42619"/>
                <a:gd name="connsiteY14" fmla="*/ 27691 h 34672"/>
                <a:gd name="connsiteX15" fmla="*/ 11753 w 42619"/>
                <a:gd name="connsiteY15" fmla="*/ 23208 h 34672"/>
                <a:gd name="connsiteX16" fmla="*/ 4001 w 42619"/>
                <a:gd name="connsiteY16" fmla="*/ 24109 h 34672"/>
                <a:gd name="connsiteX17" fmla="*/ 0 w 42619"/>
                <a:gd name="connsiteY17" fmla="*/ 19457 h 34672"/>
                <a:gd name="connsiteX18" fmla="*/ 8012 w 42619"/>
                <a:gd name="connsiteY18" fmla="*/ 11947 h 34672"/>
                <a:gd name="connsiteX19" fmla="*/ 18854 w 42619"/>
                <a:gd name="connsiteY19" fmla="*/ 15822 h 34672"/>
                <a:gd name="connsiteX20" fmla="*/ 9309 w 42619"/>
                <a:gd name="connsiteY20" fmla="*/ 4204 h 34672"/>
                <a:gd name="connsiteX21" fmla="*/ 9815 w 42619"/>
                <a:gd name="connsiteY21" fmla="*/ 2522 h 3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619" h="34672">
                  <a:moveTo>
                    <a:pt x="9815" y="2522"/>
                  </a:moveTo>
                  <a:cubicBezTo>
                    <a:pt x="9815" y="2522"/>
                    <a:pt x="19490" y="-838"/>
                    <a:pt x="20522" y="198"/>
                  </a:cubicBezTo>
                  <a:cubicBezTo>
                    <a:pt x="21582" y="1216"/>
                    <a:pt x="25689" y="7174"/>
                    <a:pt x="27386" y="6928"/>
                  </a:cubicBezTo>
                  <a:cubicBezTo>
                    <a:pt x="29035" y="6653"/>
                    <a:pt x="32275" y="7290"/>
                    <a:pt x="30746" y="9252"/>
                  </a:cubicBezTo>
                  <a:cubicBezTo>
                    <a:pt x="29180" y="11195"/>
                    <a:pt x="26350" y="14911"/>
                    <a:pt x="28664" y="14400"/>
                  </a:cubicBezTo>
                  <a:cubicBezTo>
                    <a:pt x="30978" y="13909"/>
                    <a:pt x="34222" y="13745"/>
                    <a:pt x="32275" y="16473"/>
                  </a:cubicBezTo>
                  <a:cubicBezTo>
                    <a:pt x="30346" y="19182"/>
                    <a:pt x="30751" y="20879"/>
                    <a:pt x="30751" y="20879"/>
                  </a:cubicBezTo>
                  <a:cubicBezTo>
                    <a:pt x="30751" y="20879"/>
                    <a:pt x="41323" y="18040"/>
                    <a:pt x="42620" y="16343"/>
                  </a:cubicBezTo>
                  <a:cubicBezTo>
                    <a:pt x="40682" y="20879"/>
                    <a:pt x="39125" y="22933"/>
                    <a:pt x="39125" y="22933"/>
                  </a:cubicBezTo>
                  <a:lnTo>
                    <a:pt x="32651" y="23945"/>
                  </a:lnTo>
                  <a:cubicBezTo>
                    <a:pt x="32651" y="23945"/>
                    <a:pt x="29575" y="26785"/>
                    <a:pt x="28544" y="26785"/>
                  </a:cubicBezTo>
                  <a:cubicBezTo>
                    <a:pt x="27493" y="26785"/>
                    <a:pt x="22344" y="26428"/>
                    <a:pt x="22064" y="28110"/>
                  </a:cubicBezTo>
                  <a:cubicBezTo>
                    <a:pt x="21814" y="29778"/>
                    <a:pt x="20522" y="33134"/>
                    <a:pt x="18454" y="33519"/>
                  </a:cubicBezTo>
                  <a:cubicBezTo>
                    <a:pt x="16390" y="33905"/>
                    <a:pt x="13831" y="35568"/>
                    <a:pt x="12389" y="34035"/>
                  </a:cubicBezTo>
                  <a:cubicBezTo>
                    <a:pt x="10972" y="32478"/>
                    <a:pt x="6469" y="29108"/>
                    <a:pt x="8147" y="27691"/>
                  </a:cubicBezTo>
                  <a:cubicBezTo>
                    <a:pt x="9815" y="26259"/>
                    <a:pt x="13932" y="22152"/>
                    <a:pt x="11753" y="23208"/>
                  </a:cubicBezTo>
                  <a:cubicBezTo>
                    <a:pt x="9545" y="24220"/>
                    <a:pt x="6836" y="25526"/>
                    <a:pt x="4001" y="24109"/>
                  </a:cubicBezTo>
                  <a:cubicBezTo>
                    <a:pt x="1167" y="22687"/>
                    <a:pt x="0" y="22032"/>
                    <a:pt x="0" y="19457"/>
                  </a:cubicBezTo>
                  <a:cubicBezTo>
                    <a:pt x="0" y="16868"/>
                    <a:pt x="4001" y="12106"/>
                    <a:pt x="8012" y="11947"/>
                  </a:cubicBezTo>
                  <a:cubicBezTo>
                    <a:pt x="12018" y="11831"/>
                    <a:pt x="16921" y="13253"/>
                    <a:pt x="18854" y="15822"/>
                  </a:cubicBezTo>
                  <a:cubicBezTo>
                    <a:pt x="15127" y="9257"/>
                    <a:pt x="12524" y="7054"/>
                    <a:pt x="9309" y="4204"/>
                  </a:cubicBezTo>
                  <a:cubicBezTo>
                    <a:pt x="8388" y="3192"/>
                    <a:pt x="9815" y="2522"/>
                    <a:pt x="9815" y="252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17" name="Freihandform: Form 316">
              <a:extLst>
                <a:ext uri="{FF2B5EF4-FFF2-40B4-BE49-F238E27FC236}">
                  <a16:creationId xmlns:a16="http://schemas.microsoft.com/office/drawing/2014/main" id="{72B1DA8D-2CBA-9B79-0FFD-7EBD477A3153}"/>
                </a:ext>
              </a:extLst>
            </p:cNvPr>
            <p:cNvSpPr/>
            <p:nvPr/>
          </p:nvSpPr>
          <p:spPr>
            <a:xfrm>
              <a:off x="6218261" y="553922"/>
              <a:ext cx="7936" cy="11112"/>
            </a:xfrm>
            <a:custGeom>
              <a:avLst/>
              <a:gdLst>
                <a:gd name="connsiteX0" fmla="*/ 786 w 6484"/>
                <a:gd name="connsiteY0" fmla="*/ 32 h 9061"/>
                <a:gd name="connsiteX1" fmla="*/ 6484 w 6484"/>
                <a:gd name="connsiteY1" fmla="*/ 2611 h 9061"/>
                <a:gd name="connsiteX2" fmla="*/ 4277 w 6484"/>
                <a:gd name="connsiteY2" fmla="*/ 9061 h 9061"/>
                <a:gd name="connsiteX3" fmla="*/ 786 w 6484"/>
                <a:gd name="connsiteY3" fmla="*/ 32 h 9061"/>
              </a:gdLst>
              <a:ahLst/>
              <a:cxnLst>
                <a:cxn ang="0">
                  <a:pos x="connsiteX0" y="connsiteY0"/>
                </a:cxn>
                <a:cxn ang="0">
                  <a:pos x="connsiteX1" y="connsiteY1"/>
                </a:cxn>
                <a:cxn ang="0">
                  <a:pos x="connsiteX2" y="connsiteY2"/>
                </a:cxn>
                <a:cxn ang="0">
                  <a:pos x="connsiteX3" y="connsiteY3"/>
                </a:cxn>
              </a:cxnLst>
              <a:rect l="l" t="t" r="r" b="b"/>
              <a:pathLst>
                <a:path w="6484" h="9061">
                  <a:moveTo>
                    <a:pt x="786" y="32"/>
                  </a:moveTo>
                  <a:lnTo>
                    <a:pt x="6484" y="2611"/>
                  </a:lnTo>
                  <a:lnTo>
                    <a:pt x="4277" y="9061"/>
                  </a:lnTo>
                  <a:cubicBezTo>
                    <a:pt x="4272" y="9056"/>
                    <a:pt x="-2197" y="-624"/>
                    <a:pt x="786" y="3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18" name="Freihandform: Form 317">
              <a:extLst>
                <a:ext uri="{FF2B5EF4-FFF2-40B4-BE49-F238E27FC236}">
                  <a16:creationId xmlns:a16="http://schemas.microsoft.com/office/drawing/2014/main" id="{E05E9F45-AFD4-D32F-5CD0-3CA43BD6F516}"/>
                </a:ext>
              </a:extLst>
            </p:cNvPr>
            <p:cNvSpPr/>
            <p:nvPr/>
          </p:nvSpPr>
          <p:spPr>
            <a:xfrm>
              <a:off x="6173816" y="574559"/>
              <a:ext cx="22222" cy="15876"/>
            </a:xfrm>
            <a:custGeom>
              <a:avLst/>
              <a:gdLst>
                <a:gd name="connsiteX0" fmla="*/ 10550 w 17871"/>
                <a:gd name="connsiteY0" fmla="*/ 2184 h 13313"/>
                <a:gd name="connsiteX1" fmla="*/ 13804 w 17871"/>
                <a:gd name="connsiteY1" fmla="*/ 7073 h 13313"/>
                <a:gd name="connsiteX2" fmla="*/ 17676 w 17871"/>
                <a:gd name="connsiteY2" fmla="*/ 7362 h 13313"/>
                <a:gd name="connsiteX3" fmla="*/ 13260 w 17871"/>
                <a:gd name="connsiteY3" fmla="*/ 13180 h 13313"/>
                <a:gd name="connsiteX4" fmla="*/ 7595 w 17871"/>
                <a:gd name="connsiteY4" fmla="*/ 11754 h 13313"/>
                <a:gd name="connsiteX5" fmla="*/ 7701 w 17871"/>
                <a:gd name="connsiteY5" fmla="*/ 7077 h 13313"/>
                <a:gd name="connsiteX6" fmla="*/ 210 w 17871"/>
                <a:gd name="connsiteY6" fmla="*/ 5930 h 13313"/>
                <a:gd name="connsiteX7" fmla="*/ 4852 w 17871"/>
                <a:gd name="connsiteY7" fmla="*/ 1 h 13313"/>
                <a:gd name="connsiteX8" fmla="*/ 10550 w 17871"/>
                <a:gd name="connsiteY8" fmla="*/ 2184 h 1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71" h="13313">
                  <a:moveTo>
                    <a:pt x="10550" y="2184"/>
                  </a:moveTo>
                  <a:cubicBezTo>
                    <a:pt x="11447" y="4479"/>
                    <a:pt x="12112" y="8008"/>
                    <a:pt x="13804" y="7073"/>
                  </a:cubicBezTo>
                  <a:cubicBezTo>
                    <a:pt x="15482" y="6190"/>
                    <a:pt x="18697" y="5540"/>
                    <a:pt x="17676" y="7362"/>
                  </a:cubicBezTo>
                  <a:cubicBezTo>
                    <a:pt x="16634" y="9189"/>
                    <a:pt x="14421" y="13180"/>
                    <a:pt x="13260" y="13180"/>
                  </a:cubicBezTo>
                  <a:cubicBezTo>
                    <a:pt x="12112" y="13180"/>
                    <a:pt x="7335" y="13957"/>
                    <a:pt x="7595" y="11754"/>
                  </a:cubicBezTo>
                  <a:cubicBezTo>
                    <a:pt x="7851" y="9570"/>
                    <a:pt x="9398" y="6070"/>
                    <a:pt x="7701" y="7077"/>
                  </a:cubicBezTo>
                  <a:cubicBezTo>
                    <a:pt x="6033" y="8124"/>
                    <a:pt x="-1328" y="8784"/>
                    <a:pt x="210" y="5930"/>
                  </a:cubicBezTo>
                  <a:cubicBezTo>
                    <a:pt x="1758" y="3110"/>
                    <a:pt x="3671" y="-52"/>
                    <a:pt x="4852" y="1"/>
                  </a:cubicBezTo>
                  <a:cubicBezTo>
                    <a:pt x="6053" y="49"/>
                    <a:pt x="9900" y="521"/>
                    <a:pt x="10550" y="218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19" name="Freihandform: Form 318">
              <a:extLst>
                <a:ext uri="{FF2B5EF4-FFF2-40B4-BE49-F238E27FC236}">
                  <a16:creationId xmlns:a16="http://schemas.microsoft.com/office/drawing/2014/main" id="{3729E2EE-E16C-CF31-5673-004665E1B154}"/>
                </a:ext>
              </a:extLst>
            </p:cNvPr>
            <p:cNvSpPr/>
            <p:nvPr/>
          </p:nvSpPr>
          <p:spPr>
            <a:xfrm>
              <a:off x="6178577" y="563447"/>
              <a:ext cx="9524" cy="7937"/>
            </a:xfrm>
            <a:custGeom>
              <a:avLst/>
              <a:gdLst>
                <a:gd name="connsiteX0" fmla="*/ 6829 w 6914"/>
                <a:gd name="connsiteY0" fmla="*/ 17 h 7009"/>
                <a:gd name="connsiteX1" fmla="*/ 104 w 6914"/>
                <a:gd name="connsiteY1" fmla="*/ 3859 h 7009"/>
                <a:gd name="connsiteX2" fmla="*/ 2051 w 6914"/>
                <a:gd name="connsiteY2" fmla="*/ 6752 h 7009"/>
                <a:gd name="connsiteX3" fmla="*/ 6829 w 6914"/>
                <a:gd name="connsiteY3" fmla="*/ 17 h 7009"/>
              </a:gdLst>
              <a:ahLst/>
              <a:cxnLst>
                <a:cxn ang="0">
                  <a:pos x="connsiteX0" y="connsiteY0"/>
                </a:cxn>
                <a:cxn ang="0">
                  <a:pos x="connsiteX1" y="connsiteY1"/>
                </a:cxn>
                <a:cxn ang="0">
                  <a:pos x="connsiteX2" y="connsiteY2"/>
                </a:cxn>
                <a:cxn ang="0">
                  <a:pos x="connsiteX3" y="connsiteY3"/>
                </a:cxn>
              </a:cxnLst>
              <a:rect l="l" t="t" r="r" b="b"/>
              <a:pathLst>
                <a:path w="6914" h="7009">
                  <a:moveTo>
                    <a:pt x="6829" y="17"/>
                  </a:moveTo>
                  <a:cubicBezTo>
                    <a:pt x="4582" y="1140"/>
                    <a:pt x="-812" y="2201"/>
                    <a:pt x="104" y="3859"/>
                  </a:cubicBezTo>
                  <a:cubicBezTo>
                    <a:pt x="1000" y="5566"/>
                    <a:pt x="875" y="7769"/>
                    <a:pt x="2051" y="6752"/>
                  </a:cubicBezTo>
                  <a:cubicBezTo>
                    <a:pt x="3203" y="5701"/>
                    <a:pt x="7581" y="-364"/>
                    <a:pt x="6829" y="17"/>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20" name="Freihandform: Form 319">
              <a:extLst>
                <a:ext uri="{FF2B5EF4-FFF2-40B4-BE49-F238E27FC236}">
                  <a16:creationId xmlns:a16="http://schemas.microsoft.com/office/drawing/2014/main" id="{7892461E-F2BC-10F7-7EC4-4E2BEB505C6B}"/>
                </a:ext>
              </a:extLst>
            </p:cNvPr>
            <p:cNvSpPr/>
            <p:nvPr/>
          </p:nvSpPr>
          <p:spPr>
            <a:xfrm>
              <a:off x="6172228" y="626949"/>
              <a:ext cx="31746" cy="39689"/>
            </a:xfrm>
            <a:custGeom>
              <a:avLst/>
              <a:gdLst>
                <a:gd name="connsiteX0" fmla="*/ 4772 w 24565"/>
                <a:gd name="connsiteY0" fmla="*/ 56 h 32208"/>
                <a:gd name="connsiteX1" fmla="*/ 12519 w 24565"/>
                <a:gd name="connsiteY1" fmla="*/ 4322 h 32208"/>
                <a:gd name="connsiteX2" fmla="*/ 19244 w 24565"/>
                <a:gd name="connsiteY2" fmla="*/ 7938 h 32208"/>
                <a:gd name="connsiteX3" fmla="*/ 24412 w 24565"/>
                <a:gd name="connsiteY3" fmla="*/ 18384 h 32208"/>
                <a:gd name="connsiteX4" fmla="*/ 20791 w 24565"/>
                <a:gd name="connsiteY4" fmla="*/ 26266 h 32208"/>
                <a:gd name="connsiteX5" fmla="*/ 16535 w 24565"/>
                <a:gd name="connsiteY5" fmla="*/ 32089 h 32208"/>
                <a:gd name="connsiteX6" fmla="*/ 7631 w 24565"/>
                <a:gd name="connsiteY6" fmla="*/ 29775 h 32208"/>
                <a:gd name="connsiteX7" fmla="*/ 1803 w 24565"/>
                <a:gd name="connsiteY7" fmla="*/ 18919 h 32208"/>
                <a:gd name="connsiteX8" fmla="*/ 135 w 24565"/>
                <a:gd name="connsiteY8" fmla="*/ 8704 h 32208"/>
                <a:gd name="connsiteX9" fmla="*/ 4772 w 24565"/>
                <a:gd name="connsiteY9" fmla="*/ 56 h 3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565" h="32208">
                  <a:moveTo>
                    <a:pt x="4772" y="56"/>
                  </a:moveTo>
                  <a:cubicBezTo>
                    <a:pt x="6435" y="875"/>
                    <a:pt x="9814" y="4322"/>
                    <a:pt x="12519" y="4322"/>
                  </a:cubicBezTo>
                  <a:cubicBezTo>
                    <a:pt x="15252" y="4322"/>
                    <a:pt x="17585" y="5344"/>
                    <a:pt x="19244" y="7938"/>
                  </a:cubicBezTo>
                  <a:cubicBezTo>
                    <a:pt x="20941" y="10521"/>
                    <a:pt x="25453" y="17372"/>
                    <a:pt x="24412" y="18384"/>
                  </a:cubicBezTo>
                  <a:cubicBezTo>
                    <a:pt x="23361" y="19430"/>
                    <a:pt x="20791" y="24714"/>
                    <a:pt x="20791" y="26266"/>
                  </a:cubicBezTo>
                  <a:cubicBezTo>
                    <a:pt x="20791" y="27828"/>
                    <a:pt x="20656" y="32089"/>
                    <a:pt x="16535" y="32089"/>
                  </a:cubicBezTo>
                  <a:cubicBezTo>
                    <a:pt x="12394" y="32089"/>
                    <a:pt x="10080" y="33000"/>
                    <a:pt x="7631" y="29775"/>
                  </a:cubicBezTo>
                  <a:cubicBezTo>
                    <a:pt x="5158" y="26555"/>
                    <a:pt x="1687" y="21749"/>
                    <a:pt x="1803" y="18919"/>
                  </a:cubicBezTo>
                  <a:cubicBezTo>
                    <a:pt x="1947" y="16065"/>
                    <a:pt x="1041" y="10767"/>
                    <a:pt x="135" y="8704"/>
                  </a:cubicBezTo>
                  <a:cubicBezTo>
                    <a:pt x="-781" y="6655"/>
                    <a:pt x="3225" y="-711"/>
                    <a:pt x="4772" y="5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21" name="Freihandform: Form 320">
              <a:extLst>
                <a:ext uri="{FF2B5EF4-FFF2-40B4-BE49-F238E27FC236}">
                  <a16:creationId xmlns:a16="http://schemas.microsoft.com/office/drawing/2014/main" id="{4DA626BF-4F2A-F08B-6871-C5399A916606}"/>
                </a:ext>
              </a:extLst>
            </p:cNvPr>
            <p:cNvSpPr/>
            <p:nvPr/>
          </p:nvSpPr>
          <p:spPr>
            <a:xfrm>
              <a:off x="6078576" y="609486"/>
              <a:ext cx="79366" cy="82553"/>
            </a:xfrm>
            <a:custGeom>
              <a:avLst/>
              <a:gdLst>
                <a:gd name="connsiteX0" fmla="*/ 53329 w 62102"/>
                <a:gd name="connsiteY0" fmla="*/ 0 h 65288"/>
                <a:gd name="connsiteX1" fmla="*/ 62103 w 62102"/>
                <a:gd name="connsiteY1" fmla="*/ 8041 h 65288"/>
                <a:gd name="connsiteX2" fmla="*/ 55392 w 62102"/>
                <a:gd name="connsiteY2" fmla="*/ 29344 h 65288"/>
                <a:gd name="connsiteX3" fmla="*/ 48696 w 62102"/>
                <a:gd name="connsiteY3" fmla="*/ 42499 h 65288"/>
                <a:gd name="connsiteX4" fmla="*/ 40275 w 62102"/>
                <a:gd name="connsiteY4" fmla="*/ 52946 h 65288"/>
                <a:gd name="connsiteX5" fmla="*/ 29322 w 62102"/>
                <a:gd name="connsiteY5" fmla="*/ 53351 h 65288"/>
                <a:gd name="connsiteX6" fmla="*/ 26849 w 62102"/>
                <a:gd name="connsiteY6" fmla="*/ 58663 h 65288"/>
                <a:gd name="connsiteX7" fmla="*/ 19748 w 62102"/>
                <a:gd name="connsiteY7" fmla="*/ 59401 h 65288"/>
                <a:gd name="connsiteX8" fmla="*/ 15352 w 62102"/>
                <a:gd name="connsiteY8" fmla="*/ 59401 h 65288"/>
                <a:gd name="connsiteX9" fmla="*/ 13047 w 62102"/>
                <a:gd name="connsiteY9" fmla="*/ 56065 h 65288"/>
                <a:gd name="connsiteX10" fmla="*/ 11630 w 62102"/>
                <a:gd name="connsiteY10" fmla="*/ 62905 h 65288"/>
                <a:gd name="connsiteX11" fmla="*/ 5807 w 62102"/>
                <a:gd name="connsiteY11" fmla="*/ 64323 h 65288"/>
                <a:gd name="connsiteX12" fmla="*/ 7340 w 62102"/>
                <a:gd name="connsiteY12" fmla="*/ 58138 h 65288"/>
                <a:gd name="connsiteX13" fmla="*/ 11350 w 62102"/>
                <a:gd name="connsiteY13" fmla="*/ 49600 h 65288"/>
                <a:gd name="connsiteX14" fmla="*/ 9142 w 62102"/>
                <a:gd name="connsiteY14" fmla="*/ 47036 h 65288"/>
                <a:gd name="connsiteX15" fmla="*/ 2 w 62102"/>
                <a:gd name="connsiteY15" fmla="*/ 49986 h 65288"/>
                <a:gd name="connsiteX16" fmla="*/ 2056 w 62102"/>
                <a:gd name="connsiteY16" fmla="*/ 44326 h 65288"/>
                <a:gd name="connsiteX17" fmla="*/ 6043 w 62102"/>
                <a:gd name="connsiteY17" fmla="*/ 41212 h 65288"/>
                <a:gd name="connsiteX18" fmla="*/ 7735 w 62102"/>
                <a:gd name="connsiteY18" fmla="*/ 37462 h 65288"/>
                <a:gd name="connsiteX19" fmla="*/ 12001 w 62102"/>
                <a:gd name="connsiteY19" fmla="*/ 38643 h 65288"/>
                <a:gd name="connsiteX20" fmla="*/ 14431 w 62102"/>
                <a:gd name="connsiteY20" fmla="*/ 34092 h 65288"/>
                <a:gd name="connsiteX21" fmla="*/ 18577 w 62102"/>
                <a:gd name="connsiteY21" fmla="*/ 32694 h 65288"/>
                <a:gd name="connsiteX22" fmla="*/ 20785 w 62102"/>
                <a:gd name="connsiteY22" fmla="*/ 28693 h 65288"/>
                <a:gd name="connsiteX23" fmla="*/ 25297 w 62102"/>
                <a:gd name="connsiteY23" fmla="*/ 32694 h 65288"/>
                <a:gd name="connsiteX24" fmla="*/ 25543 w 62102"/>
                <a:gd name="connsiteY24" fmla="*/ 38749 h 65288"/>
                <a:gd name="connsiteX25" fmla="*/ 30845 w 62102"/>
                <a:gd name="connsiteY25" fmla="*/ 38503 h 65288"/>
                <a:gd name="connsiteX26" fmla="*/ 32918 w 62102"/>
                <a:gd name="connsiteY26" fmla="*/ 32299 h 65288"/>
                <a:gd name="connsiteX27" fmla="*/ 29052 w 62102"/>
                <a:gd name="connsiteY27" fmla="*/ 25834 h 65288"/>
                <a:gd name="connsiteX28" fmla="*/ 30845 w 62102"/>
                <a:gd name="connsiteY28" fmla="*/ 20671 h 65288"/>
                <a:gd name="connsiteX29" fmla="*/ 36794 w 62102"/>
                <a:gd name="connsiteY29" fmla="*/ 25593 h 65288"/>
                <a:gd name="connsiteX30" fmla="*/ 42208 w 62102"/>
                <a:gd name="connsiteY30" fmla="*/ 29445 h 65288"/>
                <a:gd name="connsiteX31" fmla="*/ 44792 w 62102"/>
                <a:gd name="connsiteY31" fmla="*/ 24422 h 65288"/>
                <a:gd name="connsiteX32" fmla="*/ 49063 w 62102"/>
                <a:gd name="connsiteY32" fmla="*/ 20040 h 65288"/>
                <a:gd name="connsiteX33" fmla="*/ 45057 w 62102"/>
                <a:gd name="connsiteY33" fmla="*/ 15113 h 65288"/>
                <a:gd name="connsiteX34" fmla="*/ 48798 w 62102"/>
                <a:gd name="connsiteY34" fmla="*/ 9839 h 65288"/>
                <a:gd name="connsiteX35" fmla="*/ 54231 w 62102"/>
                <a:gd name="connsiteY35" fmla="*/ 14351 h 65288"/>
                <a:gd name="connsiteX36" fmla="*/ 54231 w 62102"/>
                <a:gd name="connsiteY36" fmla="*/ 7617 h 65288"/>
                <a:gd name="connsiteX37" fmla="*/ 53329 w 62102"/>
                <a:gd name="connsiteY37" fmla="*/ 0 h 65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2102" h="65288">
                  <a:moveTo>
                    <a:pt x="53329" y="0"/>
                  </a:moveTo>
                  <a:cubicBezTo>
                    <a:pt x="53329" y="0"/>
                    <a:pt x="56188" y="7867"/>
                    <a:pt x="62103" y="8041"/>
                  </a:cubicBezTo>
                  <a:cubicBezTo>
                    <a:pt x="61447" y="12982"/>
                    <a:pt x="56959" y="25959"/>
                    <a:pt x="55392" y="29344"/>
                  </a:cubicBezTo>
                  <a:cubicBezTo>
                    <a:pt x="53845" y="32699"/>
                    <a:pt x="49723" y="39940"/>
                    <a:pt x="48696" y="42499"/>
                  </a:cubicBezTo>
                  <a:cubicBezTo>
                    <a:pt x="47650" y="45103"/>
                    <a:pt x="44806" y="52946"/>
                    <a:pt x="40275" y="52946"/>
                  </a:cubicBezTo>
                  <a:cubicBezTo>
                    <a:pt x="35743" y="52946"/>
                    <a:pt x="29563" y="51924"/>
                    <a:pt x="29322" y="53351"/>
                  </a:cubicBezTo>
                  <a:cubicBezTo>
                    <a:pt x="29066" y="54783"/>
                    <a:pt x="28801" y="59174"/>
                    <a:pt x="26849" y="58663"/>
                  </a:cubicBezTo>
                  <a:cubicBezTo>
                    <a:pt x="24926" y="58138"/>
                    <a:pt x="22968" y="56855"/>
                    <a:pt x="19748" y="59401"/>
                  </a:cubicBezTo>
                  <a:cubicBezTo>
                    <a:pt x="16533" y="61999"/>
                    <a:pt x="15732" y="61883"/>
                    <a:pt x="15352" y="59401"/>
                  </a:cubicBezTo>
                  <a:cubicBezTo>
                    <a:pt x="14961" y="56966"/>
                    <a:pt x="12903" y="53741"/>
                    <a:pt x="13047" y="56065"/>
                  </a:cubicBezTo>
                  <a:cubicBezTo>
                    <a:pt x="13163" y="58384"/>
                    <a:pt x="13163" y="61618"/>
                    <a:pt x="11630" y="62905"/>
                  </a:cubicBezTo>
                  <a:cubicBezTo>
                    <a:pt x="10049" y="64212"/>
                    <a:pt x="5676" y="66646"/>
                    <a:pt x="5807" y="64323"/>
                  </a:cubicBezTo>
                  <a:cubicBezTo>
                    <a:pt x="5932" y="61999"/>
                    <a:pt x="6452" y="59560"/>
                    <a:pt x="7340" y="58138"/>
                  </a:cubicBezTo>
                  <a:cubicBezTo>
                    <a:pt x="8246" y="56725"/>
                    <a:pt x="11350" y="52594"/>
                    <a:pt x="11350" y="49600"/>
                  </a:cubicBezTo>
                  <a:cubicBezTo>
                    <a:pt x="11350" y="46616"/>
                    <a:pt x="10970" y="46385"/>
                    <a:pt x="9142" y="47036"/>
                  </a:cubicBezTo>
                  <a:cubicBezTo>
                    <a:pt x="7335" y="47662"/>
                    <a:pt x="2" y="53491"/>
                    <a:pt x="2" y="49986"/>
                  </a:cubicBezTo>
                  <a:cubicBezTo>
                    <a:pt x="2" y="46515"/>
                    <a:pt x="-152" y="45194"/>
                    <a:pt x="2056" y="44326"/>
                  </a:cubicBezTo>
                  <a:cubicBezTo>
                    <a:pt x="4230" y="43386"/>
                    <a:pt x="6043" y="43386"/>
                    <a:pt x="6043" y="41212"/>
                  </a:cubicBezTo>
                  <a:cubicBezTo>
                    <a:pt x="6043" y="38995"/>
                    <a:pt x="5667" y="36040"/>
                    <a:pt x="7735" y="37462"/>
                  </a:cubicBezTo>
                  <a:cubicBezTo>
                    <a:pt x="9808" y="38884"/>
                    <a:pt x="11852" y="41352"/>
                    <a:pt x="12001" y="38643"/>
                  </a:cubicBezTo>
                  <a:cubicBezTo>
                    <a:pt x="12117" y="35934"/>
                    <a:pt x="12117" y="33436"/>
                    <a:pt x="14431" y="34092"/>
                  </a:cubicBezTo>
                  <a:cubicBezTo>
                    <a:pt x="16774" y="34733"/>
                    <a:pt x="18321" y="35032"/>
                    <a:pt x="18577" y="32694"/>
                  </a:cubicBezTo>
                  <a:cubicBezTo>
                    <a:pt x="18827" y="30361"/>
                    <a:pt x="19092" y="27367"/>
                    <a:pt x="20785" y="28693"/>
                  </a:cubicBezTo>
                  <a:cubicBezTo>
                    <a:pt x="22433" y="29961"/>
                    <a:pt x="25677" y="31378"/>
                    <a:pt x="25297" y="32694"/>
                  </a:cubicBezTo>
                  <a:cubicBezTo>
                    <a:pt x="24911" y="33986"/>
                    <a:pt x="23484" y="38638"/>
                    <a:pt x="25543" y="38749"/>
                  </a:cubicBezTo>
                  <a:cubicBezTo>
                    <a:pt x="27620" y="38879"/>
                    <a:pt x="29823" y="40306"/>
                    <a:pt x="30845" y="38503"/>
                  </a:cubicBezTo>
                  <a:cubicBezTo>
                    <a:pt x="31877" y="36666"/>
                    <a:pt x="34586" y="33711"/>
                    <a:pt x="32918" y="32299"/>
                  </a:cubicBezTo>
                  <a:cubicBezTo>
                    <a:pt x="31231" y="30872"/>
                    <a:pt x="28787" y="27001"/>
                    <a:pt x="29052" y="25834"/>
                  </a:cubicBezTo>
                  <a:cubicBezTo>
                    <a:pt x="29308" y="24692"/>
                    <a:pt x="30845" y="20671"/>
                    <a:pt x="30845" y="20671"/>
                  </a:cubicBezTo>
                  <a:cubicBezTo>
                    <a:pt x="30845" y="20671"/>
                    <a:pt x="35637" y="23901"/>
                    <a:pt x="36794" y="25593"/>
                  </a:cubicBezTo>
                  <a:cubicBezTo>
                    <a:pt x="37941" y="27256"/>
                    <a:pt x="41557" y="32299"/>
                    <a:pt x="42208" y="29445"/>
                  </a:cubicBezTo>
                  <a:cubicBezTo>
                    <a:pt x="42834" y="26630"/>
                    <a:pt x="42984" y="25314"/>
                    <a:pt x="44792" y="24422"/>
                  </a:cubicBezTo>
                  <a:cubicBezTo>
                    <a:pt x="46590" y="23515"/>
                    <a:pt x="50735" y="21322"/>
                    <a:pt x="49063" y="20040"/>
                  </a:cubicBezTo>
                  <a:cubicBezTo>
                    <a:pt x="47380" y="18728"/>
                    <a:pt x="44030" y="17427"/>
                    <a:pt x="45057" y="15113"/>
                  </a:cubicBezTo>
                  <a:cubicBezTo>
                    <a:pt x="46079" y="12794"/>
                    <a:pt x="47756" y="8137"/>
                    <a:pt x="48798" y="9839"/>
                  </a:cubicBezTo>
                  <a:cubicBezTo>
                    <a:pt x="49824" y="11473"/>
                    <a:pt x="54231" y="14351"/>
                    <a:pt x="54231" y="14351"/>
                  </a:cubicBezTo>
                  <a:lnTo>
                    <a:pt x="54231" y="7617"/>
                  </a:lnTo>
                  <a:lnTo>
                    <a:pt x="53329"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22" name="Freihandform: Form 321">
              <a:extLst>
                <a:ext uri="{FF2B5EF4-FFF2-40B4-BE49-F238E27FC236}">
                  <a16:creationId xmlns:a16="http://schemas.microsoft.com/office/drawing/2014/main" id="{9BEB3D4E-1CB2-ACCC-E6CF-44322174B926}"/>
                </a:ext>
              </a:extLst>
            </p:cNvPr>
            <p:cNvSpPr/>
            <p:nvPr/>
          </p:nvSpPr>
          <p:spPr>
            <a:xfrm>
              <a:off x="6134132" y="652350"/>
              <a:ext cx="46033" cy="65089"/>
            </a:xfrm>
            <a:custGeom>
              <a:avLst/>
              <a:gdLst>
                <a:gd name="connsiteX0" fmla="*/ 30521 w 36064"/>
                <a:gd name="connsiteY0" fmla="*/ 12045 h 50523"/>
                <a:gd name="connsiteX1" fmla="*/ 36064 w 36064"/>
                <a:gd name="connsiteY1" fmla="*/ 19127 h 50523"/>
                <a:gd name="connsiteX2" fmla="*/ 35148 w 36064"/>
                <a:gd name="connsiteY2" fmla="*/ 25582 h 50523"/>
                <a:gd name="connsiteX3" fmla="*/ 31408 w 36064"/>
                <a:gd name="connsiteY3" fmla="*/ 31911 h 50523"/>
                <a:gd name="connsiteX4" fmla="*/ 29214 w 36064"/>
                <a:gd name="connsiteY4" fmla="*/ 38516 h 50523"/>
                <a:gd name="connsiteX5" fmla="*/ 23130 w 36064"/>
                <a:gd name="connsiteY5" fmla="*/ 40704 h 50523"/>
                <a:gd name="connsiteX6" fmla="*/ 25088 w 36064"/>
                <a:gd name="connsiteY6" fmla="*/ 46508 h 50523"/>
                <a:gd name="connsiteX7" fmla="*/ 19385 w 36064"/>
                <a:gd name="connsiteY7" fmla="*/ 50524 h 50523"/>
                <a:gd name="connsiteX8" fmla="*/ 13711 w 36064"/>
                <a:gd name="connsiteY8" fmla="*/ 46908 h 50523"/>
                <a:gd name="connsiteX9" fmla="*/ 13195 w 36064"/>
                <a:gd name="connsiteY9" fmla="*/ 33974 h 50523"/>
                <a:gd name="connsiteX10" fmla="*/ 10992 w 36064"/>
                <a:gd name="connsiteY10" fmla="*/ 40598 h 50523"/>
                <a:gd name="connsiteX11" fmla="*/ 5207 w 36064"/>
                <a:gd name="connsiteY11" fmla="*/ 40955 h 50523"/>
                <a:gd name="connsiteX12" fmla="*/ 10 w 36064"/>
                <a:gd name="connsiteY12" fmla="*/ 33974 h 50523"/>
                <a:gd name="connsiteX13" fmla="*/ 11267 w 36064"/>
                <a:gd name="connsiteY13" fmla="*/ 19401 h 50523"/>
                <a:gd name="connsiteX14" fmla="*/ 10606 w 36064"/>
                <a:gd name="connsiteY14" fmla="*/ 12571 h 50523"/>
                <a:gd name="connsiteX15" fmla="*/ 17186 w 36064"/>
                <a:gd name="connsiteY15" fmla="*/ 19016 h 50523"/>
                <a:gd name="connsiteX16" fmla="*/ 16285 w 36064"/>
                <a:gd name="connsiteY16" fmla="*/ 12161 h 50523"/>
                <a:gd name="connsiteX17" fmla="*/ 26621 w 36064"/>
                <a:gd name="connsiteY17" fmla="*/ 12329 h 50523"/>
                <a:gd name="connsiteX18" fmla="*/ 23000 w 36064"/>
                <a:gd name="connsiteY18" fmla="*/ 4693 h 50523"/>
                <a:gd name="connsiteX19" fmla="*/ 21588 w 36064"/>
                <a:gd name="connsiteY19" fmla="*/ 668 h 50523"/>
                <a:gd name="connsiteX20" fmla="*/ 27397 w 36064"/>
                <a:gd name="connsiteY20" fmla="*/ 1083 h 50523"/>
                <a:gd name="connsiteX21" fmla="*/ 30226 w 36064"/>
                <a:gd name="connsiteY21" fmla="*/ 5455 h 50523"/>
                <a:gd name="connsiteX22" fmla="*/ 30521 w 36064"/>
                <a:gd name="connsiteY22" fmla="*/ 12045 h 5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064" h="50523">
                  <a:moveTo>
                    <a:pt x="30521" y="12045"/>
                  </a:moveTo>
                  <a:cubicBezTo>
                    <a:pt x="30521" y="12045"/>
                    <a:pt x="36064" y="17975"/>
                    <a:pt x="36064" y="19127"/>
                  </a:cubicBezTo>
                  <a:cubicBezTo>
                    <a:pt x="36064" y="20298"/>
                    <a:pt x="35409" y="25215"/>
                    <a:pt x="35148" y="25582"/>
                  </a:cubicBezTo>
                  <a:cubicBezTo>
                    <a:pt x="34917" y="25982"/>
                    <a:pt x="31408" y="31911"/>
                    <a:pt x="31408" y="31911"/>
                  </a:cubicBezTo>
                  <a:cubicBezTo>
                    <a:pt x="31408" y="31911"/>
                    <a:pt x="30135" y="38516"/>
                    <a:pt x="29214" y="38516"/>
                  </a:cubicBezTo>
                  <a:cubicBezTo>
                    <a:pt x="28322" y="38516"/>
                    <a:pt x="22880" y="40212"/>
                    <a:pt x="23130" y="40704"/>
                  </a:cubicBezTo>
                  <a:cubicBezTo>
                    <a:pt x="23405" y="41215"/>
                    <a:pt x="26384" y="45631"/>
                    <a:pt x="25088" y="46508"/>
                  </a:cubicBezTo>
                  <a:cubicBezTo>
                    <a:pt x="23786" y="47439"/>
                    <a:pt x="20166" y="50524"/>
                    <a:pt x="19385" y="50524"/>
                  </a:cubicBezTo>
                  <a:cubicBezTo>
                    <a:pt x="18613" y="50524"/>
                    <a:pt x="13831" y="48061"/>
                    <a:pt x="13711" y="46908"/>
                  </a:cubicBezTo>
                  <a:cubicBezTo>
                    <a:pt x="13586" y="45766"/>
                    <a:pt x="13195" y="32721"/>
                    <a:pt x="13195" y="33974"/>
                  </a:cubicBezTo>
                  <a:cubicBezTo>
                    <a:pt x="13195" y="35290"/>
                    <a:pt x="11898" y="40323"/>
                    <a:pt x="10992" y="40598"/>
                  </a:cubicBezTo>
                  <a:cubicBezTo>
                    <a:pt x="10086" y="40844"/>
                    <a:pt x="6359" y="42015"/>
                    <a:pt x="5207" y="40955"/>
                  </a:cubicBezTo>
                  <a:cubicBezTo>
                    <a:pt x="4016" y="39933"/>
                    <a:pt x="-235" y="35671"/>
                    <a:pt x="10" y="33974"/>
                  </a:cubicBezTo>
                  <a:cubicBezTo>
                    <a:pt x="275" y="32335"/>
                    <a:pt x="2720" y="20568"/>
                    <a:pt x="11267" y="19401"/>
                  </a:cubicBezTo>
                  <a:cubicBezTo>
                    <a:pt x="10722" y="15665"/>
                    <a:pt x="10606" y="12571"/>
                    <a:pt x="10606" y="12571"/>
                  </a:cubicBezTo>
                  <a:lnTo>
                    <a:pt x="17186" y="19016"/>
                  </a:lnTo>
                  <a:lnTo>
                    <a:pt x="16285" y="12161"/>
                  </a:lnTo>
                  <a:cubicBezTo>
                    <a:pt x="16285" y="12161"/>
                    <a:pt x="21082" y="14754"/>
                    <a:pt x="26621" y="12329"/>
                  </a:cubicBezTo>
                  <a:cubicBezTo>
                    <a:pt x="27913" y="11659"/>
                    <a:pt x="26220" y="6357"/>
                    <a:pt x="23000" y="4693"/>
                  </a:cubicBezTo>
                  <a:cubicBezTo>
                    <a:pt x="19775" y="3026"/>
                    <a:pt x="20026" y="1218"/>
                    <a:pt x="21588" y="668"/>
                  </a:cubicBezTo>
                  <a:cubicBezTo>
                    <a:pt x="23126" y="176"/>
                    <a:pt x="25724" y="-735"/>
                    <a:pt x="27397" y="1083"/>
                  </a:cubicBezTo>
                  <a:cubicBezTo>
                    <a:pt x="29084" y="2857"/>
                    <a:pt x="30226" y="5455"/>
                    <a:pt x="30226" y="5455"/>
                  </a:cubicBezTo>
                  <a:lnTo>
                    <a:pt x="30521" y="1204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23" name="Freihandform: Form 322">
              <a:extLst>
                <a:ext uri="{FF2B5EF4-FFF2-40B4-BE49-F238E27FC236}">
                  <a16:creationId xmlns:a16="http://schemas.microsoft.com/office/drawing/2014/main" id="{81678CAA-A7DA-C4E8-A709-182CC0570D3D}"/>
                </a:ext>
              </a:extLst>
            </p:cNvPr>
            <p:cNvSpPr/>
            <p:nvPr/>
          </p:nvSpPr>
          <p:spPr>
            <a:xfrm>
              <a:off x="6105560" y="701564"/>
              <a:ext cx="39684" cy="25401"/>
            </a:xfrm>
            <a:custGeom>
              <a:avLst/>
              <a:gdLst>
                <a:gd name="connsiteX0" fmla="*/ 26721 w 31173"/>
                <a:gd name="connsiteY0" fmla="*/ 6066 h 20251"/>
                <a:gd name="connsiteX1" fmla="*/ 30973 w 31173"/>
                <a:gd name="connsiteY1" fmla="*/ 9961 h 20251"/>
                <a:gd name="connsiteX2" fmla="*/ 29700 w 31173"/>
                <a:gd name="connsiteY2" fmla="*/ 18730 h 20251"/>
                <a:gd name="connsiteX3" fmla="*/ 22195 w 31173"/>
                <a:gd name="connsiteY3" fmla="*/ 20152 h 20251"/>
                <a:gd name="connsiteX4" fmla="*/ 0 w 31173"/>
                <a:gd name="connsiteY4" fmla="*/ 9541 h 20251"/>
                <a:gd name="connsiteX5" fmla="*/ 6585 w 31173"/>
                <a:gd name="connsiteY5" fmla="*/ 9671 h 20251"/>
                <a:gd name="connsiteX6" fmla="*/ 9935 w 31173"/>
                <a:gd name="connsiteY6" fmla="*/ 2214 h 20251"/>
                <a:gd name="connsiteX7" fmla="*/ 15633 w 31173"/>
                <a:gd name="connsiteY7" fmla="*/ 1549 h 20251"/>
                <a:gd name="connsiteX8" fmla="*/ 18280 w 31173"/>
                <a:gd name="connsiteY8" fmla="*/ 7333 h 20251"/>
                <a:gd name="connsiteX9" fmla="*/ 20271 w 31173"/>
                <a:gd name="connsiteY9" fmla="*/ 247 h 20251"/>
                <a:gd name="connsiteX10" fmla="*/ 26721 w 31173"/>
                <a:gd name="connsiteY10" fmla="*/ 6066 h 20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173" h="20251">
                  <a:moveTo>
                    <a:pt x="26721" y="6066"/>
                  </a:moveTo>
                  <a:cubicBezTo>
                    <a:pt x="28539" y="6012"/>
                    <a:pt x="30597" y="7247"/>
                    <a:pt x="30973" y="9961"/>
                  </a:cubicBezTo>
                  <a:cubicBezTo>
                    <a:pt x="31392" y="12660"/>
                    <a:pt x="31238" y="18349"/>
                    <a:pt x="29700" y="18730"/>
                  </a:cubicBezTo>
                  <a:cubicBezTo>
                    <a:pt x="28153" y="19115"/>
                    <a:pt x="24026" y="19496"/>
                    <a:pt x="22195" y="20152"/>
                  </a:cubicBezTo>
                  <a:cubicBezTo>
                    <a:pt x="20396" y="20807"/>
                    <a:pt x="897" y="18344"/>
                    <a:pt x="0" y="9541"/>
                  </a:cubicBezTo>
                  <a:cubicBezTo>
                    <a:pt x="4507" y="10086"/>
                    <a:pt x="6585" y="9671"/>
                    <a:pt x="6585" y="9671"/>
                  </a:cubicBezTo>
                  <a:cubicBezTo>
                    <a:pt x="6585" y="9671"/>
                    <a:pt x="8788" y="2720"/>
                    <a:pt x="9935" y="2214"/>
                  </a:cubicBezTo>
                  <a:cubicBezTo>
                    <a:pt x="11092" y="1684"/>
                    <a:pt x="15354" y="131"/>
                    <a:pt x="15633" y="1549"/>
                  </a:cubicBezTo>
                  <a:cubicBezTo>
                    <a:pt x="15865" y="2966"/>
                    <a:pt x="17957" y="8987"/>
                    <a:pt x="18280" y="7333"/>
                  </a:cubicBezTo>
                  <a:cubicBezTo>
                    <a:pt x="18584" y="5685"/>
                    <a:pt x="19611" y="-1402"/>
                    <a:pt x="20271" y="247"/>
                  </a:cubicBezTo>
                  <a:cubicBezTo>
                    <a:pt x="20912" y="1939"/>
                    <a:pt x="22455" y="6205"/>
                    <a:pt x="26721" y="606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24" name="Freihandform: Form 323">
              <a:extLst>
                <a:ext uri="{FF2B5EF4-FFF2-40B4-BE49-F238E27FC236}">
                  <a16:creationId xmlns:a16="http://schemas.microsoft.com/office/drawing/2014/main" id="{93B8CF81-BC04-C125-3546-11203300E54F}"/>
                </a:ext>
              </a:extLst>
            </p:cNvPr>
            <p:cNvSpPr/>
            <p:nvPr/>
          </p:nvSpPr>
          <p:spPr>
            <a:xfrm>
              <a:off x="6065878" y="715853"/>
              <a:ext cx="7936" cy="19051"/>
            </a:xfrm>
            <a:custGeom>
              <a:avLst/>
              <a:gdLst>
                <a:gd name="connsiteX0" fmla="*/ 0 w 6851"/>
                <a:gd name="connsiteY0" fmla="*/ 0 h 15063"/>
                <a:gd name="connsiteX1" fmla="*/ 6845 w 6851"/>
                <a:gd name="connsiteY1" fmla="*/ 2960 h 15063"/>
                <a:gd name="connsiteX2" fmla="*/ 4666 w 6851"/>
                <a:gd name="connsiteY2" fmla="*/ 14983 h 15063"/>
                <a:gd name="connsiteX3" fmla="*/ 776 w 6851"/>
                <a:gd name="connsiteY3" fmla="*/ 8783 h 15063"/>
                <a:gd name="connsiteX4" fmla="*/ 0 w 6851"/>
                <a:gd name="connsiteY4" fmla="*/ 0 h 15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1" h="15063">
                  <a:moveTo>
                    <a:pt x="0" y="0"/>
                  </a:moveTo>
                  <a:cubicBezTo>
                    <a:pt x="0" y="0"/>
                    <a:pt x="7091" y="1668"/>
                    <a:pt x="6845" y="2960"/>
                  </a:cubicBezTo>
                  <a:cubicBezTo>
                    <a:pt x="6590" y="4271"/>
                    <a:pt x="5428" y="16149"/>
                    <a:pt x="4666" y="14983"/>
                  </a:cubicBezTo>
                  <a:cubicBezTo>
                    <a:pt x="3866" y="13816"/>
                    <a:pt x="656" y="10205"/>
                    <a:pt x="776" y="8783"/>
                  </a:cubicBezTo>
                  <a:cubicBezTo>
                    <a:pt x="901" y="7361"/>
                    <a:pt x="0" y="0"/>
                    <a:pt x="0"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25" name="Freihandform: Form 324">
              <a:extLst>
                <a:ext uri="{FF2B5EF4-FFF2-40B4-BE49-F238E27FC236}">
                  <a16:creationId xmlns:a16="http://schemas.microsoft.com/office/drawing/2014/main" id="{47E2B634-D385-1E6D-4B0F-E4F4CA0751B1}"/>
                </a:ext>
              </a:extLst>
            </p:cNvPr>
            <p:cNvSpPr/>
            <p:nvPr/>
          </p:nvSpPr>
          <p:spPr>
            <a:xfrm>
              <a:off x="5992861" y="747604"/>
              <a:ext cx="26984" cy="36513"/>
            </a:xfrm>
            <a:custGeom>
              <a:avLst/>
              <a:gdLst>
                <a:gd name="connsiteX0" fmla="*/ 12211 w 20884"/>
                <a:gd name="connsiteY0" fmla="*/ 146 h 28431"/>
                <a:gd name="connsiteX1" fmla="*/ 53 w 20884"/>
                <a:gd name="connsiteY1" fmla="*/ 15755 h 28431"/>
                <a:gd name="connsiteX2" fmla="*/ 989 w 20884"/>
                <a:gd name="connsiteY2" fmla="*/ 25059 h 28431"/>
                <a:gd name="connsiteX3" fmla="*/ 3693 w 20884"/>
                <a:gd name="connsiteY3" fmla="*/ 27899 h 28431"/>
                <a:gd name="connsiteX4" fmla="*/ 8215 w 20884"/>
                <a:gd name="connsiteY4" fmla="*/ 27518 h 28431"/>
                <a:gd name="connsiteX5" fmla="*/ 10529 w 20884"/>
                <a:gd name="connsiteY5" fmla="*/ 22471 h 28431"/>
                <a:gd name="connsiteX6" fmla="*/ 16217 w 20884"/>
                <a:gd name="connsiteY6" fmla="*/ 26988 h 28431"/>
                <a:gd name="connsiteX7" fmla="*/ 20729 w 20884"/>
                <a:gd name="connsiteY7" fmla="*/ 22591 h 28431"/>
                <a:gd name="connsiteX8" fmla="*/ 18921 w 20884"/>
                <a:gd name="connsiteY8" fmla="*/ 5309 h 28431"/>
                <a:gd name="connsiteX9" fmla="*/ 12211 w 20884"/>
                <a:gd name="connsiteY9" fmla="*/ 146 h 2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84" h="28431">
                  <a:moveTo>
                    <a:pt x="12211" y="146"/>
                  </a:moveTo>
                  <a:cubicBezTo>
                    <a:pt x="9748" y="1182"/>
                    <a:pt x="-839" y="7623"/>
                    <a:pt x="53" y="15755"/>
                  </a:cubicBezTo>
                  <a:cubicBezTo>
                    <a:pt x="849" y="19776"/>
                    <a:pt x="1495" y="23136"/>
                    <a:pt x="989" y="25059"/>
                  </a:cubicBezTo>
                  <a:cubicBezTo>
                    <a:pt x="463" y="26988"/>
                    <a:pt x="2406" y="27899"/>
                    <a:pt x="3693" y="27899"/>
                  </a:cubicBezTo>
                  <a:cubicBezTo>
                    <a:pt x="4999" y="27899"/>
                    <a:pt x="7689" y="29321"/>
                    <a:pt x="8215" y="27518"/>
                  </a:cubicBezTo>
                  <a:cubicBezTo>
                    <a:pt x="8726" y="25672"/>
                    <a:pt x="9748" y="21314"/>
                    <a:pt x="10529" y="22471"/>
                  </a:cubicBezTo>
                  <a:cubicBezTo>
                    <a:pt x="11310" y="23657"/>
                    <a:pt x="14795" y="27899"/>
                    <a:pt x="16217" y="26988"/>
                  </a:cubicBezTo>
                  <a:cubicBezTo>
                    <a:pt x="17615" y="26096"/>
                    <a:pt x="21732" y="24177"/>
                    <a:pt x="20729" y="22591"/>
                  </a:cubicBezTo>
                  <a:cubicBezTo>
                    <a:pt x="19712" y="21000"/>
                    <a:pt x="16087" y="15481"/>
                    <a:pt x="18921" y="5309"/>
                  </a:cubicBezTo>
                  <a:cubicBezTo>
                    <a:pt x="19307" y="4022"/>
                    <a:pt x="14149" y="-905"/>
                    <a:pt x="12211" y="14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26" name="Freihandform: Form 325">
              <a:extLst>
                <a:ext uri="{FF2B5EF4-FFF2-40B4-BE49-F238E27FC236}">
                  <a16:creationId xmlns:a16="http://schemas.microsoft.com/office/drawing/2014/main" id="{FAD7A6AD-5CDE-2CD4-E069-13C2ABAF4D40}"/>
                </a:ext>
              </a:extLst>
            </p:cNvPr>
            <p:cNvSpPr/>
            <p:nvPr/>
          </p:nvSpPr>
          <p:spPr>
            <a:xfrm>
              <a:off x="6019845" y="761891"/>
              <a:ext cx="6349" cy="14289"/>
            </a:xfrm>
            <a:custGeom>
              <a:avLst/>
              <a:gdLst>
                <a:gd name="connsiteX0" fmla="*/ 2714 w 5975"/>
                <a:gd name="connsiteY0" fmla="*/ 0 h 10576"/>
                <a:gd name="connsiteX1" fmla="*/ 5809 w 5975"/>
                <a:gd name="connsiteY1" fmla="*/ 10577 h 10576"/>
                <a:gd name="connsiteX2" fmla="*/ 0 w 5975"/>
                <a:gd name="connsiteY2" fmla="*/ 7487 h 10576"/>
                <a:gd name="connsiteX3" fmla="*/ 2714 w 5975"/>
                <a:gd name="connsiteY3" fmla="*/ 0 h 10576"/>
              </a:gdLst>
              <a:ahLst/>
              <a:cxnLst>
                <a:cxn ang="0">
                  <a:pos x="connsiteX0" y="connsiteY0"/>
                </a:cxn>
                <a:cxn ang="0">
                  <a:pos x="connsiteX1" y="connsiteY1"/>
                </a:cxn>
                <a:cxn ang="0">
                  <a:pos x="connsiteX2" y="connsiteY2"/>
                </a:cxn>
                <a:cxn ang="0">
                  <a:pos x="connsiteX3" y="connsiteY3"/>
                </a:cxn>
              </a:cxnLst>
              <a:rect l="l" t="t" r="r" b="b"/>
              <a:pathLst>
                <a:path w="5975" h="10576">
                  <a:moveTo>
                    <a:pt x="2714" y="0"/>
                  </a:moveTo>
                  <a:cubicBezTo>
                    <a:pt x="2714" y="0"/>
                    <a:pt x="6846" y="6725"/>
                    <a:pt x="5809" y="10577"/>
                  </a:cubicBezTo>
                  <a:cubicBezTo>
                    <a:pt x="3862" y="10577"/>
                    <a:pt x="0" y="7487"/>
                    <a:pt x="0" y="7487"/>
                  </a:cubicBezTo>
                  <a:lnTo>
                    <a:pt x="2714"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27" name="Freihandform: Form 326">
              <a:extLst>
                <a:ext uri="{FF2B5EF4-FFF2-40B4-BE49-F238E27FC236}">
                  <a16:creationId xmlns:a16="http://schemas.microsoft.com/office/drawing/2014/main" id="{A755929F-8F05-1F97-1436-FAC1A5BB9C2C}"/>
                </a:ext>
              </a:extLst>
            </p:cNvPr>
            <p:cNvSpPr/>
            <p:nvPr/>
          </p:nvSpPr>
          <p:spPr>
            <a:xfrm>
              <a:off x="6019845" y="784117"/>
              <a:ext cx="20636" cy="17464"/>
            </a:xfrm>
            <a:custGeom>
              <a:avLst/>
              <a:gdLst>
                <a:gd name="connsiteX0" fmla="*/ 2593 w 16155"/>
                <a:gd name="connsiteY0" fmla="*/ 0 h 13838"/>
                <a:gd name="connsiteX1" fmla="*/ 8937 w 16155"/>
                <a:gd name="connsiteY1" fmla="*/ 5799 h 13838"/>
                <a:gd name="connsiteX2" fmla="*/ 16024 w 16155"/>
                <a:gd name="connsiteY2" fmla="*/ 4787 h 13838"/>
                <a:gd name="connsiteX3" fmla="*/ 12018 w 16155"/>
                <a:gd name="connsiteY3" fmla="*/ 8398 h 13838"/>
                <a:gd name="connsiteX4" fmla="*/ 8528 w 16155"/>
                <a:gd name="connsiteY4" fmla="*/ 13541 h 13838"/>
                <a:gd name="connsiteX5" fmla="*/ 2213 w 16155"/>
                <a:gd name="connsiteY5" fmla="*/ 13435 h 13838"/>
                <a:gd name="connsiteX6" fmla="*/ 0 w 16155"/>
                <a:gd name="connsiteY6" fmla="*/ 6980 h 13838"/>
                <a:gd name="connsiteX7" fmla="*/ 2593 w 16155"/>
                <a:gd name="connsiteY7" fmla="*/ 0 h 13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55" h="13838">
                  <a:moveTo>
                    <a:pt x="2593" y="0"/>
                  </a:moveTo>
                  <a:cubicBezTo>
                    <a:pt x="2593" y="0"/>
                    <a:pt x="7501" y="6074"/>
                    <a:pt x="8937" y="5799"/>
                  </a:cubicBezTo>
                  <a:cubicBezTo>
                    <a:pt x="10340" y="5549"/>
                    <a:pt x="17186" y="3852"/>
                    <a:pt x="16024" y="4787"/>
                  </a:cubicBezTo>
                  <a:cubicBezTo>
                    <a:pt x="14843" y="5693"/>
                    <a:pt x="12659" y="7221"/>
                    <a:pt x="12018" y="8398"/>
                  </a:cubicBezTo>
                  <a:cubicBezTo>
                    <a:pt x="11362" y="9545"/>
                    <a:pt x="9559" y="13300"/>
                    <a:pt x="8528" y="13541"/>
                  </a:cubicBezTo>
                  <a:cubicBezTo>
                    <a:pt x="7501" y="13811"/>
                    <a:pt x="2213" y="14091"/>
                    <a:pt x="2213" y="13435"/>
                  </a:cubicBezTo>
                  <a:cubicBezTo>
                    <a:pt x="2213" y="12770"/>
                    <a:pt x="0" y="6980"/>
                    <a:pt x="0" y="6980"/>
                  </a:cubicBezTo>
                  <a:lnTo>
                    <a:pt x="2593"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28" name="Freihandform: Form 327">
              <a:extLst>
                <a:ext uri="{FF2B5EF4-FFF2-40B4-BE49-F238E27FC236}">
                  <a16:creationId xmlns:a16="http://schemas.microsoft.com/office/drawing/2014/main" id="{9D821F33-28A4-E261-DD89-4F4E09763775}"/>
                </a:ext>
              </a:extLst>
            </p:cNvPr>
            <p:cNvSpPr/>
            <p:nvPr/>
          </p:nvSpPr>
          <p:spPr>
            <a:xfrm>
              <a:off x="6013496" y="792056"/>
              <a:ext cx="3175" cy="11112"/>
            </a:xfrm>
            <a:custGeom>
              <a:avLst/>
              <a:gdLst>
                <a:gd name="connsiteX0" fmla="*/ 0 w 1918"/>
                <a:gd name="connsiteY0" fmla="*/ 328 h 8016"/>
                <a:gd name="connsiteX1" fmla="*/ 1919 w 1918"/>
                <a:gd name="connsiteY1" fmla="*/ 0 h 8016"/>
                <a:gd name="connsiteX2" fmla="*/ 390 w 1918"/>
                <a:gd name="connsiteY2" fmla="*/ 8017 h 8016"/>
              </a:gdLst>
              <a:ahLst/>
              <a:cxnLst>
                <a:cxn ang="0">
                  <a:pos x="connsiteX0" y="connsiteY0"/>
                </a:cxn>
                <a:cxn ang="0">
                  <a:pos x="connsiteX1" y="connsiteY1"/>
                </a:cxn>
                <a:cxn ang="0">
                  <a:pos x="connsiteX2" y="connsiteY2"/>
                </a:cxn>
              </a:cxnLst>
              <a:rect l="l" t="t" r="r" b="b"/>
              <a:pathLst>
                <a:path w="1918" h="8016">
                  <a:moveTo>
                    <a:pt x="0" y="328"/>
                  </a:moveTo>
                  <a:lnTo>
                    <a:pt x="1919" y="0"/>
                  </a:lnTo>
                  <a:lnTo>
                    <a:pt x="390" y="801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29" name="Freihandform: Form 328">
              <a:extLst>
                <a:ext uri="{FF2B5EF4-FFF2-40B4-BE49-F238E27FC236}">
                  <a16:creationId xmlns:a16="http://schemas.microsoft.com/office/drawing/2014/main" id="{C228D375-C1C5-2DCA-940C-F56C04ED9D94}"/>
                </a:ext>
              </a:extLst>
            </p:cNvPr>
            <p:cNvSpPr/>
            <p:nvPr/>
          </p:nvSpPr>
          <p:spPr>
            <a:xfrm>
              <a:off x="6011909" y="807931"/>
              <a:ext cx="11111" cy="19051"/>
            </a:xfrm>
            <a:custGeom>
              <a:avLst/>
              <a:gdLst>
                <a:gd name="connsiteX0" fmla="*/ 1914 w 9029"/>
                <a:gd name="connsiteY0" fmla="*/ 0 h 14601"/>
                <a:gd name="connsiteX1" fmla="*/ 7993 w 9029"/>
                <a:gd name="connsiteY1" fmla="*/ 1282 h 14601"/>
                <a:gd name="connsiteX2" fmla="*/ 9029 w 9029"/>
                <a:gd name="connsiteY2" fmla="*/ 7882 h 14601"/>
                <a:gd name="connsiteX3" fmla="*/ 5939 w 9029"/>
                <a:gd name="connsiteY3" fmla="*/ 14602 h 14601"/>
                <a:gd name="connsiteX4" fmla="*/ 492 w 9029"/>
                <a:gd name="connsiteY4" fmla="*/ 13431 h 14601"/>
                <a:gd name="connsiteX5" fmla="*/ 0 w 9029"/>
                <a:gd name="connsiteY5" fmla="*/ 6600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29" h="14601">
                  <a:moveTo>
                    <a:pt x="1914" y="0"/>
                  </a:moveTo>
                  <a:lnTo>
                    <a:pt x="7993" y="1282"/>
                  </a:lnTo>
                  <a:lnTo>
                    <a:pt x="9029" y="7882"/>
                  </a:lnTo>
                  <a:lnTo>
                    <a:pt x="5939" y="14602"/>
                  </a:lnTo>
                  <a:lnTo>
                    <a:pt x="492" y="13431"/>
                  </a:lnTo>
                  <a:lnTo>
                    <a:pt x="0" y="660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30" name="Freihandform: Form 329">
              <a:extLst>
                <a:ext uri="{FF2B5EF4-FFF2-40B4-BE49-F238E27FC236}">
                  <a16:creationId xmlns:a16="http://schemas.microsoft.com/office/drawing/2014/main" id="{EE9BB78C-8838-5F45-62A1-99BAFB8AA3DD}"/>
                </a:ext>
              </a:extLst>
            </p:cNvPr>
            <p:cNvSpPr/>
            <p:nvPr/>
          </p:nvSpPr>
          <p:spPr>
            <a:xfrm>
              <a:off x="5938892" y="755541"/>
              <a:ext cx="36508" cy="34926"/>
            </a:xfrm>
            <a:custGeom>
              <a:avLst/>
              <a:gdLst>
                <a:gd name="connsiteX0" fmla="*/ 19370 w 28543"/>
                <a:gd name="connsiteY0" fmla="*/ 8307 h 27290"/>
                <a:gd name="connsiteX1" fmla="*/ 21852 w 28543"/>
                <a:gd name="connsiteY1" fmla="*/ 13990 h 27290"/>
                <a:gd name="connsiteX2" fmla="*/ 28543 w 28543"/>
                <a:gd name="connsiteY2" fmla="*/ 20315 h 27290"/>
                <a:gd name="connsiteX3" fmla="*/ 22860 w 28543"/>
                <a:gd name="connsiteY3" fmla="*/ 26799 h 27290"/>
                <a:gd name="connsiteX4" fmla="*/ 12013 w 28543"/>
                <a:gd name="connsiteY4" fmla="*/ 27291 h 27290"/>
                <a:gd name="connsiteX5" fmla="*/ 0 w 28543"/>
                <a:gd name="connsiteY5" fmla="*/ 1611 h 27290"/>
                <a:gd name="connsiteX6" fmla="*/ 7486 w 28543"/>
                <a:gd name="connsiteY6" fmla="*/ 820 h 27290"/>
                <a:gd name="connsiteX7" fmla="*/ 10972 w 28543"/>
                <a:gd name="connsiteY7" fmla="*/ 5462 h 27290"/>
                <a:gd name="connsiteX8" fmla="*/ 13696 w 28543"/>
                <a:gd name="connsiteY8" fmla="*/ 12332 h 27290"/>
                <a:gd name="connsiteX9" fmla="*/ 19370 w 28543"/>
                <a:gd name="connsiteY9" fmla="*/ 8307 h 27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43" h="27290">
                  <a:moveTo>
                    <a:pt x="19370" y="8307"/>
                  </a:moveTo>
                  <a:lnTo>
                    <a:pt x="21852" y="13990"/>
                  </a:lnTo>
                  <a:lnTo>
                    <a:pt x="28543" y="20315"/>
                  </a:lnTo>
                  <a:lnTo>
                    <a:pt x="22860" y="26799"/>
                  </a:lnTo>
                  <a:lnTo>
                    <a:pt x="12013" y="27291"/>
                  </a:lnTo>
                  <a:cubicBezTo>
                    <a:pt x="12013" y="27291"/>
                    <a:pt x="12543" y="13995"/>
                    <a:pt x="0" y="1611"/>
                  </a:cubicBezTo>
                  <a:cubicBezTo>
                    <a:pt x="4122" y="-607"/>
                    <a:pt x="6455" y="-192"/>
                    <a:pt x="7486" y="820"/>
                  </a:cubicBezTo>
                  <a:cubicBezTo>
                    <a:pt x="8518" y="1861"/>
                    <a:pt x="10972" y="5462"/>
                    <a:pt x="10972" y="5462"/>
                  </a:cubicBezTo>
                  <a:lnTo>
                    <a:pt x="13696" y="12332"/>
                  </a:lnTo>
                  <a:lnTo>
                    <a:pt x="19370" y="830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31" name="Freihandform: Form 330">
              <a:extLst>
                <a:ext uri="{FF2B5EF4-FFF2-40B4-BE49-F238E27FC236}">
                  <a16:creationId xmlns:a16="http://schemas.microsoft.com/office/drawing/2014/main" id="{4E0F653B-00AA-4207-0055-1CDA064AF9B6}"/>
                </a:ext>
              </a:extLst>
            </p:cNvPr>
            <p:cNvSpPr/>
            <p:nvPr/>
          </p:nvSpPr>
          <p:spPr>
            <a:xfrm>
              <a:off x="5929368" y="774592"/>
              <a:ext cx="14285" cy="9525"/>
            </a:xfrm>
            <a:custGeom>
              <a:avLst/>
              <a:gdLst>
                <a:gd name="connsiteX0" fmla="*/ 909 w 10604"/>
                <a:gd name="connsiteY0" fmla="*/ 0 h 8546"/>
                <a:gd name="connsiteX1" fmla="*/ 8141 w 10604"/>
                <a:gd name="connsiteY1" fmla="*/ 2849 h 8546"/>
                <a:gd name="connsiteX2" fmla="*/ 10604 w 10604"/>
                <a:gd name="connsiteY2" fmla="*/ 8533 h 8546"/>
                <a:gd name="connsiteX3" fmla="*/ 13 w 10604"/>
                <a:gd name="connsiteY3" fmla="*/ 5688 h 8546"/>
                <a:gd name="connsiteX4" fmla="*/ 909 w 10604"/>
                <a:gd name="connsiteY4" fmla="*/ 0 h 8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04" h="8546">
                  <a:moveTo>
                    <a:pt x="909" y="0"/>
                  </a:moveTo>
                  <a:lnTo>
                    <a:pt x="8141" y="2849"/>
                  </a:lnTo>
                  <a:lnTo>
                    <a:pt x="10604" y="8533"/>
                  </a:lnTo>
                  <a:cubicBezTo>
                    <a:pt x="10604" y="8533"/>
                    <a:pt x="3267" y="8909"/>
                    <a:pt x="13" y="5688"/>
                  </a:cubicBezTo>
                  <a:cubicBezTo>
                    <a:pt x="-127" y="3196"/>
                    <a:pt x="909" y="0"/>
                    <a:pt x="909"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32" name="Freihandform: Form 331">
              <a:extLst>
                <a:ext uri="{FF2B5EF4-FFF2-40B4-BE49-F238E27FC236}">
                  <a16:creationId xmlns:a16="http://schemas.microsoft.com/office/drawing/2014/main" id="{FAB25824-D070-5225-4959-C86C8FFF4C31}"/>
                </a:ext>
              </a:extLst>
            </p:cNvPr>
            <p:cNvSpPr/>
            <p:nvPr/>
          </p:nvSpPr>
          <p:spPr>
            <a:xfrm>
              <a:off x="5910320" y="760304"/>
              <a:ext cx="11111" cy="23813"/>
            </a:xfrm>
            <a:custGeom>
              <a:avLst/>
              <a:gdLst>
                <a:gd name="connsiteX0" fmla="*/ 6966 w 8730"/>
                <a:gd name="connsiteY0" fmla="*/ 0 h 19239"/>
                <a:gd name="connsiteX1" fmla="*/ 6711 w 8730"/>
                <a:gd name="connsiteY1" fmla="*/ 19239 h 19239"/>
                <a:gd name="connsiteX2" fmla="*/ 0 w 8730"/>
                <a:gd name="connsiteY2" fmla="*/ 15614 h 19239"/>
                <a:gd name="connsiteX3" fmla="*/ 1543 w 8730"/>
                <a:gd name="connsiteY3" fmla="*/ 9415 h 19239"/>
                <a:gd name="connsiteX4" fmla="*/ 2555 w 8730"/>
                <a:gd name="connsiteY4" fmla="*/ 5804 h 19239"/>
                <a:gd name="connsiteX5" fmla="*/ 516 w 8730"/>
                <a:gd name="connsiteY5" fmla="*/ 1046 h 19239"/>
                <a:gd name="connsiteX6" fmla="*/ 6966 w 8730"/>
                <a:gd name="connsiteY6" fmla="*/ 0 h 19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30" h="19239">
                  <a:moveTo>
                    <a:pt x="6966" y="0"/>
                  </a:moveTo>
                  <a:cubicBezTo>
                    <a:pt x="6966" y="0"/>
                    <a:pt x="11102" y="9540"/>
                    <a:pt x="6711" y="19239"/>
                  </a:cubicBezTo>
                  <a:cubicBezTo>
                    <a:pt x="3215" y="18184"/>
                    <a:pt x="0" y="15614"/>
                    <a:pt x="0" y="15614"/>
                  </a:cubicBezTo>
                  <a:cubicBezTo>
                    <a:pt x="0" y="15614"/>
                    <a:pt x="516" y="10070"/>
                    <a:pt x="1543" y="9415"/>
                  </a:cubicBezTo>
                  <a:cubicBezTo>
                    <a:pt x="2555" y="8779"/>
                    <a:pt x="3746" y="7327"/>
                    <a:pt x="2555" y="5804"/>
                  </a:cubicBezTo>
                  <a:cubicBezTo>
                    <a:pt x="1403" y="4281"/>
                    <a:pt x="516" y="1046"/>
                    <a:pt x="516" y="1046"/>
                  </a:cubicBezTo>
                  <a:lnTo>
                    <a:pt x="6966"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33" name="Freihandform: Form 332">
              <a:extLst>
                <a:ext uri="{FF2B5EF4-FFF2-40B4-BE49-F238E27FC236}">
                  <a16:creationId xmlns:a16="http://schemas.microsoft.com/office/drawing/2014/main" id="{888DEC70-FF49-3496-1905-801D4FC79E99}"/>
                </a:ext>
              </a:extLst>
            </p:cNvPr>
            <p:cNvSpPr/>
            <p:nvPr/>
          </p:nvSpPr>
          <p:spPr>
            <a:xfrm>
              <a:off x="5891273" y="787292"/>
              <a:ext cx="17460" cy="23814"/>
            </a:xfrm>
            <a:custGeom>
              <a:avLst/>
              <a:gdLst>
                <a:gd name="connsiteX0" fmla="*/ 9940 w 14192"/>
                <a:gd name="connsiteY0" fmla="*/ 275 h 18868"/>
                <a:gd name="connsiteX1" fmla="*/ 14192 w 14192"/>
                <a:gd name="connsiteY1" fmla="*/ 6344 h 18868"/>
                <a:gd name="connsiteX2" fmla="*/ 7096 w 14192"/>
                <a:gd name="connsiteY2" fmla="*/ 9960 h 18868"/>
                <a:gd name="connsiteX3" fmla="*/ 4734 w 14192"/>
                <a:gd name="connsiteY3" fmla="*/ 18155 h 18868"/>
                <a:gd name="connsiteX4" fmla="*/ 1663 w 14192"/>
                <a:gd name="connsiteY4" fmla="*/ 18868 h 18868"/>
                <a:gd name="connsiteX5" fmla="*/ 2309 w 14192"/>
                <a:gd name="connsiteY5" fmla="*/ 12028 h 18868"/>
                <a:gd name="connsiteX6" fmla="*/ 0 w 14192"/>
                <a:gd name="connsiteY6" fmla="*/ 6344 h 18868"/>
                <a:gd name="connsiteX7" fmla="*/ 516 w 14192"/>
                <a:gd name="connsiteY7" fmla="*/ 0 h 18868"/>
                <a:gd name="connsiteX8" fmla="*/ 5809 w 14192"/>
                <a:gd name="connsiteY8" fmla="*/ 6103 h 18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92" h="18868">
                  <a:moveTo>
                    <a:pt x="9940" y="275"/>
                  </a:moveTo>
                  <a:lnTo>
                    <a:pt x="14192" y="6344"/>
                  </a:lnTo>
                  <a:lnTo>
                    <a:pt x="7096" y="9960"/>
                  </a:lnTo>
                  <a:lnTo>
                    <a:pt x="4734" y="18155"/>
                  </a:lnTo>
                  <a:lnTo>
                    <a:pt x="1663" y="18868"/>
                  </a:lnTo>
                  <a:lnTo>
                    <a:pt x="2309" y="12028"/>
                  </a:lnTo>
                  <a:lnTo>
                    <a:pt x="0" y="6344"/>
                  </a:lnTo>
                  <a:lnTo>
                    <a:pt x="516" y="0"/>
                  </a:lnTo>
                  <a:lnTo>
                    <a:pt x="5809" y="610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34" name="Freihandform: Form 333">
              <a:extLst>
                <a:ext uri="{FF2B5EF4-FFF2-40B4-BE49-F238E27FC236}">
                  <a16:creationId xmlns:a16="http://schemas.microsoft.com/office/drawing/2014/main" id="{56497CA3-B082-3759-ACC9-2E3A9131E33C}"/>
                </a:ext>
              </a:extLst>
            </p:cNvPr>
            <p:cNvSpPr/>
            <p:nvPr/>
          </p:nvSpPr>
          <p:spPr>
            <a:xfrm>
              <a:off x="5897622" y="787292"/>
              <a:ext cx="57144" cy="57152"/>
            </a:xfrm>
            <a:custGeom>
              <a:avLst/>
              <a:gdLst>
                <a:gd name="connsiteX0" fmla="*/ 25559 w 44287"/>
                <a:gd name="connsiteY0" fmla="*/ 0 h 44186"/>
                <a:gd name="connsiteX1" fmla="*/ 24643 w 44287"/>
                <a:gd name="connsiteY1" fmla="*/ 6330 h 44186"/>
                <a:gd name="connsiteX2" fmla="*/ 29430 w 44287"/>
                <a:gd name="connsiteY2" fmla="*/ 13802 h 44186"/>
                <a:gd name="connsiteX3" fmla="*/ 31373 w 44287"/>
                <a:gd name="connsiteY3" fmla="*/ 13585 h 44186"/>
                <a:gd name="connsiteX4" fmla="*/ 30727 w 44287"/>
                <a:gd name="connsiteY4" fmla="*/ 7511 h 44186"/>
                <a:gd name="connsiteX5" fmla="*/ 37968 w 44287"/>
                <a:gd name="connsiteY5" fmla="*/ 5954 h 44186"/>
                <a:gd name="connsiteX6" fmla="*/ 39376 w 44287"/>
                <a:gd name="connsiteY6" fmla="*/ 12409 h 44186"/>
                <a:gd name="connsiteX7" fmla="*/ 44288 w 44287"/>
                <a:gd name="connsiteY7" fmla="*/ 11637 h 44186"/>
                <a:gd name="connsiteX8" fmla="*/ 32795 w 44287"/>
                <a:gd name="connsiteY8" fmla="*/ 37197 h 44186"/>
                <a:gd name="connsiteX9" fmla="*/ 20015 w 44287"/>
                <a:gd name="connsiteY9" fmla="*/ 44187 h 44186"/>
                <a:gd name="connsiteX10" fmla="*/ 0 w 44287"/>
                <a:gd name="connsiteY10" fmla="*/ 29054 h 44186"/>
                <a:gd name="connsiteX11" fmla="*/ 0 w 44287"/>
                <a:gd name="connsiteY11" fmla="*/ 22358 h 44186"/>
                <a:gd name="connsiteX12" fmla="*/ 5168 w 44287"/>
                <a:gd name="connsiteY12" fmla="*/ 25068 h 44186"/>
                <a:gd name="connsiteX13" fmla="*/ 3471 w 44287"/>
                <a:gd name="connsiteY13" fmla="*/ 13585 h 44186"/>
                <a:gd name="connsiteX14" fmla="*/ 15099 w 44287"/>
                <a:gd name="connsiteY14" fmla="*/ 10220 h 44186"/>
                <a:gd name="connsiteX15" fmla="*/ 13295 w 44287"/>
                <a:gd name="connsiteY15" fmla="*/ 2965 h 44186"/>
                <a:gd name="connsiteX16" fmla="*/ 18854 w 44287"/>
                <a:gd name="connsiteY16" fmla="*/ 2965 h 44186"/>
                <a:gd name="connsiteX17" fmla="*/ 25559 w 44287"/>
                <a:gd name="connsiteY17" fmla="*/ 0 h 4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287" h="44186">
                  <a:moveTo>
                    <a:pt x="25559" y="0"/>
                  </a:moveTo>
                  <a:lnTo>
                    <a:pt x="24643" y="6330"/>
                  </a:lnTo>
                  <a:lnTo>
                    <a:pt x="29430" y="13802"/>
                  </a:lnTo>
                  <a:lnTo>
                    <a:pt x="31373" y="13585"/>
                  </a:lnTo>
                  <a:lnTo>
                    <a:pt x="30727" y="7511"/>
                  </a:lnTo>
                  <a:lnTo>
                    <a:pt x="37968" y="5954"/>
                  </a:lnTo>
                  <a:lnTo>
                    <a:pt x="39376" y="12409"/>
                  </a:lnTo>
                  <a:lnTo>
                    <a:pt x="44288" y="11637"/>
                  </a:lnTo>
                  <a:cubicBezTo>
                    <a:pt x="44288" y="11637"/>
                    <a:pt x="36271" y="20797"/>
                    <a:pt x="32795" y="37197"/>
                  </a:cubicBezTo>
                  <a:cubicBezTo>
                    <a:pt x="24272" y="42899"/>
                    <a:pt x="20015" y="44187"/>
                    <a:pt x="20015" y="44187"/>
                  </a:cubicBezTo>
                  <a:cubicBezTo>
                    <a:pt x="20015" y="44187"/>
                    <a:pt x="13180" y="31764"/>
                    <a:pt x="0" y="29054"/>
                  </a:cubicBezTo>
                  <a:cubicBezTo>
                    <a:pt x="0" y="24412"/>
                    <a:pt x="0" y="22358"/>
                    <a:pt x="0" y="22358"/>
                  </a:cubicBezTo>
                  <a:lnTo>
                    <a:pt x="5168" y="25068"/>
                  </a:lnTo>
                  <a:cubicBezTo>
                    <a:pt x="5168" y="25068"/>
                    <a:pt x="0" y="13802"/>
                    <a:pt x="3471" y="13585"/>
                  </a:cubicBezTo>
                  <a:cubicBezTo>
                    <a:pt x="6966" y="13305"/>
                    <a:pt x="15099" y="10220"/>
                    <a:pt x="15099" y="10220"/>
                  </a:cubicBezTo>
                  <a:lnTo>
                    <a:pt x="13295" y="2965"/>
                  </a:lnTo>
                  <a:lnTo>
                    <a:pt x="18854" y="2965"/>
                  </a:lnTo>
                  <a:lnTo>
                    <a:pt x="25559"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35" name="Freihandform: Form 334">
              <a:extLst>
                <a:ext uri="{FF2B5EF4-FFF2-40B4-BE49-F238E27FC236}">
                  <a16:creationId xmlns:a16="http://schemas.microsoft.com/office/drawing/2014/main" id="{D01D4707-F882-B57F-D59D-791E00227737}"/>
                </a:ext>
              </a:extLst>
            </p:cNvPr>
            <p:cNvSpPr/>
            <p:nvPr/>
          </p:nvSpPr>
          <p:spPr>
            <a:xfrm>
              <a:off x="5945242" y="801581"/>
              <a:ext cx="20635" cy="30163"/>
            </a:xfrm>
            <a:custGeom>
              <a:avLst/>
              <a:gdLst>
                <a:gd name="connsiteX0" fmla="*/ 16140 w 16139"/>
                <a:gd name="connsiteY0" fmla="*/ 25 h 24423"/>
                <a:gd name="connsiteX1" fmla="*/ 11237 w 16139"/>
                <a:gd name="connsiteY1" fmla="*/ 19776 h 24423"/>
                <a:gd name="connsiteX2" fmla="*/ 0 w 16139"/>
                <a:gd name="connsiteY2" fmla="*/ 24423 h 24423"/>
                <a:gd name="connsiteX3" fmla="*/ 11608 w 16139"/>
                <a:gd name="connsiteY3" fmla="*/ 262 h 24423"/>
                <a:gd name="connsiteX4" fmla="*/ 16140 w 16139"/>
                <a:gd name="connsiteY4" fmla="*/ 25 h 24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9" h="24423">
                  <a:moveTo>
                    <a:pt x="16140" y="25"/>
                  </a:moveTo>
                  <a:cubicBezTo>
                    <a:pt x="16140" y="25"/>
                    <a:pt x="15103" y="18484"/>
                    <a:pt x="11237" y="19776"/>
                  </a:cubicBezTo>
                  <a:cubicBezTo>
                    <a:pt x="7366" y="21058"/>
                    <a:pt x="1991" y="21936"/>
                    <a:pt x="0" y="24423"/>
                  </a:cubicBezTo>
                  <a:cubicBezTo>
                    <a:pt x="540" y="16927"/>
                    <a:pt x="2194" y="7011"/>
                    <a:pt x="11608" y="262"/>
                  </a:cubicBezTo>
                  <a:cubicBezTo>
                    <a:pt x="13831" y="-114"/>
                    <a:pt x="16140" y="25"/>
                    <a:pt x="16140" y="2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36" name="Freihandform: Form 335">
              <a:extLst>
                <a:ext uri="{FF2B5EF4-FFF2-40B4-BE49-F238E27FC236}">
                  <a16:creationId xmlns:a16="http://schemas.microsoft.com/office/drawing/2014/main" id="{E4AD8D38-024D-6AF7-C727-2697908FA644}"/>
                </a:ext>
              </a:extLst>
            </p:cNvPr>
            <p:cNvSpPr/>
            <p:nvPr/>
          </p:nvSpPr>
          <p:spPr>
            <a:xfrm>
              <a:off x="5861113" y="831744"/>
              <a:ext cx="60318" cy="68266"/>
            </a:xfrm>
            <a:custGeom>
              <a:avLst/>
              <a:gdLst>
                <a:gd name="connsiteX0" fmla="*/ 32961 w 46999"/>
                <a:gd name="connsiteY0" fmla="*/ 0 h 53321"/>
                <a:gd name="connsiteX1" fmla="*/ 46922 w 46999"/>
                <a:gd name="connsiteY1" fmla="*/ 16135 h 53321"/>
                <a:gd name="connsiteX2" fmla="*/ 39691 w 46999"/>
                <a:gd name="connsiteY2" fmla="*/ 24885 h 53321"/>
                <a:gd name="connsiteX3" fmla="*/ 35420 w 46999"/>
                <a:gd name="connsiteY3" fmla="*/ 33837 h 53321"/>
                <a:gd name="connsiteX4" fmla="*/ 39551 w 46999"/>
                <a:gd name="connsiteY4" fmla="*/ 38995 h 53321"/>
                <a:gd name="connsiteX5" fmla="*/ 36451 w 46999"/>
                <a:gd name="connsiteY5" fmla="*/ 43753 h 53321"/>
                <a:gd name="connsiteX6" fmla="*/ 30266 w 46999"/>
                <a:gd name="connsiteY6" fmla="*/ 44539 h 53321"/>
                <a:gd name="connsiteX7" fmla="*/ 11268 w 46999"/>
                <a:gd name="connsiteY7" fmla="*/ 53187 h 53321"/>
                <a:gd name="connsiteX8" fmla="*/ 31 w 46999"/>
                <a:gd name="connsiteY8" fmla="*/ 46592 h 53321"/>
                <a:gd name="connsiteX9" fmla="*/ 2745 w 46999"/>
                <a:gd name="connsiteY9" fmla="*/ 40904 h 53321"/>
                <a:gd name="connsiteX10" fmla="*/ 8814 w 46999"/>
                <a:gd name="connsiteY10" fmla="*/ 40417 h 53321"/>
                <a:gd name="connsiteX11" fmla="*/ 14633 w 46999"/>
                <a:gd name="connsiteY11" fmla="*/ 44032 h 53321"/>
                <a:gd name="connsiteX12" fmla="*/ 17086 w 46999"/>
                <a:gd name="connsiteY12" fmla="*/ 37944 h 53321"/>
                <a:gd name="connsiteX13" fmla="*/ 11547 w 46999"/>
                <a:gd name="connsiteY13" fmla="*/ 37447 h 53321"/>
                <a:gd name="connsiteX14" fmla="*/ 10366 w 46999"/>
                <a:gd name="connsiteY14" fmla="*/ 30843 h 53321"/>
                <a:gd name="connsiteX15" fmla="*/ 14112 w 46999"/>
                <a:gd name="connsiteY15" fmla="*/ 27999 h 53321"/>
                <a:gd name="connsiteX16" fmla="*/ 22910 w 46999"/>
                <a:gd name="connsiteY16" fmla="*/ 26548 h 53321"/>
                <a:gd name="connsiteX17" fmla="*/ 15524 w 46999"/>
                <a:gd name="connsiteY17" fmla="*/ 25294 h 53321"/>
                <a:gd name="connsiteX18" fmla="*/ 11408 w 46999"/>
                <a:gd name="connsiteY18" fmla="*/ 18454 h 53321"/>
                <a:gd name="connsiteX19" fmla="*/ 23937 w 46999"/>
                <a:gd name="connsiteY19" fmla="*/ 11734 h 53321"/>
                <a:gd name="connsiteX20" fmla="*/ 29099 w 46999"/>
                <a:gd name="connsiteY20" fmla="*/ 24528 h 53321"/>
                <a:gd name="connsiteX21" fmla="*/ 26115 w 46999"/>
                <a:gd name="connsiteY21" fmla="*/ 3606 h 53321"/>
                <a:gd name="connsiteX22" fmla="*/ 32961 w 46999"/>
                <a:gd name="connsiteY22" fmla="*/ 0 h 53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6999" h="53321">
                  <a:moveTo>
                    <a:pt x="32961" y="0"/>
                  </a:moveTo>
                  <a:cubicBezTo>
                    <a:pt x="32961" y="0"/>
                    <a:pt x="48218" y="7983"/>
                    <a:pt x="46922" y="16135"/>
                  </a:cubicBezTo>
                  <a:cubicBezTo>
                    <a:pt x="44584" y="20271"/>
                    <a:pt x="41219" y="24152"/>
                    <a:pt x="39691" y="24885"/>
                  </a:cubicBezTo>
                  <a:cubicBezTo>
                    <a:pt x="38138" y="25685"/>
                    <a:pt x="33491" y="32130"/>
                    <a:pt x="35420" y="33837"/>
                  </a:cubicBezTo>
                  <a:cubicBezTo>
                    <a:pt x="37367" y="35485"/>
                    <a:pt x="40206" y="36782"/>
                    <a:pt x="39551" y="38995"/>
                  </a:cubicBezTo>
                  <a:cubicBezTo>
                    <a:pt x="39551" y="38995"/>
                    <a:pt x="37897" y="44273"/>
                    <a:pt x="36451" y="43753"/>
                  </a:cubicBezTo>
                  <a:cubicBezTo>
                    <a:pt x="35044" y="43256"/>
                    <a:pt x="31544" y="42986"/>
                    <a:pt x="30266" y="44539"/>
                  </a:cubicBezTo>
                  <a:cubicBezTo>
                    <a:pt x="28964" y="46081"/>
                    <a:pt x="13726" y="54479"/>
                    <a:pt x="11268" y="53187"/>
                  </a:cubicBezTo>
                  <a:cubicBezTo>
                    <a:pt x="8819" y="51895"/>
                    <a:pt x="-606" y="47913"/>
                    <a:pt x="31" y="46592"/>
                  </a:cubicBezTo>
                  <a:cubicBezTo>
                    <a:pt x="691" y="45315"/>
                    <a:pt x="1713" y="41559"/>
                    <a:pt x="2745" y="40904"/>
                  </a:cubicBezTo>
                  <a:cubicBezTo>
                    <a:pt x="3781" y="40277"/>
                    <a:pt x="7402" y="38614"/>
                    <a:pt x="8814" y="40417"/>
                  </a:cubicBezTo>
                  <a:cubicBezTo>
                    <a:pt x="10241" y="42225"/>
                    <a:pt x="13992" y="44924"/>
                    <a:pt x="14633" y="44032"/>
                  </a:cubicBezTo>
                  <a:cubicBezTo>
                    <a:pt x="15274" y="43126"/>
                    <a:pt x="18884" y="37303"/>
                    <a:pt x="17086" y="37944"/>
                  </a:cubicBezTo>
                  <a:cubicBezTo>
                    <a:pt x="15274" y="38614"/>
                    <a:pt x="11914" y="38990"/>
                    <a:pt x="11547" y="37447"/>
                  </a:cubicBezTo>
                  <a:cubicBezTo>
                    <a:pt x="11133" y="35876"/>
                    <a:pt x="10501" y="31364"/>
                    <a:pt x="10366" y="30843"/>
                  </a:cubicBezTo>
                  <a:cubicBezTo>
                    <a:pt x="10246" y="30317"/>
                    <a:pt x="14112" y="27999"/>
                    <a:pt x="14112" y="27999"/>
                  </a:cubicBezTo>
                  <a:lnTo>
                    <a:pt x="22910" y="26548"/>
                  </a:lnTo>
                  <a:lnTo>
                    <a:pt x="15524" y="25294"/>
                  </a:lnTo>
                  <a:lnTo>
                    <a:pt x="11408" y="18454"/>
                  </a:lnTo>
                  <a:cubicBezTo>
                    <a:pt x="11408" y="18454"/>
                    <a:pt x="18884" y="16265"/>
                    <a:pt x="23937" y="11734"/>
                  </a:cubicBezTo>
                  <a:cubicBezTo>
                    <a:pt x="27152" y="14959"/>
                    <a:pt x="28834" y="22209"/>
                    <a:pt x="29099" y="24528"/>
                  </a:cubicBezTo>
                  <a:cubicBezTo>
                    <a:pt x="31172" y="19500"/>
                    <a:pt x="32961" y="9294"/>
                    <a:pt x="26115" y="3606"/>
                  </a:cubicBezTo>
                  <a:cubicBezTo>
                    <a:pt x="30266" y="1668"/>
                    <a:pt x="32961" y="0"/>
                    <a:pt x="32961"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37" name="Freihandform: Form 336">
              <a:extLst>
                <a:ext uri="{FF2B5EF4-FFF2-40B4-BE49-F238E27FC236}">
                  <a16:creationId xmlns:a16="http://schemas.microsoft.com/office/drawing/2014/main" id="{C11B9E5C-F3E0-E3C0-469E-D3928B1F85BB}"/>
                </a:ext>
              </a:extLst>
            </p:cNvPr>
            <p:cNvSpPr/>
            <p:nvPr/>
          </p:nvSpPr>
          <p:spPr>
            <a:xfrm>
              <a:off x="5792859" y="892071"/>
              <a:ext cx="74604" cy="106367"/>
            </a:xfrm>
            <a:custGeom>
              <a:avLst/>
              <a:gdLst>
                <a:gd name="connsiteX0" fmla="*/ 46682 w 58750"/>
                <a:gd name="connsiteY0" fmla="*/ 1051 h 83316"/>
                <a:gd name="connsiteX1" fmla="*/ 49391 w 58750"/>
                <a:gd name="connsiteY1" fmla="*/ 7641 h 83316"/>
                <a:gd name="connsiteX2" fmla="*/ 48364 w 58750"/>
                <a:gd name="connsiteY2" fmla="*/ 13691 h 83316"/>
                <a:gd name="connsiteX3" fmla="*/ 53913 w 58750"/>
                <a:gd name="connsiteY3" fmla="*/ 11121 h 83316"/>
                <a:gd name="connsiteX4" fmla="*/ 51839 w 58750"/>
                <a:gd name="connsiteY4" fmla="*/ 22363 h 83316"/>
                <a:gd name="connsiteX5" fmla="*/ 58425 w 58750"/>
                <a:gd name="connsiteY5" fmla="*/ 23130 h 83316"/>
                <a:gd name="connsiteX6" fmla="*/ 57919 w 58750"/>
                <a:gd name="connsiteY6" fmla="*/ 29064 h 83316"/>
                <a:gd name="connsiteX7" fmla="*/ 53657 w 58750"/>
                <a:gd name="connsiteY7" fmla="*/ 43001 h 83316"/>
                <a:gd name="connsiteX8" fmla="*/ 51700 w 58750"/>
                <a:gd name="connsiteY8" fmla="*/ 58379 h 83316"/>
                <a:gd name="connsiteX9" fmla="*/ 33767 w 58750"/>
                <a:gd name="connsiteY9" fmla="*/ 61599 h 83316"/>
                <a:gd name="connsiteX10" fmla="*/ 32219 w 58750"/>
                <a:gd name="connsiteY10" fmla="*/ 55804 h 83316"/>
                <a:gd name="connsiteX11" fmla="*/ 26627 w 58750"/>
                <a:gd name="connsiteY11" fmla="*/ 66111 h 83316"/>
                <a:gd name="connsiteX12" fmla="*/ 19685 w 58750"/>
                <a:gd name="connsiteY12" fmla="*/ 83316 h 83316"/>
                <a:gd name="connsiteX13" fmla="*/ 13881 w 58750"/>
                <a:gd name="connsiteY13" fmla="*/ 82140 h 83316"/>
                <a:gd name="connsiteX14" fmla="*/ 13486 w 58750"/>
                <a:gd name="connsiteY14" fmla="*/ 75550 h 83316"/>
                <a:gd name="connsiteX15" fmla="*/ 562 w 58750"/>
                <a:gd name="connsiteY15" fmla="*/ 78524 h 83316"/>
                <a:gd name="connsiteX16" fmla="*/ 2500 w 58750"/>
                <a:gd name="connsiteY16" fmla="*/ 70132 h 83316"/>
                <a:gd name="connsiteX17" fmla="*/ 12724 w 58750"/>
                <a:gd name="connsiteY17" fmla="*/ 64058 h 83316"/>
                <a:gd name="connsiteX18" fmla="*/ 16841 w 58750"/>
                <a:gd name="connsiteY18" fmla="*/ 58374 h 83316"/>
                <a:gd name="connsiteX19" fmla="*/ 11427 w 58750"/>
                <a:gd name="connsiteY19" fmla="*/ 60452 h 83316"/>
                <a:gd name="connsiteX20" fmla="*/ 3797 w 58750"/>
                <a:gd name="connsiteY20" fmla="*/ 59656 h 83316"/>
                <a:gd name="connsiteX21" fmla="*/ 8444 w 58750"/>
                <a:gd name="connsiteY21" fmla="*/ 53331 h 83316"/>
                <a:gd name="connsiteX22" fmla="*/ 13727 w 58750"/>
                <a:gd name="connsiteY22" fmla="*/ 50767 h 83316"/>
                <a:gd name="connsiteX23" fmla="*/ 13105 w 58750"/>
                <a:gd name="connsiteY23" fmla="*/ 45830 h 83316"/>
                <a:gd name="connsiteX24" fmla="*/ 4828 w 58750"/>
                <a:gd name="connsiteY24" fmla="*/ 46110 h 83316"/>
                <a:gd name="connsiteX25" fmla="*/ 8193 w 58750"/>
                <a:gd name="connsiteY25" fmla="*/ 40807 h 83316"/>
                <a:gd name="connsiteX26" fmla="*/ 12719 w 58750"/>
                <a:gd name="connsiteY26" fmla="*/ 40942 h 83316"/>
                <a:gd name="connsiteX27" fmla="*/ 8964 w 58750"/>
                <a:gd name="connsiteY27" fmla="*/ 36411 h 83316"/>
                <a:gd name="connsiteX28" fmla="*/ 1217 w 58750"/>
                <a:gd name="connsiteY28" fmla="*/ 34082 h 83316"/>
                <a:gd name="connsiteX29" fmla="*/ 17477 w 58750"/>
                <a:gd name="connsiteY29" fmla="*/ 28669 h 83316"/>
                <a:gd name="connsiteX30" fmla="*/ 22645 w 58750"/>
                <a:gd name="connsiteY30" fmla="*/ 27242 h 83316"/>
                <a:gd name="connsiteX31" fmla="*/ 21493 w 58750"/>
                <a:gd name="connsiteY31" fmla="*/ 23351 h 83316"/>
                <a:gd name="connsiteX32" fmla="*/ 16711 w 58750"/>
                <a:gd name="connsiteY32" fmla="*/ 19746 h 83316"/>
                <a:gd name="connsiteX33" fmla="*/ 19040 w 58750"/>
                <a:gd name="connsiteY33" fmla="*/ 15619 h 83316"/>
                <a:gd name="connsiteX34" fmla="*/ 23301 w 58750"/>
                <a:gd name="connsiteY34" fmla="*/ 14472 h 83316"/>
                <a:gd name="connsiteX35" fmla="*/ 22520 w 58750"/>
                <a:gd name="connsiteY35" fmla="*/ 9159 h 83316"/>
                <a:gd name="connsiteX36" fmla="*/ 31694 w 58750"/>
                <a:gd name="connsiteY36" fmla="*/ 11734 h 83316"/>
                <a:gd name="connsiteX37" fmla="*/ 28339 w 58750"/>
                <a:gd name="connsiteY37" fmla="*/ 6604 h 83316"/>
                <a:gd name="connsiteX38" fmla="*/ 28449 w 58750"/>
                <a:gd name="connsiteY38" fmla="*/ 0 h 83316"/>
                <a:gd name="connsiteX39" fmla="*/ 37373 w 58750"/>
                <a:gd name="connsiteY39" fmla="*/ 13440 h 83316"/>
                <a:gd name="connsiteX40" fmla="*/ 36847 w 58750"/>
                <a:gd name="connsiteY40" fmla="*/ 7496 h 83316"/>
                <a:gd name="connsiteX41" fmla="*/ 38911 w 58750"/>
                <a:gd name="connsiteY41" fmla="*/ 390 h 83316"/>
                <a:gd name="connsiteX42" fmla="*/ 43182 w 58750"/>
                <a:gd name="connsiteY42" fmla="*/ 7115 h 83316"/>
                <a:gd name="connsiteX43" fmla="*/ 46682 w 58750"/>
                <a:gd name="connsiteY43" fmla="*/ 1051 h 83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8750" h="83316">
                  <a:moveTo>
                    <a:pt x="46682" y="1051"/>
                  </a:moveTo>
                  <a:lnTo>
                    <a:pt x="49391" y="7641"/>
                  </a:lnTo>
                  <a:lnTo>
                    <a:pt x="48364" y="13691"/>
                  </a:lnTo>
                  <a:lnTo>
                    <a:pt x="53913" y="11121"/>
                  </a:lnTo>
                  <a:cubicBezTo>
                    <a:pt x="53913" y="11121"/>
                    <a:pt x="56998" y="17191"/>
                    <a:pt x="51839" y="22363"/>
                  </a:cubicBezTo>
                  <a:cubicBezTo>
                    <a:pt x="56376" y="21457"/>
                    <a:pt x="58295" y="21843"/>
                    <a:pt x="58425" y="23130"/>
                  </a:cubicBezTo>
                  <a:cubicBezTo>
                    <a:pt x="58560" y="24412"/>
                    <a:pt x="59317" y="27907"/>
                    <a:pt x="57919" y="29064"/>
                  </a:cubicBezTo>
                  <a:cubicBezTo>
                    <a:pt x="56506" y="30226"/>
                    <a:pt x="51594" y="35919"/>
                    <a:pt x="53657" y="43001"/>
                  </a:cubicBezTo>
                  <a:cubicBezTo>
                    <a:pt x="55711" y="50116"/>
                    <a:pt x="55335" y="57863"/>
                    <a:pt x="51700" y="58379"/>
                  </a:cubicBezTo>
                  <a:cubicBezTo>
                    <a:pt x="48094" y="58904"/>
                    <a:pt x="33767" y="61599"/>
                    <a:pt x="33767" y="61599"/>
                  </a:cubicBezTo>
                  <a:lnTo>
                    <a:pt x="32219" y="55804"/>
                  </a:lnTo>
                  <a:cubicBezTo>
                    <a:pt x="32219" y="55804"/>
                    <a:pt x="28850" y="63677"/>
                    <a:pt x="26627" y="66111"/>
                  </a:cubicBezTo>
                  <a:cubicBezTo>
                    <a:pt x="24472" y="68579"/>
                    <a:pt x="19040" y="75550"/>
                    <a:pt x="19685" y="83316"/>
                  </a:cubicBezTo>
                  <a:cubicBezTo>
                    <a:pt x="16080" y="82791"/>
                    <a:pt x="13881" y="82140"/>
                    <a:pt x="13881" y="82140"/>
                  </a:cubicBezTo>
                  <a:lnTo>
                    <a:pt x="13486" y="75550"/>
                  </a:lnTo>
                  <a:cubicBezTo>
                    <a:pt x="13486" y="75550"/>
                    <a:pt x="6511" y="80337"/>
                    <a:pt x="562" y="78524"/>
                  </a:cubicBezTo>
                  <a:cubicBezTo>
                    <a:pt x="-79" y="74504"/>
                    <a:pt x="-851" y="72325"/>
                    <a:pt x="2500" y="70132"/>
                  </a:cubicBezTo>
                  <a:cubicBezTo>
                    <a:pt x="5860" y="67948"/>
                    <a:pt x="11423" y="66000"/>
                    <a:pt x="12724" y="64058"/>
                  </a:cubicBezTo>
                  <a:cubicBezTo>
                    <a:pt x="13997" y="62115"/>
                    <a:pt x="16841" y="58374"/>
                    <a:pt x="16841" y="58374"/>
                  </a:cubicBezTo>
                  <a:lnTo>
                    <a:pt x="11427" y="60452"/>
                  </a:lnTo>
                  <a:lnTo>
                    <a:pt x="3797" y="59656"/>
                  </a:lnTo>
                  <a:cubicBezTo>
                    <a:pt x="3797" y="59656"/>
                    <a:pt x="6236" y="54522"/>
                    <a:pt x="8444" y="53331"/>
                  </a:cubicBezTo>
                  <a:cubicBezTo>
                    <a:pt x="10652" y="52189"/>
                    <a:pt x="13597" y="53100"/>
                    <a:pt x="13727" y="50767"/>
                  </a:cubicBezTo>
                  <a:cubicBezTo>
                    <a:pt x="13881" y="48434"/>
                    <a:pt x="14773" y="45710"/>
                    <a:pt x="13105" y="45830"/>
                  </a:cubicBezTo>
                  <a:cubicBezTo>
                    <a:pt x="11423" y="45985"/>
                    <a:pt x="4047" y="48024"/>
                    <a:pt x="4828" y="46110"/>
                  </a:cubicBezTo>
                  <a:cubicBezTo>
                    <a:pt x="5609" y="44182"/>
                    <a:pt x="6511" y="40291"/>
                    <a:pt x="8193" y="40807"/>
                  </a:cubicBezTo>
                  <a:cubicBezTo>
                    <a:pt x="9875" y="41323"/>
                    <a:pt x="14908" y="42475"/>
                    <a:pt x="12719" y="40942"/>
                  </a:cubicBezTo>
                  <a:cubicBezTo>
                    <a:pt x="10521" y="39385"/>
                    <a:pt x="8964" y="36411"/>
                    <a:pt x="8964" y="36411"/>
                  </a:cubicBezTo>
                  <a:lnTo>
                    <a:pt x="1217" y="34082"/>
                  </a:lnTo>
                  <a:cubicBezTo>
                    <a:pt x="1217" y="34082"/>
                    <a:pt x="7942" y="26615"/>
                    <a:pt x="17477" y="28669"/>
                  </a:cubicBezTo>
                  <a:cubicBezTo>
                    <a:pt x="20341" y="29464"/>
                    <a:pt x="21749" y="28669"/>
                    <a:pt x="22645" y="27242"/>
                  </a:cubicBezTo>
                  <a:cubicBezTo>
                    <a:pt x="23552" y="25825"/>
                    <a:pt x="23928" y="24017"/>
                    <a:pt x="21493" y="23351"/>
                  </a:cubicBezTo>
                  <a:cubicBezTo>
                    <a:pt x="19040" y="22730"/>
                    <a:pt x="16711" y="21828"/>
                    <a:pt x="16711" y="19746"/>
                  </a:cubicBezTo>
                  <a:cubicBezTo>
                    <a:pt x="16711" y="17702"/>
                    <a:pt x="17232" y="15233"/>
                    <a:pt x="19040" y="15619"/>
                  </a:cubicBezTo>
                  <a:cubicBezTo>
                    <a:pt x="20842" y="15995"/>
                    <a:pt x="24593" y="16415"/>
                    <a:pt x="23301" y="14472"/>
                  </a:cubicBezTo>
                  <a:cubicBezTo>
                    <a:pt x="21995" y="12529"/>
                    <a:pt x="19816" y="7631"/>
                    <a:pt x="22520" y="9159"/>
                  </a:cubicBezTo>
                  <a:cubicBezTo>
                    <a:pt x="25229" y="10721"/>
                    <a:pt x="33762" y="13811"/>
                    <a:pt x="31694" y="11734"/>
                  </a:cubicBezTo>
                  <a:cubicBezTo>
                    <a:pt x="29611" y="9694"/>
                    <a:pt x="28339" y="6604"/>
                    <a:pt x="28339" y="6604"/>
                  </a:cubicBezTo>
                  <a:lnTo>
                    <a:pt x="28449" y="0"/>
                  </a:lnTo>
                  <a:lnTo>
                    <a:pt x="37373" y="13440"/>
                  </a:lnTo>
                  <a:lnTo>
                    <a:pt x="36847" y="7496"/>
                  </a:lnTo>
                  <a:lnTo>
                    <a:pt x="38911" y="390"/>
                  </a:lnTo>
                  <a:lnTo>
                    <a:pt x="43182" y="7115"/>
                  </a:lnTo>
                  <a:lnTo>
                    <a:pt x="46682" y="105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38" name="Freihandform: Form 337">
              <a:extLst>
                <a:ext uri="{FF2B5EF4-FFF2-40B4-BE49-F238E27FC236}">
                  <a16:creationId xmlns:a16="http://schemas.microsoft.com/office/drawing/2014/main" id="{B6D8AA5F-FC33-445A-BA88-2F3D99ACCDD0}"/>
                </a:ext>
              </a:extLst>
            </p:cNvPr>
            <p:cNvSpPr/>
            <p:nvPr/>
          </p:nvSpPr>
          <p:spPr>
            <a:xfrm>
              <a:off x="5829367" y="982563"/>
              <a:ext cx="14286" cy="17463"/>
            </a:xfrm>
            <a:custGeom>
              <a:avLst/>
              <a:gdLst>
                <a:gd name="connsiteX0" fmla="*/ 4787 w 11121"/>
                <a:gd name="connsiteY0" fmla="*/ 0 h 13555"/>
                <a:gd name="connsiteX1" fmla="*/ 11121 w 11121"/>
                <a:gd name="connsiteY1" fmla="*/ 381 h 13555"/>
                <a:gd name="connsiteX2" fmla="*/ 9058 w 11121"/>
                <a:gd name="connsiteY2" fmla="*/ 6561 h 13555"/>
                <a:gd name="connsiteX3" fmla="*/ 0 w 11121"/>
                <a:gd name="connsiteY3" fmla="*/ 13556 h 13555"/>
                <a:gd name="connsiteX4" fmla="*/ 4787 w 11121"/>
                <a:gd name="connsiteY4" fmla="*/ 0 h 13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1" h="13555">
                  <a:moveTo>
                    <a:pt x="4787" y="0"/>
                  </a:moveTo>
                  <a:lnTo>
                    <a:pt x="11121" y="381"/>
                  </a:lnTo>
                  <a:lnTo>
                    <a:pt x="9058" y="6561"/>
                  </a:lnTo>
                  <a:cubicBezTo>
                    <a:pt x="9058" y="6561"/>
                    <a:pt x="1692" y="10442"/>
                    <a:pt x="0" y="13556"/>
                  </a:cubicBezTo>
                  <a:cubicBezTo>
                    <a:pt x="1041" y="5419"/>
                    <a:pt x="4787" y="0"/>
                    <a:pt x="4787"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39" name="Freihandform: Form 338">
              <a:extLst>
                <a:ext uri="{FF2B5EF4-FFF2-40B4-BE49-F238E27FC236}">
                  <a16:creationId xmlns:a16="http://schemas.microsoft.com/office/drawing/2014/main" id="{A9F758C1-CE88-1828-512D-7B2DAD6B3B0A}"/>
                </a:ext>
              </a:extLst>
            </p:cNvPr>
            <p:cNvSpPr/>
            <p:nvPr/>
          </p:nvSpPr>
          <p:spPr>
            <a:xfrm>
              <a:off x="5818256" y="1014314"/>
              <a:ext cx="22222" cy="20638"/>
            </a:xfrm>
            <a:custGeom>
              <a:avLst/>
              <a:gdLst>
                <a:gd name="connsiteX0" fmla="*/ 8172 w 16690"/>
                <a:gd name="connsiteY0" fmla="*/ 0 h 16404"/>
                <a:gd name="connsiteX1" fmla="*/ 16690 w 16690"/>
                <a:gd name="connsiteY1" fmla="*/ 9328 h 16404"/>
                <a:gd name="connsiteX2" fmla="*/ 9599 w 16690"/>
                <a:gd name="connsiteY2" fmla="*/ 16405 h 16404"/>
                <a:gd name="connsiteX3" fmla="*/ 25 w 16690"/>
                <a:gd name="connsiteY3" fmla="*/ 7901 h 16404"/>
                <a:gd name="connsiteX4" fmla="*/ 1341 w 16690"/>
                <a:gd name="connsiteY4" fmla="*/ 660 h 16404"/>
                <a:gd name="connsiteX5" fmla="*/ 6885 w 16690"/>
                <a:gd name="connsiteY5" fmla="*/ 6720 h 16404"/>
                <a:gd name="connsiteX6" fmla="*/ 8172 w 16690"/>
                <a:gd name="connsiteY6" fmla="*/ 0 h 1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90" h="16404">
                  <a:moveTo>
                    <a:pt x="8172" y="0"/>
                  </a:moveTo>
                  <a:cubicBezTo>
                    <a:pt x="8172" y="0"/>
                    <a:pt x="16579" y="1427"/>
                    <a:pt x="16690" y="9328"/>
                  </a:cubicBezTo>
                  <a:cubicBezTo>
                    <a:pt x="16690" y="10475"/>
                    <a:pt x="9599" y="16405"/>
                    <a:pt x="9599" y="16405"/>
                  </a:cubicBezTo>
                  <a:cubicBezTo>
                    <a:pt x="9599" y="16405"/>
                    <a:pt x="2238" y="14602"/>
                    <a:pt x="25" y="7901"/>
                  </a:cubicBezTo>
                  <a:cubicBezTo>
                    <a:pt x="-216" y="4927"/>
                    <a:pt x="1341" y="660"/>
                    <a:pt x="1341" y="660"/>
                  </a:cubicBezTo>
                  <a:lnTo>
                    <a:pt x="6885" y="6720"/>
                  </a:lnTo>
                  <a:lnTo>
                    <a:pt x="8172"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40" name="Freihandform: Form 339">
              <a:extLst>
                <a:ext uri="{FF2B5EF4-FFF2-40B4-BE49-F238E27FC236}">
                  <a16:creationId xmlns:a16="http://schemas.microsoft.com/office/drawing/2014/main" id="{73EB29E5-7EFB-0A27-38BD-1536C7DDEAC7}"/>
                </a:ext>
              </a:extLst>
            </p:cNvPr>
            <p:cNvSpPr/>
            <p:nvPr/>
          </p:nvSpPr>
          <p:spPr>
            <a:xfrm>
              <a:off x="5803970" y="1027014"/>
              <a:ext cx="19048" cy="25401"/>
            </a:xfrm>
            <a:custGeom>
              <a:avLst/>
              <a:gdLst>
                <a:gd name="connsiteX0" fmla="*/ 6515 w 15679"/>
                <a:gd name="connsiteY0" fmla="*/ 0 h 19534"/>
                <a:gd name="connsiteX1" fmla="*/ 12469 w 15679"/>
                <a:gd name="connsiteY1" fmla="*/ 7347 h 19534"/>
                <a:gd name="connsiteX2" fmla="*/ 15679 w 15679"/>
                <a:gd name="connsiteY2" fmla="*/ 14361 h 19534"/>
                <a:gd name="connsiteX3" fmla="*/ 3415 w 15679"/>
                <a:gd name="connsiteY3" fmla="*/ 18454 h 19534"/>
                <a:gd name="connsiteX4" fmla="*/ 441 w 15679"/>
                <a:gd name="connsiteY4" fmla="*/ 17832 h 19534"/>
                <a:gd name="connsiteX5" fmla="*/ 947 w 15679"/>
                <a:gd name="connsiteY5" fmla="*/ 11999 h 19534"/>
                <a:gd name="connsiteX6" fmla="*/ 6515 w 15679"/>
                <a:gd name="connsiteY6" fmla="*/ 0 h 19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79" h="19534">
                  <a:moveTo>
                    <a:pt x="6515" y="0"/>
                  </a:moveTo>
                  <a:lnTo>
                    <a:pt x="12469" y="7347"/>
                  </a:lnTo>
                  <a:lnTo>
                    <a:pt x="15679" y="14361"/>
                  </a:lnTo>
                  <a:cubicBezTo>
                    <a:pt x="15679" y="14361"/>
                    <a:pt x="5855" y="15638"/>
                    <a:pt x="3415" y="18454"/>
                  </a:cubicBezTo>
                  <a:cubicBezTo>
                    <a:pt x="1873" y="20160"/>
                    <a:pt x="441" y="19765"/>
                    <a:pt x="441" y="17832"/>
                  </a:cubicBezTo>
                  <a:cubicBezTo>
                    <a:pt x="441" y="15889"/>
                    <a:pt x="-832" y="13696"/>
                    <a:pt x="947" y="11999"/>
                  </a:cubicBezTo>
                  <a:cubicBezTo>
                    <a:pt x="2784" y="10340"/>
                    <a:pt x="6361" y="3751"/>
                    <a:pt x="6515"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41" name="Freihandform: Form 340">
              <a:extLst>
                <a:ext uri="{FF2B5EF4-FFF2-40B4-BE49-F238E27FC236}">
                  <a16:creationId xmlns:a16="http://schemas.microsoft.com/office/drawing/2014/main" id="{24E7F310-4112-1D4D-4B5A-AD3983E9C7D2}"/>
                </a:ext>
              </a:extLst>
            </p:cNvPr>
            <p:cNvSpPr/>
            <p:nvPr/>
          </p:nvSpPr>
          <p:spPr>
            <a:xfrm>
              <a:off x="5762699" y="1007964"/>
              <a:ext cx="25397" cy="17463"/>
            </a:xfrm>
            <a:custGeom>
              <a:avLst/>
              <a:gdLst>
                <a:gd name="connsiteX0" fmla="*/ 1821 w 18881"/>
                <a:gd name="connsiteY0" fmla="*/ 0 h 14192"/>
                <a:gd name="connsiteX1" fmla="*/ 11515 w 18881"/>
                <a:gd name="connsiteY1" fmla="*/ 3611 h 14192"/>
                <a:gd name="connsiteX2" fmla="*/ 18881 w 18881"/>
                <a:gd name="connsiteY2" fmla="*/ 10196 h 14192"/>
                <a:gd name="connsiteX3" fmla="*/ 12407 w 18881"/>
                <a:gd name="connsiteY3" fmla="*/ 14192 h 14192"/>
                <a:gd name="connsiteX4" fmla="*/ 8 w 18881"/>
                <a:gd name="connsiteY4" fmla="*/ 5139 h 14192"/>
                <a:gd name="connsiteX5" fmla="*/ 1821 w 18881"/>
                <a:gd name="connsiteY5" fmla="*/ 0 h 1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81" h="14192">
                  <a:moveTo>
                    <a:pt x="1821" y="0"/>
                  </a:moveTo>
                  <a:cubicBezTo>
                    <a:pt x="1821" y="0"/>
                    <a:pt x="8541" y="3611"/>
                    <a:pt x="11515" y="3611"/>
                  </a:cubicBezTo>
                  <a:cubicBezTo>
                    <a:pt x="14489" y="3611"/>
                    <a:pt x="18881" y="10196"/>
                    <a:pt x="18881" y="10196"/>
                  </a:cubicBezTo>
                  <a:cubicBezTo>
                    <a:pt x="15106" y="13397"/>
                    <a:pt x="12407" y="14192"/>
                    <a:pt x="12407" y="14192"/>
                  </a:cubicBezTo>
                  <a:cubicBezTo>
                    <a:pt x="12407" y="14192"/>
                    <a:pt x="-368" y="7983"/>
                    <a:pt x="8" y="5139"/>
                  </a:cubicBezTo>
                  <a:cubicBezTo>
                    <a:pt x="394" y="2319"/>
                    <a:pt x="1821" y="0"/>
                    <a:pt x="1821"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42" name="Freihandform: Form 341">
              <a:extLst>
                <a:ext uri="{FF2B5EF4-FFF2-40B4-BE49-F238E27FC236}">
                  <a16:creationId xmlns:a16="http://schemas.microsoft.com/office/drawing/2014/main" id="{95CDC463-A82C-E4A0-CF7D-73AEF25BC282}"/>
                </a:ext>
              </a:extLst>
            </p:cNvPr>
            <p:cNvSpPr/>
            <p:nvPr/>
          </p:nvSpPr>
          <p:spPr>
            <a:xfrm>
              <a:off x="5708730" y="952399"/>
              <a:ext cx="41270" cy="79378"/>
            </a:xfrm>
            <a:custGeom>
              <a:avLst/>
              <a:gdLst>
                <a:gd name="connsiteX0" fmla="*/ 31658 w 33200"/>
                <a:gd name="connsiteY0" fmla="*/ 0 h 61578"/>
                <a:gd name="connsiteX1" fmla="*/ 33200 w 33200"/>
                <a:gd name="connsiteY1" fmla="*/ 4792 h 61578"/>
                <a:gd name="connsiteX2" fmla="*/ 30472 w 33200"/>
                <a:gd name="connsiteY2" fmla="*/ 22103 h 61578"/>
                <a:gd name="connsiteX3" fmla="*/ 27782 w 33200"/>
                <a:gd name="connsiteY3" fmla="*/ 26099 h 61578"/>
                <a:gd name="connsiteX4" fmla="*/ 19509 w 33200"/>
                <a:gd name="connsiteY4" fmla="*/ 41608 h 61578"/>
                <a:gd name="connsiteX5" fmla="*/ 9815 w 33200"/>
                <a:gd name="connsiteY5" fmla="*/ 48583 h 61578"/>
                <a:gd name="connsiteX6" fmla="*/ 6725 w 33200"/>
                <a:gd name="connsiteY6" fmla="*/ 55033 h 61578"/>
                <a:gd name="connsiteX7" fmla="*/ 1813 w 33200"/>
                <a:gd name="connsiteY7" fmla="*/ 60977 h 61578"/>
                <a:gd name="connsiteX8" fmla="*/ 0 w 33200"/>
                <a:gd name="connsiteY8" fmla="*/ 48964 h 61578"/>
                <a:gd name="connsiteX9" fmla="*/ 6335 w 33200"/>
                <a:gd name="connsiteY9" fmla="*/ 29324 h 61578"/>
                <a:gd name="connsiteX10" fmla="*/ 17827 w 33200"/>
                <a:gd name="connsiteY10" fmla="*/ 12948 h 61578"/>
                <a:gd name="connsiteX11" fmla="*/ 24041 w 33200"/>
                <a:gd name="connsiteY11" fmla="*/ 7501 h 61578"/>
                <a:gd name="connsiteX12" fmla="*/ 25338 w 33200"/>
                <a:gd name="connsiteY12" fmla="*/ 1837 h 61578"/>
                <a:gd name="connsiteX13" fmla="*/ 31658 w 33200"/>
                <a:gd name="connsiteY13" fmla="*/ 0 h 61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00" h="61578">
                  <a:moveTo>
                    <a:pt x="31658" y="0"/>
                  </a:moveTo>
                  <a:lnTo>
                    <a:pt x="33200" y="4792"/>
                  </a:lnTo>
                  <a:cubicBezTo>
                    <a:pt x="33200" y="4792"/>
                    <a:pt x="29855" y="14361"/>
                    <a:pt x="30472" y="22103"/>
                  </a:cubicBezTo>
                  <a:cubicBezTo>
                    <a:pt x="30877" y="25077"/>
                    <a:pt x="28418" y="25333"/>
                    <a:pt x="27782" y="26099"/>
                  </a:cubicBezTo>
                  <a:cubicBezTo>
                    <a:pt x="27121" y="26904"/>
                    <a:pt x="20411" y="36300"/>
                    <a:pt x="19509" y="41608"/>
                  </a:cubicBezTo>
                  <a:cubicBezTo>
                    <a:pt x="19124" y="42649"/>
                    <a:pt x="12746" y="47783"/>
                    <a:pt x="9815" y="48583"/>
                  </a:cubicBezTo>
                  <a:cubicBezTo>
                    <a:pt x="6903" y="49345"/>
                    <a:pt x="6995" y="52329"/>
                    <a:pt x="6725" y="55033"/>
                  </a:cubicBezTo>
                  <a:cubicBezTo>
                    <a:pt x="6474" y="57742"/>
                    <a:pt x="1673" y="63436"/>
                    <a:pt x="1813" y="60977"/>
                  </a:cubicBezTo>
                  <a:cubicBezTo>
                    <a:pt x="1953" y="58533"/>
                    <a:pt x="0" y="48964"/>
                    <a:pt x="0" y="48964"/>
                  </a:cubicBezTo>
                  <a:cubicBezTo>
                    <a:pt x="0" y="48964"/>
                    <a:pt x="4758" y="30612"/>
                    <a:pt x="6335" y="29324"/>
                  </a:cubicBezTo>
                  <a:cubicBezTo>
                    <a:pt x="7887" y="28037"/>
                    <a:pt x="17697" y="22614"/>
                    <a:pt x="17827" y="12948"/>
                  </a:cubicBezTo>
                  <a:cubicBezTo>
                    <a:pt x="18087" y="11242"/>
                    <a:pt x="23916" y="9584"/>
                    <a:pt x="24041" y="7501"/>
                  </a:cubicBezTo>
                  <a:cubicBezTo>
                    <a:pt x="24171" y="5457"/>
                    <a:pt x="25338" y="1837"/>
                    <a:pt x="25338" y="1837"/>
                  </a:cubicBezTo>
                  <a:lnTo>
                    <a:pt x="31658"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43" name="Freihandform: Form 342">
              <a:extLst>
                <a:ext uri="{FF2B5EF4-FFF2-40B4-BE49-F238E27FC236}">
                  <a16:creationId xmlns:a16="http://schemas.microsoft.com/office/drawing/2014/main" id="{93E46D70-617B-7908-0788-B31DE1E8B4CB}"/>
                </a:ext>
              </a:extLst>
            </p:cNvPr>
            <p:cNvSpPr/>
            <p:nvPr/>
          </p:nvSpPr>
          <p:spPr>
            <a:xfrm>
              <a:off x="5645237" y="1007964"/>
              <a:ext cx="65081" cy="79378"/>
            </a:xfrm>
            <a:custGeom>
              <a:avLst/>
              <a:gdLst>
                <a:gd name="connsiteX0" fmla="*/ 34108 w 50334"/>
                <a:gd name="connsiteY0" fmla="*/ 0 h 61613"/>
                <a:gd name="connsiteX1" fmla="*/ 36301 w 50334"/>
                <a:gd name="connsiteY1" fmla="*/ 6595 h 61613"/>
                <a:gd name="connsiteX2" fmla="*/ 36171 w 50334"/>
                <a:gd name="connsiteY2" fmla="*/ 12283 h 61613"/>
                <a:gd name="connsiteX3" fmla="*/ 42120 w 50334"/>
                <a:gd name="connsiteY3" fmla="*/ 15258 h 61613"/>
                <a:gd name="connsiteX4" fmla="*/ 41594 w 50334"/>
                <a:gd name="connsiteY4" fmla="*/ 26466 h 61613"/>
                <a:gd name="connsiteX5" fmla="*/ 46502 w 50334"/>
                <a:gd name="connsiteY5" fmla="*/ 25579 h 61613"/>
                <a:gd name="connsiteX6" fmla="*/ 46362 w 50334"/>
                <a:gd name="connsiteY6" fmla="*/ 27787 h 61613"/>
                <a:gd name="connsiteX7" fmla="*/ 45725 w 50334"/>
                <a:gd name="connsiteY7" fmla="*/ 34102 h 61613"/>
                <a:gd name="connsiteX8" fmla="*/ 48454 w 50334"/>
                <a:gd name="connsiteY8" fmla="*/ 49089 h 61613"/>
                <a:gd name="connsiteX9" fmla="*/ 26978 w 50334"/>
                <a:gd name="connsiteY9" fmla="*/ 61614 h 61613"/>
                <a:gd name="connsiteX10" fmla="*/ 23661 w 50334"/>
                <a:gd name="connsiteY10" fmla="*/ 52189 h 61613"/>
                <a:gd name="connsiteX11" fmla="*/ 35790 w 50334"/>
                <a:gd name="connsiteY11" fmla="*/ 37471 h 61613"/>
                <a:gd name="connsiteX12" fmla="*/ 30106 w 50334"/>
                <a:gd name="connsiteY12" fmla="*/ 36565 h 61613"/>
                <a:gd name="connsiteX13" fmla="*/ 30632 w 50334"/>
                <a:gd name="connsiteY13" fmla="*/ 41844 h 61613"/>
                <a:gd name="connsiteX14" fmla="*/ 27248 w 50334"/>
                <a:gd name="connsiteY14" fmla="*/ 43150 h 61613"/>
                <a:gd name="connsiteX15" fmla="*/ 24302 w 50334"/>
                <a:gd name="connsiteY15" fmla="*/ 46910 h 61613"/>
                <a:gd name="connsiteX16" fmla="*/ 18869 w 50334"/>
                <a:gd name="connsiteY16" fmla="*/ 47291 h 61613"/>
                <a:gd name="connsiteX17" fmla="*/ 5448 w 50334"/>
                <a:gd name="connsiteY17" fmla="*/ 60196 h 61613"/>
                <a:gd name="connsiteX18" fmla="*/ 666 w 50334"/>
                <a:gd name="connsiteY18" fmla="*/ 47397 h 61613"/>
                <a:gd name="connsiteX19" fmla="*/ 5188 w 50334"/>
                <a:gd name="connsiteY19" fmla="*/ 41979 h 61613"/>
                <a:gd name="connsiteX20" fmla="*/ 3125 w 50334"/>
                <a:gd name="connsiteY20" fmla="*/ 36054 h 61613"/>
                <a:gd name="connsiteX21" fmla="*/ 9575 w 50334"/>
                <a:gd name="connsiteY21" fmla="*/ 34762 h 61613"/>
                <a:gd name="connsiteX22" fmla="*/ 15770 w 50334"/>
                <a:gd name="connsiteY22" fmla="*/ 38127 h 61613"/>
                <a:gd name="connsiteX23" fmla="*/ 21868 w 50334"/>
                <a:gd name="connsiteY23" fmla="*/ 34348 h 61613"/>
                <a:gd name="connsiteX24" fmla="*/ 24702 w 50334"/>
                <a:gd name="connsiteY24" fmla="*/ 38758 h 61613"/>
                <a:gd name="connsiteX25" fmla="*/ 25590 w 50334"/>
                <a:gd name="connsiteY25" fmla="*/ 32149 h 61613"/>
                <a:gd name="connsiteX26" fmla="*/ 24408 w 50334"/>
                <a:gd name="connsiteY26" fmla="*/ 25323 h 61613"/>
                <a:gd name="connsiteX27" fmla="*/ 27764 w 50334"/>
                <a:gd name="connsiteY27" fmla="*/ 24282 h 61613"/>
                <a:gd name="connsiteX28" fmla="*/ 31259 w 50334"/>
                <a:gd name="connsiteY28" fmla="*/ 29064 h 61613"/>
                <a:gd name="connsiteX29" fmla="*/ 32044 w 50334"/>
                <a:gd name="connsiteY29" fmla="*/ 23756 h 61613"/>
                <a:gd name="connsiteX30" fmla="*/ 36354 w 50334"/>
                <a:gd name="connsiteY30" fmla="*/ 29045 h 61613"/>
                <a:gd name="connsiteX31" fmla="*/ 29345 w 50334"/>
                <a:gd name="connsiteY31" fmla="*/ 12143 h 61613"/>
                <a:gd name="connsiteX32" fmla="*/ 29345 w 50334"/>
                <a:gd name="connsiteY32" fmla="*/ 2589 h 61613"/>
                <a:gd name="connsiteX33" fmla="*/ 34108 w 50334"/>
                <a:gd name="connsiteY33" fmla="*/ 0 h 6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0334" h="61613">
                  <a:moveTo>
                    <a:pt x="34108" y="0"/>
                  </a:moveTo>
                  <a:lnTo>
                    <a:pt x="36301" y="6595"/>
                  </a:lnTo>
                  <a:lnTo>
                    <a:pt x="36171" y="12283"/>
                  </a:lnTo>
                  <a:cubicBezTo>
                    <a:pt x="36171" y="12283"/>
                    <a:pt x="41980" y="13951"/>
                    <a:pt x="42120" y="15258"/>
                  </a:cubicBezTo>
                  <a:cubicBezTo>
                    <a:pt x="42255" y="16535"/>
                    <a:pt x="43653" y="23139"/>
                    <a:pt x="41594" y="26466"/>
                  </a:cubicBezTo>
                  <a:cubicBezTo>
                    <a:pt x="40823" y="27521"/>
                    <a:pt x="45080" y="26466"/>
                    <a:pt x="46502" y="25579"/>
                  </a:cubicBezTo>
                  <a:cubicBezTo>
                    <a:pt x="47929" y="24672"/>
                    <a:pt x="48840" y="25323"/>
                    <a:pt x="46362" y="27787"/>
                  </a:cubicBezTo>
                  <a:cubicBezTo>
                    <a:pt x="43918" y="30216"/>
                    <a:pt x="43542" y="31498"/>
                    <a:pt x="45725" y="34102"/>
                  </a:cubicBezTo>
                  <a:cubicBezTo>
                    <a:pt x="47933" y="36695"/>
                    <a:pt x="53106" y="45724"/>
                    <a:pt x="48454" y="49089"/>
                  </a:cubicBezTo>
                  <a:cubicBezTo>
                    <a:pt x="43797" y="52454"/>
                    <a:pt x="36696" y="60953"/>
                    <a:pt x="26978" y="61614"/>
                  </a:cubicBezTo>
                  <a:cubicBezTo>
                    <a:pt x="25580" y="61479"/>
                    <a:pt x="20672" y="53090"/>
                    <a:pt x="23661" y="52189"/>
                  </a:cubicBezTo>
                  <a:cubicBezTo>
                    <a:pt x="26621" y="51287"/>
                    <a:pt x="35665" y="45353"/>
                    <a:pt x="35790" y="37471"/>
                  </a:cubicBezTo>
                  <a:cubicBezTo>
                    <a:pt x="35665" y="35755"/>
                    <a:pt x="28424" y="34232"/>
                    <a:pt x="30106" y="36565"/>
                  </a:cubicBezTo>
                  <a:cubicBezTo>
                    <a:pt x="31779" y="38889"/>
                    <a:pt x="32170" y="42504"/>
                    <a:pt x="30632" y="41844"/>
                  </a:cubicBezTo>
                  <a:cubicBezTo>
                    <a:pt x="29080" y="41212"/>
                    <a:pt x="28043" y="40701"/>
                    <a:pt x="27248" y="43150"/>
                  </a:cubicBezTo>
                  <a:cubicBezTo>
                    <a:pt x="26472" y="45585"/>
                    <a:pt x="27388" y="47913"/>
                    <a:pt x="24302" y="46910"/>
                  </a:cubicBezTo>
                  <a:cubicBezTo>
                    <a:pt x="21193" y="45874"/>
                    <a:pt x="19371" y="44312"/>
                    <a:pt x="18869" y="47291"/>
                  </a:cubicBezTo>
                  <a:cubicBezTo>
                    <a:pt x="18359" y="50241"/>
                    <a:pt x="19371" y="53732"/>
                    <a:pt x="5448" y="60196"/>
                  </a:cubicBezTo>
                  <a:cubicBezTo>
                    <a:pt x="4287" y="60828"/>
                    <a:pt x="-2038" y="49480"/>
                    <a:pt x="666" y="47397"/>
                  </a:cubicBezTo>
                  <a:cubicBezTo>
                    <a:pt x="3376" y="45353"/>
                    <a:pt x="6736" y="43271"/>
                    <a:pt x="5188" y="41979"/>
                  </a:cubicBezTo>
                  <a:cubicBezTo>
                    <a:pt x="3636" y="40701"/>
                    <a:pt x="1173" y="36430"/>
                    <a:pt x="3125" y="36054"/>
                  </a:cubicBezTo>
                  <a:cubicBezTo>
                    <a:pt x="5058" y="35659"/>
                    <a:pt x="8283" y="33350"/>
                    <a:pt x="9575" y="34762"/>
                  </a:cubicBezTo>
                  <a:cubicBezTo>
                    <a:pt x="10867" y="36160"/>
                    <a:pt x="14613" y="39144"/>
                    <a:pt x="15770" y="38127"/>
                  </a:cubicBezTo>
                  <a:cubicBezTo>
                    <a:pt x="16946" y="37086"/>
                    <a:pt x="20937" y="32304"/>
                    <a:pt x="21868" y="34348"/>
                  </a:cubicBezTo>
                  <a:cubicBezTo>
                    <a:pt x="22750" y="36425"/>
                    <a:pt x="24307" y="40422"/>
                    <a:pt x="24702" y="38758"/>
                  </a:cubicBezTo>
                  <a:cubicBezTo>
                    <a:pt x="25059" y="37081"/>
                    <a:pt x="26255" y="33060"/>
                    <a:pt x="25590" y="32149"/>
                  </a:cubicBezTo>
                  <a:cubicBezTo>
                    <a:pt x="24948" y="31262"/>
                    <a:pt x="23767" y="26847"/>
                    <a:pt x="24408" y="25323"/>
                  </a:cubicBezTo>
                  <a:cubicBezTo>
                    <a:pt x="25059" y="23756"/>
                    <a:pt x="26626" y="21201"/>
                    <a:pt x="27764" y="24282"/>
                  </a:cubicBezTo>
                  <a:cubicBezTo>
                    <a:pt x="28940" y="27406"/>
                    <a:pt x="31022" y="32043"/>
                    <a:pt x="31259" y="29064"/>
                  </a:cubicBezTo>
                  <a:cubicBezTo>
                    <a:pt x="31543" y="26085"/>
                    <a:pt x="32044" y="23756"/>
                    <a:pt x="32044" y="23756"/>
                  </a:cubicBezTo>
                  <a:lnTo>
                    <a:pt x="36354" y="29045"/>
                  </a:lnTo>
                  <a:cubicBezTo>
                    <a:pt x="36354" y="29045"/>
                    <a:pt x="31784" y="16024"/>
                    <a:pt x="29345" y="12143"/>
                  </a:cubicBezTo>
                  <a:cubicBezTo>
                    <a:pt x="26872" y="8253"/>
                    <a:pt x="27522" y="3746"/>
                    <a:pt x="29345" y="2589"/>
                  </a:cubicBezTo>
                  <a:cubicBezTo>
                    <a:pt x="31138" y="1427"/>
                    <a:pt x="34108" y="0"/>
                    <a:pt x="34108"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44" name="Freihandform: Form 343">
              <a:extLst>
                <a:ext uri="{FF2B5EF4-FFF2-40B4-BE49-F238E27FC236}">
                  <a16:creationId xmlns:a16="http://schemas.microsoft.com/office/drawing/2014/main" id="{1D1F0A1C-875B-989E-BE2D-91128A6DF7CD}"/>
                </a:ext>
              </a:extLst>
            </p:cNvPr>
            <p:cNvSpPr/>
            <p:nvPr/>
          </p:nvSpPr>
          <p:spPr>
            <a:xfrm>
              <a:off x="5662698" y="1087342"/>
              <a:ext cx="20635" cy="17463"/>
            </a:xfrm>
            <a:custGeom>
              <a:avLst/>
              <a:gdLst>
                <a:gd name="connsiteX0" fmla="*/ 1167 w 17173"/>
                <a:gd name="connsiteY0" fmla="*/ 0 h 13976"/>
                <a:gd name="connsiteX1" fmla="*/ 16651 w 17173"/>
                <a:gd name="connsiteY1" fmla="*/ 4252 h 13976"/>
                <a:gd name="connsiteX2" fmla="*/ 15108 w 17173"/>
                <a:gd name="connsiteY2" fmla="*/ 9931 h 13976"/>
                <a:gd name="connsiteX3" fmla="*/ 10066 w 17173"/>
                <a:gd name="connsiteY3" fmla="*/ 13932 h 13976"/>
                <a:gd name="connsiteX4" fmla="*/ 4768 w 17173"/>
                <a:gd name="connsiteY4" fmla="*/ 12529 h 13976"/>
                <a:gd name="connsiteX5" fmla="*/ 0 w 17173"/>
                <a:gd name="connsiteY5" fmla="*/ 7101 h 13976"/>
                <a:gd name="connsiteX6" fmla="*/ 1167 w 17173"/>
                <a:gd name="connsiteY6" fmla="*/ 0 h 13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73" h="13976">
                  <a:moveTo>
                    <a:pt x="1167" y="0"/>
                  </a:moveTo>
                  <a:cubicBezTo>
                    <a:pt x="1167" y="0"/>
                    <a:pt x="15489" y="911"/>
                    <a:pt x="16651" y="4252"/>
                  </a:cubicBezTo>
                  <a:cubicBezTo>
                    <a:pt x="17817" y="7607"/>
                    <a:pt x="16911" y="8267"/>
                    <a:pt x="15108" y="9931"/>
                  </a:cubicBezTo>
                  <a:cubicBezTo>
                    <a:pt x="13310" y="11632"/>
                    <a:pt x="11758" y="13816"/>
                    <a:pt x="10066" y="13932"/>
                  </a:cubicBezTo>
                  <a:cubicBezTo>
                    <a:pt x="8393" y="14076"/>
                    <a:pt x="6064" y="13932"/>
                    <a:pt x="4768" y="12529"/>
                  </a:cubicBezTo>
                  <a:cubicBezTo>
                    <a:pt x="3485" y="11117"/>
                    <a:pt x="0" y="7101"/>
                    <a:pt x="0" y="7101"/>
                  </a:cubicBezTo>
                  <a:lnTo>
                    <a:pt x="1167"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45" name="Freihandform: Form 344">
              <a:extLst>
                <a:ext uri="{FF2B5EF4-FFF2-40B4-BE49-F238E27FC236}">
                  <a16:creationId xmlns:a16="http://schemas.microsoft.com/office/drawing/2014/main" id="{8C839C62-D226-974C-6B73-568900D2C46D}"/>
                </a:ext>
              </a:extLst>
            </p:cNvPr>
            <p:cNvSpPr/>
            <p:nvPr/>
          </p:nvSpPr>
          <p:spPr>
            <a:xfrm>
              <a:off x="5691270" y="1015901"/>
              <a:ext cx="96826" cy="125418"/>
            </a:xfrm>
            <a:custGeom>
              <a:avLst/>
              <a:gdLst>
                <a:gd name="connsiteX0" fmla="*/ 36090 w 77011"/>
                <a:gd name="connsiteY0" fmla="*/ 0 h 98480"/>
                <a:gd name="connsiteX1" fmla="*/ 40872 w 77011"/>
                <a:gd name="connsiteY1" fmla="*/ 9424 h 98480"/>
                <a:gd name="connsiteX2" fmla="*/ 38934 w 77011"/>
                <a:gd name="connsiteY2" fmla="*/ 28919 h 98480"/>
                <a:gd name="connsiteX3" fmla="*/ 44222 w 77011"/>
                <a:gd name="connsiteY3" fmla="*/ 25073 h 98480"/>
                <a:gd name="connsiteX4" fmla="*/ 35718 w 77011"/>
                <a:gd name="connsiteY4" fmla="*/ 48414 h 98480"/>
                <a:gd name="connsiteX5" fmla="*/ 38510 w 77011"/>
                <a:gd name="connsiteY5" fmla="*/ 55747 h 98480"/>
                <a:gd name="connsiteX6" fmla="*/ 38008 w 77011"/>
                <a:gd name="connsiteY6" fmla="*/ 49200 h 98480"/>
                <a:gd name="connsiteX7" fmla="*/ 43340 w 77011"/>
                <a:gd name="connsiteY7" fmla="*/ 44283 h 98480"/>
                <a:gd name="connsiteX8" fmla="*/ 49670 w 77011"/>
                <a:gd name="connsiteY8" fmla="*/ 42630 h 98480"/>
                <a:gd name="connsiteX9" fmla="*/ 47592 w 77011"/>
                <a:gd name="connsiteY9" fmla="*/ 36411 h 98480"/>
                <a:gd name="connsiteX10" fmla="*/ 51858 w 77011"/>
                <a:gd name="connsiteY10" fmla="*/ 29705 h 98480"/>
                <a:gd name="connsiteX11" fmla="*/ 55358 w 77011"/>
                <a:gd name="connsiteY11" fmla="*/ 27126 h 98480"/>
                <a:gd name="connsiteX12" fmla="*/ 50817 w 77011"/>
                <a:gd name="connsiteY12" fmla="*/ 16921 h 98480"/>
                <a:gd name="connsiteX13" fmla="*/ 56115 w 77011"/>
                <a:gd name="connsiteY13" fmla="*/ 12018 h 98480"/>
                <a:gd name="connsiteX14" fmla="*/ 60511 w 77011"/>
                <a:gd name="connsiteY14" fmla="*/ 13691 h 98480"/>
                <a:gd name="connsiteX15" fmla="*/ 61022 w 77011"/>
                <a:gd name="connsiteY15" fmla="*/ 9179 h 98480"/>
                <a:gd name="connsiteX16" fmla="*/ 73301 w 77011"/>
                <a:gd name="connsiteY16" fmla="*/ 17817 h 98480"/>
                <a:gd name="connsiteX17" fmla="*/ 75740 w 77011"/>
                <a:gd name="connsiteY17" fmla="*/ 41969 h 98480"/>
                <a:gd name="connsiteX18" fmla="*/ 73812 w 77011"/>
                <a:gd name="connsiteY18" fmla="*/ 50883 h 98480"/>
                <a:gd name="connsiteX19" fmla="*/ 69169 w 77011"/>
                <a:gd name="connsiteY19" fmla="*/ 53727 h 98480"/>
                <a:gd name="connsiteX20" fmla="*/ 53791 w 77011"/>
                <a:gd name="connsiteY20" fmla="*/ 63036 h 98480"/>
                <a:gd name="connsiteX21" fmla="*/ 49539 w 77011"/>
                <a:gd name="connsiteY21" fmla="*/ 76326 h 98480"/>
                <a:gd name="connsiteX22" fmla="*/ 46676 w 77011"/>
                <a:gd name="connsiteY22" fmla="*/ 79831 h 98480"/>
                <a:gd name="connsiteX23" fmla="*/ 43345 w 77011"/>
                <a:gd name="connsiteY23" fmla="*/ 78785 h 98480"/>
                <a:gd name="connsiteX24" fmla="*/ 42945 w 77011"/>
                <a:gd name="connsiteY24" fmla="*/ 67442 h 98480"/>
                <a:gd name="connsiteX25" fmla="*/ 39855 w 77011"/>
                <a:gd name="connsiteY25" fmla="*/ 76326 h 98480"/>
                <a:gd name="connsiteX26" fmla="*/ 36230 w 77011"/>
                <a:gd name="connsiteY26" fmla="*/ 81875 h 98480"/>
                <a:gd name="connsiteX27" fmla="*/ 31582 w 77011"/>
                <a:gd name="connsiteY27" fmla="*/ 92485 h 98480"/>
                <a:gd name="connsiteX28" fmla="*/ 19695 w 77011"/>
                <a:gd name="connsiteY28" fmla="*/ 86040 h 98480"/>
                <a:gd name="connsiteX29" fmla="*/ 20229 w 77011"/>
                <a:gd name="connsiteY29" fmla="*/ 80202 h 98480"/>
                <a:gd name="connsiteX30" fmla="*/ 28878 w 77011"/>
                <a:gd name="connsiteY30" fmla="*/ 66502 h 98480"/>
                <a:gd name="connsiteX31" fmla="*/ 11172 w 77011"/>
                <a:gd name="connsiteY31" fmla="*/ 86807 h 98480"/>
                <a:gd name="connsiteX32" fmla="*/ 8327 w 77011"/>
                <a:gd name="connsiteY32" fmla="*/ 93382 h 98480"/>
                <a:gd name="connsiteX33" fmla="*/ 2644 w 77011"/>
                <a:gd name="connsiteY33" fmla="*/ 98289 h 98480"/>
                <a:gd name="connsiteX34" fmla="*/ 590 w 77011"/>
                <a:gd name="connsiteY34" fmla="*/ 88359 h 98480"/>
                <a:gd name="connsiteX35" fmla="*/ 11548 w 77011"/>
                <a:gd name="connsiteY35" fmla="*/ 71814 h 98480"/>
                <a:gd name="connsiteX36" fmla="*/ 9894 w 77011"/>
                <a:gd name="connsiteY36" fmla="*/ 65875 h 98480"/>
                <a:gd name="connsiteX37" fmla="*/ 15833 w 77011"/>
                <a:gd name="connsiteY37" fmla="*/ 67442 h 98480"/>
                <a:gd name="connsiteX38" fmla="*/ 9754 w 77011"/>
                <a:gd name="connsiteY38" fmla="*/ 62655 h 98480"/>
                <a:gd name="connsiteX39" fmla="*/ 8086 w 77011"/>
                <a:gd name="connsiteY39" fmla="*/ 56446 h 98480"/>
                <a:gd name="connsiteX40" fmla="*/ 12603 w 77011"/>
                <a:gd name="connsiteY40" fmla="*/ 56446 h 98480"/>
                <a:gd name="connsiteX41" fmla="*/ 16093 w 77011"/>
                <a:gd name="connsiteY41" fmla="*/ 50887 h 98480"/>
                <a:gd name="connsiteX42" fmla="*/ 21261 w 77011"/>
                <a:gd name="connsiteY42" fmla="*/ 46906 h 98480"/>
                <a:gd name="connsiteX43" fmla="*/ 17520 w 77011"/>
                <a:gd name="connsiteY43" fmla="*/ 37688 h 98480"/>
                <a:gd name="connsiteX44" fmla="*/ 23445 w 77011"/>
                <a:gd name="connsiteY44" fmla="*/ 35283 h 98480"/>
                <a:gd name="connsiteX45" fmla="*/ 27451 w 77011"/>
                <a:gd name="connsiteY45" fmla="*/ 35283 h 98480"/>
                <a:gd name="connsiteX46" fmla="*/ 20750 w 77011"/>
                <a:gd name="connsiteY46" fmla="*/ 31282 h 98480"/>
                <a:gd name="connsiteX47" fmla="*/ 18798 w 77011"/>
                <a:gd name="connsiteY47" fmla="*/ 25588 h 98480"/>
                <a:gd name="connsiteX48" fmla="*/ 22168 w 77011"/>
                <a:gd name="connsiteY48" fmla="*/ 20045 h 98480"/>
                <a:gd name="connsiteX49" fmla="*/ 27822 w 77011"/>
                <a:gd name="connsiteY49" fmla="*/ 1938 h 98480"/>
                <a:gd name="connsiteX50" fmla="*/ 36090 w 77011"/>
                <a:gd name="connsiteY50" fmla="*/ 0 h 98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77011" h="98480">
                  <a:moveTo>
                    <a:pt x="36090" y="0"/>
                  </a:moveTo>
                  <a:cubicBezTo>
                    <a:pt x="37666" y="0"/>
                    <a:pt x="41788" y="4657"/>
                    <a:pt x="40872" y="9424"/>
                  </a:cubicBezTo>
                  <a:cubicBezTo>
                    <a:pt x="39985" y="14197"/>
                    <a:pt x="38678" y="24682"/>
                    <a:pt x="38934" y="28919"/>
                  </a:cubicBezTo>
                  <a:cubicBezTo>
                    <a:pt x="41137" y="25073"/>
                    <a:pt x="43841" y="23260"/>
                    <a:pt x="44222" y="25073"/>
                  </a:cubicBezTo>
                  <a:cubicBezTo>
                    <a:pt x="44627" y="26871"/>
                    <a:pt x="48122" y="37582"/>
                    <a:pt x="35718" y="48414"/>
                  </a:cubicBezTo>
                  <a:cubicBezTo>
                    <a:pt x="34923" y="49354"/>
                    <a:pt x="39132" y="58952"/>
                    <a:pt x="38510" y="55747"/>
                  </a:cubicBezTo>
                  <a:cubicBezTo>
                    <a:pt x="37917" y="52575"/>
                    <a:pt x="38008" y="49200"/>
                    <a:pt x="38008" y="49200"/>
                  </a:cubicBezTo>
                  <a:cubicBezTo>
                    <a:pt x="38008" y="49200"/>
                    <a:pt x="42039" y="44283"/>
                    <a:pt x="43340" y="44283"/>
                  </a:cubicBezTo>
                  <a:cubicBezTo>
                    <a:pt x="44627" y="44283"/>
                    <a:pt x="51072" y="44809"/>
                    <a:pt x="49670" y="42630"/>
                  </a:cubicBezTo>
                  <a:cubicBezTo>
                    <a:pt x="48238" y="40441"/>
                    <a:pt x="47332" y="38633"/>
                    <a:pt x="47592" y="36411"/>
                  </a:cubicBezTo>
                  <a:cubicBezTo>
                    <a:pt x="47847" y="34227"/>
                    <a:pt x="50031" y="29826"/>
                    <a:pt x="51858" y="29705"/>
                  </a:cubicBezTo>
                  <a:cubicBezTo>
                    <a:pt x="53661" y="29585"/>
                    <a:pt x="58448" y="29054"/>
                    <a:pt x="55358" y="27126"/>
                  </a:cubicBezTo>
                  <a:cubicBezTo>
                    <a:pt x="52234" y="25169"/>
                    <a:pt x="48629" y="20286"/>
                    <a:pt x="50817" y="16921"/>
                  </a:cubicBezTo>
                  <a:cubicBezTo>
                    <a:pt x="53011" y="13580"/>
                    <a:pt x="54968" y="11107"/>
                    <a:pt x="56115" y="12018"/>
                  </a:cubicBezTo>
                  <a:cubicBezTo>
                    <a:pt x="57282" y="12920"/>
                    <a:pt x="61799" y="16670"/>
                    <a:pt x="60511" y="13691"/>
                  </a:cubicBezTo>
                  <a:cubicBezTo>
                    <a:pt x="59205" y="10736"/>
                    <a:pt x="59731" y="8272"/>
                    <a:pt x="61022" y="9179"/>
                  </a:cubicBezTo>
                  <a:cubicBezTo>
                    <a:pt x="62319" y="10080"/>
                    <a:pt x="71999" y="15494"/>
                    <a:pt x="73301" y="17817"/>
                  </a:cubicBezTo>
                  <a:cubicBezTo>
                    <a:pt x="74578" y="20160"/>
                    <a:pt x="79225" y="34092"/>
                    <a:pt x="75740" y="41969"/>
                  </a:cubicBezTo>
                  <a:cubicBezTo>
                    <a:pt x="74077" y="46375"/>
                    <a:pt x="74077" y="48945"/>
                    <a:pt x="73812" y="50883"/>
                  </a:cubicBezTo>
                  <a:cubicBezTo>
                    <a:pt x="73547" y="52830"/>
                    <a:pt x="72390" y="53616"/>
                    <a:pt x="69169" y="53727"/>
                  </a:cubicBezTo>
                  <a:cubicBezTo>
                    <a:pt x="65935" y="53871"/>
                    <a:pt x="56115" y="56441"/>
                    <a:pt x="53791" y="63036"/>
                  </a:cubicBezTo>
                  <a:cubicBezTo>
                    <a:pt x="51453" y="69616"/>
                    <a:pt x="49785" y="73612"/>
                    <a:pt x="49539" y="76326"/>
                  </a:cubicBezTo>
                  <a:cubicBezTo>
                    <a:pt x="49270" y="79060"/>
                    <a:pt x="48633" y="79315"/>
                    <a:pt x="46676" y="79831"/>
                  </a:cubicBezTo>
                  <a:cubicBezTo>
                    <a:pt x="44753" y="80337"/>
                    <a:pt x="43205" y="82015"/>
                    <a:pt x="43345" y="78785"/>
                  </a:cubicBezTo>
                  <a:cubicBezTo>
                    <a:pt x="43465" y="75565"/>
                    <a:pt x="44111" y="69621"/>
                    <a:pt x="42945" y="67442"/>
                  </a:cubicBezTo>
                  <a:cubicBezTo>
                    <a:pt x="42043" y="73887"/>
                    <a:pt x="41026" y="75449"/>
                    <a:pt x="39855" y="76326"/>
                  </a:cubicBezTo>
                  <a:cubicBezTo>
                    <a:pt x="38683" y="77252"/>
                    <a:pt x="36230" y="79315"/>
                    <a:pt x="36230" y="81875"/>
                  </a:cubicBezTo>
                  <a:cubicBezTo>
                    <a:pt x="36230" y="84468"/>
                    <a:pt x="34166" y="93257"/>
                    <a:pt x="31582" y="92485"/>
                  </a:cubicBezTo>
                  <a:cubicBezTo>
                    <a:pt x="28994" y="91695"/>
                    <a:pt x="19695" y="88224"/>
                    <a:pt x="19695" y="86040"/>
                  </a:cubicBezTo>
                  <a:cubicBezTo>
                    <a:pt x="19695" y="83808"/>
                    <a:pt x="20229" y="80202"/>
                    <a:pt x="20229" y="80202"/>
                  </a:cubicBezTo>
                  <a:lnTo>
                    <a:pt x="28878" y="66502"/>
                  </a:lnTo>
                  <a:cubicBezTo>
                    <a:pt x="28878" y="66502"/>
                    <a:pt x="11297" y="85515"/>
                    <a:pt x="11172" y="86807"/>
                  </a:cubicBezTo>
                  <a:cubicBezTo>
                    <a:pt x="11032" y="88084"/>
                    <a:pt x="9624" y="91965"/>
                    <a:pt x="8327" y="93382"/>
                  </a:cubicBezTo>
                  <a:cubicBezTo>
                    <a:pt x="7030" y="94814"/>
                    <a:pt x="2803" y="99475"/>
                    <a:pt x="2644" y="98289"/>
                  </a:cubicBezTo>
                  <a:cubicBezTo>
                    <a:pt x="2528" y="97137"/>
                    <a:pt x="-1473" y="93257"/>
                    <a:pt x="590" y="88359"/>
                  </a:cubicBezTo>
                  <a:cubicBezTo>
                    <a:pt x="2644" y="83437"/>
                    <a:pt x="7691" y="76076"/>
                    <a:pt x="11548" y="71814"/>
                  </a:cubicBezTo>
                  <a:cubicBezTo>
                    <a:pt x="10665" y="68589"/>
                    <a:pt x="9894" y="65875"/>
                    <a:pt x="9894" y="65875"/>
                  </a:cubicBezTo>
                  <a:lnTo>
                    <a:pt x="15833" y="67442"/>
                  </a:lnTo>
                  <a:lnTo>
                    <a:pt x="9754" y="62655"/>
                  </a:lnTo>
                  <a:cubicBezTo>
                    <a:pt x="9754" y="62655"/>
                    <a:pt x="6269" y="55409"/>
                    <a:pt x="8086" y="56446"/>
                  </a:cubicBezTo>
                  <a:cubicBezTo>
                    <a:pt x="9894" y="57477"/>
                    <a:pt x="11817" y="58388"/>
                    <a:pt x="12603" y="56446"/>
                  </a:cubicBezTo>
                  <a:cubicBezTo>
                    <a:pt x="13374" y="54498"/>
                    <a:pt x="15038" y="51018"/>
                    <a:pt x="16093" y="50887"/>
                  </a:cubicBezTo>
                  <a:cubicBezTo>
                    <a:pt x="17125" y="50786"/>
                    <a:pt x="22279" y="48048"/>
                    <a:pt x="21261" y="46906"/>
                  </a:cubicBezTo>
                  <a:cubicBezTo>
                    <a:pt x="20229" y="45724"/>
                    <a:pt x="16518" y="39106"/>
                    <a:pt x="17520" y="37688"/>
                  </a:cubicBezTo>
                  <a:cubicBezTo>
                    <a:pt x="18514" y="36290"/>
                    <a:pt x="21912" y="34242"/>
                    <a:pt x="23445" y="35283"/>
                  </a:cubicBezTo>
                  <a:cubicBezTo>
                    <a:pt x="25007" y="36290"/>
                    <a:pt x="29794" y="36179"/>
                    <a:pt x="27451" y="35283"/>
                  </a:cubicBezTo>
                  <a:cubicBezTo>
                    <a:pt x="25137" y="34377"/>
                    <a:pt x="20851" y="31908"/>
                    <a:pt x="20750" y="31282"/>
                  </a:cubicBezTo>
                  <a:cubicBezTo>
                    <a:pt x="20615" y="30636"/>
                    <a:pt x="18007" y="27020"/>
                    <a:pt x="18798" y="25588"/>
                  </a:cubicBezTo>
                  <a:cubicBezTo>
                    <a:pt x="19579" y="24171"/>
                    <a:pt x="22168" y="21052"/>
                    <a:pt x="22168" y="20045"/>
                  </a:cubicBezTo>
                  <a:cubicBezTo>
                    <a:pt x="22168" y="18998"/>
                    <a:pt x="22023" y="3635"/>
                    <a:pt x="27822" y="1938"/>
                  </a:cubicBezTo>
                  <a:cubicBezTo>
                    <a:pt x="33636" y="260"/>
                    <a:pt x="36090" y="0"/>
                    <a:pt x="36090"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46" name="Freihandform: Form 345">
              <a:extLst>
                <a:ext uri="{FF2B5EF4-FFF2-40B4-BE49-F238E27FC236}">
                  <a16:creationId xmlns:a16="http://schemas.microsoft.com/office/drawing/2014/main" id="{BE601FEA-5E38-35E7-2DEA-7C8EA94B0072}"/>
                </a:ext>
              </a:extLst>
            </p:cNvPr>
            <p:cNvSpPr/>
            <p:nvPr/>
          </p:nvSpPr>
          <p:spPr>
            <a:xfrm>
              <a:off x="5757938" y="1088929"/>
              <a:ext cx="26984" cy="25401"/>
            </a:xfrm>
            <a:custGeom>
              <a:avLst/>
              <a:gdLst>
                <a:gd name="connsiteX0" fmla="*/ 16149 w 20662"/>
                <a:gd name="connsiteY0" fmla="*/ 16194 h 20844"/>
                <a:gd name="connsiteX1" fmla="*/ 19625 w 20662"/>
                <a:gd name="connsiteY1" fmla="*/ 12304 h 20844"/>
                <a:gd name="connsiteX2" fmla="*/ 19996 w 20662"/>
                <a:gd name="connsiteY2" fmla="*/ 7281 h 20844"/>
                <a:gd name="connsiteX3" fmla="*/ 9815 w 20662"/>
                <a:gd name="connsiteY3" fmla="*/ 431 h 20844"/>
                <a:gd name="connsiteX4" fmla="*/ 4102 w 20662"/>
                <a:gd name="connsiteY4" fmla="*/ 6370 h 20844"/>
                <a:gd name="connsiteX5" fmla="*/ 0 w 20662"/>
                <a:gd name="connsiteY5" fmla="*/ 17607 h 20844"/>
                <a:gd name="connsiteX6" fmla="*/ 6064 w 20662"/>
                <a:gd name="connsiteY6" fmla="*/ 20702 h 20844"/>
                <a:gd name="connsiteX7" fmla="*/ 16149 w 20662"/>
                <a:gd name="connsiteY7" fmla="*/ 16194 h 20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62" h="20844">
                  <a:moveTo>
                    <a:pt x="16149" y="16194"/>
                  </a:moveTo>
                  <a:cubicBezTo>
                    <a:pt x="18381" y="16464"/>
                    <a:pt x="18839" y="14386"/>
                    <a:pt x="19625" y="12304"/>
                  </a:cubicBezTo>
                  <a:cubicBezTo>
                    <a:pt x="20401" y="10260"/>
                    <a:pt x="21312" y="9460"/>
                    <a:pt x="19996" y="7281"/>
                  </a:cubicBezTo>
                  <a:cubicBezTo>
                    <a:pt x="18714" y="5087"/>
                    <a:pt x="13551" y="-1773"/>
                    <a:pt x="9815" y="431"/>
                  </a:cubicBezTo>
                  <a:cubicBezTo>
                    <a:pt x="6069" y="2634"/>
                    <a:pt x="4102" y="3911"/>
                    <a:pt x="4102" y="6370"/>
                  </a:cubicBezTo>
                  <a:cubicBezTo>
                    <a:pt x="4102" y="8838"/>
                    <a:pt x="1538" y="15804"/>
                    <a:pt x="0" y="17607"/>
                  </a:cubicBezTo>
                  <a:cubicBezTo>
                    <a:pt x="1538" y="19656"/>
                    <a:pt x="5428" y="21357"/>
                    <a:pt x="6064" y="20702"/>
                  </a:cubicBezTo>
                  <a:cubicBezTo>
                    <a:pt x="6720" y="20070"/>
                    <a:pt x="12023" y="15674"/>
                    <a:pt x="16149" y="1619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47" name="Freihandform: Form 346">
              <a:extLst>
                <a:ext uri="{FF2B5EF4-FFF2-40B4-BE49-F238E27FC236}">
                  <a16:creationId xmlns:a16="http://schemas.microsoft.com/office/drawing/2014/main" id="{34F58E54-FE9D-D8E5-35D9-6E36548C0536}"/>
                </a:ext>
              </a:extLst>
            </p:cNvPr>
            <p:cNvSpPr/>
            <p:nvPr/>
          </p:nvSpPr>
          <p:spPr>
            <a:xfrm>
              <a:off x="5724603" y="1181007"/>
              <a:ext cx="26985" cy="11113"/>
            </a:xfrm>
            <a:custGeom>
              <a:avLst/>
              <a:gdLst>
                <a:gd name="connsiteX0" fmla="*/ 20917 w 20917"/>
                <a:gd name="connsiteY0" fmla="*/ 0 h 7631"/>
                <a:gd name="connsiteX1" fmla="*/ 7101 w 20917"/>
                <a:gd name="connsiteY1" fmla="*/ 395 h 7631"/>
                <a:gd name="connsiteX2" fmla="*/ 0 w 20917"/>
                <a:gd name="connsiteY2" fmla="*/ 5944 h 7631"/>
                <a:gd name="connsiteX3" fmla="*/ 6576 w 20917"/>
                <a:gd name="connsiteY3" fmla="*/ 6595 h 7631"/>
                <a:gd name="connsiteX4" fmla="*/ 13826 w 20917"/>
                <a:gd name="connsiteY4" fmla="*/ 2579 h 7631"/>
                <a:gd name="connsiteX5" fmla="*/ 20666 w 20917"/>
                <a:gd name="connsiteY5" fmla="*/ 7631 h 7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7" h="7631">
                  <a:moveTo>
                    <a:pt x="20917" y="0"/>
                  </a:moveTo>
                  <a:lnTo>
                    <a:pt x="7101" y="395"/>
                  </a:lnTo>
                  <a:lnTo>
                    <a:pt x="0" y="5944"/>
                  </a:lnTo>
                  <a:lnTo>
                    <a:pt x="6576" y="6595"/>
                  </a:lnTo>
                  <a:lnTo>
                    <a:pt x="13826" y="2579"/>
                  </a:lnTo>
                  <a:lnTo>
                    <a:pt x="20666" y="763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48" name="Freihandform: Form 347">
              <a:extLst>
                <a:ext uri="{FF2B5EF4-FFF2-40B4-BE49-F238E27FC236}">
                  <a16:creationId xmlns:a16="http://schemas.microsoft.com/office/drawing/2014/main" id="{51C34EE4-DACF-E39F-7B14-4068EFFB616F}"/>
                </a:ext>
              </a:extLst>
            </p:cNvPr>
            <p:cNvSpPr/>
            <p:nvPr/>
          </p:nvSpPr>
          <p:spPr>
            <a:xfrm>
              <a:off x="5691270" y="1192121"/>
              <a:ext cx="23809" cy="15876"/>
            </a:xfrm>
            <a:custGeom>
              <a:avLst/>
              <a:gdLst>
                <a:gd name="connsiteX0" fmla="*/ 18473 w 18472"/>
                <a:gd name="connsiteY0" fmla="*/ 6590 h 12529"/>
                <a:gd name="connsiteX1" fmla="*/ 12784 w 18472"/>
                <a:gd name="connsiteY1" fmla="*/ 5549 h 12529"/>
                <a:gd name="connsiteX2" fmla="*/ 5539 w 18472"/>
                <a:gd name="connsiteY2" fmla="*/ 0 h 12529"/>
                <a:gd name="connsiteX3" fmla="*/ 0 w 18472"/>
                <a:gd name="connsiteY3" fmla="*/ 7212 h 12529"/>
                <a:gd name="connsiteX4" fmla="*/ 1292 w 18472"/>
                <a:gd name="connsiteY4" fmla="*/ 12529 h 12529"/>
                <a:gd name="connsiteX5" fmla="*/ 11637 w 18472"/>
                <a:gd name="connsiteY5" fmla="*/ 11377 h 12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72" h="12529">
                  <a:moveTo>
                    <a:pt x="18473" y="6590"/>
                  </a:moveTo>
                  <a:lnTo>
                    <a:pt x="12784" y="5549"/>
                  </a:lnTo>
                  <a:lnTo>
                    <a:pt x="5539" y="0"/>
                  </a:lnTo>
                  <a:lnTo>
                    <a:pt x="0" y="7212"/>
                  </a:lnTo>
                  <a:lnTo>
                    <a:pt x="1292" y="12529"/>
                  </a:lnTo>
                  <a:lnTo>
                    <a:pt x="11637" y="1137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49" name="Freihandform: Form 348">
              <a:extLst>
                <a:ext uri="{FF2B5EF4-FFF2-40B4-BE49-F238E27FC236}">
                  <a16:creationId xmlns:a16="http://schemas.microsoft.com/office/drawing/2014/main" id="{E9CCEFBB-DFBD-2615-57AD-84BFA2186435}"/>
                </a:ext>
              </a:extLst>
            </p:cNvPr>
            <p:cNvSpPr/>
            <p:nvPr/>
          </p:nvSpPr>
          <p:spPr>
            <a:xfrm>
              <a:off x="5913495" y="860320"/>
              <a:ext cx="9524" cy="11113"/>
            </a:xfrm>
            <a:custGeom>
              <a:avLst/>
              <a:gdLst>
                <a:gd name="connsiteX0" fmla="*/ 8123 w 8122"/>
                <a:gd name="connsiteY0" fmla="*/ 0 h 8788"/>
                <a:gd name="connsiteX1" fmla="*/ 4883 w 8122"/>
                <a:gd name="connsiteY1" fmla="*/ 8788 h 8788"/>
                <a:gd name="connsiteX2" fmla="*/ 0 w 8122"/>
                <a:gd name="connsiteY2" fmla="*/ 5563 h 8788"/>
              </a:gdLst>
              <a:ahLst/>
              <a:cxnLst>
                <a:cxn ang="0">
                  <a:pos x="connsiteX0" y="connsiteY0"/>
                </a:cxn>
                <a:cxn ang="0">
                  <a:pos x="connsiteX1" y="connsiteY1"/>
                </a:cxn>
                <a:cxn ang="0">
                  <a:pos x="connsiteX2" y="connsiteY2"/>
                </a:cxn>
              </a:cxnLst>
              <a:rect l="l" t="t" r="r" b="b"/>
              <a:pathLst>
                <a:path w="8122" h="8788">
                  <a:moveTo>
                    <a:pt x="8123" y="0"/>
                  </a:moveTo>
                  <a:lnTo>
                    <a:pt x="4883" y="8788"/>
                  </a:lnTo>
                  <a:lnTo>
                    <a:pt x="0" y="556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50" name="Freihandform: Form 349">
              <a:extLst>
                <a:ext uri="{FF2B5EF4-FFF2-40B4-BE49-F238E27FC236}">
                  <a16:creationId xmlns:a16="http://schemas.microsoft.com/office/drawing/2014/main" id="{6314C408-56EA-B91B-3490-968F0D8AB536}"/>
                </a:ext>
              </a:extLst>
            </p:cNvPr>
            <p:cNvSpPr/>
            <p:nvPr/>
          </p:nvSpPr>
          <p:spPr>
            <a:xfrm>
              <a:off x="5661111" y="1331826"/>
              <a:ext cx="9524" cy="4762"/>
            </a:xfrm>
            <a:custGeom>
              <a:avLst/>
              <a:gdLst>
                <a:gd name="connsiteX0" fmla="*/ 0 w 8392"/>
                <a:gd name="connsiteY0" fmla="*/ 1562 h 3755"/>
                <a:gd name="connsiteX1" fmla="*/ 8393 w 8392"/>
                <a:gd name="connsiteY1" fmla="*/ 0 h 3755"/>
                <a:gd name="connsiteX2" fmla="*/ 7361 w 8392"/>
                <a:gd name="connsiteY2" fmla="*/ 3755 h 3755"/>
              </a:gdLst>
              <a:ahLst/>
              <a:cxnLst>
                <a:cxn ang="0">
                  <a:pos x="connsiteX0" y="connsiteY0"/>
                </a:cxn>
                <a:cxn ang="0">
                  <a:pos x="connsiteX1" y="connsiteY1"/>
                </a:cxn>
                <a:cxn ang="0">
                  <a:pos x="connsiteX2" y="connsiteY2"/>
                </a:cxn>
              </a:cxnLst>
              <a:rect l="l" t="t" r="r" b="b"/>
              <a:pathLst>
                <a:path w="8392" h="3755">
                  <a:moveTo>
                    <a:pt x="0" y="1562"/>
                  </a:moveTo>
                  <a:lnTo>
                    <a:pt x="8393" y="0"/>
                  </a:lnTo>
                  <a:lnTo>
                    <a:pt x="7361" y="375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51" name="Freihandform: Form 350">
              <a:extLst>
                <a:ext uri="{FF2B5EF4-FFF2-40B4-BE49-F238E27FC236}">
                  <a16:creationId xmlns:a16="http://schemas.microsoft.com/office/drawing/2014/main" id="{D6ABEAB6-EDC4-57BB-7DC0-E0B4FC40AE35}"/>
                </a:ext>
              </a:extLst>
            </p:cNvPr>
            <p:cNvSpPr/>
            <p:nvPr/>
          </p:nvSpPr>
          <p:spPr>
            <a:xfrm>
              <a:off x="5638888" y="1336588"/>
              <a:ext cx="17461" cy="33339"/>
            </a:xfrm>
            <a:custGeom>
              <a:avLst/>
              <a:gdLst>
                <a:gd name="connsiteX0" fmla="*/ 13049 w 13454"/>
                <a:gd name="connsiteY0" fmla="*/ 251 h 25164"/>
                <a:gd name="connsiteX1" fmla="*/ 12288 w 13454"/>
                <a:gd name="connsiteY1" fmla="*/ 7993 h 25164"/>
                <a:gd name="connsiteX2" fmla="*/ 11111 w 13454"/>
                <a:gd name="connsiteY2" fmla="*/ 25164 h 25164"/>
                <a:gd name="connsiteX3" fmla="*/ 4656 w 13454"/>
                <a:gd name="connsiteY3" fmla="*/ 17813 h 25164"/>
                <a:gd name="connsiteX4" fmla="*/ 9 w 13454"/>
                <a:gd name="connsiteY4" fmla="*/ 13300 h 25164"/>
                <a:gd name="connsiteX5" fmla="*/ 4001 w 13454"/>
                <a:gd name="connsiteY5" fmla="*/ 6190 h 25164"/>
                <a:gd name="connsiteX6" fmla="*/ 13049 w 13454"/>
                <a:gd name="connsiteY6" fmla="*/ 251 h 2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54" h="25164">
                  <a:moveTo>
                    <a:pt x="13049" y="251"/>
                  </a:moveTo>
                  <a:cubicBezTo>
                    <a:pt x="13748" y="-1369"/>
                    <a:pt x="13575" y="5284"/>
                    <a:pt x="12288" y="7993"/>
                  </a:cubicBezTo>
                  <a:cubicBezTo>
                    <a:pt x="10981" y="10702"/>
                    <a:pt x="9689" y="19876"/>
                    <a:pt x="11111" y="25164"/>
                  </a:cubicBezTo>
                  <a:cubicBezTo>
                    <a:pt x="8277" y="20642"/>
                    <a:pt x="8402" y="18459"/>
                    <a:pt x="4656" y="17813"/>
                  </a:cubicBezTo>
                  <a:cubicBezTo>
                    <a:pt x="920" y="17147"/>
                    <a:pt x="-111" y="14973"/>
                    <a:pt x="9" y="13300"/>
                  </a:cubicBezTo>
                  <a:cubicBezTo>
                    <a:pt x="149" y="11604"/>
                    <a:pt x="390" y="6450"/>
                    <a:pt x="4001" y="6190"/>
                  </a:cubicBezTo>
                  <a:cubicBezTo>
                    <a:pt x="7611" y="5930"/>
                    <a:pt x="9569" y="8229"/>
                    <a:pt x="13049" y="25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52" name="Freihandform: Form 351">
              <a:extLst>
                <a:ext uri="{FF2B5EF4-FFF2-40B4-BE49-F238E27FC236}">
                  <a16:creationId xmlns:a16="http://schemas.microsoft.com/office/drawing/2014/main" id="{A92F253C-42BE-D6D2-F561-8DDC46769FFB}"/>
                </a:ext>
              </a:extLst>
            </p:cNvPr>
            <p:cNvSpPr/>
            <p:nvPr/>
          </p:nvSpPr>
          <p:spPr>
            <a:xfrm>
              <a:off x="5592856" y="1401679"/>
              <a:ext cx="17460" cy="7937"/>
            </a:xfrm>
            <a:custGeom>
              <a:avLst/>
              <a:gdLst>
                <a:gd name="connsiteX0" fmla="*/ 12924 w 12924"/>
                <a:gd name="connsiteY0" fmla="*/ 251 h 6180"/>
                <a:gd name="connsiteX1" fmla="*/ 6720 w 12924"/>
                <a:gd name="connsiteY1" fmla="*/ 0 h 6180"/>
                <a:gd name="connsiteX2" fmla="*/ 0 w 12924"/>
                <a:gd name="connsiteY2" fmla="*/ 6180 h 6180"/>
                <a:gd name="connsiteX3" fmla="*/ 6455 w 12924"/>
                <a:gd name="connsiteY3" fmla="*/ 5655 h 6180"/>
              </a:gdLst>
              <a:ahLst/>
              <a:cxnLst>
                <a:cxn ang="0">
                  <a:pos x="connsiteX0" y="connsiteY0"/>
                </a:cxn>
                <a:cxn ang="0">
                  <a:pos x="connsiteX1" y="connsiteY1"/>
                </a:cxn>
                <a:cxn ang="0">
                  <a:pos x="connsiteX2" y="connsiteY2"/>
                </a:cxn>
                <a:cxn ang="0">
                  <a:pos x="connsiteX3" y="connsiteY3"/>
                </a:cxn>
              </a:cxnLst>
              <a:rect l="l" t="t" r="r" b="b"/>
              <a:pathLst>
                <a:path w="12924" h="6180">
                  <a:moveTo>
                    <a:pt x="12924" y="251"/>
                  </a:moveTo>
                  <a:lnTo>
                    <a:pt x="6720" y="0"/>
                  </a:lnTo>
                  <a:lnTo>
                    <a:pt x="0" y="6180"/>
                  </a:lnTo>
                  <a:lnTo>
                    <a:pt x="6455" y="565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53" name="Freihandform: Form 352">
              <a:extLst>
                <a:ext uri="{FF2B5EF4-FFF2-40B4-BE49-F238E27FC236}">
                  <a16:creationId xmlns:a16="http://schemas.microsoft.com/office/drawing/2014/main" id="{E66F041A-6528-AA7B-A521-A969D33C6077}"/>
                </a:ext>
              </a:extLst>
            </p:cNvPr>
            <p:cNvSpPr/>
            <p:nvPr/>
          </p:nvSpPr>
          <p:spPr>
            <a:xfrm>
              <a:off x="5594443" y="1412791"/>
              <a:ext cx="9524" cy="4763"/>
            </a:xfrm>
            <a:custGeom>
              <a:avLst/>
              <a:gdLst>
                <a:gd name="connsiteX0" fmla="*/ 0 w 7231"/>
                <a:gd name="connsiteY0" fmla="*/ 0 h 3225"/>
                <a:gd name="connsiteX1" fmla="*/ 7231 w 7231"/>
                <a:gd name="connsiteY1" fmla="*/ 2974 h 3225"/>
                <a:gd name="connsiteX2" fmla="*/ 2570 w 7231"/>
                <a:gd name="connsiteY2" fmla="*/ 3225 h 3225"/>
              </a:gdLst>
              <a:ahLst/>
              <a:cxnLst>
                <a:cxn ang="0">
                  <a:pos x="connsiteX0" y="connsiteY0"/>
                </a:cxn>
                <a:cxn ang="0">
                  <a:pos x="connsiteX1" y="connsiteY1"/>
                </a:cxn>
                <a:cxn ang="0">
                  <a:pos x="connsiteX2" y="connsiteY2"/>
                </a:cxn>
              </a:cxnLst>
              <a:rect l="l" t="t" r="r" b="b"/>
              <a:pathLst>
                <a:path w="7231" h="3225">
                  <a:moveTo>
                    <a:pt x="0" y="0"/>
                  </a:moveTo>
                  <a:lnTo>
                    <a:pt x="7231" y="2974"/>
                  </a:lnTo>
                  <a:lnTo>
                    <a:pt x="2570" y="322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54" name="Freihandform: Form 353">
              <a:extLst>
                <a:ext uri="{FF2B5EF4-FFF2-40B4-BE49-F238E27FC236}">
                  <a16:creationId xmlns:a16="http://schemas.microsoft.com/office/drawing/2014/main" id="{2A48473A-B9C5-64D6-226F-42EA011D4C71}"/>
                </a:ext>
              </a:extLst>
            </p:cNvPr>
            <p:cNvSpPr/>
            <p:nvPr/>
          </p:nvSpPr>
          <p:spPr>
            <a:xfrm>
              <a:off x="5573809" y="1477882"/>
              <a:ext cx="3175" cy="7937"/>
            </a:xfrm>
            <a:custGeom>
              <a:avLst/>
              <a:gdLst>
                <a:gd name="connsiteX0" fmla="*/ 2854 w 2854"/>
                <a:gd name="connsiteY0" fmla="*/ 0 h 6715"/>
                <a:gd name="connsiteX1" fmla="*/ 0 w 2854"/>
                <a:gd name="connsiteY1" fmla="*/ 6715 h 6715"/>
                <a:gd name="connsiteX2" fmla="*/ 2589 w 2854"/>
                <a:gd name="connsiteY2" fmla="*/ 6715 h 6715"/>
              </a:gdLst>
              <a:ahLst/>
              <a:cxnLst>
                <a:cxn ang="0">
                  <a:pos x="connsiteX0" y="connsiteY0"/>
                </a:cxn>
                <a:cxn ang="0">
                  <a:pos x="connsiteX1" y="connsiteY1"/>
                </a:cxn>
                <a:cxn ang="0">
                  <a:pos x="connsiteX2" y="connsiteY2"/>
                </a:cxn>
              </a:cxnLst>
              <a:rect l="l" t="t" r="r" b="b"/>
              <a:pathLst>
                <a:path w="2854" h="6715">
                  <a:moveTo>
                    <a:pt x="2854" y="0"/>
                  </a:moveTo>
                  <a:lnTo>
                    <a:pt x="0" y="6715"/>
                  </a:lnTo>
                  <a:lnTo>
                    <a:pt x="2589" y="671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55" name="Freihandform: Form 354">
              <a:extLst>
                <a:ext uri="{FF2B5EF4-FFF2-40B4-BE49-F238E27FC236}">
                  <a16:creationId xmlns:a16="http://schemas.microsoft.com/office/drawing/2014/main" id="{68747EDF-CC7E-10E8-BC91-08AD0D7888CE}"/>
                </a:ext>
              </a:extLst>
            </p:cNvPr>
            <p:cNvSpPr/>
            <p:nvPr/>
          </p:nvSpPr>
          <p:spPr>
            <a:xfrm>
              <a:off x="5478569" y="1711252"/>
              <a:ext cx="19048" cy="15876"/>
            </a:xfrm>
            <a:custGeom>
              <a:avLst/>
              <a:gdLst>
                <a:gd name="connsiteX0" fmla="*/ 6089 w 14722"/>
                <a:gd name="connsiteY0" fmla="*/ 1552 h 12784"/>
                <a:gd name="connsiteX1" fmla="*/ 11116 w 14722"/>
                <a:gd name="connsiteY1" fmla="*/ 2319 h 12784"/>
                <a:gd name="connsiteX2" fmla="*/ 14722 w 14722"/>
                <a:gd name="connsiteY2" fmla="*/ 0 h 12784"/>
                <a:gd name="connsiteX3" fmla="*/ 4006 w 14722"/>
                <a:gd name="connsiteY3" fmla="*/ 12785 h 12784"/>
                <a:gd name="connsiteX4" fmla="*/ 0 w 14722"/>
                <a:gd name="connsiteY4" fmla="*/ 5819 h 127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22" h="12784">
                  <a:moveTo>
                    <a:pt x="6089" y="1552"/>
                  </a:moveTo>
                  <a:lnTo>
                    <a:pt x="11116" y="2319"/>
                  </a:lnTo>
                  <a:lnTo>
                    <a:pt x="14722" y="0"/>
                  </a:lnTo>
                  <a:lnTo>
                    <a:pt x="4006" y="12785"/>
                  </a:lnTo>
                  <a:lnTo>
                    <a:pt x="0" y="581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56" name="Freihandform: Form 355">
              <a:extLst>
                <a:ext uri="{FF2B5EF4-FFF2-40B4-BE49-F238E27FC236}">
                  <a16:creationId xmlns:a16="http://schemas.microsoft.com/office/drawing/2014/main" id="{F05A70C7-3B49-5835-FAFF-FBD5B9303DFB}"/>
                </a:ext>
              </a:extLst>
            </p:cNvPr>
            <p:cNvSpPr/>
            <p:nvPr/>
          </p:nvSpPr>
          <p:spPr>
            <a:xfrm>
              <a:off x="5426187" y="1743004"/>
              <a:ext cx="38096" cy="19051"/>
            </a:xfrm>
            <a:custGeom>
              <a:avLst/>
              <a:gdLst>
                <a:gd name="connsiteX0" fmla="*/ 16882 w 29777"/>
                <a:gd name="connsiteY0" fmla="*/ 0 h 14862"/>
                <a:gd name="connsiteX1" fmla="*/ 23207 w 29777"/>
                <a:gd name="connsiteY1" fmla="*/ 3471 h 14862"/>
                <a:gd name="connsiteX2" fmla="*/ 29778 w 29777"/>
                <a:gd name="connsiteY2" fmla="*/ 2955 h 14862"/>
                <a:gd name="connsiteX3" fmla="*/ 19842 w 29777"/>
                <a:gd name="connsiteY3" fmla="*/ 14862 h 14862"/>
                <a:gd name="connsiteX4" fmla="*/ 13247 w 29777"/>
                <a:gd name="connsiteY4" fmla="*/ 12394 h 14862"/>
                <a:gd name="connsiteX5" fmla="*/ 11179 w 29777"/>
                <a:gd name="connsiteY5" fmla="*/ 7366 h 14862"/>
                <a:gd name="connsiteX6" fmla="*/ 0 w 29777"/>
                <a:gd name="connsiteY6" fmla="*/ 14612 h 14862"/>
                <a:gd name="connsiteX7" fmla="*/ 16882 w 29777"/>
                <a:gd name="connsiteY7" fmla="*/ 0 h 1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77" h="14862">
                  <a:moveTo>
                    <a:pt x="16882" y="0"/>
                  </a:moveTo>
                  <a:lnTo>
                    <a:pt x="23207" y="3471"/>
                  </a:lnTo>
                  <a:lnTo>
                    <a:pt x="29778" y="2955"/>
                  </a:lnTo>
                  <a:cubicBezTo>
                    <a:pt x="29778" y="2955"/>
                    <a:pt x="22165" y="14713"/>
                    <a:pt x="19842" y="14862"/>
                  </a:cubicBezTo>
                  <a:cubicBezTo>
                    <a:pt x="19842" y="14862"/>
                    <a:pt x="13247" y="14467"/>
                    <a:pt x="13247" y="12394"/>
                  </a:cubicBezTo>
                  <a:cubicBezTo>
                    <a:pt x="13247" y="10316"/>
                    <a:pt x="12066" y="5939"/>
                    <a:pt x="11179" y="7366"/>
                  </a:cubicBezTo>
                  <a:cubicBezTo>
                    <a:pt x="10268" y="8788"/>
                    <a:pt x="0" y="14612"/>
                    <a:pt x="0" y="14612"/>
                  </a:cubicBezTo>
                  <a:lnTo>
                    <a:pt x="16882"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57" name="Freihandform: Form 356">
              <a:extLst>
                <a:ext uri="{FF2B5EF4-FFF2-40B4-BE49-F238E27FC236}">
                  <a16:creationId xmlns:a16="http://schemas.microsoft.com/office/drawing/2014/main" id="{E44B4E3F-185D-D5D8-9763-CCE6CEE5CEC2}"/>
                </a:ext>
              </a:extLst>
            </p:cNvPr>
            <p:cNvSpPr/>
            <p:nvPr/>
          </p:nvSpPr>
          <p:spPr>
            <a:xfrm>
              <a:off x="5418251" y="1738241"/>
              <a:ext cx="30159" cy="20638"/>
            </a:xfrm>
            <a:custGeom>
              <a:avLst/>
              <a:gdLst>
                <a:gd name="connsiteX0" fmla="*/ 10349 w 24050"/>
                <a:gd name="connsiteY0" fmla="*/ 6360 h 16416"/>
                <a:gd name="connsiteX1" fmla="*/ 24050 w 24050"/>
                <a:gd name="connsiteY1" fmla="*/ 11 h 16416"/>
                <a:gd name="connsiteX2" fmla="*/ 13603 w 24050"/>
                <a:gd name="connsiteY2" fmla="*/ 8930 h 16416"/>
                <a:gd name="connsiteX3" fmla="*/ 1590 w 24050"/>
                <a:gd name="connsiteY3" fmla="*/ 16416 h 16416"/>
                <a:gd name="connsiteX4" fmla="*/ 2631 w 24050"/>
                <a:gd name="connsiteY4" fmla="*/ 13707 h 16416"/>
                <a:gd name="connsiteX5" fmla="*/ 10349 w 24050"/>
                <a:gd name="connsiteY5" fmla="*/ 6360 h 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50" h="16416">
                  <a:moveTo>
                    <a:pt x="10349" y="6360"/>
                  </a:moveTo>
                  <a:cubicBezTo>
                    <a:pt x="12056" y="3887"/>
                    <a:pt x="16578" y="-244"/>
                    <a:pt x="24050" y="11"/>
                  </a:cubicBezTo>
                  <a:cubicBezTo>
                    <a:pt x="19027" y="5319"/>
                    <a:pt x="15667" y="8669"/>
                    <a:pt x="13603" y="8930"/>
                  </a:cubicBezTo>
                  <a:cubicBezTo>
                    <a:pt x="11531" y="9171"/>
                    <a:pt x="6223" y="16281"/>
                    <a:pt x="1590" y="16416"/>
                  </a:cubicBezTo>
                  <a:cubicBezTo>
                    <a:pt x="-936" y="16416"/>
                    <a:pt x="-352" y="15510"/>
                    <a:pt x="2631" y="13707"/>
                  </a:cubicBezTo>
                  <a:cubicBezTo>
                    <a:pt x="5582" y="11904"/>
                    <a:pt x="9588" y="8163"/>
                    <a:pt x="10349" y="636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58" name="Freihandform: Form 357">
              <a:extLst>
                <a:ext uri="{FF2B5EF4-FFF2-40B4-BE49-F238E27FC236}">
                  <a16:creationId xmlns:a16="http://schemas.microsoft.com/office/drawing/2014/main" id="{5BF03CB3-E34F-2E24-CA4B-722C869551A2}"/>
                </a:ext>
              </a:extLst>
            </p:cNvPr>
            <p:cNvSpPr/>
            <p:nvPr/>
          </p:nvSpPr>
          <p:spPr>
            <a:xfrm>
              <a:off x="5454759" y="1789043"/>
              <a:ext cx="11112" cy="12700"/>
            </a:xfrm>
            <a:custGeom>
              <a:avLst/>
              <a:gdLst>
                <a:gd name="connsiteX0" fmla="*/ 8967 w 8966"/>
                <a:gd name="connsiteY0" fmla="*/ 2496 h 10433"/>
                <a:gd name="connsiteX1" fmla="*/ 6503 w 8966"/>
                <a:gd name="connsiteY1" fmla="*/ 10368 h 10433"/>
                <a:gd name="connsiteX2" fmla="*/ 449 w 8966"/>
                <a:gd name="connsiteY2" fmla="*/ 6107 h 10433"/>
                <a:gd name="connsiteX3" fmla="*/ 820 w 8966"/>
                <a:gd name="connsiteY3" fmla="*/ 1069 h 10433"/>
                <a:gd name="connsiteX4" fmla="*/ 7019 w 8966"/>
                <a:gd name="connsiteY4" fmla="*/ 172 h 10433"/>
                <a:gd name="connsiteX5" fmla="*/ 8967 w 8966"/>
                <a:gd name="connsiteY5" fmla="*/ 2496 h 10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6" h="10433">
                  <a:moveTo>
                    <a:pt x="8967" y="2496"/>
                  </a:moveTo>
                  <a:cubicBezTo>
                    <a:pt x="8967" y="2496"/>
                    <a:pt x="7665" y="11269"/>
                    <a:pt x="6503" y="10368"/>
                  </a:cubicBezTo>
                  <a:cubicBezTo>
                    <a:pt x="5346" y="9471"/>
                    <a:pt x="699" y="7775"/>
                    <a:pt x="449" y="6107"/>
                  </a:cubicBezTo>
                  <a:cubicBezTo>
                    <a:pt x="188" y="4414"/>
                    <a:pt x="-588" y="1185"/>
                    <a:pt x="820" y="1069"/>
                  </a:cubicBezTo>
                  <a:cubicBezTo>
                    <a:pt x="2247" y="934"/>
                    <a:pt x="6503" y="-483"/>
                    <a:pt x="7019" y="172"/>
                  </a:cubicBezTo>
                  <a:cubicBezTo>
                    <a:pt x="7545" y="799"/>
                    <a:pt x="8967" y="2496"/>
                    <a:pt x="8967" y="249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59" name="Freihandform: Form 358">
              <a:extLst>
                <a:ext uri="{FF2B5EF4-FFF2-40B4-BE49-F238E27FC236}">
                  <a16:creationId xmlns:a16="http://schemas.microsoft.com/office/drawing/2014/main" id="{D5E0CDFA-A750-97DC-FB81-AB3A5A7070CA}"/>
                </a:ext>
              </a:extLst>
            </p:cNvPr>
            <p:cNvSpPr/>
            <p:nvPr/>
          </p:nvSpPr>
          <p:spPr>
            <a:xfrm>
              <a:off x="5465871" y="1801744"/>
              <a:ext cx="7936" cy="9525"/>
            </a:xfrm>
            <a:custGeom>
              <a:avLst/>
              <a:gdLst>
                <a:gd name="connsiteX0" fmla="*/ 648 w 6162"/>
                <a:gd name="connsiteY0" fmla="*/ 0 h 6733"/>
                <a:gd name="connsiteX1" fmla="*/ 6071 w 6162"/>
                <a:gd name="connsiteY1" fmla="*/ 3616 h 6733"/>
                <a:gd name="connsiteX2" fmla="*/ 2 w 6162"/>
                <a:gd name="connsiteY2" fmla="*/ 6436 h 6733"/>
                <a:gd name="connsiteX3" fmla="*/ 648 w 6162"/>
                <a:gd name="connsiteY3" fmla="*/ 0 h 6733"/>
              </a:gdLst>
              <a:ahLst/>
              <a:cxnLst>
                <a:cxn ang="0">
                  <a:pos x="connsiteX0" y="connsiteY0"/>
                </a:cxn>
                <a:cxn ang="0">
                  <a:pos x="connsiteX1" y="connsiteY1"/>
                </a:cxn>
                <a:cxn ang="0">
                  <a:pos x="connsiteX2" y="connsiteY2"/>
                </a:cxn>
                <a:cxn ang="0">
                  <a:pos x="connsiteX3" y="connsiteY3"/>
                </a:cxn>
              </a:cxnLst>
              <a:rect l="l" t="t" r="r" b="b"/>
              <a:pathLst>
                <a:path w="6162" h="6733">
                  <a:moveTo>
                    <a:pt x="648" y="0"/>
                  </a:moveTo>
                  <a:cubicBezTo>
                    <a:pt x="648" y="0"/>
                    <a:pt x="6992" y="3490"/>
                    <a:pt x="6071" y="3616"/>
                  </a:cubicBezTo>
                  <a:cubicBezTo>
                    <a:pt x="5170" y="3722"/>
                    <a:pt x="-128" y="7858"/>
                    <a:pt x="2" y="6436"/>
                  </a:cubicBezTo>
                  <a:cubicBezTo>
                    <a:pt x="142" y="5014"/>
                    <a:pt x="648" y="0"/>
                    <a:pt x="648"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60" name="Freihandform: Form 359">
              <a:extLst>
                <a:ext uri="{FF2B5EF4-FFF2-40B4-BE49-F238E27FC236}">
                  <a16:creationId xmlns:a16="http://schemas.microsoft.com/office/drawing/2014/main" id="{2E3E6CA7-D5A7-1872-D670-7D065C86D6E0}"/>
                </a:ext>
              </a:extLst>
            </p:cNvPr>
            <p:cNvSpPr/>
            <p:nvPr/>
          </p:nvSpPr>
          <p:spPr>
            <a:xfrm>
              <a:off x="5442060" y="1795394"/>
              <a:ext cx="28572" cy="30163"/>
            </a:xfrm>
            <a:custGeom>
              <a:avLst/>
              <a:gdLst>
                <a:gd name="connsiteX0" fmla="*/ 7754 w 22424"/>
                <a:gd name="connsiteY0" fmla="*/ 7782 h 22964"/>
                <a:gd name="connsiteX1" fmla="*/ 6207 w 22424"/>
                <a:gd name="connsiteY1" fmla="*/ 13851 h 22964"/>
                <a:gd name="connsiteX2" fmla="*/ 9803 w 22424"/>
                <a:gd name="connsiteY2" fmla="*/ 19549 h 22964"/>
                <a:gd name="connsiteX3" fmla="*/ 21074 w 22424"/>
                <a:gd name="connsiteY3" fmla="*/ 22774 h 22964"/>
                <a:gd name="connsiteX4" fmla="*/ 21840 w 22424"/>
                <a:gd name="connsiteY4" fmla="*/ 16700 h 22964"/>
                <a:gd name="connsiteX5" fmla="*/ 16788 w 22424"/>
                <a:gd name="connsiteY5" fmla="*/ 12709 h 22964"/>
                <a:gd name="connsiteX6" fmla="*/ 11114 w 22424"/>
                <a:gd name="connsiteY6" fmla="*/ 6259 h 22964"/>
                <a:gd name="connsiteX7" fmla="*/ 1560 w 22424"/>
                <a:gd name="connsiteY7" fmla="*/ 315 h 22964"/>
                <a:gd name="connsiteX8" fmla="*/ 514 w 22424"/>
                <a:gd name="connsiteY8" fmla="*/ 6495 h 22964"/>
                <a:gd name="connsiteX9" fmla="*/ 7754 w 22424"/>
                <a:gd name="connsiteY9" fmla="*/ 7782 h 2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24" h="22964">
                  <a:moveTo>
                    <a:pt x="7754" y="7782"/>
                  </a:moveTo>
                  <a:cubicBezTo>
                    <a:pt x="6588" y="9093"/>
                    <a:pt x="5445" y="12193"/>
                    <a:pt x="6207" y="13851"/>
                  </a:cubicBezTo>
                  <a:cubicBezTo>
                    <a:pt x="6983" y="15553"/>
                    <a:pt x="8381" y="18778"/>
                    <a:pt x="9803" y="19549"/>
                  </a:cubicBezTo>
                  <a:cubicBezTo>
                    <a:pt x="11249" y="20335"/>
                    <a:pt x="21074" y="23806"/>
                    <a:pt x="21074" y="22774"/>
                  </a:cubicBezTo>
                  <a:cubicBezTo>
                    <a:pt x="21074" y="21738"/>
                    <a:pt x="23508" y="18122"/>
                    <a:pt x="21840" y="16700"/>
                  </a:cubicBezTo>
                  <a:cubicBezTo>
                    <a:pt x="20158" y="15312"/>
                    <a:pt x="17574" y="15408"/>
                    <a:pt x="16788" y="12709"/>
                  </a:cubicBezTo>
                  <a:cubicBezTo>
                    <a:pt x="16007" y="10004"/>
                    <a:pt x="13959" y="8303"/>
                    <a:pt x="11114" y="6259"/>
                  </a:cubicBezTo>
                  <a:cubicBezTo>
                    <a:pt x="8280" y="4176"/>
                    <a:pt x="2090" y="-1372"/>
                    <a:pt x="1560" y="315"/>
                  </a:cubicBezTo>
                  <a:cubicBezTo>
                    <a:pt x="1058" y="1997"/>
                    <a:pt x="-923" y="6394"/>
                    <a:pt x="514" y="6495"/>
                  </a:cubicBezTo>
                  <a:cubicBezTo>
                    <a:pt x="1926" y="6635"/>
                    <a:pt x="7754" y="7782"/>
                    <a:pt x="7754" y="778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61" name="Freihandform: Form 360">
              <a:extLst>
                <a:ext uri="{FF2B5EF4-FFF2-40B4-BE49-F238E27FC236}">
                  <a16:creationId xmlns:a16="http://schemas.microsoft.com/office/drawing/2014/main" id="{C863150D-C227-A616-D628-2265D2463287}"/>
                </a:ext>
              </a:extLst>
            </p:cNvPr>
            <p:cNvSpPr/>
            <p:nvPr/>
          </p:nvSpPr>
          <p:spPr>
            <a:xfrm>
              <a:off x="5402378" y="1833495"/>
              <a:ext cx="9524" cy="9525"/>
            </a:xfrm>
            <a:custGeom>
              <a:avLst/>
              <a:gdLst>
                <a:gd name="connsiteX0" fmla="*/ 0 w 6662"/>
                <a:gd name="connsiteY0" fmla="*/ 0 h 7158"/>
                <a:gd name="connsiteX1" fmla="*/ 6662 w 6662"/>
                <a:gd name="connsiteY1" fmla="*/ 6180 h 7158"/>
                <a:gd name="connsiteX2" fmla="*/ 4638 w 6662"/>
                <a:gd name="connsiteY2" fmla="*/ 7159 h 7158"/>
              </a:gdLst>
              <a:ahLst/>
              <a:cxnLst>
                <a:cxn ang="0">
                  <a:pos x="connsiteX0" y="connsiteY0"/>
                </a:cxn>
                <a:cxn ang="0">
                  <a:pos x="connsiteX1" y="connsiteY1"/>
                </a:cxn>
                <a:cxn ang="0">
                  <a:pos x="connsiteX2" y="connsiteY2"/>
                </a:cxn>
              </a:cxnLst>
              <a:rect l="l" t="t" r="r" b="b"/>
              <a:pathLst>
                <a:path w="6662" h="7158">
                  <a:moveTo>
                    <a:pt x="0" y="0"/>
                  </a:moveTo>
                  <a:lnTo>
                    <a:pt x="6662" y="6180"/>
                  </a:lnTo>
                  <a:lnTo>
                    <a:pt x="4638" y="715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62" name="Freihandform: Form 361">
              <a:extLst>
                <a:ext uri="{FF2B5EF4-FFF2-40B4-BE49-F238E27FC236}">
                  <a16:creationId xmlns:a16="http://schemas.microsoft.com/office/drawing/2014/main" id="{FAB927E4-F6CB-5ED3-782D-199AC2AA5D30}"/>
                </a:ext>
              </a:extLst>
            </p:cNvPr>
            <p:cNvSpPr/>
            <p:nvPr/>
          </p:nvSpPr>
          <p:spPr>
            <a:xfrm>
              <a:off x="5353170" y="1904935"/>
              <a:ext cx="7937" cy="3175"/>
            </a:xfrm>
            <a:custGeom>
              <a:avLst/>
              <a:gdLst>
                <a:gd name="connsiteX0" fmla="*/ 154 w 6363"/>
                <a:gd name="connsiteY0" fmla="*/ 0 h 2820"/>
                <a:gd name="connsiteX1" fmla="*/ 0 w 6363"/>
                <a:gd name="connsiteY1" fmla="*/ 1938 h 2820"/>
                <a:gd name="connsiteX2" fmla="*/ 6363 w 6363"/>
                <a:gd name="connsiteY2" fmla="*/ 2820 h 2820"/>
              </a:gdLst>
              <a:ahLst/>
              <a:cxnLst>
                <a:cxn ang="0">
                  <a:pos x="connsiteX0" y="connsiteY0"/>
                </a:cxn>
                <a:cxn ang="0">
                  <a:pos x="connsiteX1" y="connsiteY1"/>
                </a:cxn>
                <a:cxn ang="0">
                  <a:pos x="connsiteX2" y="connsiteY2"/>
                </a:cxn>
              </a:cxnLst>
              <a:rect l="l" t="t" r="r" b="b"/>
              <a:pathLst>
                <a:path w="6363" h="2820">
                  <a:moveTo>
                    <a:pt x="154" y="0"/>
                  </a:moveTo>
                  <a:lnTo>
                    <a:pt x="0" y="1938"/>
                  </a:lnTo>
                  <a:lnTo>
                    <a:pt x="6363" y="282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63" name="Freihandform: Form 362">
              <a:extLst>
                <a:ext uri="{FF2B5EF4-FFF2-40B4-BE49-F238E27FC236}">
                  <a16:creationId xmlns:a16="http://schemas.microsoft.com/office/drawing/2014/main" id="{B9420F28-9E8A-F9BE-0094-2936E0B18054}"/>
                </a:ext>
              </a:extLst>
            </p:cNvPr>
            <p:cNvSpPr/>
            <p:nvPr/>
          </p:nvSpPr>
          <p:spPr>
            <a:xfrm>
              <a:off x="5361108" y="1895409"/>
              <a:ext cx="3175" cy="7938"/>
            </a:xfrm>
            <a:custGeom>
              <a:avLst/>
              <a:gdLst>
                <a:gd name="connsiteX0" fmla="*/ 569 w 1619"/>
                <a:gd name="connsiteY0" fmla="*/ 0 h 5537"/>
                <a:gd name="connsiteX1" fmla="*/ 0 w 1619"/>
                <a:gd name="connsiteY1" fmla="*/ 5467 h 5537"/>
                <a:gd name="connsiteX2" fmla="*/ 1620 w 1619"/>
                <a:gd name="connsiteY2" fmla="*/ 3693 h 5537"/>
                <a:gd name="connsiteX3" fmla="*/ 569 w 1619"/>
                <a:gd name="connsiteY3" fmla="*/ 0 h 5537"/>
              </a:gdLst>
              <a:ahLst/>
              <a:cxnLst>
                <a:cxn ang="0">
                  <a:pos x="connsiteX0" y="connsiteY0"/>
                </a:cxn>
                <a:cxn ang="0">
                  <a:pos x="connsiteX1" y="connsiteY1"/>
                </a:cxn>
                <a:cxn ang="0">
                  <a:pos x="connsiteX2" y="connsiteY2"/>
                </a:cxn>
                <a:cxn ang="0">
                  <a:pos x="connsiteX3" y="connsiteY3"/>
                </a:cxn>
              </a:cxnLst>
              <a:rect l="l" t="t" r="r" b="b"/>
              <a:pathLst>
                <a:path w="1619" h="5537">
                  <a:moveTo>
                    <a:pt x="569" y="0"/>
                  </a:moveTo>
                  <a:cubicBezTo>
                    <a:pt x="569" y="0"/>
                    <a:pt x="0" y="5028"/>
                    <a:pt x="0" y="5467"/>
                  </a:cubicBezTo>
                  <a:cubicBezTo>
                    <a:pt x="0" y="5910"/>
                    <a:pt x="1620" y="4131"/>
                    <a:pt x="1620" y="3693"/>
                  </a:cubicBezTo>
                  <a:cubicBezTo>
                    <a:pt x="1620" y="3254"/>
                    <a:pt x="569" y="0"/>
                    <a:pt x="569"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64" name="Freihandform: Form 363">
              <a:extLst>
                <a:ext uri="{FF2B5EF4-FFF2-40B4-BE49-F238E27FC236}">
                  <a16:creationId xmlns:a16="http://schemas.microsoft.com/office/drawing/2014/main" id="{96F28859-8BA5-EB10-EDF8-F78004F531E4}"/>
                </a:ext>
              </a:extLst>
            </p:cNvPr>
            <p:cNvSpPr/>
            <p:nvPr/>
          </p:nvSpPr>
          <p:spPr>
            <a:xfrm>
              <a:off x="5443648" y="1939861"/>
              <a:ext cx="15873" cy="12700"/>
            </a:xfrm>
            <a:custGeom>
              <a:avLst/>
              <a:gdLst>
                <a:gd name="connsiteX0" fmla="*/ 12168 w 12794"/>
                <a:gd name="connsiteY0" fmla="*/ 0 h 9048"/>
                <a:gd name="connsiteX1" fmla="*/ 5568 w 12794"/>
                <a:gd name="connsiteY1" fmla="*/ 2324 h 9048"/>
                <a:gd name="connsiteX2" fmla="*/ 0 w 12794"/>
                <a:gd name="connsiteY2" fmla="*/ 8889 h 9048"/>
                <a:gd name="connsiteX3" fmla="*/ 3129 w 12794"/>
                <a:gd name="connsiteY3" fmla="*/ 7728 h 9048"/>
                <a:gd name="connsiteX4" fmla="*/ 6344 w 12794"/>
                <a:gd name="connsiteY4" fmla="*/ 4638 h 9048"/>
                <a:gd name="connsiteX5" fmla="*/ 12794 w 12794"/>
                <a:gd name="connsiteY5" fmla="*/ 1668 h 9048"/>
                <a:gd name="connsiteX6" fmla="*/ 12168 w 12794"/>
                <a:gd name="connsiteY6" fmla="*/ 0 h 9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94" h="9048">
                  <a:moveTo>
                    <a:pt x="12168" y="0"/>
                  </a:moveTo>
                  <a:lnTo>
                    <a:pt x="5568" y="2324"/>
                  </a:lnTo>
                  <a:cubicBezTo>
                    <a:pt x="5568" y="2324"/>
                    <a:pt x="-48" y="8446"/>
                    <a:pt x="0" y="8889"/>
                  </a:cubicBezTo>
                  <a:cubicBezTo>
                    <a:pt x="97" y="9347"/>
                    <a:pt x="2208" y="8774"/>
                    <a:pt x="3129" y="7728"/>
                  </a:cubicBezTo>
                  <a:cubicBezTo>
                    <a:pt x="4006" y="6701"/>
                    <a:pt x="6344" y="4638"/>
                    <a:pt x="6344" y="4638"/>
                  </a:cubicBezTo>
                  <a:lnTo>
                    <a:pt x="12794" y="1668"/>
                  </a:lnTo>
                  <a:lnTo>
                    <a:pt x="12168"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65" name="Freihandform: Form 364">
              <a:extLst>
                <a:ext uri="{FF2B5EF4-FFF2-40B4-BE49-F238E27FC236}">
                  <a16:creationId xmlns:a16="http://schemas.microsoft.com/office/drawing/2014/main" id="{C699E20F-1E63-2769-5302-CD666C8565F4}"/>
                </a:ext>
              </a:extLst>
            </p:cNvPr>
            <p:cNvSpPr/>
            <p:nvPr/>
          </p:nvSpPr>
          <p:spPr>
            <a:xfrm>
              <a:off x="5238883" y="1944624"/>
              <a:ext cx="38096" cy="23813"/>
            </a:xfrm>
            <a:custGeom>
              <a:avLst/>
              <a:gdLst>
                <a:gd name="connsiteX0" fmla="*/ 0 w 30293"/>
                <a:gd name="connsiteY0" fmla="*/ 14443 h 17904"/>
                <a:gd name="connsiteX1" fmla="*/ 22894 w 30293"/>
                <a:gd name="connsiteY1" fmla="*/ 0 h 17904"/>
                <a:gd name="connsiteX2" fmla="*/ 29609 w 30293"/>
                <a:gd name="connsiteY2" fmla="*/ 1205 h 17904"/>
                <a:gd name="connsiteX3" fmla="*/ 30293 w 30293"/>
                <a:gd name="connsiteY3" fmla="*/ 7583 h 17904"/>
                <a:gd name="connsiteX4" fmla="*/ 25993 w 30293"/>
                <a:gd name="connsiteY4" fmla="*/ 16188 h 17904"/>
                <a:gd name="connsiteX5" fmla="*/ 13778 w 30293"/>
                <a:gd name="connsiteY5" fmla="*/ 17904 h 17904"/>
                <a:gd name="connsiteX6" fmla="*/ 0 w 30293"/>
                <a:gd name="connsiteY6" fmla="*/ 14443 h 17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93" h="17904">
                  <a:moveTo>
                    <a:pt x="0" y="14443"/>
                  </a:moveTo>
                  <a:cubicBezTo>
                    <a:pt x="0" y="14443"/>
                    <a:pt x="18405" y="14631"/>
                    <a:pt x="22894" y="0"/>
                  </a:cubicBezTo>
                  <a:cubicBezTo>
                    <a:pt x="26692" y="680"/>
                    <a:pt x="29609" y="1205"/>
                    <a:pt x="29609" y="1205"/>
                  </a:cubicBezTo>
                  <a:lnTo>
                    <a:pt x="30293" y="7583"/>
                  </a:lnTo>
                  <a:lnTo>
                    <a:pt x="25993" y="16188"/>
                  </a:lnTo>
                  <a:lnTo>
                    <a:pt x="13778" y="17904"/>
                  </a:lnTo>
                  <a:lnTo>
                    <a:pt x="0" y="1444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66" name="Freihandform: Form 365">
              <a:extLst>
                <a:ext uri="{FF2B5EF4-FFF2-40B4-BE49-F238E27FC236}">
                  <a16:creationId xmlns:a16="http://schemas.microsoft.com/office/drawing/2014/main" id="{087D3DCD-2456-45D3-B47B-63DB4FAA51EE}"/>
                </a:ext>
              </a:extLst>
            </p:cNvPr>
            <p:cNvSpPr/>
            <p:nvPr/>
          </p:nvSpPr>
          <p:spPr>
            <a:xfrm>
              <a:off x="5235709" y="1970025"/>
              <a:ext cx="66667" cy="41277"/>
            </a:xfrm>
            <a:custGeom>
              <a:avLst/>
              <a:gdLst>
                <a:gd name="connsiteX0" fmla="*/ 18477 w 52424"/>
                <a:gd name="connsiteY0" fmla="*/ 12650 h 31648"/>
                <a:gd name="connsiteX1" fmla="*/ 14534 w 52424"/>
                <a:gd name="connsiteY1" fmla="*/ 14704 h 31648"/>
                <a:gd name="connsiteX2" fmla="*/ 7636 w 52424"/>
                <a:gd name="connsiteY2" fmla="*/ 13503 h 31648"/>
                <a:gd name="connsiteX3" fmla="*/ 1104 w 52424"/>
                <a:gd name="connsiteY3" fmla="*/ 19708 h 31648"/>
                <a:gd name="connsiteX4" fmla="*/ 400 w 52424"/>
                <a:gd name="connsiteY4" fmla="*/ 26076 h 31648"/>
                <a:gd name="connsiteX5" fmla="*/ 8499 w 52424"/>
                <a:gd name="connsiteY5" fmla="*/ 31605 h 31648"/>
                <a:gd name="connsiteX6" fmla="*/ 14341 w 52424"/>
                <a:gd name="connsiteY6" fmla="*/ 30733 h 31648"/>
                <a:gd name="connsiteX7" fmla="*/ 22272 w 52424"/>
                <a:gd name="connsiteY7" fmla="*/ 25382 h 31648"/>
                <a:gd name="connsiteX8" fmla="*/ 37592 w 52424"/>
                <a:gd name="connsiteY8" fmla="*/ 22624 h 31648"/>
                <a:gd name="connsiteX9" fmla="*/ 48110 w 52424"/>
                <a:gd name="connsiteY9" fmla="*/ 18329 h 31648"/>
                <a:gd name="connsiteX10" fmla="*/ 52425 w 52424"/>
                <a:gd name="connsiteY10" fmla="*/ 12289 h 31648"/>
                <a:gd name="connsiteX11" fmla="*/ 46038 w 52424"/>
                <a:gd name="connsiteY11" fmla="*/ 7319 h 31648"/>
                <a:gd name="connsiteX12" fmla="*/ 40354 w 52424"/>
                <a:gd name="connsiteY12" fmla="*/ 6113 h 31648"/>
                <a:gd name="connsiteX13" fmla="*/ 37592 w 52424"/>
                <a:gd name="connsiteY13" fmla="*/ 425 h 31648"/>
                <a:gd name="connsiteX14" fmla="*/ 31224 w 52424"/>
                <a:gd name="connsiteY14" fmla="*/ 3351 h 31648"/>
                <a:gd name="connsiteX15" fmla="*/ 14341 w 52424"/>
                <a:gd name="connsiteY15" fmla="*/ 9030 h 31648"/>
                <a:gd name="connsiteX16" fmla="*/ 18477 w 52424"/>
                <a:gd name="connsiteY16" fmla="*/ 12650 h 31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424" h="31648">
                  <a:moveTo>
                    <a:pt x="18477" y="12650"/>
                  </a:moveTo>
                  <a:lnTo>
                    <a:pt x="14534" y="14704"/>
                  </a:lnTo>
                  <a:cubicBezTo>
                    <a:pt x="14534" y="14704"/>
                    <a:pt x="9010" y="12501"/>
                    <a:pt x="7636" y="13503"/>
                  </a:cubicBezTo>
                  <a:cubicBezTo>
                    <a:pt x="6257" y="14545"/>
                    <a:pt x="1615" y="18859"/>
                    <a:pt x="1104" y="19708"/>
                  </a:cubicBezTo>
                  <a:cubicBezTo>
                    <a:pt x="564" y="20585"/>
                    <a:pt x="-617" y="24196"/>
                    <a:pt x="400" y="26076"/>
                  </a:cubicBezTo>
                  <a:cubicBezTo>
                    <a:pt x="1431" y="27966"/>
                    <a:pt x="6440" y="31605"/>
                    <a:pt x="8499" y="31605"/>
                  </a:cubicBezTo>
                  <a:cubicBezTo>
                    <a:pt x="10562" y="31605"/>
                    <a:pt x="13503" y="31943"/>
                    <a:pt x="14341" y="30733"/>
                  </a:cubicBezTo>
                  <a:cubicBezTo>
                    <a:pt x="15204" y="29523"/>
                    <a:pt x="18477" y="25382"/>
                    <a:pt x="22272" y="25382"/>
                  </a:cubicBezTo>
                  <a:cubicBezTo>
                    <a:pt x="26080" y="25382"/>
                    <a:pt x="33118" y="24707"/>
                    <a:pt x="37592" y="22624"/>
                  </a:cubicBezTo>
                  <a:cubicBezTo>
                    <a:pt x="42099" y="20580"/>
                    <a:pt x="48110" y="18329"/>
                    <a:pt x="48110" y="18329"/>
                  </a:cubicBezTo>
                  <a:lnTo>
                    <a:pt x="52425" y="12289"/>
                  </a:lnTo>
                  <a:cubicBezTo>
                    <a:pt x="52425" y="12289"/>
                    <a:pt x="48462" y="6793"/>
                    <a:pt x="46038" y="7319"/>
                  </a:cubicBezTo>
                  <a:cubicBezTo>
                    <a:pt x="43627" y="7825"/>
                    <a:pt x="40354" y="8871"/>
                    <a:pt x="40354" y="6113"/>
                  </a:cubicBezTo>
                  <a:cubicBezTo>
                    <a:pt x="40354" y="3351"/>
                    <a:pt x="39149" y="-1455"/>
                    <a:pt x="37592" y="425"/>
                  </a:cubicBezTo>
                  <a:cubicBezTo>
                    <a:pt x="36059" y="2315"/>
                    <a:pt x="33639" y="3351"/>
                    <a:pt x="31224" y="3351"/>
                  </a:cubicBezTo>
                  <a:cubicBezTo>
                    <a:pt x="28832" y="3351"/>
                    <a:pt x="16930" y="3876"/>
                    <a:pt x="14341" y="9030"/>
                  </a:cubicBezTo>
                  <a:cubicBezTo>
                    <a:pt x="17624" y="10929"/>
                    <a:pt x="18477" y="12650"/>
                    <a:pt x="18477" y="1265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67" name="Freihandform: Form 366">
              <a:extLst>
                <a:ext uri="{FF2B5EF4-FFF2-40B4-BE49-F238E27FC236}">
                  <a16:creationId xmlns:a16="http://schemas.microsoft.com/office/drawing/2014/main" id="{2F0211E8-8BF1-2989-D23F-A9328ED786D7}"/>
                </a:ext>
              </a:extLst>
            </p:cNvPr>
            <p:cNvSpPr/>
            <p:nvPr/>
          </p:nvSpPr>
          <p:spPr>
            <a:xfrm>
              <a:off x="5245233" y="2017652"/>
              <a:ext cx="14286" cy="7937"/>
            </a:xfrm>
            <a:custGeom>
              <a:avLst/>
              <a:gdLst>
                <a:gd name="connsiteX0" fmla="*/ 11020 w 11718"/>
                <a:gd name="connsiteY0" fmla="*/ 0 h 7259"/>
                <a:gd name="connsiteX1" fmla="*/ 11719 w 11718"/>
                <a:gd name="connsiteY1" fmla="*/ 7260 h 7259"/>
                <a:gd name="connsiteX2" fmla="*/ 0 w 11718"/>
                <a:gd name="connsiteY2" fmla="*/ 7091 h 7259"/>
                <a:gd name="connsiteX3" fmla="*/ 4310 w 11718"/>
                <a:gd name="connsiteY3" fmla="*/ 535 h 7259"/>
                <a:gd name="connsiteX4" fmla="*/ 11020 w 11718"/>
                <a:gd name="connsiteY4" fmla="*/ 0 h 7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18" h="7259">
                  <a:moveTo>
                    <a:pt x="11020" y="0"/>
                  </a:moveTo>
                  <a:lnTo>
                    <a:pt x="11719" y="7260"/>
                  </a:lnTo>
                  <a:cubicBezTo>
                    <a:pt x="11719" y="7260"/>
                    <a:pt x="2931" y="5529"/>
                    <a:pt x="0" y="7091"/>
                  </a:cubicBezTo>
                  <a:cubicBezTo>
                    <a:pt x="2415" y="2415"/>
                    <a:pt x="4310" y="535"/>
                    <a:pt x="4310" y="535"/>
                  </a:cubicBezTo>
                  <a:lnTo>
                    <a:pt x="1102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68" name="Freihandform: Form 367">
              <a:extLst>
                <a:ext uri="{FF2B5EF4-FFF2-40B4-BE49-F238E27FC236}">
                  <a16:creationId xmlns:a16="http://schemas.microsoft.com/office/drawing/2014/main" id="{C6D5A70E-4646-1A5B-DABE-8AE6BA6CEB2D}"/>
                </a:ext>
              </a:extLst>
            </p:cNvPr>
            <p:cNvSpPr/>
            <p:nvPr/>
          </p:nvSpPr>
          <p:spPr>
            <a:xfrm>
              <a:off x="5197613" y="2003363"/>
              <a:ext cx="26985" cy="23814"/>
            </a:xfrm>
            <a:custGeom>
              <a:avLst/>
              <a:gdLst>
                <a:gd name="connsiteX0" fmla="*/ 18058 w 21683"/>
                <a:gd name="connsiteY0" fmla="*/ 44 h 19345"/>
                <a:gd name="connsiteX1" fmla="*/ 21683 w 21683"/>
                <a:gd name="connsiteY1" fmla="*/ 13826 h 19345"/>
                <a:gd name="connsiteX2" fmla="*/ 14963 w 21683"/>
                <a:gd name="connsiteY2" fmla="*/ 19346 h 19345"/>
                <a:gd name="connsiteX3" fmla="*/ 0 w 21683"/>
                <a:gd name="connsiteY3" fmla="*/ 8856 h 19345"/>
                <a:gd name="connsiteX4" fmla="*/ 18058 w 21683"/>
                <a:gd name="connsiteY4" fmla="*/ 44 h 19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83" h="19345">
                  <a:moveTo>
                    <a:pt x="18058" y="44"/>
                  </a:moveTo>
                  <a:lnTo>
                    <a:pt x="21683" y="13826"/>
                  </a:lnTo>
                  <a:cubicBezTo>
                    <a:pt x="21683" y="13826"/>
                    <a:pt x="16689" y="19346"/>
                    <a:pt x="14963" y="19346"/>
                  </a:cubicBezTo>
                  <a:cubicBezTo>
                    <a:pt x="13252" y="19346"/>
                    <a:pt x="1870" y="18825"/>
                    <a:pt x="0" y="8856"/>
                  </a:cubicBezTo>
                  <a:cubicBezTo>
                    <a:pt x="3953" y="3331"/>
                    <a:pt x="8075" y="-453"/>
                    <a:pt x="18058" y="4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69" name="Freihandform: Form 368">
              <a:extLst>
                <a:ext uri="{FF2B5EF4-FFF2-40B4-BE49-F238E27FC236}">
                  <a16:creationId xmlns:a16="http://schemas.microsoft.com/office/drawing/2014/main" id="{5B806E68-FD9F-46FE-462C-E0575E245EB3}"/>
                </a:ext>
              </a:extLst>
            </p:cNvPr>
            <p:cNvSpPr/>
            <p:nvPr/>
          </p:nvSpPr>
          <p:spPr>
            <a:xfrm>
              <a:off x="5230947" y="2036703"/>
              <a:ext cx="23809" cy="19051"/>
            </a:xfrm>
            <a:custGeom>
              <a:avLst/>
              <a:gdLst>
                <a:gd name="connsiteX0" fmla="*/ 9449 w 18268"/>
                <a:gd name="connsiteY0" fmla="*/ 6537 h 14705"/>
                <a:gd name="connsiteX1" fmla="*/ 12394 w 18268"/>
                <a:gd name="connsiteY1" fmla="*/ 0 h 14705"/>
                <a:gd name="connsiteX2" fmla="*/ 18237 w 18268"/>
                <a:gd name="connsiteY2" fmla="*/ 12548 h 14705"/>
                <a:gd name="connsiteX3" fmla="*/ 5525 w 18268"/>
                <a:gd name="connsiteY3" fmla="*/ 13426 h 14705"/>
                <a:gd name="connsiteX4" fmla="*/ 511 w 18268"/>
                <a:gd name="connsiteY4" fmla="*/ 6199 h 14705"/>
                <a:gd name="connsiteX5" fmla="*/ 0 w 18268"/>
                <a:gd name="connsiteY5" fmla="*/ 506 h 14705"/>
                <a:gd name="connsiteX6" fmla="*/ 6344 w 18268"/>
                <a:gd name="connsiteY6" fmla="*/ 670 h 14705"/>
                <a:gd name="connsiteX7" fmla="*/ 9449 w 18268"/>
                <a:gd name="connsiteY7" fmla="*/ 6537 h 14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68" h="14705">
                  <a:moveTo>
                    <a:pt x="9449" y="6537"/>
                  </a:moveTo>
                  <a:lnTo>
                    <a:pt x="12394" y="0"/>
                  </a:lnTo>
                  <a:cubicBezTo>
                    <a:pt x="12394" y="0"/>
                    <a:pt x="18767" y="7405"/>
                    <a:pt x="18237" y="12548"/>
                  </a:cubicBezTo>
                  <a:cubicBezTo>
                    <a:pt x="13060" y="15156"/>
                    <a:pt x="7236" y="15339"/>
                    <a:pt x="5525" y="13426"/>
                  </a:cubicBezTo>
                  <a:cubicBezTo>
                    <a:pt x="3765" y="11541"/>
                    <a:pt x="511" y="6199"/>
                    <a:pt x="511" y="6199"/>
                  </a:cubicBezTo>
                  <a:lnTo>
                    <a:pt x="0" y="506"/>
                  </a:lnTo>
                  <a:lnTo>
                    <a:pt x="6344" y="670"/>
                  </a:lnTo>
                  <a:lnTo>
                    <a:pt x="9449" y="653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70" name="Freihandform: Form 369">
              <a:extLst>
                <a:ext uri="{FF2B5EF4-FFF2-40B4-BE49-F238E27FC236}">
                  <a16:creationId xmlns:a16="http://schemas.microsoft.com/office/drawing/2014/main" id="{F2BFCF6A-EDBE-1725-8059-73D2F090B94E}"/>
                </a:ext>
              </a:extLst>
            </p:cNvPr>
            <p:cNvSpPr/>
            <p:nvPr/>
          </p:nvSpPr>
          <p:spPr>
            <a:xfrm>
              <a:off x="5226185" y="2044640"/>
              <a:ext cx="6349" cy="7938"/>
            </a:xfrm>
            <a:custGeom>
              <a:avLst/>
              <a:gdLst>
                <a:gd name="connsiteX0" fmla="*/ 2054 w 5153"/>
                <a:gd name="connsiteY0" fmla="*/ 0 h 6903"/>
                <a:gd name="connsiteX1" fmla="*/ 5153 w 5153"/>
                <a:gd name="connsiteY1" fmla="*/ 6903 h 6903"/>
                <a:gd name="connsiteX2" fmla="*/ 0 w 5153"/>
                <a:gd name="connsiteY2" fmla="*/ 6532 h 6903"/>
              </a:gdLst>
              <a:ahLst/>
              <a:cxnLst>
                <a:cxn ang="0">
                  <a:pos x="connsiteX0" y="connsiteY0"/>
                </a:cxn>
                <a:cxn ang="0">
                  <a:pos x="connsiteX1" y="connsiteY1"/>
                </a:cxn>
                <a:cxn ang="0">
                  <a:pos x="connsiteX2" y="connsiteY2"/>
                </a:cxn>
              </a:cxnLst>
              <a:rect l="l" t="t" r="r" b="b"/>
              <a:pathLst>
                <a:path w="5153" h="6903">
                  <a:moveTo>
                    <a:pt x="2054" y="0"/>
                  </a:moveTo>
                  <a:lnTo>
                    <a:pt x="5153" y="6903"/>
                  </a:lnTo>
                  <a:lnTo>
                    <a:pt x="0" y="653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71" name="Freihandform: Form 370">
              <a:extLst>
                <a:ext uri="{FF2B5EF4-FFF2-40B4-BE49-F238E27FC236}">
                  <a16:creationId xmlns:a16="http://schemas.microsoft.com/office/drawing/2014/main" id="{FAD4C7A9-DEEE-194C-E205-1670CC004152}"/>
                </a:ext>
              </a:extLst>
            </p:cNvPr>
            <p:cNvSpPr/>
            <p:nvPr/>
          </p:nvSpPr>
          <p:spPr>
            <a:xfrm>
              <a:off x="5205550" y="2044640"/>
              <a:ext cx="17460" cy="12700"/>
            </a:xfrm>
            <a:custGeom>
              <a:avLst/>
              <a:gdLst>
                <a:gd name="connsiteX0" fmla="*/ 12789 w 13590"/>
                <a:gd name="connsiteY0" fmla="*/ 191 h 9794"/>
                <a:gd name="connsiteX1" fmla="*/ 362 w 13590"/>
                <a:gd name="connsiteY1" fmla="*/ 2626 h 9794"/>
                <a:gd name="connsiteX2" fmla="*/ 0 w 13590"/>
                <a:gd name="connsiteY2" fmla="*/ 8811 h 9794"/>
                <a:gd name="connsiteX3" fmla="*/ 13464 w 13590"/>
                <a:gd name="connsiteY3" fmla="*/ 7080 h 9794"/>
                <a:gd name="connsiteX4" fmla="*/ 12789 w 13590"/>
                <a:gd name="connsiteY4" fmla="*/ 191 h 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90" h="9794">
                  <a:moveTo>
                    <a:pt x="12789" y="191"/>
                  </a:moveTo>
                  <a:cubicBezTo>
                    <a:pt x="12789" y="191"/>
                    <a:pt x="5891" y="-1014"/>
                    <a:pt x="362" y="2626"/>
                  </a:cubicBezTo>
                  <a:cubicBezTo>
                    <a:pt x="530" y="6396"/>
                    <a:pt x="0" y="8811"/>
                    <a:pt x="0" y="8811"/>
                  </a:cubicBezTo>
                  <a:cubicBezTo>
                    <a:pt x="0" y="8811"/>
                    <a:pt x="8783" y="11920"/>
                    <a:pt x="13464" y="7080"/>
                  </a:cubicBezTo>
                  <a:cubicBezTo>
                    <a:pt x="13970" y="5518"/>
                    <a:pt x="12789" y="191"/>
                    <a:pt x="12789" y="19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72" name="Freihandform: Form 371">
              <a:extLst>
                <a:ext uri="{FF2B5EF4-FFF2-40B4-BE49-F238E27FC236}">
                  <a16:creationId xmlns:a16="http://schemas.microsoft.com/office/drawing/2014/main" id="{23376EF2-9FDD-B5DE-3CE8-20C82B0959CC}"/>
                </a:ext>
              </a:extLst>
            </p:cNvPr>
            <p:cNvSpPr/>
            <p:nvPr/>
          </p:nvSpPr>
          <p:spPr>
            <a:xfrm>
              <a:off x="5184914" y="2058929"/>
              <a:ext cx="14286" cy="20638"/>
            </a:xfrm>
            <a:custGeom>
              <a:avLst/>
              <a:gdLst>
                <a:gd name="connsiteX0" fmla="*/ 2058 w 11157"/>
                <a:gd name="connsiteY0" fmla="*/ 0 h 15511"/>
                <a:gd name="connsiteX1" fmla="*/ 7569 w 11157"/>
                <a:gd name="connsiteY1" fmla="*/ 2767 h 15511"/>
                <a:gd name="connsiteX2" fmla="*/ 10852 w 11157"/>
                <a:gd name="connsiteY2" fmla="*/ 11719 h 15511"/>
                <a:gd name="connsiteX3" fmla="*/ 4286 w 11157"/>
                <a:gd name="connsiteY3" fmla="*/ 15349 h 15511"/>
                <a:gd name="connsiteX4" fmla="*/ 2377 w 11157"/>
                <a:gd name="connsiteY4" fmla="*/ 8624 h 15511"/>
                <a:gd name="connsiteX5" fmla="*/ 5168 w 11157"/>
                <a:gd name="connsiteY5" fmla="*/ 4816 h 15511"/>
                <a:gd name="connsiteX6" fmla="*/ 0 w 11157"/>
                <a:gd name="connsiteY6" fmla="*/ 3283 h 15511"/>
                <a:gd name="connsiteX7" fmla="*/ 2058 w 11157"/>
                <a:gd name="connsiteY7" fmla="*/ 0 h 1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7" h="15511">
                  <a:moveTo>
                    <a:pt x="2058" y="0"/>
                  </a:moveTo>
                  <a:lnTo>
                    <a:pt x="7569" y="2767"/>
                  </a:lnTo>
                  <a:cubicBezTo>
                    <a:pt x="7569" y="2767"/>
                    <a:pt x="12399" y="11030"/>
                    <a:pt x="10852" y="11719"/>
                  </a:cubicBezTo>
                  <a:cubicBezTo>
                    <a:pt x="9280" y="12423"/>
                    <a:pt x="4459" y="16352"/>
                    <a:pt x="4286" y="15349"/>
                  </a:cubicBezTo>
                  <a:cubicBezTo>
                    <a:pt x="4117" y="14308"/>
                    <a:pt x="1017" y="9825"/>
                    <a:pt x="2377" y="8624"/>
                  </a:cubicBezTo>
                  <a:cubicBezTo>
                    <a:pt x="3799" y="7419"/>
                    <a:pt x="7048" y="5009"/>
                    <a:pt x="5168" y="4816"/>
                  </a:cubicBezTo>
                  <a:cubicBezTo>
                    <a:pt x="3264" y="4652"/>
                    <a:pt x="0" y="3283"/>
                    <a:pt x="0" y="3283"/>
                  </a:cubicBezTo>
                  <a:lnTo>
                    <a:pt x="2058"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73" name="Freihandform: Form 372">
              <a:extLst>
                <a:ext uri="{FF2B5EF4-FFF2-40B4-BE49-F238E27FC236}">
                  <a16:creationId xmlns:a16="http://schemas.microsoft.com/office/drawing/2014/main" id="{25BC53FE-6292-89E0-65C6-E12C60247B4E}"/>
                </a:ext>
              </a:extLst>
            </p:cNvPr>
            <p:cNvSpPr/>
            <p:nvPr/>
          </p:nvSpPr>
          <p:spPr>
            <a:xfrm>
              <a:off x="5161105" y="2062104"/>
              <a:ext cx="25397" cy="30163"/>
            </a:xfrm>
            <a:custGeom>
              <a:avLst/>
              <a:gdLst>
                <a:gd name="connsiteX0" fmla="*/ 13083 w 19298"/>
                <a:gd name="connsiteY0" fmla="*/ 0 h 22893"/>
                <a:gd name="connsiteX1" fmla="*/ 19128 w 19298"/>
                <a:gd name="connsiteY1" fmla="*/ 12741 h 22893"/>
                <a:gd name="connsiteX2" fmla="*/ 13773 w 19298"/>
                <a:gd name="connsiteY2" fmla="*/ 19963 h 22893"/>
                <a:gd name="connsiteX3" fmla="*/ 5867 w 19298"/>
                <a:gd name="connsiteY3" fmla="*/ 22894 h 22893"/>
                <a:gd name="connsiteX4" fmla="*/ 0 w 19298"/>
                <a:gd name="connsiteY4" fmla="*/ 18073 h 22893"/>
                <a:gd name="connsiteX5" fmla="*/ 5520 w 19298"/>
                <a:gd name="connsiteY5" fmla="*/ 6696 h 22893"/>
                <a:gd name="connsiteX6" fmla="*/ 11550 w 19298"/>
                <a:gd name="connsiteY6" fmla="*/ 12736 h 22893"/>
                <a:gd name="connsiteX7" fmla="*/ 13430 w 19298"/>
                <a:gd name="connsiteY7" fmla="*/ 6865 h 22893"/>
                <a:gd name="connsiteX8" fmla="*/ 13083 w 19298"/>
                <a:gd name="connsiteY8" fmla="*/ 0 h 22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98" h="22893">
                  <a:moveTo>
                    <a:pt x="13083" y="0"/>
                  </a:moveTo>
                  <a:cubicBezTo>
                    <a:pt x="13083" y="0"/>
                    <a:pt x="20502" y="9111"/>
                    <a:pt x="19128" y="12741"/>
                  </a:cubicBezTo>
                  <a:cubicBezTo>
                    <a:pt x="17735" y="16357"/>
                    <a:pt x="13773" y="19963"/>
                    <a:pt x="13773" y="19963"/>
                  </a:cubicBezTo>
                  <a:lnTo>
                    <a:pt x="5867" y="22894"/>
                  </a:lnTo>
                  <a:lnTo>
                    <a:pt x="0" y="18073"/>
                  </a:lnTo>
                  <a:cubicBezTo>
                    <a:pt x="0" y="18073"/>
                    <a:pt x="5356" y="10996"/>
                    <a:pt x="5520" y="6696"/>
                  </a:cubicBezTo>
                  <a:cubicBezTo>
                    <a:pt x="9140" y="10813"/>
                    <a:pt x="11550" y="12736"/>
                    <a:pt x="11550" y="12736"/>
                  </a:cubicBezTo>
                  <a:lnTo>
                    <a:pt x="13430" y="6865"/>
                  </a:lnTo>
                  <a:lnTo>
                    <a:pt x="13083"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74" name="Freihandform: Form 373">
              <a:extLst>
                <a:ext uri="{FF2B5EF4-FFF2-40B4-BE49-F238E27FC236}">
                  <a16:creationId xmlns:a16="http://schemas.microsoft.com/office/drawing/2014/main" id="{CAB8C5C5-16EC-F432-9A04-4E0CB2FCFA44}"/>
                </a:ext>
              </a:extLst>
            </p:cNvPr>
            <p:cNvSpPr/>
            <p:nvPr/>
          </p:nvSpPr>
          <p:spPr>
            <a:xfrm>
              <a:off x="5151581" y="2136719"/>
              <a:ext cx="7936" cy="6350"/>
            </a:xfrm>
            <a:custGeom>
              <a:avLst/>
              <a:gdLst>
                <a:gd name="connsiteX0" fmla="*/ 0 w 7148"/>
                <a:gd name="connsiteY0" fmla="*/ 0 h 5206"/>
                <a:gd name="connsiteX1" fmla="*/ 7149 w 7148"/>
                <a:gd name="connsiteY1" fmla="*/ 3268 h 5206"/>
                <a:gd name="connsiteX2" fmla="*/ 5949 w 7148"/>
                <a:gd name="connsiteY2" fmla="*/ 5206 h 5206"/>
              </a:gdLst>
              <a:ahLst/>
              <a:cxnLst>
                <a:cxn ang="0">
                  <a:pos x="connsiteX0" y="connsiteY0"/>
                </a:cxn>
                <a:cxn ang="0">
                  <a:pos x="connsiteX1" y="connsiteY1"/>
                </a:cxn>
                <a:cxn ang="0">
                  <a:pos x="connsiteX2" y="connsiteY2"/>
                </a:cxn>
              </a:cxnLst>
              <a:rect l="l" t="t" r="r" b="b"/>
              <a:pathLst>
                <a:path w="7148" h="5206">
                  <a:moveTo>
                    <a:pt x="0" y="0"/>
                  </a:moveTo>
                  <a:lnTo>
                    <a:pt x="7149" y="3268"/>
                  </a:lnTo>
                  <a:lnTo>
                    <a:pt x="5949" y="520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75" name="Freihandform: Form 374">
              <a:extLst>
                <a:ext uri="{FF2B5EF4-FFF2-40B4-BE49-F238E27FC236}">
                  <a16:creationId xmlns:a16="http://schemas.microsoft.com/office/drawing/2014/main" id="{D72E16E6-0031-A83F-E00C-60BC38CEA339}"/>
                </a:ext>
              </a:extLst>
            </p:cNvPr>
            <p:cNvSpPr/>
            <p:nvPr/>
          </p:nvSpPr>
          <p:spPr>
            <a:xfrm>
              <a:off x="5115072" y="2104967"/>
              <a:ext cx="11112" cy="14289"/>
            </a:xfrm>
            <a:custGeom>
              <a:avLst/>
              <a:gdLst>
                <a:gd name="connsiteX0" fmla="*/ 7668 w 8484"/>
                <a:gd name="connsiteY0" fmla="*/ 0 h 10429"/>
                <a:gd name="connsiteX1" fmla="*/ 8358 w 8484"/>
                <a:gd name="connsiteY1" fmla="*/ 4459 h 10429"/>
                <a:gd name="connsiteX2" fmla="*/ 5431 w 8484"/>
                <a:gd name="connsiteY2" fmla="*/ 10336 h 10429"/>
                <a:gd name="connsiteX3" fmla="*/ 90 w 8484"/>
                <a:gd name="connsiteY3" fmla="*/ 6011 h 10429"/>
                <a:gd name="connsiteX4" fmla="*/ 1999 w 8484"/>
                <a:gd name="connsiteY4" fmla="*/ 689 h 10429"/>
                <a:gd name="connsiteX5" fmla="*/ 7668 w 8484"/>
                <a:gd name="connsiteY5" fmla="*/ 0 h 10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84" h="10429">
                  <a:moveTo>
                    <a:pt x="7668" y="0"/>
                  </a:moveTo>
                  <a:cubicBezTo>
                    <a:pt x="7668" y="0"/>
                    <a:pt x="8869" y="2916"/>
                    <a:pt x="8358" y="4459"/>
                  </a:cubicBezTo>
                  <a:cubicBezTo>
                    <a:pt x="7856" y="6011"/>
                    <a:pt x="6294" y="11189"/>
                    <a:pt x="5431" y="10336"/>
                  </a:cubicBezTo>
                  <a:cubicBezTo>
                    <a:pt x="4578" y="9492"/>
                    <a:pt x="-753" y="8094"/>
                    <a:pt x="90" y="6011"/>
                  </a:cubicBezTo>
                  <a:cubicBezTo>
                    <a:pt x="977" y="3972"/>
                    <a:pt x="1999" y="689"/>
                    <a:pt x="1999" y="689"/>
                  </a:cubicBezTo>
                  <a:lnTo>
                    <a:pt x="7668"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76" name="Freihandform: Form 375">
              <a:extLst>
                <a:ext uri="{FF2B5EF4-FFF2-40B4-BE49-F238E27FC236}">
                  <a16:creationId xmlns:a16="http://schemas.microsoft.com/office/drawing/2014/main" id="{B29F6C6C-FEB4-31B5-8AA5-8770B877BC52}"/>
                </a:ext>
              </a:extLst>
            </p:cNvPr>
            <p:cNvSpPr/>
            <p:nvPr/>
          </p:nvSpPr>
          <p:spPr>
            <a:xfrm>
              <a:off x="5102374" y="2127193"/>
              <a:ext cx="20636" cy="11113"/>
            </a:xfrm>
            <a:custGeom>
              <a:avLst/>
              <a:gdLst>
                <a:gd name="connsiteX0" fmla="*/ 218 w 16902"/>
                <a:gd name="connsiteY0" fmla="*/ 8779 h 8963"/>
                <a:gd name="connsiteX1" fmla="*/ 16902 w 16902"/>
                <a:gd name="connsiteY1" fmla="*/ 169 h 8963"/>
                <a:gd name="connsiteX2" fmla="*/ 13306 w 16902"/>
                <a:gd name="connsiteY2" fmla="*/ 6730 h 8963"/>
                <a:gd name="connsiteX3" fmla="*/ 218 w 16902"/>
                <a:gd name="connsiteY3" fmla="*/ 8779 h 8963"/>
              </a:gdLst>
              <a:ahLst/>
              <a:cxnLst>
                <a:cxn ang="0">
                  <a:pos x="connsiteX0" y="connsiteY0"/>
                </a:cxn>
                <a:cxn ang="0">
                  <a:pos x="connsiteX1" y="connsiteY1"/>
                </a:cxn>
                <a:cxn ang="0">
                  <a:pos x="connsiteX2" y="connsiteY2"/>
                </a:cxn>
                <a:cxn ang="0">
                  <a:pos x="connsiteX3" y="connsiteY3"/>
                </a:cxn>
              </a:cxnLst>
              <a:rect l="l" t="t" r="r" b="b"/>
              <a:pathLst>
                <a:path w="16902" h="8963">
                  <a:moveTo>
                    <a:pt x="218" y="8779"/>
                  </a:moveTo>
                  <a:cubicBezTo>
                    <a:pt x="-1204" y="10592"/>
                    <a:pt x="4335" y="-1561"/>
                    <a:pt x="16902" y="169"/>
                  </a:cubicBezTo>
                  <a:cubicBezTo>
                    <a:pt x="14670" y="5183"/>
                    <a:pt x="13306" y="6730"/>
                    <a:pt x="13306" y="6730"/>
                  </a:cubicBezTo>
                  <a:cubicBezTo>
                    <a:pt x="13306" y="6730"/>
                    <a:pt x="2638" y="5694"/>
                    <a:pt x="218" y="877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77" name="Freihandform: Form 376">
              <a:extLst>
                <a:ext uri="{FF2B5EF4-FFF2-40B4-BE49-F238E27FC236}">
                  <a16:creationId xmlns:a16="http://schemas.microsoft.com/office/drawing/2014/main" id="{6A75F946-44AF-5676-1EEC-1768C2EAAF69}"/>
                </a:ext>
              </a:extLst>
            </p:cNvPr>
            <p:cNvSpPr/>
            <p:nvPr/>
          </p:nvSpPr>
          <p:spPr>
            <a:xfrm>
              <a:off x="5083326" y="2116081"/>
              <a:ext cx="6349" cy="11112"/>
            </a:xfrm>
            <a:custGeom>
              <a:avLst/>
              <a:gdLst>
                <a:gd name="connsiteX0" fmla="*/ 4927 w 4926"/>
                <a:gd name="connsiteY0" fmla="*/ 0 h 9033"/>
                <a:gd name="connsiteX1" fmla="*/ 0 w 4926"/>
                <a:gd name="connsiteY1" fmla="*/ 8210 h 9033"/>
                <a:gd name="connsiteX2" fmla="*/ 2970 w 4926"/>
                <a:gd name="connsiteY2" fmla="*/ 9034 h 9033"/>
              </a:gdLst>
              <a:ahLst/>
              <a:cxnLst>
                <a:cxn ang="0">
                  <a:pos x="connsiteX0" y="connsiteY0"/>
                </a:cxn>
                <a:cxn ang="0">
                  <a:pos x="connsiteX1" y="connsiteY1"/>
                </a:cxn>
                <a:cxn ang="0">
                  <a:pos x="connsiteX2" y="connsiteY2"/>
                </a:cxn>
              </a:cxnLst>
              <a:rect l="l" t="t" r="r" b="b"/>
              <a:pathLst>
                <a:path w="4926" h="9033">
                  <a:moveTo>
                    <a:pt x="4927" y="0"/>
                  </a:moveTo>
                  <a:lnTo>
                    <a:pt x="0" y="8210"/>
                  </a:lnTo>
                  <a:lnTo>
                    <a:pt x="2970" y="903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78" name="Freihandform: Form 377">
              <a:extLst>
                <a:ext uri="{FF2B5EF4-FFF2-40B4-BE49-F238E27FC236}">
                  <a16:creationId xmlns:a16="http://schemas.microsoft.com/office/drawing/2014/main" id="{1FDFC12B-BC62-2EA3-BB06-882F35C01B78}"/>
                </a:ext>
              </a:extLst>
            </p:cNvPr>
            <p:cNvSpPr/>
            <p:nvPr/>
          </p:nvSpPr>
          <p:spPr>
            <a:xfrm>
              <a:off x="5049993" y="2151007"/>
              <a:ext cx="7936" cy="9525"/>
            </a:xfrm>
            <a:custGeom>
              <a:avLst/>
              <a:gdLst>
                <a:gd name="connsiteX0" fmla="*/ 7043 w 7043"/>
                <a:gd name="connsiteY0" fmla="*/ 0 h 7934"/>
                <a:gd name="connsiteX1" fmla="*/ 0 w 7043"/>
                <a:gd name="connsiteY1" fmla="*/ 1726 h 7934"/>
                <a:gd name="connsiteX2" fmla="*/ 6026 w 7043"/>
                <a:gd name="connsiteY2" fmla="*/ 7935 h 7934"/>
              </a:gdLst>
              <a:ahLst/>
              <a:cxnLst>
                <a:cxn ang="0">
                  <a:pos x="connsiteX0" y="connsiteY0"/>
                </a:cxn>
                <a:cxn ang="0">
                  <a:pos x="connsiteX1" y="connsiteY1"/>
                </a:cxn>
                <a:cxn ang="0">
                  <a:pos x="connsiteX2" y="connsiteY2"/>
                </a:cxn>
              </a:cxnLst>
              <a:rect l="l" t="t" r="r" b="b"/>
              <a:pathLst>
                <a:path w="7043" h="7934">
                  <a:moveTo>
                    <a:pt x="7043" y="0"/>
                  </a:moveTo>
                  <a:lnTo>
                    <a:pt x="0" y="1726"/>
                  </a:lnTo>
                  <a:lnTo>
                    <a:pt x="6026" y="793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79" name="Freihandform: Form 378">
              <a:extLst>
                <a:ext uri="{FF2B5EF4-FFF2-40B4-BE49-F238E27FC236}">
                  <a16:creationId xmlns:a16="http://schemas.microsoft.com/office/drawing/2014/main" id="{45378FA4-E245-1B85-02C0-1C60109A8116}"/>
                </a:ext>
              </a:extLst>
            </p:cNvPr>
            <p:cNvSpPr/>
            <p:nvPr/>
          </p:nvSpPr>
          <p:spPr>
            <a:xfrm>
              <a:off x="5065866" y="2163708"/>
              <a:ext cx="17460" cy="1587"/>
            </a:xfrm>
            <a:custGeom>
              <a:avLst/>
              <a:gdLst>
                <a:gd name="connsiteX0" fmla="*/ 0 w 13251"/>
                <a:gd name="connsiteY0" fmla="*/ 998 h 2241"/>
                <a:gd name="connsiteX1" fmla="*/ 6194 w 13251"/>
                <a:gd name="connsiteY1" fmla="*/ 2242 h 2241"/>
                <a:gd name="connsiteX2" fmla="*/ 13252 w 13251"/>
                <a:gd name="connsiteY2" fmla="*/ 0 h 2241"/>
              </a:gdLst>
              <a:ahLst/>
              <a:cxnLst>
                <a:cxn ang="0">
                  <a:pos x="connsiteX0" y="connsiteY0"/>
                </a:cxn>
                <a:cxn ang="0">
                  <a:pos x="connsiteX1" y="connsiteY1"/>
                </a:cxn>
                <a:cxn ang="0">
                  <a:pos x="connsiteX2" y="connsiteY2"/>
                </a:cxn>
              </a:cxnLst>
              <a:rect l="l" t="t" r="r" b="b"/>
              <a:pathLst>
                <a:path w="13251" h="2241">
                  <a:moveTo>
                    <a:pt x="0" y="998"/>
                  </a:moveTo>
                  <a:lnTo>
                    <a:pt x="6194" y="2242"/>
                  </a:lnTo>
                  <a:lnTo>
                    <a:pt x="13252"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80" name="Freihandform: Form 379">
              <a:extLst>
                <a:ext uri="{FF2B5EF4-FFF2-40B4-BE49-F238E27FC236}">
                  <a16:creationId xmlns:a16="http://schemas.microsoft.com/office/drawing/2014/main" id="{829358FF-0F31-9BD0-C61C-EE4AEB6C615E}"/>
                </a:ext>
              </a:extLst>
            </p:cNvPr>
            <p:cNvSpPr/>
            <p:nvPr/>
          </p:nvSpPr>
          <p:spPr>
            <a:xfrm>
              <a:off x="5053167" y="2173233"/>
              <a:ext cx="19048" cy="9525"/>
            </a:xfrm>
            <a:custGeom>
              <a:avLst/>
              <a:gdLst>
                <a:gd name="connsiteX0" fmla="*/ 7005 w 14278"/>
                <a:gd name="connsiteY0" fmla="*/ 0 h 6696"/>
                <a:gd name="connsiteX1" fmla="*/ 14236 w 14278"/>
                <a:gd name="connsiteY1" fmla="*/ 5327 h 6696"/>
                <a:gd name="connsiteX2" fmla="*/ 2358 w 14278"/>
                <a:gd name="connsiteY2" fmla="*/ 6696 h 6696"/>
                <a:gd name="connsiteX3" fmla="*/ 468 w 14278"/>
                <a:gd name="connsiteY3" fmla="*/ 1012 h 6696"/>
                <a:gd name="connsiteX4" fmla="*/ 7005 w 14278"/>
                <a:gd name="connsiteY4" fmla="*/ 0 h 6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78" h="6696">
                  <a:moveTo>
                    <a:pt x="7005" y="0"/>
                  </a:moveTo>
                  <a:cubicBezTo>
                    <a:pt x="7005" y="0"/>
                    <a:pt x="14921" y="2218"/>
                    <a:pt x="14236" y="5327"/>
                  </a:cubicBezTo>
                  <a:cubicBezTo>
                    <a:pt x="7700" y="6696"/>
                    <a:pt x="2358" y="6696"/>
                    <a:pt x="2358" y="6696"/>
                  </a:cubicBezTo>
                  <a:cubicBezTo>
                    <a:pt x="2358" y="6696"/>
                    <a:pt x="-1262" y="680"/>
                    <a:pt x="468" y="1012"/>
                  </a:cubicBezTo>
                  <a:cubicBezTo>
                    <a:pt x="2170" y="1340"/>
                    <a:pt x="5984" y="2560"/>
                    <a:pt x="7005"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81" name="Freihandform: Form 380">
              <a:extLst>
                <a:ext uri="{FF2B5EF4-FFF2-40B4-BE49-F238E27FC236}">
                  <a16:creationId xmlns:a16="http://schemas.microsoft.com/office/drawing/2014/main" id="{21AB9471-FD0E-C550-247E-A0F8973BDEC6}"/>
                </a:ext>
              </a:extLst>
            </p:cNvPr>
            <p:cNvSpPr/>
            <p:nvPr/>
          </p:nvSpPr>
          <p:spPr>
            <a:xfrm>
              <a:off x="5032532" y="2176408"/>
              <a:ext cx="17461" cy="34926"/>
            </a:xfrm>
            <a:custGeom>
              <a:avLst/>
              <a:gdLst>
                <a:gd name="connsiteX0" fmla="*/ 11705 w 13599"/>
                <a:gd name="connsiteY0" fmla="*/ 2579 h 26345"/>
                <a:gd name="connsiteX1" fmla="*/ 11531 w 13599"/>
                <a:gd name="connsiteY1" fmla="*/ 6199 h 26345"/>
                <a:gd name="connsiteX2" fmla="*/ 13599 w 13599"/>
                <a:gd name="connsiteY2" fmla="*/ 12399 h 26345"/>
                <a:gd name="connsiteX3" fmla="*/ 1735 w 13599"/>
                <a:gd name="connsiteY3" fmla="*/ 26345 h 26345"/>
                <a:gd name="connsiteX4" fmla="*/ 0 w 13599"/>
                <a:gd name="connsiteY4" fmla="*/ 7593 h 26345"/>
                <a:gd name="connsiteX5" fmla="*/ 3948 w 13599"/>
                <a:gd name="connsiteY5" fmla="*/ 0 h 26345"/>
                <a:gd name="connsiteX6" fmla="*/ 11705 w 13599"/>
                <a:gd name="connsiteY6" fmla="*/ 2579 h 26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99" h="26345">
                  <a:moveTo>
                    <a:pt x="11705" y="2579"/>
                  </a:moveTo>
                  <a:lnTo>
                    <a:pt x="11531" y="6199"/>
                  </a:lnTo>
                  <a:lnTo>
                    <a:pt x="13599" y="12399"/>
                  </a:lnTo>
                  <a:cubicBezTo>
                    <a:pt x="13599" y="12399"/>
                    <a:pt x="4141" y="22219"/>
                    <a:pt x="1735" y="26345"/>
                  </a:cubicBezTo>
                  <a:cubicBezTo>
                    <a:pt x="3263" y="18261"/>
                    <a:pt x="3620" y="10524"/>
                    <a:pt x="0" y="7593"/>
                  </a:cubicBezTo>
                  <a:cubicBezTo>
                    <a:pt x="2405" y="3297"/>
                    <a:pt x="3948" y="0"/>
                    <a:pt x="3948" y="0"/>
                  </a:cubicBezTo>
                  <a:lnTo>
                    <a:pt x="11705" y="257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82" name="Freihandform: Form 381">
              <a:extLst>
                <a:ext uri="{FF2B5EF4-FFF2-40B4-BE49-F238E27FC236}">
                  <a16:creationId xmlns:a16="http://schemas.microsoft.com/office/drawing/2014/main" id="{8A5DAB46-5B4C-28DB-8906-0886B1882C5C}"/>
                </a:ext>
              </a:extLst>
            </p:cNvPr>
            <p:cNvSpPr/>
            <p:nvPr/>
          </p:nvSpPr>
          <p:spPr>
            <a:xfrm>
              <a:off x="5008722" y="2197046"/>
              <a:ext cx="22222" cy="17464"/>
            </a:xfrm>
            <a:custGeom>
              <a:avLst/>
              <a:gdLst>
                <a:gd name="connsiteX0" fmla="*/ 16718 w 16718"/>
                <a:gd name="connsiteY0" fmla="*/ 2847 h 14177"/>
                <a:gd name="connsiteX1" fmla="*/ 14660 w 16718"/>
                <a:gd name="connsiteY1" fmla="*/ 14050 h 14177"/>
                <a:gd name="connsiteX2" fmla="*/ 2107 w 16718"/>
                <a:gd name="connsiteY2" fmla="*/ 12985 h 14177"/>
                <a:gd name="connsiteX3" fmla="*/ 183 w 16718"/>
                <a:gd name="connsiteY3" fmla="*/ 7128 h 14177"/>
                <a:gd name="connsiteX4" fmla="*/ 5033 w 16718"/>
                <a:gd name="connsiteY4" fmla="*/ 75 h 14177"/>
                <a:gd name="connsiteX5" fmla="*/ 16718 w 16718"/>
                <a:gd name="connsiteY5" fmla="*/ 2847 h 1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18" h="14177">
                  <a:moveTo>
                    <a:pt x="16718" y="2847"/>
                  </a:moveTo>
                  <a:lnTo>
                    <a:pt x="14660" y="14050"/>
                  </a:lnTo>
                  <a:cubicBezTo>
                    <a:pt x="14660" y="14050"/>
                    <a:pt x="2618" y="14720"/>
                    <a:pt x="2107" y="12985"/>
                  </a:cubicBezTo>
                  <a:cubicBezTo>
                    <a:pt x="1576" y="11273"/>
                    <a:pt x="-646" y="8699"/>
                    <a:pt x="183" y="7128"/>
                  </a:cubicBezTo>
                  <a:cubicBezTo>
                    <a:pt x="1070" y="5609"/>
                    <a:pt x="3302" y="432"/>
                    <a:pt x="5033" y="75"/>
                  </a:cubicBezTo>
                  <a:cubicBezTo>
                    <a:pt x="6735" y="-248"/>
                    <a:pt x="15017" y="437"/>
                    <a:pt x="16718" y="2847"/>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83" name="Freihandform: Form 382">
              <a:extLst>
                <a:ext uri="{FF2B5EF4-FFF2-40B4-BE49-F238E27FC236}">
                  <a16:creationId xmlns:a16="http://schemas.microsoft.com/office/drawing/2014/main" id="{8497A4E7-B602-F3A0-5E28-BCF44F096B3E}"/>
                </a:ext>
              </a:extLst>
            </p:cNvPr>
            <p:cNvSpPr/>
            <p:nvPr/>
          </p:nvSpPr>
          <p:spPr>
            <a:xfrm>
              <a:off x="4962690" y="2239910"/>
              <a:ext cx="11112" cy="17463"/>
            </a:xfrm>
            <a:custGeom>
              <a:avLst/>
              <a:gdLst>
                <a:gd name="connsiteX0" fmla="*/ 0 w 9429"/>
                <a:gd name="connsiteY0" fmla="*/ 12659 h 13565"/>
                <a:gd name="connsiteX1" fmla="*/ 7477 w 9429"/>
                <a:gd name="connsiteY1" fmla="*/ 13565 h 13565"/>
                <a:gd name="connsiteX2" fmla="*/ 9429 w 9429"/>
                <a:gd name="connsiteY2" fmla="*/ 5785 h 13565"/>
                <a:gd name="connsiteX3" fmla="*/ 265 w 9429"/>
                <a:gd name="connsiteY3" fmla="*/ 0 h 13565"/>
                <a:gd name="connsiteX4" fmla="*/ 0 w 9429"/>
                <a:gd name="connsiteY4" fmla="*/ 12659 h 1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29" h="13565">
                  <a:moveTo>
                    <a:pt x="0" y="12659"/>
                  </a:moveTo>
                  <a:lnTo>
                    <a:pt x="7477" y="13565"/>
                  </a:lnTo>
                  <a:cubicBezTo>
                    <a:pt x="7477" y="13565"/>
                    <a:pt x="8532" y="11102"/>
                    <a:pt x="9429" y="5785"/>
                  </a:cubicBezTo>
                  <a:cubicBezTo>
                    <a:pt x="8128" y="5684"/>
                    <a:pt x="265" y="0"/>
                    <a:pt x="265" y="0"/>
                  </a:cubicBezTo>
                  <a:cubicBezTo>
                    <a:pt x="265" y="0"/>
                    <a:pt x="2849" y="9049"/>
                    <a:pt x="0" y="1265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84" name="Freihandform: Form 383">
              <a:extLst>
                <a:ext uri="{FF2B5EF4-FFF2-40B4-BE49-F238E27FC236}">
                  <a16:creationId xmlns:a16="http://schemas.microsoft.com/office/drawing/2014/main" id="{91E3F367-B572-8774-DAA8-9B6FA139410A}"/>
                </a:ext>
              </a:extLst>
            </p:cNvPr>
            <p:cNvSpPr/>
            <p:nvPr/>
          </p:nvSpPr>
          <p:spPr>
            <a:xfrm>
              <a:off x="4951579" y="2262136"/>
              <a:ext cx="26984" cy="20638"/>
            </a:xfrm>
            <a:custGeom>
              <a:avLst/>
              <a:gdLst>
                <a:gd name="connsiteX0" fmla="*/ 5958 w 20025"/>
                <a:gd name="connsiteY0" fmla="*/ 0 h 16149"/>
                <a:gd name="connsiteX1" fmla="*/ 14988 w 20025"/>
                <a:gd name="connsiteY1" fmla="*/ 4006 h 16149"/>
                <a:gd name="connsiteX2" fmla="*/ 20025 w 20025"/>
                <a:gd name="connsiteY2" fmla="*/ 10847 h 16149"/>
                <a:gd name="connsiteX3" fmla="*/ 12673 w 20025"/>
                <a:gd name="connsiteY3" fmla="*/ 11753 h 16149"/>
                <a:gd name="connsiteX4" fmla="*/ 6339 w 20025"/>
                <a:gd name="connsiteY4" fmla="*/ 16149 h 16149"/>
                <a:gd name="connsiteX5" fmla="*/ 159 w 20025"/>
                <a:gd name="connsiteY5" fmla="*/ 14602 h 16149"/>
                <a:gd name="connsiteX6" fmla="*/ 0 w 20025"/>
                <a:gd name="connsiteY6" fmla="*/ 2970 h 16149"/>
                <a:gd name="connsiteX7" fmla="*/ 5958 w 20025"/>
                <a:gd name="connsiteY7" fmla="*/ 0 h 1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25" h="16149">
                  <a:moveTo>
                    <a:pt x="5958" y="0"/>
                  </a:moveTo>
                  <a:cubicBezTo>
                    <a:pt x="5958" y="0"/>
                    <a:pt x="13074" y="4151"/>
                    <a:pt x="14988" y="4006"/>
                  </a:cubicBezTo>
                  <a:cubicBezTo>
                    <a:pt x="16935" y="3866"/>
                    <a:pt x="20025" y="10847"/>
                    <a:pt x="20025" y="10847"/>
                  </a:cubicBezTo>
                  <a:cubicBezTo>
                    <a:pt x="20025" y="10847"/>
                    <a:pt x="13975" y="10331"/>
                    <a:pt x="12673" y="11753"/>
                  </a:cubicBezTo>
                  <a:cubicBezTo>
                    <a:pt x="11372" y="13175"/>
                    <a:pt x="8938" y="16149"/>
                    <a:pt x="6339" y="16149"/>
                  </a:cubicBezTo>
                  <a:cubicBezTo>
                    <a:pt x="3760" y="16149"/>
                    <a:pt x="-97" y="15870"/>
                    <a:pt x="159" y="14602"/>
                  </a:cubicBezTo>
                  <a:cubicBezTo>
                    <a:pt x="410" y="13305"/>
                    <a:pt x="1186" y="5443"/>
                    <a:pt x="0" y="2970"/>
                  </a:cubicBezTo>
                  <a:cubicBezTo>
                    <a:pt x="2989" y="1316"/>
                    <a:pt x="5958" y="0"/>
                    <a:pt x="5958"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85" name="Freihandform: Form 384">
              <a:extLst>
                <a:ext uri="{FF2B5EF4-FFF2-40B4-BE49-F238E27FC236}">
                  <a16:creationId xmlns:a16="http://schemas.microsoft.com/office/drawing/2014/main" id="{AF928E92-8C41-7BD6-43BF-5C8F3D04FE2A}"/>
                </a:ext>
              </a:extLst>
            </p:cNvPr>
            <p:cNvSpPr/>
            <p:nvPr/>
          </p:nvSpPr>
          <p:spPr>
            <a:xfrm>
              <a:off x="4948404" y="2293887"/>
              <a:ext cx="3175" cy="9525"/>
            </a:xfrm>
            <a:custGeom>
              <a:avLst/>
              <a:gdLst>
                <a:gd name="connsiteX0" fmla="*/ 1427 w 2463"/>
                <a:gd name="connsiteY0" fmla="*/ 0 h 7626"/>
                <a:gd name="connsiteX1" fmla="*/ 0 w 2463"/>
                <a:gd name="connsiteY1" fmla="*/ 1167 h 7626"/>
                <a:gd name="connsiteX2" fmla="*/ 2463 w 2463"/>
                <a:gd name="connsiteY2" fmla="*/ 7626 h 7626"/>
              </a:gdLst>
              <a:ahLst/>
              <a:cxnLst>
                <a:cxn ang="0">
                  <a:pos x="connsiteX0" y="connsiteY0"/>
                </a:cxn>
                <a:cxn ang="0">
                  <a:pos x="connsiteX1" y="connsiteY1"/>
                </a:cxn>
                <a:cxn ang="0">
                  <a:pos x="connsiteX2" y="connsiteY2"/>
                </a:cxn>
              </a:cxnLst>
              <a:rect l="l" t="t" r="r" b="b"/>
              <a:pathLst>
                <a:path w="2463" h="7626">
                  <a:moveTo>
                    <a:pt x="1427" y="0"/>
                  </a:moveTo>
                  <a:lnTo>
                    <a:pt x="0" y="1167"/>
                  </a:lnTo>
                  <a:lnTo>
                    <a:pt x="2463" y="762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86" name="Freihandform: Form 385">
              <a:extLst>
                <a:ext uri="{FF2B5EF4-FFF2-40B4-BE49-F238E27FC236}">
                  <a16:creationId xmlns:a16="http://schemas.microsoft.com/office/drawing/2014/main" id="{079D0854-6152-7B51-0926-B72447092E29}"/>
                </a:ext>
              </a:extLst>
            </p:cNvPr>
            <p:cNvSpPr/>
            <p:nvPr/>
          </p:nvSpPr>
          <p:spPr>
            <a:xfrm>
              <a:off x="4961103" y="2320875"/>
              <a:ext cx="7936" cy="6350"/>
            </a:xfrm>
            <a:custGeom>
              <a:avLst/>
              <a:gdLst>
                <a:gd name="connsiteX0" fmla="*/ 0 w 6141"/>
                <a:gd name="connsiteY0" fmla="*/ 0 h 4594"/>
                <a:gd name="connsiteX1" fmla="*/ 6002 w 6141"/>
                <a:gd name="connsiteY1" fmla="*/ 352 h 4594"/>
                <a:gd name="connsiteX2" fmla="*/ 6142 w 6141"/>
                <a:gd name="connsiteY2" fmla="*/ 4594 h 4594"/>
              </a:gdLst>
              <a:ahLst/>
              <a:cxnLst>
                <a:cxn ang="0">
                  <a:pos x="connsiteX0" y="connsiteY0"/>
                </a:cxn>
                <a:cxn ang="0">
                  <a:pos x="connsiteX1" y="connsiteY1"/>
                </a:cxn>
                <a:cxn ang="0">
                  <a:pos x="connsiteX2" y="connsiteY2"/>
                </a:cxn>
              </a:cxnLst>
              <a:rect l="l" t="t" r="r" b="b"/>
              <a:pathLst>
                <a:path w="6141" h="4594">
                  <a:moveTo>
                    <a:pt x="0" y="0"/>
                  </a:moveTo>
                  <a:lnTo>
                    <a:pt x="6002" y="352"/>
                  </a:lnTo>
                  <a:lnTo>
                    <a:pt x="6142" y="459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87" name="Freihandform: Form 386">
              <a:extLst>
                <a:ext uri="{FF2B5EF4-FFF2-40B4-BE49-F238E27FC236}">
                  <a16:creationId xmlns:a16="http://schemas.microsoft.com/office/drawing/2014/main" id="{4A712D57-CB98-610E-02CF-C2CE837B51EF}"/>
                </a:ext>
              </a:extLst>
            </p:cNvPr>
            <p:cNvSpPr/>
            <p:nvPr/>
          </p:nvSpPr>
          <p:spPr>
            <a:xfrm>
              <a:off x="4948404" y="2352627"/>
              <a:ext cx="7936" cy="9525"/>
            </a:xfrm>
            <a:custGeom>
              <a:avLst/>
              <a:gdLst>
                <a:gd name="connsiteX0" fmla="*/ 255 w 6961"/>
                <a:gd name="connsiteY0" fmla="*/ 3 h 7865"/>
                <a:gd name="connsiteX1" fmla="*/ 6961 w 6961"/>
                <a:gd name="connsiteY1" fmla="*/ 7866 h 7865"/>
                <a:gd name="connsiteX2" fmla="*/ 0 w 6961"/>
                <a:gd name="connsiteY2" fmla="*/ 7070 h 7865"/>
                <a:gd name="connsiteX3" fmla="*/ 255 w 6961"/>
                <a:gd name="connsiteY3" fmla="*/ 3 h 7865"/>
              </a:gdLst>
              <a:ahLst/>
              <a:cxnLst>
                <a:cxn ang="0">
                  <a:pos x="connsiteX0" y="connsiteY0"/>
                </a:cxn>
                <a:cxn ang="0">
                  <a:pos x="connsiteX1" y="connsiteY1"/>
                </a:cxn>
                <a:cxn ang="0">
                  <a:pos x="connsiteX2" y="connsiteY2"/>
                </a:cxn>
                <a:cxn ang="0">
                  <a:pos x="connsiteX3" y="connsiteY3"/>
                </a:cxn>
              </a:cxnLst>
              <a:rect l="l" t="t" r="r" b="b"/>
              <a:pathLst>
                <a:path w="6961" h="7865">
                  <a:moveTo>
                    <a:pt x="255" y="3"/>
                  </a:moveTo>
                  <a:cubicBezTo>
                    <a:pt x="1022" y="-141"/>
                    <a:pt x="5274" y="4496"/>
                    <a:pt x="6961" y="7866"/>
                  </a:cubicBezTo>
                  <a:cubicBezTo>
                    <a:pt x="4647" y="7210"/>
                    <a:pt x="0" y="7070"/>
                    <a:pt x="0" y="7070"/>
                  </a:cubicBezTo>
                  <a:lnTo>
                    <a:pt x="255" y="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88" name="Freihandform: Form 387">
              <a:extLst>
                <a:ext uri="{FF2B5EF4-FFF2-40B4-BE49-F238E27FC236}">
                  <a16:creationId xmlns:a16="http://schemas.microsoft.com/office/drawing/2014/main" id="{BBDDB5FC-5229-9355-947B-43ACB151730F}"/>
                </a:ext>
              </a:extLst>
            </p:cNvPr>
            <p:cNvSpPr/>
            <p:nvPr/>
          </p:nvSpPr>
          <p:spPr>
            <a:xfrm>
              <a:off x="4937292" y="2385966"/>
              <a:ext cx="15873" cy="20638"/>
            </a:xfrm>
            <a:custGeom>
              <a:avLst/>
              <a:gdLst>
                <a:gd name="connsiteX0" fmla="*/ 9581 w 13193"/>
                <a:gd name="connsiteY0" fmla="*/ 0 h 16240"/>
                <a:gd name="connsiteX1" fmla="*/ 12801 w 13193"/>
                <a:gd name="connsiteY1" fmla="*/ 10205 h 16240"/>
                <a:gd name="connsiteX2" fmla="*/ 6592 w 13193"/>
                <a:gd name="connsiteY2" fmla="*/ 16000 h 16240"/>
                <a:gd name="connsiteX3" fmla="*/ 1183 w 13193"/>
                <a:gd name="connsiteY3" fmla="*/ 15894 h 16240"/>
                <a:gd name="connsiteX4" fmla="*/ 1684 w 13193"/>
                <a:gd name="connsiteY4" fmla="*/ 4893 h 16240"/>
                <a:gd name="connsiteX5" fmla="*/ 6090 w 13193"/>
                <a:gd name="connsiteY5" fmla="*/ 6064 h 16240"/>
                <a:gd name="connsiteX6" fmla="*/ 7633 w 13193"/>
                <a:gd name="connsiteY6" fmla="*/ 2328 h 16240"/>
                <a:gd name="connsiteX7" fmla="*/ 9581 w 13193"/>
                <a:gd name="connsiteY7" fmla="*/ 0 h 1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93" h="16240">
                  <a:moveTo>
                    <a:pt x="9581" y="0"/>
                  </a:moveTo>
                  <a:cubicBezTo>
                    <a:pt x="9581" y="0"/>
                    <a:pt x="14609" y="9164"/>
                    <a:pt x="12801" y="10205"/>
                  </a:cubicBezTo>
                  <a:cubicBezTo>
                    <a:pt x="10998" y="11237"/>
                    <a:pt x="8144" y="15894"/>
                    <a:pt x="6592" y="16000"/>
                  </a:cubicBezTo>
                  <a:cubicBezTo>
                    <a:pt x="5049" y="16145"/>
                    <a:pt x="1183" y="16511"/>
                    <a:pt x="1183" y="15894"/>
                  </a:cubicBezTo>
                  <a:cubicBezTo>
                    <a:pt x="1183" y="15238"/>
                    <a:pt x="-1787" y="2700"/>
                    <a:pt x="1684" y="4893"/>
                  </a:cubicBezTo>
                  <a:cubicBezTo>
                    <a:pt x="5165" y="7115"/>
                    <a:pt x="5840" y="10340"/>
                    <a:pt x="6090" y="6064"/>
                  </a:cubicBezTo>
                  <a:cubicBezTo>
                    <a:pt x="6336" y="1803"/>
                    <a:pt x="7522" y="766"/>
                    <a:pt x="7633" y="2328"/>
                  </a:cubicBezTo>
                  <a:cubicBezTo>
                    <a:pt x="7782" y="3866"/>
                    <a:pt x="9581" y="0"/>
                    <a:pt x="9581"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89" name="Freihandform: Form 388">
              <a:extLst>
                <a:ext uri="{FF2B5EF4-FFF2-40B4-BE49-F238E27FC236}">
                  <a16:creationId xmlns:a16="http://schemas.microsoft.com/office/drawing/2014/main" id="{4DE49A51-EB32-A3FC-92C5-EB994DCCFBC6}"/>
                </a:ext>
              </a:extLst>
            </p:cNvPr>
            <p:cNvSpPr/>
            <p:nvPr/>
          </p:nvSpPr>
          <p:spPr>
            <a:xfrm>
              <a:off x="4945230" y="2427243"/>
              <a:ext cx="6349" cy="12700"/>
            </a:xfrm>
            <a:custGeom>
              <a:avLst/>
              <a:gdLst>
                <a:gd name="connsiteX0" fmla="*/ 4122 w 5437"/>
                <a:gd name="connsiteY0" fmla="*/ 0 h 9303"/>
                <a:gd name="connsiteX1" fmla="*/ 0 w 5437"/>
                <a:gd name="connsiteY1" fmla="*/ 2434 h 9303"/>
                <a:gd name="connsiteX2" fmla="*/ 5438 w 5437"/>
                <a:gd name="connsiteY2" fmla="*/ 9304 h 9303"/>
              </a:gdLst>
              <a:ahLst/>
              <a:cxnLst>
                <a:cxn ang="0">
                  <a:pos x="connsiteX0" y="connsiteY0"/>
                </a:cxn>
                <a:cxn ang="0">
                  <a:pos x="connsiteX1" y="connsiteY1"/>
                </a:cxn>
                <a:cxn ang="0">
                  <a:pos x="connsiteX2" y="connsiteY2"/>
                </a:cxn>
              </a:cxnLst>
              <a:rect l="l" t="t" r="r" b="b"/>
              <a:pathLst>
                <a:path w="5437" h="9303">
                  <a:moveTo>
                    <a:pt x="4122" y="0"/>
                  </a:moveTo>
                  <a:lnTo>
                    <a:pt x="0" y="2434"/>
                  </a:lnTo>
                  <a:lnTo>
                    <a:pt x="5438" y="930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90" name="Freihandform: Form 389">
              <a:extLst>
                <a:ext uri="{FF2B5EF4-FFF2-40B4-BE49-F238E27FC236}">
                  <a16:creationId xmlns:a16="http://schemas.microsoft.com/office/drawing/2014/main" id="{17066A4D-89B7-81C8-61AD-28AA273078A7}"/>
                </a:ext>
              </a:extLst>
            </p:cNvPr>
            <p:cNvSpPr/>
            <p:nvPr/>
          </p:nvSpPr>
          <p:spPr>
            <a:xfrm>
              <a:off x="4935706" y="2433593"/>
              <a:ext cx="7936" cy="9525"/>
            </a:xfrm>
            <a:custGeom>
              <a:avLst/>
              <a:gdLst>
                <a:gd name="connsiteX0" fmla="*/ 2584 w 6956"/>
                <a:gd name="connsiteY0" fmla="*/ 0 h 7101"/>
                <a:gd name="connsiteX1" fmla="*/ 0 w 6956"/>
                <a:gd name="connsiteY1" fmla="*/ 2704 h 7101"/>
                <a:gd name="connsiteX2" fmla="*/ 6956 w 6956"/>
                <a:gd name="connsiteY2" fmla="*/ 7101 h 7101"/>
              </a:gdLst>
              <a:ahLst/>
              <a:cxnLst>
                <a:cxn ang="0">
                  <a:pos x="connsiteX0" y="connsiteY0"/>
                </a:cxn>
                <a:cxn ang="0">
                  <a:pos x="connsiteX1" y="connsiteY1"/>
                </a:cxn>
                <a:cxn ang="0">
                  <a:pos x="connsiteX2" y="connsiteY2"/>
                </a:cxn>
              </a:cxnLst>
              <a:rect l="l" t="t" r="r" b="b"/>
              <a:pathLst>
                <a:path w="6956" h="7101">
                  <a:moveTo>
                    <a:pt x="2584" y="0"/>
                  </a:moveTo>
                  <a:lnTo>
                    <a:pt x="0" y="2704"/>
                  </a:lnTo>
                  <a:lnTo>
                    <a:pt x="6956" y="710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91" name="Freihandform: Form 390">
              <a:extLst>
                <a:ext uri="{FF2B5EF4-FFF2-40B4-BE49-F238E27FC236}">
                  <a16:creationId xmlns:a16="http://schemas.microsoft.com/office/drawing/2014/main" id="{B205AFAC-9D56-8FC4-7D74-D4516E31CBA5}"/>
                </a:ext>
              </a:extLst>
            </p:cNvPr>
            <p:cNvSpPr/>
            <p:nvPr/>
          </p:nvSpPr>
          <p:spPr>
            <a:xfrm>
              <a:off x="4935706" y="2451055"/>
              <a:ext cx="11111" cy="9525"/>
            </a:xfrm>
            <a:custGeom>
              <a:avLst/>
              <a:gdLst>
                <a:gd name="connsiteX0" fmla="*/ 0 w 8016"/>
                <a:gd name="connsiteY0" fmla="*/ 3 h 8000"/>
                <a:gd name="connsiteX1" fmla="*/ 8017 w 8016"/>
                <a:gd name="connsiteY1" fmla="*/ 8000 h 8000"/>
                <a:gd name="connsiteX2" fmla="*/ 916 w 8016"/>
                <a:gd name="connsiteY2" fmla="*/ 6583 h 8000"/>
                <a:gd name="connsiteX3" fmla="*/ 0 w 8016"/>
                <a:gd name="connsiteY3" fmla="*/ 3 h 8000"/>
              </a:gdLst>
              <a:ahLst/>
              <a:cxnLst>
                <a:cxn ang="0">
                  <a:pos x="connsiteX0" y="connsiteY0"/>
                </a:cxn>
                <a:cxn ang="0">
                  <a:pos x="connsiteX1" y="connsiteY1"/>
                </a:cxn>
                <a:cxn ang="0">
                  <a:pos x="connsiteX2" y="connsiteY2"/>
                </a:cxn>
                <a:cxn ang="0">
                  <a:pos x="connsiteX3" y="connsiteY3"/>
                </a:cxn>
              </a:cxnLst>
              <a:rect l="l" t="t" r="r" b="b"/>
              <a:pathLst>
                <a:path w="8016" h="8000">
                  <a:moveTo>
                    <a:pt x="0" y="3"/>
                  </a:moveTo>
                  <a:cubicBezTo>
                    <a:pt x="1562" y="-118"/>
                    <a:pt x="5688" y="3498"/>
                    <a:pt x="8017" y="8000"/>
                  </a:cubicBezTo>
                  <a:cubicBezTo>
                    <a:pt x="3360" y="6848"/>
                    <a:pt x="916" y="6583"/>
                    <a:pt x="916" y="6583"/>
                  </a:cubicBezTo>
                  <a:lnTo>
                    <a:pt x="0" y="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92" name="Freihandform: Form 391">
              <a:extLst>
                <a:ext uri="{FF2B5EF4-FFF2-40B4-BE49-F238E27FC236}">
                  <a16:creationId xmlns:a16="http://schemas.microsoft.com/office/drawing/2014/main" id="{F9D93AD1-0482-DA24-403D-57901753A42F}"/>
                </a:ext>
              </a:extLst>
            </p:cNvPr>
            <p:cNvSpPr/>
            <p:nvPr/>
          </p:nvSpPr>
          <p:spPr>
            <a:xfrm>
              <a:off x="4976976" y="2476456"/>
              <a:ext cx="30159" cy="41277"/>
            </a:xfrm>
            <a:custGeom>
              <a:avLst/>
              <a:gdLst>
                <a:gd name="connsiteX0" fmla="*/ 22614 w 23534"/>
                <a:gd name="connsiteY0" fmla="*/ 0 h 32110"/>
                <a:gd name="connsiteX1" fmla="*/ 22214 w 23534"/>
                <a:gd name="connsiteY1" fmla="*/ 14327 h 32110"/>
                <a:gd name="connsiteX2" fmla="*/ 21578 w 23534"/>
                <a:gd name="connsiteY2" fmla="*/ 25564 h 32110"/>
                <a:gd name="connsiteX3" fmla="*/ 14076 w 23534"/>
                <a:gd name="connsiteY3" fmla="*/ 32019 h 32110"/>
                <a:gd name="connsiteX4" fmla="*/ 6720 w 23534"/>
                <a:gd name="connsiteY4" fmla="*/ 29040 h 32110"/>
                <a:gd name="connsiteX5" fmla="*/ 130 w 23534"/>
                <a:gd name="connsiteY5" fmla="*/ 16511 h 32110"/>
                <a:gd name="connsiteX6" fmla="*/ 12529 w 23534"/>
                <a:gd name="connsiteY6" fmla="*/ 7872 h 32110"/>
                <a:gd name="connsiteX7" fmla="*/ 16400 w 23534"/>
                <a:gd name="connsiteY7" fmla="*/ 1933 h 32110"/>
                <a:gd name="connsiteX8" fmla="*/ 22614 w 23534"/>
                <a:gd name="connsiteY8" fmla="*/ 0 h 32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34" h="32110">
                  <a:moveTo>
                    <a:pt x="22614" y="0"/>
                  </a:moveTo>
                  <a:cubicBezTo>
                    <a:pt x="23901" y="2420"/>
                    <a:pt x="23901" y="10437"/>
                    <a:pt x="22214" y="14327"/>
                  </a:cubicBezTo>
                  <a:cubicBezTo>
                    <a:pt x="20551" y="18198"/>
                    <a:pt x="21192" y="23877"/>
                    <a:pt x="21578" y="25564"/>
                  </a:cubicBezTo>
                  <a:cubicBezTo>
                    <a:pt x="21963" y="27237"/>
                    <a:pt x="15243" y="31503"/>
                    <a:pt x="14076" y="32019"/>
                  </a:cubicBezTo>
                  <a:cubicBezTo>
                    <a:pt x="12925" y="32545"/>
                    <a:pt x="7482" y="30708"/>
                    <a:pt x="6720" y="29040"/>
                  </a:cubicBezTo>
                  <a:cubicBezTo>
                    <a:pt x="5929" y="27362"/>
                    <a:pt x="-1031" y="17171"/>
                    <a:pt x="130" y="16511"/>
                  </a:cubicBezTo>
                  <a:cubicBezTo>
                    <a:pt x="1312" y="15855"/>
                    <a:pt x="10596" y="11088"/>
                    <a:pt x="12529" y="7872"/>
                  </a:cubicBezTo>
                  <a:cubicBezTo>
                    <a:pt x="14462" y="4647"/>
                    <a:pt x="16400" y="1933"/>
                    <a:pt x="16400" y="1933"/>
                  </a:cubicBezTo>
                  <a:lnTo>
                    <a:pt x="22614"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93" name="Freihandform: Form 392">
              <a:extLst>
                <a:ext uri="{FF2B5EF4-FFF2-40B4-BE49-F238E27FC236}">
                  <a16:creationId xmlns:a16="http://schemas.microsoft.com/office/drawing/2014/main" id="{A220D867-A9DF-B7A5-0907-7CE43BD68FD8}"/>
                </a:ext>
              </a:extLst>
            </p:cNvPr>
            <p:cNvSpPr/>
            <p:nvPr/>
          </p:nvSpPr>
          <p:spPr>
            <a:xfrm>
              <a:off x="4940467" y="2465344"/>
              <a:ext cx="23810" cy="25401"/>
            </a:xfrm>
            <a:custGeom>
              <a:avLst/>
              <a:gdLst>
                <a:gd name="connsiteX0" fmla="*/ 6099 w 18781"/>
                <a:gd name="connsiteY0" fmla="*/ 0 h 20116"/>
                <a:gd name="connsiteX1" fmla="*/ 11643 w 18781"/>
                <a:gd name="connsiteY1" fmla="*/ 9024 h 20116"/>
                <a:gd name="connsiteX2" fmla="*/ 18764 w 18781"/>
                <a:gd name="connsiteY2" fmla="*/ 20117 h 20116"/>
                <a:gd name="connsiteX3" fmla="*/ 6 w 18781"/>
                <a:gd name="connsiteY3" fmla="*/ 2039 h 20116"/>
                <a:gd name="connsiteX4" fmla="*/ 6099 w 18781"/>
                <a:gd name="connsiteY4" fmla="*/ 0 h 20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81" h="20116">
                  <a:moveTo>
                    <a:pt x="6099" y="0"/>
                  </a:moveTo>
                  <a:cubicBezTo>
                    <a:pt x="6856" y="2039"/>
                    <a:pt x="9705" y="7973"/>
                    <a:pt x="11643" y="9024"/>
                  </a:cubicBezTo>
                  <a:cubicBezTo>
                    <a:pt x="13586" y="10066"/>
                    <a:pt x="19140" y="15089"/>
                    <a:pt x="18764" y="20117"/>
                  </a:cubicBezTo>
                  <a:cubicBezTo>
                    <a:pt x="14377" y="17687"/>
                    <a:pt x="-346" y="8494"/>
                    <a:pt x="6" y="2039"/>
                  </a:cubicBezTo>
                  <a:cubicBezTo>
                    <a:pt x="2339" y="516"/>
                    <a:pt x="6099" y="0"/>
                    <a:pt x="6099"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94" name="Freihandform: Form 393">
              <a:extLst>
                <a:ext uri="{FF2B5EF4-FFF2-40B4-BE49-F238E27FC236}">
                  <a16:creationId xmlns:a16="http://schemas.microsoft.com/office/drawing/2014/main" id="{0D040493-DD94-410C-D7BC-C829172F3F84}"/>
                </a:ext>
              </a:extLst>
            </p:cNvPr>
            <p:cNvSpPr/>
            <p:nvPr/>
          </p:nvSpPr>
          <p:spPr>
            <a:xfrm>
              <a:off x="4927769" y="2478044"/>
              <a:ext cx="6349" cy="9525"/>
            </a:xfrm>
            <a:custGeom>
              <a:avLst/>
              <a:gdLst>
                <a:gd name="connsiteX0" fmla="*/ 4306 w 5941"/>
                <a:gd name="connsiteY0" fmla="*/ 0 h 7446"/>
                <a:gd name="connsiteX1" fmla="*/ 5463 w 5941"/>
                <a:gd name="connsiteY1" fmla="*/ 7385 h 7446"/>
                <a:gd name="connsiteX2" fmla="*/ 175 w 5941"/>
                <a:gd name="connsiteY2" fmla="*/ 5823 h 7446"/>
                <a:gd name="connsiteX3" fmla="*/ 4306 w 5941"/>
                <a:gd name="connsiteY3" fmla="*/ 0 h 7446"/>
              </a:gdLst>
              <a:ahLst/>
              <a:cxnLst>
                <a:cxn ang="0">
                  <a:pos x="connsiteX0" y="connsiteY0"/>
                </a:cxn>
                <a:cxn ang="0">
                  <a:pos x="connsiteX1" y="connsiteY1"/>
                </a:cxn>
                <a:cxn ang="0">
                  <a:pos x="connsiteX2" y="connsiteY2"/>
                </a:cxn>
                <a:cxn ang="0">
                  <a:pos x="connsiteX3" y="connsiteY3"/>
                </a:cxn>
              </a:cxnLst>
              <a:rect l="l" t="t" r="r" b="b"/>
              <a:pathLst>
                <a:path w="5941" h="7446">
                  <a:moveTo>
                    <a:pt x="4306" y="0"/>
                  </a:moveTo>
                  <a:cubicBezTo>
                    <a:pt x="4306" y="0"/>
                    <a:pt x="7011" y="7115"/>
                    <a:pt x="5463" y="7385"/>
                  </a:cubicBezTo>
                  <a:cubicBezTo>
                    <a:pt x="3930" y="7636"/>
                    <a:pt x="-982" y="7115"/>
                    <a:pt x="175" y="5823"/>
                  </a:cubicBezTo>
                  <a:cubicBezTo>
                    <a:pt x="1341" y="4536"/>
                    <a:pt x="4306" y="0"/>
                    <a:pt x="4306"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95" name="Freihandform: Form 394">
              <a:extLst>
                <a:ext uri="{FF2B5EF4-FFF2-40B4-BE49-F238E27FC236}">
                  <a16:creationId xmlns:a16="http://schemas.microsoft.com/office/drawing/2014/main" id="{DFC28ED3-4BB6-27EC-3169-62EEB65CB5C1}"/>
                </a:ext>
              </a:extLst>
            </p:cNvPr>
            <p:cNvSpPr/>
            <p:nvPr/>
          </p:nvSpPr>
          <p:spPr>
            <a:xfrm>
              <a:off x="4946816" y="2489157"/>
              <a:ext cx="17461" cy="14289"/>
            </a:xfrm>
            <a:custGeom>
              <a:avLst/>
              <a:gdLst>
                <a:gd name="connsiteX0" fmla="*/ 0 w 13695"/>
                <a:gd name="connsiteY0" fmla="*/ 1211 h 11647"/>
                <a:gd name="connsiteX1" fmla="*/ 5057 w 13695"/>
                <a:gd name="connsiteY1" fmla="*/ 59 h 11647"/>
                <a:gd name="connsiteX2" fmla="*/ 12293 w 13695"/>
                <a:gd name="connsiteY2" fmla="*/ 5463 h 11647"/>
                <a:gd name="connsiteX3" fmla="*/ 13696 w 13695"/>
                <a:gd name="connsiteY3" fmla="*/ 11648 h 11647"/>
                <a:gd name="connsiteX4" fmla="*/ 135 w 13695"/>
                <a:gd name="connsiteY4" fmla="*/ 5574 h 11647"/>
                <a:gd name="connsiteX5" fmla="*/ 0 w 13695"/>
                <a:gd name="connsiteY5" fmla="*/ 1211 h 11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95" h="11647">
                  <a:moveTo>
                    <a:pt x="0" y="1211"/>
                  </a:moveTo>
                  <a:cubicBezTo>
                    <a:pt x="1041" y="551"/>
                    <a:pt x="4387" y="-221"/>
                    <a:pt x="5057" y="59"/>
                  </a:cubicBezTo>
                  <a:cubicBezTo>
                    <a:pt x="5684" y="305"/>
                    <a:pt x="12293" y="5463"/>
                    <a:pt x="12293" y="5463"/>
                  </a:cubicBezTo>
                  <a:lnTo>
                    <a:pt x="13696" y="11648"/>
                  </a:lnTo>
                  <a:lnTo>
                    <a:pt x="135" y="5574"/>
                  </a:lnTo>
                  <a:lnTo>
                    <a:pt x="0" y="121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96" name="Freihandform: Form 395">
              <a:extLst>
                <a:ext uri="{FF2B5EF4-FFF2-40B4-BE49-F238E27FC236}">
                  <a16:creationId xmlns:a16="http://schemas.microsoft.com/office/drawing/2014/main" id="{0566A52A-C36C-572B-FFFE-F58B74A6A218}"/>
                </a:ext>
              </a:extLst>
            </p:cNvPr>
            <p:cNvSpPr/>
            <p:nvPr/>
          </p:nvSpPr>
          <p:spPr>
            <a:xfrm>
              <a:off x="4946816" y="2498682"/>
              <a:ext cx="14286" cy="17464"/>
            </a:xfrm>
            <a:custGeom>
              <a:avLst/>
              <a:gdLst>
                <a:gd name="connsiteX0" fmla="*/ 0 w 11857"/>
                <a:gd name="connsiteY0" fmla="*/ 0 h 14437"/>
                <a:gd name="connsiteX1" fmla="*/ 11748 w 11857"/>
                <a:gd name="connsiteY1" fmla="*/ 9926 h 14437"/>
                <a:gd name="connsiteX2" fmla="*/ 8263 w 11857"/>
                <a:gd name="connsiteY2" fmla="*/ 14438 h 14437"/>
                <a:gd name="connsiteX3" fmla="*/ 0 w 11857"/>
                <a:gd name="connsiteY3" fmla="*/ 0 h 14437"/>
              </a:gdLst>
              <a:ahLst/>
              <a:cxnLst>
                <a:cxn ang="0">
                  <a:pos x="connsiteX0" y="connsiteY0"/>
                </a:cxn>
                <a:cxn ang="0">
                  <a:pos x="connsiteX1" y="connsiteY1"/>
                </a:cxn>
                <a:cxn ang="0">
                  <a:pos x="connsiteX2" y="connsiteY2"/>
                </a:cxn>
                <a:cxn ang="0">
                  <a:pos x="connsiteX3" y="connsiteY3"/>
                </a:cxn>
              </a:cxnLst>
              <a:rect l="l" t="t" r="r" b="b"/>
              <a:pathLst>
                <a:path w="11857" h="14437">
                  <a:moveTo>
                    <a:pt x="0" y="0"/>
                  </a:moveTo>
                  <a:cubicBezTo>
                    <a:pt x="0" y="0"/>
                    <a:pt x="13185" y="5549"/>
                    <a:pt x="11748" y="9926"/>
                  </a:cubicBezTo>
                  <a:cubicBezTo>
                    <a:pt x="10336" y="14332"/>
                    <a:pt x="8263" y="14438"/>
                    <a:pt x="8263" y="14438"/>
                  </a:cubicBez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97" name="Freihandform: Form 396">
              <a:extLst>
                <a:ext uri="{FF2B5EF4-FFF2-40B4-BE49-F238E27FC236}">
                  <a16:creationId xmlns:a16="http://schemas.microsoft.com/office/drawing/2014/main" id="{29F3913A-F880-24ED-D955-7605FF313C81}"/>
                </a:ext>
              </a:extLst>
            </p:cNvPr>
            <p:cNvSpPr/>
            <p:nvPr/>
          </p:nvSpPr>
          <p:spPr>
            <a:xfrm>
              <a:off x="4938880" y="2512971"/>
              <a:ext cx="15873" cy="46039"/>
            </a:xfrm>
            <a:custGeom>
              <a:avLst/>
              <a:gdLst>
                <a:gd name="connsiteX0" fmla="*/ 2704 w 12895"/>
                <a:gd name="connsiteY0" fmla="*/ 0 h 36425"/>
                <a:gd name="connsiteX1" fmla="*/ 12789 w 12895"/>
                <a:gd name="connsiteY1" fmla="*/ 15744 h 36425"/>
                <a:gd name="connsiteX2" fmla="*/ 12789 w 12895"/>
                <a:gd name="connsiteY2" fmla="*/ 29840 h 36425"/>
                <a:gd name="connsiteX3" fmla="*/ 10466 w 12895"/>
                <a:gd name="connsiteY3" fmla="*/ 36425 h 36425"/>
                <a:gd name="connsiteX4" fmla="*/ 6599 w 12895"/>
                <a:gd name="connsiteY4" fmla="*/ 29450 h 36425"/>
                <a:gd name="connsiteX5" fmla="*/ 0 w 12895"/>
                <a:gd name="connsiteY5" fmla="*/ 25564 h 36425"/>
                <a:gd name="connsiteX6" fmla="*/ 5823 w 12895"/>
                <a:gd name="connsiteY6" fmla="*/ 24913 h 36425"/>
                <a:gd name="connsiteX7" fmla="*/ 3751 w 12895"/>
                <a:gd name="connsiteY7" fmla="*/ 16000 h 36425"/>
                <a:gd name="connsiteX8" fmla="*/ 2704 w 12895"/>
                <a:gd name="connsiteY8" fmla="*/ 0 h 36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95" h="36425">
                  <a:moveTo>
                    <a:pt x="2704" y="0"/>
                  </a:moveTo>
                  <a:cubicBezTo>
                    <a:pt x="2704" y="0"/>
                    <a:pt x="8017" y="14978"/>
                    <a:pt x="12789" y="15744"/>
                  </a:cubicBezTo>
                  <a:cubicBezTo>
                    <a:pt x="12269" y="22204"/>
                    <a:pt x="13194" y="29320"/>
                    <a:pt x="12789" y="29840"/>
                  </a:cubicBezTo>
                  <a:cubicBezTo>
                    <a:pt x="12418" y="30346"/>
                    <a:pt x="10466" y="36425"/>
                    <a:pt x="10466" y="36425"/>
                  </a:cubicBezTo>
                  <a:lnTo>
                    <a:pt x="6599" y="29450"/>
                  </a:lnTo>
                  <a:lnTo>
                    <a:pt x="0" y="25564"/>
                  </a:lnTo>
                  <a:lnTo>
                    <a:pt x="5823" y="24913"/>
                  </a:lnTo>
                  <a:cubicBezTo>
                    <a:pt x="5823" y="24913"/>
                    <a:pt x="5452" y="20531"/>
                    <a:pt x="3751" y="16000"/>
                  </a:cubicBezTo>
                  <a:cubicBezTo>
                    <a:pt x="2073" y="11483"/>
                    <a:pt x="786" y="4642"/>
                    <a:pt x="2704"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98" name="Freihandform: Form 397">
              <a:extLst>
                <a:ext uri="{FF2B5EF4-FFF2-40B4-BE49-F238E27FC236}">
                  <a16:creationId xmlns:a16="http://schemas.microsoft.com/office/drawing/2014/main" id="{BEC95C01-2E9F-06BF-5C71-BCD95373BF53}"/>
                </a:ext>
              </a:extLst>
            </p:cNvPr>
            <p:cNvSpPr/>
            <p:nvPr/>
          </p:nvSpPr>
          <p:spPr>
            <a:xfrm>
              <a:off x="5021421" y="2568535"/>
              <a:ext cx="9524" cy="9525"/>
            </a:xfrm>
            <a:custGeom>
              <a:avLst/>
              <a:gdLst>
                <a:gd name="connsiteX0" fmla="*/ 1408 w 8006"/>
                <a:gd name="connsiteY0" fmla="*/ 0 h 7886"/>
                <a:gd name="connsiteX1" fmla="*/ 8007 w 8006"/>
                <a:gd name="connsiteY1" fmla="*/ 4276 h 7886"/>
                <a:gd name="connsiteX2" fmla="*/ 6734 w 8006"/>
                <a:gd name="connsiteY2" fmla="*/ 7887 h 7886"/>
                <a:gd name="connsiteX3" fmla="*/ 0 w 8006"/>
                <a:gd name="connsiteY3" fmla="*/ 6354 h 7886"/>
              </a:gdLst>
              <a:ahLst/>
              <a:cxnLst>
                <a:cxn ang="0">
                  <a:pos x="connsiteX0" y="connsiteY0"/>
                </a:cxn>
                <a:cxn ang="0">
                  <a:pos x="connsiteX1" y="connsiteY1"/>
                </a:cxn>
                <a:cxn ang="0">
                  <a:pos x="connsiteX2" y="connsiteY2"/>
                </a:cxn>
                <a:cxn ang="0">
                  <a:pos x="connsiteX3" y="connsiteY3"/>
                </a:cxn>
              </a:cxnLst>
              <a:rect l="l" t="t" r="r" b="b"/>
              <a:pathLst>
                <a:path w="8006" h="7886">
                  <a:moveTo>
                    <a:pt x="1408" y="0"/>
                  </a:moveTo>
                  <a:lnTo>
                    <a:pt x="8007" y="4276"/>
                  </a:lnTo>
                  <a:lnTo>
                    <a:pt x="6734" y="7887"/>
                  </a:lnTo>
                  <a:lnTo>
                    <a:pt x="0" y="635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99" name="Freihandform: Form 398">
              <a:extLst>
                <a:ext uri="{FF2B5EF4-FFF2-40B4-BE49-F238E27FC236}">
                  <a16:creationId xmlns:a16="http://schemas.microsoft.com/office/drawing/2014/main" id="{3D17DC45-D32C-26C6-1DEA-639A044CDA8C}"/>
                </a:ext>
              </a:extLst>
            </p:cNvPr>
            <p:cNvSpPr/>
            <p:nvPr/>
          </p:nvSpPr>
          <p:spPr>
            <a:xfrm>
              <a:off x="4959515" y="2570123"/>
              <a:ext cx="6349" cy="22226"/>
            </a:xfrm>
            <a:custGeom>
              <a:avLst/>
              <a:gdLst>
                <a:gd name="connsiteX0" fmla="*/ 1793 w 5027"/>
                <a:gd name="connsiteY0" fmla="*/ 0 h 16911"/>
                <a:gd name="connsiteX1" fmla="*/ 5028 w 5027"/>
                <a:gd name="connsiteY1" fmla="*/ 7086 h 16911"/>
                <a:gd name="connsiteX2" fmla="*/ 1412 w 5027"/>
                <a:gd name="connsiteY2" fmla="*/ 16911 h 16911"/>
                <a:gd name="connsiteX3" fmla="*/ 0 w 5027"/>
                <a:gd name="connsiteY3" fmla="*/ 9309 h 16911"/>
              </a:gdLst>
              <a:ahLst/>
              <a:cxnLst>
                <a:cxn ang="0">
                  <a:pos x="connsiteX0" y="connsiteY0"/>
                </a:cxn>
                <a:cxn ang="0">
                  <a:pos x="connsiteX1" y="connsiteY1"/>
                </a:cxn>
                <a:cxn ang="0">
                  <a:pos x="connsiteX2" y="connsiteY2"/>
                </a:cxn>
                <a:cxn ang="0">
                  <a:pos x="connsiteX3" y="connsiteY3"/>
                </a:cxn>
              </a:cxnLst>
              <a:rect l="l" t="t" r="r" b="b"/>
              <a:pathLst>
                <a:path w="5027" h="16911">
                  <a:moveTo>
                    <a:pt x="1793" y="0"/>
                  </a:moveTo>
                  <a:lnTo>
                    <a:pt x="5028" y="7086"/>
                  </a:lnTo>
                  <a:lnTo>
                    <a:pt x="1412" y="16911"/>
                  </a:lnTo>
                  <a:lnTo>
                    <a:pt x="0" y="930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00" name="Freihandform: Form 399">
              <a:extLst>
                <a:ext uri="{FF2B5EF4-FFF2-40B4-BE49-F238E27FC236}">
                  <a16:creationId xmlns:a16="http://schemas.microsoft.com/office/drawing/2014/main" id="{29CD8BC4-183A-7B20-A6B0-5FDF3DDBF2C5}"/>
                </a:ext>
              </a:extLst>
            </p:cNvPr>
            <p:cNvSpPr/>
            <p:nvPr/>
          </p:nvSpPr>
          <p:spPr>
            <a:xfrm>
              <a:off x="4948404" y="2589174"/>
              <a:ext cx="7936" cy="6350"/>
            </a:xfrm>
            <a:custGeom>
              <a:avLst/>
              <a:gdLst>
                <a:gd name="connsiteX0" fmla="*/ 390 w 6329"/>
                <a:gd name="connsiteY0" fmla="*/ 0 h 4912"/>
                <a:gd name="connsiteX1" fmla="*/ 6330 w 6329"/>
                <a:gd name="connsiteY1" fmla="*/ 1417 h 4912"/>
                <a:gd name="connsiteX2" fmla="*/ 6195 w 6329"/>
                <a:gd name="connsiteY2" fmla="*/ 4912 h 4912"/>
                <a:gd name="connsiteX3" fmla="*/ 0 w 6329"/>
                <a:gd name="connsiteY3" fmla="*/ 2073 h 4912"/>
              </a:gdLst>
              <a:ahLst/>
              <a:cxnLst>
                <a:cxn ang="0">
                  <a:pos x="connsiteX0" y="connsiteY0"/>
                </a:cxn>
                <a:cxn ang="0">
                  <a:pos x="connsiteX1" y="connsiteY1"/>
                </a:cxn>
                <a:cxn ang="0">
                  <a:pos x="connsiteX2" y="connsiteY2"/>
                </a:cxn>
                <a:cxn ang="0">
                  <a:pos x="connsiteX3" y="connsiteY3"/>
                </a:cxn>
              </a:cxnLst>
              <a:rect l="l" t="t" r="r" b="b"/>
              <a:pathLst>
                <a:path w="6329" h="4912">
                  <a:moveTo>
                    <a:pt x="390" y="0"/>
                  </a:moveTo>
                  <a:lnTo>
                    <a:pt x="6330" y="1417"/>
                  </a:lnTo>
                  <a:lnTo>
                    <a:pt x="6195" y="4912"/>
                  </a:lnTo>
                  <a:lnTo>
                    <a:pt x="0" y="207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01" name="Freihandform: Form 400">
              <a:extLst>
                <a:ext uri="{FF2B5EF4-FFF2-40B4-BE49-F238E27FC236}">
                  <a16:creationId xmlns:a16="http://schemas.microsoft.com/office/drawing/2014/main" id="{6A9636A0-1E26-F26F-C5DA-FAEAE0ACF5EB}"/>
                </a:ext>
              </a:extLst>
            </p:cNvPr>
            <p:cNvSpPr/>
            <p:nvPr/>
          </p:nvSpPr>
          <p:spPr>
            <a:xfrm>
              <a:off x="4967452" y="2582823"/>
              <a:ext cx="9524" cy="9525"/>
            </a:xfrm>
            <a:custGeom>
              <a:avLst/>
              <a:gdLst>
                <a:gd name="connsiteX0" fmla="*/ 6725 w 6724"/>
                <a:gd name="connsiteY0" fmla="*/ 0 h 8397"/>
                <a:gd name="connsiteX1" fmla="*/ 0 w 6724"/>
                <a:gd name="connsiteY1" fmla="*/ 2979 h 8397"/>
                <a:gd name="connsiteX2" fmla="*/ 2839 w 6724"/>
                <a:gd name="connsiteY2" fmla="*/ 8398 h 8397"/>
              </a:gdLst>
              <a:ahLst/>
              <a:cxnLst>
                <a:cxn ang="0">
                  <a:pos x="connsiteX0" y="connsiteY0"/>
                </a:cxn>
                <a:cxn ang="0">
                  <a:pos x="connsiteX1" y="connsiteY1"/>
                </a:cxn>
                <a:cxn ang="0">
                  <a:pos x="connsiteX2" y="connsiteY2"/>
                </a:cxn>
              </a:cxnLst>
              <a:rect l="l" t="t" r="r" b="b"/>
              <a:pathLst>
                <a:path w="6724" h="8397">
                  <a:moveTo>
                    <a:pt x="6725" y="0"/>
                  </a:moveTo>
                  <a:lnTo>
                    <a:pt x="0" y="2979"/>
                  </a:lnTo>
                  <a:lnTo>
                    <a:pt x="2839" y="839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02" name="Freihandform: Form 401">
              <a:extLst>
                <a:ext uri="{FF2B5EF4-FFF2-40B4-BE49-F238E27FC236}">
                  <a16:creationId xmlns:a16="http://schemas.microsoft.com/office/drawing/2014/main" id="{648A4E63-55EB-F31D-C0A9-C70A128A2190}"/>
                </a:ext>
              </a:extLst>
            </p:cNvPr>
            <p:cNvSpPr/>
            <p:nvPr/>
          </p:nvSpPr>
          <p:spPr>
            <a:xfrm>
              <a:off x="4973801" y="2579648"/>
              <a:ext cx="25397" cy="30163"/>
            </a:xfrm>
            <a:custGeom>
              <a:avLst/>
              <a:gdLst>
                <a:gd name="connsiteX0" fmla="*/ 5809 w 19680"/>
                <a:gd name="connsiteY0" fmla="*/ 11112 h 24391"/>
                <a:gd name="connsiteX1" fmla="*/ 5043 w 19680"/>
                <a:gd name="connsiteY1" fmla="*/ 4518 h 24391"/>
                <a:gd name="connsiteX2" fmla="*/ 17678 w 19680"/>
                <a:gd name="connsiteY2" fmla="*/ 261 h 24391"/>
                <a:gd name="connsiteX3" fmla="*/ 18965 w 19680"/>
                <a:gd name="connsiteY3" fmla="*/ 12298 h 24391"/>
                <a:gd name="connsiteX4" fmla="*/ 15499 w 19680"/>
                <a:gd name="connsiteY4" fmla="*/ 18098 h 24391"/>
                <a:gd name="connsiteX5" fmla="*/ 13831 w 19680"/>
                <a:gd name="connsiteY5" fmla="*/ 23786 h 24391"/>
                <a:gd name="connsiteX6" fmla="*/ 7882 w 19680"/>
                <a:gd name="connsiteY6" fmla="*/ 23531 h 24391"/>
                <a:gd name="connsiteX7" fmla="*/ 0 w 19680"/>
                <a:gd name="connsiteY7" fmla="*/ 11382 h 24391"/>
                <a:gd name="connsiteX8" fmla="*/ 5809 w 19680"/>
                <a:gd name="connsiteY8" fmla="*/ 11112 h 2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80" h="24391">
                  <a:moveTo>
                    <a:pt x="5809" y="11112"/>
                  </a:moveTo>
                  <a:lnTo>
                    <a:pt x="5043" y="4518"/>
                  </a:lnTo>
                  <a:cubicBezTo>
                    <a:pt x="5043" y="4518"/>
                    <a:pt x="17032" y="-1282"/>
                    <a:pt x="17678" y="261"/>
                  </a:cubicBezTo>
                  <a:cubicBezTo>
                    <a:pt x="18314" y="1813"/>
                    <a:pt x="20922" y="9314"/>
                    <a:pt x="18965" y="12298"/>
                  </a:cubicBezTo>
                  <a:cubicBezTo>
                    <a:pt x="17036" y="15244"/>
                    <a:pt x="15499" y="15519"/>
                    <a:pt x="15499" y="18098"/>
                  </a:cubicBezTo>
                  <a:cubicBezTo>
                    <a:pt x="15499" y="20686"/>
                    <a:pt x="15643" y="23396"/>
                    <a:pt x="13831" y="23786"/>
                  </a:cubicBezTo>
                  <a:cubicBezTo>
                    <a:pt x="11999" y="24157"/>
                    <a:pt x="8007" y="25064"/>
                    <a:pt x="7882" y="23531"/>
                  </a:cubicBezTo>
                  <a:cubicBezTo>
                    <a:pt x="7742" y="21978"/>
                    <a:pt x="0" y="11382"/>
                    <a:pt x="0" y="11382"/>
                  </a:cubicBezTo>
                  <a:lnTo>
                    <a:pt x="5809" y="1111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03" name="Freihandform: Form 402">
              <a:extLst>
                <a:ext uri="{FF2B5EF4-FFF2-40B4-BE49-F238E27FC236}">
                  <a16:creationId xmlns:a16="http://schemas.microsoft.com/office/drawing/2014/main" id="{6CA0FD9E-DCF1-06F8-524E-715BF2904FD0}"/>
                </a:ext>
              </a:extLst>
            </p:cNvPr>
            <p:cNvSpPr/>
            <p:nvPr/>
          </p:nvSpPr>
          <p:spPr>
            <a:xfrm>
              <a:off x="4997611" y="2627275"/>
              <a:ext cx="11112" cy="9525"/>
            </a:xfrm>
            <a:custGeom>
              <a:avLst/>
              <a:gdLst>
                <a:gd name="connsiteX0" fmla="*/ 0 w 8744"/>
                <a:gd name="connsiteY0" fmla="*/ 0 h 8363"/>
                <a:gd name="connsiteX1" fmla="*/ 2324 w 8744"/>
                <a:gd name="connsiteY1" fmla="*/ 7347 h 8363"/>
                <a:gd name="connsiteX2" fmla="*/ 8745 w 8744"/>
                <a:gd name="connsiteY2" fmla="*/ 8364 h 8363"/>
              </a:gdLst>
              <a:ahLst/>
              <a:cxnLst>
                <a:cxn ang="0">
                  <a:pos x="connsiteX0" y="connsiteY0"/>
                </a:cxn>
                <a:cxn ang="0">
                  <a:pos x="connsiteX1" y="connsiteY1"/>
                </a:cxn>
                <a:cxn ang="0">
                  <a:pos x="connsiteX2" y="connsiteY2"/>
                </a:cxn>
              </a:cxnLst>
              <a:rect l="l" t="t" r="r" b="b"/>
              <a:pathLst>
                <a:path w="8744" h="8363">
                  <a:moveTo>
                    <a:pt x="0" y="0"/>
                  </a:moveTo>
                  <a:lnTo>
                    <a:pt x="2324" y="7347"/>
                  </a:lnTo>
                  <a:lnTo>
                    <a:pt x="8745" y="836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04" name="Freihandform: Form 403">
              <a:extLst>
                <a:ext uri="{FF2B5EF4-FFF2-40B4-BE49-F238E27FC236}">
                  <a16:creationId xmlns:a16="http://schemas.microsoft.com/office/drawing/2014/main" id="{06710519-E210-067A-6A80-3AEAAB85677E}"/>
                </a:ext>
              </a:extLst>
            </p:cNvPr>
            <p:cNvSpPr/>
            <p:nvPr/>
          </p:nvSpPr>
          <p:spPr>
            <a:xfrm>
              <a:off x="4964277" y="2598699"/>
              <a:ext cx="20635" cy="39689"/>
            </a:xfrm>
            <a:custGeom>
              <a:avLst/>
              <a:gdLst>
                <a:gd name="connsiteX0" fmla="*/ 3033 w 15603"/>
                <a:gd name="connsiteY0" fmla="*/ 0 h 31006"/>
                <a:gd name="connsiteX1" fmla="*/ 15186 w 15603"/>
                <a:gd name="connsiteY1" fmla="*/ 13561 h 31006"/>
                <a:gd name="connsiteX2" fmla="*/ 14511 w 15603"/>
                <a:gd name="connsiteY2" fmla="*/ 25988 h 31006"/>
                <a:gd name="connsiteX3" fmla="*/ 8066 w 15603"/>
                <a:gd name="connsiteY3" fmla="*/ 31007 h 31006"/>
                <a:gd name="connsiteX4" fmla="*/ 3033 w 15603"/>
                <a:gd name="connsiteY4" fmla="*/ 0 h 31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03" h="31006">
                  <a:moveTo>
                    <a:pt x="3033" y="0"/>
                  </a:moveTo>
                  <a:cubicBezTo>
                    <a:pt x="3033" y="0"/>
                    <a:pt x="14280" y="6354"/>
                    <a:pt x="15186" y="13561"/>
                  </a:cubicBezTo>
                  <a:cubicBezTo>
                    <a:pt x="16063" y="20811"/>
                    <a:pt x="15422" y="24802"/>
                    <a:pt x="14511" y="25988"/>
                  </a:cubicBezTo>
                  <a:cubicBezTo>
                    <a:pt x="13624" y="27141"/>
                    <a:pt x="8066" y="31007"/>
                    <a:pt x="8066" y="31007"/>
                  </a:cubicBezTo>
                  <a:cubicBezTo>
                    <a:pt x="8066" y="31007"/>
                    <a:pt x="-6016" y="17822"/>
                    <a:pt x="3033"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05" name="Freihandform: Form 404">
              <a:extLst>
                <a:ext uri="{FF2B5EF4-FFF2-40B4-BE49-F238E27FC236}">
                  <a16:creationId xmlns:a16="http://schemas.microsoft.com/office/drawing/2014/main" id="{E210BAC3-A71A-3BA9-89A1-D7CFBC166A5C}"/>
                </a:ext>
              </a:extLst>
            </p:cNvPr>
            <p:cNvSpPr/>
            <p:nvPr/>
          </p:nvSpPr>
          <p:spPr>
            <a:xfrm>
              <a:off x="4948404" y="2616162"/>
              <a:ext cx="19048" cy="42865"/>
            </a:xfrm>
            <a:custGeom>
              <a:avLst/>
              <a:gdLst>
                <a:gd name="connsiteX0" fmla="*/ 4671 w 14110"/>
                <a:gd name="connsiteY0" fmla="*/ 0 h 33585"/>
                <a:gd name="connsiteX1" fmla="*/ 12269 w 14110"/>
                <a:gd name="connsiteY1" fmla="*/ 24957 h 33585"/>
                <a:gd name="connsiteX2" fmla="*/ 12269 w 14110"/>
                <a:gd name="connsiteY2" fmla="*/ 18357 h 33585"/>
                <a:gd name="connsiteX3" fmla="*/ 6074 w 14110"/>
                <a:gd name="connsiteY3" fmla="*/ 20305 h 33585"/>
                <a:gd name="connsiteX4" fmla="*/ 6330 w 14110"/>
                <a:gd name="connsiteY4" fmla="*/ 27907 h 33585"/>
                <a:gd name="connsiteX5" fmla="*/ 405 w 14110"/>
                <a:gd name="connsiteY5" fmla="*/ 33586 h 33585"/>
                <a:gd name="connsiteX6" fmla="*/ 5293 w 14110"/>
                <a:gd name="connsiteY6" fmla="*/ 14747 h 33585"/>
                <a:gd name="connsiteX7" fmla="*/ 0 w 14110"/>
                <a:gd name="connsiteY7" fmla="*/ 9545 h 33585"/>
                <a:gd name="connsiteX8" fmla="*/ 5187 w 14110"/>
                <a:gd name="connsiteY8" fmla="*/ 6455 h 33585"/>
                <a:gd name="connsiteX9" fmla="*/ 4671 w 14110"/>
                <a:gd name="connsiteY9" fmla="*/ 0 h 3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10" h="33585">
                  <a:moveTo>
                    <a:pt x="4671" y="0"/>
                  </a:moveTo>
                  <a:cubicBezTo>
                    <a:pt x="4671" y="0"/>
                    <a:pt x="19114" y="13816"/>
                    <a:pt x="12269" y="24957"/>
                  </a:cubicBezTo>
                  <a:cubicBezTo>
                    <a:pt x="12534" y="20681"/>
                    <a:pt x="12269" y="18357"/>
                    <a:pt x="12269" y="18357"/>
                  </a:cubicBezTo>
                  <a:lnTo>
                    <a:pt x="6074" y="20305"/>
                  </a:lnTo>
                  <a:cubicBezTo>
                    <a:pt x="6074" y="20305"/>
                    <a:pt x="6860" y="26996"/>
                    <a:pt x="6330" y="27907"/>
                  </a:cubicBezTo>
                  <a:cubicBezTo>
                    <a:pt x="5818" y="28799"/>
                    <a:pt x="405" y="33586"/>
                    <a:pt x="405" y="33586"/>
                  </a:cubicBezTo>
                  <a:cubicBezTo>
                    <a:pt x="405" y="33586"/>
                    <a:pt x="-1393" y="19640"/>
                    <a:pt x="5293" y="14747"/>
                  </a:cubicBezTo>
                  <a:cubicBezTo>
                    <a:pt x="2087" y="12148"/>
                    <a:pt x="0" y="9545"/>
                    <a:pt x="0" y="9545"/>
                  </a:cubicBezTo>
                  <a:lnTo>
                    <a:pt x="5187" y="6455"/>
                  </a:lnTo>
                  <a:lnTo>
                    <a:pt x="4671"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06" name="Freihandform: Form 405">
              <a:extLst>
                <a:ext uri="{FF2B5EF4-FFF2-40B4-BE49-F238E27FC236}">
                  <a16:creationId xmlns:a16="http://schemas.microsoft.com/office/drawing/2014/main" id="{3BD6BC9F-0858-55DF-0484-E5BF2AF3B14E}"/>
                </a:ext>
              </a:extLst>
            </p:cNvPr>
            <p:cNvSpPr/>
            <p:nvPr/>
          </p:nvSpPr>
          <p:spPr>
            <a:xfrm>
              <a:off x="5011897" y="2716178"/>
              <a:ext cx="12699" cy="11112"/>
            </a:xfrm>
            <a:custGeom>
              <a:avLst/>
              <a:gdLst>
                <a:gd name="connsiteX0" fmla="*/ 4387 w 9474"/>
                <a:gd name="connsiteY0" fmla="*/ 0 h 8867"/>
                <a:gd name="connsiteX1" fmla="*/ 9425 w 9474"/>
                <a:gd name="connsiteY1" fmla="*/ 2796 h 8867"/>
                <a:gd name="connsiteX2" fmla="*/ 6069 w 9474"/>
                <a:gd name="connsiteY2" fmla="*/ 7593 h 8867"/>
                <a:gd name="connsiteX3" fmla="*/ 646 w 9474"/>
                <a:gd name="connsiteY3" fmla="*/ 8388 h 8867"/>
                <a:gd name="connsiteX4" fmla="*/ 0 w 9474"/>
                <a:gd name="connsiteY4" fmla="*/ 2565 h 8867"/>
                <a:gd name="connsiteX5" fmla="*/ 4387 w 9474"/>
                <a:gd name="connsiteY5" fmla="*/ 0 h 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74" h="8867">
                  <a:moveTo>
                    <a:pt x="4387" y="0"/>
                  </a:moveTo>
                  <a:cubicBezTo>
                    <a:pt x="4387" y="0"/>
                    <a:pt x="10061" y="2039"/>
                    <a:pt x="9425" y="2796"/>
                  </a:cubicBezTo>
                  <a:cubicBezTo>
                    <a:pt x="8798" y="3596"/>
                    <a:pt x="7217" y="7458"/>
                    <a:pt x="6069" y="7593"/>
                  </a:cubicBezTo>
                  <a:cubicBezTo>
                    <a:pt x="4922" y="7723"/>
                    <a:pt x="506" y="9776"/>
                    <a:pt x="646" y="8388"/>
                  </a:cubicBezTo>
                  <a:cubicBezTo>
                    <a:pt x="771" y="6961"/>
                    <a:pt x="0" y="2565"/>
                    <a:pt x="0" y="2565"/>
                  </a:cubicBezTo>
                  <a:lnTo>
                    <a:pt x="4387"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07" name="Freihandform: Form 406">
              <a:extLst>
                <a:ext uri="{FF2B5EF4-FFF2-40B4-BE49-F238E27FC236}">
                  <a16:creationId xmlns:a16="http://schemas.microsoft.com/office/drawing/2014/main" id="{C3E657B3-AF02-2734-6E4E-B219968BB008}"/>
                </a:ext>
              </a:extLst>
            </p:cNvPr>
            <p:cNvSpPr/>
            <p:nvPr/>
          </p:nvSpPr>
          <p:spPr>
            <a:xfrm>
              <a:off x="4983325" y="2741579"/>
              <a:ext cx="15873" cy="11112"/>
            </a:xfrm>
            <a:custGeom>
              <a:avLst/>
              <a:gdLst>
                <a:gd name="connsiteX0" fmla="*/ 0 w 11791"/>
                <a:gd name="connsiteY0" fmla="*/ 0 h 8706"/>
                <a:gd name="connsiteX1" fmla="*/ 5689 w 11791"/>
                <a:gd name="connsiteY1" fmla="*/ 2834 h 8706"/>
                <a:gd name="connsiteX2" fmla="*/ 11792 w 11791"/>
                <a:gd name="connsiteY2" fmla="*/ 8706 h 8706"/>
                <a:gd name="connsiteX3" fmla="*/ 5033 w 11791"/>
                <a:gd name="connsiteY3" fmla="*/ 5958 h 8706"/>
              </a:gdLst>
              <a:ahLst/>
              <a:cxnLst>
                <a:cxn ang="0">
                  <a:pos x="connsiteX0" y="connsiteY0"/>
                </a:cxn>
                <a:cxn ang="0">
                  <a:pos x="connsiteX1" y="connsiteY1"/>
                </a:cxn>
                <a:cxn ang="0">
                  <a:pos x="connsiteX2" y="connsiteY2"/>
                </a:cxn>
                <a:cxn ang="0">
                  <a:pos x="connsiteX3" y="connsiteY3"/>
                </a:cxn>
              </a:cxnLst>
              <a:rect l="l" t="t" r="r" b="b"/>
              <a:pathLst>
                <a:path w="11791" h="8706">
                  <a:moveTo>
                    <a:pt x="0" y="0"/>
                  </a:moveTo>
                  <a:lnTo>
                    <a:pt x="5689" y="2834"/>
                  </a:lnTo>
                  <a:lnTo>
                    <a:pt x="11792" y="8706"/>
                  </a:lnTo>
                  <a:lnTo>
                    <a:pt x="5033" y="595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08" name="Freihandform: Form 407">
              <a:extLst>
                <a:ext uri="{FF2B5EF4-FFF2-40B4-BE49-F238E27FC236}">
                  <a16:creationId xmlns:a16="http://schemas.microsoft.com/office/drawing/2014/main" id="{68B1DDD7-729E-30CF-184B-67429CD45565}"/>
                </a:ext>
              </a:extLst>
            </p:cNvPr>
            <p:cNvSpPr/>
            <p:nvPr/>
          </p:nvSpPr>
          <p:spPr>
            <a:xfrm>
              <a:off x="4946816" y="2693953"/>
              <a:ext cx="14286" cy="42864"/>
            </a:xfrm>
            <a:custGeom>
              <a:avLst/>
              <a:gdLst>
                <a:gd name="connsiteX0" fmla="*/ 5305 w 10853"/>
                <a:gd name="connsiteY0" fmla="*/ 0 h 34319"/>
                <a:gd name="connsiteX1" fmla="*/ 8550 w 10853"/>
                <a:gd name="connsiteY1" fmla="*/ 5404 h 34319"/>
                <a:gd name="connsiteX2" fmla="*/ 10608 w 10853"/>
                <a:gd name="connsiteY2" fmla="*/ 18217 h 34319"/>
                <a:gd name="connsiteX3" fmla="*/ 6872 w 10853"/>
                <a:gd name="connsiteY3" fmla="*/ 34102 h 34319"/>
                <a:gd name="connsiteX4" fmla="*/ 7 w 10853"/>
                <a:gd name="connsiteY4" fmla="*/ 29551 h 34319"/>
                <a:gd name="connsiteX5" fmla="*/ 3001 w 10853"/>
                <a:gd name="connsiteY5" fmla="*/ 12775 h 34319"/>
                <a:gd name="connsiteX6" fmla="*/ 5305 w 10853"/>
                <a:gd name="connsiteY6" fmla="*/ 0 h 3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53" h="34319">
                  <a:moveTo>
                    <a:pt x="5305" y="0"/>
                  </a:moveTo>
                  <a:cubicBezTo>
                    <a:pt x="5305" y="0"/>
                    <a:pt x="8950" y="2844"/>
                    <a:pt x="8550" y="5404"/>
                  </a:cubicBezTo>
                  <a:cubicBezTo>
                    <a:pt x="8140" y="8007"/>
                    <a:pt x="9330" y="15503"/>
                    <a:pt x="10608" y="18217"/>
                  </a:cubicBezTo>
                  <a:cubicBezTo>
                    <a:pt x="11890" y="20922"/>
                    <a:pt x="7769" y="33056"/>
                    <a:pt x="6872" y="34102"/>
                  </a:cubicBezTo>
                  <a:cubicBezTo>
                    <a:pt x="5946" y="35138"/>
                    <a:pt x="-239" y="32280"/>
                    <a:pt x="7" y="29551"/>
                  </a:cubicBezTo>
                  <a:cubicBezTo>
                    <a:pt x="277" y="26856"/>
                    <a:pt x="-239" y="19355"/>
                    <a:pt x="3001" y="12775"/>
                  </a:cubicBezTo>
                  <a:cubicBezTo>
                    <a:pt x="3902" y="7482"/>
                    <a:pt x="5305" y="0"/>
                    <a:pt x="5305"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09" name="Freihandform: Form 408">
              <a:extLst>
                <a:ext uri="{FF2B5EF4-FFF2-40B4-BE49-F238E27FC236}">
                  <a16:creationId xmlns:a16="http://schemas.microsoft.com/office/drawing/2014/main" id="{97B13FF8-0C56-B103-7659-B404EBD7CF21}"/>
                </a:ext>
              </a:extLst>
            </p:cNvPr>
            <p:cNvSpPr/>
            <p:nvPr/>
          </p:nvSpPr>
          <p:spPr>
            <a:xfrm>
              <a:off x="4964277" y="2720941"/>
              <a:ext cx="9524" cy="11113"/>
            </a:xfrm>
            <a:custGeom>
              <a:avLst/>
              <a:gdLst>
                <a:gd name="connsiteX0" fmla="*/ 2473 w 6975"/>
                <a:gd name="connsiteY0" fmla="*/ 0 h 8894"/>
                <a:gd name="connsiteX1" fmla="*/ 6976 w 6975"/>
                <a:gd name="connsiteY1" fmla="*/ 8894 h 8894"/>
                <a:gd name="connsiteX2" fmla="*/ 0 w 6975"/>
                <a:gd name="connsiteY2" fmla="*/ 6301 h 8894"/>
              </a:gdLst>
              <a:ahLst/>
              <a:cxnLst>
                <a:cxn ang="0">
                  <a:pos x="connsiteX0" y="connsiteY0"/>
                </a:cxn>
                <a:cxn ang="0">
                  <a:pos x="connsiteX1" y="connsiteY1"/>
                </a:cxn>
                <a:cxn ang="0">
                  <a:pos x="connsiteX2" y="connsiteY2"/>
                </a:cxn>
              </a:cxnLst>
              <a:rect l="l" t="t" r="r" b="b"/>
              <a:pathLst>
                <a:path w="6975" h="8894">
                  <a:moveTo>
                    <a:pt x="2473" y="0"/>
                  </a:moveTo>
                  <a:lnTo>
                    <a:pt x="6976" y="8894"/>
                  </a:lnTo>
                  <a:lnTo>
                    <a:pt x="0" y="630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10" name="Freihandform: Form 409">
              <a:extLst>
                <a:ext uri="{FF2B5EF4-FFF2-40B4-BE49-F238E27FC236}">
                  <a16:creationId xmlns:a16="http://schemas.microsoft.com/office/drawing/2014/main" id="{648EF8CE-FBBD-E880-05A1-5BB323E7B73D}"/>
                </a:ext>
              </a:extLst>
            </p:cNvPr>
            <p:cNvSpPr/>
            <p:nvPr/>
          </p:nvSpPr>
          <p:spPr>
            <a:xfrm>
              <a:off x="5265868" y="2859059"/>
              <a:ext cx="11111" cy="9525"/>
            </a:xfrm>
            <a:custGeom>
              <a:avLst/>
              <a:gdLst>
                <a:gd name="connsiteX0" fmla="*/ 8798 w 8797"/>
                <a:gd name="connsiteY0" fmla="*/ 0 h 7607"/>
                <a:gd name="connsiteX1" fmla="*/ 0 w 8797"/>
                <a:gd name="connsiteY1" fmla="*/ 6079 h 7607"/>
                <a:gd name="connsiteX2" fmla="*/ 6204 w 8797"/>
                <a:gd name="connsiteY2" fmla="*/ 6691 h 7607"/>
                <a:gd name="connsiteX3" fmla="*/ 8798 w 8797"/>
                <a:gd name="connsiteY3" fmla="*/ 0 h 7607"/>
              </a:gdLst>
              <a:ahLst/>
              <a:cxnLst>
                <a:cxn ang="0">
                  <a:pos x="connsiteX0" y="connsiteY0"/>
                </a:cxn>
                <a:cxn ang="0">
                  <a:pos x="connsiteX1" y="connsiteY1"/>
                </a:cxn>
                <a:cxn ang="0">
                  <a:pos x="connsiteX2" y="connsiteY2"/>
                </a:cxn>
                <a:cxn ang="0">
                  <a:pos x="connsiteX3" y="connsiteY3"/>
                </a:cxn>
              </a:cxnLst>
              <a:rect l="l" t="t" r="r" b="b"/>
              <a:pathLst>
                <a:path w="8797" h="7607">
                  <a:moveTo>
                    <a:pt x="8798" y="0"/>
                  </a:moveTo>
                  <a:cubicBezTo>
                    <a:pt x="8798" y="0"/>
                    <a:pt x="3476" y="2444"/>
                    <a:pt x="0" y="6079"/>
                  </a:cubicBezTo>
                  <a:cubicBezTo>
                    <a:pt x="1658" y="6971"/>
                    <a:pt x="5404" y="8663"/>
                    <a:pt x="6204" y="6691"/>
                  </a:cubicBezTo>
                  <a:cubicBezTo>
                    <a:pt x="6985" y="4758"/>
                    <a:pt x="8798" y="0"/>
                    <a:pt x="8798"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11" name="Freihandform: Form 410">
              <a:extLst>
                <a:ext uri="{FF2B5EF4-FFF2-40B4-BE49-F238E27FC236}">
                  <a16:creationId xmlns:a16="http://schemas.microsoft.com/office/drawing/2014/main" id="{34BCFAC6-2BA6-76A1-15B1-AD27CF536EDD}"/>
                </a:ext>
              </a:extLst>
            </p:cNvPr>
            <p:cNvSpPr/>
            <p:nvPr/>
          </p:nvSpPr>
          <p:spPr>
            <a:xfrm>
              <a:off x="5445235" y="1941449"/>
              <a:ext cx="14286" cy="12700"/>
            </a:xfrm>
            <a:custGeom>
              <a:avLst/>
              <a:gdLst>
                <a:gd name="connsiteX0" fmla="*/ 11435 w 11434"/>
                <a:gd name="connsiteY0" fmla="*/ 0 h 10808"/>
                <a:gd name="connsiteX1" fmla="*/ 5240 w 11434"/>
                <a:gd name="connsiteY1" fmla="*/ 2762 h 10808"/>
                <a:gd name="connsiteX2" fmla="*/ 0 w 11434"/>
                <a:gd name="connsiteY2" fmla="*/ 10808 h 10808"/>
              </a:gdLst>
              <a:ahLst/>
              <a:cxnLst>
                <a:cxn ang="0">
                  <a:pos x="connsiteX0" y="connsiteY0"/>
                </a:cxn>
                <a:cxn ang="0">
                  <a:pos x="connsiteX1" y="connsiteY1"/>
                </a:cxn>
                <a:cxn ang="0">
                  <a:pos x="connsiteX2" y="connsiteY2"/>
                </a:cxn>
              </a:cxnLst>
              <a:rect l="l" t="t" r="r" b="b"/>
              <a:pathLst>
                <a:path w="11434" h="10808">
                  <a:moveTo>
                    <a:pt x="11435" y="0"/>
                  </a:moveTo>
                  <a:lnTo>
                    <a:pt x="5240" y="2762"/>
                  </a:lnTo>
                  <a:lnTo>
                    <a:pt x="0" y="1080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12" name="Freihandform: Form 411">
              <a:extLst>
                <a:ext uri="{FF2B5EF4-FFF2-40B4-BE49-F238E27FC236}">
                  <a16:creationId xmlns:a16="http://schemas.microsoft.com/office/drawing/2014/main" id="{1F85525A-CB82-4F93-3F8D-ED9ABF946B6D}"/>
                </a:ext>
              </a:extLst>
            </p:cNvPr>
            <p:cNvSpPr/>
            <p:nvPr/>
          </p:nvSpPr>
          <p:spPr>
            <a:xfrm>
              <a:off x="5457934" y="2757455"/>
              <a:ext cx="9524" cy="7937"/>
            </a:xfrm>
            <a:custGeom>
              <a:avLst/>
              <a:gdLst>
                <a:gd name="connsiteX0" fmla="*/ 2198 w 6753"/>
                <a:gd name="connsiteY0" fmla="*/ 0 h 6209"/>
                <a:gd name="connsiteX1" fmla="*/ 6754 w 6753"/>
                <a:gd name="connsiteY1" fmla="*/ 4160 h 6209"/>
                <a:gd name="connsiteX2" fmla="*/ 0 w 6753"/>
                <a:gd name="connsiteY2" fmla="*/ 6209 h 6209"/>
              </a:gdLst>
              <a:ahLst/>
              <a:cxnLst>
                <a:cxn ang="0">
                  <a:pos x="connsiteX0" y="connsiteY0"/>
                </a:cxn>
                <a:cxn ang="0">
                  <a:pos x="connsiteX1" y="connsiteY1"/>
                </a:cxn>
                <a:cxn ang="0">
                  <a:pos x="connsiteX2" y="connsiteY2"/>
                </a:cxn>
              </a:cxnLst>
              <a:rect l="l" t="t" r="r" b="b"/>
              <a:pathLst>
                <a:path w="6753" h="6209">
                  <a:moveTo>
                    <a:pt x="2198" y="0"/>
                  </a:moveTo>
                  <a:lnTo>
                    <a:pt x="6754" y="4160"/>
                  </a:lnTo>
                  <a:lnTo>
                    <a:pt x="0" y="620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13" name="Freihandform: Form 412">
              <a:extLst>
                <a:ext uri="{FF2B5EF4-FFF2-40B4-BE49-F238E27FC236}">
                  <a16:creationId xmlns:a16="http://schemas.microsoft.com/office/drawing/2014/main" id="{84B8AF47-BC68-7957-35AC-0C1AD5AD898A}"/>
                </a:ext>
              </a:extLst>
            </p:cNvPr>
            <p:cNvSpPr/>
            <p:nvPr/>
          </p:nvSpPr>
          <p:spPr>
            <a:xfrm>
              <a:off x="6343659" y="1503283"/>
              <a:ext cx="7937" cy="11112"/>
            </a:xfrm>
            <a:custGeom>
              <a:avLst/>
              <a:gdLst>
                <a:gd name="connsiteX0" fmla="*/ 6571 w 6570"/>
                <a:gd name="connsiteY0" fmla="*/ 0 h 7770"/>
                <a:gd name="connsiteX1" fmla="*/ 0 w 6570"/>
                <a:gd name="connsiteY1" fmla="*/ 1562 h 7770"/>
                <a:gd name="connsiteX2" fmla="*/ 5004 w 6570"/>
                <a:gd name="connsiteY2" fmla="*/ 7771 h 7770"/>
              </a:gdLst>
              <a:ahLst/>
              <a:cxnLst>
                <a:cxn ang="0">
                  <a:pos x="connsiteX0" y="connsiteY0"/>
                </a:cxn>
                <a:cxn ang="0">
                  <a:pos x="connsiteX1" y="connsiteY1"/>
                </a:cxn>
                <a:cxn ang="0">
                  <a:pos x="connsiteX2" y="connsiteY2"/>
                </a:cxn>
              </a:cxnLst>
              <a:rect l="l" t="t" r="r" b="b"/>
              <a:pathLst>
                <a:path w="6570" h="7770">
                  <a:moveTo>
                    <a:pt x="6571" y="0"/>
                  </a:moveTo>
                  <a:lnTo>
                    <a:pt x="0" y="1562"/>
                  </a:lnTo>
                  <a:lnTo>
                    <a:pt x="5004" y="777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14" name="Freihandform: Form 413">
              <a:extLst>
                <a:ext uri="{FF2B5EF4-FFF2-40B4-BE49-F238E27FC236}">
                  <a16:creationId xmlns:a16="http://schemas.microsoft.com/office/drawing/2014/main" id="{303DED32-AB41-D79A-1C7F-A6D77F8032BE}"/>
                </a:ext>
              </a:extLst>
            </p:cNvPr>
            <p:cNvSpPr/>
            <p:nvPr/>
          </p:nvSpPr>
          <p:spPr>
            <a:xfrm>
              <a:off x="6276991" y="1512808"/>
              <a:ext cx="7937" cy="12700"/>
            </a:xfrm>
            <a:custGeom>
              <a:avLst/>
              <a:gdLst>
                <a:gd name="connsiteX0" fmla="*/ 342 w 6385"/>
                <a:gd name="connsiteY0" fmla="*/ 0 h 10039"/>
                <a:gd name="connsiteX1" fmla="*/ 6204 w 6385"/>
                <a:gd name="connsiteY1" fmla="*/ 10008 h 10039"/>
                <a:gd name="connsiteX2" fmla="*/ 0 w 6385"/>
                <a:gd name="connsiteY2" fmla="*/ 6209 h 10039"/>
                <a:gd name="connsiteX3" fmla="*/ 342 w 6385"/>
                <a:gd name="connsiteY3" fmla="*/ 0 h 10039"/>
              </a:gdLst>
              <a:ahLst/>
              <a:cxnLst>
                <a:cxn ang="0">
                  <a:pos x="connsiteX0" y="connsiteY0"/>
                </a:cxn>
                <a:cxn ang="0">
                  <a:pos x="connsiteX1" y="connsiteY1"/>
                </a:cxn>
                <a:cxn ang="0">
                  <a:pos x="connsiteX2" y="connsiteY2"/>
                </a:cxn>
                <a:cxn ang="0">
                  <a:pos x="connsiteX3" y="connsiteY3"/>
                </a:cxn>
              </a:cxnLst>
              <a:rect l="l" t="t" r="r" b="b"/>
              <a:pathLst>
                <a:path w="6385" h="10039">
                  <a:moveTo>
                    <a:pt x="342" y="0"/>
                  </a:moveTo>
                  <a:cubicBezTo>
                    <a:pt x="342" y="0"/>
                    <a:pt x="7612" y="10697"/>
                    <a:pt x="6204" y="10008"/>
                  </a:cubicBezTo>
                  <a:cubicBezTo>
                    <a:pt x="4825" y="9299"/>
                    <a:pt x="0" y="7250"/>
                    <a:pt x="0" y="6209"/>
                  </a:cubicBezTo>
                  <a:cubicBezTo>
                    <a:pt x="5" y="5177"/>
                    <a:pt x="342" y="0"/>
                    <a:pt x="342"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15" name="Freihandform: Form 414">
              <a:extLst>
                <a:ext uri="{FF2B5EF4-FFF2-40B4-BE49-F238E27FC236}">
                  <a16:creationId xmlns:a16="http://schemas.microsoft.com/office/drawing/2014/main" id="{76ADAA25-CBDA-7DD3-EEE3-F5F9FEB83344}"/>
                </a:ext>
              </a:extLst>
            </p:cNvPr>
            <p:cNvSpPr/>
            <p:nvPr/>
          </p:nvSpPr>
          <p:spPr>
            <a:xfrm>
              <a:off x="6267467" y="1544559"/>
              <a:ext cx="9524" cy="7937"/>
            </a:xfrm>
            <a:custGeom>
              <a:avLst/>
              <a:gdLst>
                <a:gd name="connsiteX0" fmla="*/ 7676 w 7675"/>
                <a:gd name="connsiteY0" fmla="*/ 0 h 5175"/>
                <a:gd name="connsiteX1" fmla="*/ 5796 w 7675"/>
                <a:gd name="connsiteY1" fmla="*/ 5139 h 5175"/>
                <a:gd name="connsiteX2" fmla="*/ 98 w 7675"/>
                <a:gd name="connsiteY2" fmla="*/ 3606 h 5175"/>
                <a:gd name="connsiteX3" fmla="*/ 7676 w 7675"/>
                <a:gd name="connsiteY3" fmla="*/ 0 h 5175"/>
              </a:gdLst>
              <a:ahLst/>
              <a:cxnLst>
                <a:cxn ang="0">
                  <a:pos x="connsiteX0" y="connsiteY0"/>
                </a:cxn>
                <a:cxn ang="0">
                  <a:pos x="connsiteX1" y="connsiteY1"/>
                </a:cxn>
                <a:cxn ang="0">
                  <a:pos x="connsiteX2" y="connsiteY2"/>
                </a:cxn>
                <a:cxn ang="0">
                  <a:pos x="connsiteX3" y="connsiteY3"/>
                </a:cxn>
              </a:cxnLst>
              <a:rect l="l" t="t" r="r" b="b"/>
              <a:pathLst>
                <a:path w="7675" h="5175">
                  <a:moveTo>
                    <a:pt x="7676" y="0"/>
                  </a:moveTo>
                  <a:cubicBezTo>
                    <a:pt x="7521" y="651"/>
                    <a:pt x="7521" y="5650"/>
                    <a:pt x="5796" y="5139"/>
                  </a:cubicBezTo>
                  <a:cubicBezTo>
                    <a:pt x="4055" y="4609"/>
                    <a:pt x="-741" y="3770"/>
                    <a:pt x="98" y="3606"/>
                  </a:cubicBezTo>
                  <a:cubicBezTo>
                    <a:pt x="956" y="3423"/>
                    <a:pt x="7676" y="0"/>
                    <a:pt x="7676"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16" name="Freihandform: Form 415">
              <a:extLst>
                <a:ext uri="{FF2B5EF4-FFF2-40B4-BE49-F238E27FC236}">
                  <a16:creationId xmlns:a16="http://schemas.microsoft.com/office/drawing/2014/main" id="{6659DBBD-5293-4C24-7866-D38939287744}"/>
                </a:ext>
              </a:extLst>
            </p:cNvPr>
            <p:cNvSpPr/>
            <p:nvPr/>
          </p:nvSpPr>
          <p:spPr>
            <a:xfrm>
              <a:off x="6248419" y="1560435"/>
              <a:ext cx="7937" cy="7937"/>
            </a:xfrm>
            <a:custGeom>
              <a:avLst/>
              <a:gdLst>
                <a:gd name="connsiteX0" fmla="*/ 0 w 6030"/>
                <a:gd name="connsiteY0" fmla="*/ 0 h 6508"/>
                <a:gd name="connsiteX1" fmla="*/ 6031 w 6030"/>
                <a:gd name="connsiteY1" fmla="*/ 1070 h 6508"/>
                <a:gd name="connsiteX2" fmla="*/ 6031 w 6030"/>
                <a:gd name="connsiteY2" fmla="*/ 5365 h 6508"/>
                <a:gd name="connsiteX3" fmla="*/ 525 w 6030"/>
                <a:gd name="connsiteY3" fmla="*/ 6402 h 6508"/>
                <a:gd name="connsiteX4" fmla="*/ 0 w 6030"/>
                <a:gd name="connsiteY4" fmla="*/ 0 h 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0" h="6508">
                  <a:moveTo>
                    <a:pt x="0" y="0"/>
                  </a:moveTo>
                  <a:lnTo>
                    <a:pt x="6031" y="1070"/>
                  </a:lnTo>
                  <a:lnTo>
                    <a:pt x="6031" y="5365"/>
                  </a:lnTo>
                  <a:cubicBezTo>
                    <a:pt x="6031" y="5365"/>
                    <a:pt x="525" y="6923"/>
                    <a:pt x="525" y="6402"/>
                  </a:cubicBezTo>
                  <a:cubicBezTo>
                    <a:pt x="525" y="5891"/>
                    <a:pt x="0" y="0"/>
                    <a:pt x="0"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17" name="Freihandform: Form 416">
              <a:extLst>
                <a:ext uri="{FF2B5EF4-FFF2-40B4-BE49-F238E27FC236}">
                  <a16:creationId xmlns:a16="http://schemas.microsoft.com/office/drawing/2014/main" id="{D5F1D52D-94C7-C999-1070-B86CE87F805F}"/>
                </a:ext>
              </a:extLst>
            </p:cNvPr>
            <p:cNvSpPr/>
            <p:nvPr/>
          </p:nvSpPr>
          <p:spPr>
            <a:xfrm>
              <a:off x="6245245" y="1573135"/>
              <a:ext cx="7937" cy="7937"/>
            </a:xfrm>
            <a:custGeom>
              <a:avLst/>
              <a:gdLst>
                <a:gd name="connsiteX0" fmla="*/ 0 w 6281"/>
                <a:gd name="connsiteY0" fmla="*/ 0 h 6879"/>
                <a:gd name="connsiteX1" fmla="*/ 6281 w 6281"/>
                <a:gd name="connsiteY1" fmla="*/ 5500 h 6879"/>
                <a:gd name="connsiteX2" fmla="*/ 3379 w 6281"/>
                <a:gd name="connsiteY2" fmla="*/ 6879 h 6879"/>
              </a:gdLst>
              <a:ahLst/>
              <a:cxnLst>
                <a:cxn ang="0">
                  <a:pos x="connsiteX0" y="connsiteY0"/>
                </a:cxn>
                <a:cxn ang="0">
                  <a:pos x="connsiteX1" y="connsiteY1"/>
                </a:cxn>
                <a:cxn ang="0">
                  <a:pos x="connsiteX2" y="connsiteY2"/>
                </a:cxn>
              </a:cxnLst>
              <a:rect l="l" t="t" r="r" b="b"/>
              <a:pathLst>
                <a:path w="6281" h="6879">
                  <a:moveTo>
                    <a:pt x="0" y="0"/>
                  </a:moveTo>
                  <a:lnTo>
                    <a:pt x="6281" y="5500"/>
                  </a:lnTo>
                  <a:lnTo>
                    <a:pt x="3379" y="687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18" name="Freihandform: Form 417">
              <a:extLst>
                <a:ext uri="{FF2B5EF4-FFF2-40B4-BE49-F238E27FC236}">
                  <a16:creationId xmlns:a16="http://schemas.microsoft.com/office/drawing/2014/main" id="{5E61D73B-0E81-C2BE-8613-EB5B8DCD4051}"/>
                </a:ext>
              </a:extLst>
            </p:cNvPr>
            <p:cNvSpPr/>
            <p:nvPr/>
          </p:nvSpPr>
          <p:spPr>
            <a:xfrm>
              <a:off x="6216673" y="1592186"/>
              <a:ext cx="9524" cy="7937"/>
            </a:xfrm>
            <a:custGeom>
              <a:avLst/>
              <a:gdLst>
                <a:gd name="connsiteX0" fmla="*/ 868 w 8277"/>
                <a:gd name="connsiteY0" fmla="*/ 0 h 6209"/>
                <a:gd name="connsiteX1" fmla="*/ 0 w 8277"/>
                <a:gd name="connsiteY1" fmla="*/ 3100 h 6209"/>
                <a:gd name="connsiteX2" fmla="*/ 8277 w 8277"/>
                <a:gd name="connsiteY2" fmla="*/ 6209 h 6209"/>
              </a:gdLst>
              <a:ahLst/>
              <a:cxnLst>
                <a:cxn ang="0">
                  <a:pos x="connsiteX0" y="connsiteY0"/>
                </a:cxn>
                <a:cxn ang="0">
                  <a:pos x="connsiteX1" y="connsiteY1"/>
                </a:cxn>
                <a:cxn ang="0">
                  <a:pos x="connsiteX2" y="connsiteY2"/>
                </a:cxn>
              </a:cxnLst>
              <a:rect l="l" t="t" r="r" b="b"/>
              <a:pathLst>
                <a:path w="8277" h="6209">
                  <a:moveTo>
                    <a:pt x="868" y="0"/>
                  </a:moveTo>
                  <a:lnTo>
                    <a:pt x="0" y="3100"/>
                  </a:lnTo>
                  <a:lnTo>
                    <a:pt x="8277" y="620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19" name="Freihandform: Form 418">
              <a:extLst>
                <a:ext uri="{FF2B5EF4-FFF2-40B4-BE49-F238E27FC236}">
                  <a16:creationId xmlns:a16="http://schemas.microsoft.com/office/drawing/2014/main" id="{4CE2A47C-52D3-561D-ECCE-248B65CBFDC6}"/>
                </a:ext>
              </a:extLst>
            </p:cNvPr>
            <p:cNvSpPr/>
            <p:nvPr/>
          </p:nvSpPr>
          <p:spPr>
            <a:xfrm>
              <a:off x="6337309" y="1862071"/>
              <a:ext cx="7937" cy="7937"/>
            </a:xfrm>
            <a:custGeom>
              <a:avLst/>
              <a:gdLst>
                <a:gd name="connsiteX0" fmla="*/ 0 w 6276"/>
                <a:gd name="connsiteY0" fmla="*/ 0 h 5890"/>
                <a:gd name="connsiteX1" fmla="*/ 6277 w 6276"/>
                <a:gd name="connsiteY1" fmla="*/ 1427 h 5890"/>
                <a:gd name="connsiteX2" fmla="*/ 3514 w 6276"/>
                <a:gd name="connsiteY2" fmla="*/ 5891 h 5890"/>
              </a:gdLst>
              <a:ahLst/>
              <a:cxnLst>
                <a:cxn ang="0">
                  <a:pos x="connsiteX0" y="connsiteY0"/>
                </a:cxn>
                <a:cxn ang="0">
                  <a:pos x="connsiteX1" y="connsiteY1"/>
                </a:cxn>
                <a:cxn ang="0">
                  <a:pos x="connsiteX2" y="connsiteY2"/>
                </a:cxn>
              </a:cxnLst>
              <a:rect l="l" t="t" r="r" b="b"/>
              <a:pathLst>
                <a:path w="6276" h="5890">
                  <a:moveTo>
                    <a:pt x="0" y="0"/>
                  </a:moveTo>
                  <a:lnTo>
                    <a:pt x="6277" y="1427"/>
                  </a:lnTo>
                  <a:lnTo>
                    <a:pt x="3514" y="589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20" name="Freihandform: Form 419">
              <a:extLst>
                <a:ext uri="{FF2B5EF4-FFF2-40B4-BE49-F238E27FC236}">
                  <a16:creationId xmlns:a16="http://schemas.microsoft.com/office/drawing/2014/main" id="{867F774B-4F50-8243-C020-F06730F73B0A}"/>
                </a:ext>
              </a:extLst>
            </p:cNvPr>
            <p:cNvSpPr/>
            <p:nvPr/>
          </p:nvSpPr>
          <p:spPr>
            <a:xfrm>
              <a:off x="6192864" y="1874772"/>
              <a:ext cx="9524" cy="9525"/>
            </a:xfrm>
            <a:custGeom>
              <a:avLst/>
              <a:gdLst>
                <a:gd name="connsiteX0" fmla="*/ 4825 w 6893"/>
                <a:gd name="connsiteY0" fmla="*/ 0 h 7568"/>
                <a:gd name="connsiteX1" fmla="*/ 6894 w 6893"/>
                <a:gd name="connsiteY1" fmla="*/ 7569 h 7568"/>
                <a:gd name="connsiteX2" fmla="*/ 0 w 6893"/>
                <a:gd name="connsiteY2" fmla="*/ 5857 h 7568"/>
              </a:gdLst>
              <a:ahLst/>
              <a:cxnLst>
                <a:cxn ang="0">
                  <a:pos x="connsiteX0" y="connsiteY0"/>
                </a:cxn>
                <a:cxn ang="0">
                  <a:pos x="connsiteX1" y="connsiteY1"/>
                </a:cxn>
                <a:cxn ang="0">
                  <a:pos x="connsiteX2" y="connsiteY2"/>
                </a:cxn>
              </a:cxnLst>
              <a:rect l="l" t="t" r="r" b="b"/>
              <a:pathLst>
                <a:path w="6893" h="7568">
                  <a:moveTo>
                    <a:pt x="4825" y="0"/>
                  </a:moveTo>
                  <a:lnTo>
                    <a:pt x="6894" y="7569"/>
                  </a:lnTo>
                  <a:lnTo>
                    <a:pt x="0" y="585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21" name="Freihandform: Form 420">
              <a:extLst>
                <a:ext uri="{FF2B5EF4-FFF2-40B4-BE49-F238E27FC236}">
                  <a16:creationId xmlns:a16="http://schemas.microsoft.com/office/drawing/2014/main" id="{4DCD5A1F-CEEA-33AC-F563-E565A05AA372}"/>
                </a:ext>
              </a:extLst>
            </p:cNvPr>
            <p:cNvSpPr/>
            <p:nvPr/>
          </p:nvSpPr>
          <p:spPr>
            <a:xfrm>
              <a:off x="6199213" y="1889059"/>
              <a:ext cx="4761" cy="7938"/>
            </a:xfrm>
            <a:custGeom>
              <a:avLst/>
              <a:gdLst>
                <a:gd name="connsiteX0" fmla="*/ 3808 w 3808"/>
                <a:gd name="connsiteY0" fmla="*/ 0 h 6077"/>
                <a:gd name="connsiteX1" fmla="*/ 0 w 3808"/>
                <a:gd name="connsiteY1" fmla="*/ 0 h 6077"/>
                <a:gd name="connsiteX2" fmla="*/ 2656 w 3808"/>
                <a:gd name="connsiteY2" fmla="*/ 5929 h 6077"/>
                <a:gd name="connsiteX3" fmla="*/ 3808 w 3808"/>
                <a:gd name="connsiteY3" fmla="*/ 0 h 6077"/>
              </a:gdLst>
              <a:ahLst/>
              <a:cxnLst>
                <a:cxn ang="0">
                  <a:pos x="connsiteX0" y="connsiteY0"/>
                </a:cxn>
                <a:cxn ang="0">
                  <a:pos x="connsiteX1" y="connsiteY1"/>
                </a:cxn>
                <a:cxn ang="0">
                  <a:pos x="connsiteX2" y="connsiteY2"/>
                </a:cxn>
                <a:cxn ang="0">
                  <a:pos x="connsiteX3" y="connsiteY3"/>
                </a:cxn>
              </a:cxnLst>
              <a:rect l="l" t="t" r="r" b="b"/>
              <a:pathLst>
                <a:path w="3808" h="6077">
                  <a:moveTo>
                    <a:pt x="3808" y="0"/>
                  </a:moveTo>
                  <a:lnTo>
                    <a:pt x="0" y="0"/>
                  </a:lnTo>
                  <a:cubicBezTo>
                    <a:pt x="0" y="0"/>
                    <a:pt x="2743" y="7188"/>
                    <a:pt x="2656" y="5929"/>
                  </a:cubicBezTo>
                  <a:cubicBezTo>
                    <a:pt x="2584" y="4642"/>
                    <a:pt x="3808" y="0"/>
                    <a:pt x="3808"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22" name="Freihandform: Form 421">
              <a:extLst>
                <a:ext uri="{FF2B5EF4-FFF2-40B4-BE49-F238E27FC236}">
                  <a16:creationId xmlns:a16="http://schemas.microsoft.com/office/drawing/2014/main" id="{DED9375A-5493-846E-0663-1DF520DD06F4}"/>
                </a:ext>
              </a:extLst>
            </p:cNvPr>
            <p:cNvSpPr/>
            <p:nvPr/>
          </p:nvSpPr>
          <p:spPr>
            <a:xfrm>
              <a:off x="6292864" y="1933511"/>
              <a:ext cx="9524" cy="7938"/>
            </a:xfrm>
            <a:custGeom>
              <a:avLst/>
              <a:gdLst>
                <a:gd name="connsiteX0" fmla="*/ 6932 w 6932"/>
                <a:gd name="connsiteY0" fmla="*/ 0 h 6237"/>
                <a:gd name="connsiteX1" fmla="*/ 6932 w 6932"/>
                <a:gd name="connsiteY1" fmla="*/ 4324 h 6237"/>
                <a:gd name="connsiteX2" fmla="*/ 0 w 6932"/>
                <a:gd name="connsiteY2" fmla="*/ 6238 h 6237"/>
              </a:gdLst>
              <a:ahLst/>
              <a:cxnLst>
                <a:cxn ang="0">
                  <a:pos x="connsiteX0" y="connsiteY0"/>
                </a:cxn>
                <a:cxn ang="0">
                  <a:pos x="connsiteX1" y="connsiteY1"/>
                </a:cxn>
                <a:cxn ang="0">
                  <a:pos x="connsiteX2" y="connsiteY2"/>
                </a:cxn>
              </a:cxnLst>
              <a:rect l="l" t="t" r="r" b="b"/>
              <a:pathLst>
                <a:path w="6932" h="6237">
                  <a:moveTo>
                    <a:pt x="6932" y="0"/>
                  </a:moveTo>
                  <a:lnTo>
                    <a:pt x="6932" y="4324"/>
                  </a:lnTo>
                  <a:lnTo>
                    <a:pt x="0" y="623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23" name="Freihandform: Form 422">
              <a:extLst>
                <a:ext uri="{FF2B5EF4-FFF2-40B4-BE49-F238E27FC236}">
                  <a16:creationId xmlns:a16="http://schemas.microsoft.com/office/drawing/2014/main" id="{3623963A-C989-B618-D8DE-83D0E22B59B9}"/>
                </a:ext>
              </a:extLst>
            </p:cNvPr>
            <p:cNvSpPr/>
            <p:nvPr/>
          </p:nvSpPr>
          <p:spPr>
            <a:xfrm>
              <a:off x="6253182" y="1993838"/>
              <a:ext cx="9524" cy="9525"/>
            </a:xfrm>
            <a:custGeom>
              <a:avLst/>
              <a:gdLst>
                <a:gd name="connsiteX0" fmla="*/ 6542 w 6869"/>
                <a:gd name="connsiteY0" fmla="*/ 0 h 7414"/>
                <a:gd name="connsiteX1" fmla="*/ 6870 w 6869"/>
                <a:gd name="connsiteY1" fmla="*/ 5852 h 7414"/>
                <a:gd name="connsiteX2" fmla="*/ 0 w 6869"/>
                <a:gd name="connsiteY2" fmla="*/ 7414 h 7414"/>
              </a:gdLst>
              <a:ahLst/>
              <a:cxnLst>
                <a:cxn ang="0">
                  <a:pos x="connsiteX0" y="connsiteY0"/>
                </a:cxn>
                <a:cxn ang="0">
                  <a:pos x="connsiteX1" y="connsiteY1"/>
                </a:cxn>
                <a:cxn ang="0">
                  <a:pos x="connsiteX2" y="connsiteY2"/>
                </a:cxn>
              </a:cxnLst>
              <a:rect l="l" t="t" r="r" b="b"/>
              <a:pathLst>
                <a:path w="6869" h="7414">
                  <a:moveTo>
                    <a:pt x="6542" y="0"/>
                  </a:moveTo>
                  <a:lnTo>
                    <a:pt x="6870" y="5852"/>
                  </a:lnTo>
                  <a:lnTo>
                    <a:pt x="0" y="741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24" name="Freihandform: Form 423">
              <a:extLst>
                <a:ext uri="{FF2B5EF4-FFF2-40B4-BE49-F238E27FC236}">
                  <a16:creationId xmlns:a16="http://schemas.microsoft.com/office/drawing/2014/main" id="{F8B19EFE-6F30-C442-87E5-2AC1D7A1D3E0}"/>
                </a:ext>
              </a:extLst>
            </p:cNvPr>
            <p:cNvSpPr/>
            <p:nvPr/>
          </p:nvSpPr>
          <p:spPr>
            <a:xfrm>
              <a:off x="6242070" y="2011302"/>
              <a:ext cx="6349" cy="11112"/>
            </a:xfrm>
            <a:custGeom>
              <a:avLst/>
              <a:gdLst>
                <a:gd name="connsiteX0" fmla="*/ 5016 w 5015"/>
                <a:gd name="connsiteY0" fmla="*/ 1567 h 8904"/>
                <a:gd name="connsiteX1" fmla="*/ 865 w 5015"/>
                <a:gd name="connsiteY1" fmla="*/ 0 h 8904"/>
                <a:gd name="connsiteX2" fmla="*/ 195 w 5015"/>
                <a:gd name="connsiteY2" fmla="*/ 8803 h 8904"/>
                <a:gd name="connsiteX3" fmla="*/ 5016 w 5015"/>
                <a:gd name="connsiteY3" fmla="*/ 1567 h 8904"/>
              </a:gdLst>
              <a:ahLst/>
              <a:cxnLst>
                <a:cxn ang="0">
                  <a:pos x="connsiteX0" y="connsiteY0"/>
                </a:cxn>
                <a:cxn ang="0">
                  <a:pos x="connsiteX1" y="connsiteY1"/>
                </a:cxn>
                <a:cxn ang="0">
                  <a:pos x="connsiteX2" y="connsiteY2"/>
                </a:cxn>
                <a:cxn ang="0">
                  <a:pos x="connsiteX3" y="connsiteY3"/>
                </a:cxn>
              </a:cxnLst>
              <a:rect l="l" t="t" r="r" b="b"/>
              <a:pathLst>
                <a:path w="5015" h="8904">
                  <a:moveTo>
                    <a:pt x="5016" y="1567"/>
                  </a:moveTo>
                  <a:lnTo>
                    <a:pt x="865" y="0"/>
                  </a:lnTo>
                  <a:cubicBezTo>
                    <a:pt x="865" y="0"/>
                    <a:pt x="-494" y="10013"/>
                    <a:pt x="195" y="8803"/>
                  </a:cubicBezTo>
                  <a:cubicBezTo>
                    <a:pt x="865" y="7612"/>
                    <a:pt x="5016" y="1567"/>
                    <a:pt x="5016" y="1567"/>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25" name="Freihandform: Form 424">
              <a:extLst>
                <a:ext uri="{FF2B5EF4-FFF2-40B4-BE49-F238E27FC236}">
                  <a16:creationId xmlns:a16="http://schemas.microsoft.com/office/drawing/2014/main" id="{5E9B393C-E659-0232-4EA6-77EDC4D53249}"/>
                </a:ext>
              </a:extLst>
            </p:cNvPr>
            <p:cNvSpPr/>
            <p:nvPr/>
          </p:nvSpPr>
          <p:spPr>
            <a:xfrm>
              <a:off x="6043655" y="2027177"/>
              <a:ext cx="3175" cy="11112"/>
            </a:xfrm>
            <a:custGeom>
              <a:avLst/>
              <a:gdLst>
                <a:gd name="connsiteX0" fmla="*/ 67 w 2830"/>
                <a:gd name="connsiteY0" fmla="*/ 0 h 8459"/>
                <a:gd name="connsiteX1" fmla="*/ 1615 w 2830"/>
                <a:gd name="connsiteY1" fmla="*/ 8282 h 8459"/>
                <a:gd name="connsiteX2" fmla="*/ 2646 w 2830"/>
                <a:gd name="connsiteY2" fmla="*/ 3804 h 8459"/>
                <a:gd name="connsiteX3" fmla="*/ 67 w 2830"/>
                <a:gd name="connsiteY3" fmla="*/ 0 h 8459"/>
              </a:gdLst>
              <a:ahLst/>
              <a:cxnLst>
                <a:cxn ang="0">
                  <a:pos x="connsiteX0" y="connsiteY0"/>
                </a:cxn>
                <a:cxn ang="0">
                  <a:pos x="connsiteX1" y="connsiteY1"/>
                </a:cxn>
                <a:cxn ang="0">
                  <a:pos x="connsiteX2" y="connsiteY2"/>
                </a:cxn>
                <a:cxn ang="0">
                  <a:pos x="connsiteX3" y="connsiteY3"/>
                </a:cxn>
              </a:cxnLst>
              <a:rect l="l" t="t" r="r" b="b"/>
              <a:pathLst>
                <a:path w="2830" h="8459">
                  <a:moveTo>
                    <a:pt x="67" y="0"/>
                  </a:moveTo>
                  <a:cubicBezTo>
                    <a:pt x="-275" y="2598"/>
                    <a:pt x="757" y="9666"/>
                    <a:pt x="1615" y="8282"/>
                  </a:cubicBezTo>
                  <a:cubicBezTo>
                    <a:pt x="2478" y="6894"/>
                    <a:pt x="3177" y="6045"/>
                    <a:pt x="2646" y="3804"/>
                  </a:cubicBezTo>
                  <a:cubicBezTo>
                    <a:pt x="2145" y="1557"/>
                    <a:pt x="67" y="0"/>
                    <a:pt x="67"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26" name="Freihandform: Form 425">
              <a:extLst>
                <a:ext uri="{FF2B5EF4-FFF2-40B4-BE49-F238E27FC236}">
                  <a16:creationId xmlns:a16="http://schemas.microsoft.com/office/drawing/2014/main" id="{8A145BAB-0A6D-E27C-2CE7-F1B374BE3BFD}"/>
                </a:ext>
              </a:extLst>
            </p:cNvPr>
            <p:cNvSpPr/>
            <p:nvPr/>
          </p:nvSpPr>
          <p:spPr>
            <a:xfrm>
              <a:off x="5999210" y="2087505"/>
              <a:ext cx="12699" cy="11112"/>
            </a:xfrm>
            <a:custGeom>
              <a:avLst/>
              <a:gdLst>
                <a:gd name="connsiteX0" fmla="*/ 3858 w 9035"/>
                <a:gd name="connsiteY0" fmla="*/ 0 h 9833"/>
                <a:gd name="connsiteX1" fmla="*/ 9006 w 9035"/>
                <a:gd name="connsiteY1" fmla="*/ 4474 h 9833"/>
                <a:gd name="connsiteX2" fmla="*/ 5897 w 9035"/>
                <a:gd name="connsiteY2" fmla="*/ 9815 h 9833"/>
                <a:gd name="connsiteX3" fmla="*/ 59 w 9035"/>
                <a:gd name="connsiteY3" fmla="*/ 5486 h 9833"/>
                <a:gd name="connsiteX4" fmla="*/ 3858 w 9035"/>
                <a:gd name="connsiteY4" fmla="*/ 0 h 9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35" h="9833">
                  <a:moveTo>
                    <a:pt x="3858" y="0"/>
                  </a:moveTo>
                  <a:cubicBezTo>
                    <a:pt x="6437" y="1032"/>
                    <a:pt x="9363" y="2941"/>
                    <a:pt x="9006" y="4474"/>
                  </a:cubicBezTo>
                  <a:cubicBezTo>
                    <a:pt x="8654" y="6011"/>
                    <a:pt x="6938" y="10143"/>
                    <a:pt x="5897" y="9815"/>
                  </a:cubicBezTo>
                  <a:cubicBezTo>
                    <a:pt x="4870" y="9463"/>
                    <a:pt x="-626" y="6199"/>
                    <a:pt x="59" y="5486"/>
                  </a:cubicBezTo>
                  <a:cubicBezTo>
                    <a:pt x="744" y="4811"/>
                    <a:pt x="3858" y="0"/>
                    <a:pt x="3858"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27" name="Freihandform: Form 426">
              <a:extLst>
                <a:ext uri="{FF2B5EF4-FFF2-40B4-BE49-F238E27FC236}">
                  <a16:creationId xmlns:a16="http://schemas.microsoft.com/office/drawing/2014/main" id="{58553DF1-4A5D-7C31-5C44-5483757D2FDB}"/>
                </a:ext>
              </a:extLst>
            </p:cNvPr>
            <p:cNvSpPr/>
            <p:nvPr/>
          </p:nvSpPr>
          <p:spPr>
            <a:xfrm>
              <a:off x="5997623" y="2108142"/>
              <a:ext cx="7937" cy="11113"/>
            </a:xfrm>
            <a:custGeom>
              <a:avLst/>
              <a:gdLst>
                <a:gd name="connsiteX0" fmla="*/ 772 w 6981"/>
                <a:gd name="connsiteY0" fmla="*/ 13 h 9294"/>
                <a:gd name="connsiteX1" fmla="*/ 6966 w 6981"/>
                <a:gd name="connsiteY1" fmla="*/ 3455 h 9294"/>
                <a:gd name="connsiteX2" fmla="*/ 3341 w 6981"/>
                <a:gd name="connsiteY2" fmla="*/ 8951 h 9294"/>
                <a:gd name="connsiteX3" fmla="*/ 772 w 6981"/>
                <a:gd name="connsiteY3" fmla="*/ 13 h 9294"/>
              </a:gdLst>
              <a:ahLst/>
              <a:cxnLst>
                <a:cxn ang="0">
                  <a:pos x="connsiteX0" y="connsiteY0"/>
                </a:cxn>
                <a:cxn ang="0">
                  <a:pos x="connsiteX1" y="connsiteY1"/>
                </a:cxn>
                <a:cxn ang="0">
                  <a:pos x="connsiteX2" y="connsiteY2"/>
                </a:cxn>
                <a:cxn ang="0">
                  <a:pos x="connsiteX3" y="connsiteY3"/>
                </a:cxn>
              </a:cxnLst>
              <a:rect l="l" t="t" r="r" b="b"/>
              <a:pathLst>
                <a:path w="6981" h="9294">
                  <a:moveTo>
                    <a:pt x="772" y="13"/>
                  </a:moveTo>
                  <a:cubicBezTo>
                    <a:pt x="1273" y="90"/>
                    <a:pt x="7328" y="2742"/>
                    <a:pt x="6966" y="3455"/>
                  </a:cubicBezTo>
                  <a:cubicBezTo>
                    <a:pt x="6614" y="4130"/>
                    <a:pt x="4401" y="10874"/>
                    <a:pt x="3341" y="8951"/>
                  </a:cubicBezTo>
                  <a:cubicBezTo>
                    <a:pt x="2304" y="7061"/>
                    <a:pt x="-1649" y="-353"/>
                    <a:pt x="772" y="13"/>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28" name="Freihandform: Form 427">
              <a:extLst>
                <a:ext uri="{FF2B5EF4-FFF2-40B4-BE49-F238E27FC236}">
                  <a16:creationId xmlns:a16="http://schemas.microsoft.com/office/drawing/2014/main" id="{2FCEC91A-D0DC-8EA5-BA85-5C08A3AE3D88}"/>
                </a:ext>
              </a:extLst>
            </p:cNvPr>
            <p:cNvSpPr/>
            <p:nvPr/>
          </p:nvSpPr>
          <p:spPr>
            <a:xfrm>
              <a:off x="5956352" y="2141482"/>
              <a:ext cx="12699" cy="17463"/>
            </a:xfrm>
            <a:custGeom>
              <a:avLst/>
              <a:gdLst>
                <a:gd name="connsiteX0" fmla="*/ 347 w 9652"/>
                <a:gd name="connsiteY0" fmla="*/ 9 h 14816"/>
                <a:gd name="connsiteX1" fmla="*/ 7573 w 9652"/>
                <a:gd name="connsiteY1" fmla="*/ 3292 h 14816"/>
                <a:gd name="connsiteX2" fmla="*/ 8793 w 9652"/>
                <a:gd name="connsiteY2" fmla="*/ 14814 h 14816"/>
                <a:gd name="connsiteX3" fmla="*/ 2579 w 9652"/>
                <a:gd name="connsiteY3" fmla="*/ 12071 h 14816"/>
                <a:gd name="connsiteX4" fmla="*/ 347 w 9652"/>
                <a:gd name="connsiteY4" fmla="*/ 9 h 14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52" h="14816">
                  <a:moveTo>
                    <a:pt x="347" y="9"/>
                  </a:moveTo>
                  <a:cubicBezTo>
                    <a:pt x="2222" y="453"/>
                    <a:pt x="6889" y="1735"/>
                    <a:pt x="7573" y="3292"/>
                  </a:cubicBezTo>
                  <a:cubicBezTo>
                    <a:pt x="8277" y="4825"/>
                    <a:pt x="11030" y="15007"/>
                    <a:pt x="8793" y="14814"/>
                  </a:cubicBezTo>
                  <a:cubicBezTo>
                    <a:pt x="6566" y="14645"/>
                    <a:pt x="2237" y="14645"/>
                    <a:pt x="2579" y="12071"/>
                  </a:cubicBezTo>
                  <a:cubicBezTo>
                    <a:pt x="2926" y="9477"/>
                    <a:pt x="-1195" y="-347"/>
                    <a:pt x="347" y="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29" name="Freihandform: Form 428">
              <a:extLst>
                <a:ext uri="{FF2B5EF4-FFF2-40B4-BE49-F238E27FC236}">
                  <a16:creationId xmlns:a16="http://schemas.microsoft.com/office/drawing/2014/main" id="{605ECE8C-2DF8-0EC7-7D5A-2FBD3C7F0546}"/>
                </a:ext>
              </a:extLst>
            </p:cNvPr>
            <p:cNvSpPr/>
            <p:nvPr/>
          </p:nvSpPr>
          <p:spPr>
            <a:xfrm>
              <a:off x="6110323" y="2514558"/>
              <a:ext cx="3175" cy="11113"/>
            </a:xfrm>
            <a:custGeom>
              <a:avLst/>
              <a:gdLst>
                <a:gd name="connsiteX0" fmla="*/ 0 w 2622"/>
                <a:gd name="connsiteY0" fmla="*/ 0 h 9160"/>
                <a:gd name="connsiteX1" fmla="*/ 2622 w 2622"/>
                <a:gd name="connsiteY1" fmla="*/ 945 h 9160"/>
                <a:gd name="connsiteX2" fmla="*/ 1374 w 2622"/>
                <a:gd name="connsiteY2" fmla="*/ 9126 h 9160"/>
                <a:gd name="connsiteX3" fmla="*/ 0 w 2622"/>
                <a:gd name="connsiteY3" fmla="*/ 0 h 9160"/>
              </a:gdLst>
              <a:ahLst/>
              <a:cxnLst>
                <a:cxn ang="0">
                  <a:pos x="connsiteX0" y="connsiteY0"/>
                </a:cxn>
                <a:cxn ang="0">
                  <a:pos x="connsiteX1" y="connsiteY1"/>
                </a:cxn>
                <a:cxn ang="0">
                  <a:pos x="connsiteX2" y="connsiteY2"/>
                </a:cxn>
                <a:cxn ang="0">
                  <a:pos x="connsiteX3" y="connsiteY3"/>
                </a:cxn>
              </a:cxnLst>
              <a:rect l="l" t="t" r="r" b="b"/>
              <a:pathLst>
                <a:path w="2622" h="9160">
                  <a:moveTo>
                    <a:pt x="0" y="0"/>
                  </a:moveTo>
                  <a:lnTo>
                    <a:pt x="2622" y="945"/>
                  </a:lnTo>
                  <a:cubicBezTo>
                    <a:pt x="2622" y="945"/>
                    <a:pt x="2058" y="9781"/>
                    <a:pt x="1374" y="9126"/>
                  </a:cubicBezTo>
                  <a:cubicBezTo>
                    <a:pt x="699" y="8412"/>
                    <a:pt x="0" y="0"/>
                    <a:pt x="0"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30" name="Freihandform: Form 429">
              <a:extLst>
                <a:ext uri="{FF2B5EF4-FFF2-40B4-BE49-F238E27FC236}">
                  <a16:creationId xmlns:a16="http://schemas.microsoft.com/office/drawing/2014/main" id="{DE1B2568-A59E-130F-1767-6DA49466F775}"/>
                </a:ext>
              </a:extLst>
            </p:cNvPr>
            <p:cNvSpPr/>
            <p:nvPr/>
          </p:nvSpPr>
          <p:spPr>
            <a:xfrm>
              <a:off x="6188101" y="2466931"/>
              <a:ext cx="52382" cy="57152"/>
            </a:xfrm>
            <a:custGeom>
              <a:avLst/>
              <a:gdLst>
                <a:gd name="connsiteX0" fmla="*/ 11902 w 41342"/>
                <a:gd name="connsiteY0" fmla="*/ 25529 h 44318"/>
                <a:gd name="connsiteX1" fmla="*/ 16554 w 41342"/>
                <a:gd name="connsiteY1" fmla="*/ 19970 h 44318"/>
                <a:gd name="connsiteX2" fmla="*/ 15663 w 41342"/>
                <a:gd name="connsiteY2" fmla="*/ 13251 h 44318"/>
                <a:gd name="connsiteX3" fmla="*/ 9959 w 41342"/>
                <a:gd name="connsiteY3" fmla="*/ 8738 h 44318"/>
                <a:gd name="connsiteX4" fmla="*/ 10225 w 41342"/>
                <a:gd name="connsiteY4" fmla="*/ 2279 h 44318"/>
                <a:gd name="connsiteX5" fmla="*/ 15508 w 41342"/>
                <a:gd name="connsiteY5" fmla="*/ 852 h 44318"/>
                <a:gd name="connsiteX6" fmla="*/ 21066 w 41342"/>
                <a:gd name="connsiteY6" fmla="*/ 6270 h 44318"/>
                <a:gd name="connsiteX7" fmla="*/ 28423 w 41342"/>
                <a:gd name="connsiteY7" fmla="*/ 6940 h 44318"/>
                <a:gd name="connsiteX8" fmla="*/ 32164 w 41342"/>
                <a:gd name="connsiteY8" fmla="*/ 9881 h 44318"/>
                <a:gd name="connsiteX9" fmla="*/ 35905 w 41342"/>
                <a:gd name="connsiteY9" fmla="*/ 15844 h 44318"/>
                <a:gd name="connsiteX10" fmla="*/ 41342 w 41342"/>
                <a:gd name="connsiteY10" fmla="*/ 15709 h 44318"/>
                <a:gd name="connsiteX11" fmla="*/ 38248 w 41342"/>
                <a:gd name="connsiteY11" fmla="*/ 27462 h 44318"/>
                <a:gd name="connsiteX12" fmla="*/ 27136 w 41342"/>
                <a:gd name="connsiteY12" fmla="*/ 26290 h 44318"/>
                <a:gd name="connsiteX13" fmla="*/ 26615 w 41342"/>
                <a:gd name="connsiteY13" fmla="*/ 20081 h 44318"/>
                <a:gd name="connsiteX14" fmla="*/ 26490 w 41342"/>
                <a:gd name="connsiteY14" fmla="*/ 14663 h 44318"/>
                <a:gd name="connsiteX15" fmla="*/ 21693 w 41342"/>
                <a:gd name="connsiteY15" fmla="*/ 19701 h 44318"/>
                <a:gd name="connsiteX16" fmla="*/ 27647 w 41342"/>
                <a:gd name="connsiteY16" fmla="*/ 34683 h 44318"/>
                <a:gd name="connsiteX17" fmla="*/ 23901 w 41342"/>
                <a:gd name="connsiteY17" fmla="*/ 41003 h 44318"/>
                <a:gd name="connsiteX18" fmla="*/ 17065 w 41342"/>
                <a:gd name="connsiteY18" fmla="*/ 42570 h 44318"/>
                <a:gd name="connsiteX19" fmla="*/ 9815 w 41342"/>
                <a:gd name="connsiteY19" fmla="*/ 43226 h 44318"/>
                <a:gd name="connsiteX20" fmla="*/ 6985 w 41342"/>
                <a:gd name="connsiteY20" fmla="*/ 37667 h 44318"/>
                <a:gd name="connsiteX21" fmla="*/ 0 w 41342"/>
                <a:gd name="connsiteY21" fmla="*/ 19840 h 44318"/>
                <a:gd name="connsiteX22" fmla="*/ 5963 w 41342"/>
                <a:gd name="connsiteY22" fmla="*/ 19440 h 44318"/>
                <a:gd name="connsiteX23" fmla="*/ 6079 w 41342"/>
                <a:gd name="connsiteY23" fmla="*/ 13144 h 44318"/>
                <a:gd name="connsiteX24" fmla="*/ 11902 w 41342"/>
                <a:gd name="connsiteY24" fmla="*/ 25529 h 44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1342" h="44318">
                  <a:moveTo>
                    <a:pt x="11902" y="25529"/>
                  </a:moveTo>
                  <a:cubicBezTo>
                    <a:pt x="11902" y="25529"/>
                    <a:pt x="16294" y="21638"/>
                    <a:pt x="16554" y="19970"/>
                  </a:cubicBezTo>
                  <a:cubicBezTo>
                    <a:pt x="16790" y="18307"/>
                    <a:pt x="17596" y="14663"/>
                    <a:pt x="15663" y="13251"/>
                  </a:cubicBezTo>
                  <a:cubicBezTo>
                    <a:pt x="15663" y="13251"/>
                    <a:pt x="9959" y="9394"/>
                    <a:pt x="9959" y="8738"/>
                  </a:cubicBezTo>
                  <a:cubicBezTo>
                    <a:pt x="9959" y="8073"/>
                    <a:pt x="8798" y="3561"/>
                    <a:pt x="10225" y="2279"/>
                  </a:cubicBezTo>
                  <a:cubicBezTo>
                    <a:pt x="11656" y="991"/>
                    <a:pt x="15248" y="-1226"/>
                    <a:pt x="15508" y="852"/>
                  </a:cubicBezTo>
                  <a:cubicBezTo>
                    <a:pt x="15783" y="2953"/>
                    <a:pt x="17186" y="7075"/>
                    <a:pt x="21066" y="6270"/>
                  </a:cubicBezTo>
                  <a:cubicBezTo>
                    <a:pt x="24947" y="5504"/>
                    <a:pt x="25969" y="5504"/>
                    <a:pt x="28423" y="6940"/>
                  </a:cubicBezTo>
                  <a:cubicBezTo>
                    <a:pt x="30891" y="8353"/>
                    <a:pt x="32164" y="9881"/>
                    <a:pt x="32164" y="9881"/>
                  </a:cubicBezTo>
                  <a:cubicBezTo>
                    <a:pt x="32164" y="9881"/>
                    <a:pt x="35008" y="15955"/>
                    <a:pt x="35905" y="15844"/>
                  </a:cubicBezTo>
                  <a:cubicBezTo>
                    <a:pt x="36811" y="15709"/>
                    <a:pt x="41342" y="15709"/>
                    <a:pt x="41342" y="15709"/>
                  </a:cubicBezTo>
                  <a:cubicBezTo>
                    <a:pt x="41342" y="15709"/>
                    <a:pt x="40065" y="26946"/>
                    <a:pt x="38248" y="27462"/>
                  </a:cubicBezTo>
                  <a:cubicBezTo>
                    <a:pt x="36435" y="27987"/>
                    <a:pt x="27521" y="30171"/>
                    <a:pt x="27136" y="26290"/>
                  </a:cubicBezTo>
                  <a:cubicBezTo>
                    <a:pt x="26745" y="22444"/>
                    <a:pt x="26615" y="20081"/>
                    <a:pt x="26615" y="20081"/>
                  </a:cubicBezTo>
                  <a:lnTo>
                    <a:pt x="26490" y="14663"/>
                  </a:lnTo>
                  <a:cubicBezTo>
                    <a:pt x="26490" y="14663"/>
                    <a:pt x="20551" y="17763"/>
                    <a:pt x="21693" y="19701"/>
                  </a:cubicBezTo>
                  <a:cubicBezTo>
                    <a:pt x="22865" y="21638"/>
                    <a:pt x="27517" y="31839"/>
                    <a:pt x="27647" y="34683"/>
                  </a:cubicBezTo>
                  <a:cubicBezTo>
                    <a:pt x="27762" y="37527"/>
                    <a:pt x="26099" y="41003"/>
                    <a:pt x="23901" y="41003"/>
                  </a:cubicBezTo>
                  <a:cubicBezTo>
                    <a:pt x="21693" y="41003"/>
                    <a:pt x="18849" y="41283"/>
                    <a:pt x="17065" y="42570"/>
                  </a:cubicBezTo>
                  <a:cubicBezTo>
                    <a:pt x="15238" y="43857"/>
                    <a:pt x="10717" y="45409"/>
                    <a:pt x="9815" y="43226"/>
                  </a:cubicBezTo>
                  <a:cubicBezTo>
                    <a:pt x="8909" y="41008"/>
                    <a:pt x="6985" y="37667"/>
                    <a:pt x="6985" y="37667"/>
                  </a:cubicBezTo>
                  <a:cubicBezTo>
                    <a:pt x="6985" y="37667"/>
                    <a:pt x="3514" y="26290"/>
                    <a:pt x="0" y="19840"/>
                  </a:cubicBezTo>
                  <a:cubicBezTo>
                    <a:pt x="3770" y="19840"/>
                    <a:pt x="5963" y="19440"/>
                    <a:pt x="5963" y="19440"/>
                  </a:cubicBezTo>
                  <a:lnTo>
                    <a:pt x="6079" y="13144"/>
                  </a:lnTo>
                  <a:cubicBezTo>
                    <a:pt x="6093" y="13140"/>
                    <a:pt x="12298" y="23856"/>
                    <a:pt x="11902" y="2552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31" name="Freihandform: Form 430">
              <a:extLst>
                <a:ext uri="{FF2B5EF4-FFF2-40B4-BE49-F238E27FC236}">
                  <a16:creationId xmlns:a16="http://schemas.microsoft.com/office/drawing/2014/main" id="{AD6A0BBE-AD7D-D7BC-503C-85E47EC575B4}"/>
                </a:ext>
              </a:extLst>
            </p:cNvPr>
            <p:cNvSpPr/>
            <p:nvPr/>
          </p:nvSpPr>
          <p:spPr>
            <a:xfrm>
              <a:off x="6178577" y="2490745"/>
              <a:ext cx="14286" cy="25401"/>
            </a:xfrm>
            <a:custGeom>
              <a:avLst/>
              <a:gdLst>
                <a:gd name="connsiteX0" fmla="*/ 3590 w 10386"/>
                <a:gd name="connsiteY0" fmla="*/ 0 h 19393"/>
                <a:gd name="connsiteX1" fmla="*/ 1146 w 10386"/>
                <a:gd name="connsiteY1" fmla="*/ 19394 h 19393"/>
                <a:gd name="connsiteX2" fmla="*/ 3980 w 10386"/>
                <a:gd name="connsiteY2" fmla="*/ 13840 h 19393"/>
                <a:gd name="connsiteX3" fmla="*/ 10069 w 10386"/>
                <a:gd name="connsiteY3" fmla="*/ 17316 h 19393"/>
                <a:gd name="connsiteX4" fmla="*/ 7726 w 10386"/>
                <a:gd name="connsiteY4" fmla="*/ 6084 h 19393"/>
                <a:gd name="connsiteX5" fmla="*/ 3590 w 10386"/>
                <a:gd name="connsiteY5" fmla="*/ 0 h 1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86" h="19393">
                  <a:moveTo>
                    <a:pt x="3590" y="0"/>
                  </a:moveTo>
                  <a:cubicBezTo>
                    <a:pt x="1676" y="2478"/>
                    <a:pt x="-1814" y="8412"/>
                    <a:pt x="1146" y="19394"/>
                  </a:cubicBezTo>
                  <a:cubicBezTo>
                    <a:pt x="2197" y="16550"/>
                    <a:pt x="3980" y="13840"/>
                    <a:pt x="3980" y="13840"/>
                  </a:cubicBezTo>
                  <a:cubicBezTo>
                    <a:pt x="3980" y="13840"/>
                    <a:pt x="9919" y="19114"/>
                    <a:pt x="10069" y="17316"/>
                  </a:cubicBezTo>
                  <a:cubicBezTo>
                    <a:pt x="10204" y="15513"/>
                    <a:pt x="11481" y="13459"/>
                    <a:pt x="7726" y="6084"/>
                  </a:cubicBezTo>
                  <a:cubicBezTo>
                    <a:pt x="5528" y="1287"/>
                    <a:pt x="3590" y="0"/>
                    <a:pt x="3590"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32" name="Freihandform: Form 431">
              <a:extLst>
                <a:ext uri="{FF2B5EF4-FFF2-40B4-BE49-F238E27FC236}">
                  <a16:creationId xmlns:a16="http://schemas.microsoft.com/office/drawing/2014/main" id="{29918F17-7C5A-7B24-4FA1-14B534348B65}"/>
                </a:ext>
              </a:extLst>
            </p:cNvPr>
            <p:cNvSpPr/>
            <p:nvPr/>
          </p:nvSpPr>
          <p:spPr>
            <a:xfrm>
              <a:off x="6246832" y="2485982"/>
              <a:ext cx="9524" cy="11113"/>
            </a:xfrm>
            <a:custGeom>
              <a:avLst/>
              <a:gdLst>
                <a:gd name="connsiteX0" fmla="*/ 2483 w 6855"/>
                <a:gd name="connsiteY0" fmla="*/ 0 h 8672"/>
                <a:gd name="connsiteX1" fmla="*/ 6855 w 6855"/>
                <a:gd name="connsiteY1" fmla="*/ 8673 h 8672"/>
                <a:gd name="connsiteX2" fmla="*/ 0 w 6855"/>
                <a:gd name="connsiteY2" fmla="*/ 7120 h 8672"/>
              </a:gdLst>
              <a:ahLst/>
              <a:cxnLst>
                <a:cxn ang="0">
                  <a:pos x="connsiteX0" y="connsiteY0"/>
                </a:cxn>
                <a:cxn ang="0">
                  <a:pos x="connsiteX1" y="connsiteY1"/>
                </a:cxn>
                <a:cxn ang="0">
                  <a:pos x="connsiteX2" y="connsiteY2"/>
                </a:cxn>
              </a:cxnLst>
              <a:rect l="l" t="t" r="r" b="b"/>
              <a:pathLst>
                <a:path w="6855" h="8672">
                  <a:moveTo>
                    <a:pt x="2483" y="0"/>
                  </a:moveTo>
                  <a:lnTo>
                    <a:pt x="6855" y="8673"/>
                  </a:lnTo>
                  <a:lnTo>
                    <a:pt x="0" y="712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33" name="Freihandform: Form 432">
              <a:extLst>
                <a:ext uri="{FF2B5EF4-FFF2-40B4-BE49-F238E27FC236}">
                  <a16:creationId xmlns:a16="http://schemas.microsoft.com/office/drawing/2014/main" id="{7C4A6213-3C37-749A-3F1A-B184FD2DC571}"/>
                </a:ext>
              </a:extLst>
            </p:cNvPr>
            <p:cNvSpPr/>
            <p:nvPr/>
          </p:nvSpPr>
          <p:spPr>
            <a:xfrm>
              <a:off x="6238895" y="2506621"/>
              <a:ext cx="7937" cy="14288"/>
            </a:xfrm>
            <a:custGeom>
              <a:avLst/>
              <a:gdLst>
                <a:gd name="connsiteX0" fmla="*/ 1027 w 5534"/>
                <a:gd name="connsiteY0" fmla="*/ 0 h 11092"/>
                <a:gd name="connsiteX1" fmla="*/ 5534 w 5534"/>
                <a:gd name="connsiteY1" fmla="*/ 5173 h 11092"/>
                <a:gd name="connsiteX2" fmla="*/ 1909 w 5534"/>
                <a:gd name="connsiteY2" fmla="*/ 11092 h 11092"/>
                <a:gd name="connsiteX3" fmla="*/ 0 w 5534"/>
                <a:gd name="connsiteY3" fmla="*/ 5804 h 11092"/>
              </a:gdLst>
              <a:ahLst/>
              <a:cxnLst>
                <a:cxn ang="0">
                  <a:pos x="connsiteX0" y="connsiteY0"/>
                </a:cxn>
                <a:cxn ang="0">
                  <a:pos x="connsiteX1" y="connsiteY1"/>
                </a:cxn>
                <a:cxn ang="0">
                  <a:pos x="connsiteX2" y="connsiteY2"/>
                </a:cxn>
                <a:cxn ang="0">
                  <a:pos x="connsiteX3" y="connsiteY3"/>
                </a:cxn>
              </a:cxnLst>
              <a:rect l="l" t="t" r="r" b="b"/>
              <a:pathLst>
                <a:path w="5534" h="11092">
                  <a:moveTo>
                    <a:pt x="1027" y="0"/>
                  </a:moveTo>
                  <a:lnTo>
                    <a:pt x="5534" y="5173"/>
                  </a:lnTo>
                  <a:lnTo>
                    <a:pt x="1909" y="11092"/>
                  </a:lnTo>
                  <a:lnTo>
                    <a:pt x="0" y="580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34" name="Freihandform: Form 433">
              <a:extLst>
                <a:ext uri="{FF2B5EF4-FFF2-40B4-BE49-F238E27FC236}">
                  <a16:creationId xmlns:a16="http://schemas.microsoft.com/office/drawing/2014/main" id="{360F8B9E-BA2B-AA08-B95E-7271D8BFB4D8}"/>
                </a:ext>
              </a:extLst>
            </p:cNvPr>
            <p:cNvSpPr/>
            <p:nvPr/>
          </p:nvSpPr>
          <p:spPr>
            <a:xfrm>
              <a:off x="6223022" y="2522496"/>
              <a:ext cx="20636" cy="14288"/>
            </a:xfrm>
            <a:custGeom>
              <a:avLst/>
              <a:gdLst>
                <a:gd name="connsiteX0" fmla="*/ 8163 w 16559"/>
                <a:gd name="connsiteY0" fmla="*/ 38 h 11851"/>
                <a:gd name="connsiteX1" fmla="*/ 2349 w 16559"/>
                <a:gd name="connsiteY1" fmla="*/ 1961 h 11851"/>
                <a:gd name="connsiteX2" fmla="*/ 932 w 16559"/>
                <a:gd name="connsiteY2" fmla="*/ 4791 h 11851"/>
                <a:gd name="connsiteX3" fmla="*/ 5830 w 16559"/>
                <a:gd name="connsiteY3" fmla="*/ 8295 h 11851"/>
                <a:gd name="connsiteX4" fmla="*/ 10357 w 16559"/>
                <a:gd name="connsiteY4" fmla="*/ 11660 h 11851"/>
                <a:gd name="connsiteX5" fmla="*/ 15915 w 16559"/>
                <a:gd name="connsiteY5" fmla="*/ 11236 h 11851"/>
                <a:gd name="connsiteX6" fmla="*/ 16050 w 16559"/>
                <a:gd name="connsiteY6" fmla="*/ 6869 h 11851"/>
                <a:gd name="connsiteX7" fmla="*/ 13321 w 16559"/>
                <a:gd name="connsiteY7" fmla="*/ 144 h 11851"/>
                <a:gd name="connsiteX8" fmla="*/ 8163 w 16559"/>
                <a:gd name="connsiteY8" fmla="*/ 38 h 11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59" h="11851">
                  <a:moveTo>
                    <a:pt x="8163" y="38"/>
                  </a:moveTo>
                  <a:cubicBezTo>
                    <a:pt x="8163" y="38"/>
                    <a:pt x="4027" y="2077"/>
                    <a:pt x="2349" y="1961"/>
                  </a:cubicBezTo>
                  <a:cubicBezTo>
                    <a:pt x="662" y="1836"/>
                    <a:pt x="-1146" y="4024"/>
                    <a:pt x="932" y="4791"/>
                  </a:cubicBezTo>
                  <a:cubicBezTo>
                    <a:pt x="2991" y="5586"/>
                    <a:pt x="4799" y="6493"/>
                    <a:pt x="5830" y="8295"/>
                  </a:cubicBezTo>
                  <a:cubicBezTo>
                    <a:pt x="6866" y="10103"/>
                    <a:pt x="9460" y="12557"/>
                    <a:pt x="10357" y="11660"/>
                  </a:cubicBezTo>
                  <a:cubicBezTo>
                    <a:pt x="11258" y="10749"/>
                    <a:pt x="14888" y="10233"/>
                    <a:pt x="15915" y="11236"/>
                  </a:cubicBezTo>
                  <a:cubicBezTo>
                    <a:pt x="16942" y="12287"/>
                    <a:pt x="16551" y="9322"/>
                    <a:pt x="16050" y="6869"/>
                  </a:cubicBezTo>
                  <a:cubicBezTo>
                    <a:pt x="15510" y="4410"/>
                    <a:pt x="14893" y="419"/>
                    <a:pt x="13321" y="144"/>
                  </a:cubicBezTo>
                  <a:cubicBezTo>
                    <a:pt x="11788" y="-97"/>
                    <a:pt x="8163" y="38"/>
                    <a:pt x="8163" y="3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35" name="Freihandform: Form 434">
              <a:extLst>
                <a:ext uri="{FF2B5EF4-FFF2-40B4-BE49-F238E27FC236}">
                  <a16:creationId xmlns:a16="http://schemas.microsoft.com/office/drawing/2014/main" id="{06A084ED-9E58-F315-2903-D5B1BB02F55D}"/>
                </a:ext>
              </a:extLst>
            </p:cNvPr>
            <p:cNvSpPr/>
            <p:nvPr/>
          </p:nvSpPr>
          <p:spPr>
            <a:xfrm>
              <a:off x="6267467" y="2522496"/>
              <a:ext cx="7937" cy="7937"/>
            </a:xfrm>
            <a:custGeom>
              <a:avLst/>
              <a:gdLst>
                <a:gd name="connsiteX0" fmla="*/ 3645 w 6348"/>
                <a:gd name="connsiteY0" fmla="*/ 0 h 6184"/>
                <a:gd name="connsiteX1" fmla="*/ 6349 w 6348"/>
                <a:gd name="connsiteY1" fmla="*/ 2849 h 6184"/>
                <a:gd name="connsiteX2" fmla="*/ 0 w 6348"/>
                <a:gd name="connsiteY2" fmla="*/ 6185 h 6184"/>
              </a:gdLst>
              <a:ahLst/>
              <a:cxnLst>
                <a:cxn ang="0">
                  <a:pos x="connsiteX0" y="connsiteY0"/>
                </a:cxn>
                <a:cxn ang="0">
                  <a:pos x="connsiteX1" y="connsiteY1"/>
                </a:cxn>
                <a:cxn ang="0">
                  <a:pos x="connsiteX2" y="connsiteY2"/>
                </a:cxn>
              </a:cxnLst>
              <a:rect l="l" t="t" r="r" b="b"/>
              <a:pathLst>
                <a:path w="6348" h="6184">
                  <a:moveTo>
                    <a:pt x="3645" y="0"/>
                  </a:moveTo>
                  <a:lnTo>
                    <a:pt x="6349" y="2849"/>
                  </a:lnTo>
                  <a:lnTo>
                    <a:pt x="0" y="618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36" name="Freihandform: Form 435">
              <a:extLst>
                <a:ext uri="{FF2B5EF4-FFF2-40B4-BE49-F238E27FC236}">
                  <a16:creationId xmlns:a16="http://schemas.microsoft.com/office/drawing/2014/main" id="{F24BB0AC-F724-0235-5A3E-252313DB42C8}"/>
                </a:ext>
              </a:extLst>
            </p:cNvPr>
            <p:cNvSpPr/>
            <p:nvPr/>
          </p:nvSpPr>
          <p:spPr>
            <a:xfrm>
              <a:off x="6305563" y="2312938"/>
              <a:ext cx="4762" cy="9525"/>
            </a:xfrm>
            <a:custGeom>
              <a:avLst/>
              <a:gdLst>
                <a:gd name="connsiteX0" fmla="*/ 130 w 2945"/>
                <a:gd name="connsiteY0" fmla="*/ 0 h 7631"/>
                <a:gd name="connsiteX1" fmla="*/ 2945 w 2945"/>
                <a:gd name="connsiteY1" fmla="*/ 916 h 7631"/>
                <a:gd name="connsiteX2" fmla="*/ 0 w 2945"/>
                <a:gd name="connsiteY2" fmla="*/ 7631 h 7631"/>
              </a:gdLst>
              <a:ahLst/>
              <a:cxnLst>
                <a:cxn ang="0">
                  <a:pos x="connsiteX0" y="connsiteY0"/>
                </a:cxn>
                <a:cxn ang="0">
                  <a:pos x="connsiteX1" y="connsiteY1"/>
                </a:cxn>
                <a:cxn ang="0">
                  <a:pos x="connsiteX2" y="connsiteY2"/>
                </a:cxn>
              </a:cxnLst>
              <a:rect l="l" t="t" r="r" b="b"/>
              <a:pathLst>
                <a:path w="2945" h="7631">
                  <a:moveTo>
                    <a:pt x="130" y="0"/>
                  </a:moveTo>
                  <a:lnTo>
                    <a:pt x="2945" y="916"/>
                  </a:lnTo>
                  <a:lnTo>
                    <a:pt x="0" y="763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37" name="Freihandform: Form 436">
              <a:extLst>
                <a:ext uri="{FF2B5EF4-FFF2-40B4-BE49-F238E27FC236}">
                  <a16:creationId xmlns:a16="http://schemas.microsoft.com/office/drawing/2014/main" id="{AC2E122F-840A-120F-6AD5-6B934F19AD80}"/>
                </a:ext>
              </a:extLst>
            </p:cNvPr>
            <p:cNvSpPr/>
            <p:nvPr/>
          </p:nvSpPr>
          <p:spPr>
            <a:xfrm>
              <a:off x="6324611" y="2419304"/>
              <a:ext cx="12699" cy="14289"/>
            </a:xfrm>
            <a:custGeom>
              <a:avLst/>
              <a:gdLst>
                <a:gd name="connsiteX0" fmla="*/ 264 w 9764"/>
                <a:gd name="connsiteY0" fmla="*/ 0 h 11866"/>
                <a:gd name="connsiteX1" fmla="*/ 8792 w 9764"/>
                <a:gd name="connsiteY1" fmla="*/ 5303 h 11866"/>
                <a:gd name="connsiteX2" fmla="*/ 8025 w 9764"/>
                <a:gd name="connsiteY2" fmla="*/ 11859 h 11866"/>
                <a:gd name="connsiteX3" fmla="*/ 18 w 9764"/>
                <a:gd name="connsiteY3" fmla="*/ 7872 h 11866"/>
                <a:gd name="connsiteX4" fmla="*/ 264 w 9764"/>
                <a:gd name="connsiteY4" fmla="*/ 0 h 11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4" h="11866">
                  <a:moveTo>
                    <a:pt x="264" y="0"/>
                  </a:moveTo>
                  <a:cubicBezTo>
                    <a:pt x="264" y="0"/>
                    <a:pt x="5306" y="5684"/>
                    <a:pt x="8792" y="5303"/>
                  </a:cubicBezTo>
                  <a:cubicBezTo>
                    <a:pt x="9828" y="10201"/>
                    <a:pt x="10604" y="11999"/>
                    <a:pt x="8025" y="11859"/>
                  </a:cubicBezTo>
                  <a:cubicBezTo>
                    <a:pt x="5456" y="11758"/>
                    <a:pt x="-363" y="11088"/>
                    <a:pt x="18" y="7872"/>
                  </a:cubicBezTo>
                  <a:cubicBezTo>
                    <a:pt x="384" y="4642"/>
                    <a:pt x="1295" y="3220"/>
                    <a:pt x="264"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38" name="Freihandform: Form 437">
              <a:extLst>
                <a:ext uri="{FF2B5EF4-FFF2-40B4-BE49-F238E27FC236}">
                  <a16:creationId xmlns:a16="http://schemas.microsoft.com/office/drawing/2014/main" id="{D0B58C60-FE69-70EA-BA3D-2DE23D7DF395}"/>
                </a:ext>
              </a:extLst>
            </p:cNvPr>
            <p:cNvSpPr/>
            <p:nvPr/>
          </p:nvSpPr>
          <p:spPr>
            <a:xfrm>
              <a:off x="6356357" y="2422479"/>
              <a:ext cx="4762" cy="17464"/>
            </a:xfrm>
            <a:custGeom>
              <a:avLst/>
              <a:gdLst>
                <a:gd name="connsiteX0" fmla="*/ 4671 w 4671"/>
                <a:gd name="connsiteY0" fmla="*/ 0 h 13189"/>
                <a:gd name="connsiteX1" fmla="*/ 0 w 4671"/>
                <a:gd name="connsiteY1" fmla="*/ 6199 h 13189"/>
                <a:gd name="connsiteX2" fmla="*/ 1171 w 4671"/>
                <a:gd name="connsiteY2" fmla="*/ 13189 h 13189"/>
                <a:gd name="connsiteX3" fmla="*/ 4396 w 4671"/>
                <a:gd name="connsiteY3" fmla="*/ 6831 h 13189"/>
              </a:gdLst>
              <a:ahLst/>
              <a:cxnLst>
                <a:cxn ang="0">
                  <a:pos x="connsiteX0" y="connsiteY0"/>
                </a:cxn>
                <a:cxn ang="0">
                  <a:pos x="connsiteX1" y="connsiteY1"/>
                </a:cxn>
                <a:cxn ang="0">
                  <a:pos x="connsiteX2" y="connsiteY2"/>
                </a:cxn>
                <a:cxn ang="0">
                  <a:pos x="connsiteX3" y="connsiteY3"/>
                </a:cxn>
              </a:cxnLst>
              <a:rect l="l" t="t" r="r" b="b"/>
              <a:pathLst>
                <a:path w="4671" h="13189">
                  <a:moveTo>
                    <a:pt x="4671" y="0"/>
                  </a:moveTo>
                  <a:lnTo>
                    <a:pt x="0" y="6199"/>
                  </a:lnTo>
                  <a:lnTo>
                    <a:pt x="1171" y="13189"/>
                  </a:lnTo>
                  <a:lnTo>
                    <a:pt x="4396" y="683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39" name="Freihandform: Form 438">
              <a:extLst>
                <a:ext uri="{FF2B5EF4-FFF2-40B4-BE49-F238E27FC236}">
                  <a16:creationId xmlns:a16="http://schemas.microsoft.com/office/drawing/2014/main" id="{3EA870AE-B403-8E52-1DB5-83959663639C}"/>
                </a:ext>
              </a:extLst>
            </p:cNvPr>
            <p:cNvSpPr/>
            <p:nvPr/>
          </p:nvSpPr>
          <p:spPr>
            <a:xfrm>
              <a:off x="6376993" y="2430418"/>
              <a:ext cx="11111" cy="9525"/>
            </a:xfrm>
            <a:custGeom>
              <a:avLst/>
              <a:gdLst>
                <a:gd name="connsiteX0" fmla="*/ 0 w 9240"/>
                <a:gd name="connsiteY0" fmla="*/ 0 h 8314"/>
                <a:gd name="connsiteX1" fmla="*/ 9183 w 9240"/>
                <a:gd name="connsiteY1" fmla="*/ 6836 h 8314"/>
                <a:gd name="connsiteX2" fmla="*/ 4155 w 9240"/>
                <a:gd name="connsiteY2" fmla="*/ 7347 h 8314"/>
                <a:gd name="connsiteX3" fmla="*/ 0 w 9240"/>
                <a:gd name="connsiteY3" fmla="*/ 0 h 8314"/>
              </a:gdLst>
              <a:ahLst/>
              <a:cxnLst>
                <a:cxn ang="0">
                  <a:pos x="connsiteX0" y="connsiteY0"/>
                </a:cxn>
                <a:cxn ang="0">
                  <a:pos x="connsiteX1" y="connsiteY1"/>
                </a:cxn>
                <a:cxn ang="0">
                  <a:pos x="connsiteX2" y="connsiteY2"/>
                </a:cxn>
                <a:cxn ang="0">
                  <a:pos x="connsiteX3" y="connsiteY3"/>
                </a:cxn>
              </a:cxnLst>
              <a:rect l="l" t="t" r="r" b="b"/>
              <a:pathLst>
                <a:path w="9240" h="8314">
                  <a:moveTo>
                    <a:pt x="0" y="0"/>
                  </a:moveTo>
                  <a:cubicBezTo>
                    <a:pt x="1152" y="516"/>
                    <a:pt x="8523" y="4917"/>
                    <a:pt x="9183" y="6836"/>
                  </a:cubicBezTo>
                  <a:cubicBezTo>
                    <a:pt x="9824" y="8774"/>
                    <a:pt x="4917" y="8658"/>
                    <a:pt x="4155" y="7347"/>
                  </a:cubicBezTo>
                  <a:cubicBezTo>
                    <a:pt x="3355" y="6064"/>
                    <a:pt x="0" y="0"/>
                    <a:pt x="0"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40" name="Freihandform: Form 439">
              <a:extLst>
                <a:ext uri="{FF2B5EF4-FFF2-40B4-BE49-F238E27FC236}">
                  <a16:creationId xmlns:a16="http://schemas.microsoft.com/office/drawing/2014/main" id="{5497CA77-0105-38C4-1FA1-FD7315C0A84A}"/>
                </a:ext>
              </a:extLst>
            </p:cNvPr>
            <p:cNvSpPr/>
            <p:nvPr/>
          </p:nvSpPr>
          <p:spPr>
            <a:xfrm>
              <a:off x="6367469" y="2432005"/>
              <a:ext cx="17460" cy="23814"/>
            </a:xfrm>
            <a:custGeom>
              <a:avLst/>
              <a:gdLst>
                <a:gd name="connsiteX0" fmla="*/ 521 w 14182"/>
                <a:gd name="connsiteY0" fmla="*/ 202 h 19061"/>
                <a:gd name="connsiteX1" fmla="*/ 9815 w 14182"/>
                <a:gd name="connsiteY1" fmla="*/ 8069 h 19061"/>
                <a:gd name="connsiteX2" fmla="*/ 10991 w 14182"/>
                <a:gd name="connsiteY2" fmla="*/ 11685 h 19061"/>
                <a:gd name="connsiteX3" fmla="*/ 13980 w 14182"/>
                <a:gd name="connsiteY3" fmla="*/ 14794 h 19061"/>
                <a:gd name="connsiteX4" fmla="*/ 10856 w 14182"/>
                <a:gd name="connsiteY4" fmla="*/ 18405 h 19061"/>
                <a:gd name="connsiteX5" fmla="*/ 0 w 14182"/>
                <a:gd name="connsiteY5" fmla="*/ 12731 h 19061"/>
                <a:gd name="connsiteX6" fmla="*/ 521 w 14182"/>
                <a:gd name="connsiteY6" fmla="*/ 202 h 19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82" h="19061">
                  <a:moveTo>
                    <a:pt x="521" y="202"/>
                  </a:moveTo>
                  <a:cubicBezTo>
                    <a:pt x="-255" y="-975"/>
                    <a:pt x="8514" y="3171"/>
                    <a:pt x="9815" y="8069"/>
                  </a:cubicBezTo>
                  <a:cubicBezTo>
                    <a:pt x="9950" y="9110"/>
                    <a:pt x="5573" y="13381"/>
                    <a:pt x="10991" y="11685"/>
                  </a:cubicBezTo>
                  <a:cubicBezTo>
                    <a:pt x="12910" y="11434"/>
                    <a:pt x="13980" y="12485"/>
                    <a:pt x="13980" y="14794"/>
                  </a:cubicBezTo>
                  <a:cubicBezTo>
                    <a:pt x="13980" y="17122"/>
                    <a:pt x="15373" y="20497"/>
                    <a:pt x="10856" y="18405"/>
                  </a:cubicBezTo>
                  <a:cubicBezTo>
                    <a:pt x="6335" y="16332"/>
                    <a:pt x="0" y="12731"/>
                    <a:pt x="0" y="12731"/>
                  </a:cubicBezTo>
                  <a:cubicBezTo>
                    <a:pt x="0" y="12731"/>
                    <a:pt x="2203" y="2795"/>
                    <a:pt x="521" y="20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41" name="Freihandform: Form 440">
              <a:extLst>
                <a:ext uri="{FF2B5EF4-FFF2-40B4-BE49-F238E27FC236}">
                  <a16:creationId xmlns:a16="http://schemas.microsoft.com/office/drawing/2014/main" id="{3087623C-6F40-62EB-F4AD-2CB323FF534C}"/>
                </a:ext>
              </a:extLst>
            </p:cNvPr>
            <p:cNvSpPr/>
            <p:nvPr/>
          </p:nvSpPr>
          <p:spPr>
            <a:xfrm>
              <a:off x="6396041" y="2452643"/>
              <a:ext cx="19048" cy="11112"/>
            </a:xfrm>
            <a:custGeom>
              <a:avLst/>
              <a:gdLst>
                <a:gd name="connsiteX0" fmla="*/ 11204 w 15210"/>
                <a:gd name="connsiteY0" fmla="*/ 6585 h 8156"/>
                <a:gd name="connsiteX1" fmla="*/ 7690 w 15210"/>
                <a:gd name="connsiteY1" fmla="*/ 8157 h 8156"/>
                <a:gd name="connsiteX2" fmla="*/ 488 w 15210"/>
                <a:gd name="connsiteY2" fmla="*/ 7626 h 8156"/>
                <a:gd name="connsiteX3" fmla="*/ 1640 w 15210"/>
                <a:gd name="connsiteY3" fmla="*/ 2083 h 8156"/>
                <a:gd name="connsiteX4" fmla="*/ 6533 w 15210"/>
                <a:gd name="connsiteY4" fmla="*/ 135 h 8156"/>
                <a:gd name="connsiteX5" fmla="*/ 15210 w 15210"/>
                <a:gd name="connsiteY5" fmla="*/ 767 h 8156"/>
                <a:gd name="connsiteX6" fmla="*/ 11204 w 15210"/>
                <a:gd name="connsiteY6" fmla="*/ 6585 h 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10" h="8156">
                  <a:moveTo>
                    <a:pt x="11204" y="6585"/>
                  </a:moveTo>
                  <a:cubicBezTo>
                    <a:pt x="12371" y="5823"/>
                    <a:pt x="7690" y="8157"/>
                    <a:pt x="7690" y="8157"/>
                  </a:cubicBezTo>
                  <a:cubicBezTo>
                    <a:pt x="6166" y="6976"/>
                    <a:pt x="1910" y="6455"/>
                    <a:pt x="488" y="7626"/>
                  </a:cubicBezTo>
                  <a:cubicBezTo>
                    <a:pt x="-930" y="8783"/>
                    <a:pt x="1143" y="2979"/>
                    <a:pt x="1640" y="2083"/>
                  </a:cubicBezTo>
                  <a:cubicBezTo>
                    <a:pt x="2180" y="1176"/>
                    <a:pt x="4600" y="656"/>
                    <a:pt x="6533" y="135"/>
                  </a:cubicBezTo>
                  <a:cubicBezTo>
                    <a:pt x="8490" y="-386"/>
                    <a:pt x="15210" y="767"/>
                    <a:pt x="15210" y="767"/>
                  </a:cubicBezTo>
                  <a:lnTo>
                    <a:pt x="11204" y="658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42" name="Freihandform: Form 441">
              <a:extLst>
                <a:ext uri="{FF2B5EF4-FFF2-40B4-BE49-F238E27FC236}">
                  <a16:creationId xmlns:a16="http://schemas.microsoft.com/office/drawing/2014/main" id="{626FD10A-BA77-7E57-4AF8-F4B4C3D5D00D}"/>
                </a:ext>
              </a:extLst>
            </p:cNvPr>
            <p:cNvSpPr/>
            <p:nvPr/>
          </p:nvSpPr>
          <p:spPr>
            <a:xfrm>
              <a:off x="6407151" y="2465344"/>
              <a:ext cx="7937" cy="7937"/>
            </a:xfrm>
            <a:custGeom>
              <a:avLst/>
              <a:gdLst>
                <a:gd name="connsiteX0" fmla="*/ 6465 w 6464"/>
                <a:gd name="connsiteY0" fmla="*/ 1678 h 6585"/>
                <a:gd name="connsiteX1" fmla="*/ 4286 w 6464"/>
                <a:gd name="connsiteY1" fmla="*/ 6585 h 6585"/>
                <a:gd name="connsiteX2" fmla="*/ 0 w 6464"/>
                <a:gd name="connsiteY2" fmla="*/ 3635 h 6585"/>
                <a:gd name="connsiteX3" fmla="*/ 1181 w 6464"/>
                <a:gd name="connsiteY3" fmla="*/ 0 h 6585"/>
              </a:gdLst>
              <a:ahLst/>
              <a:cxnLst>
                <a:cxn ang="0">
                  <a:pos x="connsiteX0" y="connsiteY0"/>
                </a:cxn>
                <a:cxn ang="0">
                  <a:pos x="connsiteX1" y="connsiteY1"/>
                </a:cxn>
                <a:cxn ang="0">
                  <a:pos x="connsiteX2" y="connsiteY2"/>
                </a:cxn>
                <a:cxn ang="0">
                  <a:pos x="connsiteX3" y="connsiteY3"/>
                </a:cxn>
              </a:cxnLst>
              <a:rect l="l" t="t" r="r" b="b"/>
              <a:pathLst>
                <a:path w="6464" h="6585">
                  <a:moveTo>
                    <a:pt x="6465" y="1678"/>
                  </a:moveTo>
                  <a:lnTo>
                    <a:pt x="4286" y="6585"/>
                  </a:lnTo>
                  <a:lnTo>
                    <a:pt x="0" y="3635"/>
                  </a:lnTo>
                  <a:lnTo>
                    <a:pt x="1181"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43" name="Freihandform: Form 442">
              <a:extLst>
                <a:ext uri="{FF2B5EF4-FFF2-40B4-BE49-F238E27FC236}">
                  <a16:creationId xmlns:a16="http://schemas.microsoft.com/office/drawing/2014/main" id="{612C2FF8-AA4A-FBF1-F6E7-1F1E8A61D21E}"/>
                </a:ext>
              </a:extLst>
            </p:cNvPr>
            <p:cNvSpPr/>
            <p:nvPr/>
          </p:nvSpPr>
          <p:spPr>
            <a:xfrm>
              <a:off x="6416675" y="2455819"/>
              <a:ext cx="7937" cy="9525"/>
            </a:xfrm>
            <a:custGeom>
              <a:avLst/>
              <a:gdLst>
                <a:gd name="connsiteX0" fmla="*/ 482 w 7202"/>
                <a:gd name="connsiteY0" fmla="*/ 7250 h 7250"/>
                <a:gd name="connsiteX1" fmla="*/ 4763 w 7202"/>
                <a:gd name="connsiteY1" fmla="*/ 6214 h 7250"/>
                <a:gd name="connsiteX2" fmla="*/ 7202 w 7202"/>
                <a:gd name="connsiteY2" fmla="*/ 0 h 7250"/>
                <a:gd name="connsiteX3" fmla="*/ 1383 w 7202"/>
                <a:gd name="connsiteY3" fmla="*/ 1171 h 7250"/>
                <a:gd name="connsiteX4" fmla="*/ 0 w 7202"/>
                <a:gd name="connsiteY4" fmla="*/ 3635 h 7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2" h="7250">
                  <a:moveTo>
                    <a:pt x="482" y="7250"/>
                  </a:moveTo>
                  <a:lnTo>
                    <a:pt x="4763" y="6214"/>
                  </a:lnTo>
                  <a:lnTo>
                    <a:pt x="7202" y="0"/>
                  </a:lnTo>
                  <a:lnTo>
                    <a:pt x="1383" y="1171"/>
                  </a:lnTo>
                  <a:lnTo>
                    <a:pt x="0" y="363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44" name="Freihandform: Form 443">
              <a:extLst>
                <a:ext uri="{FF2B5EF4-FFF2-40B4-BE49-F238E27FC236}">
                  <a16:creationId xmlns:a16="http://schemas.microsoft.com/office/drawing/2014/main" id="{47C45916-F1EC-BEEC-EC3F-3A3764316062}"/>
                </a:ext>
              </a:extLst>
            </p:cNvPr>
            <p:cNvSpPr/>
            <p:nvPr/>
          </p:nvSpPr>
          <p:spPr>
            <a:xfrm>
              <a:off x="6415088" y="2443118"/>
              <a:ext cx="12699" cy="9525"/>
            </a:xfrm>
            <a:custGeom>
              <a:avLst/>
              <a:gdLst>
                <a:gd name="connsiteX0" fmla="*/ 9560 w 9559"/>
                <a:gd name="connsiteY0" fmla="*/ 2796 h 7313"/>
                <a:gd name="connsiteX1" fmla="*/ 7231 w 9559"/>
                <a:gd name="connsiteY1" fmla="*/ 7313 h 7313"/>
                <a:gd name="connsiteX2" fmla="*/ 0 w 9559"/>
                <a:gd name="connsiteY2" fmla="*/ 5915 h 7313"/>
                <a:gd name="connsiteX3" fmla="*/ 771 w 9559"/>
                <a:gd name="connsiteY3" fmla="*/ 0 h 7313"/>
                <a:gd name="connsiteX4" fmla="*/ 4011 w 9559"/>
                <a:gd name="connsiteY4" fmla="*/ 3977 h 7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9" h="7313">
                  <a:moveTo>
                    <a:pt x="9560" y="2796"/>
                  </a:moveTo>
                  <a:lnTo>
                    <a:pt x="7231" y="7313"/>
                  </a:lnTo>
                  <a:lnTo>
                    <a:pt x="0" y="5915"/>
                  </a:lnTo>
                  <a:lnTo>
                    <a:pt x="771" y="0"/>
                  </a:lnTo>
                  <a:lnTo>
                    <a:pt x="4011" y="397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45" name="Freihandform: Form 444">
              <a:extLst>
                <a:ext uri="{FF2B5EF4-FFF2-40B4-BE49-F238E27FC236}">
                  <a16:creationId xmlns:a16="http://schemas.microsoft.com/office/drawing/2014/main" id="{C09D0C36-66FD-1A8B-F81A-CB9B40E14337}"/>
                </a:ext>
              </a:extLst>
            </p:cNvPr>
            <p:cNvSpPr/>
            <p:nvPr/>
          </p:nvSpPr>
          <p:spPr>
            <a:xfrm>
              <a:off x="6386517" y="2473281"/>
              <a:ext cx="9524" cy="14289"/>
            </a:xfrm>
            <a:custGeom>
              <a:avLst/>
              <a:gdLst>
                <a:gd name="connsiteX0" fmla="*/ 8299 w 8299"/>
                <a:gd name="connsiteY0" fmla="*/ 0 h 11118"/>
                <a:gd name="connsiteX1" fmla="*/ 567 w 8299"/>
                <a:gd name="connsiteY1" fmla="*/ 5799 h 11118"/>
                <a:gd name="connsiteX2" fmla="*/ 2625 w 8299"/>
                <a:gd name="connsiteY2" fmla="*/ 9405 h 11118"/>
                <a:gd name="connsiteX3" fmla="*/ 6477 w 8299"/>
                <a:gd name="connsiteY3" fmla="*/ 9159 h 11118"/>
                <a:gd name="connsiteX4" fmla="*/ 8299 w 8299"/>
                <a:gd name="connsiteY4" fmla="*/ 0 h 11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9" h="11118">
                  <a:moveTo>
                    <a:pt x="8299" y="0"/>
                  </a:moveTo>
                  <a:cubicBezTo>
                    <a:pt x="8299" y="0"/>
                    <a:pt x="1772" y="5447"/>
                    <a:pt x="567" y="5799"/>
                  </a:cubicBezTo>
                  <a:cubicBezTo>
                    <a:pt x="-672" y="6151"/>
                    <a:pt x="167" y="7221"/>
                    <a:pt x="2625" y="9405"/>
                  </a:cubicBezTo>
                  <a:cubicBezTo>
                    <a:pt x="5074" y="11599"/>
                    <a:pt x="6236" y="11864"/>
                    <a:pt x="6477" y="9159"/>
                  </a:cubicBezTo>
                  <a:cubicBezTo>
                    <a:pt x="6757" y="6450"/>
                    <a:pt x="8299" y="0"/>
                    <a:pt x="8299"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46" name="Freihandform: Form 445">
              <a:extLst>
                <a:ext uri="{FF2B5EF4-FFF2-40B4-BE49-F238E27FC236}">
                  <a16:creationId xmlns:a16="http://schemas.microsoft.com/office/drawing/2014/main" id="{C15EC68D-1014-0C09-8782-7E0C189F2F0C}"/>
                </a:ext>
              </a:extLst>
            </p:cNvPr>
            <p:cNvSpPr/>
            <p:nvPr/>
          </p:nvSpPr>
          <p:spPr>
            <a:xfrm>
              <a:off x="6369056" y="2478044"/>
              <a:ext cx="14286" cy="11112"/>
            </a:xfrm>
            <a:custGeom>
              <a:avLst/>
              <a:gdLst>
                <a:gd name="connsiteX0" fmla="*/ 10728 w 10912"/>
                <a:gd name="connsiteY0" fmla="*/ 1375 h 7625"/>
                <a:gd name="connsiteX1" fmla="*/ 4682 w 10912"/>
                <a:gd name="connsiteY1" fmla="*/ 78 h 7625"/>
                <a:gd name="connsiteX2" fmla="*/ 136 w 10912"/>
                <a:gd name="connsiteY2" fmla="*/ 2132 h 7625"/>
                <a:gd name="connsiteX3" fmla="*/ 927 w 10912"/>
                <a:gd name="connsiteY3" fmla="*/ 7579 h 7625"/>
                <a:gd name="connsiteX4" fmla="*/ 6225 w 10912"/>
                <a:gd name="connsiteY4" fmla="*/ 5882 h 7625"/>
                <a:gd name="connsiteX5" fmla="*/ 10728 w 10912"/>
                <a:gd name="connsiteY5" fmla="*/ 1375 h 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12" h="7625">
                  <a:moveTo>
                    <a:pt x="10728" y="1375"/>
                  </a:moveTo>
                  <a:cubicBezTo>
                    <a:pt x="8322" y="-240"/>
                    <a:pt x="6601" y="-42"/>
                    <a:pt x="4682" y="78"/>
                  </a:cubicBezTo>
                  <a:cubicBezTo>
                    <a:pt x="2715" y="218"/>
                    <a:pt x="136" y="218"/>
                    <a:pt x="136" y="2132"/>
                  </a:cubicBezTo>
                  <a:cubicBezTo>
                    <a:pt x="136" y="4084"/>
                    <a:pt x="-486" y="8100"/>
                    <a:pt x="927" y="7579"/>
                  </a:cubicBezTo>
                  <a:cubicBezTo>
                    <a:pt x="2359" y="7064"/>
                    <a:pt x="5188" y="7174"/>
                    <a:pt x="6225" y="5882"/>
                  </a:cubicBezTo>
                  <a:cubicBezTo>
                    <a:pt x="7237" y="4600"/>
                    <a:pt x="11889" y="2132"/>
                    <a:pt x="10728" y="137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47" name="Freihandform: Form 446">
              <a:extLst>
                <a:ext uri="{FF2B5EF4-FFF2-40B4-BE49-F238E27FC236}">
                  <a16:creationId xmlns:a16="http://schemas.microsoft.com/office/drawing/2014/main" id="{3C799857-E9A5-69E0-ECB0-8A74B486B90A}"/>
                </a:ext>
              </a:extLst>
            </p:cNvPr>
            <p:cNvSpPr/>
            <p:nvPr/>
          </p:nvSpPr>
          <p:spPr>
            <a:xfrm>
              <a:off x="6351596" y="2485982"/>
              <a:ext cx="9524" cy="12700"/>
            </a:xfrm>
            <a:custGeom>
              <a:avLst/>
              <a:gdLst>
                <a:gd name="connsiteX0" fmla="*/ 2427 w 8572"/>
                <a:gd name="connsiteY0" fmla="*/ 0 h 9525"/>
                <a:gd name="connsiteX1" fmla="*/ 349 w 8572"/>
                <a:gd name="connsiteY1" fmla="*/ 6344 h 9525"/>
                <a:gd name="connsiteX2" fmla="*/ 5652 w 8572"/>
                <a:gd name="connsiteY2" fmla="*/ 9188 h 9525"/>
                <a:gd name="connsiteX3" fmla="*/ 8222 w 8572"/>
                <a:gd name="connsiteY3" fmla="*/ 3640 h 9525"/>
                <a:gd name="connsiteX4" fmla="*/ 2427 w 8572"/>
                <a:gd name="connsiteY4" fmla="*/ 0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9525">
                  <a:moveTo>
                    <a:pt x="2427" y="0"/>
                  </a:moveTo>
                  <a:cubicBezTo>
                    <a:pt x="1265" y="1697"/>
                    <a:pt x="-832" y="5549"/>
                    <a:pt x="349" y="6344"/>
                  </a:cubicBezTo>
                  <a:cubicBezTo>
                    <a:pt x="1521" y="7106"/>
                    <a:pt x="4997" y="10615"/>
                    <a:pt x="5652" y="9188"/>
                  </a:cubicBezTo>
                  <a:cubicBezTo>
                    <a:pt x="6303" y="7766"/>
                    <a:pt x="9649" y="4917"/>
                    <a:pt x="8222" y="3640"/>
                  </a:cubicBezTo>
                  <a:cubicBezTo>
                    <a:pt x="6809" y="2328"/>
                    <a:pt x="2427" y="0"/>
                    <a:pt x="2427"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48" name="Freihandform: Form 447">
              <a:extLst>
                <a:ext uri="{FF2B5EF4-FFF2-40B4-BE49-F238E27FC236}">
                  <a16:creationId xmlns:a16="http://schemas.microsoft.com/office/drawing/2014/main" id="{915BCC81-33A8-C5A0-5D23-E7A066C9E2D1}"/>
                </a:ext>
              </a:extLst>
            </p:cNvPr>
            <p:cNvSpPr/>
            <p:nvPr/>
          </p:nvSpPr>
          <p:spPr>
            <a:xfrm>
              <a:off x="6329373" y="2484395"/>
              <a:ext cx="12699" cy="6350"/>
            </a:xfrm>
            <a:custGeom>
              <a:avLst/>
              <a:gdLst>
                <a:gd name="connsiteX0" fmla="*/ 9847 w 9846"/>
                <a:gd name="connsiteY0" fmla="*/ 1293 h 5640"/>
                <a:gd name="connsiteX1" fmla="*/ 4529 w 9846"/>
                <a:gd name="connsiteY1" fmla="*/ 155 h 5640"/>
                <a:gd name="connsiteX2" fmla="*/ 538 w 9846"/>
                <a:gd name="connsiteY2" fmla="*/ 2064 h 5640"/>
                <a:gd name="connsiteX3" fmla="*/ 5691 w 9846"/>
                <a:gd name="connsiteY3" fmla="*/ 5429 h 5640"/>
                <a:gd name="connsiteX4" fmla="*/ 9847 w 9846"/>
                <a:gd name="connsiteY4" fmla="*/ 1293 h 5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6" h="5640">
                  <a:moveTo>
                    <a:pt x="9847" y="1293"/>
                  </a:moveTo>
                  <a:cubicBezTo>
                    <a:pt x="8140" y="531"/>
                    <a:pt x="6597" y="-366"/>
                    <a:pt x="4529" y="155"/>
                  </a:cubicBezTo>
                  <a:cubicBezTo>
                    <a:pt x="2461" y="666"/>
                    <a:pt x="-1424" y="666"/>
                    <a:pt x="538" y="2064"/>
                  </a:cubicBezTo>
                  <a:cubicBezTo>
                    <a:pt x="2461" y="3515"/>
                    <a:pt x="3767" y="6451"/>
                    <a:pt x="5691" y="5429"/>
                  </a:cubicBezTo>
                  <a:cubicBezTo>
                    <a:pt x="7619" y="4392"/>
                    <a:pt x="9847" y="1293"/>
                    <a:pt x="9847" y="1293"/>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49" name="Freihandform: Form 448">
              <a:extLst>
                <a:ext uri="{FF2B5EF4-FFF2-40B4-BE49-F238E27FC236}">
                  <a16:creationId xmlns:a16="http://schemas.microsoft.com/office/drawing/2014/main" id="{7DD4C674-C74F-4506-1B3E-290B137D6B4C}"/>
                </a:ext>
              </a:extLst>
            </p:cNvPr>
            <p:cNvSpPr/>
            <p:nvPr/>
          </p:nvSpPr>
          <p:spPr>
            <a:xfrm>
              <a:off x="6423025" y="2449468"/>
              <a:ext cx="44445" cy="57152"/>
            </a:xfrm>
            <a:custGeom>
              <a:avLst/>
              <a:gdLst>
                <a:gd name="connsiteX0" fmla="*/ 34613 w 34612"/>
                <a:gd name="connsiteY0" fmla="*/ 0 h 43895"/>
                <a:gd name="connsiteX1" fmla="*/ 27261 w 34612"/>
                <a:gd name="connsiteY1" fmla="*/ 3616 h 43895"/>
                <a:gd name="connsiteX2" fmla="*/ 21977 w 34612"/>
                <a:gd name="connsiteY2" fmla="*/ 8263 h 43895"/>
                <a:gd name="connsiteX3" fmla="*/ 15523 w 34612"/>
                <a:gd name="connsiteY3" fmla="*/ 10856 h 43895"/>
                <a:gd name="connsiteX4" fmla="*/ 9950 w 34612"/>
                <a:gd name="connsiteY4" fmla="*/ 14857 h 43895"/>
                <a:gd name="connsiteX5" fmla="*/ 4666 w 34612"/>
                <a:gd name="connsiteY5" fmla="*/ 17311 h 43895"/>
                <a:gd name="connsiteX6" fmla="*/ 2839 w 34612"/>
                <a:gd name="connsiteY6" fmla="*/ 21968 h 43895"/>
                <a:gd name="connsiteX7" fmla="*/ 7761 w 34612"/>
                <a:gd name="connsiteY7" fmla="*/ 22209 h 43895"/>
                <a:gd name="connsiteX8" fmla="*/ 19 w 34612"/>
                <a:gd name="connsiteY8" fmla="*/ 35013 h 43895"/>
                <a:gd name="connsiteX9" fmla="*/ 5365 w 34612"/>
                <a:gd name="connsiteY9" fmla="*/ 43733 h 43895"/>
                <a:gd name="connsiteX10" fmla="*/ 14486 w 34612"/>
                <a:gd name="connsiteY10" fmla="*/ 37857 h 43895"/>
                <a:gd name="connsiteX11" fmla="*/ 26630 w 34612"/>
                <a:gd name="connsiteY11" fmla="*/ 38493 h 43895"/>
                <a:gd name="connsiteX12" fmla="*/ 28674 w 34612"/>
                <a:gd name="connsiteY12" fmla="*/ 29570 h 43895"/>
                <a:gd name="connsiteX13" fmla="*/ 30356 w 34612"/>
                <a:gd name="connsiteY13" fmla="*/ 19249 h 43895"/>
                <a:gd name="connsiteX14" fmla="*/ 29724 w 34612"/>
                <a:gd name="connsiteY14" fmla="*/ 10061 h 43895"/>
                <a:gd name="connsiteX15" fmla="*/ 34613 w 34612"/>
                <a:gd name="connsiteY15" fmla="*/ 0 h 4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612" h="43895">
                  <a:moveTo>
                    <a:pt x="34613" y="0"/>
                  </a:moveTo>
                  <a:cubicBezTo>
                    <a:pt x="31286" y="665"/>
                    <a:pt x="28948" y="1186"/>
                    <a:pt x="27261" y="3616"/>
                  </a:cubicBezTo>
                  <a:cubicBezTo>
                    <a:pt x="25588" y="6079"/>
                    <a:pt x="23645" y="7882"/>
                    <a:pt x="21977" y="8263"/>
                  </a:cubicBezTo>
                  <a:cubicBezTo>
                    <a:pt x="20276" y="8672"/>
                    <a:pt x="17186" y="8913"/>
                    <a:pt x="15523" y="10856"/>
                  </a:cubicBezTo>
                  <a:cubicBezTo>
                    <a:pt x="13835" y="12804"/>
                    <a:pt x="12013" y="14857"/>
                    <a:pt x="9950" y="14857"/>
                  </a:cubicBezTo>
                  <a:cubicBezTo>
                    <a:pt x="7877" y="14857"/>
                    <a:pt x="6079" y="15378"/>
                    <a:pt x="4666" y="17311"/>
                  </a:cubicBezTo>
                  <a:cubicBezTo>
                    <a:pt x="3249" y="19249"/>
                    <a:pt x="1036" y="22619"/>
                    <a:pt x="2839" y="21968"/>
                  </a:cubicBezTo>
                  <a:cubicBezTo>
                    <a:pt x="4666" y="21312"/>
                    <a:pt x="10355" y="20401"/>
                    <a:pt x="7761" y="22209"/>
                  </a:cubicBezTo>
                  <a:cubicBezTo>
                    <a:pt x="5158" y="24017"/>
                    <a:pt x="-367" y="32308"/>
                    <a:pt x="19" y="35013"/>
                  </a:cubicBezTo>
                  <a:cubicBezTo>
                    <a:pt x="410" y="37727"/>
                    <a:pt x="2068" y="45074"/>
                    <a:pt x="5365" y="43733"/>
                  </a:cubicBezTo>
                  <a:cubicBezTo>
                    <a:pt x="8663" y="42369"/>
                    <a:pt x="11637" y="40287"/>
                    <a:pt x="14486" y="37857"/>
                  </a:cubicBezTo>
                  <a:cubicBezTo>
                    <a:pt x="17355" y="35394"/>
                    <a:pt x="21857" y="35128"/>
                    <a:pt x="26630" y="38493"/>
                  </a:cubicBezTo>
                  <a:cubicBezTo>
                    <a:pt x="27406" y="38373"/>
                    <a:pt x="26365" y="32790"/>
                    <a:pt x="28674" y="29570"/>
                  </a:cubicBezTo>
                  <a:cubicBezTo>
                    <a:pt x="31016" y="26340"/>
                    <a:pt x="31768" y="22209"/>
                    <a:pt x="30356" y="19249"/>
                  </a:cubicBezTo>
                  <a:cubicBezTo>
                    <a:pt x="28958" y="16270"/>
                    <a:pt x="27941" y="13045"/>
                    <a:pt x="29724" y="10061"/>
                  </a:cubicBezTo>
                  <a:cubicBezTo>
                    <a:pt x="31532" y="7120"/>
                    <a:pt x="34613" y="0"/>
                    <a:pt x="34613"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50" name="Freihandform: Form 449">
              <a:extLst>
                <a:ext uri="{FF2B5EF4-FFF2-40B4-BE49-F238E27FC236}">
                  <a16:creationId xmlns:a16="http://schemas.microsoft.com/office/drawing/2014/main" id="{AAF96555-0696-9383-533A-D7E5B973A4AE}"/>
                </a:ext>
              </a:extLst>
            </p:cNvPr>
            <p:cNvSpPr/>
            <p:nvPr/>
          </p:nvSpPr>
          <p:spPr>
            <a:xfrm>
              <a:off x="6464295" y="2487570"/>
              <a:ext cx="22222" cy="25401"/>
            </a:xfrm>
            <a:custGeom>
              <a:avLst/>
              <a:gdLst>
                <a:gd name="connsiteX0" fmla="*/ 12037 w 17716"/>
                <a:gd name="connsiteY0" fmla="*/ 0 h 20016"/>
                <a:gd name="connsiteX1" fmla="*/ 17692 w 17716"/>
                <a:gd name="connsiteY1" fmla="*/ 7115 h 20016"/>
                <a:gd name="connsiteX2" fmla="*/ 14457 w 17716"/>
                <a:gd name="connsiteY2" fmla="*/ 17972 h 20016"/>
                <a:gd name="connsiteX3" fmla="*/ 7756 w 17716"/>
                <a:gd name="connsiteY3" fmla="*/ 19630 h 20016"/>
                <a:gd name="connsiteX4" fmla="*/ 1803 w 17716"/>
                <a:gd name="connsiteY4" fmla="*/ 15224 h 20016"/>
                <a:gd name="connsiteX5" fmla="*/ 1191 w 17716"/>
                <a:gd name="connsiteY5" fmla="*/ 9179 h 20016"/>
                <a:gd name="connsiteX6" fmla="*/ 7886 w 17716"/>
                <a:gd name="connsiteY6" fmla="*/ 8913 h 20016"/>
                <a:gd name="connsiteX7" fmla="*/ 12037 w 17716"/>
                <a:gd name="connsiteY7" fmla="*/ 5028 h 20016"/>
                <a:gd name="connsiteX8" fmla="*/ 12037 w 17716"/>
                <a:gd name="connsiteY8" fmla="*/ 0 h 2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16" h="20016">
                  <a:moveTo>
                    <a:pt x="12037" y="0"/>
                  </a:moveTo>
                  <a:cubicBezTo>
                    <a:pt x="13826" y="1673"/>
                    <a:pt x="18077" y="5028"/>
                    <a:pt x="17692" y="7115"/>
                  </a:cubicBezTo>
                  <a:cubicBezTo>
                    <a:pt x="17301" y="9179"/>
                    <a:pt x="15638" y="17306"/>
                    <a:pt x="14457" y="17972"/>
                  </a:cubicBezTo>
                  <a:cubicBezTo>
                    <a:pt x="13310" y="18593"/>
                    <a:pt x="10456" y="20927"/>
                    <a:pt x="7756" y="19630"/>
                  </a:cubicBezTo>
                  <a:cubicBezTo>
                    <a:pt x="5052" y="18338"/>
                    <a:pt x="1803" y="15224"/>
                    <a:pt x="1803" y="15224"/>
                  </a:cubicBezTo>
                  <a:cubicBezTo>
                    <a:pt x="1803" y="15224"/>
                    <a:pt x="-1808" y="8533"/>
                    <a:pt x="1191" y="9179"/>
                  </a:cubicBezTo>
                  <a:cubicBezTo>
                    <a:pt x="4146" y="9805"/>
                    <a:pt x="6464" y="9439"/>
                    <a:pt x="7886" y="8913"/>
                  </a:cubicBezTo>
                  <a:cubicBezTo>
                    <a:pt x="9289" y="8398"/>
                    <a:pt x="12037" y="7221"/>
                    <a:pt x="12037" y="5028"/>
                  </a:cubicBezTo>
                  <a:cubicBezTo>
                    <a:pt x="12037" y="2835"/>
                    <a:pt x="12037" y="0"/>
                    <a:pt x="12037"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51" name="Freihandform: Form 450">
              <a:extLst>
                <a:ext uri="{FF2B5EF4-FFF2-40B4-BE49-F238E27FC236}">
                  <a16:creationId xmlns:a16="http://schemas.microsoft.com/office/drawing/2014/main" id="{9471A9D6-B918-B093-F991-394D68D64ACA}"/>
                </a:ext>
              </a:extLst>
            </p:cNvPr>
            <p:cNvSpPr/>
            <p:nvPr/>
          </p:nvSpPr>
          <p:spPr>
            <a:xfrm>
              <a:off x="6515089" y="2505032"/>
              <a:ext cx="11112" cy="3175"/>
            </a:xfrm>
            <a:custGeom>
              <a:avLst/>
              <a:gdLst>
                <a:gd name="connsiteX0" fmla="*/ 8769 w 8769"/>
                <a:gd name="connsiteY0" fmla="*/ 2222 h 2849"/>
                <a:gd name="connsiteX1" fmla="*/ 1562 w 8769"/>
                <a:gd name="connsiteY1" fmla="*/ 0 h 2849"/>
                <a:gd name="connsiteX2" fmla="*/ 0 w 8769"/>
                <a:gd name="connsiteY2" fmla="*/ 2849 h 2849"/>
                <a:gd name="connsiteX3" fmla="*/ 8769 w 8769"/>
                <a:gd name="connsiteY3" fmla="*/ 2222 h 2849"/>
              </a:gdLst>
              <a:ahLst/>
              <a:cxnLst>
                <a:cxn ang="0">
                  <a:pos x="connsiteX0" y="connsiteY0"/>
                </a:cxn>
                <a:cxn ang="0">
                  <a:pos x="connsiteX1" y="connsiteY1"/>
                </a:cxn>
                <a:cxn ang="0">
                  <a:pos x="connsiteX2" y="connsiteY2"/>
                </a:cxn>
                <a:cxn ang="0">
                  <a:pos x="connsiteX3" y="connsiteY3"/>
                </a:cxn>
              </a:cxnLst>
              <a:rect l="l" t="t" r="r" b="b"/>
              <a:pathLst>
                <a:path w="8769" h="2849">
                  <a:moveTo>
                    <a:pt x="8769" y="2222"/>
                  </a:moveTo>
                  <a:cubicBezTo>
                    <a:pt x="8403" y="2222"/>
                    <a:pt x="1562" y="0"/>
                    <a:pt x="1562" y="0"/>
                  </a:cubicBezTo>
                  <a:lnTo>
                    <a:pt x="0" y="2849"/>
                  </a:lnTo>
                  <a:lnTo>
                    <a:pt x="8769" y="222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52" name="Freihandform: Form 451">
              <a:extLst>
                <a:ext uri="{FF2B5EF4-FFF2-40B4-BE49-F238E27FC236}">
                  <a16:creationId xmlns:a16="http://schemas.microsoft.com/office/drawing/2014/main" id="{475D0680-B745-DBBF-EEC4-6F414CC58109}"/>
                </a:ext>
              </a:extLst>
            </p:cNvPr>
            <p:cNvSpPr/>
            <p:nvPr/>
          </p:nvSpPr>
          <p:spPr>
            <a:xfrm>
              <a:off x="6713505" y="2387553"/>
              <a:ext cx="14285" cy="6350"/>
            </a:xfrm>
            <a:custGeom>
              <a:avLst/>
              <a:gdLst>
                <a:gd name="connsiteX0" fmla="*/ 0 w 11897"/>
                <a:gd name="connsiteY0" fmla="*/ 0 h 5699"/>
                <a:gd name="connsiteX1" fmla="*/ 11897 w 11897"/>
                <a:gd name="connsiteY1" fmla="*/ 4329 h 5699"/>
                <a:gd name="connsiteX2" fmla="*/ 2801 w 11897"/>
                <a:gd name="connsiteY2" fmla="*/ 5606 h 5699"/>
                <a:gd name="connsiteX3" fmla="*/ 0 w 11897"/>
                <a:gd name="connsiteY3" fmla="*/ 0 h 5699"/>
              </a:gdLst>
              <a:ahLst/>
              <a:cxnLst>
                <a:cxn ang="0">
                  <a:pos x="connsiteX0" y="connsiteY0"/>
                </a:cxn>
                <a:cxn ang="0">
                  <a:pos x="connsiteX1" y="connsiteY1"/>
                </a:cxn>
                <a:cxn ang="0">
                  <a:pos x="connsiteX2" y="connsiteY2"/>
                </a:cxn>
                <a:cxn ang="0">
                  <a:pos x="connsiteX3" y="connsiteY3"/>
                </a:cxn>
              </a:cxnLst>
              <a:rect l="l" t="t" r="r" b="b"/>
              <a:pathLst>
                <a:path w="11897" h="5699">
                  <a:moveTo>
                    <a:pt x="0" y="0"/>
                  </a:moveTo>
                  <a:cubicBezTo>
                    <a:pt x="0" y="0"/>
                    <a:pt x="2425" y="4662"/>
                    <a:pt x="11897" y="4329"/>
                  </a:cubicBezTo>
                  <a:cubicBezTo>
                    <a:pt x="9304" y="6214"/>
                    <a:pt x="2801" y="5606"/>
                    <a:pt x="2801" y="5606"/>
                  </a:cubicBez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53" name="Freihandform: Form 452">
              <a:extLst>
                <a:ext uri="{FF2B5EF4-FFF2-40B4-BE49-F238E27FC236}">
                  <a16:creationId xmlns:a16="http://schemas.microsoft.com/office/drawing/2014/main" id="{82EF20C5-D8C5-7E38-704C-3FB66BF0E6C0}"/>
                </a:ext>
              </a:extLst>
            </p:cNvPr>
            <p:cNvSpPr/>
            <p:nvPr/>
          </p:nvSpPr>
          <p:spPr>
            <a:xfrm>
              <a:off x="6684933" y="2400253"/>
              <a:ext cx="11111" cy="17464"/>
            </a:xfrm>
            <a:custGeom>
              <a:avLst/>
              <a:gdLst>
                <a:gd name="connsiteX0" fmla="*/ 2044 w 8257"/>
                <a:gd name="connsiteY0" fmla="*/ 0 h 13753"/>
                <a:gd name="connsiteX1" fmla="*/ 8258 w 8257"/>
                <a:gd name="connsiteY1" fmla="*/ 6686 h 13753"/>
                <a:gd name="connsiteX2" fmla="*/ 6547 w 8257"/>
                <a:gd name="connsiteY2" fmla="*/ 13753 h 13753"/>
                <a:gd name="connsiteX3" fmla="*/ 0 w 8257"/>
                <a:gd name="connsiteY3" fmla="*/ 5486 h 13753"/>
              </a:gdLst>
              <a:ahLst/>
              <a:cxnLst>
                <a:cxn ang="0">
                  <a:pos x="connsiteX0" y="connsiteY0"/>
                </a:cxn>
                <a:cxn ang="0">
                  <a:pos x="connsiteX1" y="connsiteY1"/>
                </a:cxn>
                <a:cxn ang="0">
                  <a:pos x="connsiteX2" y="connsiteY2"/>
                </a:cxn>
                <a:cxn ang="0">
                  <a:pos x="connsiteX3" y="connsiteY3"/>
                </a:cxn>
              </a:cxnLst>
              <a:rect l="l" t="t" r="r" b="b"/>
              <a:pathLst>
                <a:path w="8257" h="13753">
                  <a:moveTo>
                    <a:pt x="2044" y="0"/>
                  </a:moveTo>
                  <a:lnTo>
                    <a:pt x="8258" y="6686"/>
                  </a:lnTo>
                  <a:lnTo>
                    <a:pt x="6547" y="13753"/>
                  </a:lnTo>
                  <a:lnTo>
                    <a:pt x="0" y="548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54" name="Freihandform: Form 453">
              <a:extLst>
                <a:ext uri="{FF2B5EF4-FFF2-40B4-BE49-F238E27FC236}">
                  <a16:creationId xmlns:a16="http://schemas.microsoft.com/office/drawing/2014/main" id="{1FA1186C-4079-C9D3-F602-7785C66EC0A2}"/>
                </a:ext>
              </a:extLst>
            </p:cNvPr>
            <p:cNvSpPr/>
            <p:nvPr/>
          </p:nvSpPr>
          <p:spPr>
            <a:xfrm>
              <a:off x="6108735" y="2635212"/>
              <a:ext cx="12699" cy="14289"/>
            </a:xfrm>
            <a:custGeom>
              <a:avLst/>
              <a:gdLst>
                <a:gd name="connsiteX0" fmla="*/ 4527 w 9950"/>
                <a:gd name="connsiteY0" fmla="*/ 0 h 11402"/>
                <a:gd name="connsiteX1" fmla="*/ 9950 w 9950"/>
                <a:gd name="connsiteY1" fmla="*/ 1798 h 11402"/>
                <a:gd name="connsiteX2" fmla="*/ 2960 w 9950"/>
                <a:gd name="connsiteY2" fmla="*/ 11338 h 11402"/>
                <a:gd name="connsiteX3" fmla="*/ 371 w 9950"/>
                <a:gd name="connsiteY3" fmla="*/ 5018 h 11402"/>
                <a:gd name="connsiteX4" fmla="*/ 4527 w 9950"/>
                <a:gd name="connsiteY4" fmla="*/ 0 h 11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0" h="11402">
                  <a:moveTo>
                    <a:pt x="4527" y="0"/>
                  </a:moveTo>
                  <a:lnTo>
                    <a:pt x="9950" y="1798"/>
                  </a:lnTo>
                  <a:cubicBezTo>
                    <a:pt x="9950" y="1798"/>
                    <a:pt x="4002" y="10721"/>
                    <a:pt x="2960" y="11338"/>
                  </a:cubicBezTo>
                  <a:cubicBezTo>
                    <a:pt x="1938" y="11994"/>
                    <a:pt x="-1036" y="7482"/>
                    <a:pt x="371" y="5018"/>
                  </a:cubicBezTo>
                  <a:cubicBezTo>
                    <a:pt x="1803" y="2560"/>
                    <a:pt x="4527" y="0"/>
                    <a:pt x="4527"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55" name="Freihandform: Form 454">
              <a:extLst>
                <a:ext uri="{FF2B5EF4-FFF2-40B4-BE49-F238E27FC236}">
                  <a16:creationId xmlns:a16="http://schemas.microsoft.com/office/drawing/2014/main" id="{DCD18517-7D54-AA24-C6FA-754497C57299}"/>
                </a:ext>
              </a:extLst>
            </p:cNvPr>
            <p:cNvSpPr/>
            <p:nvPr/>
          </p:nvSpPr>
          <p:spPr>
            <a:xfrm>
              <a:off x="6123021" y="2660613"/>
              <a:ext cx="9524" cy="9525"/>
            </a:xfrm>
            <a:custGeom>
              <a:avLst/>
              <a:gdLst>
                <a:gd name="connsiteX0" fmla="*/ 5305 w 6909"/>
                <a:gd name="connsiteY0" fmla="*/ 0 h 6873"/>
                <a:gd name="connsiteX1" fmla="*/ 6085 w 6909"/>
                <a:gd name="connsiteY1" fmla="*/ 6715 h 6873"/>
                <a:gd name="connsiteX2" fmla="*/ 272 w 6909"/>
                <a:gd name="connsiteY2" fmla="*/ 2584 h 6873"/>
                <a:gd name="connsiteX3" fmla="*/ 5305 w 6909"/>
                <a:gd name="connsiteY3" fmla="*/ 0 h 6873"/>
              </a:gdLst>
              <a:ahLst/>
              <a:cxnLst>
                <a:cxn ang="0">
                  <a:pos x="connsiteX0" y="connsiteY0"/>
                </a:cxn>
                <a:cxn ang="0">
                  <a:pos x="connsiteX1" y="connsiteY1"/>
                </a:cxn>
                <a:cxn ang="0">
                  <a:pos x="connsiteX2" y="connsiteY2"/>
                </a:cxn>
                <a:cxn ang="0">
                  <a:pos x="connsiteX3" y="connsiteY3"/>
                </a:cxn>
              </a:cxnLst>
              <a:rect l="l" t="t" r="r" b="b"/>
              <a:pathLst>
                <a:path w="6909" h="6873">
                  <a:moveTo>
                    <a:pt x="5305" y="0"/>
                  </a:moveTo>
                  <a:cubicBezTo>
                    <a:pt x="6336" y="2194"/>
                    <a:pt x="7879" y="7891"/>
                    <a:pt x="6085" y="6715"/>
                  </a:cubicBezTo>
                  <a:cubicBezTo>
                    <a:pt x="4278" y="5563"/>
                    <a:pt x="-1285" y="3341"/>
                    <a:pt x="272" y="2584"/>
                  </a:cubicBezTo>
                  <a:cubicBezTo>
                    <a:pt x="1805" y="1817"/>
                    <a:pt x="5305" y="0"/>
                    <a:pt x="5305"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56" name="Freihandform: Form 455">
              <a:extLst>
                <a:ext uri="{FF2B5EF4-FFF2-40B4-BE49-F238E27FC236}">
                  <a16:creationId xmlns:a16="http://schemas.microsoft.com/office/drawing/2014/main" id="{CC56DF43-65BB-33F0-F474-FF9EA8A92475}"/>
                </a:ext>
              </a:extLst>
            </p:cNvPr>
            <p:cNvSpPr/>
            <p:nvPr/>
          </p:nvSpPr>
          <p:spPr>
            <a:xfrm>
              <a:off x="6078576" y="2663788"/>
              <a:ext cx="6349" cy="7938"/>
            </a:xfrm>
            <a:custGeom>
              <a:avLst/>
              <a:gdLst>
                <a:gd name="connsiteX0" fmla="*/ 5323 w 5323"/>
                <a:gd name="connsiteY0" fmla="*/ 112 h 6250"/>
                <a:gd name="connsiteX1" fmla="*/ 141 w 5323"/>
                <a:gd name="connsiteY1" fmla="*/ 1302 h 6250"/>
                <a:gd name="connsiteX2" fmla="*/ 2990 w 5323"/>
                <a:gd name="connsiteY2" fmla="*/ 5930 h 6250"/>
                <a:gd name="connsiteX3" fmla="*/ 5323 w 5323"/>
                <a:gd name="connsiteY3" fmla="*/ 112 h 6250"/>
              </a:gdLst>
              <a:ahLst/>
              <a:cxnLst>
                <a:cxn ang="0">
                  <a:pos x="connsiteX0" y="connsiteY0"/>
                </a:cxn>
                <a:cxn ang="0">
                  <a:pos x="connsiteX1" y="connsiteY1"/>
                </a:cxn>
                <a:cxn ang="0">
                  <a:pos x="connsiteX2" y="connsiteY2"/>
                </a:cxn>
                <a:cxn ang="0">
                  <a:pos x="connsiteX3" y="connsiteY3"/>
                </a:cxn>
              </a:cxnLst>
              <a:rect l="l" t="t" r="r" b="b"/>
              <a:pathLst>
                <a:path w="5323" h="6250">
                  <a:moveTo>
                    <a:pt x="5323" y="112"/>
                  </a:moveTo>
                  <a:cubicBezTo>
                    <a:pt x="2735" y="112"/>
                    <a:pt x="-746" y="-539"/>
                    <a:pt x="141" y="1302"/>
                  </a:cubicBezTo>
                  <a:cubicBezTo>
                    <a:pt x="1043" y="3096"/>
                    <a:pt x="2349" y="7463"/>
                    <a:pt x="2990" y="5930"/>
                  </a:cubicBezTo>
                  <a:cubicBezTo>
                    <a:pt x="3631" y="4378"/>
                    <a:pt x="5323" y="112"/>
                    <a:pt x="5323" y="11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57" name="Freihandform: Form 456">
              <a:extLst>
                <a:ext uri="{FF2B5EF4-FFF2-40B4-BE49-F238E27FC236}">
                  <a16:creationId xmlns:a16="http://schemas.microsoft.com/office/drawing/2014/main" id="{2D7ED7F1-47DE-1A50-CEAB-419CD5001452}"/>
                </a:ext>
              </a:extLst>
            </p:cNvPr>
            <p:cNvSpPr/>
            <p:nvPr/>
          </p:nvSpPr>
          <p:spPr>
            <a:xfrm>
              <a:off x="6102386" y="2708240"/>
              <a:ext cx="11112" cy="17464"/>
            </a:xfrm>
            <a:custGeom>
              <a:avLst/>
              <a:gdLst>
                <a:gd name="connsiteX0" fmla="*/ 5802 w 8246"/>
                <a:gd name="connsiteY0" fmla="*/ 239 h 13008"/>
                <a:gd name="connsiteX1" fmla="*/ 7731 w 8246"/>
                <a:gd name="connsiteY1" fmla="*/ 5156 h 13008"/>
                <a:gd name="connsiteX2" fmla="*/ 124 w 8246"/>
                <a:gd name="connsiteY2" fmla="*/ 12387 h 13008"/>
                <a:gd name="connsiteX3" fmla="*/ 5802 w 8246"/>
                <a:gd name="connsiteY3" fmla="*/ 239 h 13008"/>
              </a:gdLst>
              <a:ahLst/>
              <a:cxnLst>
                <a:cxn ang="0">
                  <a:pos x="connsiteX0" y="connsiteY0"/>
                </a:cxn>
                <a:cxn ang="0">
                  <a:pos x="connsiteX1" y="connsiteY1"/>
                </a:cxn>
                <a:cxn ang="0">
                  <a:pos x="connsiteX2" y="connsiteY2"/>
                </a:cxn>
                <a:cxn ang="0">
                  <a:pos x="connsiteX3" y="connsiteY3"/>
                </a:cxn>
              </a:cxnLst>
              <a:rect l="l" t="t" r="r" b="b"/>
              <a:pathLst>
                <a:path w="8246" h="13008">
                  <a:moveTo>
                    <a:pt x="5802" y="239"/>
                  </a:moveTo>
                  <a:cubicBezTo>
                    <a:pt x="7663" y="-865"/>
                    <a:pt x="9037" y="2037"/>
                    <a:pt x="7731" y="5156"/>
                  </a:cubicBezTo>
                  <a:cubicBezTo>
                    <a:pt x="6449" y="8256"/>
                    <a:pt x="-1048" y="15097"/>
                    <a:pt x="124" y="12387"/>
                  </a:cubicBezTo>
                  <a:cubicBezTo>
                    <a:pt x="1276" y="9659"/>
                    <a:pt x="2963" y="1926"/>
                    <a:pt x="5802" y="23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58" name="Freihandform: Form 457">
              <a:extLst>
                <a:ext uri="{FF2B5EF4-FFF2-40B4-BE49-F238E27FC236}">
                  <a16:creationId xmlns:a16="http://schemas.microsoft.com/office/drawing/2014/main" id="{E2F87BC5-4210-1767-4214-EC9E4B5519F0}"/>
                </a:ext>
              </a:extLst>
            </p:cNvPr>
            <p:cNvSpPr/>
            <p:nvPr/>
          </p:nvSpPr>
          <p:spPr>
            <a:xfrm>
              <a:off x="6080163" y="2725704"/>
              <a:ext cx="9524" cy="11112"/>
            </a:xfrm>
            <a:custGeom>
              <a:avLst/>
              <a:gdLst>
                <a:gd name="connsiteX0" fmla="*/ 6585 w 6936"/>
                <a:gd name="connsiteY0" fmla="*/ 0 h 8623"/>
                <a:gd name="connsiteX1" fmla="*/ 5669 w 6936"/>
                <a:gd name="connsiteY1" fmla="*/ 8398 h 8623"/>
                <a:gd name="connsiteX2" fmla="*/ 29 w 6936"/>
                <a:gd name="connsiteY2" fmla="*/ 6966 h 8623"/>
                <a:gd name="connsiteX3" fmla="*/ 1692 w 6936"/>
                <a:gd name="connsiteY3" fmla="*/ 1948 h 8623"/>
                <a:gd name="connsiteX4" fmla="*/ 6585 w 6936"/>
                <a:gd name="connsiteY4" fmla="*/ 0 h 8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6" h="8623">
                  <a:moveTo>
                    <a:pt x="6585" y="0"/>
                  </a:moveTo>
                  <a:cubicBezTo>
                    <a:pt x="7110" y="1808"/>
                    <a:pt x="7221" y="8267"/>
                    <a:pt x="5669" y="8398"/>
                  </a:cubicBezTo>
                  <a:cubicBezTo>
                    <a:pt x="4112" y="8528"/>
                    <a:pt x="-400" y="9299"/>
                    <a:pt x="29" y="6966"/>
                  </a:cubicBezTo>
                  <a:cubicBezTo>
                    <a:pt x="390" y="4652"/>
                    <a:pt x="-121" y="2704"/>
                    <a:pt x="1692" y="1948"/>
                  </a:cubicBezTo>
                  <a:cubicBezTo>
                    <a:pt x="3490" y="1191"/>
                    <a:pt x="6585" y="0"/>
                    <a:pt x="6585"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59" name="Freihandform: Form 458">
              <a:extLst>
                <a:ext uri="{FF2B5EF4-FFF2-40B4-BE49-F238E27FC236}">
                  <a16:creationId xmlns:a16="http://schemas.microsoft.com/office/drawing/2014/main" id="{44A2C219-9D37-C72C-FF9E-6C84A00E4E2F}"/>
                </a:ext>
              </a:extLst>
            </p:cNvPr>
            <p:cNvSpPr/>
            <p:nvPr/>
          </p:nvSpPr>
          <p:spPr>
            <a:xfrm>
              <a:off x="6096036" y="2735229"/>
              <a:ext cx="7937" cy="9525"/>
            </a:xfrm>
            <a:custGeom>
              <a:avLst/>
              <a:gdLst>
                <a:gd name="connsiteX0" fmla="*/ 6356 w 6356"/>
                <a:gd name="connsiteY0" fmla="*/ 32 h 7772"/>
                <a:gd name="connsiteX1" fmla="*/ 282 w 6356"/>
                <a:gd name="connsiteY1" fmla="*/ 2215 h 7772"/>
                <a:gd name="connsiteX2" fmla="*/ 528 w 6356"/>
                <a:gd name="connsiteY2" fmla="*/ 7383 h 7772"/>
                <a:gd name="connsiteX3" fmla="*/ 6356 w 6356"/>
                <a:gd name="connsiteY3" fmla="*/ 32 h 7772"/>
              </a:gdLst>
              <a:ahLst/>
              <a:cxnLst>
                <a:cxn ang="0">
                  <a:pos x="connsiteX0" y="connsiteY0"/>
                </a:cxn>
                <a:cxn ang="0">
                  <a:pos x="connsiteX1" y="connsiteY1"/>
                </a:cxn>
                <a:cxn ang="0">
                  <a:pos x="connsiteX2" y="connsiteY2"/>
                </a:cxn>
                <a:cxn ang="0">
                  <a:pos x="connsiteX3" y="connsiteY3"/>
                </a:cxn>
              </a:cxnLst>
              <a:rect l="l" t="t" r="r" b="b"/>
              <a:pathLst>
                <a:path w="6356" h="7772">
                  <a:moveTo>
                    <a:pt x="6356" y="32"/>
                  </a:moveTo>
                  <a:cubicBezTo>
                    <a:pt x="4288" y="-219"/>
                    <a:pt x="282" y="1068"/>
                    <a:pt x="282" y="2215"/>
                  </a:cubicBezTo>
                  <a:cubicBezTo>
                    <a:pt x="282" y="3396"/>
                    <a:pt x="-494" y="9331"/>
                    <a:pt x="528" y="7383"/>
                  </a:cubicBezTo>
                  <a:cubicBezTo>
                    <a:pt x="1564" y="5479"/>
                    <a:pt x="6356" y="32"/>
                    <a:pt x="6356" y="3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60" name="Freihandform: Form 459">
              <a:extLst>
                <a:ext uri="{FF2B5EF4-FFF2-40B4-BE49-F238E27FC236}">
                  <a16:creationId xmlns:a16="http://schemas.microsoft.com/office/drawing/2014/main" id="{5A5E32CA-331D-4E1D-7D0C-764FFF66C781}"/>
                </a:ext>
              </a:extLst>
            </p:cNvPr>
            <p:cNvSpPr/>
            <p:nvPr/>
          </p:nvSpPr>
          <p:spPr>
            <a:xfrm>
              <a:off x="6529376" y="2716178"/>
              <a:ext cx="26984" cy="22226"/>
            </a:xfrm>
            <a:custGeom>
              <a:avLst/>
              <a:gdLst>
                <a:gd name="connsiteX0" fmla="*/ 12868 w 21456"/>
                <a:gd name="connsiteY0" fmla="*/ 849 h 17082"/>
                <a:gd name="connsiteX1" fmla="*/ 16156 w 21456"/>
                <a:gd name="connsiteY1" fmla="*/ 4127 h 17082"/>
                <a:gd name="connsiteX2" fmla="*/ 21145 w 21456"/>
                <a:gd name="connsiteY2" fmla="*/ 13276 h 17082"/>
                <a:gd name="connsiteX3" fmla="*/ 17004 w 21456"/>
                <a:gd name="connsiteY3" fmla="*/ 15831 h 17082"/>
                <a:gd name="connsiteX4" fmla="*/ 7016 w 21456"/>
                <a:gd name="connsiteY4" fmla="*/ 16525 h 17082"/>
                <a:gd name="connsiteX5" fmla="*/ 300 w 21456"/>
                <a:gd name="connsiteY5" fmla="*/ 13426 h 17082"/>
                <a:gd name="connsiteX6" fmla="*/ 4764 w 21456"/>
                <a:gd name="connsiteY6" fmla="*/ 0 h 17082"/>
                <a:gd name="connsiteX7" fmla="*/ 12868 w 21456"/>
                <a:gd name="connsiteY7" fmla="*/ 849 h 17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56" h="17082">
                  <a:moveTo>
                    <a:pt x="12868" y="849"/>
                  </a:moveTo>
                  <a:cubicBezTo>
                    <a:pt x="12868" y="849"/>
                    <a:pt x="14941" y="1041"/>
                    <a:pt x="16156" y="4127"/>
                  </a:cubicBezTo>
                  <a:cubicBezTo>
                    <a:pt x="17346" y="7217"/>
                    <a:pt x="20090" y="12544"/>
                    <a:pt x="21145" y="13276"/>
                  </a:cubicBezTo>
                  <a:cubicBezTo>
                    <a:pt x="22172" y="13941"/>
                    <a:pt x="20625" y="14988"/>
                    <a:pt x="17004" y="15831"/>
                  </a:cubicBezTo>
                  <a:cubicBezTo>
                    <a:pt x="13379" y="16709"/>
                    <a:pt x="7541" y="17745"/>
                    <a:pt x="7016" y="16525"/>
                  </a:cubicBezTo>
                  <a:cubicBezTo>
                    <a:pt x="6505" y="15316"/>
                    <a:pt x="1838" y="13426"/>
                    <a:pt x="300" y="13426"/>
                  </a:cubicBezTo>
                  <a:cubicBezTo>
                    <a:pt x="-1237" y="13426"/>
                    <a:pt x="3569" y="0"/>
                    <a:pt x="4764" y="0"/>
                  </a:cubicBezTo>
                  <a:cubicBezTo>
                    <a:pt x="5984" y="0"/>
                    <a:pt x="12868" y="849"/>
                    <a:pt x="12868" y="84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61" name="Freihandform: Form 460">
              <a:extLst>
                <a:ext uri="{FF2B5EF4-FFF2-40B4-BE49-F238E27FC236}">
                  <a16:creationId xmlns:a16="http://schemas.microsoft.com/office/drawing/2014/main" id="{55D7AD6D-1A46-FDA4-8BA8-E6C143FEBB46}"/>
                </a:ext>
              </a:extLst>
            </p:cNvPr>
            <p:cNvSpPr/>
            <p:nvPr/>
          </p:nvSpPr>
          <p:spPr>
            <a:xfrm>
              <a:off x="6619852" y="2790793"/>
              <a:ext cx="7937" cy="9525"/>
            </a:xfrm>
            <a:custGeom>
              <a:avLst/>
              <a:gdLst>
                <a:gd name="connsiteX0" fmla="*/ 135 w 6068"/>
                <a:gd name="connsiteY0" fmla="*/ 7 h 7761"/>
                <a:gd name="connsiteX1" fmla="*/ 6069 w 6068"/>
                <a:gd name="connsiteY1" fmla="*/ 658 h 7761"/>
                <a:gd name="connsiteX2" fmla="*/ 4266 w 6068"/>
                <a:gd name="connsiteY2" fmla="*/ 7628 h 7761"/>
                <a:gd name="connsiteX3" fmla="*/ 135 w 6068"/>
                <a:gd name="connsiteY3" fmla="*/ 7 h 7761"/>
              </a:gdLst>
              <a:ahLst/>
              <a:cxnLst>
                <a:cxn ang="0">
                  <a:pos x="connsiteX0" y="connsiteY0"/>
                </a:cxn>
                <a:cxn ang="0">
                  <a:pos x="connsiteX1" y="connsiteY1"/>
                </a:cxn>
                <a:cxn ang="0">
                  <a:pos x="connsiteX2" y="connsiteY2"/>
                </a:cxn>
                <a:cxn ang="0">
                  <a:pos x="connsiteX3" y="connsiteY3"/>
                </a:cxn>
              </a:cxnLst>
              <a:rect l="l" t="t" r="r" b="b"/>
              <a:pathLst>
                <a:path w="6068" h="7761">
                  <a:moveTo>
                    <a:pt x="135" y="7"/>
                  </a:moveTo>
                  <a:lnTo>
                    <a:pt x="6069" y="658"/>
                  </a:lnTo>
                  <a:cubicBezTo>
                    <a:pt x="6069" y="658"/>
                    <a:pt x="5163" y="8901"/>
                    <a:pt x="4266" y="7628"/>
                  </a:cubicBezTo>
                  <a:cubicBezTo>
                    <a:pt x="3360" y="6351"/>
                    <a:pt x="-795" y="-244"/>
                    <a:pt x="135" y="7"/>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62" name="Freihandform: Form 461">
              <a:extLst>
                <a:ext uri="{FF2B5EF4-FFF2-40B4-BE49-F238E27FC236}">
                  <a16:creationId xmlns:a16="http://schemas.microsoft.com/office/drawing/2014/main" id="{DDEFEE17-CE1F-A643-AE79-4C037742A0E2}"/>
                </a:ext>
              </a:extLst>
            </p:cNvPr>
            <p:cNvSpPr/>
            <p:nvPr/>
          </p:nvSpPr>
          <p:spPr>
            <a:xfrm>
              <a:off x="5981749" y="2846358"/>
              <a:ext cx="4762" cy="7937"/>
            </a:xfrm>
            <a:custGeom>
              <a:avLst/>
              <a:gdLst>
                <a:gd name="connsiteX0" fmla="*/ 578 w 3991"/>
                <a:gd name="connsiteY0" fmla="*/ 6170 h 6170"/>
                <a:gd name="connsiteX1" fmla="*/ 0 w 3991"/>
                <a:gd name="connsiteY1" fmla="*/ 202 h 6170"/>
                <a:gd name="connsiteX2" fmla="*/ 0 w 3991"/>
                <a:gd name="connsiteY2" fmla="*/ 202 h 6170"/>
                <a:gd name="connsiteX3" fmla="*/ 3992 w 3991"/>
                <a:gd name="connsiteY3" fmla="*/ 0 h 6170"/>
              </a:gdLst>
              <a:ahLst/>
              <a:cxnLst>
                <a:cxn ang="0">
                  <a:pos x="connsiteX0" y="connsiteY0"/>
                </a:cxn>
                <a:cxn ang="0">
                  <a:pos x="connsiteX1" y="connsiteY1"/>
                </a:cxn>
                <a:cxn ang="0">
                  <a:pos x="connsiteX2" y="connsiteY2"/>
                </a:cxn>
                <a:cxn ang="0">
                  <a:pos x="connsiteX3" y="connsiteY3"/>
                </a:cxn>
              </a:cxnLst>
              <a:rect l="l" t="t" r="r" b="b"/>
              <a:pathLst>
                <a:path w="3991" h="6170">
                  <a:moveTo>
                    <a:pt x="578" y="6170"/>
                  </a:moveTo>
                  <a:lnTo>
                    <a:pt x="0" y="202"/>
                  </a:lnTo>
                  <a:lnTo>
                    <a:pt x="0" y="202"/>
                  </a:lnTo>
                  <a:lnTo>
                    <a:pt x="3992"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63" name="Freihandform: Form 462">
              <a:extLst>
                <a:ext uri="{FF2B5EF4-FFF2-40B4-BE49-F238E27FC236}">
                  <a16:creationId xmlns:a16="http://schemas.microsoft.com/office/drawing/2014/main" id="{22F3E3F3-96F3-DAA6-ED6F-951FC2060F56}"/>
                </a:ext>
              </a:extLst>
            </p:cNvPr>
            <p:cNvSpPr/>
            <p:nvPr/>
          </p:nvSpPr>
          <p:spPr>
            <a:xfrm>
              <a:off x="6191276" y="2820957"/>
              <a:ext cx="11112" cy="9525"/>
            </a:xfrm>
            <a:custGeom>
              <a:avLst/>
              <a:gdLst>
                <a:gd name="connsiteX0" fmla="*/ 1051 w 8011"/>
                <a:gd name="connsiteY0" fmla="*/ 0 h 8002"/>
                <a:gd name="connsiteX1" fmla="*/ 8012 w 8011"/>
                <a:gd name="connsiteY1" fmla="*/ 766 h 8002"/>
                <a:gd name="connsiteX2" fmla="*/ 7221 w 8011"/>
                <a:gd name="connsiteY2" fmla="*/ 8002 h 8002"/>
                <a:gd name="connsiteX3" fmla="*/ 0 w 8011"/>
                <a:gd name="connsiteY3" fmla="*/ 3375 h 8002"/>
              </a:gdLst>
              <a:ahLst/>
              <a:cxnLst>
                <a:cxn ang="0">
                  <a:pos x="connsiteX0" y="connsiteY0"/>
                </a:cxn>
                <a:cxn ang="0">
                  <a:pos x="connsiteX1" y="connsiteY1"/>
                </a:cxn>
                <a:cxn ang="0">
                  <a:pos x="connsiteX2" y="connsiteY2"/>
                </a:cxn>
                <a:cxn ang="0">
                  <a:pos x="connsiteX3" y="connsiteY3"/>
                </a:cxn>
              </a:cxnLst>
              <a:rect l="l" t="t" r="r" b="b"/>
              <a:pathLst>
                <a:path w="8011" h="8002">
                  <a:moveTo>
                    <a:pt x="1051" y="0"/>
                  </a:moveTo>
                  <a:lnTo>
                    <a:pt x="8012" y="766"/>
                  </a:lnTo>
                  <a:lnTo>
                    <a:pt x="7221" y="8002"/>
                  </a:lnTo>
                  <a:lnTo>
                    <a:pt x="0" y="337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64" name="Freihandform: Form 463">
              <a:extLst>
                <a:ext uri="{FF2B5EF4-FFF2-40B4-BE49-F238E27FC236}">
                  <a16:creationId xmlns:a16="http://schemas.microsoft.com/office/drawing/2014/main" id="{7EDBBCE7-35A9-CE37-0B07-C213CB1E01EF}"/>
                </a:ext>
              </a:extLst>
            </p:cNvPr>
            <p:cNvSpPr/>
            <p:nvPr/>
          </p:nvSpPr>
          <p:spPr>
            <a:xfrm>
              <a:off x="5675397" y="3516309"/>
              <a:ext cx="6349" cy="25401"/>
            </a:xfrm>
            <a:custGeom>
              <a:avLst/>
              <a:gdLst>
                <a:gd name="connsiteX0" fmla="*/ 3382 w 5423"/>
                <a:gd name="connsiteY0" fmla="*/ 0 h 20280"/>
                <a:gd name="connsiteX1" fmla="*/ 27 w 5423"/>
                <a:gd name="connsiteY1" fmla="*/ 20281 h 20280"/>
                <a:gd name="connsiteX2" fmla="*/ 3011 w 5423"/>
                <a:gd name="connsiteY2" fmla="*/ 11637 h 20280"/>
                <a:gd name="connsiteX3" fmla="*/ 5320 w 5423"/>
                <a:gd name="connsiteY3" fmla="*/ 5944 h 20280"/>
                <a:gd name="connsiteX4" fmla="*/ 3382 w 5423"/>
                <a:gd name="connsiteY4" fmla="*/ 0 h 20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3" h="20280">
                  <a:moveTo>
                    <a:pt x="3382" y="0"/>
                  </a:moveTo>
                  <a:cubicBezTo>
                    <a:pt x="3382" y="0"/>
                    <a:pt x="-353" y="14197"/>
                    <a:pt x="27" y="20281"/>
                  </a:cubicBezTo>
                  <a:cubicBezTo>
                    <a:pt x="1580" y="19114"/>
                    <a:pt x="1700" y="13575"/>
                    <a:pt x="3011" y="11637"/>
                  </a:cubicBezTo>
                  <a:cubicBezTo>
                    <a:pt x="4284" y="9680"/>
                    <a:pt x="5841" y="7867"/>
                    <a:pt x="5320" y="5944"/>
                  </a:cubicBezTo>
                  <a:cubicBezTo>
                    <a:pt x="4805" y="3992"/>
                    <a:pt x="3382" y="0"/>
                    <a:pt x="3382"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65" name="Freihandform: Form 464">
              <a:extLst>
                <a:ext uri="{FF2B5EF4-FFF2-40B4-BE49-F238E27FC236}">
                  <a16:creationId xmlns:a16="http://schemas.microsoft.com/office/drawing/2014/main" id="{C24A7F83-C826-9071-702F-2F703AFC401E}"/>
                </a:ext>
              </a:extLst>
            </p:cNvPr>
            <p:cNvSpPr/>
            <p:nvPr/>
          </p:nvSpPr>
          <p:spPr>
            <a:xfrm>
              <a:off x="5683333" y="3502020"/>
              <a:ext cx="60318" cy="76203"/>
            </a:xfrm>
            <a:custGeom>
              <a:avLst/>
              <a:gdLst>
                <a:gd name="connsiteX0" fmla="*/ 18714 w 47806"/>
                <a:gd name="connsiteY0" fmla="*/ 0 h 59246"/>
                <a:gd name="connsiteX1" fmla="*/ 22050 w 47806"/>
                <a:gd name="connsiteY1" fmla="*/ 11729 h 59246"/>
                <a:gd name="connsiteX2" fmla="*/ 30342 w 47806"/>
                <a:gd name="connsiteY2" fmla="*/ 11864 h 59246"/>
                <a:gd name="connsiteX3" fmla="*/ 39106 w 47806"/>
                <a:gd name="connsiteY3" fmla="*/ 12124 h 59246"/>
                <a:gd name="connsiteX4" fmla="*/ 40793 w 47806"/>
                <a:gd name="connsiteY4" fmla="*/ 19611 h 59246"/>
                <a:gd name="connsiteX5" fmla="*/ 34835 w 47806"/>
                <a:gd name="connsiteY5" fmla="*/ 27608 h 59246"/>
                <a:gd name="connsiteX6" fmla="*/ 38614 w 47806"/>
                <a:gd name="connsiteY6" fmla="*/ 33422 h 59246"/>
                <a:gd name="connsiteX7" fmla="*/ 47653 w 47806"/>
                <a:gd name="connsiteY7" fmla="*/ 42461 h 59246"/>
                <a:gd name="connsiteX8" fmla="*/ 45700 w 47806"/>
                <a:gd name="connsiteY8" fmla="*/ 48140 h 59246"/>
                <a:gd name="connsiteX9" fmla="*/ 37187 w 47806"/>
                <a:gd name="connsiteY9" fmla="*/ 46342 h 59246"/>
                <a:gd name="connsiteX10" fmla="*/ 27112 w 47806"/>
                <a:gd name="connsiteY10" fmla="*/ 46867 h 59246"/>
                <a:gd name="connsiteX11" fmla="*/ 23761 w 47806"/>
                <a:gd name="connsiteY11" fmla="*/ 52551 h 59246"/>
                <a:gd name="connsiteX12" fmla="*/ 24123 w 47806"/>
                <a:gd name="connsiteY12" fmla="*/ 57974 h 59246"/>
                <a:gd name="connsiteX13" fmla="*/ 19114 w 47806"/>
                <a:gd name="connsiteY13" fmla="*/ 59247 h 59246"/>
                <a:gd name="connsiteX14" fmla="*/ 6580 w 47806"/>
                <a:gd name="connsiteY14" fmla="*/ 54089 h 59246"/>
                <a:gd name="connsiteX15" fmla="*/ 0 w 47806"/>
                <a:gd name="connsiteY15" fmla="*/ 46742 h 59246"/>
                <a:gd name="connsiteX16" fmla="*/ 5539 w 47806"/>
                <a:gd name="connsiteY16" fmla="*/ 41034 h 59246"/>
                <a:gd name="connsiteX17" fmla="*/ 7241 w 47806"/>
                <a:gd name="connsiteY17" fmla="*/ 33692 h 59246"/>
                <a:gd name="connsiteX18" fmla="*/ 7241 w 47806"/>
                <a:gd name="connsiteY18" fmla="*/ 25049 h 59246"/>
                <a:gd name="connsiteX19" fmla="*/ 4772 w 47806"/>
                <a:gd name="connsiteY19" fmla="*/ 21549 h 59246"/>
                <a:gd name="connsiteX20" fmla="*/ 4257 w 47806"/>
                <a:gd name="connsiteY20" fmla="*/ 18059 h 59246"/>
                <a:gd name="connsiteX21" fmla="*/ 9545 w 47806"/>
                <a:gd name="connsiteY21" fmla="*/ 18724 h 59246"/>
                <a:gd name="connsiteX22" fmla="*/ 13561 w 47806"/>
                <a:gd name="connsiteY22" fmla="*/ 21018 h 59246"/>
                <a:gd name="connsiteX23" fmla="*/ 15498 w 47806"/>
                <a:gd name="connsiteY23" fmla="*/ 16516 h 59246"/>
                <a:gd name="connsiteX24" fmla="*/ 20411 w 47806"/>
                <a:gd name="connsiteY24" fmla="*/ 19495 h 59246"/>
                <a:gd name="connsiteX25" fmla="*/ 23250 w 47806"/>
                <a:gd name="connsiteY25" fmla="*/ 24774 h 59246"/>
                <a:gd name="connsiteX26" fmla="*/ 28288 w 47806"/>
                <a:gd name="connsiteY26" fmla="*/ 25188 h 59246"/>
                <a:gd name="connsiteX27" fmla="*/ 27897 w 47806"/>
                <a:gd name="connsiteY27" fmla="*/ 19355 h 59246"/>
                <a:gd name="connsiteX28" fmla="*/ 17822 w 47806"/>
                <a:gd name="connsiteY28" fmla="*/ 10736 h 59246"/>
                <a:gd name="connsiteX29" fmla="*/ 11497 w 47806"/>
                <a:gd name="connsiteY29" fmla="*/ 14843 h 59246"/>
                <a:gd name="connsiteX30" fmla="*/ 9685 w 47806"/>
                <a:gd name="connsiteY30" fmla="*/ 11102 h 59246"/>
                <a:gd name="connsiteX31" fmla="*/ 11314 w 47806"/>
                <a:gd name="connsiteY31" fmla="*/ 4763 h 59246"/>
                <a:gd name="connsiteX32" fmla="*/ 7347 w 47806"/>
                <a:gd name="connsiteY32" fmla="*/ 12139 h 59246"/>
                <a:gd name="connsiteX33" fmla="*/ 8769 w 47806"/>
                <a:gd name="connsiteY33" fmla="*/ 2844 h 59246"/>
                <a:gd name="connsiteX34" fmla="*/ 18714 w 47806"/>
                <a:gd name="connsiteY34" fmla="*/ 0 h 5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7806" h="59246">
                  <a:moveTo>
                    <a:pt x="18714" y="0"/>
                  </a:moveTo>
                  <a:cubicBezTo>
                    <a:pt x="18333" y="2319"/>
                    <a:pt x="17552" y="10191"/>
                    <a:pt x="22050" y="11729"/>
                  </a:cubicBezTo>
                  <a:cubicBezTo>
                    <a:pt x="26591" y="13276"/>
                    <a:pt x="28129" y="12775"/>
                    <a:pt x="30342" y="11864"/>
                  </a:cubicBezTo>
                  <a:cubicBezTo>
                    <a:pt x="30342" y="11864"/>
                    <a:pt x="37693" y="10051"/>
                    <a:pt x="39106" y="12124"/>
                  </a:cubicBezTo>
                  <a:cubicBezTo>
                    <a:pt x="40523" y="14183"/>
                    <a:pt x="42986" y="18203"/>
                    <a:pt x="40793" y="19611"/>
                  </a:cubicBezTo>
                  <a:cubicBezTo>
                    <a:pt x="38609" y="21014"/>
                    <a:pt x="34082" y="25805"/>
                    <a:pt x="34835" y="27608"/>
                  </a:cubicBezTo>
                  <a:cubicBezTo>
                    <a:pt x="35649" y="29416"/>
                    <a:pt x="36146" y="32400"/>
                    <a:pt x="38614" y="33422"/>
                  </a:cubicBezTo>
                  <a:cubicBezTo>
                    <a:pt x="41043" y="34463"/>
                    <a:pt x="47513" y="39742"/>
                    <a:pt x="47653" y="42461"/>
                  </a:cubicBezTo>
                  <a:cubicBezTo>
                    <a:pt x="47773" y="45170"/>
                    <a:pt x="48424" y="48680"/>
                    <a:pt x="45700" y="48140"/>
                  </a:cubicBezTo>
                  <a:cubicBezTo>
                    <a:pt x="42991" y="47629"/>
                    <a:pt x="40282" y="48140"/>
                    <a:pt x="37187" y="46342"/>
                  </a:cubicBezTo>
                  <a:cubicBezTo>
                    <a:pt x="34082" y="44543"/>
                    <a:pt x="29445" y="44288"/>
                    <a:pt x="27112" y="46867"/>
                  </a:cubicBezTo>
                  <a:cubicBezTo>
                    <a:pt x="24798" y="49480"/>
                    <a:pt x="23246" y="51138"/>
                    <a:pt x="23761" y="52551"/>
                  </a:cubicBezTo>
                  <a:cubicBezTo>
                    <a:pt x="24267" y="53973"/>
                    <a:pt x="25810" y="57444"/>
                    <a:pt x="24123" y="57974"/>
                  </a:cubicBezTo>
                  <a:cubicBezTo>
                    <a:pt x="22450" y="58485"/>
                    <a:pt x="19114" y="59247"/>
                    <a:pt x="19114" y="59247"/>
                  </a:cubicBezTo>
                  <a:lnTo>
                    <a:pt x="6580" y="54089"/>
                  </a:lnTo>
                  <a:lnTo>
                    <a:pt x="0" y="46742"/>
                  </a:lnTo>
                  <a:cubicBezTo>
                    <a:pt x="0" y="46742"/>
                    <a:pt x="4387" y="43647"/>
                    <a:pt x="5539" y="41034"/>
                  </a:cubicBezTo>
                  <a:cubicBezTo>
                    <a:pt x="6710" y="38469"/>
                    <a:pt x="7491" y="36917"/>
                    <a:pt x="7241" y="33692"/>
                  </a:cubicBezTo>
                  <a:cubicBezTo>
                    <a:pt x="6971" y="30477"/>
                    <a:pt x="6971" y="26186"/>
                    <a:pt x="7241" y="25049"/>
                  </a:cubicBezTo>
                  <a:cubicBezTo>
                    <a:pt x="7496" y="23877"/>
                    <a:pt x="7626" y="22961"/>
                    <a:pt x="4772" y="21549"/>
                  </a:cubicBezTo>
                  <a:cubicBezTo>
                    <a:pt x="1938" y="20136"/>
                    <a:pt x="2574" y="18598"/>
                    <a:pt x="4257" y="18059"/>
                  </a:cubicBezTo>
                  <a:cubicBezTo>
                    <a:pt x="5939" y="17557"/>
                    <a:pt x="7626" y="15995"/>
                    <a:pt x="9545" y="18724"/>
                  </a:cubicBezTo>
                  <a:cubicBezTo>
                    <a:pt x="11497" y="21438"/>
                    <a:pt x="13431" y="24142"/>
                    <a:pt x="13561" y="21018"/>
                  </a:cubicBezTo>
                  <a:cubicBezTo>
                    <a:pt x="13691" y="17952"/>
                    <a:pt x="14076" y="15368"/>
                    <a:pt x="15498" y="16516"/>
                  </a:cubicBezTo>
                  <a:cubicBezTo>
                    <a:pt x="16916" y="17687"/>
                    <a:pt x="19750" y="17412"/>
                    <a:pt x="20411" y="19495"/>
                  </a:cubicBezTo>
                  <a:cubicBezTo>
                    <a:pt x="21052" y="21549"/>
                    <a:pt x="21317" y="24282"/>
                    <a:pt x="23250" y="24774"/>
                  </a:cubicBezTo>
                  <a:cubicBezTo>
                    <a:pt x="25183" y="25294"/>
                    <a:pt x="27767" y="26996"/>
                    <a:pt x="28288" y="25188"/>
                  </a:cubicBezTo>
                  <a:cubicBezTo>
                    <a:pt x="28799" y="23376"/>
                    <a:pt x="30091" y="20392"/>
                    <a:pt x="27897" y="19355"/>
                  </a:cubicBezTo>
                  <a:cubicBezTo>
                    <a:pt x="25694" y="18324"/>
                    <a:pt x="18608" y="13281"/>
                    <a:pt x="17822" y="10736"/>
                  </a:cubicBezTo>
                  <a:cubicBezTo>
                    <a:pt x="15099" y="12785"/>
                    <a:pt x="11497" y="14843"/>
                    <a:pt x="11497" y="14843"/>
                  </a:cubicBezTo>
                  <a:lnTo>
                    <a:pt x="9685" y="11102"/>
                  </a:lnTo>
                  <a:lnTo>
                    <a:pt x="11314" y="4763"/>
                  </a:lnTo>
                  <a:cubicBezTo>
                    <a:pt x="11314" y="4763"/>
                    <a:pt x="7241" y="10326"/>
                    <a:pt x="7347" y="12139"/>
                  </a:cubicBezTo>
                  <a:cubicBezTo>
                    <a:pt x="5428" y="6450"/>
                    <a:pt x="6214" y="4127"/>
                    <a:pt x="8769" y="2844"/>
                  </a:cubicBezTo>
                  <a:cubicBezTo>
                    <a:pt x="11353" y="1519"/>
                    <a:pt x="18714" y="0"/>
                    <a:pt x="18714"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66" name="Freihandform: Form 465">
              <a:extLst>
                <a:ext uri="{FF2B5EF4-FFF2-40B4-BE49-F238E27FC236}">
                  <a16:creationId xmlns:a16="http://schemas.microsoft.com/office/drawing/2014/main" id="{CA82ACDF-BEC5-E8BC-5B76-62C209EE801B}"/>
                </a:ext>
              </a:extLst>
            </p:cNvPr>
            <p:cNvSpPr/>
            <p:nvPr/>
          </p:nvSpPr>
          <p:spPr>
            <a:xfrm>
              <a:off x="5459521" y="3260711"/>
              <a:ext cx="160319" cy="266710"/>
            </a:xfrm>
            <a:custGeom>
              <a:avLst/>
              <a:gdLst>
                <a:gd name="connsiteX0" fmla="*/ 124044 w 126094"/>
                <a:gd name="connsiteY0" fmla="*/ 8966 h 208617"/>
                <a:gd name="connsiteX1" fmla="*/ 124950 w 126094"/>
                <a:gd name="connsiteY1" fmla="*/ 13092 h 208617"/>
                <a:gd name="connsiteX2" fmla="*/ 121585 w 126094"/>
                <a:gd name="connsiteY2" fmla="*/ 31801 h 208617"/>
                <a:gd name="connsiteX3" fmla="*/ 124950 w 126094"/>
                <a:gd name="connsiteY3" fmla="*/ 56363 h 208617"/>
                <a:gd name="connsiteX4" fmla="*/ 112942 w 126094"/>
                <a:gd name="connsiteY4" fmla="*/ 69128 h 208617"/>
                <a:gd name="connsiteX5" fmla="*/ 98475 w 126094"/>
                <a:gd name="connsiteY5" fmla="*/ 88912 h 208617"/>
                <a:gd name="connsiteX6" fmla="*/ 104028 w 126094"/>
                <a:gd name="connsiteY6" fmla="*/ 95083 h 208617"/>
                <a:gd name="connsiteX7" fmla="*/ 117989 w 126094"/>
                <a:gd name="connsiteY7" fmla="*/ 111492 h 208617"/>
                <a:gd name="connsiteX8" fmla="*/ 109832 w 126094"/>
                <a:gd name="connsiteY8" fmla="*/ 117817 h 208617"/>
                <a:gd name="connsiteX9" fmla="*/ 99125 w 126094"/>
                <a:gd name="connsiteY9" fmla="*/ 120517 h 208617"/>
                <a:gd name="connsiteX10" fmla="*/ 92396 w 126094"/>
                <a:gd name="connsiteY10" fmla="*/ 126340 h 208617"/>
                <a:gd name="connsiteX11" fmla="*/ 88530 w 126094"/>
                <a:gd name="connsiteY11" fmla="*/ 128813 h 208617"/>
                <a:gd name="connsiteX12" fmla="*/ 96672 w 126094"/>
                <a:gd name="connsiteY12" fmla="*/ 140060 h 208617"/>
                <a:gd name="connsiteX13" fmla="*/ 96030 w 126094"/>
                <a:gd name="connsiteY13" fmla="*/ 145078 h 208617"/>
                <a:gd name="connsiteX14" fmla="*/ 96624 w 126094"/>
                <a:gd name="connsiteY14" fmla="*/ 151148 h 208617"/>
                <a:gd name="connsiteX15" fmla="*/ 85700 w 126094"/>
                <a:gd name="connsiteY15" fmla="*/ 154474 h 208617"/>
                <a:gd name="connsiteX16" fmla="*/ 78720 w 126094"/>
                <a:gd name="connsiteY16" fmla="*/ 151538 h 208617"/>
                <a:gd name="connsiteX17" fmla="*/ 77938 w 126094"/>
                <a:gd name="connsiteY17" fmla="*/ 157231 h 208617"/>
                <a:gd name="connsiteX18" fmla="*/ 83593 w 126094"/>
                <a:gd name="connsiteY18" fmla="*/ 160317 h 208617"/>
                <a:gd name="connsiteX19" fmla="*/ 88520 w 126094"/>
                <a:gd name="connsiteY19" fmla="*/ 164699 h 208617"/>
                <a:gd name="connsiteX20" fmla="*/ 94319 w 126094"/>
                <a:gd name="connsiteY20" fmla="*/ 165865 h 208617"/>
                <a:gd name="connsiteX21" fmla="*/ 97038 w 126094"/>
                <a:gd name="connsiteY21" fmla="*/ 171785 h 208617"/>
                <a:gd name="connsiteX22" fmla="*/ 84008 w 126094"/>
                <a:gd name="connsiteY22" fmla="*/ 196096 h 208617"/>
                <a:gd name="connsiteX23" fmla="*/ 85011 w 126094"/>
                <a:gd name="connsiteY23" fmla="*/ 208615 h 208617"/>
                <a:gd name="connsiteX24" fmla="*/ 80127 w 126094"/>
                <a:gd name="connsiteY24" fmla="*/ 206287 h 208617"/>
                <a:gd name="connsiteX25" fmla="*/ 77283 w 126094"/>
                <a:gd name="connsiteY25" fmla="*/ 193498 h 208617"/>
                <a:gd name="connsiteX26" fmla="*/ 78440 w 126094"/>
                <a:gd name="connsiteY26" fmla="*/ 187433 h 208617"/>
                <a:gd name="connsiteX27" fmla="*/ 66562 w 126094"/>
                <a:gd name="connsiteY27" fmla="*/ 165870 h 208617"/>
                <a:gd name="connsiteX28" fmla="*/ 67863 w 126094"/>
                <a:gd name="connsiteY28" fmla="*/ 156720 h 208617"/>
                <a:gd name="connsiteX29" fmla="*/ 72385 w 126094"/>
                <a:gd name="connsiteY29" fmla="*/ 155539 h 208617"/>
                <a:gd name="connsiteX30" fmla="*/ 73672 w 126094"/>
                <a:gd name="connsiteY30" fmla="*/ 150237 h 208617"/>
                <a:gd name="connsiteX31" fmla="*/ 57123 w 126094"/>
                <a:gd name="connsiteY31" fmla="*/ 142871 h 208617"/>
                <a:gd name="connsiteX32" fmla="*/ 68784 w 126094"/>
                <a:gd name="connsiteY32" fmla="*/ 144172 h 208617"/>
                <a:gd name="connsiteX33" fmla="*/ 65660 w 126094"/>
                <a:gd name="connsiteY33" fmla="*/ 136425 h 208617"/>
                <a:gd name="connsiteX34" fmla="*/ 68123 w 126094"/>
                <a:gd name="connsiteY34" fmla="*/ 131908 h 208617"/>
                <a:gd name="connsiteX35" fmla="*/ 63722 w 126094"/>
                <a:gd name="connsiteY35" fmla="*/ 129961 h 208617"/>
                <a:gd name="connsiteX36" fmla="*/ 61919 w 126094"/>
                <a:gd name="connsiteY36" fmla="*/ 125593 h 208617"/>
                <a:gd name="connsiteX37" fmla="*/ 40327 w 126094"/>
                <a:gd name="connsiteY37" fmla="*/ 123896 h 208617"/>
                <a:gd name="connsiteX38" fmla="*/ 28078 w 126094"/>
                <a:gd name="connsiteY38" fmla="*/ 126220 h 208617"/>
                <a:gd name="connsiteX39" fmla="*/ 28603 w 126094"/>
                <a:gd name="connsiteY39" fmla="*/ 122739 h 208617"/>
                <a:gd name="connsiteX40" fmla="*/ 27962 w 126094"/>
                <a:gd name="connsiteY40" fmla="*/ 117947 h 208617"/>
                <a:gd name="connsiteX41" fmla="*/ 23305 w 126094"/>
                <a:gd name="connsiteY41" fmla="*/ 112539 h 208617"/>
                <a:gd name="connsiteX42" fmla="*/ 20591 w 126094"/>
                <a:gd name="connsiteY42" fmla="*/ 107612 h 208617"/>
                <a:gd name="connsiteX43" fmla="*/ 16460 w 126094"/>
                <a:gd name="connsiteY43" fmla="*/ 105679 h 208617"/>
                <a:gd name="connsiteX44" fmla="*/ 20085 w 126094"/>
                <a:gd name="connsiteY44" fmla="*/ 87071 h 208617"/>
                <a:gd name="connsiteX45" fmla="*/ 18133 w 126094"/>
                <a:gd name="connsiteY45" fmla="*/ 80760 h 208617"/>
                <a:gd name="connsiteX46" fmla="*/ 2885 w 126094"/>
                <a:gd name="connsiteY46" fmla="*/ 66935 h 208617"/>
                <a:gd name="connsiteX47" fmla="*/ 7556 w 126094"/>
                <a:gd name="connsiteY47" fmla="*/ 63825 h 208617"/>
                <a:gd name="connsiteX48" fmla="*/ 4321 w 126094"/>
                <a:gd name="connsiteY48" fmla="*/ 58797 h 208617"/>
                <a:gd name="connsiteX49" fmla="*/ 706 w 126094"/>
                <a:gd name="connsiteY49" fmla="*/ 55437 h 208617"/>
                <a:gd name="connsiteX50" fmla="*/ 6915 w 126094"/>
                <a:gd name="connsiteY50" fmla="*/ 55572 h 208617"/>
                <a:gd name="connsiteX51" fmla="*/ 13230 w 126094"/>
                <a:gd name="connsiteY51" fmla="*/ 54941 h 208617"/>
                <a:gd name="connsiteX52" fmla="*/ 18138 w 126094"/>
                <a:gd name="connsiteY52" fmla="*/ 54656 h 208617"/>
                <a:gd name="connsiteX53" fmla="*/ 20717 w 126094"/>
                <a:gd name="connsiteY53" fmla="*/ 58792 h 208617"/>
                <a:gd name="connsiteX54" fmla="*/ 30652 w 126094"/>
                <a:gd name="connsiteY54" fmla="*/ 53519 h 208617"/>
                <a:gd name="connsiteX55" fmla="*/ 35439 w 126094"/>
                <a:gd name="connsiteY55" fmla="*/ 44586 h 208617"/>
                <a:gd name="connsiteX56" fmla="*/ 43841 w 126094"/>
                <a:gd name="connsiteY56" fmla="*/ 32958 h 208617"/>
                <a:gd name="connsiteX57" fmla="*/ 41518 w 126094"/>
                <a:gd name="connsiteY57" fmla="*/ 27945 h 208617"/>
                <a:gd name="connsiteX58" fmla="*/ 29235 w 126094"/>
                <a:gd name="connsiteY58" fmla="*/ 23818 h 208617"/>
                <a:gd name="connsiteX59" fmla="*/ 60381 w 126094"/>
                <a:gd name="connsiteY59" fmla="*/ 28851 h 208617"/>
                <a:gd name="connsiteX60" fmla="*/ 58819 w 126094"/>
                <a:gd name="connsiteY60" fmla="*/ 36347 h 208617"/>
                <a:gd name="connsiteX61" fmla="*/ 60256 w 126094"/>
                <a:gd name="connsiteY61" fmla="*/ 42633 h 208617"/>
                <a:gd name="connsiteX62" fmla="*/ 59355 w 126094"/>
                <a:gd name="connsiteY62" fmla="*/ 48062 h 208617"/>
                <a:gd name="connsiteX63" fmla="*/ 62059 w 126094"/>
                <a:gd name="connsiteY63" fmla="*/ 50915 h 208617"/>
                <a:gd name="connsiteX64" fmla="*/ 60637 w 126094"/>
                <a:gd name="connsiteY64" fmla="*/ 55953 h 208617"/>
                <a:gd name="connsiteX65" fmla="*/ 65275 w 126094"/>
                <a:gd name="connsiteY65" fmla="*/ 58407 h 208617"/>
                <a:gd name="connsiteX66" fmla="*/ 66311 w 126094"/>
                <a:gd name="connsiteY66" fmla="*/ 62914 h 208617"/>
                <a:gd name="connsiteX67" fmla="*/ 70197 w 126094"/>
                <a:gd name="connsiteY67" fmla="*/ 52723 h 208617"/>
                <a:gd name="connsiteX68" fmla="*/ 75104 w 126094"/>
                <a:gd name="connsiteY68" fmla="*/ 42123 h 208617"/>
                <a:gd name="connsiteX69" fmla="*/ 76391 w 126094"/>
                <a:gd name="connsiteY69" fmla="*/ 36974 h 208617"/>
                <a:gd name="connsiteX70" fmla="*/ 74723 w 126094"/>
                <a:gd name="connsiteY70" fmla="*/ 27144 h 208617"/>
                <a:gd name="connsiteX71" fmla="*/ 80407 w 126094"/>
                <a:gd name="connsiteY71" fmla="*/ 31315 h 208617"/>
                <a:gd name="connsiteX72" fmla="*/ 81675 w 126094"/>
                <a:gd name="connsiteY72" fmla="*/ 38251 h 208617"/>
                <a:gd name="connsiteX73" fmla="*/ 82851 w 126094"/>
                <a:gd name="connsiteY73" fmla="*/ 50915 h 208617"/>
                <a:gd name="connsiteX74" fmla="*/ 76270 w 126094"/>
                <a:gd name="connsiteY74" fmla="*/ 64119 h 208617"/>
                <a:gd name="connsiteX75" fmla="*/ 82065 w 126094"/>
                <a:gd name="connsiteY75" fmla="*/ 58537 h 208617"/>
                <a:gd name="connsiteX76" fmla="*/ 88400 w 126094"/>
                <a:gd name="connsiteY76" fmla="*/ 57505 h 208617"/>
                <a:gd name="connsiteX77" fmla="*/ 86972 w 126094"/>
                <a:gd name="connsiteY77" fmla="*/ 48322 h 208617"/>
                <a:gd name="connsiteX78" fmla="*/ 84253 w 126094"/>
                <a:gd name="connsiteY78" fmla="*/ 29743 h 208617"/>
                <a:gd name="connsiteX79" fmla="*/ 72130 w 126094"/>
                <a:gd name="connsiteY79" fmla="*/ 21215 h 208617"/>
                <a:gd name="connsiteX80" fmla="*/ 102471 w 126094"/>
                <a:gd name="connsiteY80" fmla="*/ 288 h 208617"/>
                <a:gd name="connsiteX81" fmla="*/ 110478 w 126094"/>
                <a:gd name="connsiteY81" fmla="*/ 3272 h 208617"/>
                <a:gd name="connsiteX82" fmla="*/ 124044 w 126094"/>
                <a:gd name="connsiteY82" fmla="*/ 8966 h 208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6094" h="208617">
                  <a:moveTo>
                    <a:pt x="124044" y="8966"/>
                  </a:moveTo>
                  <a:cubicBezTo>
                    <a:pt x="125321" y="10378"/>
                    <a:pt x="126888" y="10378"/>
                    <a:pt x="124950" y="13092"/>
                  </a:cubicBezTo>
                  <a:cubicBezTo>
                    <a:pt x="124950" y="13092"/>
                    <a:pt x="117439" y="22502"/>
                    <a:pt x="121585" y="31801"/>
                  </a:cubicBezTo>
                  <a:cubicBezTo>
                    <a:pt x="125731" y="41100"/>
                    <a:pt x="127409" y="46268"/>
                    <a:pt x="124950" y="56363"/>
                  </a:cubicBezTo>
                  <a:cubicBezTo>
                    <a:pt x="123668" y="61897"/>
                    <a:pt x="118876" y="68463"/>
                    <a:pt x="112942" y="69128"/>
                  </a:cubicBezTo>
                  <a:cubicBezTo>
                    <a:pt x="108290" y="69779"/>
                    <a:pt x="97964" y="75853"/>
                    <a:pt x="98475" y="88912"/>
                  </a:cubicBezTo>
                  <a:cubicBezTo>
                    <a:pt x="99130" y="92509"/>
                    <a:pt x="101709" y="94948"/>
                    <a:pt x="104028" y="95083"/>
                  </a:cubicBezTo>
                  <a:cubicBezTo>
                    <a:pt x="106361" y="95223"/>
                    <a:pt x="119411" y="99479"/>
                    <a:pt x="117989" y="111492"/>
                  </a:cubicBezTo>
                  <a:cubicBezTo>
                    <a:pt x="117594" y="115850"/>
                    <a:pt x="112291" y="117567"/>
                    <a:pt x="109832" y="117817"/>
                  </a:cubicBezTo>
                  <a:cubicBezTo>
                    <a:pt x="107393" y="118087"/>
                    <a:pt x="100658" y="118854"/>
                    <a:pt x="99125" y="120517"/>
                  </a:cubicBezTo>
                  <a:cubicBezTo>
                    <a:pt x="97559" y="122219"/>
                    <a:pt x="93697" y="126215"/>
                    <a:pt x="92396" y="126340"/>
                  </a:cubicBezTo>
                  <a:cubicBezTo>
                    <a:pt x="91104" y="126485"/>
                    <a:pt x="86225" y="127507"/>
                    <a:pt x="88530" y="128813"/>
                  </a:cubicBezTo>
                  <a:cubicBezTo>
                    <a:pt x="90853" y="130101"/>
                    <a:pt x="97322" y="137712"/>
                    <a:pt x="96672" y="140060"/>
                  </a:cubicBezTo>
                  <a:cubicBezTo>
                    <a:pt x="96030" y="142340"/>
                    <a:pt x="95119" y="143386"/>
                    <a:pt x="96030" y="145078"/>
                  </a:cubicBezTo>
                  <a:cubicBezTo>
                    <a:pt x="96903" y="146746"/>
                    <a:pt x="99043" y="149629"/>
                    <a:pt x="96624" y="151148"/>
                  </a:cubicBezTo>
                  <a:cubicBezTo>
                    <a:pt x="94204" y="152710"/>
                    <a:pt x="86977" y="155795"/>
                    <a:pt x="85700" y="154474"/>
                  </a:cubicBezTo>
                  <a:cubicBezTo>
                    <a:pt x="84393" y="153206"/>
                    <a:pt x="81038" y="148149"/>
                    <a:pt x="78720" y="151538"/>
                  </a:cubicBezTo>
                  <a:cubicBezTo>
                    <a:pt x="76391" y="154864"/>
                    <a:pt x="76121" y="157082"/>
                    <a:pt x="77938" y="157231"/>
                  </a:cubicBezTo>
                  <a:cubicBezTo>
                    <a:pt x="79746" y="157337"/>
                    <a:pt x="82060" y="157458"/>
                    <a:pt x="83593" y="160317"/>
                  </a:cubicBezTo>
                  <a:cubicBezTo>
                    <a:pt x="85155" y="163156"/>
                    <a:pt x="86722" y="164969"/>
                    <a:pt x="88520" y="164699"/>
                  </a:cubicBezTo>
                  <a:cubicBezTo>
                    <a:pt x="90323" y="164453"/>
                    <a:pt x="92892" y="164453"/>
                    <a:pt x="94319" y="165865"/>
                  </a:cubicBezTo>
                  <a:cubicBezTo>
                    <a:pt x="95751" y="167282"/>
                    <a:pt x="97698" y="170392"/>
                    <a:pt x="97038" y="171785"/>
                  </a:cubicBezTo>
                  <a:cubicBezTo>
                    <a:pt x="96397" y="173227"/>
                    <a:pt x="83227" y="189130"/>
                    <a:pt x="84008" y="196096"/>
                  </a:cubicBezTo>
                  <a:cubicBezTo>
                    <a:pt x="84779" y="203062"/>
                    <a:pt x="86828" y="208741"/>
                    <a:pt x="85011" y="208615"/>
                  </a:cubicBezTo>
                  <a:cubicBezTo>
                    <a:pt x="83227" y="208476"/>
                    <a:pt x="80247" y="207719"/>
                    <a:pt x="80127" y="206287"/>
                  </a:cubicBezTo>
                  <a:cubicBezTo>
                    <a:pt x="79997" y="204850"/>
                    <a:pt x="75991" y="195320"/>
                    <a:pt x="77283" y="193498"/>
                  </a:cubicBezTo>
                  <a:cubicBezTo>
                    <a:pt x="78584" y="191695"/>
                    <a:pt x="80513" y="189255"/>
                    <a:pt x="78440" y="187433"/>
                  </a:cubicBezTo>
                  <a:cubicBezTo>
                    <a:pt x="76386" y="185621"/>
                    <a:pt x="66697" y="175449"/>
                    <a:pt x="66562" y="165870"/>
                  </a:cubicBezTo>
                  <a:cubicBezTo>
                    <a:pt x="66417" y="160452"/>
                    <a:pt x="66036" y="156581"/>
                    <a:pt x="67863" y="156720"/>
                  </a:cubicBezTo>
                  <a:cubicBezTo>
                    <a:pt x="69666" y="156822"/>
                    <a:pt x="71604" y="157241"/>
                    <a:pt x="72385" y="155539"/>
                  </a:cubicBezTo>
                  <a:cubicBezTo>
                    <a:pt x="73151" y="153881"/>
                    <a:pt x="75861" y="151543"/>
                    <a:pt x="73672" y="150237"/>
                  </a:cubicBezTo>
                  <a:cubicBezTo>
                    <a:pt x="71464" y="148949"/>
                    <a:pt x="65660" y="143497"/>
                    <a:pt x="57123" y="142871"/>
                  </a:cubicBezTo>
                  <a:cubicBezTo>
                    <a:pt x="59591" y="141203"/>
                    <a:pt x="65660" y="141969"/>
                    <a:pt x="68784" y="144172"/>
                  </a:cubicBezTo>
                  <a:cubicBezTo>
                    <a:pt x="65544" y="140552"/>
                    <a:pt x="63987" y="137842"/>
                    <a:pt x="65660" y="136425"/>
                  </a:cubicBezTo>
                  <a:cubicBezTo>
                    <a:pt x="67318" y="134993"/>
                    <a:pt x="70447" y="131252"/>
                    <a:pt x="68123" y="131908"/>
                  </a:cubicBezTo>
                  <a:cubicBezTo>
                    <a:pt x="65805" y="132569"/>
                    <a:pt x="63462" y="132665"/>
                    <a:pt x="63722" y="129961"/>
                  </a:cubicBezTo>
                  <a:cubicBezTo>
                    <a:pt x="63992" y="127266"/>
                    <a:pt x="63857" y="123896"/>
                    <a:pt x="61919" y="125593"/>
                  </a:cubicBezTo>
                  <a:cubicBezTo>
                    <a:pt x="59981" y="127271"/>
                    <a:pt x="52119" y="128683"/>
                    <a:pt x="40327" y="123896"/>
                  </a:cubicBezTo>
                  <a:cubicBezTo>
                    <a:pt x="38920" y="123269"/>
                    <a:pt x="30011" y="126220"/>
                    <a:pt x="28078" y="126220"/>
                  </a:cubicBezTo>
                  <a:cubicBezTo>
                    <a:pt x="26125" y="126220"/>
                    <a:pt x="27171" y="124152"/>
                    <a:pt x="28603" y="122739"/>
                  </a:cubicBezTo>
                  <a:cubicBezTo>
                    <a:pt x="30011" y="121332"/>
                    <a:pt x="30011" y="119509"/>
                    <a:pt x="27962" y="117947"/>
                  </a:cubicBezTo>
                  <a:cubicBezTo>
                    <a:pt x="25875" y="116385"/>
                    <a:pt x="23426" y="114722"/>
                    <a:pt x="23305" y="112539"/>
                  </a:cubicBezTo>
                  <a:cubicBezTo>
                    <a:pt x="23175" y="110331"/>
                    <a:pt x="22910" y="106845"/>
                    <a:pt x="20591" y="107612"/>
                  </a:cubicBezTo>
                  <a:cubicBezTo>
                    <a:pt x="18282" y="108398"/>
                    <a:pt x="13485" y="107612"/>
                    <a:pt x="16460" y="105679"/>
                  </a:cubicBezTo>
                  <a:cubicBezTo>
                    <a:pt x="19434" y="103731"/>
                    <a:pt x="25504" y="98453"/>
                    <a:pt x="20085" y="87071"/>
                  </a:cubicBezTo>
                  <a:cubicBezTo>
                    <a:pt x="19029" y="85403"/>
                    <a:pt x="17757" y="83576"/>
                    <a:pt x="18133" y="80760"/>
                  </a:cubicBezTo>
                  <a:cubicBezTo>
                    <a:pt x="18528" y="77916"/>
                    <a:pt x="16325" y="67721"/>
                    <a:pt x="2885" y="66935"/>
                  </a:cubicBezTo>
                  <a:cubicBezTo>
                    <a:pt x="5854" y="66139"/>
                    <a:pt x="8298" y="65382"/>
                    <a:pt x="7556" y="63825"/>
                  </a:cubicBezTo>
                  <a:cubicBezTo>
                    <a:pt x="6775" y="62302"/>
                    <a:pt x="6245" y="60065"/>
                    <a:pt x="4321" y="58797"/>
                  </a:cubicBezTo>
                  <a:cubicBezTo>
                    <a:pt x="2393" y="57510"/>
                    <a:pt x="-1622" y="56223"/>
                    <a:pt x="706" y="55437"/>
                  </a:cubicBezTo>
                  <a:cubicBezTo>
                    <a:pt x="3034" y="54656"/>
                    <a:pt x="4186" y="54656"/>
                    <a:pt x="6915" y="55572"/>
                  </a:cubicBezTo>
                  <a:cubicBezTo>
                    <a:pt x="9610" y="56464"/>
                    <a:pt x="10636" y="56464"/>
                    <a:pt x="13230" y="54941"/>
                  </a:cubicBezTo>
                  <a:cubicBezTo>
                    <a:pt x="15823" y="53374"/>
                    <a:pt x="18012" y="52092"/>
                    <a:pt x="18138" y="54656"/>
                  </a:cubicBezTo>
                  <a:cubicBezTo>
                    <a:pt x="18282" y="57274"/>
                    <a:pt x="19034" y="60629"/>
                    <a:pt x="20717" y="58792"/>
                  </a:cubicBezTo>
                  <a:cubicBezTo>
                    <a:pt x="22399" y="56994"/>
                    <a:pt x="26665" y="53615"/>
                    <a:pt x="30652" y="53519"/>
                  </a:cubicBezTo>
                  <a:cubicBezTo>
                    <a:pt x="32089" y="53249"/>
                    <a:pt x="31954" y="47671"/>
                    <a:pt x="35439" y="44586"/>
                  </a:cubicBezTo>
                  <a:cubicBezTo>
                    <a:pt x="38925" y="41476"/>
                    <a:pt x="43841" y="32958"/>
                    <a:pt x="43841" y="32958"/>
                  </a:cubicBezTo>
                  <a:lnTo>
                    <a:pt x="41518" y="27945"/>
                  </a:lnTo>
                  <a:lnTo>
                    <a:pt x="29235" y="23818"/>
                  </a:lnTo>
                  <a:cubicBezTo>
                    <a:pt x="29235" y="23818"/>
                    <a:pt x="58309" y="23818"/>
                    <a:pt x="60381" y="28851"/>
                  </a:cubicBezTo>
                  <a:cubicBezTo>
                    <a:pt x="60637" y="29989"/>
                    <a:pt x="57012" y="33498"/>
                    <a:pt x="58819" y="36347"/>
                  </a:cubicBezTo>
                  <a:cubicBezTo>
                    <a:pt x="60637" y="39182"/>
                    <a:pt x="62155" y="39924"/>
                    <a:pt x="60256" y="42633"/>
                  </a:cubicBezTo>
                  <a:cubicBezTo>
                    <a:pt x="58309" y="45352"/>
                    <a:pt x="57407" y="47787"/>
                    <a:pt x="59355" y="48062"/>
                  </a:cubicBezTo>
                  <a:cubicBezTo>
                    <a:pt x="61273" y="48351"/>
                    <a:pt x="63611" y="49112"/>
                    <a:pt x="62059" y="50915"/>
                  </a:cubicBezTo>
                  <a:cubicBezTo>
                    <a:pt x="60531" y="52723"/>
                    <a:pt x="58159" y="56083"/>
                    <a:pt x="60637" y="55953"/>
                  </a:cubicBezTo>
                  <a:cubicBezTo>
                    <a:pt x="63091" y="55828"/>
                    <a:pt x="65395" y="56218"/>
                    <a:pt x="65275" y="58407"/>
                  </a:cubicBezTo>
                  <a:cubicBezTo>
                    <a:pt x="65149" y="60624"/>
                    <a:pt x="64252" y="64626"/>
                    <a:pt x="66311" y="62914"/>
                  </a:cubicBezTo>
                  <a:cubicBezTo>
                    <a:pt x="68369" y="61251"/>
                    <a:pt x="71469" y="55953"/>
                    <a:pt x="70197" y="52723"/>
                  </a:cubicBezTo>
                  <a:cubicBezTo>
                    <a:pt x="68905" y="49493"/>
                    <a:pt x="72751" y="43145"/>
                    <a:pt x="75104" y="42123"/>
                  </a:cubicBezTo>
                  <a:cubicBezTo>
                    <a:pt x="77408" y="41096"/>
                    <a:pt x="77408" y="39408"/>
                    <a:pt x="76391" y="36974"/>
                  </a:cubicBezTo>
                  <a:cubicBezTo>
                    <a:pt x="75364" y="34535"/>
                    <a:pt x="72751" y="26629"/>
                    <a:pt x="74723" y="27144"/>
                  </a:cubicBezTo>
                  <a:cubicBezTo>
                    <a:pt x="76642" y="27670"/>
                    <a:pt x="81038" y="28851"/>
                    <a:pt x="80407" y="31315"/>
                  </a:cubicBezTo>
                  <a:cubicBezTo>
                    <a:pt x="79746" y="33734"/>
                    <a:pt x="80252" y="35547"/>
                    <a:pt x="81675" y="38251"/>
                  </a:cubicBezTo>
                  <a:cubicBezTo>
                    <a:pt x="83102" y="40995"/>
                    <a:pt x="85555" y="47546"/>
                    <a:pt x="82851" y="50915"/>
                  </a:cubicBezTo>
                  <a:cubicBezTo>
                    <a:pt x="80132" y="54280"/>
                    <a:pt x="76569" y="62760"/>
                    <a:pt x="76270" y="64119"/>
                  </a:cubicBezTo>
                  <a:cubicBezTo>
                    <a:pt x="79351" y="60359"/>
                    <a:pt x="82065" y="58537"/>
                    <a:pt x="82065" y="58537"/>
                  </a:cubicBezTo>
                  <a:cubicBezTo>
                    <a:pt x="82065" y="58537"/>
                    <a:pt x="88274" y="59434"/>
                    <a:pt x="88400" y="57505"/>
                  </a:cubicBezTo>
                  <a:cubicBezTo>
                    <a:pt x="88525" y="55572"/>
                    <a:pt x="88400" y="53037"/>
                    <a:pt x="86972" y="48322"/>
                  </a:cubicBezTo>
                  <a:cubicBezTo>
                    <a:pt x="85560" y="43559"/>
                    <a:pt x="83463" y="33146"/>
                    <a:pt x="84253" y="29743"/>
                  </a:cubicBezTo>
                  <a:cubicBezTo>
                    <a:pt x="85039" y="26330"/>
                    <a:pt x="75865" y="21326"/>
                    <a:pt x="72130" y="21215"/>
                  </a:cubicBezTo>
                  <a:cubicBezTo>
                    <a:pt x="75726" y="18265"/>
                    <a:pt x="98465" y="-2686"/>
                    <a:pt x="102471" y="288"/>
                  </a:cubicBezTo>
                  <a:cubicBezTo>
                    <a:pt x="106472" y="3272"/>
                    <a:pt x="108555" y="3788"/>
                    <a:pt x="110478" y="3272"/>
                  </a:cubicBezTo>
                  <a:cubicBezTo>
                    <a:pt x="112435" y="2752"/>
                    <a:pt x="121214" y="5712"/>
                    <a:pt x="124044" y="896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67" name="Freihandform: Form 466">
              <a:extLst>
                <a:ext uri="{FF2B5EF4-FFF2-40B4-BE49-F238E27FC236}">
                  <a16:creationId xmlns:a16="http://schemas.microsoft.com/office/drawing/2014/main" id="{0DA40F1C-15D0-A08E-6793-0BEF8A4C3623}"/>
                </a:ext>
              </a:extLst>
            </p:cNvPr>
            <p:cNvSpPr/>
            <p:nvPr/>
          </p:nvSpPr>
          <p:spPr>
            <a:xfrm>
              <a:off x="5615079" y="3338502"/>
              <a:ext cx="14285" cy="19051"/>
            </a:xfrm>
            <a:custGeom>
              <a:avLst/>
              <a:gdLst>
                <a:gd name="connsiteX0" fmla="*/ 4465 w 11575"/>
                <a:gd name="connsiteY0" fmla="*/ 0 h 14322"/>
                <a:gd name="connsiteX1" fmla="*/ 8467 w 11575"/>
                <a:gd name="connsiteY1" fmla="*/ 1162 h 14322"/>
                <a:gd name="connsiteX2" fmla="*/ 11576 w 11575"/>
                <a:gd name="connsiteY2" fmla="*/ 7857 h 14322"/>
                <a:gd name="connsiteX3" fmla="*/ 5487 w 11575"/>
                <a:gd name="connsiteY3" fmla="*/ 14322 h 14322"/>
                <a:gd name="connsiteX4" fmla="*/ 199 w 11575"/>
                <a:gd name="connsiteY4" fmla="*/ 6450 h 14322"/>
                <a:gd name="connsiteX5" fmla="*/ 4465 w 11575"/>
                <a:gd name="connsiteY5" fmla="*/ 0 h 14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75" h="14322">
                  <a:moveTo>
                    <a:pt x="4465" y="0"/>
                  </a:moveTo>
                  <a:lnTo>
                    <a:pt x="8467" y="1162"/>
                  </a:lnTo>
                  <a:lnTo>
                    <a:pt x="11576" y="7857"/>
                  </a:lnTo>
                  <a:lnTo>
                    <a:pt x="5487" y="14322"/>
                  </a:lnTo>
                  <a:cubicBezTo>
                    <a:pt x="5487" y="14322"/>
                    <a:pt x="-1228" y="8532"/>
                    <a:pt x="199" y="6450"/>
                  </a:cubicBezTo>
                  <a:cubicBezTo>
                    <a:pt x="1626" y="4406"/>
                    <a:pt x="4465" y="0"/>
                    <a:pt x="4465"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68" name="Freihandform: Form 467">
              <a:extLst>
                <a:ext uri="{FF2B5EF4-FFF2-40B4-BE49-F238E27FC236}">
                  <a16:creationId xmlns:a16="http://schemas.microsoft.com/office/drawing/2014/main" id="{C1289976-5E90-2FB5-F5BF-0496574817B9}"/>
                </a:ext>
              </a:extLst>
            </p:cNvPr>
            <p:cNvSpPr/>
            <p:nvPr/>
          </p:nvSpPr>
          <p:spPr>
            <a:xfrm>
              <a:off x="5419838" y="3287700"/>
              <a:ext cx="15873" cy="39689"/>
            </a:xfrm>
            <a:custGeom>
              <a:avLst/>
              <a:gdLst>
                <a:gd name="connsiteX0" fmla="*/ 8885 w 11739"/>
                <a:gd name="connsiteY0" fmla="*/ 14187 h 31314"/>
                <a:gd name="connsiteX1" fmla="*/ 11595 w 11739"/>
                <a:gd name="connsiteY1" fmla="*/ 14081 h 31314"/>
                <a:gd name="connsiteX2" fmla="*/ 9922 w 11739"/>
                <a:gd name="connsiteY2" fmla="*/ 24523 h 31314"/>
                <a:gd name="connsiteX3" fmla="*/ 2821 w 11739"/>
                <a:gd name="connsiteY3" fmla="*/ 31118 h 31314"/>
                <a:gd name="connsiteX4" fmla="*/ 3197 w 11739"/>
                <a:gd name="connsiteY4" fmla="*/ 17311 h 31314"/>
                <a:gd name="connsiteX5" fmla="*/ 3713 w 11739"/>
                <a:gd name="connsiteY5" fmla="*/ 11083 h 31314"/>
                <a:gd name="connsiteX6" fmla="*/ 93 w 11739"/>
                <a:gd name="connsiteY6" fmla="*/ 5269 h 31314"/>
                <a:gd name="connsiteX7" fmla="*/ 2431 w 11739"/>
                <a:gd name="connsiteY7" fmla="*/ 0 h 31314"/>
                <a:gd name="connsiteX8" fmla="*/ 8885 w 11739"/>
                <a:gd name="connsiteY8" fmla="*/ 14187 h 3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39" h="31314">
                  <a:moveTo>
                    <a:pt x="8885" y="14187"/>
                  </a:moveTo>
                  <a:cubicBezTo>
                    <a:pt x="8885" y="14187"/>
                    <a:pt x="12496" y="12394"/>
                    <a:pt x="11595" y="14081"/>
                  </a:cubicBezTo>
                  <a:cubicBezTo>
                    <a:pt x="10713" y="15749"/>
                    <a:pt x="9397" y="22098"/>
                    <a:pt x="9922" y="24523"/>
                  </a:cubicBezTo>
                  <a:cubicBezTo>
                    <a:pt x="10438" y="26958"/>
                    <a:pt x="3197" y="32414"/>
                    <a:pt x="2821" y="31118"/>
                  </a:cubicBezTo>
                  <a:cubicBezTo>
                    <a:pt x="2426" y="29845"/>
                    <a:pt x="-1976" y="23111"/>
                    <a:pt x="3197" y="17311"/>
                  </a:cubicBezTo>
                  <a:cubicBezTo>
                    <a:pt x="5530" y="14081"/>
                    <a:pt x="5145" y="12124"/>
                    <a:pt x="3713" y="11083"/>
                  </a:cubicBezTo>
                  <a:cubicBezTo>
                    <a:pt x="2300" y="10056"/>
                    <a:pt x="-549" y="8108"/>
                    <a:pt x="93" y="5269"/>
                  </a:cubicBezTo>
                  <a:cubicBezTo>
                    <a:pt x="758" y="2444"/>
                    <a:pt x="2431" y="0"/>
                    <a:pt x="2431" y="0"/>
                  </a:cubicBezTo>
                  <a:cubicBezTo>
                    <a:pt x="2431" y="0"/>
                    <a:pt x="6306" y="11088"/>
                    <a:pt x="8885" y="14187"/>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69" name="Freihandform: Form 468">
              <a:extLst>
                <a:ext uri="{FF2B5EF4-FFF2-40B4-BE49-F238E27FC236}">
                  <a16:creationId xmlns:a16="http://schemas.microsoft.com/office/drawing/2014/main" id="{7F432F47-2F4F-E63B-6B8B-B0E15EE80326}"/>
                </a:ext>
              </a:extLst>
            </p:cNvPr>
            <p:cNvSpPr/>
            <p:nvPr/>
          </p:nvSpPr>
          <p:spPr>
            <a:xfrm>
              <a:off x="5345234" y="3352790"/>
              <a:ext cx="106350" cy="100017"/>
            </a:xfrm>
            <a:custGeom>
              <a:avLst/>
              <a:gdLst>
                <a:gd name="connsiteX0" fmla="*/ 67896 w 83659"/>
                <a:gd name="connsiteY0" fmla="*/ 0 h 77795"/>
                <a:gd name="connsiteX1" fmla="*/ 72934 w 83659"/>
                <a:gd name="connsiteY1" fmla="*/ 5930 h 77795"/>
                <a:gd name="connsiteX2" fmla="*/ 75744 w 83659"/>
                <a:gd name="connsiteY2" fmla="*/ 18328 h 77795"/>
                <a:gd name="connsiteX3" fmla="*/ 65939 w 83659"/>
                <a:gd name="connsiteY3" fmla="*/ 20637 h 77795"/>
                <a:gd name="connsiteX4" fmla="*/ 82619 w 83659"/>
                <a:gd name="connsiteY4" fmla="*/ 38865 h 77795"/>
                <a:gd name="connsiteX5" fmla="*/ 81958 w 83659"/>
                <a:gd name="connsiteY5" fmla="*/ 45585 h 77795"/>
                <a:gd name="connsiteX6" fmla="*/ 83650 w 83659"/>
                <a:gd name="connsiteY6" fmla="*/ 53973 h 77795"/>
                <a:gd name="connsiteX7" fmla="*/ 72278 w 83659"/>
                <a:gd name="connsiteY7" fmla="*/ 73092 h 77795"/>
                <a:gd name="connsiteX8" fmla="*/ 62969 w 83659"/>
                <a:gd name="connsiteY8" fmla="*/ 77763 h 77795"/>
                <a:gd name="connsiteX9" fmla="*/ 36528 w 83659"/>
                <a:gd name="connsiteY9" fmla="*/ 70127 h 77795"/>
                <a:gd name="connsiteX10" fmla="*/ 31095 w 83659"/>
                <a:gd name="connsiteY10" fmla="*/ 69727 h 77795"/>
                <a:gd name="connsiteX11" fmla="*/ 33283 w 83659"/>
                <a:gd name="connsiteY11" fmla="*/ 64019 h 77795"/>
                <a:gd name="connsiteX12" fmla="*/ 29673 w 83659"/>
                <a:gd name="connsiteY12" fmla="*/ 57593 h 77795"/>
                <a:gd name="connsiteX13" fmla="*/ 22432 w 83659"/>
                <a:gd name="connsiteY13" fmla="*/ 57082 h 77795"/>
                <a:gd name="connsiteX14" fmla="*/ 22321 w 83659"/>
                <a:gd name="connsiteY14" fmla="*/ 66637 h 77795"/>
                <a:gd name="connsiteX15" fmla="*/ 18175 w 83659"/>
                <a:gd name="connsiteY15" fmla="*/ 53978 h 77795"/>
                <a:gd name="connsiteX16" fmla="*/ 12882 w 83659"/>
                <a:gd name="connsiteY16" fmla="*/ 46631 h 77795"/>
                <a:gd name="connsiteX17" fmla="*/ 11465 w 83659"/>
                <a:gd name="connsiteY17" fmla="*/ 40287 h 77795"/>
                <a:gd name="connsiteX18" fmla="*/ 7203 w 83659"/>
                <a:gd name="connsiteY18" fmla="*/ 34087 h 77795"/>
                <a:gd name="connsiteX19" fmla="*/ 7203 w 83659"/>
                <a:gd name="connsiteY19" fmla="*/ 28544 h 77795"/>
                <a:gd name="connsiteX20" fmla="*/ 1380 w 83659"/>
                <a:gd name="connsiteY20" fmla="*/ 23477 h 77795"/>
                <a:gd name="connsiteX21" fmla="*/ 1664 w 83659"/>
                <a:gd name="connsiteY21" fmla="*/ 12380 h 77795"/>
                <a:gd name="connsiteX22" fmla="*/ 9271 w 83659"/>
                <a:gd name="connsiteY22" fmla="*/ 10581 h 77795"/>
                <a:gd name="connsiteX23" fmla="*/ 15075 w 83659"/>
                <a:gd name="connsiteY23" fmla="*/ 14327 h 77795"/>
                <a:gd name="connsiteX24" fmla="*/ 19997 w 83659"/>
                <a:gd name="connsiteY24" fmla="*/ 10056 h 77795"/>
                <a:gd name="connsiteX25" fmla="*/ 47615 w 83659"/>
                <a:gd name="connsiteY25" fmla="*/ 1032 h 77795"/>
                <a:gd name="connsiteX26" fmla="*/ 58601 w 83659"/>
                <a:gd name="connsiteY26" fmla="*/ 10818 h 77795"/>
                <a:gd name="connsiteX27" fmla="*/ 57575 w 83659"/>
                <a:gd name="connsiteY27" fmla="*/ 16641 h 77795"/>
                <a:gd name="connsiteX28" fmla="*/ 52995 w 83659"/>
                <a:gd name="connsiteY28" fmla="*/ 21896 h 77795"/>
                <a:gd name="connsiteX29" fmla="*/ 65066 w 83659"/>
                <a:gd name="connsiteY29" fmla="*/ 17933 h 77795"/>
                <a:gd name="connsiteX30" fmla="*/ 64290 w 83659"/>
                <a:gd name="connsiteY30" fmla="*/ 11228 h 77795"/>
                <a:gd name="connsiteX31" fmla="*/ 67896 w 83659"/>
                <a:gd name="connsiteY31" fmla="*/ 0 h 77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3659" h="77795">
                  <a:moveTo>
                    <a:pt x="67896" y="0"/>
                  </a:moveTo>
                  <a:cubicBezTo>
                    <a:pt x="67896" y="0"/>
                    <a:pt x="71647" y="2974"/>
                    <a:pt x="72934" y="5930"/>
                  </a:cubicBezTo>
                  <a:cubicBezTo>
                    <a:pt x="74230" y="8918"/>
                    <a:pt x="77306" y="17292"/>
                    <a:pt x="75744" y="18328"/>
                  </a:cubicBezTo>
                  <a:cubicBezTo>
                    <a:pt x="74226" y="19355"/>
                    <a:pt x="69959" y="20888"/>
                    <a:pt x="65939" y="20637"/>
                  </a:cubicBezTo>
                  <a:cubicBezTo>
                    <a:pt x="73449" y="23472"/>
                    <a:pt x="85318" y="33437"/>
                    <a:pt x="82619" y="38865"/>
                  </a:cubicBezTo>
                  <a:cubicBezTo>
                    <a:pt x="81312" y="40947"/>
                    <a:pt x="80936" y="42987"/>
                    <a:pt x="81958" y="45585"/>
                  </a:cubicBezTo>
                  <a:cubicBezTo>
                    <a:pt x="82999" y="48159"/>
                    <a:pt x="83650" y="53973"/>
                    <a:pt x="83650" y="53973"/>
                  </a:cubicBezTo>
                  <a:cubicBezTo>
                    <a:pt x="83650" y="53973"/>
                    <a:pt x="84421" y="68946"/>
                    <a:pt x="72278" y="73092"/>
                  </a:cubicBezTo>
                  <a:cubicBezTo>
                    <a:pt x="69067" y="73593"/>
                    <a:pt x="66353" y="74760"/>
                    <a:pt x="62969" y="77763"/>
                  </a:cubicBezTo>
                  <a:cubicBezTo>
                    <a:pt x="61431" y="78375"/>
                    <a:pt x="38186" y="70127"/>
                    <a:pt x="36528" y="70127"/>
                  </a:cubicBezTo>
                  <a:cubicBezTo>
                    <a:pt x="34826" y="70127"/>
                    <a:pt x="29292" y="71506"/>
                    <a:pt x="31095" y="69727"/>
                  </a:cubicBezTo>
                  <a:cubicBezTo>
                    <a:pt x="32893" y="67934"/>
                    <a:pt x="33283" y="64019"/>
                    <a:pt x="33283" y="64019"/>
                  </a:cubicBezTo>
                  <a:cubicBezTo>
                    <a:pt x="33283" y="64019"/>
                    <a:pt x="31866" y="57593"/>
                    <a:pt x="29673" y="57593"/>
                  </a:cubicBezTo>
                  <a:cubicBezTo>
                    <a:pt x="27465" y="57593"/>
                    <a:pt x="21892" y="55019"/>
                    <a:pt x="22432" y="57082"/>
                  </a:cubicBezTo>
                  <a:cubicBezTo>
                    <a:pt x="22938" y="59160"/>
                    <a:pt x="23073" y="68454"/>
                    <a:pt x="22321" y="66637"/>
                  </a:cubicBezTo>
                  <a:cubicBezTo>
                    <a:pt x="21530" y="64814"/>
                    <a:pt x="18305" y="58630"/>
                    <a:pt x="18175" y="53978"/>
                  </a:cubicBezTo>
                  <a:cubicBezTo>
                    <a:pt x="14304" y="50107"/>
                    <a:pt x="12882" y="48684"/>
                    <a:pt x="12882" y="46631"/>
                  </a:cubicBezTo>
                  <a:cubicBezTo>
                    <a:pt x="12882" y="44553"/>
                    <a:pt x="13287" y="41704"/>
                    <a:pt x="11465" y="40287"/>
                  </a:cubicBezTo>
                  <a:cubicBezTo>
                    <a:pt x="9662" y="38870"/>
                    <a:pt x="7059" y="36411"/>
                    <a:pt x="7203" y="34087"/>
                  </a:cubicBezTo>
                  <a:cubicBezTo>
                    <a:pt x="7333" y="31744"/>
                    <a:pt x="9016" y="29450"/>
                    <a:pt x="7203" y="28544"/>
                  </a:cubicBezTo>
                  <a:cubicBezTo>
                    <a:pt x="5391" y="27642"/>
                    <a:pt x="2180" y="25569"/>
                    <a:pt x="1380" y="23477"/>
                  </a:cubicBezTo>
                  <a:cubicBezTo>
                    <a:pt x="599" y="21452"/>
                    <a:pt x="-1436" y="14472"/>
                    <a:pt x="1664" y="12380"/>
                  </a:cubicBezTo>
                  <a:cubicBezTo>
                    <a:pt x="4740" y="10316"/>
                    <a:pt x="7729" y="8113"/>
                    <a:pt x="9271" y="10581"/>
                  </a:cubicBezTo>
                  <a:cubicBezTo>
                    <a:pt x="10814" y="13045"/>
                    <a:pt x="13783" y="15995"/>
                    <a:pt x="15075" y="14327"/>
                  </a:cubicBezTo>
                  <a:cubicBezTo>
                    <a:pt x="16377" y="12645"/>
                    <a:pt x="19997" y="10056"/>
                    <a:pt x="19997" y="10056"/>
                  </a:cubicBezTo>
                  <a:cubicBezTo>
                    <a:pt x="19997" y="10056"/>
                    <a:pt x="44005" y="-1576"/>
                    <a:pt x="47615" y="1032"/>
                  </a:cubicBezTo>
                  <a:cubicBezTo>
                    <a:pt x="51250" y="3606"/>
                    <a:pt x="59122" y="8388"/>
                    <a:pt x="58601" y="10818"/>
                  </a:cubicBezTo>
                  <a:cubicBezTo>
                    <a:pt x="58086" y="13281"/>
                    <a:pt x="58601" y="15349"/>
                    <a:pt x="57575" y="16641"/>
                  </a:cubicBezTo>
                  <a:cubicBezTo>
                    <a:pt x="56529" y="17933"/>
                    <a:pt x="52995" y="21896"/>
                    <a:pt x="52995" y="21896"/>
                  </a:cubicBezTo>
                  <a:lnTo>
                    <a:pt x="65066" y="17933"/>
                  </a:lnTo>
                  <a:lnTo>
                    <a:pt x="64290" y="11228"/>
                  </a:lnTo>
                  <a:lnTo>
                    <a:pt x="67896"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70" name="Freihandform: Form 469">
              <a:extLst>
                <a:ext uri="{FF2B5EF4-FFF2-40B4-BE49-F238E27FC236}">
                  <a16:creationId xmlns:a16="http://schemas.microsoft.com/office/drawing/2014/main" id="{E8563E48-A327-EAFB-682A-F7F0F63930B3}"/>
                </a:ext>
              </a:extLst>
            </p:cNvPr>
            <p:cNvSpPr/>
            <p:nvPr/>
          </p:nvSpPr>
          <p:spPr>
            <a:xfrm>
              <a:off x="5511903" y="3622675"/>
              <a:ext cx="7937" cy="9525"/>
            </a:xfrm>
            <a:custGeom>
              <a:avLst/>
              <a:gdLst>
                <a:gd name="connsiteX0" fmla="*/ 4146 w 6021"/>
                <a:gd name="connsiteY0" fmla="*/ 0 h 7723"/>
                <a:gd name="connsiteX1" fmla="*/ 6021 w 6021"/>
                <a:gd name="connsiteY1" fmla="*/ 7723 h 7723"/>
                <a:gd name="connsiteX2" fmla="*/ 0 w 6021"/>
                <a:gd name="connsiteY2" fmla="*/ 5843 h 7723"/>
              </a:gdLst>
              <a:ahLst/>
              <a:cxnLst>
                <a:cxn ang="0">
                  <a:pos x="connsiteX0" y="connsiteY0"/>
                </a:cxn>
                <a:cxn ang="0">
                  <a:pos x="connsiteX1" y="connsiteY1"/>
                </a:cxn>
                <a:cxn ang="0">
                  <a:pos x="connsiteX2" y="connsiteY2"/>
                </a:cxn>
              </a:cxnLst>
              <a:rect l="l" t="t" r="r" b="b"/>
              <a:pathLst>
                <a:path w="6021" h="7723">
                  <a:moveTo>
                    <a:pt x="4146" y="0"/>
                  </a:moveTo>
                  <a:lnTo>
                    <a:pt x="6021" y="7723"/>
                  </a:lnTo>
                  <a:lnTo>
                    <a:pt x="0" y="584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71" name="Freihandform: Form 470">
              <a:extLst>
                <a:ext uri="{FF2B5EF4-FFF2-40B4-BE49-F238E27FC236}">
                  <a16:creationId xmlns:a16="http://schemas.microsoft.com/office/drawing/2014/main" id="{E0E32BAC-BAD4-9C3E-BA58-9596BBC53908}"/>
                </a:ext>
              </a:extLst>
            </p:cNvPr>
            <p:cNvSpPr/>
            <p:nvPr/>
          </p:nvSpPr>
          <p:spPr>
            <a:xfrm>
              <a:off x="5453172" y="3057503"/>
              <a:ext cx="25397" cy="22226"/>
            </a:xfrm>
            <a:custGeom>
              <a:avLst/>
              <a:gdLst>
                <a:gd name="connsiteX0" fmla="*/ 19803 w 19803"/>
                <a:gd name="connsiteY0" fmla="*/ 0 h 16197"/>
                <a:gd name="connsiteX1" fmla="*/ 844 w 19803"/>
                <a:gd name="connsiteY1" fmla="*/ 5857 h 16197"/>
                <a:gd name="connsiteX2" fmla="*/ 1538 w 19803"/>
                <a:gd name="connsiteY2" fmla="*/ 13421 h 16197"/>
                <a:gd name="connsiteX3" fmla="*/ 6701 w 19803"/>
                <a:gd name="connsiteY3" fmla="*/ 16198 h 16197"/>
                <a:gd name="connsiteX4" fmla="*/ 12558 w 19803"/>
                <a:gd name="connsiteY4" fmla="*/ 11353 h 16197"/>
                <a:gd name="connsiteX5" fmla="*/ 13595 w 19803"/>
                <a:gd name="connsiteY5" fmla="*/ 5173 h 16197"/>
                <a:gd name="connsiteX6" fmla="*/ 19803 w 19803"/>
                <a:gd name="connsiteY6" fmla="*/ 0 h 16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03" h="16197">
                  <a:moveTo>
                    <a:pt x="19803" y="0"/>
                  </a:moveTo>
                  <a:lnTo>
                    <a:pt x="844" y="5857"/>
                  </a:lnTo>
                  <a:cubicBezTo>
                    <a:pt x="844" y="5857"/>
                    <a:pt x="-1456" y="11155"/>
                    <a:pt x="1538" y="13421"/>
                  </a:cubicBezTo>
                  <a:cubicBezTo>
                    <a:pt x="4527" y="15716"/>
                    <a:pt x="6701" y="16198"/>
                    <a:pt x="6701" y="16198"/>
                  </a:cubicBezTo>
                  <a:lnTo>
                    <a:pt x="12558" y="11353"/>
                  </a:lnTo>
                  <a:lnTo>
                    <a:pt x="13595" y="5173"/>
                  </a:lnTo>
                  <a:lnTo>
                    <a:pt x="19803"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72" name="Freihandform: Form 471">
              <a:extLst>
                <a:ext uri="{FF2B5EF4-FFF2-40B4-BE49-F238E27FC236}">
                  <a16:creationId xmlns:a16="http://schemas.microsoft.com/office/drawing/2014/main" id="{B4499243-7AC1-5611-E205-075EA7ECC3A2}"/>
                </a:ext>
              </a:extLst>
            </p:cNvPr>
            <p:cNvSpPr/>
            <p:nvPr/>
          </p:nvSpPr>
          <p:spPr>
            <a:xfrm>
              <a:off x="5500792" y="2893985"/>
              <a:ext cx="34921" cy="34926"/>
            </a:xfrm>
            <a:custGeom>
              <a:avLst/>
              <a:gdLst>
                <a:gd name="connsiteX0" fmla="*/ 22585 w 27964"/>
                <a:gd name="connsiteY0" fmla="*/ 0 h 26913"/>
                <a:gd name="connsiteX1" fmla="*/ 27965 w 27964"/>
                <a:gd name="connsiteY1" fmla="*/ 8706 h 26913"/>
                <a:gd name="connsiteX2" fmla="*/ 27242 w 27964"/>
                <a:gd name="connsiteY2" fmla="*/ 20059 h 26913"/>
                <a:gd name="connsiteX3" fmla="*/ 14505 w 27964"/>
                <a:gd name="connsiteY3" fmla="*/ 26914 h 26913"/>
                <a:gd name="connsiteX4" fmla="*/ 14853 w 27964"/>
                <a:gd name="connsiteY4" fmla="*/ 21418 h 26913"/>
                <a:gd name="connsiteX5" fmla="*/ 10104 w 27964"/>
                <a:gd name="connsiteY5" fmla="*/ 24986 h 26913"/>
                <a:gd name="connsiteX6" fmla="*/ 3490 w 27964"/>
                <a:gd name="connsiteY6" fmla="*/ 22782 h 26913"/>
                <a:gd name="connsiteX7" fmla="*/ 0 w 27964"/>
                <a:gd name="connsiteY7" fmla="*/ 17861 h 26913"/>
                <a:gd name="connsiteX8" fmla="*/ 3823 w 27964"/>
                <a:gd name="connsiteY8" fmla="*/ 11791 h 2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64" h="26913">
                  <a:moveTo>
                    <a:pt x="22585" y="0"/>
                  </a:moveTo>
                  <a:lnTo>
                    <a:pt x="27965" y="8706"/>
                  </a:lnTo>
                  <a:lnTo>
                    <a:pt x="27242" y="20059"/>
                  </a:lnTo>
                  <a:lnTo>
                    <a:pt x="14505" y="26914"/>
                  </a:lnTo>
                  <a:lnTo>
                    <a:pt x="14853" y="21418"/>
                  </a:lnTo>
                  <a:lnTo>
                    <a:pt x="10104" y="24986"/>
                  </a:lnTo>
                  <a:lnTo>
                    <a:pt x="3490" y="22782"/>
                  </a:lnTo>
                  <a:lnTo>
                    <a:pt x="0" y="17861"/>
                  </a:lnTo>
                  <a:lnTo>
                    <a:pt x="3823" y="1179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73" name="Freihandform: Form 472">
              <a:extLst>
                <a:ext uri="{FF2B5EF4-FFF2-40B4-BE49-F238E27FC236}">
                  <a16:creationId xmlns:a16="http://schemas.microsoft.com/office/drawing/2014/main" id="{B387FC3C-5115-9484-AC53-46601D5CD849}"/>
                </a:ext>
              </a:extLst>
            </p:cNvPr>
            <p:cNvSpPr/>
            <p:nvPr/>
          </p:nvSpPr>
          <p:spPr>
            <a:xfrm>
              <a:off x="5510316" y="2932087"/>
              <a:ext cx="19048" cy="17463"/>
            </a:xfrm>
            <a:custGeom>
              <a:avLst/>
              <a:gdLst>
                <a:gd name="connsiteX0" fmla="*/ 15667 w 15667"/>
                <a:gd name="connsiteY0" fmla="*/ 0 h 14838"/>
                <a:gd name="connsiteX1" fmla="*/ 0 w 15667"/>
                <a:gd name="connsiteY1" fmla="*/ 2801 h 14838"/>
                <a:gd name="connsiteX2" fmla="*/ 3611 w 15667"/>
                <a:gd name="connsiteY2" fmla="*/ 7906 h 14838"/>
                <a:gd name="connsiteX3" fmla="*/ 3273 w 15667"/>
                <a:gd name="connsiteY3" fmla="*/ 14838 h 14838"/>
                <a:gd name="connsiteX4" fmla="*/ 10519 w 15667"/>
                <a:gd name="connsiteY4" fmla="*/ 12042 h 14838"/>
                <a:gd name="connsiteX5" fmla="*/ 15667 w 15667"/>
                <a:gd name="connsiteY5" fmla="*/ 0 h 14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67" h="14838">
                  <a:moveTo>
                    <a:pt x="15667" y="0"/>
                  </a:moveTo>
                  <a:lnTo>
                    <a:pt x="0" y="2801"/>
                  </a:lnTo>
                  <a:lnTo>
                    <a:pt x="3611" y="7906"/>
                  </a:lnTo>
                  <a:lnTo>
                    <a:pt x="3273" y="14838"/>
                  </a:lnTo>
                  <a:lnTo>
                    <a:pt x="10519" y="12042"/>
                  </a:lnTo>
                  <a:cubicBezTo>
                    <a:pt x="10519" y="12047"/>
                    <a:pt x="10519" y="6204"/>
                    <a:pt x="15667"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74" name="Freihandform: Form 473">
              <a:extLst>
                <a:ext uri="{FF2B5EF4-FFF2-40B4-BE49-F238E27FC236}">
                  <a16:creationId xmlns:a16="http://schemas.microsoft.com/office/drawing/2014/main" id="{A280EAD0-0AD6-9A02-8C5B-59AF4C385672}"/>
                </a:ext>
              </a:extLst>
            </p:cNvPr>
            <p:cNvSpPr/>
            <p:nvPr/>
          </p:nvSpPr>
          <p:spPr>
            <a:xfrm>
              <a:off x="5516665" y="2957488"/>
              <a:ext cx="3175" cy="9525"/>
            </a:xfrm>
            <a:custGeom>
              <a:avLst/>
              <a:gdLst>
                <a:gd name="connsiteX0" fmla="*/ 77 w 1788"/>
                <a:gd name="connsiteY0" fmla="*/ 0 h 7385"/>
                <a:gd name="connsiteX1" fmla="*/ 1788 w 1788"/>
                <a:gd name="connsiteY1" fmla="*/ 1432 h 7385"/>
                <a:gd name="connsiteX2" fmla="*/ 0 w 1788"/>
                <a:gd name="connsiteY2" fmla="*/ 7385 h 7385"/>
              </a:gdLst>
              <a:ahLst/>
              <a:cxnLst>
                <a:cxn ang="0">
                  <a:pos x="connsiteX0" y="connsiteY0"/>
                </a:cxn>
                <a:cxn ang="0">
                  <a:pos x="connsiteX1" y="connsiteY1"/>
                </a:cxn>
                <a:cxn ang="0">
                  <a:pos x="connsiteX2" y="connsiteY2"/>
                </a:cxn>
              </a:cxnLst>
              <a:rect l="l" t="t" r="r" b="b"/>
              <a:pathLst>
                <a:path w="1788" h="7385">
                  <a:moveTo>
                    <a:pt x="77" y="0"/>
                  </a:moveTo>
                  <a:lnTo>
                    <a:pt x="1788" y="1432"/>
                  </a:lnTo>
                  <a:lnTo>
                    <a:pt x="0" y="738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75" name="Freihandform: Form 474">
              <a:extLst>
                <a:ext uri="{FF2B5EF4-FFF2-40B4-BE49-F238E27FC236}">
                  <a16:creationId xmlns:a16="http://schemas.microsoft.com/office/drawing/2014/main" id="{C5509A67-C8FF-DDB1-C563-BCF1D59E3A98}"/>
                </a:ext>
              </a:extLst>
            </p:cNvPr>
            <p:cNvSpPr/>
            <p:nvPr/>
          </p:nvSpPr>
          <p:spPr>
            <a:xfrm>
              <a:off x="5523014" y="2982889"/>
              <a:ext cx="6349" cy="11112"/>
            </a:xfrm>
            <a:custGeom>
              <a:avLst/>
              <a:gdLst>
                <a:gd name="connsiteX0" fmla="*/ 0 w 4034"/>
                <a:gd name="connsiteY0" fmla="*/ 0 h 7935"/>
                <a:gd name="connsiteX1" fmla="*/ 4035 w 4034"/>
                <a:gd name="connsiteY1" fmla="*/ 1186 h 7935"/>
                <a:gd name="connsiteX2" fmla="*/ 0 w 4034"/>
                <a:gd name="connsiteY2" fmla="*/ 7935 h 7935"/>
              </a:gdLst>
              <a:ahLst/>
              <a:cxnLst>
                <a:cxn ang="0">
                  <a:pos x="connsiteX0" y="connsiteY0"/>
                </a:cxn>
                <a:cxn ang="0">
                  <a:pos x="connsiteX1" y="connsiteY1"/>
                </a:cxn>
                <a:cxn ang="0">
                  <a:pos x="connsiteX2" y="connsiteY2"/>
                </a:cxn>
              </a:cxnLst>
              <a:rect l="l" t="t" r="r" b="b"/>
              <a:pathLst>
                <a:path w="4034" h="7935">
                  <a:moveTo>
                    <a:pt x="0" y="0"/>
                  </a:moveTo>
                  <a:lnTo>
                    <a:pt x="4035" y="1186"/>
                  </a:lnTo>
                  <a:lnTo>
                    <a:pt x="0" y="793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76" name="Freihandform: Form 475">
              <a:extLst>
                <a:ext uri="{FF2B5EF4-FFF2-40B4-BE49-F238E27FC236}">
                  <a16:creationId xmlns:a16="http://schemas.microsoft.com/office/drawing/2014/main" id="{5213F6F7-AFA2-DA0F-FA5D-A9EF4CD8E5EE}"/>
                </a:ext>
              </a:extLst>
            </p:cNvPr>
            <p:cNvSpPr/>
            <p:nvPr/>
          </p:nvSpPr>
          <p:spPr>
            <a:xfrm>
              <a:off x="3676960" y="2713003"/>
              <a:ext cx="849217" cy="1438329"/>
            </a:xfrm>
            <a:custGeom>
              <a:avLst/>
              <a:gdLst>
                <a:gd name="connsiteX0" fmla="*/ 463392 w 665288"/>
                <a:gd name="connsiteY0" fmla="*/ 1087439 h 1128525"/>
                <a:gd name="connsiteX1" fmla="*/ 482858 w 665288"/>
                <a:gd name="connsiteY1" fmla="*/ 1088640 h 1128525"/>
                <a:gd name="connsiteX2" fmla="*/ 495271 w 665288"/>
                <a:gd name="connsiteY2" fmla="*/ 1095008 h 1128525"/>
                <a:gd name="connsiteX3" fmla="*/ 512997 w 665288"/>
                <a:gd name="connsiteY3" fmla="*/ 1102933 h 1128525"/>
                <a:gd name="connsiteX4" fmla="*/ 531933 w 665288"/>
                <a:gd name="connsiteY4" fmla="*/ 1092626 h 1128525"/>
                <a:gd name="connsiteX5" fmla="*/ 551033 w 665288"/>
                <a:gd name="connsiteY5" fmla="*/ 1088784 h 1128525"/>
                <a:gd name="connsiteX6" fmla="*/ 563663 w 665288"/>
                <a:gd name="connsiteY6" fmla="*/ 1083453 h 1128525"/>
                <a:gd name="connsiteX7" fmla="*/ 576307 w 665288"/>
                <a:gd name="connsiteY7" fmla="*/ 1086326 h 1128525"/>
                <a:gd name="connsiteX8" fmla="*/ 576949 w 665288"/>
                <a:gd name="connsiteY8" fmla="*/ 1083347 h 1128525"/>
                <a:gd name="connsiteX9" fmla="*/ 590264 w 665288"/>
                <a:gd name="connsiteY9" fmla="*/ 1068523 h 1128525"/>
                <a:gd name="connsiteX10" fmla="*/ 616233 w 665288"/>
                <a:gd name="connsiteY10" fmla="*/ 1055840 h 1128525"/>
                <a:gd name="connsiteX11" fmla="*/ 616729 w 665288"/>
                <a:gd name="connsiteY11" fmla="*/ 1042660 h 1128525"/>
                <a:gd name="connsiteX12" fmla="*/ 618156 w 665288"/>
                <a:gd name="connsiteY12" fmla="*/ 1039059 h 1128525"/>
                <a:gd name="connsiteX13" fmla="*/ 620991 w 665288"/>
                <a:gd name="connsiteY13" fmla="*/ 1033635 h 1128525"/>
                <a:gd name="connsiteX14" fmla="*/ 614545 w 665288"/>
                <a:gd name="connsiteY14" fmla="*/ 1028858 h 1128525"/>
                <a:gd name="connsiteX15" fmla="*/ 598531 w 665288"/>
                <a:gd name="connsiteY15" fmla="*/ 1028472 h 1128525"/>
                <a:gd name="connsiteX16" fmla="*/ 589362 w 665288"/>
                <a:gd name="connsiteY16" fmla="*/ 1029374 h 1128525"/>
                <a:gd name="connsiteX17" fmla="*/ 569346 w 665288"/>
                <a:gd name="connsiteY17" fmla="*/ 1027585 h 1128525"/>
                <a:gd name="connsiteX18" fmla="*/ 559922 w 665288"/>
                <a:gd name="connsiteY18" fmla="*/ 1022553 h 1128525"/>
                <a:gd name="connsiteX19" fmla="*/ 551269 w 665288"/>
                <a:gd name="connsiteY19" fmla="*/ 1017886 h 1128525"/>
                <a:gd name="connsiteX20" fmla="*/ 557458 w 665288"/>
                <a:gd name="connsiteY20" fmla="*/ 1014266 h 1128525"/>
                <a:gd name="connsiteX21" fmla="*/ 559011 w 665288"/>
                <a:gd name="connsiteY21" fmla="*/ 1009749 h 1128525"/>
                <a:gd name="connsiteX22" fmla="*/ 536932 w 665288"/>
                <a:gd name="connsiteY22" fmla="*/ 1011691 h 1128525"/>
                <a:gd name="connsiteX23" fmla="*/ 540789 w 665288"/>
                <a:gd name="connsiteY23" fmla="*/ 1007430 h 1128525"/>
                <a:gd name="connsiteX24" fmla="*/ 548285 w 665288"/>
                <a:gd name="connsiteY24" fmla="*/ 1003805 h 1128525"/>
                <a:gd name="connsiteX25" fmla="*/ 560684 w 665288"/>
                <a:gd name="connsiteY25" fmla="*/ 1003419 h 1128525"/>
                <a:gd name="connsiteX26" fmla="*/ 566767 w 665288"/>
                <a:gd name="connsiteY26" fmla="*/ 1003921 h 1128525"/>
                <a:gd name="connsiteX27" fmla="*/ 575536 w 665288"/>
                <a:gd name="connsiteY27" fmla="*/ 1003289 h 1128525"/>
                <a:gd name="connsiteX28" fmla="*/ 584454 w 665288"/>
                <a:gd name="connsiteY28" fmla="*/ 994650 h 1128525"/>
                <a:gd name="connsiteX29" fmla="*/ 585356 w 665288"/>
                <a:gd name="connsiteY29" fmla="*/ 985197 h 1128525"/>
                <a:gd name="connsiteX30" fmla="*/ 581234 w 665288"/>
                <a:gd name="connsiteY30" fmla="*/ 979137 h 1128525"/>
                <a:gd name="connsiteX31" fmla="*/ 570248 w 665288"/>
                <a:gd name="connsiteY31" fmla="*/ 982097 h 1128525"/>
                <a:gd name="connsiteX32" fmla="*/ 568961 w 665288"/>
                <a:gd name="connsiteY32" fmla="*/ 977334 h 1128525"/>
                <a:gd name="connsiteX33" fmla="*/ 577739 w 665288"/>
                <a:gd name="connsiteY33" fmla="*/ 976558 h 1128525"/>
                <a:gd name="connsiteX34" fmla="*/ 582271 w 665288"/>
                <a:gd name="connsiteY34" fmla="*/ 973723 h 1128525"/>
                <a:gd name="connsiteX35" fmla="*/ 592057 w 665288"/>
                <a:gd name="connsiteY35" fmla="*/ 966864 h 1128525"/>
                <a:gd name="connsiteX36" fmla="*/ 594530 w 665288"/>
                <a:gd name="connsiteY36" fmla="*/ 971660 h 1128525"/>
                <a:gd name="connsiteX37" fmla="*/ 600464 w 665288"/>
                <a:gd name="connsiteY37" fmla="*/ 975247 h 1128525"/>
                <a:gd name="connsiteX38" fmla="*/ 617255 w 665288"/>
                <a:gd name="connsiteY38" fmla="*/ 963393 h 1128525"/>
                <a:gd name="connsiteX39" fmla="*/ 611706 w 665288"/>
                <a:gd name="connsiteY39" fmla="*/ 960283 h 1128525"/>
                <a:gd name="connsiteX40" fmla="*/ 612868 w 665288"/>
                <a:gd name="connsiteY40" fmla="*/ 955376 h 1128525"/>
                <a:gd name="connsiteX41" fmla="*/ 600720 w 665288"/>
                <a:gd name="connsiteY41" fmla="*/ 951780 h 1128525"/>
                <a:gd name="connsiteX42" fmla="*/ 615698 w 665288"/>
                <a:gd name="connsiteY42" fmla="*/ 952045 h 1128525"/>
                <a:gd name="connsiteX43" fmla="*/ 614647 w 665288"/>
                <a:gd name="connsiteY43" fmla="*/ 946173 h 1128525"/>
                <a:gd name="connsiteX44" fmla="*/ 620099 w 665288"/>
                <a:gd name="connsiteY44" fmla="*/ 952903 h 1128525"/>
                <a:gd name="connsiteX45" fmla="*/ 626154 w 665288"/>
                <a:gd name="connsiteY45" fmla="*/ 952045 h 1128525"/>
                <a:gd name="connsiteX46" fmla="*/ 637646 w 665288"/>
                <a:gd name="connsiteY46" fmla="*/ 941174 h 1128525"/>
                <a:gd name="connsiteX47" fmla="*/ 644111 w 665288"/>
                <a:gd name="connsiteY47" fmla="*/ 938335 h 1128525"/>
                <a:gd name="connsiteX48" fmla="*/ 649158 w 665288"/>
                <a:gd name="connsiteY48" fmla="*/ 926572 h 1128525"/>
                <a:gd name="connsiteX49" fmla="*/ 650556 w 665288"/>
                <a:gd name="connsiteY49" fmla="*/ 914192 h 1128525"/>
                <a:gd name="connsiteX50" fmla="*/ 658843 w 665288"/>
                <a:gd name="connsiteY50" fmla="*/ 901003 h 1128525"/>
                <a:gd name="connsiteX51" fmla="*/ 665288 w 665288"/>
                <a:gd name="connsiteY51" fmla="*/ 887346 h 1128525"/>
                <a:gd name="connsiteX52" fmla="*/ 664126 w 665288"/>
                <a:gd name="connsiteY52" fmla="*/ 876360 h 1128525"/>
                <a:gd name="connsiteX53" fmla="*/ 653545 w 665288"/>
                <a:gd name="connsiteY53" fmla="*/ 842243 h 1128525"/>
                <a:gd name="connsiteX54" fmla="*/ 605106 w 665288"/>
                <a:gd name="connsiteY54" fmla="*/ 817706 h 1128525"/>
                <a:gd name="connsiteX55" fmla="*/ 598912 w 665288"/>
                <a:gd name="connsiteY55" fmla="*/ 815007 h 1128525"/>
                <a:gd name="connsiteX56" fmla="*/ 586528 w 665288"/>
                <a:gd name="connsiteY56" fmla="*/ 811010 h 1128525"/>
                <a:gd name="connsiteX57" fmla="*/ 572687 w 665288"/>
                <a:gd name="connsiteY57" fmla="*/ 812924 h 1128525"/>
                <a:gd name="connsiteX58" fmla="*/ 567524 w 665288"/>
                <a:gd name="connsiteY58" fmla="*/ 819654 h 1128525"/>
                <a:gd name="connsiteX59" fmla="*/ 557574 w 665288"/>
                <a:gd name="connsiteY59" fmla="*/ 837085 h 1128525"/>
                <a:gd name="connsiteX60" fmla="*/ 556427 w 665288"/>
                <a:gd name="connsiteY60" fmla="*/ 833590 h 1128525"/>
                <a:gd name="connsiteX61" fmla="*/ 546472 w 665288"/>
                <a:gd name="connsiteY61" fmla="*/ 829714 h 1128525"/>
                <a:gd name="connsiteX62" fmla="*/ 542485 w 665288"/>
                <a:gd name="connsiteY62" fmla="*/ 823221 h 1128525"/>
                <a:gd name="connsiteX63" fmla="*/ 534227 w 665288"/>
                <a:gd name="connsiteY63" fmla="*/ 817301 h 1128525"/>
                <a:gd name="connsiteX64" fmla="*/ 529310 w 665288"/>
                <a:gd name="connsiteY64" fmla="*/ 817586 h 1128525"/>
                <a:gd name="connsiteX65" fmla="*/ 532155 w 665288"/>
                <a:gd name="connsiteY65" fmla="*/ 813430 h 1128525"/>
                <a:gd name="connsiteX66" fmla="*/ 539887 w 665288"/>
                <a:gd name="connsiteY66" fmla="*/ 807260 h 1128525"/>
                <a:gd name="connsiteX67" fmla="*/ 557579 w 665288"/>
                <a:gd name="connsiteY67" fmla="*/ 794851 h 1128525"/>
                <a:gd name="connsiteX68" fmla="*/ 562626 w 665288"/>
                <a:gd name="connsiteY68" fmla="*/ 778321 h 1128525"/>
                <a:gd name="connsiteX69" fmla="*/ 557073 w 665288"/>
                <a:gd name="connsiteY69" fmla="*/ 751966 h 1128525"/>
                <a:gd name="connsiteX70" fmla="*/ 540547 w 665288"/>
                <a:gd name="connsiteY70" fmla="*/ 732471 h 1128525"/>
                <a:gd name="connsiteX71" fmla="*/ 536787 w 665288"/>
                <a:gd name="connsiteY71" fmla="*/ 728354 h 1128525"/>
                <a:gd name="connsiteX72" fmla="*/ 522701 w 665288"/>
                <a:gd name="connsiteY72" fmla="*/ 709231 h 1128525"/>
                <a:gd name="connsiteX73" fmla="*/ 514699 w 665288"/>
                <a:gd name="connsiteY73" fmla="*/ 705726 h 1128525"/>
                <a:gd name="connsiteX74" fmla="*/ 505665 w 665288"/>
                <a:gd name="connsiteY74" fmla="*/ 706517 h 1128525"/>
                <a:gd name="connsiteX75" fmla="*/ 500242 w 665288"/>
                <a:gd name="connsiteY75" fmla="*/ 706107 h 1128525"/>
                <a:gd name="connsiteX76" fmla="*/ 493546 w 665288"/>
                <a:gd name="connsiteY76" fmla="*/ 702780 h 1128525"/>
                <a:gd name="connsiteX77" fmla="*/ 487081 w 665288"/>
                <a:gd name="connsiteY77" fmla="*/ 702887 h 1128525"/>
                <a:gd name="connsiteX78" fmla="*/ 497667 w 665288"/>
                <a:gd name="connsiteY78" fmla="*/ 700023 h 1128525"/>
                <a:gd name="connsiteX79" fmla="*/ 512756 w 665288"/>
                <a:gd name="connsiteY79" fmla="*/ 702641 h 1128525"/>
                <a:gd name="connsiteX80" fmla="*/ 526842 w 665288"/>
                <a:gd name="connsiteY80" fmla="*/ 706907 h 1128525"/>
                <a:gd name="connsiteX81" fmla="*/ 537043 w 665288"/>
                <a:gd name="connsiteY81" fmla="*/ 718650 h 1128525"/>
                <a:gd name="connsiteX82" fmla="*/ 542471 w 665288"/>
                <a:gd name="connsiteY82" fmla="*/ 717739 h 1128525"/>
                <a:gd name="connsiteX83" fmla="*/ 549181 w 665288"/>
                <a:gd name="connsiteY83" fmla="*/ 720193 h 1128525"/>
                <a:gd name="connsiteX84" fmla="*/ 552922 w 665288"/>
                <a:gd name="connsiteY84" fmla="*/ 726513 h 1128525"/>
                <a:gd name="connsiteX85" fmla="*/ 552922 w 665288"/>
                <a:gd name="connsiteY85" fmla="*/ 719142 h 1128525"/>
                <a:gd name="connsiteX86" fmla="*/ 541550 w 665288"/>
                <a:gd name="connsiteY86" fmla="*/ 651353 h 1128525"/>
                <a:gd name="connsiteX87" fmla="*/ 534980 w 665288"/>
                <a:gd name="connsiteY87" fmla="*/ 647733 h 1128525"/>
                <a:gd name="connsiteX88" fmla="*/ 521405 w 665288"/>
                <a:gd name="connsiteY88" fmla="*/ 623711 h 1128525"/>
                <a:gd name="connsiteX89" fmla="*/ 511228 w 665288"/>
                <a:gd name="connsiteY89" fmla="*/ 599588 h 1128525"/>
                <a:gd name="connsiteX90" fmla="*/ 496361 w 665288"/>
                <a:gd name="connsiteY90" fmla="*/ 587064 h 1128525"/>
                <a:gd name="connsiteX91" fmla="*/ 481503 w 665288"/>
                <a:gd name="connsiteY91" fmla="*/ 580469 h 1128525"/>
                <a:gd name="connsiteX92" fmla="*/ 475960 w 665288"/>
                <a:gd name="connsiteY92" fmla="*/ 576854 h 1128525"/>
                <a:gd name="connsiteX93" fmla="*/ 469871 w 665288"/>
                <a:gd name="connsiteY93" fmla="*/ 577244 h 1128525"/>
                <a:gd name="connsiteX94" fmla="*/ 468348 w 665288"/>
                <a:gd name="connsiteY94" fmla="*/ 572318 h 1128525"/>
                <a:gd name="connsiteX95" fmla="*/ 468849 w 665288"/>
                <a:gd name="connsiteY95" fmla="*/ 566523 h 1128525"/>
                <a:gd name="connsiteX96" fmla="*/ 462529 w 665288"/>
                <a:gd name="connsiteY96" fmla="*/ 528415 h 1128525"/>
                <a:gd name="connsiteX97" fmla="*/ 458258 w 665288"/>
                <a:gd name="connsiteY97" fmla="*/ 521546 h 1128525"/>
                <a:gd name="connsiteX98" fmla="*/ 456961 w 665288"/>
                <a:gd name="connsiteY98" fmla="*/ 511982 h 1128525"/>
                <a:gd name="connsiteX99" fmla="*/ 454763 w 665288"/>
                <a:gd name="connsiteY99" fmla="*/ 508135 h 1128525"/>
                <a:gd name="connsiteX100" fmla="*/ 454763 w 665288"/>
                <a:gd name="connsiteY100" fmla="*/ 503762 h 1128525"/>
                <a:gd name="connsiteX101" fmla="*/ 454763 w 665288"/>
                <a:gd name="connsiteY101" fmla="*/ 499216 h 1128525"/>
                <a:gd name="connsiteX102" fmla="*/ 454908 w 665288"/>
                <a:gd name="connsiteY102" fmla="*/ 492135 h 1128525"/>
                <a:gd name="connsiteX103" fmla="*/ 452844 w 665288"/>
                <a:gd name="connsiteY103" fmla="*/ 483221 h 1128525"/>
                <a:gd name="connsiteX104" fmla="*/ 454257 w 665288"/>
                <a:gd name="connsiteY104" fmla="*/ 478029 h 1128525"/>
                <a:gd name="connsiteX105" fmla="*/ 453105 w 665288"/>
                <a:gd name="connsiteY105" fmla="*/ 472105 h 1128525"/>
                <a:gd name="connsiteX106" fmla="*/ 453987 w 665288"/>
                <a:gd name="connsiteY106" fmla="*/ 455700 h 1128525"/>
                <a:gd name="connsiteX107" fmla="*/ 450641 w 665288"/>
                <a:gd name="connsiteY107" fmla="*/ 440322 h 1128525"/>
                <a:gd name="connsiteX108" fmla="*/ 440176 w 665288"/>
                <a:gd name="connsiteY108" fmla="*/ 432970 h 1128525"/>
                <a:gd name="connsiteX109" fmla="*/ 418617 w 665288"/>
                <a:gd name="connsiteY109" fmla="*/ 391768 h 1128525"/>
                <a:gd name="connsiteX110" fmla="*/ 409954 w 665288"/>
                <a:gd name="connsiteY110" fmla="*/ 388432 h 1128525"/>
                <a:gd name="connsiteX111" fmla="*/ 393058 w 665288"/>
                <a:gd name="connsiteY111" fmla="*/ 373430 h 1128525"/>
                <a:gd name="connsiteX112" fmla="*/ 387615 w 665288"/>
                <a:gd name="connsiteY112" fmla="*/ 367775 h 1128525"/>
                <a:gd name="connsiteX113" fmla="*/ 375621 w 665288"/>
                <a:gd name="connsiteY113" fmla="*/ 367510 h 1128525"/>
                <a:gd name="connsiteX114" fmla="*/ 358947 w 665288"/>
                <a:gd name="connsiteY114" fmla="*/ 377802 h 1128525"/>
                <a:gd name="connsiteX115" fmla="*/ 339818 w 665288"/>
                <a:gd name="connsiteY115" fmla="*/ 371260 h 1128525"/>
                <a:gd name="connsiteX116" fmla="*/ 316958 w 665288"/>
                <a:gd name="connsiteY116" fmla="*/ 361956 h 1128525"/>
                <a:gd name="connsiteX117" fmla="*/ 311429 w 665288"/>
                <a:gd name="connsiteY117" fmla="*/ 360018 h 1128525"/>
                <a:gd name="connsiteX118" fmla="*/ 302761 w 665288"/>
                <a:gd name="connsiteY118" fmla="*/ 346689 h 1128525"/>
                <a:gd name="connsiteX119" fmla="*/ 314529 w 665288"/>
                <a:gd name="connsiteY119" fmla="*/ 355897 h 1128525"/>
                <a:gd name="connsiteX120" fmla="*/ 321499 w 665288"/>
                <a:gd name="connsiteY120" fmla="*/ 357565 h 1128525"/>
                <a:gd name="connsiteX121" fmla="*/ 333643 w 665288"/>
                <a:gd name="connsiteY121" fmla="*/ 364005 h 1128525"/>
                <a:gd name="connsiteX122" fmla="*/ 343708 w 665288"/>
                <a:gd name="connsiteY122" fmla="*/ 361301 h 1128525"/>
                <a:gd name="connsiteX123" fmla="*/ 351576 w 665288"/>
                <a:gd name="connsiteY123" fmla="*/ 357406 h 1128525"/>
                <a:gd name="connsiteX124" fmla="*/ 371061 w 665288"/>
                <a:gd name="connsiteY124" fmla="*/ 344905 h 1128525"/>
                <a:gd name="connsiteX125" fmla="*/ 378567 w 665288"/>
                <a:gd name="connsiteY125" fmla="*/ 349022 h 1128525"/>
                <a:gd name="connsiteX126" fmla="*/ 388898 w 665288"/>
                <a:gd name="connsiteY126" fmla="*/ 347759 h 1128525"/>
                <a:gd name="connsiteX127" fmla="*/ 395372 w 665288"/>
                <a:gd name="connsiteY127" fmla="*/ 342457 h 1128525"/>
                <a:gd name="connsiteX128" fmla="*/ 394586 w 665288"/>
                <a:gd name="connsiteY128" fmla="*/ 336233 h 1128525"/>
                <a:gd name="connsiteX129" fmla="*/ 384371 w 665288"/>
                <a:gd name="connsiteY129" fmla="*/ 326433 h 1128525"/>
                <a:gd name="connsiteX130" fmla="*/ 384646 w 665288"/>
                <a:gd name="connsiteY130" fmla="*/ 321004 h 1128525"/>
                <a:gd name="connsiteX131" fmla="*/ 381681 w 665288"/>
                <a:gd name="connsiteY131" fmla="*/ 315080 h 1128525"/>
                <a:gd name="connsiteX132" fmla="*/ 371852 w 665288"/>
                <a:gd name="connsiteY132" fmla="*/ 316213 h 1128525"/>
                <a:gd name="connsiteX133" fmla="*/ 360369 w 665288"/>
                <a:gd name="connsiteY133" fmla="*/ 320353 h 1128525"/>
                <a:gd name="connsiteX134" fmla="*/ 345902 w 665288"/>
                <a:gd name="connsiteY134" fmla="*/ 319857 h 1128525"/>
                <a:gd name="connsiteX135" fmla="*/ 359188 w 665288"/>
                <a:gd name="connsiteY135" fmla="*/ 315736 h 1128525"/>
                <a:gd name="connsiteX136" fmla="*/ 367860 w 665288"/>
                <a:gd name="connsiteY136" fmla="*/ 311469 h 1128525"/>
                <a:gd name="connsiteX137" fmla="*/ 385547 w 665288"/>
                <a:gd name="connsiteY137" fmla="*/ 310674 h 1128525"/>
                <a:gd name="connsiteX138" fmla="*/ 392378 w 665288"/>
                <a:gd name="connsiteY138" fmla="*/ 312101 h 1128525"/>
                <a:gd name="connsiteX139" fmla="*/ 410355 w 665288"/>
                <a:gd name="connsiteY139" fmla="*/ 298280 h 1128525"/>
                <a:gd name="connsiteX140" fmla="*/ 427767 w 665288"/>
                <a:gd name="connsiteY140" fmla="*/ 274779 h 1128525"/>
                <a:gd name="connsiteX141" fmla="*/ 440296 w 665288"/>
                <a:gd name="connsiteY141" fmla="*/ 261874 h 1128525"/>
                <a:gd name="connsiteX142" fmla="*/ 452839 w 665288"/>
                <a:gd name="connsiteY142" fmla="*/ 239120 h 1128525"/>
                <a:gd name="connsiteX143" fmla="*/ 465484 w 665288"/>
                <a:gd name="connsiteY143" fmla="*/ 208899 h 1128525"/>
                <a:gd name="connsiteX144" fmla="*/ 471163 w 665288"/>
                <a:gd name="connsiteY144" fmla="*/ 205394 h 1128525"/>
                <a:gd name="connsiteX145" fmla="*/ 478524 w 665288"/>
                <a:gd name="connsiteY145" fmla="*/ 196620 h 1128525"/>
                <a:gd name="connsiteX146" fmla="*/ 482525 w 665288"/>
                <a:gd name="connsiteY146" fmla="*/ 187500 h 1128525"/>
                <a:gd name="connsiteX147" fmla="*/ 466776 w 665288"/>
                <a:gd name="connsiteY147" fmla="*/ 159038 h 1128525"/>
                <a:gd name="connsiteX148" fmla="*/ 454638 w 665288"/>
                <a:gd name="connsiteY148" fmla="*/ 159689 h 1128525"/>
                <a:gd name="connsiteX149" fmla="*/ 448674 w 665288"/>
                <a:gd name="connsiteY149" fmla="*/ 156575 h 1128525"/>
                <a:gd name="connsiteX150" fmla="*/ 442354 w 665288"/>
                <a:gd name="connsiteY150" fmla="*/ 159173 h 1128525"/>
                <a:gd name="connsiteX151" fmla="*/ 401947 w 665288"/>
                <a:gd name="connsiteY151" fmla="*/ 150009 h 1128525"/>
                <a:gd name="connsiteX152" fmla="*/ 390045 w 665288"/>
                <a:gd name="connsiteY152" fmla="*/ 148968 h 1128525"/>
                <a:gd name="connsiteX153" fmla="*/ 376243 w 665288"/>
                <a:gd name="connsiteY153" fmla="*/ 139813 h 1128525"/>
                <a:gd name="connsiteX154" fmla="*/ 369653 w 665288"/>
                <a:gd name="connsiteY154" fmla="*/ 140445 h 1128525"/>
                <a:gd name="connsiteX155" fmla="*/ 363068 w 665288"/>
                <a:gd name="connsiteY155" fmla="*/ 144460 h 1128525"/>
                <a:gd name="connsiteX156" fmla="*/ 358426 w 665288"/>
                <a:gd name="connsiteY156" fmla="*/ 146263 h 1128525"/>
                <a:gd name="connsiteX157" fmla="*/ 356744 w 665288"/>
                <a:gd name="connsiteY157" fmla="*/ 148457 h 1128525"/>
                <a:gd name="connsiteX158" fmla="*/ 350284 w 665288"/>
                <a:gd name="connsiteY158" fmla="*/ 144962 h 1128525"/>
                <a:gd name="connsiteX159" fmla="*/ 338926 w 665288"/>
                <a:gd name="connsiteY159" fmla="*/ 150395 h 1128525"/>
                <a:gd name="connsiteX160" fmla="*/ 329106 w 665288"/>
                <a:gd name="connsiteY160" fmla="*/ 149392 h 1128525"/>
                <a:gd name="connsiteX161" fmla="*/ 325091 w 665288"/>
                <a:gd name="connsiteY161" fmla="*/ 151436 h 1128525"/>
                <a:gd name="connsiteX162" fmla="*/ 310388 w 665288"/>
                <a:gd name="connsiteY162" fmla="*/ 159433 h 1128525"/>
                <a:gd name="connsiteX163" fmla="*/ 309587 w 665288"/>
                <a:gd name="connsiteY163" fmla="*/ 155582 h 1128525"/>
                <a:gd name="connsiteX164" fmla="*/ 314519 w 665288"/>
                <a:gd name="connsiteY164" fmla="*/ 150930 h 1128525"/>
                <a:gd name="connsiteX165" fmla="*/ 320053 w 665288"/>
                <a:gd name="connsiteY165" fmla="*/ 148601 h 1128525"/>
                <a:gd name="connsiteX166" fmla="*/ 329892 w 665288"/>
                <a:gd name="connsiteY166" fmla="*/ 138020 h 1128525"/>
                <a:gd name="connsiteX167" fmla="*/ 323162 w 665288"/>
                <a:gd name="connsiteY167" fmla="*/ 138917 h 1128525"/>
                <a:gd name="connsiteX168" fmla="*/ 315869 w 665288"/>
                <a:gd name="connsiteY168" fmla="*/ 136280 h 1128525"/>
                <a:gd name="connsiteX169" fmla="*/ 308170 w 665288"/>
                <a:gd name="connsiteY169" fmla="*/ 139302 h 1128525"/>
                <a:gd name="connsiteX170" fmla="*/ 297425 w 665288"/>
                <a:gd name="connsiteY170" fmla="*/ 143983 h 1128525"/>
                <a:gd name="connsiteX171" fmla="*/ 309587 w 665288"/>
                <a:gd name="connsiteY171" fmla="*/ 134371 h 1128525"/>
                <a:gd name="connsiteX172" fmla="*/ 315811 w 665288"/>
                <a:gd name="connsiteY172" fmla="*/ 133995 h 1128525"/>
                <a:gd name="connsiteX173" fmla="*/ 321220 w 665288"/>
                <a:gd name="connsiteY173" fmla="*/ 131661 h 1128525"/>
                <a:gd name="connsiteX174" fmla="*/ 327419 w 665288"/>
                <a:gd name="connsiteY174" fmla="*/ 135532 h 1128525"/>
                <a:gd name="connsiteX175" fmla="*/ 343824 w 665288"/>
                <a:gd name="connsiteY175" fmla="*/ 120309 h 1128525"/>
                <a:gd name="connsiteX176" fmla="*/ 326898 w 665288"/>
                <a:gd name="connsiteY176" fmla="*/ 116438 h 1128525"/>
                <a:gd name="connsiteX177" fmla="*/ 312836 w 665288"/>
                <a:gd name="connsiteY177" fmla="*/ 112022 h 1128525"/>
                <a:gd name="connsiteX178" fmla="*/ 307413 w 665288"/>
                <a:gd name="connsiteY178" fmla="*/ 101575 h 1128525"/>
                <a:gd name="connsiteX179" fmla="*/ 312943 w 665288"/>
                <a:gd name="connsiteY179" fmla="*/ 107278 h 1128525"/>
                <a:gd name="connsiteX180" fmla="*/ 321345 w 665288"/>
                <a:gd name="connsiteY180" fmla="*/ 111511 h 1128525"/>
                <a:gd name="connsiteX181" fmla="*/ 334395 w 665288"/>
                <a:gd name="connsiteY181" fmla="*/ 108667 h 1128525"/>
                <a:gd name="connsiteX182" fmla="*/ 332086 w 665288"/>
                <a:gd name="connsiteY182" fmla="*/ 100158 h 1128525"/>
                <a:gd name="connsiteX183" fmla="*/ 348857 w 665288"/>
                <a:gd name="connsiteY183" fmla="*/ 95135 h 1128525"/>
                <a:gd name="connsiteX184" fmla="*/ 365777 w 665288"/>
                <a:gd name="connsiteY184" fmla="*/ 84539 h 1128525"/>
                <a:gd name="connsiteX185" fmla="*/ 380240 w 665288"/>
                <a:gd name="connsiteY185" fmla="*/ 73292 h 1128525"/>
                <a:gd name="connsiteX186" fmla="*/ 394321 w 665288"/>
                <a:gd name="connsiteY186" fmla="*/ 66047 h 1128525"/>
                <a:gd name="connsiteX187" fmla="*/ 406455 w 665288"/>
                <a:gd name="connsiteY187" fmla="*/ 57794 h 1128525"/>
                <a:gd name="connsiteX188" fmla="*/ 412789 w 665288"/>
                <a:gd name="connsiteY188" fmla="*/ 46031 h 1128525"/>
                <a:gd name="connsiteX189" fmla="*/ 410475 w 665288"/>
                <a:gd name="connsiteY189" fmla="*/ 38299 h 1128525"/>
                <a:gd name="connsiteX190" fmla="*/ 418077 w 665288"/>
                <a:gd name="connsiteY190" fmla="*/ 26922 h 1128525"/>
                <a:gd name="connsiteX191" fmla="*/ 414062 w 665288"/>
                <a:gd name="connsiteY191" fmla="*/ 21118 h 1128525"/>
                <a:gd name="connsiteX192" fmla="*/ 402453 w 665288"/>
                <a:gd name="connsiteY192" fmla="*/ 18023 h 1128525"/>
                <a:gd name="connsiteX193" fmla="*/ 394576 w 665288"/>
                <a:gd name="connsiteY193" fmla="*/ 18274 h 1128525"/>
                <a:gd name="connsiteX194" fmla="*/ 395068 w 665288"/>
                <a:gd name="connsiteY194" fmla="*/ 23060 h 1128525"/>
                <a:gd name="connsiteX195" fmla="*/ 385774 w 665288"/>
                <a:gd name="connsiteY195" fmla="*/ 22304 h 1128525"/>
                <a:gd name="connsiteX196" fmla="*/ 383074 w 665288"/>
                <a:gd name="connsiteY196" fmla="*/ 19937 h 1128525"/>
                <a:gd name="connsiteX197" fmla="*/ 375602 w 665288"/>
                <a:gd name="connsiteY197" fmla="*/ 18548 h 1128525"/>
                <a:gd name="connsiteX198" fmla="*/ 354275 w 665288"/>
                <a:gd name="connsiteY198" fmla="*/ 21392 h 1128525"/>
                <a:gd name="connsiteX199" fmla="*/ 347955 w 665288"/>
                <a:gd name="connsiteY199" fmla="*/ 20361 h 1128525"/>
                <a:gd name="connsiteX200" fmla="*/ 337870 w 665288"/>
                <a:gd name="connsiteY200" fmla="*/ 21392 h 1128525"/>
                <a:gd name="connsiteX201" fmla="*/ 332457 w 665288"/>
                <a:gd name="connsiteY201" fmla="*/ 23446 h 1128525"/>
                <a:gd name="connsiteX202" fmla="*/ 323404 w 665288"/>
                <a:gd name="connsiteY202" fmla="*/ 21638 h 1128525"/>
                <a:gd name="connsiteX203" fmla="*/ 314360 w 665288"/>
                <a:gd name="connsiteY203" fmla="*/ 28484 h 1128525"/>
                <a:gd name="connsiteX204" fmla="*/ 319513 w 665288"/>
                <a:gd name="connsiteY204" fmla="*/ 19840 h 1128525"/>
                <a:gd name="connsiteX205" fmla="*/ 316558 w 665288"/>
                <a:gd name="connsiteY205" fmla="*/ 14147 h 1128525"/>
                <a:gd name="connsiteX206" fmla="*/ 309983 w 665288"/>
                <a:gd name="connsiteY206" fmla="*/ 13231 h 1128525"/>
                <a:gd name="connsiteX207" fmla="*/ 307008 w 665288"/>
                <a:gd name="connsiteY207" fmla="*/ 19455 h 1128525"/>
                <a:gd name="connsiteX208" fmla="*/ 295501 w 665288"/>
                <a:gd name="connsiteY208" fmla="*/ 25104 h 1128525"/>
                <a:gd name="connsiteX209" fmla="*/ 304039 w 665288"/>
                <a:gd name="connsiteY209" fmla="*/ 13636 h 1128525"/>
                <a:gd name="connsiteX210" fmla="*/ 298085 w 665288"/>
                <a:gd name="connsiteY210" fmla="*/ 7692 h 1128525"/>
                <a:gd name="connsiteX211" fmla="*/ 294344 w 665288"/>
                <a:gd name="connsiteY211" fmla="*/ 14012 h 1128525"/>
                <a:gd name="connsiteX212" fmla="*/ 294089 w 665288"/>
                <a:gd name="connsiteY212" fmla="*/ 6930 h 1128525"/>
                <a:gd name="connsiteX213" fmla="*/ 289577 w 665288"/>
                <a:gd name="connsiteY213" fmla="*/ 1353 h 1128525"/>
                <a:gd name="connsiteX214" fmla="*/ 283218 w 665288"/>
                <a:gd name="connsiteY214" fmla="*/ 721 h 1128525"/>
                <a:gd name="connsiteX215" fmla="*/ 279227 w 665288"/>
                <a:gd name="connsiteY215" fmla="*/ 7842 h 1128525"/>
                <a:gd name="connsiteX216" fmla="*/ 274454 w 665288"/>
                <a:gd name="connsiteY216" fmla="*/ 18553 h 1128525"/>
                <a:gd name="connsiteX217" fmla="*/ 278961 w 665288"/>
                <a:gd name="connsiteY217" fmla="*/ 24352 h 1128525"/>
                <a:gd name="connsiteX218" fmla="*/ 275741 w 665288"/>
                <a:gd name="connsiteY218" fmla="*/ 23205 h 1128525"/>
                <a:gd name="connsiteX219" fmla="*/ 271885 w 665288"/>
                <a:gd name="connsiteY219" fmla="*/ 23692 h 1128525"/>
                <a:gd name="connsiteX220" fmla="*/ 271754 w 665288"/>
                <a:gd name="connsiteY220" fmla="*/ 29911 h 1128525"/>
                <a:gd name="connsiteX221" fmla="*/ 265531 w 665288"/>
                <a:gd name="connsiteY221" fmla="*/ 30562 h 1128525"/>
                <a:gd name="connsiteX222" fmla="*/ 274059 w 665288"/>
                <a:gd name="connsiteY222" fmla="*/ 47738 h 1128525"/>
                <a:gd name="connsiteX223" fmla="*/ 269918 w 665288"/>
                <a:gd name="connsiteY223" fmla="*/ 48644 h 1128525"/>
                <a:gd name="connsiteX224" fmla="*/ 257152 w 665288"/>
                <a:gd name="connsiteY224" fmla="*/ 45809 h 1128525"/>
                <a:gd name="connsiteX225" fmla="*/ 250702 w 665288"/>
                <a:gd name="connsiteY225" fmla="*/ 45134 h 1128525"/>
                <a:gd name="connsiteX226" fmla="*/ 247328 w 665288"/>
                <a:gd name="connsiteY226" fmla="*/ 43722 h 1128525"/>
                <a:gd name="connsiteX227" fmla="*/ 247598 w 665288"/>
                <a:gd name="connsiteY227" fmla="*/ 67999 h 1128525"/>
                <a:gd name="connsiteX228" fmla="*/ 243592 w 665288"/>
                <a:gd name="connsiteY228" fmla="*/ 68525 h 1128525"/>
                <a:gd name="connsiteX229" fmla="*/ 238414 w 665288"/>
                <a:gd name="connsiteY229" fmla="*/ 65531 h 1128525"/>
                <a:gd name="connsiteX230" fmla="*/ 239856 w 665288"/>
                <a:gd name="connsiteY230" fmla="*/ 72270 h 1128525"/>
                <a:gd name="connsiteX231" fmla="*/ 250018 w 665288"/>
                <a:gd name="connsiteY231" fmla="*/ 84394 h 1128525"/>
                <a:gd name="connsiteX232" fmla="*/ 251719 w 665288"/>
                <a:gd name="connsiteY232" fmla="*/ 90473 h 1128525"/>
                <a:gd name="connsiteX233" fmla="*/ 256936 w 665288"/>
                <a:gd name="connsiteY233" fmla="*/ 101730 h 1128525"/>
                <a:gd name="connsiteX234" fmla="*/ 246296 w 665288"/>
                <a:gd name="connsiteY234" fmla="*/ 89572 h 1128525"/>
                <a:gd name="connsiteX235" fmla="*/ 241779 w 665288"/>
                <a:gd name="connsiteY235" fmla="*/ 89948 h 1128525"/>
                <a:gd name="connsiteX236" fmla="*/ 243071 w 665288"/>
                <a:gd name="connsiteY236" fmla="*/ 96687 h 1128525"/>
                <a:gd name="connsiteX237" fmla="*/ 237614 w 665288"/>
                <a:gd name="connsiteY237" fmla="*/ 89948 h 1128525"/>
                <a:gd name="connsiteX238" fmla="*/ 231053 w 665288"/>
                <a:gd name="connsiteY238" fmla="*/ 93428 h 1128525"/>
                <a:gd name="connsiteX239" fmla="*/ 224849 w 665288"/>
                <a:gd name="connsiteY239" fmla="*/ 89822 h 1128525"/>
                <a:gd name="connsiteX240" fmla="*/ 220587 w 665288"/>
                <a:gd name="connsiteY240" fmla="*/ 84534 h 1128525"/>
                <a:gd name="connsiteX241" fmla="*/ 219826 w 665288"/>
                <a:gd name="connsiteY241" fmla="*/ 90719 h 1128525"/>
                <a:gd name="connsiteX242" fmla="*/ 221633 w 665288"/>
                <a:gd name="connsiteY242" fmla="*/ 96933 h 1128525"/>
                <a:gd name="connsiteX243" fmla="*/ 217001 w 665288"/>
                <a:gd name="connsiteY243" fmla="*/ 102193 h 1128525"/>
                <a:gd name="connsiteX244" fmla="*/ 216090 w 665288"/>
                <a:gd name="connsiteY244" fmla="*/ 91789 h 1128525"/>
                <a:gd name="connsiteX245" fmla="*/ 209114 w 665288"/>
                <a:gd name="connsiteY245" fmla="*/ 90088 h 1128525"/>
                <a:gd name="connsiteX246" fmla="*/ 205634 w 665288"/>
                <a:gd name="connsiteY246" fmla="*/ 100929 h 1128525"/>
                <a:gd name="connsiteX247" fmla="*/ 209114 w 665288"/>
                <a:gd name="connsiteY247" fmla="*/ 111776 h 1128525"/>
                <a:gd name="connsiteX248" fmla="*/ 203300 w 665288"/>
                <a:gd name="connsiteY248" fmla="*/ 111506 h 1128525"/>
                <a:gd name="connsiteX249" fmla="*/ 202780 w 665288"/>
                <a:gd name="connsiteY249" fmla="*/ 119523 h 1128525"/>
                <a:gd name="connsiteX250" fmla="*/ 205359 w 665288"/>
                <a:gd name="connsiteY250" fmla="*/ 125481 h 1128525"/>
                <a:gd name="connsiteX251" fmla="*/ 216750 w 665288"/>
                <a:gd name="connsiteY251" fmla="*/ 134896 h 1128525"/>
                <a:gd name="connsiteX252" fmla="*/ 197110 w 665288"/>
                <a:gd name="connsiteY252" fmla="*/ 126354 h 1128525"/>
                <a:gd name="connsiteX253" fmla="*/ 192193 w 665288"/>
                <a:gd name="connsiteY253" fmla="*/ 138637 h 1128525"/>
                <a:gd name="connsiteX254" fmla="*/ 193471 w 665288"/>
                <a:gd name="connsiteY254" fmla="*/ 144851 h 1128525"/>
                <a:gd name="connsiteX255" fmla="*/ 193341 w 665288"/>
                <a:gd name="connsiteY255" fmla="*/ 151547 h 1128525"/>
                <a:gd name="connsiteX256" fmla="*/ 196445 w 665288"/>
                <a:gd name="connsiteY256" fmla="*/ 156715 h 1128525"/>
                <a:gd name="connsiteX257" fmla="*/ 207046 w 665288"/>
                <a:gd name="connsiteY257" fmla="*/ 150289 h 1128525"/>
                <a:gd name="connsiteX258" fmla="*/ 209895 w 665288"/>
                <a:gd name="connsiteY258" fmla="*/ 155292 h 1128525"/>
                <a:gd name="connsiteX259" fmla="*/ 219450 w 665288"/>
                <a:gd name="connsiteY259" fmla="*/ 154391 h 1128525"/>
                <a:gd name="connsiteX260" fmla="*/ 200586 w 665288"/>
                <a:gd name="connsiteY260" fmla="*/ 159433 h 1128525"/>
                <a:gd name="connsiteX261" fmla="*/ 200061 w 665288"/>
                <a:gd name="connsiteY261" fmla="*/ 165888 h 1128525"/>
                <a:gd name="connsiteX262" fmla="*/ 216466 w 665288"/>
                <a:gd name="connsiteY262" fmla="*/ 177892 h 1128525"/>
                <a:gd name="connsiteX263" fmla="*/ 207437 w 665288"/>
                <a:gd name="connsiteY263" fmla="*/ 170806 h 1128525"/>
                <a:gd name="connsiteX264" fmla="*/ 201348 w 665288"/>
                <a:gd name="connsiteY264" fmla="*/ 173124 h 1128525"/>
                <a:gd name="connsiteX265" fmla="*/ 200716 w 665288"/>
                <a:gd name="connsiteY265" fmla="*/ 178027 h 1128525"/>
                <a:gd name="connsiteX266" fmla="*/ 197347 w 665288"/>
                <a:gd name="connsiteY266" fmla="*/ 183971 h 1128525"/>
                <a:gd name="connsiteX267" fmla="*/ 205494 w 665288"/>
                <a:gd name="connsiteY267" fmla="*/ 188748 h 1128525"/>
                <a:gd name="connsiteX268" fmla="*/ 215044 w 665288"/>
                <a:gd name="connsiteY268" fmla="*/ 192243 h 1128525"/>
                <a:gd name="connsiteX269" fmla="*/ 199825 w 665288"/>
                <a:gd name="connsiteY269" fmla="*/ 189910 h 1128525"/>
                <a:gd name="connsiteX270" fmla="*/ 192950 w 665288"/>
                <a:gd name="connsiteY270" fmla="*/ 189009 h 1128525"/>
                <a:gd name="connsiteX271" fmla="*/ 188959 w 665288"/>
                <a:gd name="connsiteY271" fmla="*/ 193015 h 1128525"/>
                <a:gd name="connsiteX272" fmla="*/ 199150 w 665288"/>
                <a:gd name="connsiteY272" fmla="*/ 206595 h 1128525"/>
                <a:gd name="connsiteX273" fmla="*/ 192059 w 665288"/>
                <a:gd name="connsiteY273" fmla="*/ 206175 h 1128525"/>
                <a:gd name="connsiteX274" fmla="*/ 185083 w 665288"/>
                <a:gd name="connsiteY274" fmla="*/ 199455 h 1128525"/>
                <a:gd name="connsiteX275" fmla="*/ 179664 w 665288"/>
                <a:gd name="connsiteY275" fmla="*/ 203071 h 1128525"/>
                <a:gd name="connsiteX276" fmla="*/ 175784 w 665288"/>
                <a:gd name="connsiteY276" fmla="*/ 216390 h 1128525"/>
                <a:gd name="connsiteX277" fmla="*/ 187662 w 665288"/>
                <a:gd name="connsiteY277" fmla="*/ 220372 h 1128525"/>
                <a:gd name="connsiteX278" fmla="*/ 175143 w 665288"/>
                <a:gd name="connsiteY278" fmla="*/ 222985 h 1128525"/>
                <a:gd name="connsiteX279" fmla="*/ 178888 w 665288"/>
                <a:gd name="connsiteY279" fmla="*/ 229049 h 1128525"/>
                <a:gd name="connsiteX280" fmla="*/ 172549 w 665288"/>
                <a:gd name="connsiteY280" fmla="*/ 234342 h 1128525"/>
                <a:gd name="connsiteX281" fmla="*/ 165598 w 665288"/>
                <a:gd name="connsiteY281" fmla="*/ 227483 h 1128525"/>
                <a:gd name="connsiteX282" fmla="*/ 160931 w 665288"/>
                <a:gd name="connsiteY282" fmla="*/ 228664 h 1128525"/>
                <a:gd name="connsiteX283" fmla="*/ 148296 w 665288"/>
                <a:gd name="connsiteY283" fmla="*/ 228148 h 1128525"/>
                <a:gd name="connsiteX284" fmla="*/ 146083 w 665288"/>
                <a:gd name="connsiteY284" fmla="*/ 234878 h 1128525"/>
                <a:gd name="connsiteX285" fmla="*/ 169064 w 665288"/>
                <a:gd name="connsiteY285" fmla="*/ 241964 h 1128525"/>
                <a:gd name="connsiteX286" fmla="*/ 188178 w 665288"/>
                <a:gd name="connsiteY286" fmla="*/ 245715 h 1128525"/>
                <a:gd name="connsiteX287" fmla="*/ 181077 w 665288"/>
                <a:gd name="connsiteY287" fmla="*/ 242851 h 1128525"/>
                <a:gd name="connsiteX288" fmla="*/ 174492 w 665288"/>
                <a:gd name="connsiteY288" fmla="*/ 244008 h 1128525"/>
                <a:gd name="connsiteX289" fmla="*/ 170375 w 665288"/>
                <a:gd name="connsiteY289" fmla="*/ 249552 h 1128525"/>
                <a:gd name="connsiteX290" fmla="*/ 164947 w 665288"/>
                <a:gd name="connsiteY290" fmla="*/ 244803 h 1128525"/>
                <a:gd name="connsiteX291" fmla="*/ 158227 w 665288"/>
                <a:gd name="connsiteY291" fmla="*/ 247503 h 1128525"/>
                <a:gd name="connsiteX292" fmla="*/ 168818 w 665288"/>
                <a:gd name="connsiteY292" fmla="*/ 260037 h 1128525"/>
                <a:gd name="connsiteX293" fmla="*/ 177220 w 665288"/>
                <a:gd name="connsiteY293" fmla="*/ 266246 h 1128525"/>
                <a:gd name="connsiteX294" fmla="*/ 181858 w 665288"/>
                <a:gd name="connsiteY294" fmla="*/ 268054 h 1128525"/>
                <a:gd name="connsiteX295" fmla="*/ 191427 w 665288"/>
                <a:gd name="connsiteY295" fmla="*/ 261078 h 1128525"/>
                <a:gd name="connsiteX296" fmla="*/ 200331 w 665288"/>
                <a:gd name="connsiteY296" fmla="*/ 254628 h 1128525"/>
                <a:gd name="connsiteX297" fmla="*/ 211293 w 665288"/>
                <a:gd name="connsiteY297" fmla="*/ 247503 h 1128525"/>
                <a:gd name="connsiteX298" fmla="*/ 227327 w 665288"/>
                <a:gd name="connsiteY298" fmla="*/ 234453 h 1128525"/>
                <a:gd name="connsiteX299" fmla="*/ 218929 w 665288"/>
                <a:gd name="connsiteY299" fmla="*/ 245830 h 1128525"/>
                <a:gd name="connsiteX300" fmla="*/ 220732 w 665288"/>
                <a:gd name="connsiteY300" fmla="*/ 250352 h 1128525"/>
                <a:gd name="connsiteX301" fmla="*/ 234042 w 665288"/>
                <a:gd name="connsiteY301" fmla="*/ 250738 h 1128525"/>
                <a:gd name="connsiteX302" fmla="*/ 221633 w 665288"/>
                <a:gd name="connsiteY302" fmla="*/ 252565 h 1128525"/>
                <a:gd name="connsiteX303" fmla="*/ 215564 w 665288"/>
                <a:gd name="connsiteY303" fmla="*/ 250984 h 1128525"/>
                <a:gd name="connsiteX304" fmla="*/ 205494 w 665288"/>
                <a:gd name="connsiteY304" fmla="*/ 258745 h 1128525"/>
                <a:gd name="connsiteX305" fmla="*/ 201734 w 665288"/>
                <a:gd name="connsiteY305" fmla="*/ 266092 h 1128525"/>
                <a:gd name="connsiteX306" fmla="*/ 210020 w 665288"/>
                <a:gd name="connsiteY306" fmla="*/ 268049 h 1128525"/>
                <a:gd name="connsiteX307" fmla="*/ 199024 w 665288"/>
                <a:gd name="connsiteY307" fmla="*/ 271891 h 1128525"/>
                <a:gd name="connsiteX308" fmla="*/ 198644 w 665288"/>
                <a:gd name="connsiteY308" fmla="*/ 277618 h 1128525"/>
                <a:gd name="connsiteX309" fmla="*/ 204433 w 665288"/>
                <a:gd name="connsiteY309" fmla="*/ 278515 h 1128525"/>
                <a:gd name="connsiteX310" fmla="*/ 211288 w 665288"/>
                <a:gd name="connsiteY310" fmla="*/ 280149 h 1128525"/>
                <a:gd name="connsiteX311" fmla="*/ 222424 w 665288"/>
                <a:gd name="connsiteY311" fmla="*/ 271896 h 1128525"/>
                <a:gd name="connsiteX312" fmla="*/ 210922 w 665288"/>
                <a:gd name="connsiteY312" fmla="*/ 283668 h 1128525"/>
                <a:gd name="connsiteX313" fmla="*/ 193109 w 665288"/>
                <a:gd name="connsiteY313" fmla="*/ 280057 h 1128525"/>
                <a:gd name="connsiteX314" fmla="*/ 187281 w 665288"/>
                <a:gd name="connsiteY314" fmla="*/ 285481 h 1128525"/>
                <a:gd name="connsiteX315" fmla="*/ 186254 w 665288"/>
                <a:gd name="connsiteY315" fmla="*/ 290899 h 1128525"/>
                <a:gd name="connsiteX316" fmla="*/ 179930 w 665288"/>
                <a:gd name="connsiteY316" fmla="*/ 295946 h 1128525"/>
                <a:gd name="connsiteX317" fmla="*/ 178623 w 665288"/>
                <a:gd name="connsiteY317" fmla="*/ 302676 h 1128525"/>
                <a:gd name="connsiteX318" fmla="*/ 184437 w 665288"/>
                <a:gd name="connsiteY318" fmla="*/ 304084 h 1128525"/>
                <a:gd name="connsiteX319" fmla="*/ 175147 w 665288"/>
                <a:gd name="connsiteY319" fmla="*/ 314824 h 1128525"/>
                <a:gd name="connsiteX320" fmla="*/ 180836 w 665288"/>
                <a:gd name="connsiteY320" fmla="*/ 312226 h 1128525"/>
                <a:gd name="connsiteX321" fmla="*/ 176820 w 665288"/>
                <a:gd name="connsiteY321" fmla="*/ 318397 h 1128525"/>
                <a:gd name="connsiteX322" fmla="*/ 177587 w 665288"/>
                <a:gd name="connsiteY322" fmla="*/ 324601 h 1128525"/>
                <a:gd name="connsiteX323" fmla="*/ 171238 w 665288"/>
                <a:gd name="connsiteY323" fmla="*/ 326052 h 1128525"/>
                <a:gd name="connsiteX324" fmla="*/ 164301 w 665288"/>
                <a:gd name="connsiteY324" fmla="*/ 346438 h 1128525"/>
                <a:gd name="connsiteX325" fmla="*/ 169869 w 665288"/>
                <a:gd name="connsiteY325" fmla="*/ 345007 h 1128525"/>
                <a:gd name="connsiteX326" fmla="*/ 160690 w 665288"/>
                <a:gd name="connsiteY326" fmla="*/ 357941 h 1128525"/>
                <a:gd name="connsiteX327" fmla="*/ 173219 w 665288"/>
                <a:gd name="connsiteY327" fmla="*/ 361942 h 1128525"/>
                <a:gd name="connsiteX328" fmla="*/ 146749 w 665288"/>
                <a:gd name="connsiteY328" fmla="*/ 404041 h 1128525"/>
                <a:gd name="connsiteX329" fmla="*/ 142227 w 665288"/>
                <a:gd name="connsiteY329" fmla="*/ 409860 h 1128525"/>
                <a:gd name="connsiteX330" fmla="*/ 138862 w 665288"/>
                <a:gd name="connsiteY330" fmla="*/ 416594 h 1128525"/>
                <a:gd name="connsiteX331" fmla="*/ 140785 w 665288"/>
                <a:gd name="connsiteY331" fmla="*/ 425599 h 1128525"/>
                <a:gd name="connsiteX332" fmla="*/ 145842 w 665288"/>
                <a:gd name="connsiteY332" fmla="*/ 424843 h 1128525"/>
                <a:gd name="connsiteX333" fmla="*/ 152943 w 665288"/>
                <a:gd name="connsiteY333" fmla="*/ 425599 h 1128525"/>
                <a:gd name="connsiteX334" fmla="*/ 158477 w 665288"/>
                <a:gd name="connsiteY334" fmla="*/ 419790 h 1128525"/>
                <a:gd name="connsiteX335" fmla="*/ 160570 w 665288"/>
                <a:gd name="connsiteY335" fmla="*/ 407666 h 1128525"/>
                <a:gd name="connsiteX336" fmla="*/ 169329 w 665288"/>
                <a:gd name="connsiteY336" fmla="*/ 388528 h 1128525"/>
                <a:gd name="connsiteX337" fmla="*/ 184953 w 665288"/>
                <a:gd name="connsiteY337" fmla="*/ 367360 h 1128525"/>
                <a:gd name="connsiteX338" fmla="*/ 182137 w 665288"/>
                <a:gd name="connsiteY338" fmla="*/ 341261 h 1128525"/>
                <a:gd name="connsiteX339" fmla="*/ 190280 w 665288"/>
                <a:gd name="connsiteY339" fmla="*/ 333003 h 1128525"/>
                <a:gd name="connsiteX340" fmla="*/ 208738 w 665288"/>
                <a:gd name="connsiteY340" fmla="*/ 320469 h 1128525"/>
                <a:gd name="connsiteX341" fmla="*/ 211958 w 665288"/>
                <a:gd name="connsiteY341" fmla="*/ 317876 h 1128525"/>
                <a:gd name="connsiteX342" fmla="*/ 216229 w 665288"/>
                <a:gd name="connsiteY342" fmla="*/ 313219 h 1128525"/>
                <a:gd name="connsiteX343" fmla="*/ 226584 w 665288"/>
                <a:gd name="connsiteY343" fmla="*/ 310582 h 1128525"/>
                <a:gd name="connsiteX344" fmla="*/ 217126 w 665288"/>
                <a:gd name="connsiteY344" fmla="*/ 316348 h 1128525"/>
                <a:gd name="connsiteX345" fmla="*/ 211717 w 665288"/>
                <a:gd name="connsiteY345" fmla="*/ 321896 h 1128525"/>
                <a:gd name="connsiteX346" fmla="*/ 190125 w 665288"/>
                <a:gd name="connsiteY346" fmla="*/ 339704 h 1128525"/>
                <a:gd name="connsiteX347" fmla="*/ 187556 w 665288"/>
                <a:gd name="connsiteY347" fmla="*/ 350811 h 1128525"/>
                <a:gd name="connsiteX348" fmla="*/ 188723 w 665288"/>
                <a:gd name="connsiteY348" fmla="*/ 358688 h 1128525"/>
                <a:gd name="connsiteX349" fmla="*/ 193341 w 665288"/>
                <a:gd name="connsiteY349" fmla="*/ 358066 h 1128525"/>
                <a:gd name="connsiteX350" fmla="*/ 200066 w 665288"/>
                <a:gd name="connsiteY350" fmla="*/ 345788 h 1128525"/>
                <a:gd name="connsiteX351" fmla="*/ 205894 w 665288"/>
                <a:gd name="connsiteY351" fmla="*/ 354735 h 1128525"/>
                <a:gd name="connsiteX352" fmla="*/ 206646 w 665288"/>
                <a:gd name="connsiteY352" fmla="*/ 341931 h 1128525"/>
                <a:gd name="connsiteX353" fmla="*/ 208970 w 665288"/>
                <a:gd name="connsiteY353" fmla="*/ 353665 h 1128525"/>
                <a:gd name="connsiteX354" fmla="*/ 210927 w 665288"/>
                <a:gd name="connsiteY354" fmla="*/ 361672 h 1128525"/>
                <a:gd name="connsiteX355" fmla="*/ 224738 w 665288"/>
                <a:gd name="connsiteY355" fmla="*/ 331316 h 1128525"/>
                <a:gd name="connsiteX356" fmla="*/ 227173 w 665288"/>
                <a:gd name="connsiteY356" fmla="*/ 326061 h 1128525"/>
                <a:gd name="connsiteX357" fmla="*/ 225403 w 665288"/>
                <a:gd name="connsiteY357" fmla="*/ 342698 h 1128525"/>
                <a:gd name="connsiteX358" fmla="*/ 229631 w 665288"/>
                <a:gd name="connsiteY358" fmla="*/ 348106 h 1128525"/>
                <a:gd name="connsiteX359" fmla="*/ 232866 w 665288"/>
                <a:gd name="connsiteY359" fmla="*/ 326548 h 1128525"/>
                <a:gd name="connsiteX360" fmla="*/ 234548 w 665288"/>
                <a:gd name="connsiteY360" fmla="*/ 348386 h 1128525"/>
                <a:gd name="connsiteX361" fmla="*/ 245279 w 665288"/>
                <a:gd name="connsiteY361" fmla="*/ 358861 h 1128525"/>
                <a:gd name="connsiteX362" fmla="*/ 242184 w 665288"/>
                <a:gd name="connsiteY362" fmla="*/ 359618 h 1128525"/>
                <a:gd name="connsiteX363" fmla="*/ 234047 w 665288"/>
                <a:gd name="connsiteY363" fmla="*/ 357150 h 1128525"/>
                <a:gd name="connsiteX364" fmla="*/ 227457 w 665288"/>
                <a:gd name="connsiteY364" fmla="*/ 353038 h 1128525"/>
                <a:gd name="connsiteX365" fmla="*/ 221132 w 665288"/>
                <a:gd name="connsiteY365" fmla="*/ 356393 h 1128525"/>
                <a:gd name="connsiteX366" fmla="*/ 218934 w 665288"/>
                <a:gd name="connsiteY366" fmla="*/ 367365 h 1128525"/>
                <a:gd name="connsiteX367" fmla="*/ 217753 w 665288"/>
                <a:gd name="connsiteY367" fmla="*/ 379899 h 1128525"/>
                <a:gd name="connsiteX368" fmla="*/ 215458 w 665288"/>
                <a:gd name="connsiteY368" fmla="*/ 387506 h 1128525"/>
                <a:gd name="connsiteX369" fmla="*/ 228865 w 665288"/>
                <a:gd name="connsiteY369" fmla="*/ 408438 h 1128525"/>
                <a:gd name="connsiteX370" fmla="*/ 229004 w 665288"/>
                <a:gd name="connsiteY370" fmla="*/ 418209 h 1128525"/>
                <a:gd name="connsiteX371" fmla="*/ 224082 w 665288"/>
                <a:gd name="connsiteY371" fmla="*/ 422533 h 1128525"/>
                <a:gd name="connsiteX372" fmla="*/ 219045 w 665288"/>
                <a:gd name="connsiteY372" fmla="*/ 424462 h 1128525"/>
                <a:gd name="connsiteX373" fmla="*/ 211549 w 665288"/>
                <a:gd name="connsiteY373" fmla="*/ 432826 h 1128525"/>
                <a:gd name="connsiteX374" fmla="*/ 208208 w 665288"/>
                <a:gd name="connsiteY374" fmla="*/ 437622 h 1128525"/>
                <a:gd name="connsiteX375" fmla="*/ 204207 w 665288"/>
                <a:gd name="connsiteY375" fmla="*/ 447963 h 1128525"/>
                <a:gd name="connsiteX376" fmla="*/ 191427 w 665288"/>
                <a:gd name="connsiteY376" fmla="*/ 456621 h 1128525"/>
                <a:gd name="connsiteX377" fmla="*/ 188959 w 665288"/>
                <a:gd name="connsiteY377" fmla="*/ 462541 h 1128525"/>
                <a:gd name="connsiteX378" fmla="*/ 185449 w 665288"/>
                <a:gd name="connsiteY378" fmla="*/ 469641 h 1128525"/>
                <a:gd name="connsiteX379" fmla="*/ 186110 w 665288"/>
                <a:gd name="connsiteY379" fmla="*/ 477538 h 1128525"/>
                <a:gd name="connsiteX380" fmla="*/ 185840 w 665288"/>
                <a:gd name="connsiteY380" fmla="*/ 486451 h 1128525"/>
                <a:gd name="connsiteX381" fmla="*/ 182624 w 665288"/>
                <a:gd name="connsiteY381" fmla="*/ 482696 h 1128525"/>
                <a:gd name="connsiteX382" fmla="*/ 180566 w 665288"/>
                <a:gd name="connsiteY382" fmla="*/ 469940 h 1128525"/>
                <a:gd name="connsiteX383" fmla="*/ 175143 w 665288"/>
                <a:gd name="connsiteY383" fmla="*/ 473402 h 1128525"/>
                <a:gd name="connsiteX384" fmla="*/ 172048 w 665288"/>
                <a:gd name="connsiteY384" fmla="*/ 483231 h 1128525"/>
                <a:gd name="connsiteX385" fmla="*/ 175143 w 665288"/>
                <a:gd name="connsiteY385" fmla="*/ 494998 h 1128525"/>
                <a:gd name="connsiteX386" fmla="*/ 182624 w 665288"/>
                <a:gd name="connsiteY386" fmla="*/ 518740 h 1128525"/>
                <a:gd name="connsiteX387" fmla="*/ 189099 w 665288"/>
                <a:gd name="connsiteY387" fmla="*/ 526039 h 1128525"/>
                <a:gd name="connsiteX388" fmla="*/ 186380 w 665288"/>
                <a:gd name="connsiteY388" fmla="*/ 502591 h 1128525"/>
                <a:gd name="connsiteX389" fmla="*/ 191036 w 665288"/>
                <a:gd name="connsiteY389" fmla="*/ 496512 h 1128525"/>
                <a:gd name="connsiteX390" fmla="*/ 197617 w 665288"/>
                <a:gd name="connsiteY390" fmla="*/ 495230 h 1128525"/>
                <a:gd name="connsiteX391" fmla="*/ 200716 w 665288"/>
                <a:gd name="connsiteY391" fmla="*/ 501058 h 1128525"/>
                <a:gd name="connsiteX392" fmla="*/ 213626 w 665288"/>
                <a:gd name="connsiteY392" fmla="*/ 511634 h 1128525"/>
                <a:gd name="connsiteX393" fmla="*/ 227452 w 665288"/>
                <a:gd name="connsiteY393" fmla="*/ 525451 h 1128525"/>
                <a:gd name="connsiteX394" fmla="*/ 227852 w 665288"/>
                <a:gd name="connsiteY394" fmla="*/ 502986 h 1128525"/>
                <a:gd name="connsiteX395" fmla="*/ 231593 w 665288"/>
                <a:gd name="connsiteY395" fmla="*/ 495639 h 1128525"/>
                <a:gd name="connsiteX396" fmla="*/ 232099 w 665288"/>
                <a:gd name="connsiteY396" fmla="*/ 500147 h 1128525"/>
                <a:gd name="connsiteX397" fmla="*/ 237122 w 665288"/>
                <a:gd name="connsiteY397" fmla="*/ 505329 h 1128525"/>
                <a:gd name="connsiteX398" fmla="*/ 242430 w 665288"/>
                <a:gd name="connsiteY398" fmla="*/ 507238 h 1128525"/>
                <a:gd name="connsiteX399" fmla="*/ 245004 w 665288"/>
                <a:gd name="connsiteY399" fmla="*/ 513828 h 1128525"/>
                <a:gd name="connsiteX400" fmla="*/ 250934 w 665288"/>
                <a:gd name="connsiteY400" fmla="*/ 516928 h 1128525"/>
                <a:gd name="connsiteX401" fmla="*/ 253773 w 665288"/>
                <a:gd name="connsiteY401" fmla="*/ 512281 h 1128525"/>
                <a:gd name="connsiteX402" fmla="*/ 255996 w 665288"/>
                <a:gd name="connsiteY402" fmla="*/ 514117 h 1128525"/>
                <a:gd name="connsiteX403" fmla="*/ 256126 w 665288"/>
                <a:gd name="connsiteY403" fmla="*/ 519656 h 1128525"/>
                <a:gd name="connsiteX404" fmla="*/ 273177 w 665288"/>
                <a:gd name="connsiteY404" fmla="*/ 512550 h 1128525"/>
                <a:gd name="connsiteX405" fmla="*/ 278084 w 665288"/>
                <a:gd name="connsiteY405" fmla="*/ 510222 h 1128525"/>
                <a:gd name="connsiteX406" fmla="*/ 293703 w 665288"/>
                <a:gd name="connsiteY406" fmla="*/ 507368 h 1128525"/>
                <a:gd name="connsiteX407" fmla="*/ 295631 w 665288"/>
                <a:gd name="connsiteY407" fmla="*/ 497693 h 1128525"/>
                <a:gd name="connsiteX408" fmla="*/ 298080 w 665288"/>
                <a:gd name="connsiteY408" fmla="*/ 499134 h 1128525"/>
                <a:gd name="connsiteX409" fmla="*/ 304916 w 665288"/>
                <a:gd name="connsiteY409" fmla="*/ 499886 h 1128525"/>
                <a:gd name="connsiteX410" fmla="*/ 321846 w 665288"/>
                <a:gd name="connsiteY410" fmla="*/ 502996 h 1128525"/>
                <a:gd name="connsiteX411" fmla="*/ 331020 w 665288"/>
                <a:gd name="connsiteY411" fmla="*/ 505334 h 1128525"/>
                <a:gd name="connsiteX412" fmla="*/ 336043 w 665288"/>
                <a:gd name="connsiteY412" fmla="*/ 507368 h 1128525"/>
                <a:gd name="connsiteX413" fmla="*/ 333609 w 665288"/>
                <a:gd name="connsiteY413" fmla="*/ 510082 h 1128525"/>
                <a:gd name="connsiteX414" fmla="*/ 328557 w 665288"/>
                <a:gd name="connsiteY414" fmla="*/ 509986 h 1128525"/>
                <a:gd name="connsiteX415" fmla="*/ 322748 w 665288"/>
                <a:gd name="connsiteY415" fmla="*/ 507243 h 1128525"/>
                <a:gd name="connsiteX416" fmla="*/ 316423 w 665288"/>
                <a:gd name="connsiteY416" fmla="*/ 508424 h 1128525"/>
                <a:gd name="connsiteX417" fmla="*/ 316423 w 665288"/>
                <a:gd name="connsiteY417" fmla="*/ 512676 h 1128525"/>
                <a:gd name="connsiteX418" fmla="*/ 313849 w 665288"/>
                <a:gd name="connsiteY418" fmla="*/ 515539 h 1128525"/>
                <a:gd name="connsiteX419" fmla="*/ 307620 w 665288"/>
                <a:gd name="connsiteY419" fmla="*/ 513177 h 1128525"/>
                <a:gd name="connsiteX420" fmla="*/ 302221 w 665288"/>
                <a:gd name="connsiteY420" fmla="*/ 522105 h 1128525"/>
                <a:gd name="connsiteX421" fmla="*/ 293698 w 665288"/>
                <a:gd name="connsiteY421" fmla="*/ 535140 h 1128525"/>
                <a:gd name="connsiteX422" fmla="*/ 286212 w 665288"/>
                <a:gd name="connsiteY422" fmla="*/ 546387 h 1128525"/>
                <a:gd name="connsiteX423" fmla="*/ 281034 w 665288"/>
                <a:gd name="connsiteY423" fmla="*/ 558275 h 1128525"/>
                <a:gd name="connsiteX424" fmla="*/ 286212 w 665288"/>
                <a:gd name="connsiteY424" fmla="*/ 573234 h 1128525"/>
                <a:gd name="connsiteX425" fmla="*/ 291490 w 665288"/>
                <a:gd name="connsiteY425" fmla="*/ 587324 h 1128525"/>
                <a:gd name="connsiteX426" fmla="*/ 290864 w 665288"/>
                <a:gd name="connsiteY426" fmla="*/ 592367 h 1128525"/>
                <a:gd name="connsiteX427" fmla="*/ 296017 w 665288"/>
                <a:gd name="connsiteY427" fmla="*/ 604626 h 1128525"/>
                <a:gd name="connsiteX428" fmla="*/ 301204 w 665288"/>
                <a:gd name="connsiteY428" fmla="*/ 605532 h 1128525"/>
                <a:gd name="connsiteX429" fmla="*/ 304694 w 665288"/>
                <a:gd name="connsiteY429" fmla="*/ 600360 h 1128525"/>
                <a:gd name="connsiteX430" fmla="*/ 303007 w 665288"/>
                <a:gd name="connsiteY430" fmla="*/ 609403 h 1128525"/>
                <a:gd name="connsiteX431" fmla="*/ 301329 w 665288"/>
                <a:gd name="connsiteY431" fmla="*/ 617791 h 1128525"/>
                <a:gd name="connsiteX432" fmla="*/ 306907 w 665288"/>
                <a:gd name="connsiteY432" fmla="*/ 624241 h 1128525"/>
                <a:gd name="connsiteX433" fmla="*/ 306748 w 665288"/>
                <a:gd name="connsiteY433" fmla="*/ 620520 h 1128525"/>
                <a:gd name="connsiteX434" fmla="*/ 317194 w 665288"/>
                <a:gd name="connsiteY434" fmla="*/ 604250 h 1128525"/>
                <a:gd name="connsiteX435" fmla="*/ 318771 w 665288"/>
                <a:gd name="connsiteY435" fmla="*/ 611602 h 1128525"/>
                <a:gd name="connsiteX436" fmla="*/ 325341 w 665288"/>
                <a:gd name="connsiteY436" fmla="*/ 615207 h 1128525"/>
                <a:gd name="connsiteX437" fmla="*/ 335171 w 665288"/>
                <a:gd name="connsiteY437" fmla="*/ 609794 h 1128525"/>
                <a:gd name="connsiteX438" fmla="*/ 332592 w 665288"/>
                <a:gd name="connsiteY438" fmla="*/ 615738 h 1128525"/>
                <a:gd name="connsiteX439" fmla="*/ 331681 w 665288"/>
                <a:gd name="connsiteY439" fmla="*/ 622940 h 1128525"/>
                <a:gd name="connsiteX440" fmla="*/ 328981 w 665288"/>
                <a:gd name="connsiteY440" fmla="*/ 626459 h 1128525"/>
                <a:gd name="connsiteX441" fmla="*/ 324054 w 665288"/>
                <a:gd name="connsiteY441" fmla="*/ 631617 h 1128525"/>
                <a:gd name="connsiteX442" fmla="*/ 328070 w 665288"/>
                <a:gd name="connsiteY442" fmla="*/ 636799 h 1128525"/>
                <a:gd name="connsiteX443" fmla="*/ 322902 w 665288"/>
                <a:gd name="connsiteY443" fmla="*/ 643881 h 1128525"/>
                <a:gd name="connsiteX444" fmla="*/ 309732 w 665288"/>
                <a:gd name="connsiteY444" fmla="*/ 646484 h 1128525"/>
                <a:gd name="connsiteX445" fmla="*/ 307780 w 665288"/>
                <a:gd name="connsiteY445" fmla="*/ 656179 h 1128525"/>
                <a:gd name="connsiteX446" fmla="*/ 318356 w 665288"/>
                <a:gd name="connsiteY446" fmla="*/ 671769 h 1128525"/>
                <a:gd name="connsiteX447" fmla="*/ 306492 w 665288"/>
                <a:gd name="connsiteY447" fmla="*/ 679930 h 1128525"/>
                <a:gd name="connsiteX448" fmla="*/ 299131 w 665288"/>
                <a:gd name="connsiteY448" fmla="*/ 694764 h 1128525"/>
                <a:gd name="connsiteX449" fmla="*/ 302231 w 665288"/>
                <a:gd name="connsiteY449" fmla="*/ 706536 h 1128525"/>
                <a:gd name="connsiteX450" fmla="*/ 305981 w 665288"/>
                <a:gd name="connsiteY450" fmla="*/ 718554 h 1128525"/>
                <a:gd name="connsiteX451" fmla="*/ 322758 w 665288"/>
                <a:gd name="connsiteY451" fmla="*/ 723047 h 1128525"/>
                <a:gd name="connsiteX452" fmla="*/ 320689 w 665288"/>
                <a:gd name="connsiteY452" fmla="*/ 727462 h 1128525"/>
                <a:gd name="connsiteX453" fmla="*/ 318361 w 665288"/>
                <a:gd name="connsiteY453" fmla="*/ 730394 h 1128525"/>
                <a:gd name="connsiteX454" fmla="*/ 308156 w 665288"/>
                <a:gd name="connsiteY454" fmla="*/ 728084 h 1128525"/>
                <a:gd name="connsiteX455" fmla="*/ 304559 w 665288"/>
                <a:gd name="connsiteY455" fmla="*/ 723712 h 1128525"/>
                <a:gd name="connsiteX456" fmla="*/ 297709 w 665288"/>
                <a:gd name="connsiteY456" fmla="*/ 709496 h 1128525"/>
                <a:gd name="connsiteX457" fmla="*/ 288405 w 665288"/>
                <a:gd name="connsiteY457" fmla="*/ 715449 h 1128525"/>
                <a:gd name="connsiteX458" fmla="*/ 290473 w 665288"/>
                <a:gd name="connsiteY458" fmla="*/ 721388 h 1128525"/>
                <a:gd name="connsiteX459" fmla="*/ 292026 w 665288"/>
                <a:gd name="connsiteY459" fmla="*/ 726682 h 1128525"/>
                <a:gd name="connsiteX460" fmla="*/ 293187 w 665288"/>
                <a:gd name="connsiteY460" fmla="*/ 730022 h 1128525"/>
                <a:gd name="connsiteX461" fmla="*/ 291380 w 665288"/>
                <a:gd name="connsiteY461" fmla="*/ 735200 h 1128525"/>
                <a:gd name="connsiteX462" fmla="*/ 268399 w 665288"/>
                <a:gd name="connsiteY462" fmla="*/ 715825 h 1128525"/>
                <a:gd name="connsiteX463" fmla="*/ 254443 w 665288"/>
                <a:gd name="connsiteY463" fmla="*/ 720882 h 1128525"/>
                <a:gd name="connsiteX464" fmla="*/ 244122 w 665288"/>
                <a:gd name="connsiteY464" fmla="*/ 716992 h 1128525"/>
                <a:gd name="connsiteX465" fmla="*/ 233015 w 665288"/>
                <a:gd name="connsiteY465" fmla="*/ 711289 h 1128525"/>
                <a:gd name="connsiteX466" fmla="*/ 233145 w 665288"/>
                <a:gd name="connsiteY466" fmla="*/ 717271 h 1128525"/>
                <a:gd name="connsiteX467" fmla="*/ 215188 w 665288"/>
                <a:gd name="connsiteY467" fmla="*/ 720082 h 1128525"/>
                <a:gd name="connsiteX468" fmla="*/ 194647 w 665288"/>
                <a:gd name="connsiteY468" fmla="*/ 731849 h 1128525"/>
                <a:gd name="connsiteX469" fmla="*/ 170640 w 665288"/>
                <a:gd name="connsiteY469" fmla="*/ 752492 h 1128525"/>
                <a:gd name="connsiteX470" fmla="*/ 149569 w 665288"/>
                <a:gd name="connsiteY470" fmla="*/ 767373 h 1128525"/>
                <a:gd name="connsiteX471" fmla="*/ 156163 w 665288"/>
                <a:gd name="connsiteY471" fmla="*/ 768810 h 1128525"/>
                <a:gd name="connsiteX472" fmla="*/ 170520 w 665288"/>
                <a:gd name="connsiteY472" fmla="*/ 767007 h 1128525"/>
                <a:gd name="connsiteX473" fmla="*/ 178127 w 665288"/>
                <a:gd name="connsiteY473" fmla="*/ 761545 h 1128525"/>
                <a:gd name="connsiteX474" fmla="*/ 197887 w 665288"/>
                <a:gd name="connsiteY474" fmla="*/ 761545 h 1128525"/>
                <a:gd name="connsiteX475" fmla="*/ 198774 w 665288"/>
                <a:gd name="connsiteY475" fmla="*/ 774720 h 1128525"/>
                <a:gd name="connsiteX476" fmla="*/ 202529 w 665288"/>
                <a:gd name="connsiteY476" fmla="*/ 785176 h 1128525"/>
                <a:gd name="connsiteX477" fmla="*/ 203537 w 665288"/>
                <a:gd name="connsiteY477" fmla="*/ 790999 h 1128525"/>
                <a:gd name="connsiteX478" fmla="*/ 195944 w 665288"/>
                <a:gd name="connsiteY478" fmla="*/ 799103 h 1128525"/>
                <a:gd name="connsiteX479" fmla="*/ 196445 w 665288"/>
                <a:gd name="connsiteY479" fmla="*/ 804941 h 1128525"/>
                <a:gd name="connsiteX480" fmla="*/ 201493 w 665288"/>
                <a:gd name="connsiteY480" fmla="*/ 811015 h 1128525"/>
                <a:gd name="connsiteX481" fmla="*/ 208140 w 665288"/>
                <a:gd name="connsiteY481" fmla="*/ 811111 h 1128525"/>
                <a:gd name="connsiteX482" fmla="*/ 197487 w 665288"/>
                <a:gd name="connsiteY482" fmla="*/ 816718 h 1128525"/>
                <a:gd name="connsiteX483" fmla="*/ 181082 w 665288"/>
                <a:gd name="connsiteY483" fmla="*/ 844051 h 1128525"/>
                <a:gd name="connsiteX484" fmla="*/ 169594 w 665288"/>
                <a:gd name="connsiteY484" fmla="*/ 850246 h 1128525"/>
                <a:gd name="connsiteX485" fmla="*/ 150870 w 665288"/>
                <a:gd name="connsiteY485" fmla="*/ 856850 h 1128525"/>
                <a:gd name="connsiteX486" fmla="*/ 144420 w 665288"/>
                <a:gd name="connsiteY486" fmla="*/ 856069 h 1128525"/>
                <a:gd name="connsiteX487" fmla="*/ 137970 w 665288"/>
                <a:gd name="connsiteY487" fmla="*/ 860736 h 1128525"/>
                <a:gd name="connsiteX488" fmla="*/ 134456 w 665288"/>
                <a:gd name="connsiteY488" fmla="*/ 856339 h 1128525"/>
                <a:gd name="connsiteX489" fmla="*/ 122062 w 665288"/>
                <a:gd name="connsiteY489" fmla="*/ 867437 h 1128525"/>
                <a:gd name="connsiteX490" fmla="*/ 103979 w 665288"/>
                <a:gd name="connsiteY490" fmla="*/ 862630 h 1128525"/>
                <a:gd name="connsiteX491" fmla="*/ 100489 w 665288"/>
                <a:gd name="connsiteY491" fmla="*/ 869268 h 1128525"/>
                <a:gd name="connsiteX492" fmla="*/ 90173 w 665288"/>
                <a:gd name="connsiteY492" fmla="*/ 872595 h 1128525"/>
                <a:gd name="connsiteX493" fmla="*/ 83718 w 665288"/>
                <a:gd name="connsiteY493" fmla="*/ 873877 h 1128525"/>
                <a:gd name="connsiteX494" fmla="*/ 86552 w 665288"/>
                <a:gd name="connsiteY494" fmla="*/ 880322 h 1128525"/>
                <a:gd name="connsiteX495" fmla="*/ 92487 w 665288"/>
                <a:gd name="connsiteY495" fmla="*/ 881764 h 1128525"/>
                <a:gd name="connsiteX496" fmla="*/ 95061 w 665288"/>
                <a:gd name="connsiteY496" fmla="*/ 893145 h 1128525"/>
                <a:gd name="connsiteX497" fmla="*/ 84108 w 665288"/>
                <a:gd name="connsiteY497" fmla="*/ 899350 h 1128525"/>
                <a:gd name="connsiteX498" fmla="*/ 86948 w 665288"/>
                <a:gd name="connsiteY498" fmla="*/ 905679 h 1128525"/>
                <a:gd name="connsiteX499" fmla="*/ 93933 w 665288"/>
                <a:gd name="connsiteY499" fmla="*/ 902565 h 1128525"/>
                <a:gd name="connsiteX500" fmla="*/ 110569 w 665288"/>
                <a:gd name="connsiteY500" fmla="*/ 903206 h 1128525"/>
                <a:gd name="connsiteX501" fmla="*/ 118070 w 665288"/>
                <a:gd name="connsiteY501" fmla="*/ 896751 h 1128525"/>
                <a:gd name="connsiteX502" fmla="*/ 113278 w 665288"/>
                <a:gd name="connsiteY502" fmla="*/ 902059 h 1128525"/>
                <a:gd name="connsiteX503" fmla="*/ 113539 w 665288"/>
                <a:gd name="connsiteY503" fmla="*/ 907993 h 1128525"/>
                <a:gd name="connsiteX504" fmla="*/ 93383 w 665288"/>
                <a:gd name="connsiteY504" fmla="*/ 906793 h 1128525"/>
                <a:gd name="connsiteX505" fmla="*/ 97158 w 665288"/>
                <a:gd name="connsiteY505" fmla="*/ 913547 h 1128525"/>
                <a:gd name="connsiteX506" fmla="*/ 103333 w 665288"/>
                <a:gd name="connsiteY506" fmla="*/ 918931 h 1128525"/>
                <a:gd name="connsiteX507" fmla="*/ 113534 w 665288"/>
                <a:gd name="connsiteY507" fmla="*/ 915721 h 1128525"/>
                <a:gd name="connsiteX508" fmla="*/ 130315 w 665288"/>
                <a:gd name="connsiteY508" fmla="*/ 909290 h 1128525"/>
                <a:gd name="connsiteX509" fmla="*/ 140260 w 665288"/>
                <a:gd name="connsiteY509" fmla="*/ 909184 h 1128525"/>
                <a:gd name="connsiteX510" fmla="*/ 145707 w 665288"/>
                <a:gd name="connsiteY510" fmla="*/ 907844 h 1128525"/>
                <a:gd name="connsiteX511" fmla="*/ 151907 w 665288"/>
                <a:gd name="connsiteY511" fmla="*/ 904903 h 1128525"/>
                <a:gd name="connsiteX512" fmla="*/ 155122 w 665288"/>
                <a:gd name="connsiteY512" fmla="*/ 908133 h 1128525"/>
                <a:gd name="connsiteX513" fmla="*/ 153044 w 665288"/>
                <a:gd name="connsiteY513" fmla="*/ 914303 h 1128525"/>
                <a:gd name="connsiteX514" fmla="*/ 155749 w 665288"/>
                <a:gd name="connsiteY514" fmla="*/ 919365 h 1128525"/>
                <a:gd name="connsiteX515" fmla="*/ 173725 w 665288"/>
                <a:gd name="connsiteY515" fmla="*/ 924914 h 1128525"/>
                <a:gd name="connsiteX516" fmla="*/ 173050 w 665288"/>
                <a:gd name="connsiteY516" fmla="*/ 928395 h 1128525"/>
                <a:gd name="connsiteX517" fmla="*/ 160160 w 665288"/>
                <a:gd name="connsiteY517" fmla="*/ 927874 h 1128525"/>
                <a:gd name="connsiteX518" fmla="*/ 157340 w 665288"/>
                <a:gd name="connsiteY518" fmla="*/ 934035 h 1128525"/>
                <a:gd name="connsiteX519" fmla="*/ 161196 w 665288"/>
                <a:gd name="connsiteY519" fmla="*/ 940292 h 1128525"/>
                <a:gd name="connsiteX520" fmla="*/ 166745 w 665288"/>
                <a:gd name="connsiteY520" fmla="*/ 938985 h 1128525"/>
                <a:gd name="connsiteX521" fmla="*/ 174612 w 665288"/>
                <a:gd name="connsiteY521" fmla="*/ 939361 h 1128525"/>
                <a:gd name="connsiteX522" fmla="*/ 183029 w 665288"/>
                <a:gd name="connsiteY522" fmla="*/ 934724 h 1128525"/>
                <a:gd name="connsiteX523" fmla="*/ 194623 w 665288"/>
                <a:gd name="connsiteY523" fmla="*/ 935143 h 1128525"/>
                <a:gd name="connsiteX524" fmla="*/ 199916 w 665288"/>
                <a:gd name="connsiteY524" fmla="*/ 954730 h 1128525"/>
                <a:gd name="connsiteX525" fmla="*/ 208073 w 665288"/>
                <a:gd name="connsiteY525" fmla="*/ 961325 h 1128525"/>
                <a:gd name="connsiteX526" fmla="*/ 214402 w 665288"/>
                <a:gd name="connsiteY526" fmla="*/ 968965 h 1128525"/>
                <a:gd name="connsiteX527" fmla="*/ 243968 w 665288"/>
                <a:gd name="connsiteY527" fmla="*/ 971954 h 1128525"/>
                <a:gd name="connsiteX528" fmla="*/ 259982 w 665288"/>
                <a:gd name="connsiteY528" fmla="*/ 957188 h 1128525"/>
                <a:gd name="connsiteX529" fmla="*/ 264215 w 665288"/>
                <a:gd name="connsiteY529" fmla="*/ 957724 h 1128525"/>
                <a:gd name="connsiteX530" fmla="*/ 272752 w 665288"/>
                <a:gd name="connsiteY530" fmla="*/ 958379 h 1128525"/>
                <a:gd name="connsiteX531" fmla="*/ 280104 w 665288"/>
                <a:gd name="connsiteY531" fmla="*/ 956432 h 1128525"/>
                <a:gd name="connsiteX532" fmla="*/ 287094 w 665288"/>
                <a:gd name="connsiteY532" fmla="*/ 953592 h 1128525"/>
                <a:gd name="connsiteX533" fmla="*/ 313830 w 665288"/>
                <a:gd name="connsiteY533" fmla="*/ 935009 h 1128525"/>
                <a:gd name="connsiteX534" fmla="*/ 312412 w 665288"/>
                <a:gd name="connsiteY534" fmla="*/ 939916 h 1128525"/>
                <a:gd name="connsiteX535" fmla="*/ 302313 w 665288"/>
                <a:gd name="connsiteY535" fmla="*/ 945455 h 1128525"/>
                <a:gd name="connsiteX536" fmla="*/ 284124 w 665288"/>
                <a:gd name="connsiteY536" fmla="*/ 966772 h 1128525"/>
                <a:gd name="connsiteX537" fmla="*/ 269643 w 665288"/>
                <a:gd name="connsiteY537" fmla="*/ 972822 h 1128525"/>
                <a:gd name="connsiteX538" fmla="*/ 259587 w 665288"/>
                <a:gd name="connsiteY538" fmla="*/ 981229 h 1128525"/>
                <a:gd name="connsiteX539" fmla="*/ 255470 w 665288"/>
                <a:gd name="connsiteY539" fmla="*/ 987198 h 1128525"/>
                <a:gd name="connsiteX540" fmla="*/ 253392 w 665288"/>
                <a:gd name="connsiteY540" fmla="*/ 999712 h 1128525"/>
                <a:gd name="connsiteX541" fmla="*/ 237894 w 665288"/>
                <a:gd name="connsiteY541" fmla="*/ 998811 h 1128525"/>
                <a:gd name="connsiteX542" fmla="*/ 231039 w 665288"/>
                <a:gd name="connsiteY542" fmla="*/ 1000483 h 1128525"/>
                <a:gd name="connsiteX543" fmla="*/ 218784 w 665288"/>
                <a:gd name="connsiteY543" fmla="*/ 998912 h 1128525"/>
                <a:gd name="connsiteX544" fmla="*/ 201984 w 665288"/>
                <a:gd name="connsiteY544" fmla="*/ 990524 h 1128525"/>
                <a:gd name="connsiteX545" fmla="*/ 189609 w 665288"/>
                <a:gd name="connsiteY545" fmla="*/ 985105 h 1128525"/>
                <a:gd name="connsiteX546" fmla="*/ 174092 w 665288"/>
                <a:gd name="connsiteY546" fmla="*/ 985105 h 1128525"/>
                <a:gd name="connsiteX547" fmla="*/ 167892 w 665288"/>
                <a:gd name="connsiteY547" fmla="*/ 985105 h 1128525"/>
                <a:gd name="connsiteX548" fmla="*/ 149670 w 665288"/>
                <a:gd name="connsiteY548" fmla="*/ 1000850 h 1128525"/>
                <a:gd name="connsiteX549" fmla="*/ 139725 w 665288"/>
                <a:gd name="connsiteY549" fmla="*/ 1008741 h 1128525"/>
                <a:gd name="connsiteX550" fmla="*/ 132884 w 665288"/>
                <a:gd name="connsiteY550" fmla="*/ 1007960 h 1128525"/>
                <a:gd name="connsiteX551" fmla="*/ 126299 w 665288"/>
                <a:gd name="connsiteY551" fmla="*/ 1004981 h 1128525"/>
                <a:gd name="connsiteX552" fmla="*/ 116735 w 665288"/>
                <a:gd name="connsiteY552" fmla="*/ 1027474 h 1128525"/>
                <a:gd name="connsiteX553" fmla="*/ 112483 w 665288"/>
                <a:gd name="connsiteY553" fmla="*/ 1035197 h 1128525"/>
                <a:gd name="connsiteX554" fmla="*/ 94536 w 665288"/>
                <a:gd name="connsiteY554" fmla="*/ 1047741 h 1128525"/>
                <a:gd name="connsiteX555" fmla="*/ 91320 w 665288"/>
                <a:gd name="connsiteY555" fmla="*/ 1053294 h 1128525"/>
                <a:gd name="connsiteX556" fmla="*/ 78767 w 665288"/>
                <a:gd name="connsiteY556" fmla="*/ 1056659 h 1128525"/>
                <a:gd name="connsiteX557" fmla="*/ 76429 w 665288"/>
                <a:gd name="connsiteY557" fmla="*/ 1061036 h 1128525"/>
                <a:gd name="connsiteX558" fmla="*/ 69979 w 665288"/>
                <a:gd name="connsiteY558" fmla="*/ 1057537 h 1128525"/>
                <a:gd name="connsiteX559" fmla="*/ 67405 w 665288"/>
                <a:gd name="connsiteY559" fmla="*/ 1063239 h 1128525"/>
                <a:gd name="connsiteX560" fmla="*/ 54871 w 665288"/>
                <a:gd name="connsiteY560" fmla="*/ 1074848 h 1128525"/>
                <a:gd name="connsiteX561" fmla="*/ 32035 w 665288"/>
                <a:gd name="connsiteY561" fmla="*/ 1090737 h 1128525"/>
                <a:gd name="connsiteX562" fmla="*/ 26081 w 665288"/>
                <a:gd name="connsiteY562" fmla="*/ 1095273 h 1128525"/>
                <a:gd name="connsiteX563" fmla="*/ 19636 w 665288"/>
                <a:gd name="connsiteY563" fmla="*/ 1091662 h 1128525"/>
                <a:gd name="connsiteX564" fmla="*/ 6 w 665288"/>
                <a:gd name="connsiteY564" fmla="*/ 1103656 h 1128525"/>
                <a:gd name="connsiteX565" fmla="*/ 6837 w 665288"/>
                <a:gd name="connsiteY565" fmla="*/ 1111519 h 1128525"/>
                <a:gd name="connsiteX566" fmla="*/ 19882 w 665288"/>
                <a:gd name="connsiteY566" fmla="*/ 1103545 h 1128525"/>
                <a:gd name="connsiteX567" fmla="*/ 35250 w 665288"/>
                <a:gd name="connsiteY567" fmla="*/ 1118745 h 1128525"/>
                <a:gd name="connsiteX568" fmla="*/ 38606 w 665288"/>
                <a:gd name="connsiteY568" fmla="*/ 1127948 h 1128525"/>
                <a:gd name="connsiteX569" fmla="*/ 44280 w 665288"/>
                <a:gd name="connsiteY569" fmla="*/ 1125354 h 1128525"/>
                <a:gd name="connsiteX570" fmla="*/ 50233 w 665288"/>
                <a:gd name="connsiteY570" fmla="*/ 1124583 h 1128525"/>
                <a:gd name="connsiteX571" fmla="*/ 53198 w 665288"/>
                <a:gd name="connsiteY571" fmla="*/ 1117892 h 1128525"/>
                <a:gd name="connsiteX572" fmla="*/ 51520 w 665288"/>
                <a:gd name="connsiteY572" fmla="*/ 1111900 h 1128525"/>
                <a:gd name="connsiteX573" fmla="*/ 56683 w 665288"/>
                <a:gd name="connsiteY573" fmla="*/ 1108433 h 1128525"/>
                <a:gd name="connsiteX574" fmla="*/ 59653 w 665288"/>
                <a:gd name="connsiteY574" fmla="*/ 1102755 h 1128525"/>
                <a:gd name="connsiteX575" fmla="*/ 61726 w 665288"/>
                <a:gd name="connsiteY575" fmla="*/ 1109263 h 1128525"/>
                <a:gd name="connsiteX576" fmla="*/ 79027 w 665288"/>
                <a:gd name="connsiteY576" fmla="*/ 1101583 h 1128525"/>
                <a:gd name="connsiteX577" fmla="*/ 88461 w 665288"/>
                <a:gd name="connsiteY577" fmla="*/ 1089474 h 1128525"/>
                <a:gd name="connsiteX578" fmla="*/ 95307 w 665288"/>
                <a:gd name="connsiteY578" fmla="*/ 1092405 h 1128525"/>
                <a:gd name="connsiteX579" fmla="*/ 101260 w 665288"/>
                <a:gd name="connsiteY579" fmla="*/ 1092029 h 1128525"/>
                <a:gd name="connsiteX580" fmla="*/ 107455 w 665288"/>
                <a:gd name="connsiteY580" fmla="*/ 1093711 h 1128525"/>
                <a:gd name="connsiteX581" fmla="*/ 123195 w 665288"/>
                <a:gd name="connsiteY581" fmla="*/ 1092178 h 1128525"/>
                <a:gd name="connsiteX582" fmla="*/ 132624 w 665288"/>
                <a:gd name="connsiteY582" fmla="*/ 1095148 h 1128525"/>
                <a:gd name="connsiteX583" fmla="*/ 132229 w 665288"/>
                <a:gd name="connsiteY583" fmla="*/ 1088432 h 1128525"/>
                <a:gd name="connsiteX584" fmla="*/ 135733 w 665288"/>
                <a:gd name="connsiteY584" fmla="*/ 1081331 h 1128525"/>
                <a:gd name="connsiteX585" fmla="*/ 138713 w 665288"/>
                <a:gd name="connsiteY585" fmla="*/ 1081462 h 1128525"/>
                <a:gd name="connsiteX586" fmla="*/ 137411 w 665288"/>
                <a:gd name="connsiteY586" fmla="*/ 1091503 h 1128525"/>
                <a:gd name="connsiteX587" fmla="*/ 141542 w 665288"/>
                <a:gd name="connsiteY587" fmla="*/ 1097838 h 1128525"/>
                <a:gd name="connsiteX588" fmla="*/ 144767 w 665288"/>
                <a:gd name="connsiteY588" fmla="*/ 1102514 h 1128525"/>
                <a:gd name="connsiteX589" fmla="*/ 154592 w 665288"/>
                <a:gd name="connsiteY589" fmla="*/ 1106206 h 1128525"/>
                <a:gd name="connsiteX590" fmla="*/ 165684 w 665288"/>
                <a:gd name="connsiteY590" fmla="*/ 1120162 h 1128525"/>
                <a:gd name="connsiteX591" fmla="*/ 172414 w 665288"/>
                <a:gd name="connsiteY591" fmla="*/ 1121589 h 1128525"/>
                <a:gd name="connsiteX592" fmla="*/ 177187 w 665288"/>
                <a:gd name="connsiteY592" fmla="*/ 1115144 h 1128525"/>
                <a:gd name="connsiteX593" fmla="*/ 179520 w 665288"/>
                <a:gd name="connsiteY593" fmla="*/ 1109981 h 1128525"/>
                <a:gd name="connsiteX594" fmla="*/ 192030 w 665288"/>
                <a:gd name="connsiteY594" fmla="*/ 1101853 h 1128525"/>
                <a:gd name="connsiteX595" fmla="*/ 189074 w 665288"/>
                <a:gd name="connsiteY595" fmla="*/ 1095143 h 1128525"/>
                <a:gd name="connsiteX596" fmla="*/ 194102 w 665288"/>
                <a:gd name="connsiteY596" fmla="*/ 1089035 h 1128525"/>
                <a:gd name="connsiteX597" fmla="*/ 196412 w 665288"/>
                <a:gd name="connsiteY597" fmla="*/ 1081462 h 1128525"/>
                <a:gd name="connsiteX598" fmla="*/ 202355 w 665288"/>
                <a:gd name="connsiteY598" fmla="*/ 1063890 h 1128525"/>
                <a:gd name="connsiteX599" fmla="*/ 208700 w 665288"/>
                <a:gd name="connsiteY599" fmla="*/ 1073681 h 1128525"/>
                <a:gd name="connsiteX600" fmla="*/ 215535 w 665288"/>
                <a:gd name="connsiteY600" fmla="*/ 1071531 h 1128525"/>
                <a:gd name="connsiteX601" fmla="*/ 221330 w 665288"/>
                <a:gd name="connsiteY601" fmla="*/ 1067356 h 1128525"/>
                <a:gd name="connsiteX602" fmla="*/ 235175 w 665288"/>
                <a:gd name="connsiteY602" fmla="*/ 1066218 h 1128525"/>
                <a:gd name="connsiteX603" fmla="*/ 239952 w 665288"/>
                <a:gd name="connsiteY603" fmla="*/ 1067241 h 1128525"/>
                <a:gd name="connsiteX604" fmla="*/ 248094 w 665288"/>
                <a:gd name="connsiteY604" fmla="*/ 1064637 h 1128525"/>
                <a:gd name="connsiteX605" fmla="*/ 283189 w 665288"/>
                <a:gd name="connsiteY605" fmla="*/ 1098498 h 1128525"/>
                <a:gd name="connsiteX606" fmla="*/ 287094 w 665288"/>
                <a:gd name="connsiteY606" fmla="*/ 1084402 h 1128525"/>
                <a:gd name="connsiteX607" fmla="*/ 291862 w 665288"/>
                <a:gd name="connsiteY607" fmla="*/ 1084296 h 1128525"/>
                <a:gd name="connsiteX608" fmla="*/ 309544 w 665288"/>
                <a:gd name="connsiteY608" fmla="*/ 1089835 h 1128525"/>
                <a:gd name="connsiteX609" fmla="*/ 321962 w 665288"/>
                <a:gd name="connsiteY609" fmla="*/ 1095143 h 1128525"/>
                <a:gd name="connsiteX610" fmla="*/ 327896 w 665288"/>
                <a:gd name="connsiteY610" fmla="*/ 1090086 h 1128525"/>
                <a:gd name="connsiteX611" fmla="*/ 319369 w 665288"/>
                <a:gd name="connsiteY611" fmla="*/ 1078858 h 1128525"/>
                <a:gd name="connsiteX612" fmla="*/ 332278 w 665288"/>
                <a:gd name="connsiteY612" fmla="*/ 1081944 h 1128525"/>
                <a:gd name="connsiteX613" fmla="*/ 338743 w 665288"/>
                <a:gd name="connsiteY613" fmla="*/ 1080415 h 1128525"/>
                <a:gd name="connsiteX614" fmla="*/ 344687 w 665288"/>
                <a:gd name="connsiteY614" fmla="*/ 1082223 h 1128525"/>
                <a:gd name="connsiteX615" fmla="*/ 352294 w 665288"/>
                <a:gd name="connsiteY615" fmla="*/ 1081327 h 1128525"/>
                <a:gd name="connsiteX616" fmla="*/ 359289 w 665288"/>
                <a:gd name="connsiteY616" fmla="*/ 1083911 h 1128525"/>
                <a:gd name="connsiteX617" fmla="*/ 366636 w 665288"/>
                <a:gd name="connsiteY617" fmla="*/ 1080666 h 1128525"/>
                <a:gd name="connsiteX618" fmla="*/ 382915 w 665288"/>
                <a:gd name="connsiteY618" fmla="*/ 1074211 h 1128525"/>
                <a:gd name="connsiteX619" fmla="*/ 376846 w 665288"/>
                <a:gd name="connsiteY619" fmla="*/ 1061292 h 1128525"/>
                <a:gd name="connsiteX620" fmla="*/ 385620 w 665288"/>
                <a:gd name="connsiteY620" fmla="*/ 1071637 h 1128525"/>
                <a:gd name="connsiteX621" fmla="*/ 399841 w 665288"/>
                <a:gd name="connsiteY621" fmla="*/ 1079244 h 1128525"/>
                <a:gd name="connsiteX622" fmla="*/ 400352 w 665288"/>
                <a:gd name="connsiteY622" fmla="*/ 1073295 h 1128525"/>
                <a:gd name="connsiteX623" fmla="*/ 404729 w 665288"/>
                <a:gd name="connsiteY623" fmla="*/ 1075378 h 1128525"/>
                <a:gd name="connsiteX624" fmla="*/ 406291 w 665288"/>
                <a:gd name="connsiteY624" fmla="*/ 1081944 h 1128525"/>
                <a:gd name="connsiteX625" fmla="*/ 411960 w 665288"/>
                <a:gd name="connsiteY625" fmla="*/ 1075098 h 1128525"/>
                <a:gd name="connsiteX626" fmla="*/ 417253 w 665288"/>
                <a:gd name="connsiteY626" fmla="*/ 1078063 h 1128525"/>
                <a:gd name="connsiteX627" fmla="*/ 422426 w 665288"/>
                <a:gd name="connsiteY627" fmla="*/ 1089469 h 1128525"/>
                <a:gd name="connsiteX628" fmla="*/ 455737 w 665288"/>
                <a:gd name="connsiteY628" fmla="*/ 1087618 h 1128525"/>
                <a:gd name="connsiteX629" fmla="*/ 463392 w 665288"/>
                <a:gd name="connsiteY629" fmla="*/ 1087439 h 112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Lst>
              <a:rect l="l" t="t" r="r" b="b"/>
              <a:pathLst>
                <a:path w="665288" h="1128525">
                  <a:moveTo>
                    <a:pt x="463392" y="1087439"/>
                  </a:moveTo>
                  <a:cubicBezTo>
                    <a:pt x="468579" y="1085863"/>
                    <a:pt x="476991" y="1085381"/>
                    <a:pt x="482858" y="1088640"/>
                  </a:cubicBezTo>
                  <a:cubicBezTo>
                    <a:pt x="488706" y="1091893"/>
                    <a:pt x="495271" y="1095008"/>
                    <a:pt x="495271" y="1095008"/>
                  </a:cubicBezTo>
                  <a:cubicBezTo>
                    <a:pt x="495271" y="1095008"/>
                    <a:pt x="511093" y="1104288"/>
                    <a:pt x="512997" y="1102933"/>
                  </a:cubicBezTo>
                  <a:cubicBezTo>
                    <a:pt x="514897" y="1101550"/>
                    <a:pt x="524707" y="1092949"/>
                    <a:pt x="531933" y="1092626"/>
                  </a:cubicBezTo>
                  <a:cubicBezTo>
                    <a:pt x="539164" y="1092255"/>
                    <a:pt x="549162" y="1090876"/>
                    <a:pt x="551033" y="1088784"/>
                  </a:cubicBezTo>
                  <a:cubicBezTo>
                    <a:pt x="552937" y="1086726"/>
                    <a:pt x="560298" y="1080502"/>
                    <a:pt x="563663" y="1083453"/>
                  </a:cubicBezTo>
                  <a:cubicBezTo>
                    <a:pt x="567023" y="1086437"/>
                    <a:pt x="571795" y="1087868"/>
                    <a:pt x="576307" y="1086326"/>
                  </a:cubicBezTo>
                  <a:cubicBezTo>
                    <a:pt x="577869" y="1085545"/>
                    <a:pt x="577455" y="1085414"/>
                    <a:pt x="576949" y="1083347"/>
                  </a:cubicBezTo>
                  <a:cubicBezTo>
                    <a:pt x="576447" y="1081303"/>
                    <a:pt x="576949" y="1071502"/>
                    <a:pt x="590264" y="1068523"/>
                  </a:cubicBezTo>
                  <a:cubicBezTo>
                    <a:pt x="603554" y="1065534"/>
                    <a:pt x="615066" y="1061518"/>
                    <a:pt x="616233" y="1055840"/>
                  </a:cubicBezTo>
                  <a:cubicBezTo>
                    <a:pt x="617385" y="1050166"/>
                    <a:pt x="618156" y="1047842"/>
                    <a:pt x="616729" y="1042660"/>
                  </a:cubicBezTo>
                  <a:cubicBezTo>
                    <a:pt x="616233" y="1041001"/>
                    <a:pt x="617004" y="1040081"/>
                    <a:pt x="618156" y="1039059"/>
                  </a:cubicBezTo>
                  <a:cubicBezTo>
                    <a:pt x="619323" y="1038051"/>
                    <a:pt x="622427" y="1035168"/>
                    <a:pt x="620991" y="1033635"/>
                  </a:cubicBezTo>
                  <a:cubicBezTo>
                    <a:pt x="619583" y="1032073"/>
                    <a:pt x="619178" y="1028858"/>
                    <a:pt x="614545" y="1028858"/>
                  </a:cubicBezTo>
                  <a:cubicBezTo>
                    <a:pt x="609893" y="1028858"/>
                    <a:pt x="602142" y="1029374"/>
                    <a:pt x="598531" y="1028472"/>
                  </a:cubicBezTo>
                  <a:cubicBezTo>
                    <a:pt x="594906" y="1027585"/>
                    <a:pt x="592467" y="1028193"/>
                    <a:pt x="589362" y="1029374"/>
                  </a:cubicBezTo>
                  <a:cubicBezTo>
                    <a:pt x="586267" y="1030540"/>
                    <a:pt x="578896" y="1031813"/>
                    <a:pt x="569346" y="1027585"/>
                  </a:cubicBezTo>
                  <a:cubicBezTo>
                    <a:pt x="566121" y="1026009"/>
                    <a:pt x="563152" y="1023030"/>
                    <a:pt x="559922" y="1022553"/>
                  </a:cubicBezTo>
                  <a:cubicBezTo>
                    <a:pt x="556702" y="1022013"/>
                    <a:pt x="547774" y="1018513"/>
                    <a:pt x="551269" y="1017886"/>
                  </a:cubicBezTo>
                  <a:cubicBezTo>
                    <a:pt x="554744" y="1017221"/>
                    <a:pt x="555270" y="1016199"/>
                    <a:pt x="557458" y="1014266"/>
                  </a:cubicBezTo>
                  <a:cubicBezTo>
                    <a:pt x="559671" y="1012328"/>
                    <a:pt x="561469" y="1011176"/>
                    <a:pt x="559011" y="1009749"/>
                  </a:cubicBezTo>
                  <a:cubicBezTo>
                    <a:pt x="556557" y="1008312"/>
                    <a:pt x="551004" y="1006369"/>
                    <a:pt x="536932" y="1011691"/>
                  </a:cubicBezTo>
                  <a:cubicBezTo>
                    <a:pt x="537694" y="1009985"/>
                    <a:pt x="538880" y="1009484"/>
                    <a:pt x="540789" y="1007430"/>
                  </a:cubicBezTo>
                  <a:cubicBezTo>
                    <a:pt x="542741" y="1005338"/>
                    <a:pt x="545706" y="1003530"/>
                    <a:pt x="548285" y="1003805"/>
                  </a:cubicBezTo>
                  <a:cubicBezTo>
                    <a:pt x="550888" y="1004060"/>
                    <a:pt x="557979" y="1004566"/>
                    <a:pt x="560684" y="1003419"/>
                  </a:cubicBezTo>
                  <a:cubicBezTo>
                    <a:pt x="563398" y="1002243"/>
                    <a:pt x="564550" y="1003048"/>
                    <a:pt x="566767" y="1003921"/>
                  </a:cubicBezTo>
                  <a:cubicBezTo>
                    <a:pt x="568961" y="1004846"/>
                    <a:pt x="571925" y="1005617"/>
                    <a:pt x="575536" y="1003289"/>
                  </a:cubicBezTo>
                  <a:cubicBezTo>
                    <a:pt x="579157" y="1000951"/>
                    <a:pt x="585091" y="997359"/>
                    <a:pt x="584454" y="994650"/>
                  </a:cubicBezTo>
                  <a:cubicBezTo>
                    <a:pt x="583823" y="991907"/>
                    <a:pt x="584454" y="987265"/>
                    <a:pt x="585356" y="985197"/>
                  </a:cubicBezTo>
                  <a:cubicBezTo>
                    <a:pt x="586272" y="983138"/>
                    <a:pt x="584961" y="976958"/>
                    <a:pt x="581234" y="979137"/>
                  </a:cubicBezTo>
                  <a:cubicBezTo>
                    <a:pt x="577465" y="981345"/>
                    <a:pt x="571930" y="984175"/>
                    <a:pt x="570248" y="982097"/>
                  </a:cubicBezTo>
                  <a:cubicBezTo>
                    <a:pt x="568565" y="980044"/>
                    <a:pt x="567148" y="977566"/>
                    <a:pt x="568961" y="977334"/>
                  </a:cubicBezTo>
                  <a:cubicBezTo>
                    <a:pt x="570759" y="977059"/>
                    <a:pt x="574129" y="976168"/>
                    <a:pt x="577739" y="976558"/>
                  </a:cubicBezTo>
                  <a:cubicBezTo>
                    <a:pt x="579022" y="976428"/>
                    <a:pt x="580704" y="976038"/>
                    <a:pt x="582271" y="973723"/>
                  </a:cubicBezTo>
                  <a:cubicBezTo>
                    <a:pt x="583818" y="971400"/>
                    <a:pt x="591286" y="963759"/>
                    <a:pt x="592057" y="966864"/>
                  </a:cubicBezTo>
                  <a:cubicBezTo>
                    <a:pt x="592852" y="969988"/>
                    <a:pt x="594530" y="971660"/>
                    <a:pt x="594530" y="971660"/>
                  </a:cubicBezTo>
                  <a:lnTo>
                    <a:pt x="600464" y="975247"/>
                  </a:lnTo>
                  <a:cubicBezTo>
                    <a:pt x="600464" y="975247"/>
                    <a:pt x="608727" y="976433"/>
                    <a:pt x="617255" y="963393"/>
                  </a:cubicBezTo>
                  <a:cubicBezTo>
                    <a:pt x="614020" y="962207"/>
                    <a:pt x="611706" y="960283"/>
                    <a:pt x="611706" y="960283"/>
                  </a:cubicBezTo>
                  <a:lnTo>
                    <a:pt x="612868" y="955376"/>
                  </a:lnTo>
                  <a:lnTo>
                    <a:pt x="600720" y="951780"/>
                  </a:lnTo>
                  <a:lnTo>
                    <a:pt x="615698" y="952045"/>
                  </a:lnTo>
                  <a:lnTo>
                    <a:pt x="614647" y="946173"/>
                  </a:lnTo>
                  <a:cubicBezTo>
                    <a:pt x="614647" y="946173"/>
                    <a:pt x="618281" y="952802"/>
                    <a:pt x="620099" y="952903"/>
                  </a:cubicBezTo>
                  <a:cubicBezTo>
                    <a:pt x="621911" y="953062"/>
                    <a:pt x="623960" y="953968"/>
                    <a:pt x="626154" y="952045"/>
                  </a:cubicBezTo>
                  <a:cubicBezTo>
                    <a:pt x="628357" y="950092"/>
                    <a:pt x="637646" y="941174"/>
                    <a:pt x="637646" y="941174"/>
                  </a:cubicBezTo>
                  <a:cubicBezTo>
                    <a:pt x="637646" y="941174"/>
                    <a:pt x="643079" y="940519"/>
                    <a:pt x="644111" y="938335"/>
                  </a:cubicBezTo>
                  <a:cubicBezTo>
                    <a:pt x="645142" y="936113"/>
                    <a:pt x="649158" y="926572"/>
                    <a:pt x="649158" y="926572"/>
                  </a:cubicBezTo>
                  <a:lnTo>
                    <a:pt x="650556" y="914192"/>
                  </a:lnTo>
                  <a:cubicBezTo>
                    <a:pt x="650556" y="914192"/>
                    <a:pt x="658187" y="903857"/>
                    <a:pt x="658843" y="901003"/>
                  </a:cubicBezTo>
                  <a:cubicBezTo>
                    <a:pt x="659474" y="898159"/>
                    <a:pt x="665288" y="887346"/>
                    <a:pt x="665288" y="887346"/>
                  </a:cubicBezTo>
                  <a:cubicBezTo>
                    <a:pt x="665288" y="887346"/>
                    <a:pt x="663080" y="880751"/>
                    <a:pt x="664126" y="876360"/>
                  </a:cubicBezTo>
                  <a:cubicBezTo>
                    <a:pt x="665158" y="871934"/>
                    <a:pt x="668127" y="855949"/>
                    <a:pt x="653545" y="842243"/>
                  </a:cubicBezTo>
                  <a:cubicBezTo>
                    <a:pt x="641913" y="831146"/>
                    <a:pt x="638177" y="821722"/>
                    <a:pt x="605106" y="817706"/>
                  </a:cubicBezTo>
                  <a:cubicBezTo>
                    <a:pt x="603554" y="817605"/>
                    <a:pt x="598912" y="815007"/>
                    <a:pt x="598912" y="815007"/>
                  </a:cubicBezTo>
                  <a:cubicBezTo>
                    <a:pt x="598912" y="815007"/>
                    <a:pt x="591686" y="814216"/>
                    <a:pt x="586528" y="811010"/>
                  </a:cubicBezTo>
                  <a:cubicBezTo>
                    <a:pt x="579152" y="812432"/>
                    <a:pt x="572687" y="812924"/>
                    <a:pt x="572687" y="812924"/>
                  </a:cubicBezTo>
                  <a:lnTo>
                    <a:pt x="567524" y="819654"/>
                  </a:lnTo>
                  <a:lnTo>
                    <a:pt x="557574" y="837085"/>
                  </a:lnTo>
                  <a:lnTo>
                    <a:pt x="556427" y="833590"/>
                  </a:lnTo>
                  <a:cubicBezTo>
                    <a:pt x="556427" y="833590"/>
                    <a:pt x="549572" y="829980"/>
                    <a:pt x="546472" y="829714"/>
                  </a:cubicBezTo>
                  <a:cubicBezTo>
                    <a:pt x="543387" y="829440"/>
                    <a:pt x="542625" y="825318"/>
                    <a:pt x="542485" y="823221"/>
                  </a:cubicBezTo>
                  <a:cubicBezTo>
                    <a:pt x="542360" y="821201"/>
                    <a:pt x="537057" y="816790"/>
                    <a:pt x="534227" y="817301"/>
                  </a:cubicBezTo>
                  <a:cubicBezTo>
                    <a:pt x="531374" y="817817"/>
                    <a:pt x="529310" y="817586"/>
                    <a:pt x="529310" y="817586"/>
                  </a:cubicBezTo>
                  <a:cubicBezTo>
                    <a:pt x="529310" y="817586"/>
                    <a:pt x="529961" y="814076"/>
                    <a:pt x="532155" y="813430"/>
                  </a:cubicBezTo>
                  <a:cubicBezTo>
                    <a:pt x="534363" y="812789"/>
                    <a:pt x="538884" y="809289"/>
                    <a:pt x="539887" y="807260"/>
                  </a:cubicBezTo>
                  <a:cubicBezTo>
                    <a:pt x="540938" y="805177"/>
                    <a:pt x="550237" y="797801"/>
                    <a:pt x="557579" y="794851"/>
                  </a:cubicBezTo>
                  <a:cubicBezTo>
                    <a:pt x="559917" y="793308"/>
                    <a:pt x="563402" y="782052"/>
                    <a:pt x="562626" y="778321"/>
                  </a:cubicBezTo>
                  <a:cubicBezTo>
                    <a:pt x="561855" y="774566"/>
                    <a:pt x="557073" y="751966"/>
                    <a:pt x="557073" y="751966"/>
                  </a:cubicBezTo>
                  <a:cubicBezTo>
                    <a:pt x="557073" y="751966"/>
                    <a:pt x="550097" y="740069"/>
                    <a:pt x="540547" y="732471"/>
                  </a:cubicBezTo>
                  <a:cubicBezTo>
                    <a:pt x="538875" y="730273"/>
                    <a:pt x="540027" y="730924"/>
                    <a:pt x="536787" y="728354"/>
                  </a:cubicBezTo>
                  <a:cubicBezTo>
                    <a:pt x="533562" y="725751"/>
                    <a:pt x="524148" y="715430"/>
                    <a:pt x="522701" y="709231"/>
                  </a:cubicBezTo>
                  <a:cubicBezTo>
                    <a:pt x="522084" y="707929"/>
                    <a:pt x="519491" y="704829"/>
                    <a:pt x="514699" y="705726"/>
                  </a:cubicBezTo>
                  <a:cubicBezTo>
                    <a:pt x="509931" y="706647"/>
                    <a:pt x="509420" y="705205"/>
                    <a:pt x="505665" y="706517"/>
                  </a:cubicBezTo>
                  <a:cubicBezTo>
                    <a:pt x="501938" y="707804"/>
                    <a:pt x="500998" y="707804"/>
                    <a:pt x="500242" y="706107"/>
                  </a:cubicBezTo>
                  <a:cubicBezTo>
                    <a:pt x="499465" y="704453"/>
                    <a:pt x="496366" y="700823"/>
                    <a:pt x="493546" y="702780"/>
                  </a:cubicBezTo>
                  <a:cubicBezTo>
                    <a:pt x="490673" y="704680"/>
                    <a:pt x="486941" y="704453"/>
                    <a:pt x="487081" y="702887"/>
                  </a:cubicBezTo>
                  <a:cubicBezTo>
                    <a:pt x="487187" y="701339"/>
                    <a:pt x="493271" y="696798"/>
                    <a:pt x="497667" y="700023"/>
                  </a:cubicBezTo>
                  <a:cubicBezTo>
                    <a:pt x="502054" y="703296"/>
                    <a:pt x="508360" y="704680"/>
                    <a:pt x="512756" y="702641"/>
                  </a:cubicBezTo>
                  <a:cubicBezTo>
                    <a:pt x="517143" y="700548"/>
                    <a:pt x="523357" y="701204"/>
                    <a:pt x="526842" y="706907"/>
                  </a:cubicBezTo>
                  <a:cubicBezTo>
                    <a:pt x="530332" y="712586"/>
                    <a:pt x="535235" y="719422"/>
                    <a:pt x="537043" y="718650"/>
                  </a:cubicBezTo>
                  <a:cubicBezTo>
                    <a:pt x="538865" y="717874"/>
                    <a:pt x="542471" y="717739"/>
                    <a:pt x="542471" y="717739"/>
                  </a:cubicBezTo>
                  <a:lnTo>
                    <a:pt x="549181" y="720193"/>
                  </a:lnTo>
                  <a:lnTo>
                    <a:pt x="552922" y="726513"/>
                  </a:lnTo>
                  <a:lnTo>
                    <a:pt x="552922" y="719142"/>
                  </a:lnTo>
                  <a:cubicBezTo>
                    <a:pt x="552922" y="719142"/>
                    <a:pt x="517138" y="666216"/>
                    <a:pt x="541550" y="651353"/>
                  </a:cubicBezTo>
                  <a:cubicBezTo>
                    <a:pt x="538079" y="649545"/>
                    <a:pt x="534980" y="647733"/>
                    <a:pt x="534980" y="647733"/>
                  </a:cubicBezTo>
                  <a:cubicBezTo>
                    <a:pt x="534980" y="647733"/>
                    <a:pt x="522952" y="634071"/>
                    <a:pt x="521405" y="623711"/>
                  </a:cubicBezTo>
                  <a:cubicBezTo>
                    <a:pt x="519862" y="613409"/>
                    <a:pt x="517273" y="605253"/>
                    <a:pt x="511228" y="599588"/>
                  </a:cubicBezTo>
                  <a:cubicBezTo>
                    <a:pt x="505135" y="593895"/>
                    <a:pt x="496361" y="587064"/>
                    <a:pt x="496361" y="587064"/>
                  </a:cubicBezTo>
                  <a:cubicBezTo>
                    <a:pt x="496361" y="587064"/>
                    <a:pt x="482540" y="581622"/>
                    <a:pt x="481503" y="580469"/>
                  </a:cubicBezTo>
                  <a:cubicBezTo>
                    <a:pt x="480462" y="579293"/>
                    <a:pt x="475960" y="576854"/>
                    <a:pt x="475960" y="576854"/>
                  </a:cubicBezTo>
                  <a:cubicBezTo>
                    <a:pt x="475960" y="576854"/>
                    <a:pt x="470792" y="578503"/>
                    <a:pt x="469871" y="577244"/>
                  </a:cubicBezTo>
                  <a:cubicBezTo>
                    <a:pt x="468984" y="575933"/>
                    <a:pt x="467543" y="575056"/>
                    <a:pt x="468348" y="572318"/>
                  </a:cubicBezTo>
                  <a:cubicBezTo>
                    <a:pt x="469095" y="569604"/>
                    <a:pt x="470396" y="568471"/>
                    <a:pt x="468849" y="566523"/>
                  </a:cubicBezTo>
                  <a:cubicBezTo>
                    <a:pt x="467297" y="564547"/>
                    <a:pt x="456335" y="542097"/>
                    <a:pt x="462529" y="528415"/>
                  </a:cubicBezTo>
                  <a:cubicBezTo>
                    <a:pt x="459936" y="525065"/>
                    <a:pt x="458258" y="521546"/>
                    <a:pt x="458258" y="521546"/>
                  </a:cubicBezTo>
                  <a:cubicBezTo>
                    <a:pt x="458258" y="521546"/>
                    <a:pt x="458379" y="512791"/>
                    <a:pt x="456961" y="511982"/>
                  </a:cubicBezTo>
                  <a:cubicBezTo>
                    <a:pt x="455544" y="511263"/>
                    <a:pt x="454908" y="510593"/>
                    <a:pt x="454763" y="508135"/>
                  </a:cubicBezTo>
                  <a:cubicBezTo>
                    <a:pt x="454647" y="505700"/>
                    <a:pt x="455544" y="505806"/>
                    <a:pt x="454763" y="503762"/>
                  </a:cubicBezTo>
                  <a:cubicBezTo>
                    <a:pt x="453982" y="501661"/>
                    <a:pt x="453982" y="501564"/>
                    <a:pt x="454763" y="499216"/>
                  </a:cubicBezTo>
                  <a:cubicBezTo>
                    <a:pt x="455544" y="496917"/>
                    <a:pt x="456715" y="495365"/>
                    <a:pt x="454908" y="492135"/>
                  </a:cubicBezTo>
                  <a:cubicBezTo>
                    <a:pt x="453105" y="488900"/>
                    <a:pt x="452179" y="484778"/>
                    <a:pt x="452844" y="483221"/>
                  </a:cubicBezTo>
                  <a:cubicBezTo>
                    <a:pt x="453481" y="481645"/>
                    <a:pt x="454257" y="478029"/>
                    <a:pt x="454257" y="478029"/>
                  </a:cubicBezTo>
                  <a:lnTo>
                    <a:pt x="453105" y="472105"/>
                  </a:lnTo>
                  <a:cubicBezTo>
                    <a:pt x="453105" y="472105"/>
                    <a:pt x="457217" y="463316"/>
                    <a:pt x="453987" y="455700"/>
                  </a:cubicBezTo>
                  <a:cubicBezTo>
                    <a:pt x="452449" y="452860"/>
                    <a:pt x="456720" y="444598"/>
                    <a:pt x="450641" y="440322"/>
                  </a:cubicBezTo>
                  <a:cubicBezTo>
                    <a:pt x="444572" y="436065"/>
                    <a:pt x="440176" y="432970"/>
                    <a:pt x="440176" y="432970"/>
                  </a:cubicBezTo>
                  <a:cubicBezTo>
                    <a:pt x="440176" y="432970"/>
                    <a:pt x="424036" y="393064"/>
                    <a:pt x="418617" y="391768"/>
                  </a:cubicBezTo>
                  <a:cubicBezTo>
                    <a:pt x="413189" y="390476"/>
                    <a:pt x="413811" y="391768"/>
                    <a:pt x="409954" y="388432"/>
                  </a:cubicBezTo>
                  <a:cubicBezTo>
                    <a:pt x="406088" y="385057"/>
                    <a:pt x="393058" y="373430"/>
                    <a:pt x="393058" y="373430"/>
                  </a:cubicBezTo>
                  <a:lnTo>
                    <a:pt x="387615" y="367775"/>
                  </a:lnTo>
                  <a:cubicBezTo>
                    <a:pt x="387615" y="367775"/>
                    <a:pt x="376643" y="365422"/>
                    <a:pt x="375621" y="367510"/>
                  </a:cubicBezTo>
                  <a:cubicBezTo>
                    <a:pt x="374590" y="369597"/>
                    <a:pt x="365411" y="378602"/>
                    <a:pt x="358947" y="377802"/>
                  </a:cubicBezTo>
                  <a:cubicBezTo>
                    <a:pt x="355977" y="377320"/>
                    <a:pt x="343458" y="372422"/>
                    <a:pt x="339818" y="371260"/>
                  </a:cubicBezTo>
                  <a:cubicBezTo>
                    <a:pt x="336212" y="370084"/>
                    <a:pt x="320207" y="361956"/>
                    <a:pt x="316958" y="361956"/>
                  </a:cubicBezTo>
                  <a:cubicBezTo>
                    <a:pt x="313748" y="361956"/>
                    <a:pt x="312200" y="361306"/>
                    <a:pt x="311429" y="360018"/>
                  </a:cubicBezTo>
                  <a:cubicBezTo>
                    <a:pt x="310648" y="358707"/>
                    <a:pt x="306242" y="350334"/>
                    <a:pt x="302761" y="346689"/>
                  </a:cubicBezTo>
                  <a:cubicBezTo>
                    <a:pt x="309337" y="352898"/>
                    <a:pt x="311559" y="356779"/>
                    <a:pt x="314529" y="355897"/>
                  </a:cubicBezTo>
                  <a:cubicBezTo>
                    <a:pt x="317493" y="354976"/>
                    <a:pt x="319952" y="355993"/>
                    <a:pt x="321499" y="357565"/>
                  </a:cubicBezTo>
                  <a:cubicBezTo>
                    <a:pt x="323052" y="359107"/>
                    <a:pt x="332732" y="365422"/>
                    <a:pt x="333643" y="364005"/>
                  </a:cubicBezTo>
                  <a:cubicBezTo>
                    <a:pt x="334535" y="362607"/>
                    <a:pt x="341255" y="360910"/>
                    <a:pt x="343708" y="361301"/>
                  </a:cubicBezTo>
                  <a:cubicBezTo>
                    <a:pt x="346167" y="361681"/>
                    <a:pt x="348871" y="359734"/>
                    <a:pt x="351576" y="357406"/>
                  </a:cubicBezTo>
                  <a:cubicBezTo>
                    <a:pt x="354295" y="355087"/>
                    <a:pt x="371061" y="344905"/>
                    <a:pt x="371061" y="344905"/>
                  </a:cubicBezTo>
                  <a:cubicBezTo>
                    <a:pt x="371061" y="344905"/>
                    <a:pt x="376639" y="349697"/>
                    <a:pt x="378567" y="349022"/>
                  </a:cubicBezTo>
                  <a:cubicBezTo>
                    <a:pt x="380514" y="348391"/>
                    <a:pt x="387490" y="347591"/>
                    <a:pt x="388898" y="347759"/>
                  </a:cubicBezTo>
                  <a:cubicBezTo>
                    <a:pt x="390325" y="347865"/>
                    <a:pt x="394986" y="344529"/>
                    <a:pt x="395372" y="342457"/>
                  </a:cubicBezTo>
                  <a:cubicBezTo>
                    <a:pt x="395753" y="340403"/>
                    <a:pt x="397305" y="338180"/>
                    <a:pt x="394586" y="336233"/>
                  </a:cubicBezTo>
                  <a:cubicBezTo>
                    <a:pt x="391882" y="334329"/>
                    <a:pt x="384371" y="326433"/>
                    <a:pt x="384371" y="326433"/>
                  </a:cubicBezTo>
                  <a:lnTo>
                    <a:pt x="384646" y="321004"/>
                  </a:lnTo>
                  <a:lnTo>
                    <a:pt x="381681" y="315080"/>
                  </a:lnTo>
                  <a:cubicBezTo>
                    <a:pt x="381681" y="315080"/>
                    <a:pt x="376113" y="314429"/>
                    <a:pt x="371852" y="316213"/>
                  </a:cubicBezTo>
                  <a:cubicBezTo>
                    <a:pt x="367600" y="318064"/>
                    <a:pt x="360369" y="320353"/>
                    <a:pt x="360369" y="320353"/>
                  </a:cubicBezTo>
                  <a:cubicBezTo>
                    <a:pt x="360369" y="320353"/>
                    <a:pt x="350804" y="327199"/>
                    <a:pt x="345902" y="319857"/>
                  </a:cubicBezTo>
                  <a:cubicBezTo>
                    <a:pt x="352096" y="320223"/>
                    <a:pt x="353914" y="319968"/>
                    <a:pt x="359188" y="315736"/>
                  </a:cubicBezTo>
                  <a:cubicBezTo>
                    <a:pt x="364500" y="311469"/>
                    <a:pt x="367860" y="311469"/>
                    <a:pt x="367860" y="311469"/>
                  </a:cubicBezTo>
                  <a:cubicBezTo>
                    <a:pt x="367860" y="311469"/>
                    <a:pt x="378191" y="314308"/>
                    <a:pt x="385547" y="310674"/>
                  </a:cubicBezTo>
                  <a:cubicBezTo>
                    <a:pt x="390710" y="311831"/>
                    <a:pt x="392378" y="312101"/>
                    <a:pt x="392378" y="312101"/>
                  </a:cubicBezTo>
                  <a:cubicBezTo>
                    <a:pt x="392378" y="312101"/>
                    <a:pt x="408658" y="302903"/>
                    <a:pt x="410355" y="298280"/>
                  </a:cubicBezTo>
                  <a:cubicBezTo>
                    <a:pt x="412013" y="293599"/>
                    <a:pt x="419504" y="275801"/>
                    <a:pt x="427767" y="274779"/>
                  </a:cubicBezTo>
                  <a:cubicBezTo>
                    <a:pt x="430226" y="274234"/>
                    <a:pt x="440296" y="261874"/>
                    <a:pt x="440296" y="261874"/>
                  </a:cubicBezTo>
                  <a:cubicBezTo>
                    <a:pt x="440296" y="261874"/>
                    <a:pt x="436536" y="253481"/>
                    <a:pt x="452839" y="239120"/>
                  </a:cubicBezTo>
                  <a:cubicBezTo>
                    <a:pt x="454643" y="227497"/>
                    <a:pt x="454643" y="220936"/>
                    <a:pt x="465484" y="208899"/>
                  </a:cubicBezTo>
                  <a:cubicBezTo>
                    <a:pt x="467046" y="207727"/>
                    <a:pt x="470387" y="207342"/>
                    <a:pt x="471163" y="205394"/>
                  </a:cubicBezTo>
                  <a:cubicBezTo>
                    <a:pt x="471954" y="203485"/>
                    <a:pt x="476350" y="197903"/>
                    <a:pt x="478524" y="196620"/>
                  </a:cubicBezTo>
                  <a:cubicBezTo>
                    <a:pt x="480722" y="195377"/>
                    <a:pt x="482926" y="190691"/>
                    <a:pt x="482525" y="187500"/>
                  </a:cubicBezTo>
                  <a:cubicBezTo>
                    <a:pt x="482145" y="184260"/>
                    <a:pt x="485490" y="168342"/>
                    <a:pt x="466776" y="159038"/>
                  </a:cubicBezTo>
                  <a:cubicBezTo>
                    <a:pt x="456185" y="159689"/>
                    <a:pt x="454638" y="159689"/>
                    <a:pt x="454638" y="159689"/>
                  </a:cubicBezTo>
                  <a:lnTo>
                    <a:pt x="448674" y="156575"/>
                  </a:lnTo>
                  <a:lnTo>
                    <a:pt x="442354" y="159173"/>
                  </a:lnTo>
                  <a:cubicBezTo>
                    <a:pt x="442354" y="159173"/>
                    <a:pt x="409304" y="144326"/>
                    <a:pt x="401947" y="150009"/>
                  </a:cubicBezTo>
                  <a:cubicBezTo>
                    <a:pt x="397937" y="152863"/>
                    <a:pt x="394321" y="152067"/>
                    <a:pt x="390045" y="148968"/>
                  </a:cubicBezTo>
                  <a:cubicBezTo>
                    <a:pt x="385779" y="145887"/>
                    <a:pt x="378302" y="139813"/>
                    <a:pt x="376243" y="139813"/>
                  </a:cubicBezTo>
                  <a:cubicBezTo>
                    <a:pt x="374180" y="139813"/>
                    <a:pt x="370796" y="139182"/>
                    <a:pt x="369653" y="140445"/>
                  </a:cubicBezTo>
                  <a:cubicBezTo>
                    <a:pt x="368482" y="141756"/>
                    <a:pt x="365508" y="143949"/>
                    <a:pt x="363068" y="144460"/>
                  </a:cubicBezTo>
                  <a:cubicBezTo>
                    <a:pt x="360605" y="144962"/>
                    <a:pt x="358802" y="144195"/>
                    <a:pt x="358426" y="146263"/>
                  </a:cubicBezTo>
                  <a:cubicBezTo>
                    <a:pt x="358035" y="148307"/>
                    <a:pt x="358151" y="149749"/>
                    <a:pt x="356744" y="148457"/>
                  </a:cubicBezTo>
                  <a:cubicBezTo>
                    <a:pt x="355331" y="147165"/>
                    <a:pt x="353007" y="143684"/>
                    <a:pt x="350284" y="144962"/>
                  </a:cubicBezTo>
                  <a:cubicBezTo>
                    <a:pt x="347570" y="146263"/>
                    <a:pt x="342923" y="150395"/>
                    <a:pt x="338926" y="150395"/>
                  </a:cubicBezTo>
                  <a:cubicBezTo>
                    <a:pt x="334906" y="150395"/>
                    <a:pt x="330663" y="150395"/>
                    <a:pt x="329106" y="149392"/>
                  </a:cubicBezTo>
                  <a:cubicBezTo>
                    <a:pt x="327554" y="148307"/>
                    <a:pt x="326503" y="150009"/>
                    <a:pt x="325091" y="151436"/>
                  </a:cubicBezTo>
                  <a:cubicBezTo>
                    <a:pt x="323674" y="152863"/>
                    <a:pt x="314374" y="159318"/>
                    <a:pt x="310388" y="159433"/>
                  </a:cubicBezTo>
                  <a:cubicBezTo>
                    <a:pt x="306362" y="159593"/>
                    <a:pt x="307794" y="157891"/>
                    <a:pt x="309587" y="155582"/>
                  </a:cubicBezTo>
                  <a:cubicBezTo>
                    <a:pt x="311419" y="153244"/>
                    <a:pt x="312586" y="151060"/>
                    <a:pt x="314519" y="150930"/>
                  </a:cubicBezTo>
                  <a:cubicBezTo>
                    <a:pt x="316447" y="150780"/>
                    <a:pt x="319166" y="150515"/>
                    <a:pt x="320053" y="148601"/>
                  </a:cubicBezTo>
                  <a:cubicBezTo>
                    <a:pt x="320964" y="146663"/>
                    <a:pt x="319528" y="144745"/>
                    <a:pt x="329892" y="138020"/>
                  </a:cubicBezTo>
                  <a:cubicBezTo>
                    <a:pt x="327299" y="138516"/>
                    <a:pt x="323162" y="138917"/>
                    <a:pt x="323162" y="138917"/>
                  </a:cubicBezTo>
                  <a:cubicBezTo>
                    <a:pt x="323162" y="138917"/>
                    <a:pt x="317614" y="135441"/>
                    <a:pt x="315869" y="136280"/>
                  </a:cubicBezTo>
                  <a:cubicBezTo>
                    <a:pt x="314119" y="137085"/>
                    <a:pt x="310243" y="137085"/>
                    <a:pt x="308170" y="139302"/>
                  </a:cubicBezTo>
                  <a:cubicBezTo>
                    <a:pt x="306112" y="141476"/>
                    <a:pt x="301132" y="143858"/>
                    <a:pt x="297425" y="143983"/>
                  </a:cubicBezTo>
                  <a:cubicBezTo>
                    <a:pt x="303282" y="138401"/>
                    <a:pt x="309587" y="134371"/>
                    <a:pt x="309587" y="134371"/>
                  </a:cubicBezTo>
                  <a:lnTo>
                    <a:pt x="315811" y="133995"/>
                  </a:lnTo>
                  <a:lnTo>
                    <a:pt x="321220" y="131661"/>
                  </a:lnTo>
                  <a:lnTo>
                    <a:pt x="327419" y="135532"/>
                  </a:lnTo>
                  <a:cubicBezTo>
                    <a:pt x="327419" y="135532"/>
                    <a:pt x="342132" y="130244"/>
                    <a:pt x="343824" y="120309"/>
                  </a:cubicBezTo>
                  <a:cubicBezTo>
                    <a:pt x="337890" y="120178"/>
                    <a:pt x="330668" y="119528"/>
                    <a:pt x="326898" y="116438"/>
                  </a:cubicBezTo>
                  <a:cubicBezTo>
                    <a:pt x="323167" y="113343"/>
                    <a:pt x="318641" y="111395"/>
                    <a:pt x="312836" y="112022"/>
                  </a:cubicBezTo>
                  <a:cubicBezTo>
                    <a:pt x="309862" y="109076"/>
                    <a:pt x="307413" y="101575"/>
                    <a:pt x="307413" y="101575"/>
                  </a:cubicBezTo>
                  <a:cubicBezTo>
                    <a:pt x="307413" y="101575"/>
                    <a:pt x="311014" y="106652"/>
                    <a:pt x="312943" y="107278"/>
                  </a:cubicBezTo>
                  <a:cubicBezTo>
                    <a:pt x="314900" y="107890"/>
                    <a:pt x="319687" y="110229"/>
                    <a:pt x="321345" y="111511"/>
                  </a:cubicBezTo>
                  <a:cubicBezTo>
                    <a:pt x="323042" y="112817"/>
                    <a:pt x="330905" y="112441"/>
                    <a:pt x="334395" y="108667"/>
                  </a:cubicBezTo>
                  <a:cubicBezTo>
                    <a:pt x="331951" y="105702"/>
                    <a:pt x="326898" y="99498"/>
                    <a:pt x="332086" y="100158"/>
                  </a:cubicBezTo>
                  <a:cubicBezTo>
                    <a:pt x="337244" y="100814"/>
                    <a:pt x="345497" y="99773"/>
                    <a:pt x="348857" y="95135"/>
                  </a:cubicBezTo>
                  <a:cubicBezTo>
                    <a:pt x="352212" y="90473"/>
                    <a:pt x="361386" y="86077"/>
                    <a:pt x="365777" y="84539"/>
                  </a:cubicBezTo>
                  <a:cubicBezTo>
                    <a:pt x="370164" y="82977"/>
                    <a:pt x="377776" y="78585"/>
                    <a:pt x="380240" y="73292"/>
                  </a:cubicBezTo>
                  <a:cubicBezTo>
                    <a:pt x="382698" y="67989"/>
                    <a:pt x="390315" y="66577"/>
                    <a:pt x="394321" y="66047"/>
                  </a:cubicBezTo>
                  <a:cubicBezTo>
                    <a:pt x="398327" y="65531"/>
                    <a:pt x="401431" y="65531"/>
                    <a:pt x="406455" y="57794"/>
                  </a:cubicBezTo>
                  <a:cubicBezTo>
                    <a:pt x="411483" y="50047"/>
                    <a:pt x="413305" y="47733"/>
                    <a:pt x="412789" y="46031"/>
                  </a:cubicBezTo>
                  <a:cubicBezTo>
                    <a:pt x="412259" y="44368"/>
                    <a:pt x="408258" y="40237"/>
                    <a:pt x="410475" y="38299"/>
                  </a:cubicBezTo>
                  <a:cubicBezTo>
                    <a:pt x="412649" y="36351"/>
                    <a:pt x="418608" y="28990"/>
                    <a:pt x="418077" y="26922"/>
                  </a:cubicBezTo>
                  <a:cubicBezTo>
                    <a:pt x="417571" y="24868"/>
                    <a:pt x="417571" y="20592"/>
                    <a:pt x="414062" y="21118"/>
                  </a:cubicBezTo>
                  <a:cubicBezTo>
                    <a:pt x="410605" y="21638"/>
                    <a:pt x="405553" y="21118"/>
                    <a:pt x="402453" y="18023"/>
                  </a:cubicBezTo>
                  <a:cubicBezTo>
                    <a:pt x="399349" y="14904"/>
                    <a:pt x="392648" y="15584"/>
                    <a:pt x="394576" y="18274"/>
                  </a:cubicBezTo>
                  <a:cubicBezTo>
                    <a:pt x="396514" y="20983"/>
                    <a:pt x="397295" y="24492"/>
                    <a:pt x="395068" y="23060"/>
                  </a:cubicBezTo>
                  <a:cubicBezTo>
                    <a:pt x="392884" y="21638"/>
                    <a:pt x="387601" y="21884"/>
                    <a:pt x="385774" y="22304"/>
                  </a:cubicBezTo>
                  <a:cubicBezTo>
                    <a:pt x="383985" y="22680"/>
                    <a:pt x="383344" y="21773"/>
                    <a:pt x="383074" y="19937"/>
                  </a:cubicBezTo>
                  <a:cubicBezTo>
                    <a:pt x="382828" y="18143"/>
                    <a:pt x="380360" y="16471"/>
                    <a:pt x="375602" y="18548"/>
                  </a:cubicBezTo>
                  <a:cubicBezTo>
                    <a:pt x="370786" y="20592"/>
                    <a:pt x="360079" y="26011"/>
                    <a:pt x="354275" y="21392"/>
                  </a:cubicBezTo>
                  <a:cubicBezTo>
                    <a:pt x="352328" y="19455"/>
                    <a:pt x="350785" y="19455"/>
                    <a:pt x="347955" y="20361"/>
                  </a:cubicBezTo>
                  <a:cubicBezTo>
                    <a:pt x="345106" y="21262"/>
                    <a:pt x="339924" y="19455"/>
                    <a:pt x="337870" y="21392"/>
                  </a:cubicBezTo>
                  <a:cubicBezTo>
                    <a:pt x="335793" y="23321"/>
                    <a:pt x="333358" y="24868"/>
                    <a:pt x="332457" y="23446"/>
                  </a:cubicBezTo>
                  <a:cubicBezTo>
                    <a:pt x="331546" y="22024"/>
                    <a:pt x="326368" y="19175"/>
                    <a:pt x="323404" y="21638"/>
                  </a:cubicBezTo>
                  <a:cubicBezTo>
                    <a:pt x="320434" y="24102"/>
                    <a:pt x="311535" y="32991"/>
                    <a:pt x="314360" y="28484"/>
                  </a:cubicBezTo>
                  <a:cubicBezTo>
                    <a:pt x="317190" y="23962"/>
                    <a:pt x="319513" y="19840"/>
                    <a:pt x="319513" y="19840"/>
                  </a:cubicBezTo>
                  <a:lnTo>
                    <a:pt x="316558" y="14147"/>
                  </a:lnTo>
                  <a:cubicBezTo>
                    <a:pt x="316558" y="14147"/>
                    <a:pt x="309983" y="11433"/>
                    <a:pt x="309983" y="13231"/>
                  </a:cubicBezTo>
                  <a:cubicBezTo>
                    <a:pt x="309983" y="15044"/>
                    <a:pt x="308425" y="18404"/>
                    <a:pt x="307008" y="19455"/>
                  </a:cubicBezTo>
                  <a:cubicBezTo>
                    <a:pt x="305576" y="20491"/>
                    <a:pt x="295501" y="25104"/>
                    <a:pt x="295501" y="25104"/>
                  </a:cubicBezTo>
                  <a:cubicBezTo>
                    <a:pt x="295501" y="25104"/>
                    <a:pt x="303272" y="18023"/>
                    <a:pt x="304039" y="13636"/>
                  </a:cubicBezTo>
                  <a:cubicBezTo>
                    <a:pt x="301214" y="9625"/>
                    <a:pt x="298085" y="7692"/>
                    <a:pt x="298085" y="7692"/>
                  </a:cubicBezTo>
                  <a:lnTo>
                    <a:pt x="294344" y="14012"/>
                  </a:lnTo>
                  <a:cubicBezTo>
                    <a:pt x="294344" y="14012"/>
                    <a:pt x="296533" y="9770"/>
                    <a:pt x="294089" y="6930"/>
                  </a:cubicBezTo>
                  <a:cubicBezTo>
                    <a:pt x="291635" y="4081"/>
                    <a:pt x="289577" y="1353"/>
                    <a:pt x="289577" y="1353"/>
                  </a:cubicBezTo>
                  <a:cubicBezTo>
                    <a:pt x="289577" y="1353"/>
                    <a:pt x="283387" y="-1212"/>
                    <a:pt x="283218" y="721"/>
                  </a:cubicBezTo>
                  <a:cubicBezTo>
                    <a:pt x="283112" y="2664"/>
                    <a:pt x="281304" y="6646"/>
                    <a:pt x="279227" y="7842"/>
                  </a:cubicBezTo>
                  <a:cubicBezTo>
                    <a:pt x="277178" y="8994"/>
                    <a:pt x="272116" y="15588"/>
                    <a:pt x="274454" y="18553"/>
                  </a:cubicBezTo>
                  <a:cubicBezTo>
                    <a:pt x="276778" y="21518"/>
                    <a:pt x="278961" y="24352"/>
                    <a:pt x="278961" y="24352"/>
                  </a:cubicBezTo>
                  <a:lnTo>
                    <a:pt x="275741" y="23205"/>
                  </a:lnTo>
                  <a:lnTo>
                    <a:pt x="271885" y="23692"/>
                  </a:lnTo>
                  <a:cubicBezTo>
                    <a:pt x="271885" y="23692"/>
                    <a:pt x="274059" y="29911"/>
                    <a:pt x="271754" y="29911"/>
                  </a:cubicBezTo>
                  <a:cubicBezTo>
                    <a:pt x="269421" y="29911"/>
                    <a:pt x="266587" y="28754"/>
                    <a:pt x="265531" y="30562"/>
                  </a:cubicBezTo>
                  <a:cubicBezTo>
                    <a:pt x="264499" y="32355"/>
                    <a:pt x="261284" y="43327"/>
                    <a:pt x="274059" y="47738"/>
                  </a:cubicBezTo>
                  <a:cubicBezTo>
                    <a:pt x="275110" y="48504"/>
                    <a:pt x="271489" y="49922"/>
                    <a:pt x="269918" y="48644"/>
                  </a:cubicBezTo>
                  <a:cubicBezTo>
                    <a:pt x="268390" y="47347"/>
                    <a:pt x="262055" y="43086"/>
                    <a:pt x="257152" y="45809"/>
                  </a:cubicBezTo>
                  <a:cubicBezTo>
                    <a:pt x="254434" y="47352"/>
                    <a:pt x="251724" y="46311"/>
                    <a:pt x="250702" y="45134"/>
                  </a:cubicBezTo>
                  <a:cubicBezTo>
                    <a:pt x="249656" y="43982"/>
                    <a:pt x="246041" y="40246"/>
                    <a:pt x="247328" y="43722"/>
                  </a:cubicBezTo>
                  <a:cubicBezTo>
                    <a:pt x="248625" y="47222"/>
                    <a:pt x="253011" y="65680"/>
                    <a:pt x="247598" y="67999"/>
                  </a:cubicBezTo>
                  <a:cubicBezTo>
                    <a:pt x="244373" y="69180"/>
                    <a:pt x="243592" y="68525"/>
                    <a:pt x="243592" y="68525"/>
                  </a:cubicBezTo>
                  <a:cubicBezTo>
                    <a:pt x="243592" y="68525"/>
                    <a:pt x="238414" y="63212"/>
                    <a:pt x="238414" y="65531"/>
                  </a:cubicBezTo>
                  <a:cubicBezTo>
                    <a:pt x="238414" y="67893"/>
                    <a:pt x="238043" y="70598"/>
                    <a:pt x="239856" y="72270"/>
                  </a:cubicBezTo>
                  <a:cubicBezTo>
                    <a:pt x="241630" y="73943"/>
                    <a:pt x="250182" y="81434"/>
                    <a:pt x="250018" y="84394"/>
                  </a:cubicBezTo>
                  <a:cubicBezTo>
                    <a:pt x="249907" y="87388"/>
                    <a:pt x="250553" y="89051"/>
                    <a:pt x="251719" y="90473"/>
                  </a:cubicBezTo>
                  <a:cubicBezTo>
                    <a:pt x="252891" y="91900"/>
                    <a:pt x="256839" y="97189"/>
                    <a:pt x="256936" y="101730"/>
                  </a:cubicBezTo>
                  <a:cubicBezTo>
                    <a:pt x="253474" y="96567"/>
                    <a:pt x="248620" y="89051"/>
                    <a:pt x="246296" y="89572"/>
                  </a:cubicBezTo>
                  <a:cubicBezTo>
                    <a:pt x="243982" y="90093"/>
                    <a:pt x="241779" y="89948"/>
                    <a:pt x="241779" y="89948"/>
                  </a:cubicBezTo>
                  <a:lnTo>
                    <a:pt x="243071" y="96687"/>
                  </a:lnTo>
                  <a:cubicBezTo>
                    <a:pt x="243071" y="96687"/>
                    <a:pt x="238414" y="88926"/>
                    <a:pt x="237614" y="89948"/>
                  </a:cubicBezTo>
                  <a:cubicBezTo>
                    <a:pt x="236872" y="90994"/>
                    <a:pt x="233526" y="94744"/>
                    <a:pt x="231053" y="93428"/>
                  </a:cubicBezTo>
                  <a:cubicBezTo>
                    <a:pt x="228599" y="92141"/>
                    <a:pt x="225630" y="92406"/>
                    <a:pt x="224849" y="89822"/>
                  </a:cubicBezTo>
                  <a:cubicBezTo>
                    <a:pt x="224082" y="87253"/>
                    <a:pt x="221229" y="83228"/>
                    <a:pt x="220587" y="84534"/>
                  </a:cubicBezTo>
                  <a:cubicBezTo>
                    <a:pt x="219946" y="85821"/>
                    <a:pt x="218514" y="88024"/>
                    <a:pt x="219826" y="90719"/>
                  </a:cubicBezTo>
                  <a:cubicBezTo>
                    <a:pt x="221127" y="93424"/>
                    <a:pt x="222415" y="95791"/>
                    <a:pt x="221633" y="96933"/>
                  </a:cubicBezTo>
                  <a:cubicBezTo>
                    <a:pt x="220862" y="98066"/>
                    <a:pt x="217507" y="104424"/>
                    <a:pt x="217001" y="102193"/>
                  </a:cubicBezTo>
                  <a:cubicBezTo>
                    <a:pt x="216466" y="100009"/>
                    <a:pt x="215309" y="96263"/>
                    <a:pt x="216090" y="91789"/>
                  </a:cubicBezTo>
                  <a:cubicBezTo>
                    <a:pt x="216090" y="90227"/>
                    <a:pt x="211549" y="87383"/>
                    <a:pt x="209114" y="90088"/>
                  </a:cubicBezTo>
                  <a:cubicBezTo>
                    <a:pt x="206641" y="92797"/>
                    <a:pt x="203811" y="96933"/>
                    <a:pt x="205634" y="100929"/>
                  </a:cubicBezTo>
                  <a:cubicBezTo>
                    <a:pt x="207441" y="104935"/>
                    <a:pt x="210411" y="107129"/>
                    <a:pt x="209114" y="111776"/>
                  </a:cubicBezTo>
                  <a:cubicBezTo>
                    <a:pt x="208598" y="112938"/>
                    <a:pt x="204346" y="109313"/>
                    <a:pt x="203300" y="111506"/>
                  </a:cubicBezTo>
                  <a:cubicBezTo>
                    <a:pt x="202259" y="113719"/>
                    <a:pt x="201237" y="117701"/>
                    <a:pt x="202780" y="119523"/>
                  </a:cubicBezTo>
                  <a:cubicBezTo>
                    <a:pt x="204346" y="121316"/>
                    <a:pt x="205359" y="123008"/>
                    <a:pt x="205359" y="125481"/>
                  </a:cubicBezTo>
                  <a:cubicBezTo>
                    <a:pt x="205359" y="127901"/>
                    <a:pt x="210782" y="135523"/>
                    <a:pt x="216750" y="134896"/>
                  </a:cubicBezTo>
                  <a:cubicBezTo>
                    <a:pt x="208454" y="135017"/>
                    <a:pt x="198528" y="129993"/>
                    <a:pt x="197110" y="126354"/>
                  </a:cubicBezTo>
                  <a:cubicBezTo>
                    <a:pt x="194262" y="130239"/>
                    <a:pt x="191557" y="136824"/>
                    <a:pt x="192193" y="138637"/>
                  </a:cubicBezTo>
                  <a:cubicBezTo>
                    <a:pt x="192859" y="140445"/>
                    <a:pt x="194136" y="142903"/>
                    <a:pt x="193471" y="144851"/>
                  </a:cubicBezTo>
                  <a:cubicBezTo>
                    <a:pt x="192859" y="146799"/>
                    <a:pt x="192333" y="149387"/>
                    <a:pt x="193341" y="151547"/>
                  </a:cubicBezTo>
                  <a:cubicBezTo>
                    <a:pt x="194401" y="153760"/>
                    <a:pt x="196445" y="156715"/>
                    <a:pt x="196445" y="156715"/>
                  </a:cubicBezTo>
                  <a:cubicBezTo>
                    <a:pt x="196445" y="156715"/>
                    <a:pt x="203676" y="154656"/>
                    <a:pt x="207046" y="150289"/>
                  </a:cubicBezTo>
                  <a:cubicBezTo>
                    <a:pt x="206265" y="155428"/>
                    <a:pt x="207446" y="155948"/>
                    <a:pt x="209895" y="155292"/>
                  </a:cubicBezTo>
                  <a:cubicBezTo>
                    <a:pt x="212330" y="154661"/>
                    <a:pt x="219450" y="154391"/>
                    <a:pt x="219450" y="154391"/>
                  </a:cubicBezTo>
                  <a:cubicBezTo>
                    <a:pt x="214301" y="159945"/>
                    <a:pt x="204992" y="161367"/>
                    <a:pt x="200586" y="159433"/>
                  </a:cubicBezTo>
                  <a:cubicBezTo>
                    <a:pt x="198899" y="162774"/>
                    <a:pt x="197347" y="166289"/>
                    <a:pt x="200061" y="165888"/>
                  </a:cubicBezTo>
                  <a:cubicBezTo>
                    <a:pt x="202775" y="165498"/>
                    <a:pt x="215950" y="166240"/>
                    <a:pt x="216466" y="177892"/>
                  </a:cubicBezTo>
                  <a:cubicBezTo>
                    <a:pt x="211447" y="174691"/>
                    <a:pt x="207557" y="171693"/>
                    <a:pt x="207437" y="170806"/>
                  </a:cubicBezTo>
                  <a:cubicBezTo>
                    <a:pt x="203026" y="172994"/>
                    <a:pt x="201348" y="173124"/>
                    <a:pt x="201348" y="173124"/>
                  </a:cubicBezTo>
                  <a:cubicBezTo>
                    <a:pt x="201348" y="173124"/>
                    <a:pt x="201999" y="176759"/>
                    <a:pt x="200716" y="178027"/>
                  </a:cubicBezTo>
                  <a:cubicBezTo>
                    <a:pt x="199429" y="179338"/>
                    <a:pt x="196334" y="183325"/>
                    <a:pt x="197347" y="183971"/>
                  </a:cubicBezTo>
                  <a:cubicBezTo>
                    <a:pt x="198402" y="184617"/>
                    <a:pt x="204207" y="186936"/>
                    <a:pt x="205494" y="188748"/>
                  </a:cubicBezTo>
                  <a:cubicBezTo>
                    <a:pt x="206757" y="190570"/>
                    <a:pt x="212609" y="192383"/>
                    <a:pt x="215044" y="192243"/>
                  </a:cubicBezTo>
                  <a:cubicBezTo>
                    <a:pt x="209514" y="194427"/>
                    <a:pt x="202775" y="191732"/>
                    <a:pt x="199825" y="189910"/>
                  </a:cubicBezTo>
                  <a:cubicBezTo>
                    <a:pt x="196855" y="188117"/>
                    <a:pt x="195293" y="187982"/>
                    <a:pt x="192950" y="189009"/>
                  </a:cubicBezTo>
                  <a:cubicBezTo>
                    <a:pt x="190622" y="190045"/>
                    <a:pt x="189344" y="190305"/>
                    <a:pt x="188959" y="193015"/>
                  </a:cubicBezTo>
                  <a:cubicBezTo>
                    <a:pt x="188583" y="195724"/>
                    <a:pt x="190771" y="203586"/>
                    <a:pt x="199150" y="206595"/>
                  </a:cubicBezTo>
                  <a:cubicBezTo>
                    <a:pt x="195293" y="207216"/>
                    <a:pt x="193109" y="207332"/>
                    <a:pt x="192059" y="206175"/>
                  </a:cubicBezTo>
                  <a:cubicBezTo>
                    <a:pt x="191036" y="205004"/>
                    <a:pt x="187141" y="198693"/>
                    <a:pt x="185083" y="199455"/>
                  </a:cubicBezTo>
                  <a:cubicBezTo>
                    <a:pt x="183039" y="200255"/>
                    <a:pt x="179664" y="203071"/>
                    <a:pt x="179664" y="203071"/>
                  </a:cubicBezTo>
                  <a:cubicBezTo>
                    <a:pt x="179664" y="203071"/>
                    <a:pt x="174357" y="215209"/>
                    <a:pt x="175784" y="216390"/>
                  </a:cubicBezTo>
                  <a:cubicBezTo>
                    <a:pt x="177216" y="217533"/>
                    <a:pt x="181467" y="220652"/>
                    <a:pt x="187662" y="220372"/>
                  </a:cubicBezTo>
                  <a:cubicBezTo>
                    <a:pt x="176049" y="222566"/>
                    <a:pt x="175143" y="222985"/>
                    <a:pt x="175143" y="222985"/>
                  </a:cubicBezTo>
                  <a:lnTo>
                    <a:pt x="178888" y="229049"/>
                  </a:lnTo>
                  <a:lnTo>
                    <a:pt x="172549" y="234342"/>
                  </a:lnTo>
                  <a:cubicBezTo>
                    <a:pt x="172549" y="234342"/>
                    <a:pt x="166624" y="226572"/>
                    <a:pt x="165598" y="227483"/>
                  </a:cubicBezTo>
                  <a:cubicBezTo>
                    <a:pt x="164556" y="228399"/>
                    <a:pt x="160931" y="228664"/>
                    <a:pt x="160931" y="228664"/>
                  </a:cubicBezTo>
                  <a:cubicBezTo>
                    <a:pt x="160931" y="228664"/>
                    <a:pt x="150870" y="225675"/>
                    <a:pt x="148296" y="228148"/>
                  </a:cubicBezTo>
                  <a:cubicBezTo>
                    <a:pt x="145712" y="230587"/>
                    <a:pt x="144936" y="234077"/>
                    <a:pt x="146083" y="234878"/>
                  </a:cubicBezTo>
                  <a:cubicBezTo>
                    <a:pt x="147264" y="235615"/>
                    <a:pt x="169064" y="241964"/>
                    <a:pt x="169064" y="241964"/>
                  </a:cubicBezTo>
                  <a:cubicBezTo>
                    <a:pt x="169064" y="241964"/>
                    <a:pt x="183280" y="236116"/>
                    <a:pt x="188178" y="245715"/>
                  </a:cubicBezTo>
                  <a:cubicBezTo>
                    <a:pt x="183661" y="242851"/>
                    <a:pt x="181077" y="242851"/>
                    <a:pt x="181077" y="242851"/>
                  </a:cubicBezTo>
                  <a:lnTo>
                    <a:pt x="174492" y="244008"/>
                  </a:lnTo>
                  <a:lnTo>
                    <a:pt x="170375" y="249552"/>
                  </a:lnTo>
                  <a:lnTo>
                    <a:pt x="164947" y="244803"/>
                  </a:lnTo>
                  <a:lnTo>
                    <a:pt x="158227" y="247503"/>
                  </a:lnTo>
                  <a:cubicBezTo>
                    <a:pt x="158227" y="247503"/>
                    <a:pt x="165058" y="259126"/>
                    <a:pt x="168818" y="260037"/>
                  </a:cubicBezTo>
                  <a:cubicBezTo>
                    <a:pt x="172554" y="260938"/>
                    <a:pt x="176300" y="263286"/>
                    <a:pt x="177220" y="266246"/>
                  </a:cubicBezTo>
                  <a:cubicBezTo>
                    <a:pt x="178122" y="269216"/>
                    <a:pt x="179158" y="269216"/>
                    <a:pt x="181858" y="268054"/>
                  </a:cubicBezTo>
                  <a:cubicBezTo>
                    <a:pt x="184557" y="266887"/>
                    <a:pt x="188959" y="264019"/>
                    <a:pt x="191427" y="261078"/>
                  </a:cubicBezTo>
                  <a:cubicBezTo>
                    <a:pt x="193871" y="258114"/>
                    <a:pt x="197617" y="255626"/>
                    <a:pt x="200331" y="254628"/>
                  </a:cubicBezTo>
                  <a:cubicBezTo>
                    <a:pt x="203035" y="253591"/>
                    <a:pt x="207702" y="248819"/>
                    <a:pt x="211293" y="247503"/>
                  </a:cubicBezTo>
                  <a:cubicBezTo>
                    <a:pt x="214938" y="246230"/>
                    <a:pt x="227327" y="234453"/>
                    <a:pt x="227327" y="234453"/>
                  </a:cubicBezTo>
                  <a:lnTo>
                    <a:pt x="218929" y="245830"/>
                  </a:lnTo>
                  <a:lnTo>
                    <a:pt x="220732" y="250352"/>
                  </a:lnTo>
                  <a:lnTo>
                    <a:pt x="234042" y="250738"/>
                  </a:lnTo>
                  <a:lnTo>
                    <a:pt x="221633" y="252565"/>
                  </a:lnTo>
                  <a:lnTo>
                    <a:pt x="215564" y="250984"/>
                  </a:lnTo>
                  <a:lnTo>
                    <a:pt x="205494" y="258745"/>
                  </a:lnTo>
                  <a:cubicBezTo>
                    <a:pt x="205494" y="258745"/>
                    <a:pt x="200716" y="265200"/>
                    <a:pt x="201734" y="266092"/>
                  </a:cubicBezTo>
                  <a:cubicBezTo>
                    <a:pt x="202775" y="267003"/>
                    <a:pt x="204207" y="269582"/>
                    <a:pt x="210020" y="268049"/>
                  </a:cubicBezTo>
                  <a:cubicBezTo>
                    <a:pt x="201618" y="270994"/>
                    <a:pt x="199024" y="271891"/>
                    <a:pt x="199024" y="271891"/>
                  </a:cubicBezTo>
                  <a:lnTo>
                    <a:pt x="198644" y="277618"/>
                  </a:lnTo>
                  <a:cubicBezTo>
                    <a:pt x="198644" y="277618"/>
                    <a:pt x="202254" y="276206"/>
                    <a:pt x="204433" y="278515"/>
                  </a:cubicBezTo>
                  <a:cubicBezTo>
                    <a:pt x="206641" y="280824"/>
                    <a:pt x="209890" y="282106"/>
                    <a:pt x="211288" y="280149"/>
                  </a:cubicBezTo>
                  <a:cubicBezTo>
                    <a:pt x="212720" y="278250"/>
                    <a:pt x="222424" y="271896"/>
                    <a:pt x="222424" y="271896"/>
                  </a:cubicBezTo>
                  <a:cubicBezTo>
                    <a:pt x="222424" y="271896"/>
                    <a:pt x="212325" y="284083"/>
                    <a:pt x="210922" y="283668"/>
                  </a:cubicBezTo>
                  <a:cubicBezTo>
                    <a:pt x="209509" y="283273"/>
                    <a:pt x="196190" y="278254"/>
                    <a:pt x="193109" y="280057"/>
                  </a:cubicBezTo>
                  <a:cubicBezTo>
                    <a:pt x="189995" y="281860"/>
                    <a:pt x="187281" y="285481"/>
                    <a:pt x="187281" y="285481"/>
                  </a:cubicBezTo>
                  <a:lnTo>
                    <a:pt x="186254" y="290899"/>
                  </a:lnTo>
                  <a:lnTo>
                    <a:pt x="179930" y="295946"/>
                  </a:lnTo>
                  <a:lnTo>
                    <a:pt x="178623" y="302676"/>
                  </a:lnTo>
                  <a:lnTo>
                    <a:pt x="184437" y="304084"/>
                  </a:lnTo>
                  <a:cubicBezTo>
                    <a:pt x="184437" y="304084"/>
                    <a:pt x="179018" y="306528"/>
                    <a:pt x="175147" y="314824"/>
                  </a:cubicBezTo>
                  <a:cubicBezTo>
                    <a:pt x="178498" y="313643"/>
                    <a:pt x="180836" y="312226"/>
                    <a:pt x="180836" y="312226"/>
                  </a:cubicBezTo>
                  <a:lnTo>
                    <a:pt x="176820" y="318397"/>
                  </a:lnTo>
                  <a:lnTo>
                    <a:pt x="177587" y="324601"/>
                  </a:lnTo>
                  <a:lnTo>
                    <a:pt x="171238" y="326052"/>
                  </a:lnTo>
                  <a:cubicBezTo>
                    <a:pt x="171238" y="326052"/>
                    <a:pt x="162353" y="333259"/>
                    <a:pt x="164301" y="346438"/>
                  </a:cubicBezTo>
                  <a:cubicBezTo>
                    <a:pt x="164817" y="346954"/>
                    <a:pt x="169869" y="345007"/>
                    <a:pt x="169869" y="345007"/>
                  </a:cubicBezTo>
                  <a:cubicBezTo>
                    <a:pt x="169869" y="345007"/>
                    <a:pt x="160565" y="353539"/>
                    <a:pt x="160690" y="357941"/>
                  </a:cubicBezTo>
                  <a:cubicBezTo>
                    <a:pt x="160835" y="362308"/>
                    <a:pt x="162874" y="366343"/>
                    <a:pt x="173219" y="361942"/>
                  </a:cubicBezTo>
                  <a:cubicBezTo>
                    <a:pt x="163780" y="367245"/>
                    <a:pt x="153059" y="376018"/>
                    <a:pt x="146749" y="404041"/>
                  </a:cubicBezTo>
                  <a:cubicBezTo>
                    <a:pt x="146093" y="406760"/>
                    <a:pt x="144806" y="408013"/>
                    <a:pt x="142227" y="409860"/>
                  </a:cubicBezTo>
                  <a:cubicBezTo>
                    <a:pt x="139633" y="411667"/>
                    <a:pt x="138751" y="413475"/>
                    <a:pt x="138862" y="416594"/>
                  </a:cubicBezTo>
                  <a:cubicBezTo>
                    <a:pt x="138987" y="419670"/>
                    <a:pt x="139257" y="426901"/>
                    <a:pt x="140785" y="425599"/>
                  </a:cubicBezTo>
                  <a:cubicBezTo>
                    <a:pt x="142347" y="424322"/>
                    <a:pt x="143755" y="423416"/>
                    <a:pt x="145842" y="424843"/>
                  </a:cubicBezTo>
                  <a:cubicBezTo>
                    <a:pt x="147896" y="426269"/>
                    <a:pt x="150875" y="427277"/>
                    <a:pt x="152943" y="425599"/>
                  </a:cubicBezTo>
                  <a:cubicBezTo>
                    <a:pt x="155002" y="423936"/>
                    <a:pt x="158347" y="423131"/>
                    <a:pt x="158477" y="419790"/>
                  </a:cubicBezTo>
                  <a:cubicBezTo>
                    <a:pt x="158612" y="416450"/>
                    <a:pt x="159403" y="409860"/>
                    <a:pt x="160570" y="407666"/>
                  </a:cubicBezTo>
                  <a:cubicBezTo>
                    <a:pt x="161731" y="405459"/>
                    <a:pt x="169599" y="393204"/>
                    <a:pt x="169329" y="388528"/>
                  </a:cubicBezTo>
                  <a:cubicBezTo>
                    <a:pt x="169068" y="383910"/>
                    <a:pt x="172183" y="376660"/>
                    <a:pt x="184953" y="367360"/>
                  </a:cubicBezTo>
                  <a:cubicBezTo>
                    <a:pt x="182523" y="358987"/>
                    <a:pt x="179028" y="342297"/>
                    <a:pt x="182137" y="341261"/>
                  </a:cubicBezTo>
                  <a:cubicBezTo>
                    <a:pt x="185227" y="340249"/>
                    <a:pt x="189359" y="335842"/>
                    <a:pt x="190280" y="333003"/>
                  </a:cubicBezTo>
                  <a:cubicBezTo>
                    <a:pt x="191157" y="330159"/>
                    <a:pt x="203681" y="320739"/>
                    <a:pt x="208738" y="320469"/>
                  </a:cubicBezTo>
                  <a:cubicBezTo>
                    <a:pt x="210146" y="319679"/>
                    <a:pt x="211192" y="320575"/>
                    <a:pt x="211958" y="317876"/>
                  </a:cubicBezTo>
                  <a:cubicBezTo>
                    <a:pt x="212735" y="315181"/>
                    <a:pt x="212869" y="314294"/>
                    <a:pt x="216229" y="313219"/>
                  </a:cubicBezTo>
                  <a:cubicBezTo>
                    <a:pt x="219580" y="312231"/>
                    <a:pt x="226584" y="310582"/>
                    <a:pt x="226584" y="310582"/>
                  </a:cubicBezTo>
                  <a:cubicBezTo>
                    <a:pt x="226584" y="310582"/>
                    <a:pt x="218042" y="314554"/>
                    <a:pt x="217126" y="316348"/>
                  </a:cubicBezTo>
                  <a:cubicBezTo>
                    <a:pt x="216229" y="318141"/>
                    <a:pt x="214311" y="321101"/>
                    <a:pt x="211717" y="321896"/>
                  </a:cubicBezTo>
                  <a:cubicBezTo>
                    <a:pt x="209124" y="322696"/>
                    <a:pt x="194792" y="330299"/>
                    <a:pt x="190125" y="339704"/>
                  </a:cubicBezTo>
                  <a:cubicBezTo>
                    <a:pt x="188968" y="342693"/>
                    <a:pt x="188853" y="348642"/>
                    <a:pt x="187556" y="350811"/>
                  </a:cubicBezTo>
                  <a:cubicBezTo>
                    <a:pt x="187811" y="355877"/>
                    <a:pt x="187676" y="358987"/>
                    <a:pt x="188723" y="358688"/>
                  </a:cubicBezTo>
                  <a:cubicBezTo>
                    <a:pt x="189740" y="358476"/>
                    <a:pt x="193341" y="358066"/>
                    <a:pt x="193341" y="358066"/>
                  </a:cubicBezTo>
                  <a:cubicBezTo>
                    <a:pt x="193341" y="358066"/>
                    <a:pt x="196199" y="348381"/>
                    <a:pt x="200066" y="345788"/>
                  </a:cubicBezTo>
                  <a:cubicBezTo>
                    <a:pt x="201358" y="351606"/>
                    <a:pt x="203035" y="354846"/>
                    <a:pt x="205894" y="354735"/>
                  </a:cubicBezTo>
                  <a:cubicBezTo>
                    <a:pt x="204992" y="350970"/>
                    <a:pt x="205754" y="344520"/>
                    <a:pt x="206646" y="341931"/>
                  </a:cubicBezTo>
                  <a:cubicBezTo>
                    <a:pt x="208454" y="347475"/>
                    <a:pt x="209119" y="350435"/>
                    <a:pt x="208970" y="353665"/>
                  </a:cubicBezTo>
                  <a:cubicBezTo>
                    <a:pt x="208863" y="356870"/>
                    <a:pt x="209750" y="361185"/>
                    <a:pt x="210927" y="361672"/>
                  </a:cubicBezTo>
                  <a:cubicBezTo>
                    <a:pt x="217261" y="355227"/>
                    <a:pt x="222805" y="346058"/>
                    <a:pt x="224738" y="331316"/>
                  </a:cubicBezTo>
                  <a:cubicBezTo>
                    <a:pt x="225143" y="329397"/>
                    <a:pt x="227173" y="326061"/>
                    <a:pt x="227173" y="326061"/>
                  </a:cubicBezTo>
                  <a:cubicBezTo>
                    <a:pt x="227173" y="326061"/>
                    <a:pt x="225143" y="337800"/>
                    <a:pt x="225403" y="342698"/>
                  </a:cubicBezTo>
                  <a:cubicBezTo>
                    <a:pt x="225635" y="347581"/>
                    <a:pt x="227192" y="347480"/>
                    <a:pt x="229631" y="348106"/>
                  </a:cubicBezTo>
                  <a:cubicBezTo>
                    <a:pt x="228223" y="345537"/>
                    <a:pt x="224343" y="333268"/>
                    <a:pt x="232866" y="326548"/>
                  </a:cubicBezTo>
                  <a:cubicBezTo>
                    <a:pt x="229265" y="336233"/>
                    <a:pt x="229776" y="342582"/>
                    <a:pt x="234548" y="348386"/>
                  </a:cubicBezTo>
                  <a:cubicBezTo>
                    <a:pt x="239326" y="354214"/>
                    <a:pt x="243081" y="357299"/>
                    <a:pt x="245279" y="358861"/>
                  </a:cubicBezTo>
                  <a:cubicBezTo>
                    <a:pt x="245655" y="359204"/>
                    <a:pt x="244744" y="360901"/>
                    <a:pt x="242184" y="359618"/>
                  </a:cubicBezTo>
                  <a:cubicBezTo>
                    <a:pt x="239605" y="358317"/>
                    <a:pt x="234047" y="357150"/>
                    <a:pt x="234047" y="357150"/>
                  </a:cubicBezTo>
                  <a:lnTo>
                    <a:pt x="227457" y="353038"/>
                  </a:lnTo>
                  <a:cubicBezTo>
                    <a:pt x="227457" y="353038"/>
                    <a:pt x="221764" y="354065"/>
                    <a:pt x="221132" y="356393"/>
                  </a:cubicBezTo>
                  <a:cubicBezTo>
                    <a:pt x="220472" y="358693"/>
                    <a:pt x="218519" y="364140"/>
                    <a:pt x="218934" y="367365"/>
                  </a:cubicBezTo>
                  <a:cubicBezTo>
                    <a:pt x="219310" y="370585"/>
                    <a:pt x="219050" y="378593"/>
                    <a:pt x="217753" y="379899"/>
                  </a:cubicBezTo>
                  <a:cubicBezTo>
                    <a:pt x="216471" y="381206"/>
                    <a:pt x="212330" y="384397"/>
                    <a:pt x="215458" y="387506"/>
                  </a:cubicBezTo>
                  <a:cubicBezTo>
                    <a:pt x="218519" y="390596"/>
                    <a:pt x="227047" y="398888"/>
                    <a:pt x="228865" y="408438"/>
                  </a:cubicBezTo>
                  <a:cubicBezTo>
                    <a:pt x="230147" y="414362"/>
                    <a:pt x="230026" y="416691"/>
                    <a:pt x="229004" y="418209"/>
                  </a:cubicBezTo>
                  <a:cubicBezTo>
                    <a:pt x="227973" y="419795"/>
                    <a:pt x="224082" y="422533"/>
                    <a:pt x="224082" y="422533"/>
                  </a:cubicBezTo>
                  <a:cubicBezTo>
                    <a:pt x="224082" y="422533"/>
                    <a:pt x="220467" y="421733"/>
                    <a:pt x="219045" y="424462"/>
                  </a:cubicBezTo>
                  <a:cubicBezTo>
                    <a:pt x="217632" y="427171"/>
                    <a:pt x="213622" y="431307"/>
                    <a:pt x="211549" y="432826"/>
                  </a:cubicBezTo>
                  <a:cubicBezTo>
                    <a:pt x="209514" y="434412"/>
                    <a:pt x="209225" y="434672"/>
                    <a:pt x="208208" y="437622"/>
                  </a:cubicBezTo>
                  <a:cubicBezTo>
                    <a:pt x="207176" y="440606"/>
                    <a:pt x="204207" y="447963"/>
                    <a:pt x="204207" y="447963"/>
                  </a:cubicBezTo>
                  <a:lnTo>
                    <a:pt x="191427" y="456621"/>
                  </a:lnTo>
                  <a:cubicBezTo>
                    <a:pt x="191427" y="456621"/>
                    <a:pt x="190521" y="460636"/>
                    <a:pt x="188959" y="462541"/>
                  </a:cubicBezTo>
                  <a:cubicBezTo>
                    <a:pt x="187411" y="464488"/>
                    <a:pt x="185218" y="467096"/>
                    <a:pt x="185449" y="469641"/>
                  </a:cubicBezTo>
                  <a:cubicBezTo>
                    <a:pt x="185753" y="472264"/>
                    <a:pt x="185753" y="476516"/>
                    <a:pt x="186110" y="477538"/>
                  </a:cubicBezTo>
                  <a:cubicBezTo>
                    <a:pt x="186505" y="478574"/>
                    <a:pt x="187406" y="486196"/>
                    <a:pt x="185840" y="486451"/>
                  </a:cubicBezTo>
                  <a:cubicBezTo>
                    <a:pt x="184312" y="486726"/>
                    <a:pt x="182369" y="486981"/>
                    <a:pt x="182624" y="482696"/>
                  </a:cubicBezTo>
                  <a:cubicBezTo>
                    <a:pt x="182894" y="478429"/>
                    <a:pt x="182509" y="469135"/>
                    <a:pt x="180566" y="469940"/>
                  </a:cubicBezTo>
                  <a:cubicBezTo>
                    <a:pt x="178618" y="470678"/>
                    <a:pt x="175784" y="471729"/>
                    <a:pt x="175143" y="473402"/>
                  </a:cubicBezTo>
                  <a:cubicBezTo>
                    <a:pt x="174487" y="475084"/>
                    <a:pt x="172048" y="483231"/>
                    <a:pt x="172048" y="483231"/>
                  </a:cubicBezTo>
                  <a:cubicBezTo>
                    <a:pt x="172048" y="483231"/>
                    <a:pt x="173831" y="493287"/>
                    <a:pt x="175143" y="494998"/>
                  </a:cubicBezTo>
                  <a:cubicBezTo>
                    <a:pt x="176435" y="496657"/>
                    <a:pt x="185449" y="509562"/>
                    <a:pt x="182624" y="518740"/>
                  </a:cubicBezTo>
                  <a:cubicBezTo>
                    <a:pt x="184432" y="522095"/>
                    <a:pt x="189099" y="526039"/>
                    <a:pt x="189099" y="526039"/>
                  </a:cubicBezTo>
                  <a:lnTo>
                    <a:pt x="186380" y="502591"/>
                  </a:lnTo>
                  <a:lnTo>
                    <a:pt x="191036" y="496512"/>
                  </a:lnTo>
                  <a:lnTo>
                    <a:pt x="197617" y="495230"/>
                  </a:lnTo>
                  <a:lnTo>
                    <a:pt x="200716" y="501058"/>
                  </a:lnTo>
                  <a:cubicBezTo>
                    <a:pt x="200716" y="501058"/>
                    <a:pt x="213511" y="510212"/>
                    <a:pt x="213626" y="511634"/>
                  </a:cubicBezTo>
                  <a:cubicBezTo>
                    <a:pt x="213756" y="513061"/>
                    <a:pt x="218269" y="522987"/>
                    <a:pt x="227452" y="525451"/>
                  </a:cubicBezTo>
                  <a:cubicBezTo>
                    <a:pt x="229376" y="525451"/>
                    <a:pt x="234428" y="512541"/>
                    <a:pt x="227852" y="502986"/>
                  </a:cubicBezTo>
                  <a:cubicBezTo>
                    <a:pt x="229631" y="499361"/>
                    <a:pt x="231593" y="495639"/>
                    <a:pt x="231593" y="495639"/>
                  </a:cubicBezTo>
                  <a:lnTo>
                    <a:pt x="232099" y="500147"/>
                  </a:lnTo>
                  <a:lnTo>
                    <a:pt x="237122" y="505329"/>
                  </a:lnTo>
                  <a:lnTo>
                    <a:pt x="242430" y="507238"/>
                  </a:lnTo>
                  <a:lnTo>
                    <a:pt x="245004" y="513828"/>
                  </a:lnTo>
                  <a:lnTo>
                    <a:pt x="250934" y="516928"/>
                  </a:lnTo>
                  <a:cubicBezTo>
                    <a:pt x="250934" y="516928"/>
                    <a:pt x="253147" y="514628"/>
                    <a:pt x="253773" y="512281"/>
                  </a:cubicBezTo>
                  <a:cubicBezTo>
                    <a:pt x="254434" y="509986"/>
                    <a:pt x="256892" y="511779"/>
                    <a:pt x="255996" y="514117"/>
                  </a:cubicBezTo>
                  <a:cubicBezTo>
                    <a:pt x="255094" y="516445"/>
                    <a:pt x="253932" y="519536"/>
                    <a:pt x="256126" y="519656"/>
                  </a:cubicBezTo>
                  <a:cubicBezTo>
                    <a:pt x="258319" y="519772"/>
                    <a:pt x="264234" y="521459"/>
                    <a:pt x="273177" y="512550"/>
                  </a:cubicBezTo>
                  <a:cubicBezTo>
                    <a:pt x="275110" y="510473"/>
                    <a:pt x="275356" y="510222"/>
                    <a:pt x="278084" y="510222"/>
                  </a:cubicBezTo>
                  <a:cubicBezTo>
                    <a:pt x="280784" y="510222"/>
                    <a:pt x="292672" y="510613"/>
                    <a:pt x="293703" y="507368"/>
                  </a:cubicBezTo>
                  <a:cubicBezTo>
                    <a:pt x="294715" y="504153"/>
                    <a:pt x="295631" y="497693"/>
                    <a:pt x="295631" y="497693"/>
                  </a:cubicBezTo>
                  <a:cubicBezTo>
                    <a:pt x="295631" y="497693"/>
                    <a:pt x="296152" y="500002"/>
                    <a:pt x="298080" y="499134"/>
                  </a:cubicBezTo>
                  <a:cubicBezTo>
                    <a:pt x="300023" y="498228"/>
                    <a:pt x="303518" y="498228"/>
                    <a:pt x="304916" y="499886"/>
                  </a:cubicBezTo>
                  <a:cubicBezTo>
                    <a:pt x="306338" y="501578"/>
                    <a:pt x="316674" y="503623"/>
                    <a:pt x="321846" y="502996"/>
                  </a:cubicBezTo>
                  <a:cubicBezTo>
                    <a:pt x="324315" y="505199"/>
                    <a:pt x="328181" y="506876"/>
                    <a:pt x="331020" y="505334"/>
                  </a:cubicBezTo>
                  <a:cubicBezTo>
                    <a:pt x="333879" y="503777"/>
                    <a:pt x="336569" y="505580"/>
                    <a:pt x="336043" y="507368"/>
                  </a:cubicBezTo>
                  <a:cubicBezTo>
                    <a:pt x="335518" y="509190"/>
                    <a:pt x="335899" y="510082"/>
                    <a:pt x="333609" y="510082"/>
                  </a:cubicBezTo>
                  <a:cubicBezTo>
                    <a:pt x="331280" y="510082"/>
                    <a:pt x="328557" y="509986"/>
                    <a:pt x="328557" y="509986"/>
                  </a:cubicBezTo>
                  <a:lnTo>
                    <a:pt x="322748" y="507243"/>
                  </a:lnTo>
                  <a:cubicBezTo>
                    <a:pt x="322748" y="507243"/>
                    <a:pt x="315517" y="505199"/>
                    <a:pt x="316423" y="508424"/>
                  </a:cubicBezTo>
                  <a:cubicBezTo>
                    <a:pt x="317325" y="511644"/>
                    <a:pt x="316423" y="512676"/>
                    <a:pt x="316423" y="512676"/>
                  </a:cubicBezTo>
                  <a:lnTo>
                    <a:pt x="313849" y="515539"/>
                  </a:lnTo>
                  <a:lnTo>
                    <a:pt x="307620" y="513177"/>
                  </a:lnTo>
                  <a:cubicBezTo>
                    <a:pt x="307620" y="513177"/>
                    <a:pt x="303263" y="518871"/>
                    <a:pt x="302221" y="522105"/>
                  </a:cubicBezTo>
                  <a:cubicBezTo>
                    <a:pt x="301204" y="525325"/>
                    <a:pt x="299893" y="529351"/>
                    <a:pt x="293698" y="535140"/>
                  </a:cubicBezTo>
                  <a:cubicBezTo>
                    <a:pt x="287484" y="540954"/>
                    <a:pt x="286313" y="543919"/>
                    <a:pt x="286212" y="546387"/>
                  </a:cubicBezTo>
                  <a:cubicBezTo>
                    <a:pt x="286082" y="548836"/>
                    <a:pt x="281034" y="553734"/>
                    <a:pt x="281034" y="558275"/>
                  </a:cubicBezTo>
                  <a:cubicBezTo>
                    <a:pt x="281034" y="562792"/>
                    <a:pt x="286212" y="573234"/>
                    <a:pt x="286212" y="573234"/>
                  </a:cubicBezTo>
                  <a:cubicBezTo>
                    <a:pt x="286212" y="573234"/>
                    <a:pt x="292141" y="584244"/>
                    <a:pt x="291490" y="587324"/>
                  </a:cubicBezTo>
                  <a:cubicBezTo>
                    <a:pt x="290864" y="590410"/>
                    <a:pt x="290864" y="592367"/>
                    <a:pt x="290864" y="592367"/>
                  </a:cubicBezTo>
                  <a:lnTo>
                    <a:pt x="296017" y="604626"/>
                  </a:lnTo>
                  <a:lnTo>
                    <a:pt x="301204" y="605532"/>
                  </a:lnTo>
                  <a:cubicBezTo>
                    <a:pt x="301204" y="605532"/>
                    <a:pt x="304694" y="599179"/>
                    <a:pt x="304694" y="600360"/>
                  </a:cubicBezTo>
                  <a:cubicBezTo>
                    <a:pt x="304694" y="601502"/>
                    <a:pt x="304424" y="604722"/>
                    <a:pt x="303007" y="609403"/>
                  </a:cubicBezTo>
                  <a:cubicBezTo>
                    <a:pt x="301580" y="614036"/>
                    <a:pt x="301329" y="617791"/>
                    <a:pt x="301329" y="617791"/>
                  </a:cubicBezTo>
                  <a:lnTo>
                    <a:pt x="306907" y="624241"/>
                  </a:lnTo>
                  <a:lnTo>
                    <a:pt x="306748" y="620520"/>
                  </a:lnTo>
                  <a:cubicBezTo>
                    <a:pt x="306748" y="620520"/>
                    <a:pt x="316433" y="615203"/>
                    <a:pt x="317194" y="604250"/>
                  </a:cubicBezTo>
                  <a:cubicBezTo>
                    <a:pt x="318101" y="610430"/>
                    <a:pt x="318771" y="611602"/>
                    <a:pt x="318771" y="611602"/>
                  </a:cubicBezTo>
                  <a:lnTo>
                    <a:pt x="325341" y="615207"/>
                  </a:lnTo>
                  <a:cubicBezTo>
                    <a:pt x="325341" y="615207"/>
                    <a:pt x="331801" y="606954"/>
                    <a:pt x="335171" y="609794"/>
                  </a:cubicBezTo>
                  <a:cubicBezTo>
                    <a:pt x="332158" y="611650"/>
                    <a:pt x="331411" y="613284"/>
                    <a:pt x="332592" y="615738"/>
                  </a:cubicBezTo>
                  <a:cubicBezTo>
                    <a:pt x="333730" y="618196"/>
                    <a:pt x="333363" y="620129"/>
                    <a:pt x="331681" y="622940"/>
                  </a:cubicBezTo>
                  <a:cubicBezTo>
                    <a:pt x="330003" y="625808"/>
                    <a:pt x="328981" y="626459"/>
                    <a:pt x="328981" y="626459"/>
                  </a:cubicBezTo>
                  <a:lnTo>
                    <a:pt x="324054" y="631617"/>
                  </a:lnTo>
                  <a:lnTo>
                    <a:pt x="328070" y="636799"/>
                  </a:lnTo>
                  <a:lnTo>
                    <a:pt x="322902" y="643881"/>
                  </a:lnTo>
                  <a:cubicBezTo>
                    <a:pt x="322902" y="643881"/>
                    <a:pt x="309732" y="645053"/>
                    <a:pt x="309732" y="646484"/>
                  </a:cubicBezTo>
                  <a:cubicBezTo>
                    <a:pt x="309732" y="647897"/>
                    <a:pt x="309317" y="653455"/>
                    <a:pt x="307780" y="656179"/>
                  </a:cubicBezTo>
                  <a:cubicBezTo>
                    <a:pt x="306218" y="658864"/>
                    <a:pt x="303267" y="667796"/>
                    <a:pt x="318356" y="671769"/>
                  </a:cubicBezTo>
                  <a:cubicBezTo>
                    <a:pt x="310875" y="673181"/>
                    <a:pt x="307833" y="677867"/>
                    <a:pt x="306492" y="679930"/>
                  </a:cubicBezTo>
                  <a:cubicBezTo>
                    <a:pt x="305147" y="681945"/>
                    <a:pt x="297444" y="686887"/>
                    <a:pt x="299131" y="694764"/>
                  </a:cubicBezTo>
                  <a:cubicBezTo>
                    <a:pt x="300794" y="702660"/>
                    <a:pt x="302231" y="706536"/>
                    <a:pt x="302231" y="706536"/>
                  </a:cubicBezTo>
                  <a:cubicBezTo>
                    <a:pt x="302231" y="706536"/>
                    <a:pt x="302231" y="713752"/>
                    <a:pt x="305981" y="718554"/>
                  </a:cubicBezTo>
                  <a:cubicBezTo>
                    <a:pt x="309732" y="723283"/>
                    <a:pt x="314360" y="728480"/>
                    <a:pt x="322758" y="723047"/>
                  </a:cubicBezTo>
                  <a:cubicBezTo>
                    <a:pt x="324175" y="722656"/>
                    <a:pt x="322116" y="725115"/>
                    <a:pt x="320689" y="727462"/>
                  </a:cubicBezTo>
                  <a:cubicBezTo>
                    <a:pt x="319277" y="729791"/>
                    <a:pt x="318361" y="730394"/>
                    <a:pt x="318361" y="730394"/>
                  </a:cubicBezTo>
                  <a:cubicBezTo>
                    <a:pt x="318361" y="730394"/>
                    <a:pt x="310629" y="727945"/>
                    <a:pt x="308156" y="728084"/>
                  </a:cubicBezTo>
                  <a:cubicBezTo>
                    <a:pt x="305726" y="728219"/>
                    <a:pt x="304699" y="726937"/>
                    <a:pt x="304559" y="723712"/>
                  </a:cubicBezTo>
                  <a:cubicBezTo>
                    <a:pt x="304429" y="720477"/>
                    <a:pt x="300177" y="709631"/>
                    <a:pt x="297709" y="709496"/>
                  </a:cubicBezTo>
                  <a:cubicBezTo>
                    <a:pt x="295255" y="709351"/>
                    <a:pt x="288405" y="715449"/>
                    <a:pt x="288405" y="715449"/>
                  </a:cubicBezTo>
                  <a:lnTo>
                    <a:pt x="290473" y="721388"/>
                  </a:lnTo>
                  <a:lnTo>
                    <a:pt x="292026" y="726682"/>
                  </a:lnTo>
                  <a:lnTo>
                    <a:pt x="293187" y="730022"/>
                  </a:lnTo>
                  <a:lnTo>
                    <a:pt x="291380" y="735200"/>
                  </a:lnTo>
                  <a:cubicBezTo>
                    <a:pt x="291380" y="735200"/>
                    <a:pt x="277935" y="713246"/>
                    <a:pt x="268399" y="715825"/>
                  </a:cubicBezTo>
                  <a:cubicBezTo>
                    <a:pt x="258830" y="718409"/>
                    <a:pt x="254443" y="720882"/>
                    <a:pt x="254443" y="720882"/>
                  </a:cubicBezTo>
                  <a:cubicBezTo>
                    <a:pt x="254443" y="720882"/>
                    <a:pt x="249921" y="721769"/>
                    <a:pt x="244122" y="716992"/>
                  </a:cubicBezTo>
                  <a:cubicBezTo>
                    <a:pt x="238313" y="712191"/>
                    <a:pt x="232760" y="708348"/>
                    <a:pt x="233015" y="711289"/>
                  </a:cubicBezTo>
                  <a:cubicBezTo>
                    <a:pt x="233280" y="714283"/>
                    <a:pt x="233145" y="717271"/>
                    <a:pt x="233145" y="717271"/>
                  </a:cubicBezTo>
                  <a:cubicBezTo>
                    <a:pt x="233145" y="717271"/>
                    <a:pt x="219956" y="720342"/>
                    <a:pt x="215188" y="720082"/>
                  </a:cubicBezTo>
                  <a:cubicBezTo>
                    <a:pt x="210421" y="719851"/>
                    <a:pt x="202153" y="721885"/>
                    <a:pt x="194647" y="731849"/>
                  </a:cubicBezTo>
                  <a:cubicBezTo>
                    <a:pt x="187151" y="741799"/>
                    <a:pt x="177080" y="751200"/>
                    <a:pt x="170640" y="752492"/>
                  </a:cubicBezTo>
                  <a:cubicBezTo>
                    <a:pt x="164171" y="753812"/>
                    <a:pt x="154235" y="758590"/>
                    <a:pt x="149569" y="767373"/>
                  </a:cubicBezTo>
                  <a:cubicBezTo>
                    <a:pt x="148928" y="769017"/>
                    <a:pt x="152562" y="769171"/>
                    <a:pt x="156163" y="768810"/>
                  </a:cubicBezTo>
                  <a:cubicBezTo>
                    <a:pt x="159774" y="768395"/>
                    <a:pt x="170520" y="767007"/>
                    <a:pt x="170520" y="767007"/>
                  </a:cubicBezTo>
                  <a:cubicBezTo>
                    <a:pt x="170520" y="767007"/>
                    <a:pt x="174241" y="762302"/>
                    <a:pt x="178127" y="761545"/>
                  </a:cubicBezTo>
                  <a:cubicBezTo>
                    <a:pt x="182012" y="760769"/>
                    <a:pt x="193230" y="758180"/>
                    <a:pt x="197887" y="761545"/>
                  </a:cubicBezTo>
                  <a:cubicBezTo>
                    <a:pt x="202529" y="764910"/>
                    <a:pt x="203310" y="767368"/>
                    <a:pt x="198774" y="774720"/>
                  </a:cubicBezTo>
                  <a:cubicBezTo>
                    <a:pt x="197887" y="776904"/>
                    <a:pt x="199439" y="781695"/>
                    <a:pt x="202529" y="785176"/>
                  </a:cubicBezTo>
                  <a:cubicBezTo>
                    <a:pt x="205638" y="788676"/>
                    <a:pt x="205238" y="789823"/>
                    <a:pt x="203537" y="790999"/>
                  </a:cubicBezTo>
                  <a:cubicBezTo>
                    <a:pt x="201869" y="792142"/>
                    <a:pt x="195944" y="799103"/>
                    <a:pt x="195944" y="799103"/>
                  </a:cubicBezTo>
                  <a:lnTo>
                    <a:pt x="196445" y="804941"/>
                  </a:lnTo>
                  <a:lnTo>
                    <a:pt x="201493" y="811015"/>
                  </a:lnTo>
                  <a:lnTo>
                    <a:pt x="208140" y="811111"/>
                  </a:lnTo>
                  <a:lnTo>
                    <a:pt x="197487" y="816718"/>
                  </a:lnTo>
                  <a:cubicBezTo>
                    <a:pt x="197487" y="816718"/>
                    <a:pt x="191432" y="837476"/>
                    <a:pt x="181082" y="844051"/>
                  </a:cubicBezTo>
                  <a:cubicBezTo>
                    <a:pt x="172554" y="849489"/>
                    <a:pt x="171267" y="848081"/>
                    <a:pt x="169594" y="850246"/>
                  </a:cubicBezTo>
                  <a:cubicBezTo>
                    <a:pt x="162353" y="851682"/>
                    <a:pt x="155657" y="854151"/>
                    <a:pt x="150870" y="856850"/>
                  </a:cubicBezTo>
                  <a:cubicBezTo>
                    <a:pt x="145953" y="855414"/>
                    <a:pt x="144420" y="856069"/>
                    <a:pt x="144420" y="856069"/>
                  </a:cubicBezTo>
                  <a:lnTo>
                    <a:pt x="137970" y="860736"/>
                  </a:lnTo>
                  <a:lnTo>
                    <a:pt x="134456" y="856339"/>
                  </a:lnTo>
                  <a:cubicBezTo>
                    <a:pt x="134456" y="856339"/>
                    <a:pt x="126328" y="866684"/>
                    <a:pt x="122062" y="867437"/>
                  </a:cubicBezTo>
                  <a:cubicBezTo>
                    <a:pt x="117805" y="868222"/>
                    <a:pt x="107074" y="863700"/>
                    <a:pt x="103979" y="862630"/>
                  </a:cubicBezTo>
                  <a:cubicBezTo>
                    <a:pt x="102711" y="866429"/>
                    <a:pt x="102557" y="868603"/>
                    <a:pt x="100489" y="869268"/>
                  </a:cubicBezTo>
                  <a:cubicBezTo>
                    <a:pt x="98460" y="869900"/>
                    <a:pt x="90173" y="872595"/>
                    <a:pt x="90173" y="872595"/>
                  </a:cubicBezTo>
                  <a:lnTo>
                    <a:pt x="83718" y="873877"/>
                  </a:lnTo>
                  <a:cubicBezTo>
                    <a:pt x="83718" y="873877"/>
                    <a:pt x="84884" y="879961"/>
                    <a:pt x="86552" y="880322"/>
                  </a:cubicBezTo>
                  <a:cubicBezTo>
                    <a:pt x="88230" y="880751"/>
                    <a:pt x="92487" y="881764"/>
                    <a:pt x="92487" y="881764"/>
                  </a:cubicBezTo>
                  <a:cubicBezTo>
                    <a:pt x="92487" y="881764"/>
                    <a:pt x="97910" y="890031"/>
                    <a:pt x="95061" y="893145"/>
                  </a:cubicBezTo>
                  <a:cubicBezTo>
                    <a:pt x="92251" y="896221"/>
                    <a:pt x="84108" y="899350"/>
                    <a:pt x="84108" y="899350"/>
                  </a:cubicBezTo>
                  <a:lnTo>
                    <a:pt x="86948" y="905679"/>
                  </a:lnTo>
                  <a:cubicBezTo>
                    <a:pt x="86948" y="905679"/>
                    <a:pt x="91990" y="901529"/>
                    <a:pt x="93933" y="902565"/>
                  </a:cubicBezTo>
                  <a:cubicBezTo>
                    <a:pt x="95852" y="903611"/>
                    <a:pt x="109046" y="907839"/>
                    <a:pt x="110569" y="903206"/>
                  </a:cubicBezTo>
                  <a:cubicBezTo>
                    <a:pt x="112131" y="898545"/>
                    <a:pt x="112637" y="897031"/>
                    <a:pt x="118070" y="896751"/>
                  </a:cubicBezTo>
                  <a:cubicBezTo>
                    <a:pt x="114180" y="899461"/>
                    <a:pt x="113278" y="902059"/>
                    <a:pt x="113278" y="902059"/>
                  </a:cubicBezTo>
                  <a:cubicBezTo>
                    <a:pt x="113278" y="902059"/>
                    <a:pt x="116658" y="907608"/>
                    <a:pt x="113539" y="907993"/>
                  </a:cubicBezTo>
                  <a:cubicBezTo>
                    <a:pt x="110444" y="908369"/>
                    <a:pt x="96873" y="908369"/>
                    <a:pt x="93383" y="906793"/>
                  </a:cubicBezTo>
                  <a:cubicBezTo>
                    <a:pt x="95201" y="909652"/>
                    <a:pt x="96493" y="910066"/>
                    <a:pt x="97158" y="913547"/>
                  </a:cubicBezTo>
                  <a:cubicBezTo>
                    <a:pt x="97780" y="917037"/>
                    <a:pt x="100624" y="920657"/>
                    <a:pt x="103333" y="918931"/>
                  </a:cubicBezTo>
                  <a:cubicBezTo>
                    <a:pt x="106047" y="917297"/>
                    <a:pt x="113534" y="915721"/>
                    <a:pt x="113534" y="915721"/>
                  </a:cubicBezTo>
                  <a:cubicBezTo>
                    <a:pt x="113534" y="915721"/>
                    <a:pt x="123093" y="921429"/>
                    <a:pt x="130315" y="909290"/>
                  </a:cubicBezTo>
                  <a:cubicBezTo>
                    <a:pt x="131727" y="907478"/>
                    <a:pt x="137960" y="908128"/>
                    <a:pt x="140260" y="909184"/>
                  </a:cubicBezTo>
                  <a:cubicBezTo>
                    <a:pt x="142608" y="910162"/>
                    <a:pt x="144791" y="910461"/>
                    <a:pt x="145707" y="907844"/>
                  </a:cubicBezTo>
                  <a:cubicBezTo>
                    <a:pt x="146599" y="905298"/>
                    <a:pt x="149819" y="904903"/>
                    <a:pt x="151907" y="904903"/>
                  </a:cubicBezTo>
                  <a:cubicBezTo>
                    <a:pt x="153960" y="904903"/>
                    <a:pt x="157050" y="905139"/>
                    <a:pt x="155122" y="908133"/>
                  </a:cubicBezTo>
                  <a:cubicBezTo>
                    <a:pt x="153170" y="911069"/>
                    <a:pt x="153044" y="914303"/>
                    <a:pt x="153044" y="914303"/>
                  </a:cubicBezTo>
                  <a:lnTo>
                    <a:pt x="155749" y="919365"/>
                  </a:lnTo>
                  <a:cubicBezTo>
                    <a:pt x="155749" y="919365"/>
                    <a:pt x="171026" y="923395"/>
                    <a:pt x="173725" y="924914"/>
                  </a:cubicBezTo>
                  <a:cubicBezTo>
                    <a:pt x="176430" y="926466"/>
                    <a:pt x="174617" y="927344"/>
                    <a:pt x="173050" y="928395"/>
                  </a:cubicBezTo>
                  <a:cubicBezTo>
                    <a:pt x="171522" y="929445"/>
                    <a:pt x="165954" y="929817"/>
                    <a:pt x="160160" y="927874"/>
                  </a:cubicBezTo>
                  <a:cubicBezTo>
                    <a:pt x="157571" y="932010"/>
                    <a:pt x="157340" y="934035"/>
                    <a:pt x="157340" y="934035"/>
                  </a:cubicBezTo>
                  <a:cubicBezTo>
                    <a:pt x="157340" y="934035"/>
                    <a:pt x="160295" y="940919"/>
                    <a:pt x="161196" y="940292"/>
                  </a:cubicBezTo>
                  <a:cubicBezTo>
                    <a:pt x="162093" y="939641"/>
                    <a:pt x="166745" y="938985"/>
                    <a:pt x="166745" y="938985"/>
                  </a:cubicBezTo>
                  <a:cubicBezTo>
                    <a:pt x="166745" y="938985"/>
                    <a:pt x="173581" y="940398"/>
                    <a:pt x="174612" y="939361"/>
                  </a:cubicBezTo>
                  <a:cubicBezTo>
                    <a:pt x="175639" y="938354"/>
                    <a:pt x="180036" y="934724"/>
                    <a:pt x="183029" y="934724"/>
                  </a:cubicBezTo>
                  <a:cubicBezTo>
                    <a:pt x="185970" y="934724"/>
                    <a:pt x="194623" y="935143"/>
                    <a:pt x="194623" y="935143"/>
                  </a:cubicBezTo>
                  <a:cubicBezTo>
                    <a:pt x="194623" y="935143"/>
                    <a:pt x="201223" y="949307"/>
                    <a:pt x="199916" y="954730"/>
                  </a:cubicBezTo>
                  <a:cubicBezTo>
                    <a:pt x="203421" y="957068"/>
                    <a:pt x="206506" y="958008"/>
                    <a:pt x="208073" y="961325"/>
                  </a:cubicBezTo>
                  <a:cubicBezTo>
                    <a:pt x="209616" y="964699"/>
                    <a:pt x="211018" y="966883"/>
                    <a:pt x="214402" y="968965"/>
                  </a:cubicBezTo>
                  <a:cubicBezTo>
                    <a:pt x="217734" y="971009"/>
                    <a:pt x="227539" y="976192"/>
                    <a:pt x="243968" y="971954"/>
                  </a:cubicBezTo>
                  <a:cubicBezTo>
                    <a:pt x="246817" y="971009"/>
                    <a:pt x="244464" y="964699"/>
                    <a:pt x="259982" y="957188"/>
                  </a:cubicBezTo>
                  <a:cubicBezTo>
                    <a:pt x="262171" y="956147"/>
                    <a:pt x="263203" y="955781"/>
                    <a:pt x="264215" y="957724"/>
                  </a:cubicBezTo>
                  <a:cubicBezTo>
                    <a:pt x="265275" y="959657"/>
                    <a:pt x="269899" y="960177"/>
                    <a:pt x="272752" y="958379"/>
                  </a:cubicBezTo>
                  <a:cubicBezTo>
                    <a:pt x="275601" y="956557"/>
                    <a:pt x="277669" y="955916"/>
                    <a:pt x="280104" y="956432"/>
                  </a:cubicBezTo>
                  <a:cubicBezTo>
                    <a:pt x="282572" y="956957"/>
                    <a:pt x="283850" y="956706"/>
                    <a:pt x="287094" y="953592"/>
                  </a:cubicBezTo>
                  <a:cubicBezTo>
                    <a:pt x="290309" y="950502"/>
                    <a:pt x="306073" y="936937"/>
                    <a:pt x="313830" y="935009"/>
                  </a:cubicBezTo>
                  <a:cubicBezTo>
                    <a:pt x="314476" y="935009"/>
                    <a:pt x="315502" y="939916"/>
                    <a:pt x="312412" y="939916"/>
                  </a:cubicBezTo>
                  <a:cubicBezTo>
                    <a:pt x="309288" y="939916"/>
                    <a:pt x="305957" y="941198"/>
                    <a:pt x="302313" y="945455"/>
                  </a:cubicBezTo>
                  <a:cubicBezTo>
                    <a:pt x="298712" y="949721"/>
                    <a:pt x="287740" y="961088"/>
                    <a:pt x="284124" y="966772"/>
                  </a:cubicBezTo>
                  <a:cubicBezTo>
                    <a:pt x="282953" y="967683"/>
                    <a:pt x="275601" y="967143"/>
                    <a:pt x="269643" y="972822"/>
                  </a:cubicBezTo>
                  <a:cubicBezTo>
                    <a:pt x="263704" y="978506"/>
                    <a:pt x="261004" y="980458"/>
                    <a:pt x="259587" y="981229"/>
                  </a:cubicBezTo>
                  <a:cubicBezTo>
                    <a:pt x="258179" y="982005"/>
                    <a:pt x="257263" y="985761"/>
                    <a:pt x="255470" y="987198"/>
                  </a:cubicBezTo>
                  <a:cubicBezTo>
                    <a:pt x="253657" y="988605"/>
                    <a:pt x="251835" y="992727"/>
                    <a:pt x="253392" y="999712"/>
                  </a:cubicBezTo>
                  <a:cubicBezTo>
                    <a:pt x="246282" y="1000599"/>
                    <a:pt x="237894" y="998811"/>
                    <a:pt x="237894" y="998811"/>
                  </a:cubicBezTo>
                  <a:lnTo>
                    <a:pt x="231039" y="1000483"/>
                  </a:lnTo>
                  <a:lnTo>
                    <a:pt x="218784" y="998912"/>
                  </a:lnTo>
                  <a:cubicBezTo>
                    <a:pt x="218784" y="998912"/>
                    <a:pt x="210392" y="986643"/>
                    <a:pt x="201984" y="990524"/>
                  </a:cubicBezTo>
                  <a:cubicBezTo>
                    <a:pt x="199540" y="991324"/>
                    <a:pt x="189609" y="985105"/>
                    <a:pt x="189609" y="985105"/>
                  </a:cubicBezTo>
                  <a:cubicBezTo>
                    <a:pt x="186235" y="985645"/>
                    <a:pt x="177563" y="984199"/>
                    <a:pt x="174092" y="985105"/>
                  </a:cubicBezTo>
                  <a:cubicBezTo>
                    <a:pt x="170611" y="985997"/>
                    <a:pt x="170611" y="986272"/>
                    <a:pt x="167892" y="985105"/>
                  </a:cubicBezTo>
                  <a:cubicBezTo>
                    <a:pt x="165178" y="983953"/>
                    <a:pt x="149424" y="981229"/>
                    <a:pt x="149670" y="1000850"/>
                  </a:cubicBezTo>
                  <a:cubicBezTo>
                    <a:pt x="149670" y="1002551"/>
                    <a:pt x="139725" y="1008741"/>
                    <a:pt x="139725" y="1008741"/>
                  </a:cubicBezTo>
                  <a:lnTo>
                    <a:pt x="132884" y="1007960"/>
                  </a:lnTo>
                  <a:cubicBezTo>
                    <a:pt x="132884" y="1007960"/>
                    <a:pt x="127982" y="1003708"/>
                    <a:pt x="126299" y="1004981"/>
                  </a:cubicBezTo>
                  <a:cubicBezTo>
                    <a:pt x="124622" y="1006297"/>
                    <a:pt x="116735" y="1010930"/>
                    <a:pt x="116735" y="1027474"/>
                  </a:cubicBezTo>
                  <a:cubicBezTo>
                    <a:pt x="116884" y="1030825"/>
                    <a:pt x="114026" y="1034426"/>
                    <a:pt x="112483" y="1035197"/>
                  </a:cubicBezTo>
                  <a:cubicBezTo>
                    <a:pt x="110926" y="1035993"/>
                    <a:pt x="94536" y="1047741"/>
                    <a:pt x="94536" y="1047741"/>
                  </a:cubicBezTo>
                  <a:lnTo>
                    <a:pt x="91320" y="1053294"/>
                  </a:lnTo>
                  <a:cubicBezTo>
                    <a:pt x="91320" y="1053294"/>
                    <a:pt x="79167" y="1053800"/>
                    <a:pt x="78767" y="1056659"/>
                  </a:cubicBezTo>
                  <a:cubicBezTo>
                    <a:pt x="78381" y="1059494"/>
                    <a:pt x="78516" y="1063750"/>
                    <a:pt x="76429" y="1061036"/>
                  </a:cubicBezTo>
                  <a:cubicBezTo>
                    <a:pt x="74390" y="1058361"/>
                    <a:pt x="71141" y="1055873"/>
                    <a:pt x="69979" y="1057537"/>
                  </a:cubicBezTo>
                  <a:cubicBezTo>
                    <a:pt x="68822" y="1059214"/>
                    <a:pt x="67660" y="1060776"/>
                    <a:pt x="67405" y="1063239"/>
                  </a:cubicBezTo>
                  <a:cubicBezTo>
                    <a:pt x="67130" y="1065703"/>
                    <a:pt x="64570" y="1072563"/>
                    <a:pt x="54871" y="1074848"/>
                  </a:cubicBezTo>
                  <a:cubicBezTo>
                    <a:pt x="53323" y="1076819"/>
                    <a:pt x="49843" y="1086760"/>
                    <a:pt x="32035" y="1090737"/>
                  </a:cubicBezTo>
                  <a:cubicBezTo>
                    <a:pt x="27759" y="1094251"/>
                    <a:pt x="26081" y="1095273"/>
                    <a:pt x="26081" y="1095273"/>
                  </a:cubicBezTo>
                  <a:lnTo>
                    <a:pt x="19636" y="1091662"/>
                  </a:lnTo>
                  <a:cubicBezTo>
                    <a:pt x="19636" y="1091662"/>
                    <a:pt x="-404" y="1095389"/>
                    <a:pt x="6" y="1103656"/>
                  </a:cubicBezTo>
                  <a:cubicBezTo>
                    <a:pt x="392" y="1111895"/>
                    <a:pt x="3496" y="1111895"/>
                    <a:pt x="6837" y="1111519"/>
                  </a:cubicBezTo>
                  <a:cubicBezTo>
                    <a:pt x="10217" y="1111143"/>
                    <a:pt x="16792" y="1107792"/>
                    <a:pt x="19882" y="1103545"/>
                  </a:cubicBezTo>
                  <a:cubicBezTo>
                    <a:pt x="24534" y="1106606"/>
                    <a:pt x="34855" y="1111143"/>
                    <a:pt x="35250" y="1118745"/>
                  </a:cubicBezTo>
                  <a:cubicBezTo>
                    <a:pt x="35636" y="1126371"/>
                    <a:pt x="36547" y="1130030"/>
                    <a:pt x="38606" y="1127948"/>
                  </a:cubicBezTo>
                  <a:cubicBezTo>
                    <a:pt x="40664" y="1125851"/>
                    <a:pt x="42101" y="1124583"/>
                    <a:pt x="44280" y="1125354"/>
                  </a:cubicBezTo>
                  <a:cubicBezTo>
                    <a:pt x="46487" y="1126159"/>
                    <a:pt x="48681" y="1126371"/>
                    <a:pt x="50233" y="1124583"/>
                  </a:cubicBezTo>
                  <a:cubicBezTo>
                    <a:pt x="51776" y="1122790"/>
                    <a:pt x="54871" y="1119781"/>
                    <a:pt x="53198" y="1117892"/>
                  </a:cubicBezTo>
                  <a:cubicBezTo>
                    <a:pt x="51520" y="1115954"/>
                    <a:pt x="48556" y="1113192"/>
                    <a:pt x="51520" y="1111900"/>
                  </a:cubicBezTo>
                  <a:cubicBezTo>
                    <a:pt x="54509" y="1110617"/>
                    <a:pt x="56683" y="1108433"/>
                    <a:pt x="56683" y="1108433"/>
                  </a:cubicBezTo>
                  <a:lnTo>
                    <a:pt x="59653" y="1102755"/>
                  </a:lnTo>
                  <a:cubicBezTo>
                    <a:pt x="59653" y="1102755"/>
                    <a:pt x="60945" y="1110989"/>
                    <a:pt x="61726" y="1109263"/>
                  </a:cubicBezTo>
                  <a:cubicBezTo>
                    <a:pt x="62512" y="1107532"/>
                    <a:pt x="70649" y="1098628"/>
                    <a:pt x="79027" y="1101583"/>
                  </a:cubicBezTo>
                  <a:cubicBezTo>
                    <a:pt x="82127" y="1102759"/>
                    <a:pt x="85487" y="1086629"/>
                    <a:pt x="88461" y="1089474"/>
                  </a:cubicBezTo>
                  <a:cubicBezTo>
                    <a:pt x="91426" y="1092289"/>
                    <a:pt x="92578" y="1093224"/>
                    <a:pt x="95307" y="1092405"/>
                  </a:cubicBezTo>
                  <a:cubicBezTo>
                    <a:pt x="98035" y="1091667"/>
                    <a:pt x="99043" y="1089580"/>
                    <a:pt x="101260" y="1092029"/>
                  </a:cubicBezTo>
                  <a:cubicBezTo>
                    <a:pt x="103435" y="1094507"/>
                    <a:pt x="105372" y="1095273"/>
                    <a:pt x="107455" y="1093711"/>
                  </a:cubicBezTo>
                  <a:cubicBezTo>
                    <a:pt x="109528" y="1092178"/>
                    <a:pt x="119058" y="1088673"/>
                    <a:pt x="123195" y="1092178"/>
                  </a:cubicBezTo>
                  <a:cubicBezTo>
                    <a:pt x="127321" y="1095663"/>
                    <a:pt x="132624" y="1095148"/>
                    <a:pt x="132624" y="1095148"/>
                  </a:cubicBezTo>
                  <a:lnTo>
                    <a:pt x="132229" y="1088432"/>
                  </a:lnTo>
                  <a:lnTo>
                    <a:pt x="135733" y="1081331"/>
                  </a:lnTo>
                  <a:lnTo>
                    <a:pt x="138713" y="1081462"/>
                  </a:lnTo>
                  <a:cubicBezTo>
                    <a:pt x="138713" y="1081462"/>
                    <a:pt x="133930" y="1088794"/>
                    <a:pt x="137411" y="1091503"/>
                  </a:cubicBezTo>
                  <a:cubicBezTo>
                    <a:pt x="140901" y="1094251"/>
                    <a:pt x="141682" y="1095389"/>
                    <a:pt x="141542" y="1097838"/>
                  </a:cubicBezTo>
                  <a:cubicBezTo>
                    <a:pt x="141412" y="1100296"/>
                    <a:pt x="141822" y="1101853"/>
                    <a:pt x="144767" y="1102514"/>
                  </a:cubicBezTo>
                  <a:cubicBezTo>
                    <a:pt x="147737" y="1103131"/>
                    <a:pt x="154592" y="1106206"/>
                    <a:pt x="154592" y="1106206"/>
                  </a:cubicBezTo>
                  <a:lnTo>
                    <a:pt x="165684" y="1120162"/>
                  </a:lnTo>
                  <a:cubicBezTo>
                    <a:pt x="165684" y="1120162"/>
                    <a:pt x="171233" y="1122505"/>
                    <a:pt x="172414" y="1121589"/>
                  </a:cubicBezTo>
                  <a:cubicBezTo>
                    <a:pt x="173561" y="1120697"/>
                    <a:pt x="177187" y="1115144"/>
                    <a:pt x="177187" y="1115144"/>
                  </a:cubicBezTo>
                  <a:lnTo>
                    <a:pt x="179520" y="1109981"/>
                  </a:lnTo>
                  <a:lnTo>
                    <a:pt x="192030" y="1101853"/>
                  </a:lnTo>
                  <a:lnTo>
                    <a:pt x="189074" y="1095143"/>
                  </a:lnTo>
                  <a:lnTo>
                    <a:pt x="194102" y="1089035"/>
                  </a:lnTo>
                  <a:cubicBezTo>
                    <a:pt x="194102" y="1089035"/>
                    <a:pt x="194883" y="1084296"/>
                    <a:pt x="196412" y="1081462"/>
                  </a:cubicBezTo>
                  <a:cubicBezTo>
                    <a:pt x="197973" y="1078593"/>
                    <a:pt x="202746" y="1073425"/>
                    <a:pt x="202355" y="1063890"/>
                  </a:cubicBezTo>
                  <a:cubicBezTo>
                    <a:pt x="205325" y="1074616"/>
                    <a:pt x="207412" y="1074327"/>
                    <a:pt x="208700" y="1073681"/>
                  </a:cubicBezTo>
                  <a:cubicBezTo>
                    <a:pt x="209996" y="1073040"/>
                    <a:pt x="215535" y="1071531"/>
                    <a:pt x="215535" y="1071531"/>
                  </a:cubicBezTo>
                  <a:lnTo>
                    <a:pt x="221330" y="1067356"/>
                  </a:lnTo>
                  <a:cubicBezTo>
                    <a:pt x="221330" y="1067356"/>
                    <a:pt x="233242" y="1065037"/>
                    <a:pt x="235175" y="1066218"/>
                  </a:cubicBezTo>
                  <a:cubicBezTo>
                    <a:pt x="237098" y="1067356"/>
                    <a:pt x="237884" y="1067501"/>
                    <a:pt x="239952" y="1067241"/>
                  </a:cubicBezTo>
                  <a:cubicBezTo>
                    <a:pt x="242030" y="1066990"/>
                    <a:pt x="246672" y="1064637"/>
                    <a:pt x="248094" y="1064637"/>
                  </a:cubicBezTo>
                  <a:cubicBezTo>
                    <a:pt x="249521" y="1064637"/>
                    <a:pt x="281020" y="1076810"/>
                    <a:pt x="283189" y="1098498"/>
                  </a:cubicBezTo>
                  <a:cubicBezTo>
                    <a:pt x="284259" y="1086625"/>
                    <a:pt x="284259" y="1085058"/>
                    <a:pt x="287094" y="1084402"/>
                  </a:cubicBezTo>
                  <a:cubicBezTo>
                    <a:pt x="289904" y="1083776"/>
                    <a:pt x="291862" y="1084296"/>
                    <a:pt x="291862" y="1084296"/>
                  </a:cubicBezTo>
                  <a:lnTo>
                    <a:pt x="309544" y="1089835"/>
                  </a:lnTo>
                  <a:cubicBezTo>
                    <a:pt x="309544" y="1089835"/>
                    <a:pt x="316790" y="1096521"/>
                    <a:pt x="321962" y="1095143"/>
                  </a:cubicBezTo>
                  <a:cubicBezTo>
                    <a:pt x="327120" y="1093706"/>
                    <a:pt x="327896" y="1090086"/>
                    <a:pt x="327896" y="1090086"/>
                  </a:cubicBezTo>
                  <a:cubicBezTo>
                    <a:pt x="327896" y="1090086"/>
                    <a:pt x="321962" y="1080536"/>
                    <a:pt x="319369" y="1078858"/>
                  </a:cubicBezTo>
                  <a:cubicBezTo>
                    <a:pt x="322724" y="1077557"/>
                    <a:pt x="328417" y="1079794"/>
                    <a:pt x="332278" y="1081944"/>
                  </a:cubicBezTo>
                  <a:cubicBezTo>
                    <a:pt x="333855" y="1082595"/>
                    <a:pt x="338743" y="1080415"/>
                    <a:pt x="338743" y="1080415"/>
                  </a:cubicBezTo>
                  <a:lnTo>
                    <a:pt x="344687" y="1082223"/>
                  </a:lnTo>
                  <a:lnTo>
                    <a:pt x="352294" y="1081327"/>
                  </a:lnTo>
                  <a:lnTo>
                    <a:pt x="359289" y="1083911"/>
                  </a:lnTo>
                  <a:cubicBezTo>
                    <a:pt x="359289" y="1083911"/>
                    <a:pt x="363145" y="1080290"/>
                    <a:pt x="366636" y="1080666"/>
                  </a:cubicBezTo>
                  <a:cubicBezTo>
                    <a:pt x="370126" y="1081076"/>
                    <a:pt x="379815" y="1076516"/>
                    <a:pt x="382915" y="1074211"/>
                  </a:cubicBezTo>
                  <a:cubicBezTo>
                    <a:pt x="379541" y="1070215"/>
                    <a:pt x="376586" y="1066069"/>
                    <a:pt x="376846" y="1061292"/>
                  </a:cubicBezTo>
                  <a:cubicBezTo>
                    <a:pt x="383812" y="1067356"/>
                    <a:pt x="384626" y="1067747"/>
                    <a:pt x="385620" y="1071637"/>
                  </a:cubicBezTo>
                  <a:cubicBezTo>
                    <a:pt x="386627" y="1075494"/>
                    <a:pt x="393000" y="1082595"/>
                    <a:pt x="399841" y="1079244"/>
                  </a:cubicBezTo>
                  <a:cubicBezTo>
                    <a:pt x="400091" y="1078463"/>
                    <a:pt x="397893" y="1072553"/>
                    <a:pt x="400352" y="1073295"/>
                  </a:cubicBezTo>
                  <a:cubicBezTo>
                    <a:pt x="402796" y="1074086"/>
                    <a:pt x="404608" y="1073194"/>
                    <a:pt x="404729" y="1075378"/>
                  </a:cubicBezTo>
                  <a:cubicBezTo>
                    <a:pt x="404869" y="1077562"/>
                    <a:pt x="405384" y="1083481"/>
                    <a:pt x="406291" y="1081944"/>
                  </a:cubicBezTo>
                  <a:cubicBezTo>
                    <a:pt x="407192" y="1080415"/>
                    <a:pt x="409516" y="1074838"/>
                    <a:pt x="411960" y="1075098"/>
                  </a:cubicBezTo>
                  <a:cubicBezTo>
                    <a:pt x="414409" y="1075378"/>
                    <a:pt x="417137" y="1076033"/>
                    <a:pt x="417253" y="1078063"/>
                  </a:cubicBezTo>
                  <a:cubicBezTo>
                    <a:pt x="417393" y="1080150"/>
                    <a:pt x="420743" y="1089989"/>
                    <a:pt x="422426" y="1089469"/>
                  </a:cubicBezTo>
                  <a:cubicBezTo>
                    <a:pt x="431204" y="1086625"/>
                    <a:pt x="447093" y="1085574"/>
                    <a:pt x="455737" y="1087618"/>
                  </a:cubicBezTo>
                  <a:cubicBezTo>
                    <a:pt x="458677" y="1088640"/>
                    <a:pt x="463392" y="1087439"/>
                    <a:pt x="463392" y="108743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77" name="Freihandform: Form 476">
              <a:extLst>
                <a:ext uri="{FF2B5EF4-FFF2-40B4-BE49-F238E27FC236}">
                  <a16:creationId xmlns:a16="http://schemas.microsoft.com/office/drawing/2014/main" id="{F4A1A63A-3FE3-FA60-6C71-273507F85B5C}"/>
                </a:ext>
              </a:extLst>
            </p:cNvPr>
            <p:cNvSpPr/>
            <p:nvPr/>
          </p:nvSpPr>
          <p:spPr>
            <a:xfrm>
              <a:off x="4219824" y="2709828"/>
              <a:ext cx="9524" cy="17463"/>
            </a:xfrm>
            <a:custGeom>
              <a:avLst/>
              <a:gdLst>
                <a:gd name="connsiteX0" fmla="*/ 0 w 6488"/>
                <a:gd name="connsiteY0" fmla="*/ 949 h 13593"/>
                <a:gd name="connsiteX1" fmla="*/ 6445 w 6488"/>
                <a:gd name="connsiteY1" fmla="*/ 693 h 13593"/>
                <a:gd name="connsiteX2" fmla="*/ 4507 w 6488"/>
                <a:gd name="connsiteY2" fmla="*/ 8561 h 13593"/>
                <a:gd name="connsiteX3" fmla="*/ 2584 w 6488"/>
                <a:gd name="connsiteY3" fmla="*/ 13593 h 13593"/>
                <a:gd name="connsiteX4" fmla="*/ 1162 w 6488"/>
                <a:gd name="connsiteY4" fmla="*/ 10229 h 13593"/>
                <a:gd name="connsiteX5" fmla="*/ 0 w 6488"/>
                <a:gd name="connsiteY5" fmla="*/ 949 h 13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88" h="13593">
                  <a:moveTo>
                    <a:pt x="0" y="949"/>
                  </a:moveTo>
                  <a:cubicBezTo>
                    <a:pt x="0" y="949"/>
                    <a:pt x="7106" y="-1004"/>
                    <a:pt x="6445" y="693"/>
                  </a:cubicBezTo>
                  <a:cubicBezTo>
                    <a:pt x="5809" y="2361"/>
                    <a:pt x="4011" y="6112"/>
                    <a:pt x="4507" y="8561"/>
                  </a:cubicBezTo>
                  <a:cubicBezTo>
                    <a:pt x="5033" y="11009"/>
                    <a:pt x="3620" y="12947"/>
                    <a:pt x="2584" y="13593"/>
                  </a:cubicBezTo>
                  <a:cubicBezTo>
                    <a:pt x="2584" y="13593"/>
                    <a:pt x="1803" y="13593"/>
                    <a:pt x="1162" y="10229"/>
                  </a:cubicBezTo>
                  <a:cubicBezTo>
                    <a:pt x="501" y="6869"/>
                    <a:pt x="0" y="949"/>
                    <a:pt x="0" y="94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78" name="Freihandform: Form 477">
              <a:extLst>
                <a:ext uri="{FF2B5EF4-FFF2-40B4-BE49-F238E27FC236}">
                  <a16:creationId xmlns:a16="http://schemas.microsoft.com/office/drawing/2014/main" id="{EFF0DCB7-BD3D-6FBF-E107-E380F3EDF1E1}"/>
                </a:ext>
              </a:extLst>
            </p:cNvPr>
            <p:cNvSpPr/>
            <p:nvPr/>
          </p:nvSpPr>
          <p:spPr>
            <a:xfrm>
              <a:off x="4257919" y="2636800"/>
              <a:ext cx="23810" cy="19051"/>
            </a:xfrm>
            <a:custGeom>
              <a:avLst/>
              <a:gdLst>
                <a:gd name="connsiteX0" fmla="*/ 227 w 19336"/>
                <a:gd name="connsiteY0" fmla="*/ 12521 h 13939"/>
                <a:gd name="connsiteX1" fmla="*/ 8490 w 19336"/>
                <a:gd name="connsiteY1" fmla="*/ 773 h 13939"/>
                <a:gd name="connsiteX2" fmla="*/ 19206 w 19336"/>
                <a:gd name="connsiteY2" fmla="*/ 1549 h 13939"/>
                <a:gd name="connsiteX3" fmla="*/ 11975 w 19336"/>
                <a:gd name="connsiteY3" fmla="*/ 8906 h 13939"/>
                <a:gd name="connsiteX4" fmla="*/ 3717 w 19336"/>
                <a:gd name="connsiteY4" fmla="*/ 11239 h 13939"/>
                <a:gd name="connsiteX5" fmla="*/ 227 w 19336"/>
                <a:gd name="connsiteY5" fmla="*/ 12521 h 1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36" h="13939">
                  <a:moveTo>
                    <a:pt x="227" y="12521"/>
                  </a:moveTo>
                  <a:cubicBezTo>
                    <a:pt x="1673" y="8491"/>
                    <a:pt x="6827" y="1308"/>
                    <a:pt x="8490" y="773"/>
                  </a:cubicBezTo>
                  <a:cubicBezTo>
                    <a:pt x="10163" y="272"/>
                    <a:pt x="20614" y="-1025"/>
                    <a:pt x="19206" y="1549"/>
                  </a:cubicBezTo>
                  <a:cubicBezTo>
                    <a:pt x="17779" y="4148"/>
                    <a:pt x="15721" y="8149"/>
                    <a:pt x="11975" y="8906"/>
                  </a:cubicBezTo>
                  <a:cubicBezTo>
                    <a:pt x="8225" y="9696"/>
                    <a:pt x="4600" y="9812"/>
                    <a:pt x="3717" y="11239"/>
                  </a:cubicBezTo>
                  <a:cubicBezTo>
                    <a:pt x="2811" y="12656"/>
                    <a:pt x="-954" y="15746"/>
                    <a:pt x="227" y="1252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79" name="Freihandform: Form 478">
              <a:extLst>
                <a:ext uri="{FF2B5EF4-FFF2-40B4-BE49-F238E27FC236}">
                  <a16:creationId xmlns:a16="http://schemas.microsoft.com/office/drawing/2014/main" id="{78240459-7D67-5017-8FF6-3BCB8D2C163D}"/>
                </a:ext>
              </a:extLst>
            </p:cNvPr>
            <p:cNvSpPr/>
            <p:nvPr/>
          </p:nvSpPr>
          <p:spPr>
            <a:xfrm>
              <a:off x="4245221" y="2646326"/>
              <a:ext cx="6349" cy="14288"/>
            </a:xfrm>
            <a:custGeom>
              <a:avLst/>
              <a:gdLst>
                <a:gd name="connsiteX0" fmla="*/ 3099 w 4901"/>
                <a:gd name="connsiteY0" fmla="*/ 0 h 11915"/>
                <a:gd name="connsiteX1" fmla="*/ 4 w 4901"/>
                <a:gd name="connsiteY1" fmla="*/ 5693 h 11915"/>
                <a:gd name="connsiteX2" fmla="*/ 1682 w 4901"/>
                <a:gd name="connsiteY2" fmla="*/ 11897 h 11915"/>
                <a:gd name="connsiteX3" fmla="*/ 4902 w 4901"/>
                <a:gd name="connsiteY3" fmla="*/ 10861 h 11915"/>
                <a:gd name="connsiteX4" fmla="*/ 3099 w 4901"/>
                <a:gd name="connsiteY4" fmla="*/ 0 h 119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1" h="11915">
                  <a:moveTo>
                    <a:pt x="3099" y="0"/>
                  </a:moveTo>
                  <a:cubicBezTo>
                    <a:pt x="3099" y="0"/>
                    <a:pt x="-131" y="5168"/>
                    <a:pt x="4" y="5693"/>
                  </a:cubicBezTo>
                  <a:cubicBezTo>
                    <a:pt x="134" y="6204"/>
                    <a:pt x="771" y="11897"/>
                    <a:pt x="1682" y="11897"/>
                  </a:cubicBezTo>
                  <a:cubicBezTo>
                    <a:pt x="2578" y="11897"/>
                    <a:pt x="4902" y="12139"/>
                    <a:pt x="4902" y="10861"/>
                  </a:cubicBezTo>
                  <a:cubicBezTo>
                    <a:pt x="4902" y="9574"/>
                    <a:pt x="3099" y="0"/>
                    <a:pt x="3099"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80" name="Freihandform: Form 479">
              <a:extLst>
                <a:ext uri="{FF2B5EF4-FFF2-40B4-BE49-F238E27FC236}">
                  <a16:creationId xmlns:a16="http://schemas.microsoft.com/office/drawing/2014/main" id="{47B8CFD3-DFF1-DB45-85A6-E240B95851D6}"/>
                </a:ext>
              </a:extLst>
            </p:cNvPr>
            <p:cNvSpPr/>
            <p:nvPr/>
          </p:nvSpPr>
          <p:spPr>
            <a:xfrm>
              <a:off x="4232522" y="2620925"/>
              <a:ext cx="11112" cy="23813"/>
            </a:xfrm>
            <a:custGeom>
              <a:avLst/>
              <a:gdLst>
                <a:gd name="connsiteX0" fmla="*/ 4642 w 9675"/>
                <a:gd name="connsiteY0" fmla="*/ 0 h 18733"/>
                <a:gd name="connsiteX1" fmla="*/ 0 w 9675"/>
                <a:gd name="connsiteY1" fmla="*/ 7236 h 18733"/>
                <a:gd name="connsiteX2" fmla="*/ 646 w 9675"/>
                <a:gd name="connsiteY2" fmla="*/ 13705 h 18733"/>
                <a:gd name="connsiteX3" fmla="*/ 6440 w 9675"/>
                <a:gd name="connsiteY3" fmla="*/ 13035 h 18733"/>
                <a:gd name="connsiteX4" fmla="*/ 8648 w 9675"/>
                <a:gd name="connsiteY4" fmla="*/ 18733 h 18733"/>
                <a:gd name="connsiteX5" fmla="*/ 9675 w 9675"/>
                <a:gd name="connsiteY5" fmla="*/ 13035 h 18733"/>
                <a:gd name="connsiteX6" fmla="*/ 4507 w 9675"/>
                <a:gd name="connsiteY6" fmla="*/ 6441 h 18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75" h="18733">
                  <a:moveTo>
                    <a:pt x="4642" y="0"/>
                  </a:moveTo>
                  <a:lnTo>
                    <a:pt x="0" y="7236"/>
                  </a:lnTo>
                  <a:lnTo>
                    <a:pt x="646" y="13705"/>
                  </a:lnTo>
                  <a:lnTo>
                    <a:pt x="6440" y="13035"/>
                  </a:lnTo>
                  <a:lnTo>
                    <a:pt x="8648" y="18733"/>
                  </a:lnTo>
                  <a:lnTo>
                    <a:pt x="9675" y="13035"/>
                  </a:lnTo>
                  <a:lnTo>
                    <a:pt x="4507" y="644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81" name="Freihandform: Form 480">
              <a:extLst>
                <a:ext uri="{FF2B5EF4-FFF2-40B4-BE49-F238E27FC236}">
                  <a16:creationId xmlns:a16="http://schemas.microsoft.com/office/drawing/2014/main" id="{D961D06A-26ED-F1F2-9F7C-4D3F0B6F8FA6}"/>
                </a:ext>
              </a:extLst>
            </p:cNvPr>
            <p:cNvSpPr/>
            <p:nvPr/>
          </p:nvSpPr>
          <p:spPr>
            <a:xfrm>
              <a:off x="4259507" y="2660613"/>
              <a:ext cx="9524" cy="7938"/>
            </a:xfrm>
            <a:custGeom>
              <a:avLst/>
              <a:gdLst>
                <a:gd name="connsiteX0" fmla="*/ 0 w 7361"/>
                <a:gd name="connsiteY0" fmla="*/ 0 h 6729"/>
                <a:gd name="connsiteX1" fmla="*/ 7361 w 7361"/>
                <a:gd name="connsiteY1" fmla="*/ 5794 h 6729"/>
                <a:gd name="connsiteX2" fmla="*/ 641 w 7361"/>
                <a:gd name="connsiteY2" fmla="*/ 6730 h 6729"/>
              </a:gdLst>
              <a:ahLst/>
              <a:cxnLst>
                <a:cxn ang="0">
                  <a:pos x="connsiteX0" y="connsiteY0"/>
                </a:cxn>
                <a:cxn ang="0">
                  <a:pos x="connsiteX1" y="connsiteY1"/>
                </a:cxn>
                <a:cxn ang="0">
                  <a:pos x="connsiteX2" y="connsiteY2"/>
                </a:cxn>
              </a:cxnLst>
              <a:rect l="l" t="t" r="r" b="b"/>
              <a:pathLst>
                <a:path w="7361" h="6729">
                  <a:moveTo>
                    <a:pt x="0" y="0"/>
                  </a:moveTo>
                  <a:lnTo>
                    <a:pt x="7361" y="5794"/>
                  </a:lnTo>
                  <a:lnTo>
                    <a:pt x="641" y="673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82" name="Freihandform: Form 481">
              <a:extLst>
                <a:ext uri="{FF2B5EF4-FFF2-40B4-BE49-F238E27FC236}">
                  <a16:creationId xmlns:a16="http://schemas.microsoft.com/office/drawing/2014/main" id="{3A9AD95E-21F5-C49C-5BBC-E3BBDEFB623D}"/>
                </a:ext>
              </a:extLst>
            </p:cNvPr>
            <p:cNvSpPr/>
            <p:nvPr/>
          </p:nvSpPr>
          <p:spPr>
            <a:xfrm>
              <a:off x="4221411" y="2651088"/>
              <a:ext cx="11111" cy="7938"/>
            </a:xfrm>
            <a:custGeom>
              <a:avLst/>
              <a:gdLst>
                <a:gd name="connsiteX0" fmla="*/ 5944 w 8672"/>
                <a:gd name="connsiteY0" fmla="*/ 0 h 6705"/>
                <a:gd name="connsiteX1" fmla="*/ 8673 w 8672"/>
                <a:gd name="connsiteY1" fmla="*/ 6084 h 6705"/>
                <a:gd name="connsiteX2" fmla="*/ 6185 w 8672"/>
                <a:gd name="connsiteY2" fmla="*/ 6706 h 6705"/>
                <a:gd name="connsiteX3" fmla="*/ 0 w 8672"/>
                <a:gd name="connsiteY3" fmla="*/ 1282 h 6705"/>
              </a:gdLst>
              <a:ahLst/>
              <a:cxnLst>
                <a:cxn ang="0">
                  <a:pos x="connsiteX0" y="connsiteY0"/>
                </a:cxn>
                <a:cxn ang="0">
                  <a:pos x="connsiteX1" y="connsiteY1"/>
                </a:cxn>
                <a:cxn ang="0">
                  <a:pos x="connsiteX2" y="connsiteY2"/>
                </a:cxn>
                <a:cxn ang="0">
                  <a:pos x="connsiteX3" y="connsiteY3"/>
                </a:cxn>
              </a:cxnLst>
              <a:rect l="l" t="t" r="r" b="b"/>
              <a:pathLst>
                <a:path w="8672" h="6705">
                  <a:moveTo>
                    <a:pt x="5944" y="0"/>
                  </a:moveTo>
                  <a:lnTo>
                    <a:pt x="8673" y="6084"/>
                  </a:lnTo>
                  <a:lnTo>
                    <a:pt x="6185" y="6706"/>
                  </a:lnTo>
                  <a:lnTo>
                    <a:pt x="0" y="128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83" name="Freihandform: Form 482">
              <a:extLst>
                <a:ext uri="{FF2B5EF4-FFF2-40B4-BE49-F238E27FC236}">
                  <a16:creationId xmlns:a16="http://schemas.microsoft.com/office/drawing/2014/main" id="{A76C9A59-AAEC-1407-1945-6269B1448320}"/>
                </a:ext>
              </a:extLst>
            </p:cNvPr>
            <p:cNvSpPr/>
            <p:nvPr/>
          </p:nvSpPr>
          <p:spPr>
            <a:xfrm>
              <a:off x="4194426" y="2652676"/>
              <a:ext cx="53969" cy="52389"/>
            </a:xfrm>
            <a:custGeom>
              <a:avLst/>
              <a:gdLst>
                <a:gd name="connsiteX0" fmla="*/ 37953 w 42991"/>
                <a:gd name="connsiteY0" fmla="*/ 26090 h 40180"/>
                <a:gd name="connsiteX1" fmla="*/ 35114 w 42991"/>
                <a:gd name="connsiteY1" fmla="*/ 32443 h 40180"/>
                <a:gd name="connsiteX2" fmla="*/ 42196 w 42991"/>
                <a:gd name="connsiteY2" fmla="*/ 29074 h 40180"/>
                <a:gd name="connsiteX3" fmla="*/ 42991 w 42991"/>
                <a:gd name="connsiteY3" fmla="*/ 35909 h 40180"/>
                <a:gd name="connsiteX4" fmla="*/ 36801 w 42991"/>
                <a:gd name="connsiteY4" fmla="*/ 37717 h 40180"/>
                <a:gd name="connsiteX5" fmla="*/ 34212 w 42991"/>
                <a:gd name="connsiteY5" fmla="*/ 40181 h 40180"/>
                <a:gd name="connsiteX6" fmla="*/ 29946 w 42991"/>
                <a:gd name="connsiteY6" fmla="*/ 37582 h 40180"/>
                <a:gd name="connsiteX7" fmla="*/ 25694 w 42991"/>
                <a:gd name="connsiteY7" fmla="*/ 30872 h 40180"/>
                <a:gd name="connsiteX8" fmla="*/ 19606 w 42991"/>
                <a:gd name="connsiteY8" fmla="*/ 29966 h 40180"/>
                <a:gd name="connsiteX9" fmla="*/ 13556 w 42991"/>
                <a:gd name="connsiteY9" fmla="*/ 31262 h 40180"/>
                <a:gd name="connsiteX10" fmla="*/ 7597 w 42991"/>
                <a:gd name="connsiteY10" fmla="*/ 24952 h 40180"/>
                <a:gd name="connsiteX11" fmla="*/ 9805 w 42991"/>
                <a:gd name="connsiteY11" fmla="*/ 16545 h 40180"/>
                <a:gd name="connsiteX12" fmla="*/ 5655 w 42991"/>
                <a:gd name="connsiteY12" fmla="*/ 22093 h 40180"/>
                <a:gd name="connsiteX13" fmla="*/ 1143 w 42991"/>
                <a:gd name="connsiteY13" fmla="*/ 22860 h 40180"/>
                <a:gd name="connsiteX14" fmla="*/ 0 w 42991"/>
                <a:gd name="connsiteY14" fmla="*/ 16164 h 40180"/>
                <a:gd name="connsiteX15" fmla="*/ 2309 w 42991"/>
                <a:gd name="connsiteY15" fmla="*/ 10466 h 40180"/>
                <a:gd name="connsiteX16" fmla="*/ 3095 w 42991"/>
                <a:gd name="connsiteY16" fmla="*/ 4271 h 40180"/>
                <a:gd name="connsiteX17" fmla="*/ 9690 w 42991"/>
                <a:gd name="connsiteY17" fmla="*/ 0 h 40180"/>
                <a:gd name="connsiteX18" fmla="*/ 21809 w 42991"/>
                <a:gd name="connsiteY18" fmla="*/ 5443 h 40180"/>
                <a:gd name="connsiteX19" fmla="*/ 22325 w 42991"/>
                <a:gd name="connsiteY19" fmla="*/ 13459 h 40180"/>
                <a:gd name="connsiteX20" fmla="*/ 21288 w 42991"/>
                <a:gd name="connsiteY20" fmla="*/ 22995 h 40180"/>
                <a:gd name="connsiteX21" fmla="*/ 26075 w 42991"/>
                <a:gd name="connsiteY21" fmla="*/ 22248 h 40180"/>
                <a:gd name="connsiteX22" fmla="*/ 37953 w 42991"/>
                <a:gd name="connsiteY22" fmla="*/ 26090 h 4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991" h="40180">
                  <a:moveTo>
                    <a:pt x="37953" y="26090"/>
                  </a:moveTo>
                  <a:lnTo>
                    <a:pt x="35114" y="32443"/>
                  </a:lnTo>
                  <a:lnTo>
                    <a:pt x="42196" y="29074"/>
                  </a:lnTo>
                  <a:lnTo>
                    <a:pt x="42991" y="35909"/>
                  </a:lnTo>
                  <a:lnTo>
                    <a:pt x="36801" y="37717"/>
                  </a:lnTo>
                  <a:lnTo>
                    <a:pt x="34212" y="40181"/>
                  </a:lnTo>
                  <a:lnTo>
                    <a:pt x="29946" y="37582"/>
                  </a:lnTo>
                  <a:lnTo>
                    <a:pt x="25694" y="30872"/>
                  </a:lnTo>
                  <a:lnTo>
                    <a:pt x="19606" y="29966"/>
                  </a:lnTo>
                  <a:lnTo>
                    <a:pt x="13556" y="31262"/>
                  </a:lnTo>
                  <a:lnTo>
                    <a:pt x="7597" y="24952"/>
                  </a:lnTo>
                  <a:lnTo>
                    <a:pt x="9805" y="16545"/>
                  </a:lnTo>
                  <a:lnTo>
                    <a:pt x="5655" y="22093"/>
                  </a:lnTo>
                  <a:lnTo>
                    <a:pt x="1143" y="22860"/>
                  </a:lnTo>
                  <a:lnTo>
                    <a:pt x="0" y="16164"/>
                  </a:lnTo>
                  <a:lnTo>
                    <a:pt x="2309" y="10466"/>
                  </a:lnTo>
                  <a:lnTo>
                    <a:pt x="3095" y="4271"/>
                  </a:lnTo>
                  <a:lnTo>
                    <a:pt x="9690" y="0"/>
                  </a:lnTo>
                  <a:cubicBezTo>
                    <a:pt x="9690" y="0"/>
                    <a:pt x="19220" y="651"/>
                    <a:pt x="21809" y="5443"/>
                  </a:cubicBezTo>
                  <a:cubicBezTo>
                    <a:pt x="24407" y="10201"/>
                    <a:pt x="24272" y="10601"/>
                    <a:pt x="22325" y="13459"/>
                  </a:cubicBezTo>
                  <a:cubicBezTo>
                    <a:pt x="20401" y="16265"/>
                    <a:pt x="19365" y="23761"/>
                    <a:pt x="21288" y="22995"/>
                  </a:cubicBezTo>
                  <a:cubicBezTo>
                    <a:pt x="23226" y="22248"/>
                    <a:pt x="26075" y="22248"/>
                    <a:pt x="26075" y="22248"/>
                  </a:cubicBezTo>
                  <a:lnTo>
                    <a:pt x="37953" y="2609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84" name="Freihandform: Form 483">
              <a:extLst>
                <a:ext uri="{FF2B5EF4-FFF2-40B4-BE49-F238E27FC236}">
                  <a16:creationId xmlns:a16="http://schemas.microsoft.com/office/drawing/2014/main" id="{B51A43CA-BDDA-C460-02FA-AB988DD96600}"/>
                </a:ext>
              </a:extLst>
            </p:cNvPr>
            <p:cNvSpPr/>
            <p:nvPr/>
          </p:nvSpPr>
          <p:spPr>
            <a:xfrm>
              <a:off x="4186490" y="2689189"/>
              <a:ext cx="19048" cy="26989"/>
            </a:xfrm>
            <a:custGeom>
              <a:avLst/>
              <a:gdLst>
                <a:gd name="connsiteX0" fmla="*/ 5809 w 15488"/>
                <a:gd name="connsiteY0" fmla="*/ 0 h 22069"/>
                <a:gd name="connsiteX1" fmla="*/ 11507 w 15488"/>
                <a:gd name="connsiteY1" fmla="*/ 5790 h 22069"/>
                <a:gd name="connsiteX2" fmla="*/ 13821 w 15488"/>
                <a:gd name="connsiteY2" fmla="*/ 12515 h 22069"/>
                <a:gd name="connsiteX3" fmla="*/ 10336 w 15488"/>
                <a:gd name="connsiteY3" fmla="*/ 17032 h 22069"/>
                <a:gd name="connsiteX4" fmla="*/ 15489 w 15488"/>
                <a:gd name="connsiteY4" fmla="*/ 17562 h 22069"/>
                <a:gd name="connsiteX5" fmla="*/ 9290 w 15488"/>
                <a:gd name="connsiteY5" fmla="*/ 22069 h 22069"/>
                <a:gd name="connsiteX6" fmla="*/ 3746 w 15488"/>
                <a:gd name="connsiteY6" fmla="*/ 14467 h 22069"/>
                <a:gd name="connsiteX7" fmla="*/ 0 w 15488"/>
                <a:gd name="connsiteY7" fmla="*/ 1678 h 22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88" h="22069">
                  <a:moveTo>
                    <a:pt x="5809" y="0"/>
                  </a:moveTo>
                  <a:lnTo>
                    <a:pt x="11507" y="5790"/>
                  </a:lnTo>
                  <a:lnTo>
                    <a:pt x="13821" y="12515"/>
                  </a:lnTo>
                  <a:lnTo>
                    <a:pt x="10336" y="17032"/>
                  </a:lnTo>
                  <a:lnTo>
                    <a:pt x="15489" y="17562"/>
                  </a:lnTo>
                  <a:lnTo>
                    <a:pt x="9290" y="22069"/>
                  </a:lnTo>
                  <a:lnTo>
                    <a:pt x="3746" y="14467"/>
                  </a:lnTo>
                  <a:lnTo>
                    <a:pt x="0" y="167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85" name="Freihandform: Form 484">
              <a:extLst>
                <a:ext uri="{FF2B5EF4-FFF2-40B4-BE49-F238E27FC236}">
                  <a16:creationId xmlns:a16="http://schemas.microsoft.com/office/drawing/2014/main" id="{F0F827FF-F9F4-DDE4-1F15-67F6CB5DCC32}"/>
                </a:ext>
              </a:extLst>
            </p:cNvPr>
            <p:cNvSpPr/>
            <p:nvPr/>
          </p:nvSpPr>
          <p:spPr>
            <a:xfrm>
              <a:off x="3830931" y="2708240"/>
              <a:ext cx="98414" cy="95254"/>
            </a:xfrm>
            <a:custGeom>
              <a:avLst/>
              <a:gdLst>
                <a:gd name="connsiteX0" fmla="*/ 73704 w 77012"/>
                <a:gd name="connsiteY0" fmla="*/ 0 h 75106"/>
                <a:gd name="connsiteX1" fmla="*/ 76803 w 77012"/>
                <a:gd name="connsiteY1" fmla="*/ 12577 h 75106"/>
                <a:gd name="connsiteX2" fmla="*/ 73366 w 77012"/>
                <a:gd name="connsiteY2" fmla="*/ 18931 h 75106"/>
                <a:gd name="connsiteX3" fmla="*/ 71636 w 77012"/>
                <a:gd name="connsiteY3" fmla="*/ 24962 h 75106"/>
                <a:gd name="connsiteX4" fmla="*/ 61811 w 77012"/>
                <a:gd name="connsiteY4" fmla="*/ 34444 h 75106"/>
                <a:gd name="connsiteX5" fmla="*/ 66318 w 77012"/>
                <a:gd name="connsiteY5" fmla="*/ 37901 h 75106"/>
                <a:gd name="connsiteX6" fmla="*/ 72306 w 77012"/>
                <a:gd name="connsiteY6" fmla="*/ 35471 h 75106"/>
                <a:gd name="connsiteX7" fmla="*/ 71636 w 77012"/>
                <a:gd name="connsiteY7" fmla="*/ 40798 h 75106"/>
                <a:gd name="connsiteX8" fmla="*/ 64925 w 77012"/>
                <a:gd name="connsiteY8" fmla="*/ 43917 h 75106"/>
                <a:gd name="connsiteX9" fmla="*/ 58196 w 77012"/>
                <a:gd name="connsiteY9" fmla="*/ 40798 h 75106"/>
                <a:gd name="connsiteX10" fmla="*/ 54927 w 77012"/>
                <a:gd name="connsiteY10" fmla="*/ 47537 h 75106"/>
                <a:gd name="connsiteX11" fmla="*/ 48414 w 77012"/>
                <a:gd name="connsiteY11" fmla="*/ 50092 h 75106"/>
                <a:gd name="connsiteX12" fmla="*/ 35823 w 77012"/>
                <a:gd name="connsiteY12" fmla="*/ 50092 h 75106"/>
                <a:gd name="connsiteX13" fmla="*/ 47874 w 77012"/>
                <a:gd name="connsiteY13" fmla="*/ 52522 h 75106"/>
                <a:gd name="connsiteX14" fmla="*/ 52517 w 77012"/>
                <a:gd name="connsiteY14" fmla="*/ 58037 h 75106"/>
                <a:gd name="connsiteX15" fmla="*/ 50097 w 77012"/>
                <a:gd name="connsiteY15" fmla="*/ 64564 h 75106"/>
                <a:gd name="connsiteX16" fmla="*/ 43391 w 77012"/>
                <a:gd name="connsiteY16" fmla="*/ 62848 h 75106"/>
                <a:gd name="connsiteX17" fmla="*/ 44259 w 77012"/>
                <a:gd name="connsiteY17" fmla="*/ 68739 h 75106"/>
                <a:gd name="connsiteX18" fmla="*/ 30824 w 77012"/>
                <a:gd name="connsiteY18" fmla="*/ 71660 h 75106"/>
                <a:gd name="connsiteX19" fmla="*/ 28601 w 77012"/>
                <a:gd name="connsiteY19" fmla="*/ 65808 h 75106"/>
                <a:gd name="connsiteX20" fmla="*/ 28230 w 77012"/>
                <a:gd name="connsiteY20" fmla="*/ 60625 h 75106"/>
                <a:gd name="connsiteX21" fmla="*/ 34135 w 77012"/>
                <a:gd name="connsiteY21" fmla="*/ 54893 h 75106"/>
                <a:gd name="connsiteX22" fmla="*/ 27541 w 77012"/>
                <a:gd name="connsiteY22" fmla="*/ 55983 h 75106"/>
                <a:gd name="connsiteX23" fmla="*/ 24436 w 77012"/>
                <a:gd name="connsiteY23" fmla="*/ 62529 h 75106"/>
                <a:gd name="connsiteX24" fmla="*/ 27035 w 77012"/>
                <a:gd name="connsiteY24" fmla="*/ 69418 h 75106"/>
                <a:gd name="connsiteX25" fmla="*/ 26861 w 77012"/>
                <a:gd name="connsiteY25" fmla="*/ 75107 h 75106"/>
                <a:gd name="connsiteX26" fmla="*/ 17220 w 77012"/>
                <a:gd name="connsiteY26" fmla="*/ 71978 h 75106"/>
                <a:gd name="connsiteX27" fmla="*/ 11883 w 77012"/>
                <a:gd name="connsiteY27" fmla="*/ 65812 h 75106"/>
                <a:gd name="connsiteX28" fmla="*/ 0 w 77012"/>
                <a:gd name="connsiteY28" fmla="*/ 56315 h 75106"/>
                <a:gd name="connsiteX29" fmla="*/ 12225 w 77012"/>
                <a:gd name="connsiteY29" fmla="*/ 51153 h 75106"/>
                <a:gd name="connsiteX30" fmla="*/ 5534 w 77012"/>
                <a:gd name="connsiteY30" fmla="*/ 49258 h 75106"/>
                <a:gd name="connsiteX31" fmla="*/ 5168 w 77012"/>
                <a:gd name="connsiteY31" fmla="*/ 31185 h 75106"/>
                <a:gd name="connsiteX32" fmla="*/ 10683 w 77012"/>
                <a:gd name="connsiteY32" fmla="*/ 31012 h 75106"/>
                <a:gd name="connsiteX33" fmla="*/ 11030 w 77012"/>
                <a:gd name="connsiteY33" fmla="*/ 25169 h 75106"/>
                <a:gd name="connsiteX34" fmla="*/ 16708 w 77012"/>
                <a:gd name="connsiteY34" fmla="*/ 26027 h 75106"/>
                <a:gd name="connsiteX35" fmla="*/ 19466 w 77012"/>
                <a:gd name="connsiteY35" fmla="*/ 37915 h 75106"/>
                <a:gd name="connsiteX36" fmla="*/ 24634 w 77012"/>
                <a:gd name="connsiteY36" fmla="*/ 33509 h 75106"/>
                <a:gd name="connsiteX37" fmla="*/ 21867 w 77012"/>
                <a:gd name="connsiteY37" fmla="*/ 25169 h 75106"/>
                <a:gd name="connsiteX38" fmla="*/ 27888 w 77012"/>
                <a:gd name="connsiteY38" fmla="*/ 30828 h 75106"/>
                <a:gd name="connsiteX39" fmla="*/ 26528 w 77012"/>
                <a:gd name="connsiteY39" fmla="*/ 33586 h 75106"/>
                <a:gd name="connsiteX40" fmla="*/ 31151 w 77012"/>
                <a:gd name="connsiteY40" fmla="*/ 38093 h 75106"/>
                <a:gd name="connsiteX41" fmla="*/ 30636 w 77012"/>
                <a:gd name="connsiteY41" fmla="*/ 30149 h 75106"/>
                <a:gd name="connsiteX42" fmla="*/ 28915 w 77012"/>
                <a:gd name="connsiteY42" fmla="*/ 25342 h 75106"/>
                <a:gd name="connsiteX43" fmla="*/ 30125 w 77012"/>
                <a:gd name="connsiteY43" fmla="*/ 19490 h 75106"/>
                <a:gd name="connsiteX44" fmla="*/ 37013 w 77012"/>
                <a:gd name="connsiteY44" fmla="*/ 16193 h 75106"/>
                <a:gd name="connsiteX45" fmla="*/ 50275 w 77012"/>
                <a:gd name="connsiteY45" fmla="*/ 13797 h 75106"/>
                <a:gd name="connsiteX46" fmla="*/ 69235 w 77012"/>
                <a:gd name="connsiteY46" fmla="*/ 2256 h 75106"/>
                <a:gd name="connsiteX47" fmla="*/ 73704 w 77012"/>
                <a:gd name="connsiteY47" fmla="*/ 0 h 7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7012" h="75106">
                  <a:moveTo>
                    <a:pt x="73704" y="0"/>
                  </a:moveTo>
                  <a:cubicBezTo>
                    <a:pt x="73704" y="0"/>
                    <a:pt x="77994" y="11025"/>
                    <a:pt x="76803" y="12577"/>
                  </a:cubicBezTo>
                  <a:cubicBezTo>
                    <a:pt x="75603" y="14139"/>
                    <a:pt x="73366" y="18931"/>
                    <a:pt x="73366" y="18931"/>
                  </a:cubicBezTo>
                  <a:cubicBezTo>
                    <a:pt x="73366" y="18931"/>
                    <a:pt x="73704" y="24123"/>
                    <a:pt x="71636" y="24962"/>
                  </a:cubicBezTo>
                  <a:cubicBezTo>
                    <a:pt x="69568" y="25825"/>
                    <a:pt x="61811" y="34444"/>
                    <a:pt x="61811" y="34444"/>
                  </a:cubicBezTo>
                  <a:lnTo>
                    <a:pt x="66318" y="37901"/>
                  </a:lnTo>
                  <a:lnTo>
                    <a:pt x="72306" y="35471"/>
                  </a:lnTo>
                  <a:lnTo>
                    <a:pt x="71636" y="40798"/>
                  </a:lnTo>
                  <a:lnTo>
                    <a:pt x="64925" y="43917"/>
                  </a:lnTo>
                  <a:lnTo>
                    <a:pt x="58196" y="40798"/>
                  </a:lnTo>
                  <a:lnTo>
                    <a:pt x="54927" y="47537"/>
                  </a:lnTo>
                  <a:lnTo>
                    <a:pt x="48414" y="50092"/>
                  </a:lnTo>
                  <a:lnTo>
                    <a:pt x="35823" y="50092"/>
                  </a:lnTo>
                  <a:lnTo>
                    <a:pt x="47874" y="52522"/>
                  </a:lnTo>
                  <a:lnTo>
                    <a:pt x="52517" y="58037"/>
                  </a:lnTo>
                  <a:lnTo>
                    <a:pt x="50097" y="64564"/>
                  </a:lnTo>
                  <a:lnTo>
                    <a:pt x="43391" y="62848"/>
                  </a:lnTo>
                  <a:lnTo>
                    <a:pt x="44259" y="68739"/>
                  </a:lnTo>
                  <a:lnTo>
                    <a:pt x="30824" y="71660"/>
                  </a:lnTo>
                  <a:lnTo>
                    <a:pt x="28601" y="65808"/>
                  </a:lnTo>
                  <a:lnTo>
                    <a:pt x="28230" y="60625"/>
                  </a:lnTo>
                  <a:lnTo>
                    <a:pt x="34135" y="54893"/>
                  </a:lnTo>
                  <a:lnTo>
                    <a:pt x="27541" y="55983"/>
                  </a:lnTo>
                  <a:lnTo>
                    <a:pt x="24436" y="62529"/>
                  </a:lnTo>
                  <a:lnTo>
                    <a:pt x="27035" y="69418"/>
                  </a:lnTo>
                  <a:lnTo>
                    <a:pt x="26861" y="75107"/>
                  </a:lnTo>
                  <a:lnTo>
                    <a:pt x="17220" y="71978"/>
                  </a:lnTo>
                  <a:lnTo>
                    <a:pt x="11883" y="65812"/>
                  </a:lnTo>
                  <a:lnTo>
                    <a:pt x="0" y="56315"/>
                  </a:lnTo>
                  <a:cubicBezTo>
                    <a:pt x="0" y="56315"/>
                    <a:pt x="3779" y="51331"/>
                    <a:pt x="12225" y="51153"/>
                  </a:cubicBezTo>
                  <a:cubicBezTo>
                    <a:pt x="8619" y="50502"/>
                    <a:pt x="5534" y="49258"/>
                    <a:pt x="5534" y="49258"/>
                  </a:cubicBezTo>
                  <a:cubicBezTo>
                    <a:pt x="5534" y="49258"/>
                    <a:pt x="0" y="39443"/>
                    <a:pt x="5168" y="31185"/>
                  </a:cubicBezTo>
                  <a:cubicBezTo>
                    <a:pt x="6204" y="29985"/>
                    <a:pt x="10683" y="31012"/>
                    <a:pt x="10683" y="31012"/>
                  </a:cubicBezTo>
                  <a:lnTo>
                    <a:pt x="11030" y="25169"/>
                  </a:lnTo>
                  <a:lnTo>
                    <a:pt x="16708" y="26027"/>
                  </a:lnTo>
                  <a:cubicBezTo>
                    <a:pt x="16708" y="26027"/>
                    <a:pt x="18082" y="35485"/>
                    <a:pt x="19466" y="37915"/>
                  </a:cubicBezTo>
                  <a:cubicBezTo>
                    <a:pt x="22238" y="35312"/>
                    <a:pt x="24634" y="33509"/>
                    <a:pt x="24634" y="33509"/>
                  </a:cubicBezTo>
                  <a:lnTo>
                    <a:pt x="21867" y="25169"/>
                  </a:lnTo>
                  <a:lnTo>
                    <a:pt x="27888" y="30828"/>
                  </a:lnTo>
                  <a:lnTo>
                    <a:pt x="26528" y="33586"/>
                  </a:lnTo>
                  <a:cubicBezTo>
                    <a:pt x="26528" y="33586"/>
                    <a:pt x="31151" y="39448"/>
                    <a:pt x="31151" y="38093"/>
                  </a:cubicBezTo>
                  <a:cubicBezTo>
                    <a:pt x="31151" y="36720"/>
                    <a:pt x="32559" y="32554"/>
                    <a:pt x="30636" y="30149"/>
                  </a:cubicBezTo>
                  <a:cubicBezTo>
                    <a:pt x="28751" y="27743"/>
                    <a:pt x="28915" y="25342"/>
                    <a:pt x="28915" y="25342"/>
                  </a:cubicBezTo>
                  <a:lnTo>
                    <a:pt x="30125" y="19490"/>
                  </a:lnTo>
                  <a:lnTo>
                    <a:pt x="37013" y="16193"/>
                  </a:lnTo>
                  <a:cubicBezTo>
                    <a:pt x="37013" y="16193"/>
                    <a:pt x="42012" y="18801"/>
                    <a:pt x="50275" y="13797"/>
                  </a:cubicBezTo>
                  <a:cubicBezTo>
                    <a:pt x="58552" y="8827"/>
                    <a:pt x="69235" y="2256"/>
                    <a:pt x="69235" y="2256"/>
                  </a:cubicBezTo>
                  <a:lnTo>
                    <a:pt x="73704"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86" name="Freihandform: Form 485">
              <a:extLst>
                <a:ext uri="{FF2B5EF4-FFF2-40B4-BE49-F238E27FC236}">
                  <a16:creationId xmlns:a16="http://schemas.microsoft.com/office/drawing/2014/main" id="{5E6AAA3A-E011-3FB2-6CE5-422EFD7B3395}"/>
                </a:ext>
              </a:extLst>
            </p:cNvPr>
            <p:cNvSpPr/>
            <p:nvPr/>
          </p:nvSpPr>
          <p:spPr>
            <a:xfrm>
              <a:off x="3840454" y="2844770"/>
              <a:ext cx="90477" cy="115892"/>
            </a:xfrm>
            <a:custGeom>
              <a:avLst/>
              <a:gdLst>
                <a:gd name="connsiteX0" fmla="*/ 30988 w 71110"/>
                <a:gd name="connsiteY0" fmla="*/ 3081 h 90977"/>
                <a:gd name="connsiteX1" fmla="*/ 37009 w 71110"/>
                <a:gd name="connsiteY1" fmla="*/ 0 h 90977"/>
                <a:gd name="connsiteX2" fmla="*/ 43213 w 71110"/>
                <a:gd name="connsiteY2" fmla="*/ 3606 h 90977"/>
                <a:gd name="connsiteX3" fmla="*/ 47696 w 71110"/>
                <a:gd name="connsiteY3" fmla="*/ 14621 h 90977"/>
                <a:gd name="connsiteX4" fmla="*/ 44760 w 71110"/>
                <a:gd name="connsiteY4" fmla="*/ 35799 h 90977"/>
                <a:gd name="connsiteX5" fmla="*/ 39409 w 71110"/>
                <a:gd name="connsiteY5" fmla="*/ 51471 h 90977"/>
                <a:gd name="connsiteX6" fmla="*/ 45961 w 71110"/>
                <a:gd name="connsiteY6" fmla="*/ 52155 h 90977"/>
                <a:gd name="connsiteX7" fmla="*/ 57342 w 71110"/>
                <a:gd name="connsiteY7" fmla="*/ 64380 h 90977"/>
                <a:gd name="connsiteX8" fmla="*/ 69428 w 71110"/>
                <a:gd name="connsiteY8" fmla="*/ 62520 h 90977"/>
                <a:gd name="connsiteX9" fmla="*/ 71110 w 71110"/>
                <a:gd name="connsiteY9" fmla="*/ 69384 h 90977"/>
                <a:gd name="connsiteX10" fmla="*/ 66810 w 71110"/>
                <a:gd name="connsiteY10" fmla="*/ 74707 h 90977"/>
                <a:gd name="connsiteX11" fmla="*/ 60428 w 71110"/>
                <a:gd name="connsiteY11" fmla="*/ 77319 h 90977"/>
                <a:gd name="connsiteX12" fmla="*/ 42345 w 71110"/>
                <a:gd name="connsiteY12" fmla="*/ 90909 h 90977"/>
                <a:gd name="connsiteX13" fmla="*/ 46669 w 71110"/>
                <a:gd name="connsiteY13" fmla="*/ 78158 h 90977"/>
                <a:gd name="connsiteX14" fmla="*/ 58123 w 71110"/>
                <a:gd name="connsiteY14" fmla="*/ 72668 h 90977"/>
                <a:gd name="connsiteX15" fmla="*/ 51654 w 71110"/>
                <a:gd name="connsiteY15" fmla="*/ 72494 h 90977"/>
                <a:gd name="connsiteX16" fmla="*/ 46824 w 71110"/>
                <a:gd name="connsiteY16" fmla="*/ 66969 h 90977"/>
                <a:gd name="connsiteX17" fmla="*/ 43386 w 71110"/>
                <a:gd name="connsiteY17" fmla="*/ 72494 h 90977"/>
                <a:gd name="connsiteX18" fmla="*/ 37018 w 71110"/>
                <a:gd name="connsiteY18" fmla="*/ 66598 h 90977"/>
                <a:gd name="connsiteX19" fmla="*/ 24451 w 71110"/>
                <a:gd name="connsiteY19" fmla="*/ 68527 h 90977"/>
                <a:gd name="connsiteX20" fmla="*/ 18931 w 71110"/>
                <a:gd name="connsiteY20" fmla="*/ 48872 h 90977"/>
                <a:gd name="connsiteX21" fmla="*/ 21168 w 71110"/>
                <a:gd name="connsiteY21" fmla="*/ 43719 h 90977"/>
                <a:gd name="connsiteX22" fmla="*/ 27218 w 71110"/>
                <a:gd name="connsiteY22" fmla="*/ 50444 h 90977"/>
                <a:gd name="connsiteX23" fmla="*/ 13778 w 71110"/>
                <a:gd name="connsiteY23" fmla="*/ 34940 h 90977"/>
                <a:gd name="connsiteX24" fmla="*/ 11700 w 71110"/>
                <a:gd name="connsiteY24" fmla="*/ 40451 h 90977"/>
                <a:gd name="connsiteX25" fmla="*/ 5332 w 71110"/>
                <a:gd name="connsiteY25" fmla="*/ 37013 h 90977"/>
                <a:gd name="connsiteX26" fmla="*/ 0 w 71110"/>
                <a:gd name="connsiteY26" fmla="*/ 24084 h 90977"/>
                <a:gd name="connsiteX27" fmla="*/ 2912 w 71110"/>
                <a:gd name="connsiteY27" fmla="*/ 18753 h 90977"/>
                <a:gd name="connsiteX28" fmla="*/ 8769 w 71110"/>
                <a:gd name="connsiteY28" fmla="*/ 22889 h 90977"/>
                <a:gd name="connsiteX29" fmla="*/ 15142 w 71110"/>
                <a:gd name="connsiteY29" fmla="*/ 17914 h 90977"/>
                <a:gd name="connsiteX30" fmla="*/ 11536 w 71110"/>
                <a:gd name="connsiteY30" fmla="*/ 11343 h 90977"/>
                <a:gd name="connsiteX31" fmla="*/ 14120 w 71110"/>
                <a:gd name="connsiteY31" fmla="*/ 6007 h 90977"/>
                <a:gd name="connsiteX32" fmla="*/ 23752 w 71110"/>
                <a:gd name="connsiteY32" fmla="*/ 24600 h 90977"/>
                <a:gd name="connsiteX33" fmla="*/ 29112 w 71110"/>
                <a:gd name="connsiteY33" fmla="*/ 22040 h 90977"/>
                <a:gd name="connsiteX34" fmla="*/ 32352 w 71110"/>
                <a:gd name="connsiteY34" fmla="*/ 27536 h 90977"/>
                <a:gd name="connsiteX35" fmla="*/ 30641 w 71110"/>
                <a:gd name="connsiteY35" fmla="*/ 13257 h 90977"/>
                <a:gd name="connsiteX36" fmla="*/ 30988 w 71110"/>
                <a:gd name="connsiteY36" fmla="*/ 3081 h 90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1110" h="90977">
                  <a:moveTo>
                    <a:pt x="30988" y="3081"/>
                  </a:moveTo>
                  <a:lnTo>
                    <a:pt x="37009" y="0"/>
                  </a:lnTo>
                  <a:lnTo>
                    <a:pt x="43213" y="3606"/>
                  </a:lnTo>
                  <a:lnTo>
                    <a:pt x="47696" y="14621"/>
                  </a:lnTo>
                  <a:cubicBezTo>
                    <a:pt x="47696" y="14621"/>
                    <a:pt x="44587" y="39424"/>
                    <a:pt x="44760" y="35799"/>
                  </a:cubicBezTo>
                  <a:cubicBezTo>
                    <a:pt x="44760" y="35799"/>
                    <a:pt x="43218" y="44765"/>
                    <a:pt x="39409" y="51471"/>
                  </a:cubicBezTo>
                  <a:lnTo>
                    <a:pt x="45961" y="52155"/>
                  </a:lnTo>
                  <a:cubicBezTo>
                    <a:pt x="45961" y="52155"/>
                    <a:pt x="53192" y="65253"/>
                    <a:pt x="57342" y="64380"/>
                  </a:cubicBezTo>
                  <a:cubicBezTo>
                    <a:pt x="61464" y="63537"/>
                    <a:pt x="69428" y="62520"/>
                    <a:pt x="69428" y="62520"/>
                  </a:cubicBezTo>
                  <a:lnTo>
                    <a:pt x="71110" y="69384"/>
                  </a:lnTo>
                  <a:lnTo>
                    <a:pt x="66810" y="74707"/>
                  </a:lnTo>
                  <a:lnTo>
                    <a:pt x="60428" y="77319"/>
                  </a:lnTo>
                  <a:cubicBezTo>
                    <a:pt x="60428" y="77319"/>
                    <a:pt x="49938" y="92105"/>
                    <a:pt x="42345" y="90909"/>
                  </a:cubicBezTo>
                  <a:cubicBezTo>
                    <a:pt x="40629" y="90224"/>
                    <a:pt x="43020" y="80231"/>
                    <a:pt x="46669" y="78158"/>
                  </a:cubicBezTo>
                  <a:cubicBezTo>
                    <a:pt x="50266" y="76104"/>
                    <a:pt x="58123" y="72668"/>
                    <a:pt x="58123" y="72668"/>
                  </a:cubicBezTo>
                  <a:lnTo>
                    <a:pt x="51654" y="72494"/>
                  </a:lnTo>
                  <a:lnTo>
                    <a:pt x="46824" y="66969"/>
                  </a:lnTo>
                  <a:lnTo>
                    <a:pt x="43386" y="72494"/>
                  </a:lnTo>
                  <a:lnTo>
                    <a:pt x="37018" y="66598"/>
                  </a:lnTo>
                  <a:lnTo>
                    <a:pt x="24451" y="68527"/>
                  </a:lnTo>
                  <a:cubicBezTo>
                    <a:pt x="24451" y="68527"/>
                    <a:pt x="16525" y="52657"/>
                    <a:pt x="18931" y="48872"/>
                  </a:cubicBezTo>
                  <a:cubicBezTo>
                    <a:pt x="21341" y="45088"/>
                    <a:pt x="21168" y="43719"/>
                    <a:pt x="21168" y="43719"/>
                  </a:cubicBezTo>
                  <a:lnTo>
                    <a:pt x="27218" y="50444"/>
                  </a:lnTo>
                  <a:cubicBezTo>
                    <a:pt x="27218" y="50444"/>
                    <a:pt x="24451" y="38035"/>
                    <a:pt x="13778" y="34940"/>
                  </a:cubicBezTo>
                  <a:cubicBezTo>
                    <a:pt x="13440" y="38035"/>
                    <a:pt x="11700" y="40451"/>
                    <a:pt x="11700" y="40451"/>
                  </a:cubicBezTo>
                  <a:lnTo>
                    <a:pt x="5332" y="37013"/>
                  </a:lnTo>
                  <a:lnTo>
                    <a:pt x="0" y="24084"/>
                  </a:lnTo>
                  <a:lnTo>
                    <a:pt x="2912" y="18753"/>
                  </a:lnTo>
                  <a:lnTo>
                    <a:pt x="8769" y="22889"/>
                  </a:lnTo>
                  <a:lnTo>
                    <a:pt x="15142" y="17914"/>
                  </a:lnTo>
                  <a:lnTo>
                    <a:pt x="11536" y="11343"/>
                  </a:lnTo>
                  <a:lnTo>
                    <a:pt x="14120" y="6007"/>
                  </a:lnTo>
                  <a:cubicBezTo>
                    <a:pt x="14120" y="6007"/>
                    <a:pt x="24263" y="17547"/>
                    <a:pt x="23752" y="24600"/>
                  </a:cubicBezTo>
                  <a:cubicBezTo>
                    <a:pt x="27020" y="22889"/>
                    <a:pt x="29112" y="22040"/>
                    <a:pt x="29112" y="22040"/>
                  </a:cubicBezTo>
                  <a:lnTo>
                    <a:pt x="32352" y="27536"/>
                  </a:lnTo>
                  <a:cubicBezTo>
                    <a:pt x="32352" y="27536"/>
                    <a:pt x="29445" y="17914"/>
                    <a:pt x="30641" y="13257"/>
                  </a:cubicBezTo>
                  <a:cubicBezTo>
                    <a:pt x="31846" y="8600"/>
                    <a:pt x="32207" y="4093"/>
                    <a:pt x="30988" y="308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87" name="Freihandform: Form 486">
              <a:extLst>
                <a:ext uri="{FF2B5EF4-FFF2-40B4-BE49-F238E27FC236}">
                  <a16:creationId xmlns:a16="http://schemas.microsoft.com/office/drawing/2014/main" id="{479EB23D-9EBE-DDFD-9AD2-549BB1399599}"/>
                </a:ext>
              </a:extLst>
            </p:cNvPr>
            <p:cNvSpPr/>
            <p:nvPr/>
          </p:nvSpPr>
          <p:spPr>
            <a:xfrm>
              <a:off x="3854740" y="2949549"/>
              <a:ext cx="15873" cy="20639"/>
            </a:xfrm>
            <a:custGeom>
              <a:avLst/>
              <a:gdLst>
                <a:gd name="connsiteX0" fmla="*/ 0 w 12637"/>
                <a:gd name="connsiteY0" fmla="*/ 1909 h 16188"/>
                <a:gd name="connsiteX1" fmla="*/ 6209 w 12637"/>
                <a:gd name="connsiteY1" fmla="*/ 0 h 16188"/>
                <a:gd name="connsiteX2" fmla="*/ 12244 w 12637"/>
                <a:gd name="connsiteY2" fmla="*/ 2767 h 16188"/>
                <a:gd name="connsiteX3" fmla="*/ 6026 w 12637"/>
                <a:gd name="connsiteY3" fmla="*/ 16188 h 16188"/>
                <a:gd name="connsiteX4" fmla="*/ 0 w 12637"/>
                <a:gd name="connsiteY4" fmla="*/ 1909 h 16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37" h="16188">
                  <a:moveTo>
                    <a:pt x="0" y="1909"/>
                  </a:moveTo>
                  <a:lnTo>
                    <a:pt x="6209" y="0"/>
                  </a:lnTo>
                  <a:lnTo>
                    <a:pt x="12244" y="2767"/>
                  </a:lnTo>
                  <a:cubicBezTo>
                    <a:pt x="12244" y="2767"/>
                    <a:pt x="14978" y="13267"/>
                    <a:pt x="6026" y="16188"/>
                  </a:cubicBezTo>
                  <a:cubicBezTo>
                    <a:pt x="3789" y="12582"/>
                    <a:pt x="0" y="1909"/>
                    <a:pt x="0" y="190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88" name="Freihandform: Form 487">
              <a:extLst>
                <a:ext uri="{FF2B5EF4-FFF2-40B4-BE49-F238E27FC236}">
                  <a16:creationId xmlns:a16="http://schemas.microsoft.com/office/drawing/2014/main" id="{CC0C6C91-8188-2C41-E32F-D2CE7D760D84}"/>
                </a:ext>
              </a:extLst>
            </p:cNvPr>
            <p:cNvSpPr/>
            <p:nvPr/>
          </p:nvSpPr>
          <p:spPr>
            <a:xfrm>
              <a:off x="3772199" y="2870171"/>
              <a:ext cx="23810" cy="53977"/>
            </a:xfrm>
            <a:custGeom>
              <a:avLst/>
              <a:gdLst>
                <a:gd name="connsiteX0" fmla="*/ 18082 w 18588"/>
                <a:gd name="connsiteY0" fmla="*/ 11531 h 41862"/>
                <a:gd name="connsiteX1" fmla="*/ 16689 w 18588"/>
                <a:gd name="connsiteY1" fmla="*/ 5351 h 41862"/>
                <a:gd name="connsiteX2" fmla="*/ 11367 w 18588"/>
                <a:gd name="connsiteY2" fmla="*/ 0 h 41862"/>
                <a:gd name="connsiteX3" fmla="*/ 6527 w 18588"/>
                <a:gd name="connsiteY3" fmla="*/ 2777 h 41862"/>
                <a:gd name="connsiteX4" fmla="*/ 6894 w 18588"/>
                <a:gd name="connsiteY4" fmla="*/ 8639 h 41862"/>
                <a:gd name="connsiteX5" fmla="*/ 328 w 18588"/>
                <a:gd name="connsiteY5" fmla="*/ 21529 h 41862"/>
                <a:gd name="connsiteX6" fmla="*/ 0 w 18588"/>
                <a:gd name="connsiteY6" fmla="*/ 33605 h 41862"/>
                <a:gd name="connsiteX7" fmla="*/ 4816 w 18588"/>
                <a:gd name="connsiteY7" fmla="*/ 39612 h 41862"/>
                <a:gd name="connsiteX8" fmla="*/ 11020 w 18588"/>
                <a:gd name="connsiteY8" fmla="*/ 41863 h 41862"/>
                <a:gd name="connsiteX9" fmla="*/ 10842 w 18588"/>
                <a:gd name="connsiteY9" fmla="*/ 38252 h 41862"/>
                <a:gd name="connsiteX10" fmla="*/ 5168 w 18588"/>
                <a:gd name="connsiteY10" fmla="*/ 32390 h 41862"/>
                <a:gd name="connsiteX11" fmla="*/ 11020 w 18588"/>
                <a:gd name="connsiteY11" fmla="*/ 33759 h 41862"/>
                <a:gd name="connsiteX12" fmla="*/ 11020 w 18588"/>
                <a:gd name="connsiteY12" fmla="*/ 27213 h 41862"/>
                <a:gd name="connsiteX13" fmla="*/ 7906 w 18588"/>
                <a:gd name="connsiteY13" fmla="*/ 21891 h 41862"/>
                <a:gd name="connsiteX14" fmla="*/ 13088 w 18588"/>
                <a:gd name="connsiteY14" fmla="*/ 23968 h 41862"/>
                <a:gd name="connsiteX15" fmla="*/ 18589 w 18588"/>
                <a:gd name="connsiteY15" fmla="*/ 17557 h 41862"/>
                <a:gd name="connsiteX16" fmla="*/ 11367 w 18588"/>
                <a:gd name="connsiteY16" fmla="*/ 6055 h 41862"/>
                <a:gd name="connsiteX17" fmla="*/ 18082 w 18588"/>
                <a:gd name="connsiteY17" fmla="*/ 11531 h 41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88" h="41862">
                  <a:moveTo>
                    <a:pt x="18082" y="11531"/>
                  </a:moveTo>
                  <a:lnTo>
                    <a:pt x="16689" y="5351"/>
                  </a:lnTo>
                  <a:lnTo>
                    <a:pt x="11367" y="0"/>
                  </a:lnTo>
                  <a:lnTo>
                    <a:pt x="6527" y="2777"/>
                  </a:lnTo>
                  <a:lnTo>
                    <a:pt x="6894" y="8639"/>
                  </a:lnTo>
                  <a:lnTo>
                    <a:pt x="328" y="21529"/>
                  </a:lnTo>
                  <a:lnTo>
                    <a:pt x="0" y="33605"/>
                  </a:lnTo>
                  <a:lnTo>
                    <a:pt x="4816" y="39612"/>
                  </a:lnTo>
                  <a:lnTo>
                    <a:pt x="11020" y="41863"/>
                  </a:lnTo>
                  <a:lnTo>
                    <a:pt x="10842" y="38252"/>
                  </a:lnTo>
                  <a:lnTo>
                    <a:pt x="5168" y="32390"/>
                  </a:lnTo>
                  <a:lnTo>
                    <a:pt x="11020" y="33759"/>
                  </a:lnTo>
                  <a:lnTo>
                    <a:pt x="11020" y="27213"/>
                  </a:lnTo>
                  <a:lnTo>
                    <a:pt x="7906" y="21891"/>
                  </a:lnTo>
                  <a:lnTo>
                    <a:pt x="13088" y="23968"/>
                  </a:lnTo>
                  <a:lnTo>
                    <a:pt x="18589" y="17557"/>
                  </a:lnTo>
                  <a:cubicBezTo>
                    <a:pt x="18589" y="17557"/>
                    <a:pt x="11367" y="9463"/>
                    <a:pt x="11367" y="6055"/>
                  </a:cubicBezTo>
                  <a:cubicBezTo>
                    <a:pt x="15127" y="9670"/>
                    <a:pt x="18082" y="11531"/>
                    <a:pt x="18082" y="1153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89" name="Freihandform: Form 488">
              <a:extLst>
                <a:ext uri="{FF2B5EF4-FFF2-40B4-BE49-F238E27FC236}">
                  <a16:creationId xmlns:a16="http://schemas.microsoft.com/office/drawing/2014/main" id="{274B8144-87F3-4A7D-69F7-6B9FEC01229A}"/>
                </a:ext>
              </a:extLst>
            </p:cNvPr>
            <p:cNvSpPr/>
            <p:nvPr/>
          </p:nvSpPr>
          <p:spPr>
            <a:xfrm>
              <a:off x="3749977" y="2928911"/>
              <a:ext cx="17461" cy="15876"/>
            </a:xfrm>
            <a:custGeom>
              <a:avLst/>
              <a:gdLst>
                <a:gd name="connsiteX0" fmla="*/ 10355 w 12755"/>
                <a:gd name="connsiteY0" fmla="*/ 0 h 12418"/>
                <a:gd name="connsiteX1" fmla="*/ 12756 w 12755"/>
                <a:gd name="connsiteY1" fmla="*/ 5886 h 12418"/>
                <a:gd name="connsiteX2" fmla="*/ 6725 w 12755"/>
                <a:gd name="connsiteY2" fmla="*/ 12418 h 12418"/>
                <a:gd name="connsiteX3" fmla="*/ 0 w 12755"/>
                <a:gd name="connsiteY3" fmla="*/ 10013 h 12418"/>
                <a:gd name="connsiteX4" fmla="*/ 10355 w 12755"/>
                <a:gd name="connsiteY4" fmla="*/ 0 h 12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5" h="12418">
                  <a:moveTo>
                    <a:pt x="10355" y="0"/>
                  </a:moveTo>
                  <a:lnTo>
                    <a:pt x="12756" y="5886"/>
                  </a:lnTo>
                  <a:lnTo>
                    <a:pt x="6725" y="12418"/>
                  </a:lnTo>
                  <a:lnTo>
                    <a:pt x="0" y="10013"/>
                  </a:lnTo>
                  <a:cubicBezTo>
                    <a:pt x="0" y="10013"/>
                    <a:pt x="7241" y="1552"/>
                    <a:pt x="10355"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90" name="Freihandform: Form 489">
              <a:extLst>
                <a:ext uri="{FF2B5EF4-FFF2-40B4-BE49-F238E27FC236}">
                  <a16:creationId xmlns:a16="http://schemas.microsoft.com/office/drawing/2014/main" id="{3FA9EEAE-1B96-24BB-C978-DBD9618825CE}"/>
                </a:ext>
              </a:extLst>
            </p:cNvPr>
            <p:cNvSpPr/>
            <p:nvPr/>
          </p:nvSpPr>
          <p:spPr>
            <a:xfrm>
              <a:off x="3778548" y="2825720"/>
              <a:ext cx="39684" cy="22226"/>
            </a:xfrm>
            <a:custGeom>
              <a:avLst/>
              <a:gdLst>
                <a:gd name="connsiteX0" fmla="*/ 0 w 31339"/>
                <a:gd name="connsiteY0" fmla="*/ 8475 h 17070"/>
                <a:gd name="connsiteX1" fmla="*/ 3264 w 31339"/>
                <a:gd name="connsiteY1" fmla="*/ 2961 h 17070"/>
                <a:gd name="connsiteX2" fmla="*/ 31339 w 31339"/>
                <a:gd name="connsiteY2" fmla="*/ 11045 h 17070"/>
                <a:gd name="connsiteX3" fmla="*/ 25463 w 31339"/>
                <a:gd name="connsiteY3" fmla="*/ 7092 h 17070"/>
                <a:gd name="connsiteX4" fmla="*/ 26533 w 31339"/>
                <a:gd name="connsiteY4" fmla="*/ 12260 h 17070"/>
                <a:gd name="connsiteX5" fmla="*/ 19625 w 31339"/>
                <a:gd name="connsiteY5" fmla="*/ 16902 h 17070"/>
                <a:gd name="connsiteX6" fmla="*/ 12389 w 31339"/>
                <a:gd name="connsiteY6" fmla="*/ 17071 h 17070"/>
                <a:gd name="connsiteX7" fmla="*/ 0 w 31339"/>
                <a:gd name="connsiteY7" fmla="*/ 8475 h 17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39" h="17070">
                  <a:moveTo>
                    <a:pt x="0" y="8475"/>
                  </a:moveTo>
                  <a:lnTo>
                    <a:pt x="3264" y="2961"/>
                  </a:lnTo>
                  <a:cubicBezTo>
                    <a:pt x="3264" y="2961"/>
                    <a:pt x="25487" y="-7553"/>
                    <a:pt x="31339" y="11045"/>
                  </a:cubicBezTo>
                  <a:cubicBezTo>
                    <a:pt x="29435" y="9498"/>
                    <a:pt x="25463" y="7092"/>
                    <a:pt x="25463" y="7092"/>
                  </a:cubicBezTo>
                  <a:lnTo>
                    <a:pt x="26533" y="12260"/>
                  </a:lnTo>
                  <a:lnTo>
                    <a:pt x="19625" y="16902"/>
                  </a:lnTo>
                  <a:lnTo>
                    <a:pt x="12389" y="17071"/>
                  </a:lnTo>
                  <a:cubicBezTo>
                    <a:pt x="12389" y="17071"/>
                    <a:pt x="7226" y="9850"/>
                    <a:pt x="0" y="847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91" name="Freihandform: Form 490">
              <a:extLst>
                <a:ext uri="{FF2B5EF4-FFF2-40B4-BE49-F238E27FC236}">
                  <a16:creationId xmlns:a16="http://schemas.microsoft.com/office/drawing/2014/main" id="{934D900A-F2B9-4B20-CBE7-C566899CD655}"/>
                </a:ext>
              </a:extLst>
            </p:cNvPr>
            <p:cNvSpPr/>
            <p:nvPr/>
          </p:nvSpPr>
          <p:spPr>
            <a:xfrm>
              <a:off x="3792835" y="2849533"/>
              <a:ext cx="19048" cy="7937"/>
            </a:xfrm>
            <a:custGeom>
              <a:avLst/>
              <a:gdLst>
                <a:gd name="connsiteX0" fmla="*/ 858 w 14818"/>
                <a:gd name="connsiteY0" fmla="*/ 0 h 6213"/>
                <a:gd name="connsiteX1" fmla="*/ 14819 w 14818"/>
                <a:gd name="connsiteY1" fmla="*/ 1557 h 6213"/>
                <a:gd name="connsiteX2" fmla="*/ 6884 w 14818"/>
                <a:gd name="connsiteY2" fmla="*/ 6214 h 6213"/>
                <a:gd name="connsiteX3" fmla="*/ 0 w 14818"/>
                <a:gd name="connsiteY3" fmla="*/ 3119 h 6213"/>
              </a:gdLst>
              <a:ahLst/>
              <a:cxnLst>
                <a:cxn ang="0">
                  <a:pos x="connsiteX0" y="connsiteY0"/>
                </a:cxn>
                <a:cxn ang="0">
                  <a:pos x="connsiteX1" y="connsiteY1"/>
                </a:cxn>
                <a:cxn ang="0">
                  <a:pos x="connsiteX2" y="connsiteY2"/>
                </a:cxn>
                <a:cxn ang="0">
                  <a:pos x="connsiteX3" y="connsiteY3"/>
                </a:cxn>
              </a:cxnLst>
              <a:rect l="l" t="t" r="r" b="b"/>
              <a:pathLst>
                <a:path w="14818" h="6213">
                  <a:moveTo>
                    <a:pt x="858" y="0"/>
                  </a:moveTo>
                  <a:lnTo>
                    <a:pt x="14819" y="1557"/>
                  </a:lnTo>
                  <a:lnTo>
                    <a:pt x="6884" y="6214"/>
                  </a:lnTo>
                  <a:lnTo>
                    <a:pt x="0" y="311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92" name="Freihandform: Form 491">
              <a:extLst>
                <a:ext uri="{FF2B5EF4-FFF2-40B4-BE49-F238E27FC236}">
                  <a16:creationId xmlns:a16="http://schemas.microsoft.com/office/drawing/2014/main" id="{8A333AA4-5257-4D22-2FA5-6F2E20D3B4AE}"/>
                </a:ext>
              </a:extLst>
            </p:cNvPr>
            <p:cNvSpPr/>
            <p:nvPr/>
          </p:nvSpPr>
          <p:spPr>
            <a:xfrm>
              <a:off x="3784898" y="2857471"/>
              <a:ext cx="15873" cy="15876"/>
            </a:xfrm>
            <a:custGeom>
              <a:avLst/>
              <a:gdLst>
                <a:gd name="connsiteX0" fmla="*/ 0 w 12717"/>
                <a:gd name="connsiteY0" fmla="*/ 684 h 11699"/>
                <a:gd name="connsiteX1" fmla="*/ 5346 w 12717"/>
                <a:gd name="connsiteY1" fmla="*/ 0 h 11699"/>
                <a:gd name="connsiteX2" fmla="*/ 12057 w 12717"/>
                <a:gd name="connsiteY2" fmla="*/ 2926 h 11699"/>
                <a:gd name="connsiteX3" fmla="*/ 12717 w 12717"/>
                <a:gd name="connsiteY3" fmla="*/ 7564 h 11699"/>
                <a:gd name="connsiteX4" fmla="*/ 6349 w 12717"/>
                <a:gd name="connsiteY4" fmla="*/ 11700 h 11699"/>
                <a:gd name="connsiteX5" fmla="*/ 159 w 12717"/>
                <a:gd name="connsiteY5" fmla="*/ 7082 h 11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17" h="11699">
                  <a:moveTo>
                    <a:pt x="0" y="684"/>
                  </a:moveTo>
                  <a:lnTo>
                    <a:pt x="5346" y="0"/>
                  </a:lnTo>
                  <a:lnTo>
                    <a:pt x="12057" y="2926"/>
                  </a:lnTo>
                  <a:lnTo>
                    <a:pt x="12717" y="7564"/>
                  </a:lnTo>
                  <a:lnTo>
                    <a:pt x="6349" y="11700"/>
                  </a:lnTo>
                  <a:lnTo>
                    <a:pt x="159" y="708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93" name="Freihandform: Form 492">
              <a:extLst>
                <a:ext uri="{FF2B5EF4-FFF2-40B4-BE49-F238E27FC236}">
                  <a16:creationId xmlns:a16="http://schemas.microsoft.com/office/drawing/2014/main" id="{D60D14A1-ECC0-1CAA-ABF3-55385611BE73}"/>
                </a:ext>
              </a:extLst>
            </p:cNvPr>
            <p:cNvSpPr/>
            <p:nvPr/>
          </p:nvSpPr>
          <p:spPr>
            <a:xfrm>
              <a:off x="3837280" y="3020990"/>
              <a:ext cx="68254" cy="61914"/>
            </a:xfrm>
            <a:custGeom>
              <a:avLst/>
              <a:gdLst>
                <a:gd name="connsiteX0" fmla="*/ 5443 w 53280"/>
                <a:gd name="connsiteY0" fmla="*/ 37817 h 48176"/>
                <a:gd name="connsiteX1" fmla="*/ 0 w 53280"/>
                <a:gd name="connsiteY1" fmla="*/ 42098 h 48176"/>
                <a:gd name="connsiteX2" fmla="*/ 3485 w 53280"/>
                <a:gd name="connsiteY2" fmla="*/ 48176 h 48176"/>
                <a:gd name="connsiteX3" fmla="*/ 6460 w 53280"/>
                <a:gd name="connsiteY3" fmla="*/ 45973 h 48176"/>
                <a:gd name="connsiteX4" fmla="*/ 18343 w 53280"/>
                <a:gd name="connsiteY4" fmla="*/ 47810 h 48176"/>
                <a:gd name="connsiteX5" fmla="*/ 31542 w 53280"/>
                <a:gd name="connsiteY5" fmla="*/ 44175 h 48176"/>
                <a:gd name="connsiteX6" fmla="*/ 37351 w 53280"/>
                <a:gd name="connsiteY6" fmla="*/ 48056 h 48176"/>
                <a:gd name="connsiteX7" fmla="*/ 43145 w 53280"/>
                <a:gd name="connsiteY7" fmla="*/ 45593 h 48176"/>
                <a:gd name="connsiteX8" fmla="*/ 44577 w 53280"/>
                <a:gd name="connsiteY8" fmla="*/ 39668 h 48176"/>
                <a:gd name="connsiteX9" fmla="*/ 50372 w 53280"/>
                <a:gd name="connsiteY9" fmla="*/ 41061 h 48176"/>
                <a:gd name="connsiteX10" fmla="*/ 53100 w 53280"/>
                <a:gd name="connsiteY10" fmla="*/ 33179 h 48176"/>
                <a:gd name="connsiteX11" fmla="*/ 40335 w 53280"/>
                <a:gd name="connsiteY11" fmla="*/ 21561 h 48176"/>
                <a:gd name="connsiteX12" fmla="*/ 32680 w 53280"/>
                <a:gd name="connsiteY12" fmla="*/ 13578 h 48176"/>
                <a:gd name="connsiteX13" fmla="*/ 23771 w 53280"/>
                <a:gd name="connsiteY13" fmla="*/ 13 h 48176"/>
                <a:gd name="connsiteX14" fmla="*/ 17070 w 53280"/>
                <a:gd name="connsiteY14" fmla="*/ 938 h 48176"/>
                <a:gd name="connsiteX15" fmla="*/ 11136 w 53280"/>
                <a:gd name="connsiteY15" fmla="*/ 6723 h 48176"/>
                <a:gd name="connsiteX16" fmla="*/ 10230 w 53280"/>
                <a:gd name="connsiteY16" fmla="*/ 12937 h 48176"/>
                <a:gd name="connsiteX17" fmla="*/ 16063 w 53280"/>
                <a:gd name="connsiteY17" fmla="*/ 16042 h 48176"/>
                <a:gd name="connsiteX18" fmla="*/ 21717 w 53280"/>
                <a:gd name="connsiteY18" fmla="*/ 22872 h 48176"/>
                <a:gd name="connsiteX19" fmla="*/ 28544 w 53280"/>
                <a:gd name="connsiteY19" fmla="*/ 25466 h 48176"/>
                <a:gd name="connsiteX20" fmla="*/ 22103 w 53280"/>
                <a:gd name="connsiteY20" fmla="*/ 27129 h 48176"/>
                <a:gd name="connsiteX21" fmla="*/ 16169 w 53280"/>
                <a:gd name="connsiteY21" fmla="*/ 31000 h 48176"/>
                <a:gd name="connsiteX22" fmla="*/ 17311 w 53280"/>
                <a:gd name="connsiteY22" fmla="*/ 37291 h 48176"/>
                <a:gd name="connsiteX23" fmla="*/ 23443 w 53280"/>
                <a:gd name="connsiteY23" fmla="*/ 38511 h 48176"/>
                <a:gd name="connsiteX24" fmla="*/ 10485 w 53280"/>
                <a:gd name="connsiteY24" fmla="*/ 40179 h 48176"/>
                <a:gd name="connsiteX25" fmla="*/ 5443 w 53280"/>
                <a:gd name="connsiteY25" fmla="*/ 37817 h 4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3280" h="48176">
                  <a:moveTo>
                    <a:pt x="5443" y="37817"/>
                  </a:moveTo>
                  <a:lnTo>
                    <a:pt x="0" y="42098"/>
                  </a:lnTo>
                  <a:lnTo>
                    <a:pt x="3485" y="48176"/>
                  </a:lnTo>
                  <a:lnTo>
                    <a:pt x="6460" y="45973"/>
                  </a:lnTo>
                  <a:cubicBezTo>
                    <a:pt x="6460" y="45973"/>
                    <a:pt x="16419" y="48707"/>
                    <a:pt x="18343" y="47810"/>
                  </a:cubicBezTo>
                  <a:cubicBezTo>
                    <a:pt x="20286" y="46880"/>
                    <a:pt x="31021" y="43274"/>
                    <a:pt x="31542" y="44175"/>
                  </a:cubicBezTo>
                  <a:cubicBezTo>
                    <a:pt x="32043" y="45081"/>
                    <a:pt x="36179" y="48446"/>
                    <a:pt x="37351" y="48056"/>
                  </a:cubicBezTo>
                  <a:cubicBezTo>
                    <a:pt x="38498" y="47646"/>
                    <a:pt x="43145" y="47020"/>
                    <a:pt x="43145" y="45593"/>
                  </a:cubicBezTo>
                  <a:cubicBezTo>
                    <a:pt x="43145" y="44180"/>
                    <a:pt x="44577" y="39668"/>
                    <a:pt x="44577" y="39668"/>
                  </a:cubicBezTo>
                  <a:lnTo>
                    <a:pt x="50372" y="41061"/>
                  </a:lnTo>
                  <a:cubicBezTo>
                    <a:pt x="50372" y="41061"/>
                    <a:pt x="54137" y="35291"/>
                    <a:pt x="53100" y="33179"/>
                  </a:cubicBezTo>
                  <a:cubicBezTo>
                    <a:pt x="52059" y="31140"/>
                    <a:pt x="46761" y="23398"/>
                    <a:pt x="40335" y="21561"/>
                  </a:cubicBezTo>
                  <a:cubicBezTo>
                    <a:pt x="33875" y="19778"/>
                    <a:pt x="32680" y="15506"/>
                    <a:pt x="32680" y="13578"/>
                  </a:cubicBezTo>
                  <a:cubicBezTo>
                    <a:pt x="32680" y="11631"/>
                    <a:pt x="30766" y="278"/>
                    <a:pt x="23771" y="13"/>
                  </a:cubicBezTo>
                  <a:cubicBezTo>
                    <a:pt x="20951" y="-127"/>
                    <a:pt x="17070" y="938"/>
                    <a:pt x="17070" y="938"/>
                  </a:cubicBezTo>
                  <a:lnTo>
                    <a:pt x="11136" y="6723"/>
                  </a:lnTo>
                  <a:lnTo>
                    <a:pt x="10230" y="12937"/>
                  </a:lnTo>
                  <a:lnTo>
                    <a:pt x="16063" y="16042"/>
                  </a:lnTo>
                  <a:lnTo>
                    <a:pt x="21717" y="22872"/>
                  </a:lnTo>
                  <a:lnTo>
                    <a:pt x="28544" y="25466"/>
                  </a:lnTo>
                  <a:lnTo>
                    <a:pt x="22103" y="27129"/>
                  </a:lnTo>
                  <a:lnTo>
                    <a:pt x="16169" y="31000"/>
                  </a:lnTo>
                  <a:lnTo>
                    <a:pt x="17311" y="37291"/>
                  </a:lnTo>
                  <a:lnTo>
                    <a:pt x="23443" y="38511"/>
                  </a:lnTo>
                  <a:lnTo>
                    <a:pt x="10485" y="40179"/>
                  </a:lnTo>
                  <a:lnTo>
                    <a:pt x="5443" y="3781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94" name="Freihandform: Form 493">
              <a:extLst>
                <a:ext uri="{FF2B5EF4-FFF2-40B4-BE49-F238E27FC236}">
                  <a16:creationId xmlns:a16="http://schemas.microsoft.com/office/drawing/2014/main" id="{D249D398-0860-4C4A-2835-C94E807CA512}"/>
                </a:ext>
              </a:extLst>
            </p:cNvPr>
            <p:cNvSpPr/>
            <p:nvPr/>
          </p:nvSpPr>
          <p:spPr>
            <a:xfrm>
              <a:off x="3837280" y="3109893"/>
              <a:ext cx="7936" cy="14288"/>
            </a:xfrm>
            <a:custGeom>
              <a:avLst/>
              <a:gdLst>
                <a:gd name="connsiteX0" fmla="*/ 5915 w 5915"/>
                <a:gd name="connsiteY0" fmla="*/ 0 h 11786"/>
                <a:gd name="connsiteX1" fmla="*/ 5409 w 5915"/>
                <a:gd name="connsiteY1" fmla="*/ 6460 h 11786"/>
                <a:gd name="connsiteX2" fmla="*/ 1924 w 5915"/>
                <a:gd name="connsiteY2" fmla="*/ 11787 h 11786"/>
                <a:gd name="connsiteX3" fmla="*/ 0 w 5915"/>
                <a:gd name="connsiteY3" fmla="*/ 5298 h 11786"/>
              </a:gdLst>
              <a:ahLst/>
              <a:cxnLst>
                <a:cxn ang="0">
                  <a:pos x="connsiteX0" y="connsiteY0"/>
                </a:cxn>
                <a:cxn ang="0">
                  <a:pos x="connsiteX1" y="connsiteY1"/>
                </a:cxn>
                <a:cxn ang="0">
                  <a:pos x="connsiteX2" y="connsiteY2"/>
                </a:cxn>
                <a:cxn ang="0">
                  <a:pos x="connsiteX3" y="connsiteY3"/>
                </a:cxn>
              </a:cxnLst>
              <a:rect l="l" t="t" r="r" b="b"/>
              <a:pathLst>
                <a:path w="5915" h="11786">
                  <a:moveTo>
                    <a:pt x="5915" y="0"/>
                  </a:moveTo>
                  <a:lnTo>
                    <a:pt x="5409" y="6460"/>
                  </a:lnTo>
                  <a:lnTo>
                    <a:pt x="1924" y="11787"/>
                  </a:lnTo>
                  <a:lnTo>
                    <a:pt x="0" y="529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95" name="Freihandform: Form 494">
              <a:extLst>
                <a:ext uri="{FF2B5EF4-FFF2-40B4-BE49-F238E27FC236}">
                  <a16:creationId xmlns:a16="http://schemas.microsoft.com/office/drawing/2014/main" id="{BE3B2504-DC09-40DD-0E72-24FBFBB73DC0}"/>
                </a:ext>
              </a:extLst>
            </p:cNvPr>
            <p:cNvSpPr/>
            <p:nvPr/>
          </p:nvSpPr>
          <p:spPr>
            <a:xfrm>
              <a:off x="3800771" y="3141645"/>
              <a:ext cx="42858" cy="57152"/>
            </a:xfrm>
            <a:custGeom>
              <a:avLst/>
              <a:gdLst>
                <a:gd name="connsiteX0" fmla="*/ 15122 w 33315"/>
                <a:gd name="connsiteY0" fmla="*/ 10851 h 44846"/>
                <a:gd name="connsiteX1" fmla="*/ 32433 w 33315"/>
                <a:gd name="connsiteY1" fmla="*/ 24 h 44846"/>
                <a:gd name="connsiteX2" fmla="*/ 31908 w 33315"/>
                <a:gd name="connsiteY2" fmla="*/ 18627 h 44846"/>
                <a:gd name="connsiteX3" fmla="*/ 33315 w 33315"/>
                <a:gd name="connsiteY3" fmla="*/ 31537 h 44846"/>
                <a:gd name="connsiteX4" fmla="*/ 28413 w 33315"/>
                <a:gd name="connsiteY4" fmla="*/ 37592 h 44846"/>
                <a:gd name="connsiteX5" fmla="*/ 12683 w 33315"/>
                <a:gd name="connsiteY5" fmla="*/ 44847 h 44846"/>
                <a:gd name="connsiteX6" fmla="*/ 9573 w 33315"/>
                <a:gd name="connsiteY6" fmla="*/ 37592 h 44846"/>
                <a:gd name="connsiteX7" fmla="*/ 15377 w 33315"/>
                <a:gd name="connsiteY7" fmla="*/ 34107 h 44846"/>
                <a:gd name="connsiteX8" fmla="*/ 15377 w 33315"/>
                <a:gd name="connsiteY8" fmla="*/ 28963 h 44846"/>
                <a:gd name="connsiteX9" fmla="*/ 13184 w 33315"/>
                <a:gd name="connsiteY9" fmla="*/ 22002 h 44846"/>
                <a:gd name="connsiteX10" fmla="*/ 18492 w 33315"/>
                <a:gd name="connsiteY10" fmla="*/ 19519 h 44846"/>
                <a:gd name="connsiteX11" fmla="*/ 13063 w 33315"/>
                <a:gd name="connsiteY11" fmla="*/ 16304 h 44846"/>
                <a:gd name="connsiteX12" fmla="*/ 2858 w 33315"/>
                <a:gd name="connsiteY12" fmla="*/ 27015 h 44846"/>
                <a:gd name="connsiteX13" fmla="*/ 910 w 33315"/>
                <a:gd name="connsiteY13" fmla="*/ 19654 h 44846"/>
                <a:gd name="connsiteX14" fmla="*/ 4907 w 33315"/>
                <a:gd name="connsiteY14" fmla="*/ 14491 h 44846"/>
                <a:gd name="connsiteX15" fmla="*/ 5707 w 33315"/>
                <a:gd name="connsiteY15" fmla="*/ 7771 h 44846"/>
                <a:gd name="connsiteX16" fmla="*/ 12793 w 33315"/>
                <a:gd name="connsiteY16" fmla="*/ 4661 h 44846"/>
                <a:gd name="connsiteX17" fmla="*/ 15122 w 33315"/>
                <a:gd name="connsiteY17" fmla="*/ 10851 h 44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315" h="44846">
                  <a:moveTo>
                    <a:pt x="15122" y="10851"/>
                  </a:moveTo>
                  <a:cubicBezTo>
                    <a:pt x="15122" y="10851"/>
                    <a:pt x="23134" y="-593"/>
                    <a:pt x="32433" y="24"/>
                  </a:cubicBezTo>
                  <a:cubicBezTo>
                    <a:pt x="32298" y="6474"/>
                    <a:pt x="31517" y="16810"/>
                    <a:pt x="31908" y="18627"/>
                  </a:cubicBezTo>
                  <a:cubicBezTo>
                    <a:pt x="32298" y="20430"/>
                    <a:pt x="33315" y="31537"/>
                    <a:pt x="33315" y="31537"/>
                  </a:cubicBezTo>
                  <a:lnTo>
                    <a:pt x="28413" y="37592"/>
                  </a:lnTo>
                  <a:cubicBezTo>
                    <a:pt x="28413" y="37592"/>
                    <a:pt x="14736" y="41868"/>
                    <a:pt x="12683" y="44847"/>
                  </a:cubicBezTo>
                  <a:cubicBezTo>
                    <a:pt x="10600" y="40832"/>
                    <a:pt x="9573" y="37592"/>
                    <a:pt x="9573" y="37592"/>
                  </a:cubicBezTo>
                  <a:cubicBezTo>
                    <a:pt x="9573" y="37592"/>
                    <a:pt x="15377" y="36314"/>
                    <a:pt x="15377" y="34107"/>
                  </a:cubicBezTo>
                  <a:cubicBezTo>
                    <a:pt x="15377" y="31937"/>
                    <a:pt x="15377" y="28963"/>
                    <a:pt x="15377" y="28963"/>
                  </a:cubicBezTo>
                  <a:lnTo>
                    <a:pt x="13184" y="22002"/>
                  </a:lnTo>
                  <a:lnTo>
                    <a:pt x="18492" y="19519"/>
                  </a:lnTo>
                  <a:lnTo>
                    <a:pt x="13063" y="16304"/>
                  </a:lnTo>
                  <a:cubicBezTo>
                    <a:pt x="13063" y="16304"/>
                    <a:pt x="7105" y="24807"/>
                    <a:pt x="2858" y="27015"/>
                  </a:cubicBezTo>
                  <a:cubicBezTo>
                    <a:pt x="645" y="23033"/>
                    <a:pt x="-1158" y="21047"/>
                    <a:pt x="910" y="19654"/>
                  </a:cubicBezTo>
                  <a:cubicBezTo>
                    <a:pt x="2988" y="18242"/>
                    <a:pt x="4907" y="14491"/>
                    <a:pt x="4907" y="14491"/>
                  </a:cubicBezTo>
                  <a:lnTo>
                    <a:pt x="5707" y="7771"/>
                  </a:lnTo>
                  <a:lnTo>
                    <a:pt x="12793" y="4661"/>
                  </a:lnTo>
                  <a:lnTo>
                    <a:pt x="15122" y="1085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96" name="Freihandform: Form 495">
              <a:extLst>
                <a:ext uri="{FF2B5EF4-FFF2-40B4-BE49-F238E27FC236}">
                  <a16:creationId xmlns:a16="http://schemas.microsoft.com/office/drawing/2014/main" id="{5F53300B-D881-54B5-4B5F-BF489804E051}"/>
                </a:ext>
              </a:extLst>
            </p:cNvPr>
            <p:cNvSpPr/>
            <p:nvPr/>
          </p:nvSpPr>
          <p:spPr>
            <a:xfrm>
              <a:off x="3927757" y="3163870"/>
              <a:ext cx="14286" cy="33338"/>
            </a:xfrm>
            <a:custGeom>
              <a:avLst/>
              <a:gdLst>
                <a:gd name="connsiteX0" fmla="*/ 3890 w 11306"/>
                <a:gd name="connsiteY0" fmla="*/ 0 h 26590"/>
                <a:gd name="connsiteX1" fmla="*/ 9574 w 11306"/>
                <a:gd name="connsiteY1" fmla="*/ 26591 h 26590"/>
                <a:gd name="connsiteX2" fmla="*/ 3490 w 11306"/>
                <a:gd name="connsiteY2" fmla="*/ 14698 h 26590"/>
                <a:gd name="connsiteX3" fmla="*/ 0 w 11306"/>
                <a:gd name="connsiteY3" fmla="*/ 2835 h 26590"/>
                <a:gd name="connsiteX4" fmla="*/ 3890 w 11306"/>
                <a:gd name="connsiteY4" fmla="*/ 0 h 26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6" h="26590">
                  <a:moveTo>
                    <a:pt x="3890" y="0"/>
                  </a:moveTo>
                  <a:cubicBezTo>
                    <a:pt x="3890" y="0"/>
                    <a:pt x="15624" y="9309"/>
                    <a:pt x="9574" y="26591"/>
                  </a:cubicBezTo>
                  <a:cubicBezTo>
                    <a:pt x="7501" y="22595"/>
                    <a:pt x="3490" y="14698"/>
                    <a:pt x="3490" y="14698"/>
                  </a:cubicBezTo>
                  <a:lnTo>
                    <a:pt x="0" y="2835"/>
                  </a:lnTo>
                  <a:lnTo>
                    <a:pt x="389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97" name="Freihandform: Form 496">
              <a:extLst>
                <a:ext uri="{FF2B5EF4-FFF2-40B4-BE49-F238E27FC236}">
                  <a16:creationId xmlns:a16="http://schemas.microsoft.com/office/drawing/2014/main" id="{8CFCC867-C493-60A0-EE50-90730B6D7D85}"/>
                </a:ext>
              </a:extLst>
            </p:cNvPr>
            <p:cNvSpPr/>
            <p:nvPr/>
          </p:nvSpPr>
          <p:spPr>
            <a:xfrm>
              <a:off x="3900773" y="3195622"/>
              <a:ext cx="25397" cy="47627"/>
            </a:xfrm>
            <a:custGeom>
              <a:avLst/>
              <a:gdLst>
                <a:gd name="connsiteX0" fmla="*/ 18198 w 20136"/>
                <a:gd name="connsiteY0" fmla="*/ 25714 h 37697"/>
                <a:gd name="connsiteX1" fmla="*/ 19374 w 20136"/>
                <a:gd name="connsiteY1" fmla="*/ 31127 h 37697"/>
                <a:gd name="connsiteX2" fmla="*/ 17832 w 20136"/>
                <a:gd name="connsiteY2" fmla="*/ 37220 h 37697"/>
                <a:gd name="connsiteX3" fmla="*/ 11362 w 20136"/>
                <a:gd name="connsiteY3" fmla="*/ 37698 h 37697"/>
                <a:gd name="connsiteX4" fmla="*/ 1417 w 20136"/>
                <a:gd name="connsiteY4" fmla="*/ 28283 h 37697"/>
                <a:gd name="connsiteX5" fmla="*/ 0 w 20136"/>
                <a:gd name="connsiteY5" fmla="*/ 10061 h 37697"/>
                <a:gd name="connsiteX6" fmla="*/ 2724 w 20136"/>
                <a:gd name="connsiteY6" fmla="*/ 3225 h 37697"/>
                <a:gd name="connsiteX7" fmla="*/ 9420 w 20136"/>
                <a:gd name="connsiteY7" fmla="*/ 0 h 37697"/>
                <a:gd name="connsiteX8" fmla="*/ 14983 w 20136"/>
                <a:gd name="connsiteY8" fmla="*/ 665 h 37697"/>
                <a:gd name="connsiteX9" fmla="*/ 19239 w 20136"/>
                <a:gd name="connsiteY9" fmla="*/ 6330 h 37697"/>
                <a:gd name="connsiteX10" fmla="*/ 18198 w 20136"/>
                <a:gd name="connsiteY10" fmla="*/ 25714 h 37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136" h="37697">
                  <a:moveTo>
                    <a:pt x="18198" y="25714"/>
                  </a:moveTo>
                  <a:lnTo>
                    <a:pt x="19374" y="31127"/>
                  </a:lnTo>
                  <a:lnTo>
                    <a:pt x="17832" y="37220"/>
                  </a:lnTo>
                  <a:lnTo>
                    <a:pt x="11362" y="37698"/>
                  </a:lnTo>
                  <a:cubicBezTo>
                    <a:pt x="11362" y="37698"/>
                    <a:pt x="1538" y="33311"/>
                    <a:pt x="1417" y="28283"/>
                  </a:cubicBezTo>
                  <a:cubicBezTo>
                    <a:pt x="1278" y="23241"/>
                    <a:pt x="897" y="15513"/>
                    <a:pt x="0" y="10061"/>
                  </a:cubicBezTo>
                  <a:cubicBezTo>
                    <a:pt x="1036" y="5934"/>
                    <a:pt x="2724" y="3225"/>
                    <a:pt x="2724" y="3225"/>
                  </a:cubicBezTo>
                  <a:lnTo>
                    <a:pt x="9420" y="0"/>
                  </a:lnTo>
                  <a:lnTo>
                    <a:pt x="14983" y="665"/>
                  </a:lnTo>
                  <a:lnTo>
                    <a:pt x="19239" y="6330"/>
                  </a:lnTo>
                  <a:cubicBezTo>
                    <a:pt x="19235" y="6325"/>
                    <a:pt x="21838" y="12254"/>
                    <a:pt x="18198" y="2571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98" name="Freihandform: Form 497">
              <a:extLst>
                <a:ext uri="{FF2B5EF4-FFF2-40B4-BE49-F238E27FC236}">
                  <a16:creationId xmlns:a16="http://schemas.microsoft.com/office/drawing/2014/main" id="{98B892D9-CDC7-4437-6C43-A52988718236}"/>
                </a:ext>
              </a:extLst>
            </p:cNvPr>
            <p:cNvSpPr/>
            <p:nvPr/>
          </p:nvSpPr>
          <p:spPr>
            <a:xfrm>
              <a:off x="3908709" y="3428992"/>
              <a:ext cx="49207" cy="52390"/>
            </a:xfrm>
            <a:custGeom>
              <a:avLst/>
              <a:gdLst>
                <a:gd name="connsiteX0" fmla="*/ 35919 w 38633"/>
                <a:gd name="connsiteY0" fmla="*/ 432 h 41585"/>
                <a:gd name="connsiteX1" fmla="*/ 38228 w 38633"/>
                <a:gd name="connsiteY1" fmla="*/ 19045 h 41585"/>
                <a:gd name="connsiteX2" fmla="*/ 25420 w 38633"/>
                <a:gd name="connsiteY2" fmla="*/ 31429 h 41585"/>
                <a:gd name="connsiteX3" fmla="*/ 0 w 38633"/>
                <a:gd name="connsiteY3" fmla="*/ 40208 h 41585"/>
                <a:gd name="connsiteX4" fmla="*/ 8393 w 38633"/>
                <a:gd name="connsiteY4" fmla="*/ 22270 h 41585"/>
                <a:gd name="connsiteX5" fmla="*/ 21568 w 38633"/>
                <a:gd name="connsiteY5" fmla="*/ 10122 h 41585"/>
                <a:gd name="connsiteX6" fmla="*/ 35919 w 38633"/>
                <a:gd name="connsiteY6" fmla="*/ 432 h 4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33" h="41585">
                  <a:moveTo>
                    <a:pt x="35919" y="432"/>
                  </a:moveTo>
                  <a:cubicBezTo>
                    <a:pt x="35919" y="432"/>
                    <a:pt x="39886" y="16051"/>
                    <a:pt x="38228" y="19045"/>
                  </a:cubicBezTo>
                  <a:cubicBezTo>
                    <a:pt x="36546" y="21986"/>
                    <a:pt x="28008" y="27684"/>
                    <a:pt x="25420" y="31429"/>
                  </a:cubicBezTo>
                  <a:cubicBezTo>
                    <a:pt x="22869" y="35185"/>
                    <a:pt x="10986" y="45231"/>
                    <a:pt x="0" y="40208"/>
                  </a:cubicBezTo>
                  <a:cubicBezTo>
                    <a:pt x="1798" y="34515"/>
                    <a:pt x="5168" y="23938"/>
                    <a:pt x="8393" y="22270"/>
                  </a:cubicBezTo>
                  <a:cubicBezTo>
                    <a:pt x="11608" y="20573"/>
                    <a:pt x="21303" y="13742"/>
                    <a:pt x="21568" y="10122"/>
                  </a:cubicBezTo>
                  <a:cubicBezTo>
                    <a:pt x="21828" y="6516"/>
                    <a:pt x="35403" y="-2007"/>
                    <a:pt x="35919" y="43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99" name="Freihandform: Form 498">
              <a:extLst>
                <a:ext uri="{FF2B5EF4-FFF2-40B4-BE49-F238E27FC236}">
                  <a16:creationId xmlns:a16="http://schemas.microsoft.com/office/drawing/2014/main" id="{1532D5AB-60BD-E24A-0B2A-A0AF6BAE9F23}"/>
                </a:ext>
              </a:extLst>
            </p:cNvPr>
            <p:cNvSpPr/>
            <p:nvPr/>
          </p:nvSpPr>
          <p:spPr>
            <a:xfrm>
              <a:off x="3803946" y="3243248"/>
              <a:ext cx="11112" cy="9525"/>
            </a:xfrm>
            <a:custGeom>
              <a:avLst/>
              <a:gdLst>
                <a:gd name="connsiteX0" fmla="*/ 7559 w 7558"/>
                <a:gd name="connsiteY0" fmla="*/ 0 h 7231"/>
                <a:gd name="connsiteX1" fmla="*/ 7559 w 7558"/>
                <a:gd name="connsiteY1" fmla="*/ 7231 h 7231"/>
                <a:gd name="connsiteX2" fmla="*/ 0 w 7558"/>
                <a:gd name="connsiteY2" fmla="*/ 173 h 7231"/>
              </a:gdLst>
              <a:ahLst/>
              <a:cxnLst>
                <a:cxn ang="0">
                  <a:pos x="connsiteX0" y="connsiteY0"/>
                </a:cxn>
                <a:cxn ang="0">
                  <a:pos x="connsiteX1" y="connsiteY1"/>
                </a:cxn>
                <a:cxn ang="0">
                  <a:pos x="connsiteX2" y="connsiteY2"/>
                </a:cxn>
              </a:cxnLst>
              <a:rect l="l" t="t" r="r" b="b"/>
              <a:pathLst>
                <a:path w="7558" h="7231">
                  <a:moveTo>
                    <a:pt x="7559" y="0"/>
                  </a:moveTo>
                  <a:lnTo>
                    <a:pt x="7559" y="7231"/>
                  </a:lnTo>
                  <a:lnTo>
                    <a:pt x="0" y="17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00" name="Freihandform: Form 499">
              <a:extLst>
                <a:ext uri="{FF2B5EF4-FFF2-40B4-BE49-F238E27FC236}">
                  <a16:creationId xmlns:a16="http://schemas.microsoft.com/office/drawing/2014/main" id="{F2614CC6-F18A-AB78-A27C-EA45E0B715B8}"/>
                </a:ext>
              </a:extLst>
            </p:cNvPr>
            <p:cNvSpPr/>
            <p:nvPr/>
          </p:nvSpPr>
          <p:spPr>
            <a:xfrm>
              <a:off x="3903947" y="3592512"/>
              <a:ext cx="50794" cy="50802"/>
            </a:xfrm>
            <a:custGeom>
              <a:avLst/>
              <a:gdLst>
                <a:gd name="connsiteX0" fmla="*/ 27227 w 40132"/>
                <a:gd name="connsiteY0" fmla="*/ 14640 h 39765"/>
                <a:gd name="connsiteX1" fmla="*/ 21351 w 40132"/>
                <a:gd name="connsiteY1" fmla="*/ 3100 h 39765"/>
                <a:gd name="connsiteX2" fmla="*/ 15152 w 40132"/>
                <a:gd name="connsiteY2" fmla="*/ 0 h 39765"/>
                <a:gd name="connsiteX3" fmla="*/ 2762 w 40132"/>
                <a:gd name="connsiteY3" fmla="*/ 4454 h 39765"/>
                <a:gd name="connsiteX4" fmla="*/ 0 w 40132"/>
                <a:gd name="connsiteY4" fmla="*/ 18598 h 39765"/>
                <a:gd name="connsiteX5" fmla="*/ 3273 w 40132"/>
                <a:gd name="connsiteY5" fmla="*/ 31315 h 39765"/>
                <a:gd name="connsiteX6" fmla="*/ 10340 w 40132"/>
                <a:gd name="connsiteY6" fmla="*/ 34752 h 39765"/>
                <a:gd name="connsiteX7" fmla="*/ 12235 w 40132"/>
                <a:gd name="connsiteY7" fmla="*/ 39766 h 39765"/>
                <a:gd name="connsiteX8" fmla="*/ 18434 w 40132"/>
                <a:gd name="connsiteY8" fmla="*/ 37322 h 39765"/>
                <a:gd name="connsiteX9" fmla="*/ 34121 w 40132"/>
                <a:gd name="connsiteY9" fmla="*/ 28037 h 39765"/>
                <a:gd name="connsiteX10" fmla="*/ 40132 w 40132"/>
                <a:gd name="connsiteY10" fmla="*/ 20469 h 39765"/>
                <a:gd name="connsiteX11" fmla="*/ 33600 w 40132"/>
                <a:gd name="connsiteY11" fmla="*/ 20314 h 39765"/>
                <a:gd name="connsiteX12" fmla="*/ 27227 w 40132"/>
                <a:gd name="connsiteY12" fmla="*/ 14640 h 39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132" h="39765">
                  <a:moveTo>
                    <a:pt x="27227" y="14640"/>
                  </a:moveTo>
                  <a:lnTo>
                    <a:pt x="21351" y="3100"/>
                  </a:lnTo>
                  <a:lnTo>
                    <a:pt x="15152" y="0"/>
                  </a:lnTo>
                  <a:cubicBezTo>
                    <a:pt x="15152" y="0"/>
                    <a:pt x="4136" y="1538"/>
                    <a:pt x="2762" y="4454"/>
                  </a:cubicBezTo>
                  <a:cubicBezTo>
                    <a:pt x="1374" y="7366"/>
                    <a:pt x="0" y="18598"/>
                    <a:pt x="0" y="18598"/>
                  </a:cubicBezTo>
                  <a:cubicBezTo>
                    <a:pt x="0" y="18598"/>
                    <a:pt x="3616" y="28037"/>
                    <a:pt x="3273" y="31315"/>
                  </a:cubicBezTo>
                  <a:cubicBezTo>
                    <a:pt x="7578" y="33378"/>
                    <a:pt x="10340" y="34752"/>
                    <a:pt x="10340" y="34752"/>
                  </a:cubicBezTo>
                  <a:lnTo>
                    <a:pt x="12235" y="39766"/>
                  </a:lnTo>
                  <a:lnTo>
                    <a:pt x="18434" y="37322"/>
                  </a:lnTo>
                  <a:cubicBezTo>
                    <a:pt x="18434" y="37322"/>
                    <a:pt x="25342" y="28307"/>
                    <a:pt x="34121" y="28037"/>
                  </a:cubicBezTo>
                  <a:cubicBezTo>
                    <a:pt x="36184" y="27560"/>
                    <a:pt x="40132" y="20469"/>
                    <a:pt x="40132" y="20469"/>
                  </a:cubicBezTo>
                  <a:lnTo>
                    <a:pt x="33600" y="20314"/>
                  </a:lnTo>
                  <a:lnTo>
                    <a:pt x="27227" y="1464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01" name="Freihandform: Form 500">
              <a:extLst>
                <a:ext uri="{FF2B5EF4-FFF2-40B4-BE49-F238E27FC236}">
                  <a16:creationId xmlns:a16="http://schemas.microsoft.com/office/drawing/2014/main" id="{F24F99DF-BD11-6496-B8B3-ED2764C4E1D8}"/>
                </a:ext>
              </a:extLst>
            </p:cNvPr>
            <p:cNvSpPr/>
            <p:nvPr/>
          </p:nvSpPr>
          <p:spPr>
            <a:xfrm>
              <a:off x="3894423" y="3603624"/>
              <a:ext cx="7936" cy="17464"/>
            </a:xfrm>
            <a:custGeom>
              <a:avLst/>
              <a:gdLst>
                <a:gd name="connsiteX0" fmla="*/ 0 w 6368"/>
                <a:gd name="connsiteY0" fmla="*/ 0 h 13767"/>
                <a:gd name="connsiteX1" fmla="*/ 5857 w 6368"/>
                <a:gd name="connsiteY1" fmla="*/ 4305 h 13767"/>
                <a:gd name="connsiteX2" fmla="*/ 6368 w 6368"/>
                <a:gd name="connsiteY2" fmla="*/ 13768 h 13767"/>
                <a:gd name="connsiteX3" fmla="*/ 1721 w 6368"/>
                <a:gd name="connsiteY3" fmla="*/ 6681 h 13767"/>
              </a:gdLst>
              <a:ahLst/>
              <a:cxnLst>
                <a:cxn ang="0">
                  <a:pos x="connsiteX0" y="connsiteY0"/>
                </a:cxn>
                <a:cxn ang="0">
                  <a:pos x="connsiteX1" y="connsiteY1"/>
                </a:cxn>
                <a:cxn ang="0">
                  <a:pos x="connsiteX2" y="connsiteY2"/>
                </a:cxn>
                <a:cxn ang="0">
                  <a:pos x="connsiteX3" y="connsiteY3"/>
                </a:cxn>
              </a:cxnLst>
              <a:rect l="l" t="t" r="r" b="b"/>
              <a:pathLst>
                <a:path w="6368" h="13767">
                  <a:moveTo>
                    <a:pt x="0" y="0"/>
                  </a:moveTo>
                  <a:lnTo>
                    <a:pt x="5857" y="4305"/>
                  </a:lnTo>
                  <a:lnTo>
                    <a:pt x="6368" y="13768"/>
                  </a:lnTo>
                  <a:lnTo>
                    <a:pt x="1721" y="668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02" name="Freihandform: Form 501">
              <a:extLst>
                <a:ext uri="{FF2B5EF4-FFF2-40B4-BE49-F238E27FC236}">
                  <a16:creationId xmlns:a16="http://schemas.microsoft.com/office/drawing/2014/main" id="{AC29864E-6B87-5C54-9FD6-8B864558308C}"/>
                </a:ext>
              </a:extLst>
            </p:cNvPr>
            <p:cNvSpPr/>
            <p:nvPr/>
          </p:nvSpPr>
          <p:spPr>
            <a:xfrm>
              <a:off x="3373782" y="3363903"/>
              <a:ext cx="26984" cy="25401"/>
            </a:xfrm>
            <a:custGeom>
              <a:avLst/>
              <a:gdLst>
                <a:gd name="connsiteX0" fmla="*/ 0 w 21804"/>
                <a:gd name="connsiteY0" fmla="*/ 3992 h 20015"/>
                <a:gd name="connsiteX1" fmla="*/ 6865 w 21804"/>
                <a:gd name="connsiteY1" fmla="*/ 0 h 20015"/>
                <a:gd name="connsiteX2" fmla="*/ 20281 w 21804"/>
                <a:gd name="connsiteY2" fmla="*/ 4363 h 20015"/>
                <a:gd name="connsiteX3" fmla="*/ 20425 w 21804"/>
                <a:gd name="connsiteY3" fmla="*/ 16665 h 20015"/>
                <a:gd name="connsiteX4" fmla="*/ 15778 w 21804"/>
                <a:gd name="connsiteY4" fmla="*/ 20015 h 20015"/>
                <a:gd name="connsiteX5" fmla="*/ 11647 w 21804"/>
                <a:gd name="connsiteY5" fmla="*/ 11242 h 20015"/>
                <a:gd name="connsiteX6" fmla="*/ 0 w 21804"/>
                <a:gd name="connsiteY6" fmla="*/ 3992 h 20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04" h="20015">
                  <a:moveTo>
                    <a:pt x="0" y="3992"/>
                  </a:moveTo>
                  <a:lnTo>
                    <a:pt x="6865" y="0"/>
                  </a:lnTo>
                  <a:cubicBezTo>
                    <a:pt x="6865" y="0"/>
                    <a:pt x="18994" y="757"/>
                    <a:pt x="20281" y="4363"/>
                  </a:cubicBezTo>
                  <a:cubicBezTo>
                    <a:pt x="21578" y="7998"/>
                    <a:pt x="22869" y="14337"/>
                    <a:pt x="20425" y="16665"/>
                  </a:cubicBezTo>
                  <a:cubicBezTo>
                    <a:pt x="17962" y="18979"/>
                    <a:pt x="15778" y="20015"/>
                    <a:pt x="15778" y="20015"/>
                  </a:cubicBezTo>
                  <a:cubicBezTo>
                    <a:pt x="15778" y="20015"/>
                    <a:pt x="14211" y="13059"/>
                    <a:pt x="11647" y="11242"/>
                  </a:cubicBezTo>
                  <a:cubicBezTo>
                    <a:pt x="9049" y="9434"/>
                    <a:pt x="0" y="3992"/>
                    <a:pt x="0" y="399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03" name="Freihandform: Form 502">
              <a:extLst>
                <a:ext uri="{FF2B5EF4-FFF2-40B4-BE49-F238E27FC236}">
                  <a16:creationId xmlns:a16="http://schemas.microsoft.com/office/drawing/2014/main" id="{1C91C7B4-2F3B-B1F5-A285-ED92F95E58E2}"/>
                </a:ext>
              </a:extLst>
            </p:cNvPr>
            <p:cNvSpPr/>
            <p:nvPr/>
          </p:nvSpPr>
          <p:spPr>
            <a:xfrm>
              <a:off x="4397603" y="4006864"/>
              <a:ext cx="17461" cy="15876"/>
            </a:xfrm>
            <a:custGeom>
              <a:avLst/>
              <a:gdLst>
                <a:gd name="connsiteX0" fmla="*/ 13411 w 13411"/>
                <a:gd name="connsiteY0" fmla="*/ 7231 h 13325"/>
                <a:gd name="connsiteX1" fmla="*/ 11478 w 13411"/>
                <a:gd name="connsiteY1" fmla="*/ 13320 h 13325"/>
                <a:gd name="connsiteX2" fmla="*/ 5158 w 13411"/>
                <a:gd name="connsiteY2" fmla="*/ 11358 h 13325"/>
                <a:gd name="connsiteX3" fmla="*/ 0 w 13411"/>
                <a:gd name="connsiteY3" fmla="*/ 6715 h 13325"/>
                <a:gd name="connsiteX4" fmla="*/ 1673 w 13411"/>
                <a:gd name="connsiteY4" fmla="*/ 0 h 13325"/>
                <a:gd name="connsiteX5" fmla="*/ 13411 w 13411"/>
                <a:gd name="connsiteY5" fmla="*/ 7231 h 1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11" h="13325">
                  <a:moveTo>
                    <a:pt x="13411" y="7231"/>
                  </a:moveTo>
                  <a:cubicBezTo>
                    <a:pt x="13411" y="7231"/>
                    <a:pt x="12890" y="13541"/>
                    <a:pt x="11478" y="13320"/>
                  </a:cubicBezTo>
                  <a:cubicBezTo>
                    <a:pt x="10066" y="13059"/>
                    <a:pt x="5158" y="11358"/>
                    <a:pt x="5158" y="11358"/>
                  </a:cubicBezTo>
                  <a:lnTo>
                    <a:pt x="0" y="6715"/>
                  </a:lnTo>
                  <a:lnTo>
                    <a:pt x="1673" y="0"/>
                  </a:lnTo>
                  <a:lnTo>
                    <a:pt x="13411" y="723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04" name="Freihandform: Form 503">
              <a:extLst>
                <a:ext uri="{FF2B5EF4-FFF2-40B4-BE49-F238E27FC236}">
                  <a16:creationId xmlns:a16="http://schemas.microsoft.com/office/drawing/2014/main" id="{25C7E22D-3BFD-8995-C865-B1B33FA6BF1D}"/>
                </a:ext>
              </a:extLst>
            </p:cNvPr>
            <p:cNvSpPr/>
            <p:nvPr/>
          </p:nvSpPr>
          <p:spPr>
            <a:xfrm>
              <a:off x="4140458" y="4092593"/>
              <a:ext cx="49207" cy="31751"/>
            </a:xfrm>
            <a:custGeom>
              <a:avLst/>
              <a:gdLst>
                <a:gd name="connsiteX0" fmla="*/ 36801 w 38057"/>
                <a:gd name="connsiteY0" fmla="*/ 8576 h 25506"/>
                <a:gd name="connsiteX1" fmla="*/ 36676 w 38057"/>
                <a:gd name="connsiteY1" fmla="*/ 14786 h 25506"/>
                <a:gd name="connsiteX2" fmla="*/ 31007 w 38057"/>
                <a:gd name="connsiteY2" fmla="*/ 17485 h 25506"/>
                <a:gd name="connsiteX3" fmla="*/ 27126 w 38057"/>
                <a:gd name="connsiteY3" fmla="*/ 23415 h 25506"/>
                <a:gd name="connsiteX4" fmla="*/ 18328 w 38057"/>
                <a:gd name="connsiteY4" fmla="*/ 25507 h 25506"/>
                <a:gd name="connsiteX5" fmla="*/ 0 w 38057"/>
                <a:gd name="connsiteY5" fmla="*/ 10669 h 25506"/>
                <a:gd name="connsiteX6" fmla="*/ 6595 w 38057"/>
                <a:gd name="connsiteY6" fmla="*/ 5245 h 25506"/>
                <a:gd name="connsiteX7" fmla="*/ 12278 w 38057"/>
                <a:gd name="connsiteY7" fmla="*/ 4845 h 25506"/>
                <a:gd name="connsiteX8" fmla="*/ 20025 w 38057"/>
                <a:gd name="connsiteY8" fmla="*/ 73 h 25506"/>
                <a:gd name="connsiteX9" fmla="*/ 26736 w 38057"/>
                <a:gd name="connsiteY9" fmla="*/ 3818 h 25506"/>
                <a:gd name="connsiteX10" fmla="*/ 36801 w 38057"/>
                <a:gd name="connsiteY10" fmla="*/ 8576 h 2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057" h="25506">
                  <a:moveTo>
                    <a:pt x="36801" y="8576"/>
                  </a:moveTo>
                  <a:cubicBezTo>
                    <a:pt x="38633" y="9319"/>
                    <a:pt x="38349" y="14260"/>
                    <a:pt x="36676" y="14786"/>
                  </a:cubicBezTo>
                  <a:cubicBezTo>
                    <a:pt x="34994" y="15287"/>
                    <a:pt x="31518" y="15287"/>
                    <a:pt x="31007" y="17485"/>
                  </a:cubicBezTo>
                  <a:cubicBezTo>
                    <a:pt x="30477" y="19717"/>
                    <a:pt x="30096" y="22513"/>
                    <a:pt x="27126" y="23415"/>
                  </a:cubicBezTo>
                  <a:cubicBezTo>
                    <a:pt x="24147" y="24335"/>
                    <a:pt x="18328" y="25507"/>
                    <a:pt x="18328" y="25507"/>
                  </a:cubicBezTo>
                  <a:cubicBezTo>
                    <a:pt x="18328" y="25507"/>
                    <a:pt x="8904" y="14410"/>
                    <a:pt x="0" y="10669"/>
                  </a:cubicBezTo>
                  <a:cubicBezTo>
                    <a:pt x="3625" y="7289"/>
                    <a:pt x="6595" y="5245"/>
                    <a:pt x="6595" y="5245"/>
                  </a:cubicBezTo>
                  <a:lnTo>
                    <a:pt x="12278" y="4845"/>
                  </a:lnTo>
                  <a:cubicBezTo>
                    <a:pt x="12278" y="4845"/>
                    <a:pt x="18222" y="-694"/>
                    <a:pt x="20025" y="73"/>
                  </a:cubicBezTo>
                  <a:cubicBezTo>
                    <a:pt x="21819" y="825"/>
                    <a:pt x="25709" y="1480"/>
                    <a:pt x="26736" y="3818"/>
                  </a:cubicBezTo>
                  <a:cubicBezTo>
                    <a:pt x="27762" y="6108"/>
                    <a:pt x="36150" y="8326"/>
                    <a:pt x="36801" y="857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05" name="Freihandform: Form 504">
              <a:extLst>
                <a:ext uri="{FF2B5EF4-FFF2-40B4-BE49-F238E27FC236}">
                  <a16:creationId xmlns:a16="http://schemas.microsoft.com/office/drawing/2014/main" id="{C7CBF7FC-36CC-5C45-8EF2-54FF3129D4E3}"/>
                </a:ext>
              </a:extLst>
            </p:cNvPr>
            <p:cNvSpPr/>
            <p:nvPr/>
          </p:nvSpPr>
          <p:spPr>
            <a:xfrm>
              <a:off x="6057941" y="6248499"/>
              <a:ext cx="9524" cy="15876"/>
            </a:xfrm>
            <a:custGeom>
              <a:avLst/>
              <a:gdLst>
                <a:gd name="connsiteX0" fmla="*/ 6431 w 7997"/>
                <a:gd name="connsiteY0" fmla="*/ 12158 h 12157"/>
                <a:gd name="connsiteX1" fmla="*/ 7998 w 7997"/>
                <a:gd name="connsiteY1" fmla="*/ 6715 h 12157"/>
                <a:gd name="connsiteX2" fmla="*/ 6951 w 7997"/>
                <a:gd name="connsiteY2" fmla="*/ 0 h 12157"/>
                <a:gd name="connsiteX3" fmla="*/ 0 w 7997"/>
                <a:gd name="connsiteY3" fmla="*/ 4391 h 12157"/>
              </a:gdLst>
              <a:ahLst/>
              <a:cxnLst>
                <a:cxn ang="0">
                  <a:pos x="connsiteX0" y="connsiteY0"/>
                </a:cxn>
                <a:cxn ang="0">
                  <a:pos x="connsiteX1" y="connsiteY1"/>
                </a:cxn>
                <a:cxn ang="0">
                  <a:pos x="connsiteX2" y="connsiteY2"/>
                </a:cxn>
                <a:cxn ang="0">
                  <a:pos x="connsiteX3" y="connsiteY3"/>
                </a:cxn>
              </a:cxnLst>
              <a:rect l="l" t="t" r="r" b="b"/>
              <a:pathLst>
                <a:path w="7997" h="12157">
                  <a:moveTo>
                    <a:pt x="6431" y="12158"/>
                  </a:moveTo>
                  <a:lnTo>
                    <a:pt x="7998" y="6715"/>
                  </a:lnTo>
                  <a:lnTo>
                    <a:pt x="6951" y="0"/>
                  </a:lnTo>
                  <a:lnTo>
                    <a:pt x="0" y="439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06" name="Freihandform: Form 505">
              <a:extLst>
                <a:ext uri="{FF2B5EF4-FFF2-40B4-BE49-F238E27FC236}">
                  <a16:creationId xmlns:a16="http://schemas.microsoft.com/office/drawing/2014/main" id="{B0F8C1BE-C7BB-BC7D-1F47-E800D623544B}"/>
                </a:ext>
              </a:extLst>
            </p:cNvPr>
            <p:cNvSpPr/>
            <p:nvPr/>
          </p:nvSpPr>
          <p:spPr>
            <a:xfrm>
              <a:off x="6065878" y="6267550"/>
              <a:ext cx="7936" cy="9525"/>
            </a:xfrm>
            <a:custGeom>
              <a:avLst/>
              <a:gdLst>
                <a:gd name="connsiteX0" fmla="*/ 0 w 6575"/>
                <a:gd name="connsiteY0" fmla="*/ 0 h 6956"/>
                <a:gd name="connsiteX1" fmla="*/ 6576 w 6575"/>
                <a:gd name="connsiteY1" fmla="*/ 1812 h 6956"/>
                <a:gd name="connsiteX2" fmla="*/ 4772 w 6575"/>
                <a:gd name="connsiteY2" fmla="*/ 6956 h 6956"/>
              </a:gdLst>
              <a:ahLst/>
              <a:cxnLst>
                <a:cxn ang="0">
                  <a:pos x="connsiteX0" y="connsiteY0"/>
                </a:cxn>
                <a:cxn ang="0">
                  <a:pos x="connsiteX1" y="connsiteY1"/>
                </a:cxn>
                <a:cxn ang="0">
                  <a:pos x="connsiteX2" y="connsiteY2"/>
                </a:cxn>
              </a:cxnLst>
              <a:rect l="l" t="t" r="r" b="b"/>
              <a:pathLst>
                <a:path w="6575" h="6956">
                  <a:moveTo>
                    <a:pt x="0" y="0"/>
                  </a:moveTo>
                  <a:lnTo>
                    <a:pt x="6576" y="1812"/>
                  </a:lnTo>
                  <a:lnTo>
                    <a:pt x="4772" y="695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07" name="Freihandform: Form 506">
              <a:extLst>
                <a:ext uri="{FF2B5EF4-FFF2-40B4-BE49-F238E27FC236}">
                  <a16:creationId xmlns:a16="http://schemas.microsoft.com/office/drawing/2014/main" id="{ADA9B437-BA22-6F17-4E2E-2D3BA31CC716}"/>
                </a:ext>
              </a:extLst>
            </p:cNvPr>
            <p:cNvSpPr/>
            <p:nvPr/>
          </p:nvSpPr>
          <p:spPr>
            <a:xfrm>
              <a:off x="6045242" y="6240562"/>
              <a:ext cx="7937" cy="6350"/>
            </a:xfrm>
            <a:custGeom>
              <a:avLst/>
              <a:gdLst>
                <a:gd name="connsiteX0" fmla="*/ 6185 w 6185"/>
                <a:gd name="connsiteY0" fmla="*/ 5929 h 5929"/>
                <a:gd name="connsiteX1" fmla="*/ 5915 w 6185"/>
                <a:gd name="connsiteY1" fmla="*/ 0 h 5929"/>
                <a:gd name="connsiteX2" fmla="*/ 0 w 6185"/>
                <a:gd name="connsiteY2" fmla="*/ 3890 h 5929"/>
              </a:gdLst>
              <a:ahLst/>
              <a:cxnLst>
                <a:cxn ang="0">
                  <a:pos x="connsiteX0" y="connsiteY0"/>
                </a:cxn>
                <a:cxn ang="0">
                  <a:pos x="connsiteX1" y="connsiteY1"/>
                </a:cxn>
                <a:cxn ang="0">
                  <a:pos x="connsiteX2" y="connsiteY2"/>
                </a:cxn>
              </a:cxnLst>
              <a:rect l="l" t="t" r="r" b="b"/>
              <a:pathLst>
                <a:path w="6185" h="5929">
                  <a:moveTo>
                    <a:pt x="6185" y="5929"/>
                  </a:moveTo>
                  <a:lnTo>
                    <a:pt x="5915" y="0"/>
                  </a:lnTo>
                  <a:lnTo>
                    <a:pt x="0" y="389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08" name="Freihandform: Form 507">
              <a:extLst>
                <a:ext uri="{FF2B5EF4-FFF2-40B4-BE49-F238E27FC236}">
                  <a16:creationId xmlns:a16="http://schemas.microsoft.com/office/drawing/2014/main" id="{2CDB3015-01BB-7384-47FA-64D4F7E984F3}"/>
                </a:ext>
              </a:extLst>
            </p:cNvPr>
            <p:cNvSpPr/>
            <p:nvPr/>
          </p:nvSpPr>
          <p:spPr>
            <a:xfrm>
              <a:off x="5894447" y="5872248"/>
              <a:ext cx="12699" cy="11112"/>
            </a:xfrm>
            <a:custGeom>
              <a:avLst/>
              <a:gdLst>
                <a:gd name="connsiteX0" fmla="*/ 0 w 9554"/>
                <a:gd name="connsiteY0" fmla="*/ 1649 h 8243"/>
                <a:gd name="connsiteX1" fmla="*/ 6199 w 9554"/>
                <a:gd name="connsiteY1" fmla="*/ 0 h 8243"/>
                <a:gd name="connsiteX2" fmla="*/ 9555 w 9554"/>
                <a:gd name="connsiteY2" fmla="*/ 5795 h 8243"/>
                <a:gd name="connsiteX3" fmla="*/ 3881 w 9554"/>
                <a:gd name="connsiteY3" fmla="*/ 8244 h 8243"/>
              </a:gdLst>
              <a:ahLst/>
              <a:cxnLst>
                <a:cxn ang="0">
                  <a:pos x="connsiteX0" y="connsiteY0"/>
                </a:cxn>
                <a:cxn ang="0">
                  <a:pos x="connsiteX1" y="connsiteY1"/>
                </a:cxn>
                <a:cxn ang="0">
                  <a:pos x="connsiteX2" y="connsiteY2"/>
                </a:cxn>
                <a:cxn ang="0">
                  <a:pos x="connsiteX3" y="connsiteY3"/>
                </a:cxn>
              </a:cxnLst>
              <a:rect l="l" t="t" r="r" b="b"/>
              <a:pathLst>
                <a:path w="9554" h="8243">
                  <a:moveTo>
                    <a:pt x="0" y="1649"/>
                  </a:moveTo>
                  <a:lnTo>
                    <a:pt x="6199" y="0"/>
                  </a:lnTo>
                  <a:lnTo>
                    <a:pt x="9555" y="5795"/>
                  </a:lnTo>
                  <a:lnTo>
                    <a:pt x="3881" y="824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09" name="Freihandform: Form 508">
              <a:extLst>
                <a:ext uri="{FF2B5EF4-FFF2-40B4-BE49-F238E27FC236}">
                  <a16:creationId xmlns:a16="http://schemas.microsoft.com/office/drawing/2014/main" id="{43B0CCDA-87CF-93A0-A15F-EABD8D1569AD}"/>
                </a:ext>
              </a:extLst>
            </p:cNvPr>
            <p:cNvSpPr/>
            <p:nvPr/>
          </p:nvSpPr>
          <p:spPr>
            <a:xfrm>
              <a:off x="5496029" y="5607125"/>
              <a:ext cx="12699" cy="12700"/>
            </a:xfrm>
            <a:custGeom>
              <a:avLst/>
              <a:gdLst>
                <a:gd name="connsiteX0" fmla="*/ 8966 w 9795"/>
                <a:gd name="connsiteY0" fmla="*/ 4464 h 9532"/>
                <a:gd name="connsiteX1" fmla="*/ 2405 w 9795"/>
                <a:gd name="connsiteY1" fmla="*/ 265 h 9532"/>
                <a:gd name="connsiteX2" fmla="*/ 58 w 9795"/>
                <a:gd name="connsiteY2" fmla="*/ 603 h 9532"/>
                <a:gd name="connsiteX3" fmla="*/ 0 w 9795"/>
                <a:gd name="connsiteY3" fmla="*/ 2921 h 9532"/>
                <a:gd name="connsiteX4" fmla="*/ 4787 w 9795"/>
                <a:gd name="connsiteY4" fmla="*/ 8856 h 9532"/>
                <a:gd name="connsiteX5" fmla="*/ 4908 w 9795"/>
                <a:gd name="connsiteY5" fmla="*/ 8952 h 9532"/>
                <a:gd name="connsiteX6" fmla="*/ 4908 w 9795"/>
                <a:gd name="connsiteY6" fmla="*/ 9058 h 9532"/>
                <a:gd name="connsiteX7" fmla="*/ 5057 w 9795"/>
                <a:gd name="connsiteY7" fmla="*/ 9058 h 9532"/>
                <a:gd name="connsiteX8" fmla="*/ 7347 w 9795"/>
                <a:gd name="connsiteY8" fmla="*/ 9150 h 9532"/>
                <a:gd name="connsiteX9" fmla="*/ 7424 w 9795"/>
                <a:gd name="connsiteY9" fmla="*/ 9058 h 9532"/>
                <a:gd name="connsiteX10" fmla="*/ 7472 w 9795"/>
                <a:gd name="connsiteY10" fmla="*/ 9058 h 9532"/>
                <a:gd name="connsiteX11" fmla="*/ 9280 w 9795"/>
                <a:gd name="connsiteY11" fmla="*/ 7236 h 9532"/>
                <a:gd name="connsiteX12" fmla="*/ 9796 w 9795"/>
                <a:gd name="connsiteY12" fmla="*/ 5780 h 9532"/>
                <a:gd name="connsiteX13" fmla="*/ 8966 w 9795"/>
                <a:gd name="connsiteY13" fmla="*/ 4464 h 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95" h="9532">
                  <a:moveTo>
                    <a:pt x="8966" y="4464"/>
                  </a:moveTo>
                  <a:lnTo>
                    <a:pt x="2405" y="265"/>
                  </a:lnTo>
                  <a:cubicBezTo>
                    <a:pt x="1658" y="-193"/>
                    <a:pt x="665" y="-43"/>
                    <a:pt x="58" y="603"/>
                  </a:cubicBezTo>
                  <a:lnTo>
                    <a:pt x="0" y="2921"/>
                  </a:lnTo>
                  <a:lnTo>
                    <a:pt x="4787" y="8856"/>
                  </a:lnTo>
                  <a:cubicBezTo>
                    <a:pt x="4806" y="8952"/>
                    <a:pt x="4874" y="8938"/>
                    <a:pt x="4908" y="8952"/>
                  </a:cubicBezTo>
                  <a:lnTo>
                    <a:pt x="4908" y="9058"/>
                  </a:lnTo>
                  <a:lnTo>
                    <a:pt x="5057" y="9058"/>
                  </a:lnTo>
                  <a:cubicBezTo>
                    <a:pt x="5708" y="9618"/>
                    <a:pt x="6653" y="9723"/>
                    <a:pt x="7347" y="9150"/>
                  </a:cubicBezTo>
                  <a:cubicBezTo>
                    <a:pt x="7390" y="9150"/>
                    <a:pt x="7390" y="9082"/>
                    <a:pt x="7424" y="9058"/>
                  </a:cubicBezTo>
                  <a:lnTo>
                    <a:pt x="7472" y="9058"/>
                  </a:lnTo>
                  <a:lnTo>
                    <a:pt x="9280" y="7236"/>
                  </a:lnTo>
                  <a:lnTo>
                    <a:pt x="9796" y="5780"/>
                  </a:lnTo>
                  <a:lnTo>
                    <a:pt x="8966" y="446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10" name="Freihandform: Form 509">
              <a:extLst>
                <a:ext uri="{FF2B5EF4-FFF2-40B4-BE49-F238E27FC236}">
                  <a16:creationId xmlns:a16="http://schemas.microsoft.com/office/drawing/2014/main" id="{B9809B58-ABDC-C18A-BBDF-F6B4D86FA11E}"/>
                </a:ext>
              </a:extLst>
            </p:cNvPr>
            <p:cNvSpPr/>
            <p:nvPr/>
          </p:nvSpPr>
          <p:spPr>
            <a:xfrm>
              <a:off x="5911907" y="5191184"/>
              <a:ext cx="25397" cy="38101"/>
            </a:xfrm>
            <a:custGeom>
              <a:avLst/>
              <a:gdLst>
                <a:gd name="connsiteX0" fmla="*/ 19495 w 20470"/>
                <a:gd name="connsiteY0" fmla="*/ 30115 h 30150"/>
                <a:gd name="connsiteX1" fmla="*/ 19726 w 20470"/>
                <a:gd name="connsiteY1" fmla="*/ 24913 h 30150"/>
                <a:gd name="connsiteX2" fmla="*/ 5380 w 20470"/>
                <a:gd name="connsiteY2" fmla="*/ 1895 h 30150"/>
                <a:gd name="connsiteX3" fmla="*/ 222 w 20470"/>
                <a:gd name="connsiteY3" fmla="*/ 0 h 30150"/>
                <a:gd name="connsiteX4" fmla="*/ 4609 w 20470"/>
                <a:gd name="connsiteY4" fmla="*/ 12616 h 30150"/>
                <a:gd name="connsiteX5" fmla="*/ 3702 w 20470"/>
                <a:gd name="connsiteY5" fmla="*/ 19331 h 30150"/>
                <a:gd name="connsiteX6" fmla="*/ 10051 w 20470"/>
                <a:gd name="connsiteY6" fmla="*/ 18709 h 30150"/>
                <a:gd name="connsiteX7" fmla="*/ 19495 w 20470"/>
                <a:gd name="connsiteY7" fmla="*/ 30115 h 3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70" h="30150">
                  <a:moveTo>
                    <a:pt x="19495" y="30115"/>
                  </a:moveTo>
                  <a:cubicBezTo>
                    <a:pt x="21110" y="30640"/>
                    <a:pt x="20377" y="25140"/>
                    <a:pt x="19726" y="24913"/>
                  </a:cubicBezTo>
                  <a:cubicBezTo>
                    <a:pt x="5515" y="17142"/>
                    <a:pt x="5380" y="1895"/>
                    <a:pt x="5380" y="1895"/>
                  </a:cubicBezTo>
                  <a:lnTo>
                    <a:pt x="222" y="0"/>
                  </a:lnTo>
                  <a:cubicBezTo>
                    <a:pt x="-1191" y="3080"/>
                    <a:pt x="4609" y="12616"/>
                    <a:pt x="4609" y="12616"/>
                  </a:cubicBezTo>
                  <a:lnTo>
                    <a:pt x="3702" y="19331"/>
                  </a:lnTo>
                  <a:cubicBezTo>
                    <a:pt x="3702" y="19331"/>
                    <a:pt x="7848" y="18709"/>
                    <a:pt x="10051" y="18709"/>
                  </a:cubicBezTo>
                  <a:cubicBezTo>
                    <a:pt x="10051" y="18709"/>
                    <a:pt x="15007" y="28779"/>
                    <a:pt x="19495" y="3011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11" name="Freihandform: Form 510">
              <a:extLst>
                <a:ext uri="{FF2B5EF4-FFF2-40B4-BE49-F238E27FC236}">
                  <a16:creationId xmlns:a16="http://schemas.microsoft.com/office/drawing/2014/main" id="{52C4C09E-8CFE-73BE-A79D-E48B6CD1FA32}"/>
                </a:ext>
              </a:extLst>
            </p:cNvPr>
            <p:cNvSpPr/>
            <p:nvPr/>
          </p:nvSpPr>
          <p:spPr>
            <a:xfrm>
              <a:off x="5919844" y="5095931"/>
              <a:ext cx="44445" cy="50802"/>
            </a:xfrm>
            <a:custGeom>
              <a:avLst/>
              <a:gdLst>
                <a:gd name="connsiteX0" fmla="*/ 14342 w 34752"/>
                <a:gd name="connsiteY0" fmla="*/ 12134 h 38748"/>
                <a:gd name="connsiteX1" fmla="*/ 19509 w 34752"/>
                <a:gd name="connsiteY1" fmla="*/ 12134 h 38748"/>
                <a:gd name="connsiteX2" fmla="*/ 21187 w 34752"/>
                <a:gd name="connsiteY2" fmla="*/ 17822 h 38748"/>
                <a:gd name="connsiteX3" fmla="*/ 26610 w 34752"/>
                <a:gd name="connsiteY3" fmla="*/ 22498 h 38748"/>
                <a:gd name="connsiteX4" fmla="*/ 31007 w 34752"/>
                <a:gd name="connsiteY4" fmla="*/ 28934 h 38748"/>
                <a:gd name="connsiteX5" fmla="*/ 34753 w 34752"/>
                <a:gd name="connsiteY5" fmla="*/ 31508 h 38748"/>
                <a:gd name="connsiteX6" fmla="*/ 29975 w 34752"/>
                <a:gd name="connsiteY6" fmla="*/ 37202 h 38748"/>
                <a:gd name="connsiteX7" fmla="*/ 24412 w 34752"/>
                <a:gd name="connsiteY7" fmla="*/ 38749 h 38748"/>
                <a:gd name="connsiteX8" fmla="*/ 18618 w 34752"/>
                <a:gd name="connsiteY8" fmla="*/ 35910 h 38748"/>
                <a:gd name="connsiteX9" fmla="*/ 17697 w 34752"/>
                <a:gd name="connsiteY9" fmla="*/ 32689 h 38748"/>
                <a:gd name="connsiteX10" fmla="*/ 7120 w 34752"/>
                <a:gd name="connsiteY10" fmla="*/ 29975 h 38748"/>
                <a:gd name="connsiteX11" fmla="*/ 0 w 34752"/>
                <a:gd name="connsiteY11" fmla="*/ 24152 h 38748"/>
                <a:gd name="connsiteX12" fmla="*/ 1567 w 34752"/>
                <a:gd name="connsiteY12" fmla="*/ 18864 h 38748"/>
                <a:gd name="connsiteX13" fmla="*/ 7361 w 34752"/>
                <a:gd name="connsiteY13" fmla="*/ 12283 h 38748"/>
                <a:gd name="connsiteX14" fmla="*/ 7120 w 34752"/>
                <a:gd name="connsiteY14" fmla="*/ 6195 h 38748"/>
                <a:gd name="connsiteX15" fmla="*/ 8393 w 34752"/>
                <a:gd name="connsiteY15" fmla="*/ 0 h 38748"/>
                <a:gd name="connsiteX16" fmla="*/ 14096 w 34752"/>
                <a:gd name="connsiteY16" fmla="*/ 5703 h 38748"/>
                <a:gd name="connsiteX17" fmla="*/ 14342 w 34752"/>
                <a:gd name="connsiteY17" fmla="*/ 12134 h 38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752" h="38748">
                  <a:moveTo>
                    <a:pt x="14342" y="12134"/>
                  </a:moveTo>
                  <a:lnTo>
                    <a:pt x="19509" y="12134"/>
                  </a:lnTo>
                  <a:lnTo>
                    <a:pt x="21187" y="17822"/>
                  </a:lnTo>
                  <a:lnTo>
                    <a:pt x="26610" y="22498"/>
                  </a:lnTo>
                  <a:lnTo>
                    <a:pt x="31007" y="28934"/>
                  </a:lnTo>
                  <a:lnTo>
                    <a:pt x="34753" y="31508"/>
                  </a:lnTo>
                  <a:lnTo>
                    <a:pt x="29975" y="37202"/>
                  </a:lnTo>
                  <a:lnTo>
                    <a:pt x="24412" y="38749"/>
                  </a:lnTo>
                  <a:cubicBezTo>
                    <a:pt x="24412" y="38749"/>
                    <a:pt x="18618" y="38118"/>
                    <a:pt x="18618" y="35910"/>
                  </a:cubicBezTo>
                  <a:cubicBezTo>
                    <a:pt x="18618" y="33726"/>
                    <a:pt x="17697" y="32689"/>
                    <a:pt x="17697" y="32689"/>
                  </a:cubicBezTo>
                  <a:cubicBezTo>
                    <a:pt x="17697" y="32689"/>
                    <a:pt x="11271" y="29830"/>
                    <a:pt x="7120" y="29975"/>
                  </a:cubicBezTo>
                  <a:cubicBezTo>
                    <a:pt x="4787" y="28548"/>
                    <a:pt x="0" y="24152"/>
                    <a:pt x="0" y="24152"/>
                  </a:cubicBezTo>
                  <a:lnTo>
                    <a:pt x="1567" y="18864"/>
                  </a:lnTo>
                  <a:cubicBezTo>
                    <a:pt x="1567" y="18864"/>
                    <a:pt x="7776" y="14216"/>
                    <a:pt x="7361" y="12283"/>
                  </a:cubicBezTo>
                  <a:cubicBezTo>
                    <a:pt x="7010" y="10336"/>
                    <a:pt x="7120" y="6195"/>
                    <a:pt x="7120" y="6195"/>
                  </a:cubicBezTo>
                  <a:lnTo>
                    <a:pt x="8393" y="0"/>
                  </a:lnTo>
                  <a:lnTo>
                    <a:pt x="14096" y="5703"/>
                  </a:lnTo>
                  <a:lnTo>
                    <a:pt x="14342" y="1213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12" name="Freihandform: Form 511">
              <a:extLst>
                <a:ext uri="{FF2B5EF4-FFF2-40B4-BE49-F238E27FC236}">
                  <a16:creationId xmlns:a16="http://schemas.microsoft.com/office/drawing/2014/main" id="{08287AD9-1579-F480-D792-E148981BAE3D}"/>
                </a:ext>
              </a:extLst>
            </p:cNvPr>
            <p:cNvSpPr/>
            <p:nvPr/>
          </p:nvSpPr>
          <p:spPr>
            <a:xfrm>
              <a:off x="5950003" y="5165783"/>
              <a:ext cx="23810" cy="19051"/>
            </a:xfrm>
            <a:custGeom>
              <a:avLst/>
              <a:gdLst>
                <a:gd name="connsiteX0" fmla="*/ 2700 w 18844"/>
                <a:gd name="connsiteY0" fmla="*/ 0 h 14052"/>
                <a:gd name="connsiteX1" fmla="*/ 15499 w 18844"/>
                <a:gd name="connsiteY1" fmla="*/ 7973 h 14052"/>
                <a:gd name="connsiteX2" fmla="*/ 18844 w 18844"/>
                <a:gd name="connsiteY2" fmla="*/ 14052 h 14052"/>
                <a:gd name="connsiteX3" fmla="*/ 12915 w 18844"/>
                <a:gd name="connsiteY3" fmla="*/ 12394 h 14052"/>
                <a:gd name="connsiteX4" fmla="*/ 7617 w 18844"/>
                <a:gd name="connsiteY4" fmla="*/ 7973 h 14052"/>
                <a:gd name="connsiteX5" fmla="*/ 0 w 18844"/>
                <a:gd name="connsiteY5" fmla="*/ 6952 h 14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44" h="14052">
                  <a:moveTo>
                    <a:pt x="2700" y="0"/>
                  </a:moveTo>
                  <a:lnTo>
                    <a:pt x="15499" y="7973"/>
                  </a:lnTo>
                  <a:lnTo>
                    <a:pt x="18844" y="14052"/>
                  </a:lnTo>
                  <a:lnTo>
                    <a:pt x="12915" y="12394"/>
                  </a:lnTo>
                  <a:lnTo>
                    <a:pt x="7617" y="7973"/>
                  </a:lnTo>
                  <a:lnTo>
                    <a:pt x="0" y="695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13" name="Freihandform: Form 512">
              <a:extLst>
                <a:ext uri="{FF2B5EF4-FFF2-40B4-BE49-F238E27FC236}">
                  <a16:creationId xmlns:a16="http://schemas.microsoft.com/office/drawing/2014/main" id="{6BE886B0-4F4B-59B3-F87E-D61211AF53C0}"/>
                </a:ext>
              </a:extLst>
            </p:cNvPr>
            <p:cNvSpPr/>
            <p:nvPr/>
          </p:nvSpPr>
          <p:spPr>
            <a:xfrm>
              <a:off x="5964289" y="5194359"/>
              <a:ext cx="63493" cy="55565"/>
            </a:xfrm>
            <a:custGeom>
              <a:avLst/>
              <a:gdLst>
                <a:gd name="connsiteX0" fmla="*/ 0 w 50496"/>
                <a:gd name="connsiteY0" fmla="*/ 0 h 43024"/>
                <a:gd name="connsiteX1" fmla="*/ 6715 w 50496"/>
                <a:gd name="connsiteY1" fmla="*/ 4546 h 43024"/>
                <a:gd name="connsiteX2" fmla="*/ 12664 w 50496"/>
                <a:gd name="connsiteY2" fmla="*/ 11097 h 43024"/>
                <a:gd name="connsiteX3" fmla="*/ 18193 w 50496"/>
                <a:gd name="connsiteY3" fmla="*/ 8542 h 43024"/>
                <a:gd name="connsiteX4" fmla="*/ 22358 w 50496"/>
                <a:gd name="connsiteY4" fmla="*/ 14216 h 43024"/>
                <a:gd name="connsiteX5" fmla="*/ 29966 w 50496"/>
                <a:gd name="connsiteY5" fmla="*/ 19514 h 43024"/>
                <a:gd name="connsiteX6" fmla="*/ 17186 w 50496"/>
                <a:gd name="connsiteY6" fmla="*/ 13816 h 43024"/>
                <a:gd name="connsiteX7" fmla="*/ 24031 w 50496"/>
                <a:gd name="connsiteY7" fmla="*/ 22513 h 43024"/>
                <a:gd name="connsiteX8" fmla="*/ 29705 w 50496"/>
                <a:gd name="connsiteY8" fmla="*/ 22619 h 43024"/>
                <a:gd name="connsiteX9" fmla="*/ 50497 w 50496"/>
                <a:gd name="connsiteY9" fmla="*/ 40287 h 43024"/>
                <a:gd name="connsiteX10" fmla="*/ 43266 w 50496"/>
                <a:gd name="connsiteY10" fmla="*/ 36849 h 43024"/>
                <a:gd name="connsiteX11" fmla="*/ 47127 w 50496"/>
                <a:gd name="connsiteY11" fmla="*/ 43025 h 43024"/>
                <a:gd name="connsiteX12" fmla="*/ 36160 w 50496"/>
                <a:gd name="connsiteY12" fmla="*/ 40932 h 43024"/>
                <a:gd name="connsiteX13" fmla="*/ 36040 w 50496"/>
                <a:gd name="connsiteY13" fmla="*/ 35548 h 43024"/>
                <a:gd name="connsiteX14" fmla="*/ 29845 w 50496"/>
                <a:gd name="connsiteY14" fmla="*/ 34521 h 43024"/>
                <a:gd name="connsiteX15" fmla="*/ 24542 w 50496"/>
                <a:gd name="connsiteY15" fmla="*/ 27642 h 43024"/>
                <a:gd name="connsiteX16" fmla="*/ 17817 w 50496"/>
                <a:gd name="connsiteY16" fmla="*/ 25048 h 43024"/>
                <a:gd name="connsiteX17" fmla="*/ 0 w 50496"/>
                <a:gd name="connsiteY17" fmla="*/ 0 h 4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496" h="43024">
                  <a:moveTo>
                    <a:pt x="0" y="0"/>
                  </a:moveTo>
                  <a:lnTo>
                    <a:pt x="6715" y="4546"/>
                  </a:lnTo>
                  <a:lnTo>
                    <a:pt x="12664" y="11097"/>
                  </a:lnTo>
                  <a:lnTo>
                    <a:pt x="18193" y="8542"/>
                  </a:lnTo>
                  <a:lnTo>
                    <a:pt x="22358" y="14216"/>
                  </a:lnTo>
                  <a:lnTo>
                    <a:pt x="29966" y="19514"/>
                  </a:lnTo>
                  <a:lnTo>
                    <a:pt x="17186" y="13816"/>
                  </a:lnTo>
                  <a:lnTo>
                    <a:pt x="24031" y="22513"/>
                  </a:lnTo>
                  <a:lnTo>
                    <a:pt x="29705" y="22619"/>
                  </a:lnTo>
                  <a:lnTo>
                    <a:pt x="50497" y="40287"/>
                  </a:lnTo>
                  <a:lnTo>
                    <a:pt x="43266" y="36849"/>
                  </a:lnTo>
                  <a:lnTo>
                    <a:pt x="47127" y="43025"/>
                  </a:lnTo>
                  <a:lnTo>
                    <a:pt x="36160" y="40932"/>
                  </a:lnTo>
                  <a:lnTo>
                    <a:pt x="36040" y="35548"/>
                  </a:lnTo>
                  <a:lnTo>
                    <a:pt x="29845" y="34521"/>
                  </a:lnTo>
                  <a:lnTo>
                    <a:pt x="24542" y="27642"/>
                  </a:lnTo>
                  <a:lnTo>
                    <a:pt x="17817" y="25048"/>
                  </a:lnTo>
                  <a:cubicBezTo>
                    <a:pt x="17817" y="25053"/>
                    <a:pt x="9564" y="10355"/>
                    <a:pt x="0"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14" name="Freihandform: Form 513">
              <a:extLst>
                <a:ext uri="{FF2B5EF4-FFF2-40B4-BE49-F238E27FC236}">
                  <a16:creationId xmlns:a16="http://schemas.microsoft.com/office/drawing/2014/main" id="{C0205E03-8B89-9D3F-78F0-05CEA04585E2}"/>
                </a:ext>
              </a:extLst>
            </p:cNvPr>
            <p:cNvSpPr/>
            <p:nvPr/>
          </p:nvSpPr>
          <p:spPr>
            <a:xfrm>
              <a:off x="6034131" y="5302313"/>
              <a:ext cx="20635" cy="14289"/>
            </a:xfrm>
            <a:custGeom>
              <a:avLst/>
              <a:gdLst>
                <a:gd name="connsiteX0" fmla="*/ 10446 w 16019"/>
                <a:gd name="connsiteY0" fmla="*/ 12042 h 12042"/>
                <a:gd name="connsiteX1" fmla="*/ 16019 w 16019"/>
                <a:gd name="connsiteY1" fmla="*/ 9829 h 12042"/>
                <a:gd name="connsiteX2" fmla="*/ 11488 w 16019"/>
                <a:gd name="connsiteY2" fmla="*/ 4898 h 12042"/>
                <a:gd name="connsiteX3" fmla="*/ 0 w 16019"/>
                <a:gd name="connsiteY3" fmla="*/ 0 h 12042"/>
                <a:gd name="connsiteX4" fmla="*/ 2598 w 16019"/>
                <a:gd name="connsiteY4" fmla="*/ 4276 h 12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9" h="12042">
                  <a:moveTo>
                    <a:pt x="10446" y="12042"/>
                  </a:moveTo>
                  <a:lnTo>
                    <a:pt x="16019" y="9829"/>
                  </a:lnTo>
                  <a:lnTo>
                    <a:pt x="11488" y="4898"/>
                  </a:lnTo>
                  <a:lnTo>
                    <a:pt x="0" y="0"/>
                  </a:lnTo>
                  <a:lnTo>
                    <a:pt x="2598" y="427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15" name="Freihandform: Form 514">
              <a:extLst>
                <a:ext uri="{FF2B5EF4-FFF2-40B4-BE49-F238E27FC236}">
                  <a16:creationId xmlns:a16="http://schemas.microsoft.com/office/drawing/2014/main" id="{31F308A3-47E3-CC0D-DEE7-204F1082DE74}"/>
                </a:ext>
              </a:extLst>
            </p:cNvPr>
            <p:cNvSpPr/>
            <p:nvPr/>
          </p:nvSpPr>
          <p:spPr>
            <a:xfrm>
              <a:off x="6008734" y="5281676"/>
              <a:ext cx="22222" cy="20638"/>
            </a:xfrm>
            <a:custGeom>
              <a:avLst/>
              <a:gdLst>
                <a:gd name="connsiteX0" fmla="*/ 0 w 17557"/>
                <a:gd name="connsiteY0" fmla="*/ 0 h 16289"/>
                <a:gd name="connsiteX1" fmla="*/ 5804 w 17557"/>
                <a:gd name="connsiteY1" fmla="*/ 1962 h 16289"/>
                <a:gd name="connsiteX2" fmla="*/ 17306 w 17557"/>
                <a:gd name="connsiteY2" fmla="*/ 11517 h 16289"/>
                <a:gd name="connsiteX3" fmla="*/ 17557 w 17557"/>
                <a:gd name="connsiteY3" fmla="*/ 16289 h 16289"/>
                <a:gd name="connsiteX4" fmla="*/ 10205 w 17557"/>
                <a:gd name="connsiteY4" fmla="*/ 12023 h 16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57" h="16289">
                  <a:moveTo>
                    <a:pt x="0" y="0"/>
                  </a:moveTo>
                  <a:lnTo>
                    <a:pt x="5804" y="1962"/>
                  </a:lnTo>
                  <a:lnTo>
                    <a:pt x="17306" y="11517"/>
                  </a:lnTo>
                  <a:lnTo>
                    <a:pt x="17557" y="16289"/>
                  </a:lnTo>
                  <a:lnTo>
                    <a:pt x="10205" y="1202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16" name="Freihandform: Form 515">
              <a:extLst>
                <a:ext uri="{FF2B5EF4-FFF2-40B4-BE49-F238E27FC236}">
                  <a16:creationId xmlns:a16="http://schemas.microsoft.com/office/drawing/2014/main" id="{C3B8EFE8-73C2-E51C-929E-589299FC8E82}"/>
                </a:ext>
              </a:extLst>
            </p:cNvPr>
            <p:cNvSpPr/>
            <p:nvPr/>
          </p:nvSpPr>
          <p:spPr>
            <a:xfrm>
              <a:off x="6030957" y="5324539"/>
              <a:ext cx="23809" cy="17464"/>
            </a:xfrm>
            <a:custGeom>
              <a:avLst/>
              <a:gdLst>
                <a:gd name="connsiteX0" fmla="*/ 18473 w 18472"/>
                <a:gd name="connsiteY0" fmla="*/ 14081 h 14081"/>
                <a:gd name="connsiteX1" fmla="*/ 12259 w 18472"/>
                <a:gd name="connsiteY1" fmla="*/ 12519 h 14081"/>
                <a:gd name="connsiteX2" fmla="*/ 0 w 18472"/>
                <a:gd name="connsiteY2" fmla="*/ 3081 h 14081"/>
                <a:gd name="connsiteX3" fmla="*/ 501 w 18472"/>
                <a:gd name="connsiteY3" fmla="*/ 0 h 14081"/>
              </a:gdLst>
              <a:ahLst/>
              <a:cxnLst>
                <a:cxn ang="0">
                  <a:pos x="connsiteX0" y="connsiteY0"/>
                </a:cxn>
                <a:cxn ang="0">
                  <a:pos x="connsiteX1" y="connsiteY1"/>
                </a:cxn>
                <a:cxn ang="0">
                  <a:pos x="connsiteX2" y="connsiteY2"/>
                </a:cxn>
                <a:cxn ang="0">
                  <a:pos x="connsiteX3" y="connsiteY3"/>
                </a:cxn>
              </a:cxnLst>
              <a:rect l="l" t="t" r="r" b="b"/>
              <a:pathLst>
                <a:path w="18472" h="14081">
                  <a:moveTo>
                    <a:pt x="18473" y="14081"/>
                  </a:moveTo>
                  <a:lnTo>
                    <a:pt x="12259" y="12519"/>
                  </a:lnTo>
                  <a:lnTo>
                    <a:pt x="0" y="3081"/>
                  </a:lnTo>
                  <a:lnTo>
                    <a:pt x="501"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17" name="Freihandform: Form 516">
              <a:extLst>
                <a:ext uri="{FF2B5EF4-FFF2-40B4-BE49-F238E27FC236}">
                  <a16:creationId xmlns:a16="http://schemas.microsoft.com/office/drawing/2014/main" id="{479B05B7-D600-D687-3F91-E9AE49F68E6D}"/>
                </a:ext>
              </a:extLst>
            </p:cNvPr>
            <p:cNvSpPr/>
            <p:nvPr/>
          </p:nvSpPr>
          <p:spPr>
            <a:xfrm>
              <a:off x="5976988" y="5280088"/>
              <a:ext cx="50794" cy="44452"/>
            </a:xfrm>
            <a:custGeom>
              <a:avLst/>
              <a:gdLst>
                <a:gd name="connsiteX0" fmla="*/ 17943 w 39144"/>
                <a:gd name="connsiteY0" fmla="*/ 9131 h 34882"/>
                <a:gd name="connsiteX1" fmla="*/ 29189 w 39144"/>
                <a:gd name="connsiteY1" fmla="*/ 23622 h 34882"/>
                <a:gd name="connsiteX2" fmla="*/ 38233 w 39144"/>
                <a:gd name="connsiteY2" fmla="*/ 29913 h 34882"/>
                <a:gd name="connsiteX3" fmla="*/ 32405 w 39144"/>
                <a:gd name="connsiteY3" fmla="*/ 29151 h 34882"/>
                <a:gd name="connsiteX4" fmla="*/ 39144 w 39144"/>
                <a:gd name="connsiteY4" fmla="*/ 34883 h 34882"/>
                <a:gd name="connsiteX5" fmla="*/ 31889 w 39144"/>
                <a:gd name="connsiteY5" fmla="*/ 33157 h 34882"/>
                <a:gd name="connsiteX6" fmla="*/ 26085 w 39144"/>
                <a:gd name="connsiteY6" fmla="*/ 26167 h 34882"/>
                <a:gd name="connsiteX7" fmla="*/ 11748 w 39144"/>
                <a:gd name="connsiteY7" fmla="*/ 9916 h 34882"/>
                <a:gd name="connsiteX8" fmla="*/ 0 w 39144"/>
                <a:gd name="connsiteY8" fmla="*/ 1003 h 34882"/>
                <a:gd name="connsiteX9" fmla="*/ 6190 w 39144"/>
                <a:gd name="connsiteY9" fmla="*/ 0 h 34882"/>
                <a:gd name="connsiteX10" fmla="*/ 17943 w 39144"/>
                <a:gd name="connsiteY10" fmla="*/ 9131 h 34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144" h="34882">
                  <a:moveTo>
                    <a:pt x="17943" y="9131"/>
                  </a:moveTo>
                  <a:cubicBezTo>
                    <a:pt x="17943" y="9131"/>
                    <a:pt x="21042" y="19486"/>
                    <a:pt x="29189" y="23622"/>
                  </a:cubicBezTo>
                  <a:cubicBezTo>
                    <a:pt x="37322" y="27743"/>
                    <a:pt x="38233" y="29913"/>
                    <a:pt x="38233" y="29913"/>
                  </a:cubicBezTo>
                  <a:lnTo>
                    <a:pt x="32405" y="29151"/>
                  </a:lnTo>
                  <a:lnTo>
                    <a:pt x="39144" y="34883"/>
                  </a:lnTo>
                  <a:lnTo>
                    <a:pt x="31889" y="33157"/>
                  </a:lnTo>
                  <a:cubicBezTo>
                    <a:pt x="31889" y="33157"/>
                    <a:pt x="26991" y="29035"/>
                    <a:pt x="26085" y="26167"/>
                  </a:cubicBezTo>
                  <a:cubicBezTo>
                    <a:pt x="25198" y="23361"/>
                    <a:pt x="17191" y="14038"/>
                    <a:pt x="11748" y="9916"/>
                  </a:cubicBezTo>
                  <a:cubicBezTo>
                    <a:pt x="6325" y="5770"/>
                    <a:pt x="0" y="1003"/>
                    <a:pt x="0" y="1003"/>
                  </a:cubicBezTo>
                  <a:lnTo>
                    <a:pt x="6190" y="0"/>
                  </a:lnTo>
                  <a:lnTo>
                    <a:pt x="17943" y="913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18" name="Freihandform: Form 517">
              <a:extLst>
                <a:ext uri="{FF2B5EF4-FFF2-40B4-BE49-F238E27FC236}">
                  <a16:creationId xmlns:a16="http://schemas.microsoft.com/office/drawing/2014/main" id="{6AFB921D-EAD2-24D9-1886-DCF7EA350196}"/>
                </a:ext>
              </a:extLst>
            </p:cNvPr>
            <p:cNvSpPr/>
            <p:nvPr/>
          </p:nvSpPr>
          <p:spPr>
            <a:xfrm>
              <a:off x="6080163" y="5353115"/>
              <a:ext cx="15873" cy="9525"/>
            </a:xfrm>
            <a:custGeom>
              <a:avLst/>
              <a:gdLst>
                <a:gd name="connsiteX0" fmla="*/ 0 w 12649"/>
                <a:gd name="connsiteY0" fmla="*/ 0 h 6970"/>
                <a:gd name="connsiteX1" fmla="*/ 12650 w 12649"/>
                <a:gd name="connsiteY1" fmla="*/ 5428 h 6970"/>
                <a:gd name="connsiteX2" fmla="*/ 5934 w 12649"/>
                <a:gd name="connsiteY2" fmla="*/ 6971 h 6970"/>
                <a:gd name="connsiteX3" fmla="*/ 516 w 12649"/>
                <a:gd name="connsiteY3" fmla="*/ 3755 h 6970"/>
              </a:gdLst>
              <a:ahLst/>
              <a:cxnLst>
                <a:cxn ang="0">
                  <a:pos x="connsiteX0" y="connsiteY0"/>
                </a:cxn>
                <a:cxn ang="0">
                  <a:pos x="connsiteX1" y="connsiteY1"/>
                </a:cxn>
                <a:cxn ang="0">
                  <a:pos x="connsiteX2" y="connsiteY2"/>
                </a:cxn>
                <a:cxn ang="0">
                  <a:pos x="connsiteX3" y="connsiteY3"/>
                </a:cxn>
              </a:cxnLst>
              <a:rect l="l" t="t" r="r" b="b"/>
              <a:pathLst>
                <a:path w="12649" h="6970">
                  <a:moveTo>
                    <a:pt x="0" y="0"/>
                  </a:moveTo>
                  <a:lnTo>
                    <a:pt x="12650" y="5428"/>
                  </a:lnTo>
                  <a:lnTo>
                    <a:pt x="5934" y="6971"/>
                  </a:lnTo>
                  <a:lnTo>
                    <a:pt x="516" y="375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19" name="Freihandform: Form 518">
              <a:extLst>
                <a:ext uri="{FF2B5EF4-FFF2-40B4-BE49-F238E27FC236}">
                  <a16:creationId xmlns:a16="http://schemas.microsoft.com/office/drawing/2014/main" id="{292A930B-144E-AF1F-5B23-B0EDAAC6CFD6}"/>
                </a:ext>
              </a:extLst>
            </p:cNvPr>
            <p:cNvSpPr/>
            <p:nvPr/>
          </p:nvSpPr>
          <p:spPr>
            <a:xfrm>
              <a:off x="6164292" y="5395980"/>
              <a:ext cx="17460" cy="9525"/>
            </a:xfrm>
            <a:custGeom>
              <a:avLst/>
              <a:gdLst>
                <a:gd name="connsiteX0" fmla="*/ 6455 w 13025"/>
                <a:gd name="connsiteY0" fmla="*/ 0 h 7848"/>
                <a:gd name="connsiteX1" fmla="*/ 12264 w 13025"/>
                <a:gd name="connsiteY1" fmla="*/ 3852 h 7848"/>
                <a:gd name="connsiteX2" fmla="*/ 13025 w 13025"/>
                <a:gd name="connsiteY2" fmla="*/ 7848 h 7848"/>
                <a:gd name="connsiteX3" fmla="*/ 5153 w 13025"/>
                <a:gd name="connsiteY3" fmla="*/ 5520 h 7848"/>
                <a:gd name="connsiteX4" fmla="*/ 0 w 13025"/>
                <a:gd name="connsiteY4" fmla="*/ 2420 h 7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25" h="7848">
                  <a:moveTo>
                    <a:pt x="6455" y="0"/>
                  </a:moveTo>
                  <a:lnTo>
                    <a:pt x="12264" y="3852"/>
                  </a:lnTo>
                  <a:lnTo>
                    <a:pt x="13025" y="7848"/>
                  </a:lnTo>
                  <a:lnTo>
                    <a:pt x="5153" y="5520"/>
                  </a:lnTo>
                  <a:lnTo>
                    <a:pt x="0" y="242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20" name="Freihandform: Form 519">
              <a:extLst>
                <a:ext uri="{FF2B5EF4-FFF2-40B4-BE49-F238E27FC236}">
                  <a16:creationId xmlns:a16="http://schemas.microsoft.com/office/drawing/2014/main" id="{1A6EDD4C-4188-7C9E-D57C-1557C36BAB8E}"/>
                </a:ext>
              </a:extLst>
            </p:cNvPr>
            <p:cNvSpPr/>
            <p:nvPr/>
          </p:nvSpPr>
          <p:spPr>
            <a:xfrm>
              <a:off x="6189689" y="5394392"/>
              <a:ext cx="52381" cy="20639"/>
            </a:xfrm>
            <a:custGeom>
              <a:avLst/>
              <a:gdLst>
                <a:gd name="connsiteX0" fmla="*/ 539 w 41606"/>
                <a:gd name="connsiteY0" fmla="*/ 5558 h 15898"/>
                <a:gd name="connsiteX1" fmla="*/ 6093 w 41606"/>
                <a:gd name="connsiteY1" fmla="*/ 641 h 15898"/>
                <a:gd name="connsiteX2" fmla="*/ 13439 w 41606"/>
                <a:gd name="connsiteY2" fmla="*/ 0 h 15898"/>
                <a:gd name="connsiteX3" fmla="*/ 23784 w 41606"/>
                <a:gd name="connsiteY3" fmla="*/ 516 h 15898"/>
                <a:gd name="connsiteX4" fmla="*/ 38121 w 41606"/>
                <a:gd name="connsiteY4" fmla="*/ 3346 h 15898"/>
                <a:gd name="connsiteX5" fmla="*/ 41607 w 41606"/>
                <a:gd name="connsiteY5" fmla="*/ 9936 h 15898"/>
                <a:gd name="connsiteX6" fmla="*/ 34631 w 41606"/>
                <a:gd name="connsiteY6" fmla="*/ 13392 h 15898"/>
                <a:gd name="connsiteX7" fmla="*/ 19658 w 41606"/>
                <a:gd name="connsiteY7" fmla="*/ 15899 h 15898"/>
                <a:gd name="connsiteX8" fmla="*/ 298 w 41606"/>
                <a:gd name="connsiteY8" fmla="*/ 11743 h 15898"/>
                <a:gd name="connsiteX9" fmla="*/ 539 w 41606"/>
                <a:gd name="connsiteY9" fmla="*/ 5558 h 15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06" h="15898">
                  <a:moveTo>
                    <a:pt x="539" y="5558"/>
                  </a:moveTo>
                  <a:lnTo>
                    <a:pt x="6093" y="641"/>
                  </a:lnTo>
                  <a:lnTo>
                    <a:pt x="13439" y="0"/>
                  </a:lnTo>
                  <a:cubicBezTo>
                    <a:pt x="13439" y="0"/>
                    <a:pt x="19533" y="1167"/>
                    <a:pt x="23784" y="516"/>
                  </a:cubicBezTo>
                  <a:cubicBezTo>
                    <a:pt x="28041" y="-130"/>
                    <a:pt x="36564" y="1967"/>
                    <a:pt x="38121" y="3346"/>
                  </a:cubicBezTo>
                  <a:cubicBezTo>
                    <a:pt x="39649" y="4763"/>
                    <a:pt x="41607" y="9936"/>
                    <a:pt x="41607" y="9936"/>
                  </a:cubicBezTo>
                  <a:lnTo>
                    <a:pt x="34631" y="13392"/>
                  </a:lnTo>
                  <a:cubicBezTo>
                    <a:pt x="34631" y="13392"/>
                    <a:pt x="23784" y="15899"/>
                    <a:pt x="19658" y="15899"/>
                  </a:cubicBezTo>
                  <a:cubicBezTo>
                    <a:pt x="15512" y="15899"/>
                    <a:pt x="5447" y="14713"/>
                    <a:pt x="298" y="11743"/>
                  </a:cubicBezTo>
                  <a:cubicBezTo>
                    <a:pt x="-492" y="10591"/>
                    <a:pt x="539" y="5558"/>
                    <a:pt x="539" y="555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21" name="Freihandform: Form 520">
              <a:extLst>
                <a:ext uri="{FF2B5EF4-FFF2-40B4-BE49-F238E27FC236}">
                  <a16:creationId xmlns:a16="http://schemas.microsoft.com/office/drawing/2014/main" id="{D23BB152-639C-2707-F55B-5540681754F7}"/>
                </a:ext>
              </a:extLst>
            </p:cNvPr>
            <p:cNvSpPr/>
            <p:nvPr/>
          </p:nvSpPr>
          <p:spPr>
            <a:xfrm>
              <a:off x="6145244" y="5449957"/>
              <a:ext cx="22222" cy="14288"/>
            </a:xfrm>
            <a:custGeom>
              <a:avLst/>
              <a:gdLst>
                <a:gd name="connsiteX0" fmla="*/ 16805 w 17171"/>
                <a:gd name="connsiteY0" fmla="*/ 1046 h 11029"/>
                <a:gd name="connsiteX1" fmla="*/ 17171 w 17171"/>
                <a:gd name="connsiteY1" fmla="*/ 7130 h 11029"/>
                <a:gd name="connsiteX2" fmla="*/ 11763 w 17171"/>
                <a:gd name="connsiteY2" fmla="*/ 9974 h 11029"/>
                <a:gd name="connsiteX3" fmla="*/ 4777 w 17171"/>
                <a:gd name="connsiteY3" fmla="*/ 11030 h 11029"/>
                <a:gd name="connsiteX4" fmla="*/ 0 w 17171"/>
                <a:gd name="connsiteY4" fmla="*/ 5062 h 11029"/>
                <a:gd name="connsiteX5" fmla="*/ 10731 w 17171"/>
                <a:gd name="connsiteY5" fmla="*/ 0 h 11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71" h="11029">
                  <a:moveTo>
                    <a:pt x="16805" y="1046"/>
                  </a:moveTo>
                  <a:lnTo>
                    <a:pt x="17171" y="7130"/>
                  </a:lnTo>
                  <a:lnTo>
                    <a:pt x="11763" y="9974"/>
                  </a:lnTo>
                  <a:lnTo>
                    <a:pt x="4777" y="11030"/>
                  </a:lnTo>
                  <a:lnTo>
                    <a:pt x="0" y="5062"/>
                  </a:lnTo>
                  <a:lnTo>
                    <a:pt x="10731"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22" name="Freihandform: Form 521">
              <a:extLst>
                <a:ext uri="{FF2B5EF4-FFF2-40B4-BE49-F238E27FC236}">
                  <a16:creationId xmlns:a16="http://schemas.microsoft.com/office/drawing/2014/main" id="{72BC7359-B7B9-4B08-C93E-4B6B93E32554}"/>
                </a:ext>
              </a:extLst>
            </p:cNvPr>
            <p:cNvSpPr/>
            <p:nvPr/>
          </p:nvSpPr>
          <p:spPr>
            <a:xfrm>
              <a:off x="6189689" y="5421381"/>
              <a:ext cx="93651" cy="17463"/>
            </a:xfrm>
            <a:custGeom>
              <a:avLst/>
              <a:gdLst>
                <a:gd name="connsiteX0" fmla="*/ 73101 w 73101"/>
                <a:gd name="connsiteY0" fmla="*/ 5303 h 12649"/>
                <a:gd name="connsiteX1" fmla="*/ 61990 w 73101"/>
                <a:gd name="connsiteY1" fmla="*/ 10201 h 12649"/>
                <a:gd name="connsiteX2" fmla="*/ 33191 w 73101"/>
                <a:gd name="connsiteY2" fmla="*/ 10591 h 12649"/>
                <a:gd name="connsiteX3" fmla="*/ 24822 w 73101"/>
                <a:gd name="connsiteY3" fmla="*/ 12650 h 12649"/>
                <a:gd name="connsiteX4" fmla="*/ 7757 w 73101"/>
                <a:gd name="connsiteY4" fmla="*/ 9135 h 12649"/>
                <a:gd name="connsiteX5" fmla="*/ 0 w 73101"/>
                <a:gd name="connsiteY5" fmla="*/ 7882 h 12649"/>
                <a:gd name="connsiteX6" fmla="*/ 3625 w 73101"/>
                <a:gd name="connsiteY6" fmla="*/ 2700 h 12649"/>
                <a:gd name="connsiteX7" fmla="*/ 10726 w 73101"/>
                <a:gd name="connsiteY7" fmla="*/ 4252 h 12649"/>
                <a:gd name="connsiteX8" fmla="*/ 16805 w 73101"/>
                <a:gd name="connsiteY8" fmla="*/ 0 h 12649"/>
                <a:gd name="connsiteX9" fmla="*/ 26731 w 73101"/>
                <a:gd name="connsiteY9" fmla="*/ 4363 h 12649"/>
                <a:gd name="connsiteX10" fmla="*/ 37983 w 73101"/>
                <a:gd name="connsiteY10" fmla="*/ 5944 h 12649"/>
                <a:gd name="connsiteX11" fmla="*/ 73101 w 73101"/>
                <a:gd name="connsiteY11" fmla="*/ 5303 h 12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101" h="12649">
                  <a:moveTo>
                    <a:pt x="73101" y="5303"/>
                  </a:moveTo>
                  <a:cubicBezTo>
                    <a:pt x="73101" y="5303"/>
                    <a:pt x="66531" y="10201"/>
                    <a:pt x="61990" y="10201"/>
                  </a:cubicBezTo>
                  <a:cubicBezTo>
                    <a:pt x="57477" y="10201"/>
                    <a:pt x="37987" y="10591"/>
                    <a:pt x="33191" y="10591"/>
                  </a:cubicBezTo>
                  <a:cubicBezTo>
                    <a:pt x="31012" y="10702"/>
                    <a:pt x="24822" y="12650"/>
                    <a:pt x="24822" y="12650"/>
                  </a:cubicBezTo>
                  <a:cubicBezTo>
                    <a:pt x="24822" y="12650"/>
                    <a:pt x="9690" y="9950"/>
                    <a:pt x="7757" y="9135"/>
                  </a:cubicBezTo>
                  <a:cubicBezTo>
                    <a:pt x="5823" y="8364"/>
                    <a:pt x="0" y="7882"/>
                    <a:pt x="0" y="7882"/>
                  </a:cubicBezTo>
                  <a:lnTo>
                    <a:pt x="3625" y="2700"/>
                  </a:lnTo>
                  <a:lnTo>
                    <a:pt x="10726" y="4252"/>
                  </a:lnTo>
                  <a:lnTo>
                    <a:pt x="16805" y="0"/>
                  </a:lnTo>
                  <a:cubicBezTo>
                    <a:pt x="16805" y="0"/>
                    <a:pt x="23506" y="1253"/>
                    <a:pt x="26731" y="4363"/>
                  </a:cubicBezTo>
                  <a:cubicBezTo>
                    <a:pt x="29961" y="7453"/>
                    <a:pt x="31899" y="7352"/>
                    <a:pt x="37983" y="5944"/>
                  </a:cubicBezTo>
                  <a:cubicBezTo>
                    <a:pt x="44052" y="4488"/>
                    <a:pt x="64217" y="8783"/>
                    <a:pt x="73101" y="5303"/>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23" name="Freihandform: Form 522">
              <a:extLst>
                <a:ext uri="{FF2B5EF4-FFF2-40B4-BE49-F238E27FC236}">
                  <a16:creationId xmlns:a16="http://schemas.microsoft.com/office/drawing/2014/main" id="{DFBC9B79-D5D1-D38A-3787-3AF0751DD450}"/>
                </a:ext>
              </a:extLst>
            </p:cNvPr>
            <p:cNvSpPr/>
            <p:nvPr/>
          </p:nvSpPr>
          <p:spPr>
            <a:xfrm>
              <a:off x="6218261" y="5457894"/>
              <a:ext cx="69842" cy="15876"/>
            </a:xfrm>
            <a:custGeom>
              <a:avLst/>
              <a:gdLst>
                <a:gd name="connsiteX0" fmla="*/ 37443 w 54994"/>
                <a:gd name="connsiteY0" fmla="*/ 6458 h 12228"/>
                <a:gd name="connsiteX1" fmla="*/ 54995 w 54994"/>
                <a:gd name="connsiteY1" fmla="*/ 5643 h 12228"/>
                <a:gd name="connsiteX2" fmla="*/ 49972 w 54994"/>
                <a:gd name="connsiteY2" fmla="*/ 1025 h 12228"/>
                <a:gd name="connsiteX3" fmla="*/ 26191 w 54994"/>
                <a:gd name="connsiteY3" fmla="*/ 2057 h 12228"/>
                <a:gd name="connsiteX4" fmla="*/ 13156 w 54994"/>
                <a:gd name="connsiteY4" fmla="*/ 3319 h 12228"/>
                <a:gd name="connsiteX5" fmla="*/ 5925 w 54994"/>
                <a:gd name="connsiteY5" fmla="*/ 1811 h 12228"/>
                <a:gd name="connsiteX6" fmla="*/ 0 w 54994"/>
                <a:gd name="connsiteY6" fmla="*/ 2982 h 12228"/>
                <a:gd name="connsiteX7" fmla="*/ 6306 w 54994"/>
                <a:gd name="connsiteY7" fmla="*/ 4486 h 12228"/>
                <a:gd name="connsiteX8" fmla="*/ 5414 w 54994"/>
                <a:gd name="connsiteY8" fmla="*/ 9659 h 12228"/>
                <a:gd name="connsiteX9" fmla="*/ 37443 w 54994"/>
                <a:gd name="connsiteY9" fmla="*/ 6458 h 1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994" h="12228">
                  <a:moveTo>
                    <a:pt x="37443" y="6458"/>
                  </a:moveTo>
                  <a:cubicBezTo>
                    <a:pt x="37443" y="6458"/>
                    <a:pt x="47638" y="10039"/>
                    <a:pt x="54995" y="5643"/>
                  </a:cubicBezTo>
                  <a:cubicBezTo>
                    <a:pt x="53066" y="2322"/>
                    <a:pt x="49972" y="1025"/>
                    <a:pt x="49972" y="1025"/>
                  </a:cubicBezTo>
                  <a:cubicBezTo>
                    <a:pt x="49972" y="1025"/>
                    <a:pt x="33610" y="-1863"/>
                    <a:pt x="26191" y="2057"/>
                  </a:cubicBezTo>
                  <a:cubicBezTo>
                    <a:pt x="22065" y="4158"/>
                    <a:pt x="18444" y="5012"/>
                    <a:pt x="13156" y="3319"/>
                  </a:cubicBezTo>
                  <a:cubicBezTo>
                    <a:pt x="7863" y="1685"/>
                    <a:pt x="5925" y="1811"/>
                    <a:pt x="5925" y="1811"/>
                  </a:cubicBezTo>
                  <a:lnTo>
                    <a:pt x="0" y="2982"/>
                  </a:lnTo>
                  <a:lnTo>
                    <a:pt x="6306" y="4486"/>
                  </a:lnTo>
                  <a:lnTo>
                    <a:pt x="5414" y="9659"/>
                  </a:lnTo>
                  <a:cubicBezTo>
                    <a:pt x="5414" y="9659"/>
                    <a:pt x="20782" y="17193"/>
                    <a:pt x="37443" y="645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24" name="Freihandform: Form 523">
              <a:extLst>
                <a:ext uri="{FF2B5EF4-FFF2-40B4-BE49-F238E27FC236}">
                  <a16:creationId xmlns:a16="http://schemas.microsoft.com/office/drawing/2014/main" id="{7FAF671C-9216-0300-42D2-753302A6B021}"/>
                </a:ext>
              </a:extLst>
            </p:cNvPr>
            <p:cNvSpPr/>
            <p:nvPr/>
          </p:nvSpPr>
          <p:spPr>
            <a:xfrm>
              <a:off x="6245245" y="5494409"/>
              <a:ext cx="14286" cy="9525"/>
            </a:xfrm>
            <a:custGeom>
              <a:avLst/>
              <a:gdLst>
                <a:gd name="connsiteX0" fmla="*/ 11488 w 11487"/>
                <a:gd name="connsiteY0" fmla="*/ 670 h 7394"/>
                <a:gd name="connsiteX1" fmla="*/ 7993 w 11487"/>
                <a:gd name="connsiteY1" fmla="*/ 7395 h 7394"/>
                <a:gd name="connsiteX2" fmla="*/ 1533 w 11487"/>
                <a:gd name="connsiteY2" fmla="*/ 7255 h 7394"/>
                <a:gd name="connsiteX3" fmla="*/ 0 w 11487"/>
                <a:gd name="connsiteY3" fmla="*/ 1846 h 7394"/>
                <a:gd name="connsiteX4" fmla="*/ 4122 w 11487"/>
                <a:gd name="connsiteY4" fmla="*/ 0 h 7394"/>
                <a:gd name="connsiteX5" fmla="*/ 11488 w 11487"/>
                <a:gd name="connsiteY5" fmla="*/ 670 h 7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87" h="7394">
                  <a:moveTo>
                    <a:pt x="11488" y="670"/>
                  </a:moveTo>
                  <a:cubicBezTo>
                    <a:pt x="11488" y="670"/>
                    <a:pt x="11237" y="7395"/>
                    <a:pt x="7993" y="7395"/>
                  </a:cubicBezTo>
                  <a:cubicBezTo>
                    <a:pt x="4777" y="7395"/>
                    <a:pt x="1533" y="7255"/>
                    <a:pt x="1533" y="7255"/>
                  </a:cubicBezTo>
                  <a:lnTo>
                    <a:pt x="0" y="1846"/>
                  </a:lnTo>
                  <a:lnTo>
                    <a:pt x="4122" y="0"/>
                  </a:lnTo>
                  <a:lnTo>
                    <a:pt x="11488" y="67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25" name="Freihandform: Form 524">
              <a:extLst>
                <a:ext uri="{FF2B5EF4-FFF2-40B4-BE49-F238E27FC236}">
                  <a16:creationId xmlns:a16="http://schemas.microsoft.com/office/drawing/2014/main" id="{63E204EC-A2BB-B6E4-1BC3-49B4B557ADE1}"/>
                </a:ext>
              </a:extLst>
            </p:cNvPr>
            <p:cNvSpPr/>
            <p:nvPr/>
          </p:nvSpPr>
          <p:spPr>
            <a:xfrm>
              <a:off x="6313500" y="5481708"/>
              <a:ext cx="47620" cy="14288"/>
            </a:xfrm>
            <a:custGeom>
              <a:avLst/>
              <a:gdLst>
                <a:gd name="connsiteX0" fmla="*/ 888 w 37954"/>
                <a:gd name="connsiteY0" fmla="*/ 0 h 11618"/>
                <a:gd name="connsiteX1" fmla="*/ 13562 w 37954"/>
                <a:gd name="connsiteY1" fmla="*/ 4368 h 11618"/>
                <a:gd name="connsiteX2" fmla="*/ 25951 w 37954"/>
                <a:gd name="connsiteY2" fmla="*/ 6315 h 11618"/>
                <a:gd name="connsiteX3" fmla="*/ 30608 w 37954"/>
                <a:gd name="connsiteY3" fmla="*/ 8282 h 11618"/>
                <a:gd name="connsiteX4" fmla="*/ 37954 w 37954"/>
                <a:gd name="connsiteY4" fmla="*/ 8393 h 11618"/>
                <a:gd name="connsiteX5" fmla="*/ 31880 w 37954"/>
                <a:gd name="connsiteY5" fmla="*/ 11618 h 11618"/>
                <a:gd name="connsiteX6" fmla="*/ 24389 w 37954"/>
                <a:gd name="connsiteY6" fmla="*/ 9184 h 11618"/>
                <a:gd name="connsiteX7" fmla="*/ 18469 w 37954"/>
                <a:gd name="connsiteY7" fmla="*/ 9550 h 11618"/>
                <a:gd name="connsiteX8" fmla="*/ 13287 w 37954"/>
                <a:gd name="connsiteY8" fmla="*/ 6971 h 11618"/>
                <a:gd name="connsiteX9" fmla="*/ 5800 w 37954"/>
                <a:gd name="connsiteY9" fmla="*/ 7906 h 11618"/>
                <a:gd name="connsiteX10" fmla="*/ 888 w 37954"/>
                <a:gd name="connsiteY10" fmla="*/ 0 h 1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954" h="11618">
                  <a:moveTo>
                    <a:pt x="888" y="0"/>
                  </a:moveTo>
                  <a:lnTo>
                    <a:pt x="13562" y="4368"/>
                  </a:lnTo>
                  <a:cubicBezTo>
                    <a:pt x="13562" y="4368"/>
                    <a:pt x="22981" y="4777"/>
                    <a:pt x="25951" y="6315"/>
                  </a:cubicBezTo>
                  <a:cubicBezTo>
                    <a:pt x="28901" y="7911"/>
                    <a:pt x="30608" y="8282"/>
                    <a:pt x="30608" y="8282"/>
                  </a:cubicBezTo>
                  <a:lnTo>
                    <a:pt x="37954" y="8393"/>
                  </a:lnTo>
                  <a:lnTo>
                    <a:pt x="31880" y="11618"/>
                  </a:lnTo>
                  <a:lnTo>
                    <a:pt x="24389" y="9184"/>
                  </a:lnTo>
                  <a:lnTo>
                    <a:pt x="18469" y="9550"/>
                  </a:lnTo>
                  <a:lnTo>
                    <a:pt x="13287" y="6971"/>
                  </a:lnTo>
                  <a:lnTo>
                    <a:pt x="5800" y="7906"/>
                  </a:lnTo>
                  <a:cubicBezTo>
                    <a:pt x="5800" y="7911"/>
                    <a:pt x="-2713" y="3365"/>
                    <a:pt x="888"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26" name="Freihandform: Form 525">
              <a:extLst>
                <a:ext uri="{FF2B5EF4-FFF2-40B4-BE49-F238E27FC236}">
                  <a16:creationId xmlns:a16="http://schemas.microsoft.com/office/drawing/2014/main" id="{57160E17-28A7-7D78-437B-229990795286}"/>
                </a:ext>
              </a:extLst>
            </p:cNvPr>
            <p:cNvSpPr/>
            <p:nvPr/>
          </p:nvSpPr>
          <p:spPr>
            <a:xfrm>
              <a:off x="7327797" y="6564424"/>
              <a:ext cx="400005" cy="112716"/>
            </a:xfrm>
            <a:custGeom>
              <a:avLst/>
              <a:gdLst>
                <a:gd name="connsiteX0" fmla="*/ 64728 w 313707"/>
                <a:gd name="connsiteY0" fmla="*/ 11642 h 87452"/>
                <a:gd name="connsiteX1" fmla="*/ 70161 w 313707"/>
                <a:gd name="connsiteY1" fmla="*/ 17567 h 87452"/>
                <a:gd name="connsiteX2" fmla="*/ 66275 w 313707"/>
                <a:gd name="connsiteY2" fmla="*/ 24012 h 87452"/>
                <a:gd name="connsiteX3" fmla="*/ 60972 w 313707"/>
                <a:gd name="connsiteY3" fmla="*/ 23737 h 87452"/>
                <a:gd name="connsiteX4" fmla="*/ 77883 w 313707"/>
                <a:gd name="connsiteY4" fmla="*/ 27497 h 87452"/>
                <a:gd name="connsiteX5" fmla="*/ 82150 w 313707"/>
                <a:gd name="connsiteY5" fmla="*/ 39925 h 87452"/>
                <a:gd name="connsiteX6" fmla="*/ 88744 w 313707"/>
                <a:gd name="connsiteY6" fmla="*/ 41073 h 87452"/>
                <a:gd name="connsiteX7" fmla="*/ 103067 w 313707"/>
                <a:gd name="connsiteY7" fmla="*/ 35100 h 87452"/>
                <a:gd name="connsiteX8" fmla="*/ 116025 w 313707"/>
                <a:gd name="connsiteY8" fmla="*/ 30235 h 87452"/>
                <a:gd name="connsiteX9" fmla="*/ 129436 w 313707"/>
                <a:gd name="connsiteY9" fmla="*/ 21838 h 87452"/>
                <a:gd name="connsiteX10" fmla="*/ 139882 w 313707"/>
                <a:gd name="connsiteY10" fmla="*/ 21553 h 87452"/>
                <a:gd name="connsiteX11" fmla="*/ 155752 w 313707"/>
                <a:gd name="connsiteY11" fmla="*/ 18222 h 87452"/>
                <a:gd name="connsiteX12" fmla="*/ 161595 w 313707"/>
                <a:gd name="connsiteY12" fmla="*/ 16149 h 87452"/>
                <a:gd name="connsiteX13" fmla="*/ 167539 w 313707"/>
                <a:gd name="connsiteY13" fmla="*/ 17446 h 87452"/>
                <a:gd name="connsiteX14" fmla="*/ 168701 w 313707"/>
                <a:gd name="connsiteY14" fmla="*/ 23361 h 87452"/>
                <a:gd name="connsiteX15" fmla="*/ 206013 w 313707"/>
                <a:gd name="connsiteY15" fmla="*/ 17702 h 87452"/>
                <a:gd name="connsiteX16" fmla="*/ 214281 w 313707"/>
                <a:gd name="connsiteY16" fmla="*/ 21327 h 87452"/>
                <a:gd name="connsiteX17" fmla="*/ 226395 w 313707"/>
                <a:gd name="connsiteY17" fmla="*/ 14823 h 87452"/>
                <a:gd name="connsiteX18" fmla="*/ 245138 w 313707"/>
                <a:gd name="connsiteY18" fmla="*/ 9685 h 87452"/>
                <a:gd name="connsiteX19" fmla="*/ 245644 w 313707"/>
                <a:gd name="connsiteY19" fmla="*/ 16289 h 87452"/>
                <a:gd name="connsiteX20" fmla="*/ 246574 w 313707"/>
                <a:gd name="connsiteY20" fmla="*/ 24542 h 87452"/>
                <a:gd name="connsiteX21" fmla="*/ 260251 w 313707"/>
                <a:gd name="connsiteY21" fmla="*/ 36932 h 87452"/>
                <a:gd name="connsiteX22" fmla="*/ 274322 w 313707"/>
                <a:gd name="connsiteY22" fmla="*/ 22599 h 87452"/>
                <a:gd name="connsiteX23" fmla="*/ 280657 w 313707"/>
                <a:gd name="connsiteY23" fmla="*/ 16516 h 87452"/>
                <a:gd name="connsiteX24" fmla="*/ 293080 w 313707"/>
                <a:gd name="connsiteY24" fmla="*/ 17697 h 87452"/>
                <a:gd name="connsiteX25" fmla="*/ 299101 w 313707"/>
                <a:gd name="connsiteY25" fmla="*/ 11478 h 87452"/>
                <a:gd name="connsiteX26" fmla="*/ 301304 w 313707"/>
                <a:gd name="connsiteY26" fmla="*/ 5023 h 87452"/>
                <a:gd name="connsiteX27" fmla="*/ 307624 w 313707"/>
                <a:gd name="connsiteY27" fmla="*/ 0 h 87452"/>
                <a:gd name="connsiteX28" fmla="*/ 304934 w 313707"/>
                <a:gd name="connsiteY28" fmla="*/ 6334 h 87452"/>
                <a:gd name="connsiteX29" fmla="*/ 313708 w 313707"/>
                <a:gd name="connsiteY29" fmla="*/ 14457 h 87452"/>
                <a:gd name="connsiteX30" fmla="*/ 310362 w 313707"/>
                <a:gd name="connsiteY30" fmla="*/ 20662 h 87452"/>
                <a:gd name="connsiteX31" fmla="*/ 306881 w 313707"/>
                <a:gd name="connsiteY31" fmla="*/ 38599 h 87452"/>
                <a:gd name="connsiteX32" fmla="*/ 299000 w 313707"/>
                <a:gd name="connsiteY32" fmla="*/ 44307 h 87452"/>
                <a:gd name="connsiteX33" fmla="*/ 293827 w 313707"/>
                <a:gd name="connsiteY33" fmla="*/ 44307 h 87452"/>
                <a:gd name="connsiteX34" fmla="*/ 267091 w 313707"/>
                <a:gd name="connsiteY34" fmla="*/ 49832 h 87452"/>
                <a:gd name="connsiteX35" fmla="*/ 255955 w 313707"/>
                <a:gd name="connsiteY35" fmla="*/ 53452 h 87452"/>
                <a:gd name="connsiteX36" fmla="*/ 231167 w 313707"/>
                <a:gd name="connsiteY36" fmla="*/ 61734 h 87452"/>
                <a:gd name="connsiteX37" fmla="*/ 223546 w 313707"/>
                <a:gd name="connsiteY37" fmla="*/ 62269 h 87452"/>
                <a:gd name="connsiteX38" fmla="*/ 199153 w 313707"/>
                <a:gd name="connsiteY38" fmla="*/ 73492 h 87452"/>
                <a:gd name="connsiteX39" fmla="*/ 192944 w 313707"/>
                <a:gd name="connsiteY39" fmla="*/ 74369 h 87452"/>
                <a:gd name="connsiteX40" fmla="*/ 186354 w 313707"/>
                <a:gd name="connsiteY40" fmla="*/ 78794 h 87452"/>
                <a:gd name="connsiteX41" fmla="*/ 180150 w 313707"/>
                <a:gd name="connsiteY41" fmla="*/ 79431 h 87452"/>
                <a:gd name="connsiteX42" fmla="*/ 156784 w 313707"/>
                <a:gd name="connsiteY42" fmla="*/ 83663 h 87452"/>
                <a:gd name="connsiteX43" fmla="*/ 150334 w 313707"/>
                <a:gd name="connsiteY43" fmla="*/ 87452 h 87452"/>
                <a:gd name="connsiteX44" fmla="*/ 146202 w 313707"/>
                <a:gd name="connsiteY44" fmla="*/ 80727 h 87452"/>
                <a:gd name="connsiteX45" fmla="*/ 144655 w 313707"/>
                <a:gd name="connsiteY45" fmla="*/ 71525 h 87452"/>
                <a:gd name="connsiteX46" fmla="*/ 139998 w 313707"/>
                <a:gd name="connsiteY46" fmla="*/ 66641 h 87452"/>
                <a:gd name="connsiteX47" fmla="*/ 129282 w 313707"/>
                <a:gd name="connsiteY47" fmla="*/ 68044 h 87452"/>
                <a:gd name="connsiteX48" fmla="*/ 121183 w 313707"/>
                <a:gd name="connsiteY48" fmla="*/ 68044 h 87452"/>
                <a:gd name="connsiteX49" fmla="*/ 115196 w 313707"/>
                <a:gd name="connsiteY49" fmla="*/ 64048 h 87452"/>
                <a:gd name="connsiteX50" fmla="*/ 109011 w 313707"/>
                <a:gd name="connsiteY50" fmla="*/ 64318 h 87452"/>
                <a:gd name="connsiteX51" fmla="*/ 97152 w 313707"/>
                <a:gd name="connsiteY51" fmla="*/ 62269 h 87452"/>
                <a:gd name="connsiteX52" fmla="*/ 84478 w 313707"/>
                <a:gd name="connsiteY52" fmla="*/ 65605 h 87452"/>
                <a:gd name="connsiteX53" fmla="*/ 77999 w 313707"/>
                <a:gd name="connsiteY53" fmla="*/ 64048 h 87452"/>
                <a:gd name="connsiteX54" fmla="*/ 68174 w 313707"/>
                <a:gd name="connsiteY54" fmla="*/ 67003 h 87452"/>
                <a:gd name="connsiteX55" fmla="*/ 53597 w 313707"/>
                <a:gd name="connsiteY55" fmla="*/ 65084 h 87452"/>
                <a:gd name="connsiteX56" fmla="*/ 46616 w 313707"/>
                <a:gd name="connsiteY56" fmla="*/ 66747 h 87452"/>
                <a:gd name="connsiteX57" fmla="*/ 29729 w 313707"/>
                <a:gd name="connsiteY57" fmla="*/ 68198 h 87452"/>
                <a:gd name="connsiteX58" fmla="*/ 4271 w 313707"/>
                <a:gd name="connsiteY58" fmla="*/ 68198 h 87452"/>
                <a:gd name="connsiteX59" fmla="*/ 3755 w 313707"/>
                <a:gd name="connsiteY59" fmla="*/ 62120 h 87452"/>
                <a:gd name="connsiteX60" fmla="*/ 1157 w 313707"/>
                <a:gd name="connsiteY60" fmla="*/ 55645 h 87452"/>
                <a:gd name="connsiteX61" fmla="*/ 2087 w 313707"/>
                <a:gd name="connsiteY61" fmla="*/ 49721 h 87452"/>
                <a:gd name="connsiteX62" fmla="*/ 926 w 313707"/>
                <a:gd name="connsiteY62" fmla="*/ 43622 h 87452"/>
                <a:gd name="connsiteX63" fmla="*/ 2087 w 313707"/>
                <a:gd name="connsiteY63" fmla="*/ 37442 h 87452"/>
                <a:gd name="connsiteX64" fmla="*/ 0 w 313707"/>
                <a:gd name="connsiteY64" fmla="*/ 31653 h 87452"/>
                <a:gd name="connsiteX65" fmla="*/ 1417 w 313707"/>
                <a:gd name="connsiteY65" fmla="*/ 25063 h 87452"/>
                <a:gd name="connsiteX66" fmla="*/ 4792 w 313707"/>
                <a:gd name="connsiteY66" fmla="*/ 31392 h 87452"/>
                <a:gd name="connsiteX67" fmla="*/ 11377 w 313707"/>
                <a:gd name="connsiteY67" fmla="*/ 35350 h 87452"/>
                <a:gd name="connsiteX68" fmla="*/ 16776 w 313707"/>
                <a:gd name="connsiteY68" fmla="*/ 32819 h 87452"/>
                <a:gd name="connsiteX69" fmla="*/ 18092 w 313707"/>
                <a:gd name="connsiteY69" fmla="*/ 27112 h 87452"/>
                <a:gd name="connsiteX70" fmla="*/ 12915 w 313707"/>
                <a:gd name="connsiteY70" fmla="*/ 13315 h 87452"/>
                <a:gd name="connsiteX71" fmla="*/ 17176 w 313707"/>
                <a:gd name="connsiteY71" fmla="*/ 10307 h 87452"/>
                <a:gd name="connsiteX72" fmla="*/ 19881 w 313707"/>
                <a:gd name="connsiteY72" fmla="*/ 14829 h 87452"/>
                <a:gd name="connsiteX73" fmla="*/ 32159 w 313707"/>
                <a:gd name="connsiteY73" fmla="*/ 27777 h 87452"/>
                <a:gd name="connsiteX74" fmla="*/ 58142 w 313707"/>
                <a:gd name="connsiteY74" fmla="*/ 12408 h 87452"/>
                <a:gd name="connsiteX75" fmla="*/ 64728 w 313707"/>
                <a:gd name="connsiteY75" fmla="*/ 11642 h 87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313707" h="87452">
                  <a:moveTo>
                    <a:pt x="64728" y="11642"/>
                  </a:moveTo>
                  <a:lnTo>
                    <a:pt x="70161" y="17567"/>
                  </a:lnTo>
                  <a:lnTo>
                    <a:pt x="66275" y="24012"/>
                  </a:lnTo>
                  <a:lnTo>
                    <a:pt x="60972" y="23737"/>
                  </a:lnTo>
                  <a:cubicBezTo>
                    <a:pt x="60972" y="23737"/>
                    <a:pt x="67659" y="33456"/>
                    <a:pt x="77883" y="27497"/>
                  </a:cubicBezTo>
                  <a:cubicBezTo>
                    <a:pt x="80082" y="34458"/>
                    <a:pt x="82150" y="39925"/>
                    <a:pt x="82150" y="39925"/>
                  </a:cubicBezTo>
                  <a:lnTo>
                    <a:pt x="88744" y="41073"/>
                  </a:lnTo>
                  <a:lnTo>
                    <a:pt x="103067" y="35100"/>
                  </a:lnTo>
                  <a:cubicBezTo>
                    <a:pt x="103067" y="35100"/>
                    <a:pt x="114318" y="31764"/>
                    <a:pt x="116025" y="30235"/>
                  </a:cubicBezTo>
                  <a:cubicBezTo>
                    <a:pt x="117678" y="28688"/>
                    <a:pt x="126944" y="22079"/>
                    <a:pt x="129436" y="21838"/>
                  </a:cubicBezTo>
                  <a:cubicBezTo>
                    <a:pt x="131900" y="21553"/>
                    <a:pt x="135226" y="21327"/>
                    <a:pt x="139882" y="21553"/>
                  </a:cubicBezTo>
                  <a:cubicBezTo>
                    <a:pt x="144549" y="21838"/>
                    <a:pt x="155752" y="18222"/>
                    <a:pt x="155752" y="18222"/>
                  </a:cubicBezTo>
                  <a:lnTo>
                    <a:pt x="161595" y="16149"/>
                  </a:lnTo>
                  <a:lnTo>
                    <a:pt x="167539" y="17446"/>
                  </a:lnTo>
                  <a:lnTo>
                    <a:pt x="168701" y="23361"/>
                  </a:lnTo>
                  <a:cubicBezTo>
                    <a:pt x="168701" y="23361"/>
                    <a:pt x="188562" y="23665"/>
                    <a:pt x="206013" y="17702"/>
                  </a:cubicBezTo>
                  <a:cubicBezTo>
                    <a:pt x="209894" y="21033"/>
                    <a:pt x="212328" y="22373"/>
                    <a:pt x="214281" y="21327"/>
                  </a:cubicBezTo>
                  <a:cubicBezTo>
                    <a:pt x="216204" y="20276"/>
                    <a:pt x="221907" y="17803"/>
                    <a:pt x="226395" y="14823"/>
                  </a:cubicBezTo>
                  <a:cubicBezTo>
                    <a:pt x="230941" y="11883"/>
                    <a:pt x="240375" y="7897"/>
                    <a:pt x="245138" y="9685"/>
                  </a:cubicBezTo>
                  <a:cubicBezTo>
                    <a:pt x="245644" y="10307"/>
                    <a:pt x="244612" y="13970"/>
                    <a:pt x="245644" y="16289"/>
                  </a:cubicBezTo>
                  <a:cubicBezTo>
                    <a:pt x="246685" y="18574"/>
                    <a:pt x="247187" y="21708"/>
                    <a:pt x="246574" y="24542"/>
                  </a:cubicBezTo>
                  <a:cubicBezTo>
                    <a:pt x="245899" y="27406"/>
                    <a:pt x="244882" y="38074"/>
                    <a:pt x="260251" y="36932"/>
                  </a:cubicBezTo>
                  <a:cubicBezTo>
                    <a:pt x="262550" y="36690"/>
                    <a:pt x="259595" y="28823"/>
                    <a:pt x="274322" y="22599"/>
                  </a:cubicBezTo>
                  <a:cubicBezTo>
                    <a:pt x="276270" y="21703"/>
                    <a:pt x="279495" y="17952"/>
                    <a:pt x="280657" y="16516"/>
                  </a:cubicBezTo>
                  <a:cubicBezTo>
                    <a:pt x="281814" y="15094"/>
                    <a:pt x="286345" y="15094"/>
                    <a:pt x="293080" y="17697"/>
                  </a:cubicBezTo>
                  <a:cubicBezTo>
                    <a:pt x="294955" y="18082"/>
                    <a:pt x="299101" y="11478"/>
                    <a:pt x="299101" y="11478"/>
                  </a:cubicBezTo>
                  <a:lnTo>
                    <a:pt x="301304" y="5023"/>
                  </a:lnTo>
                  <a:cubicBezTo>
                    <a:pt x="301304" y="5023"/>
                    <a:pt x="304283" y="116"/>
                    <a:pt x="307624" y="0"/>
                  </a:cubicBezTo>
                  <a:cubicBezTo>
                    <a:pt x="304534" y="4522"/>
                    <a:pt x="304934" y="6334"/>
                    <a:pt x="304934" y="6334"/>
                  </a:cubicBezTo>
                  <a:cubicBezTo>
                    <a:pt x="304934" y="6334"/>
                    <a:pt x="306067" y="13305"/>
                    <a:pt x="313708" y="14457"/>
                  </a:cubicBezTo>
                  <a:cubicBezTo>
                    <a:pt x="311755" y="17051"/>
                    <a:pt x="310362" y="20662"/>
                    <a:pt x="310362" y="20662"/>
                  </a:cubicBezTo>
                  <a:cubicBezTo>
                    <a:pt x="310362" y="20662"/>
                    <a:pt x="312676" y="32680"/>
                    <a:pt x="306881" y="38599"/>
                  </a:cubicBezTo>
                  <a:cubicBezTo>
                    <a:pt x="303531" y="41709"/>
                    <a:pt x="300282" y="43743"/>
                    <a:pt x="299000" y="44307"/>
                  </a:cubicBezTo>
                  <a:cubicBezTo>
                    <a:pt x="297683" y="44799"/>
                    <a:pt x="296156" y="44953"/>
                    <a:pt x="293827" y="44307"/>
                  </a:cubicBezTo>
                  <a:cubicBezTo>
                    <a:pt x="291484" y="43622"/>
                    <a:pt x="276135" y="41593"/>
                    <a:pt x="267091" y="49832"/>
                  </a:cubicBezTo>
                  <a:cubicBezTo>
                    <a:pt x="264122" y="52319"/>
                    <a:pt x="261022" y="53452"/>
                    <a:pt x="255955" y="53452"/>
                  </a:cubicBezTo>
                  <a:cubicBezTo>
                    <a:pt x="250956" y="53452"/>
                    <a:pt x="237511" y="56566"/>
                    <a:pt x="231167" y="61734"/>
                  </a:cubicBezTo>
                  <a:cubicBezTo>
                    <a:pt x="229649" y="62650"/>
                    <a:pt x="228969" y="62361"/>
                    <a:pt x="223546" y="62269"/>
                  </a:cubicBezTo>
                  <a:cubicBezTo>
                    <a:pt x="218123" y="62120"/>
                    <a:pt x="204832" y="67003"/>
                    <a:pt x="199153" y="73492"/>
                  </a:cubicBezTo>
                  <a:cubicBezTo>
                    <a:pt x="194761" y="73598"/>
                    <a:pt x="192944" y="74369"/>
                    <a:pt x="192944" y="74369"/>
                  </a:cubicBezTo>
                  <a:lnTo>
                    <a:pt x="186354" y="78794"/>
                  </a:lnTo>
                  <a:lnTo>
                    <a:pt x="180150" y="79431"/>
                  </a:lnTo>
                  <a:cubicBezTo>
                    <a:pt x="180150" y="79431"/>
                    <a:pt x="162472" y="86276"/>
                    <a:pt x="156784" y="83663"/>
                  </a:cubicBezTo>
                  <a:cubicBezTo>
                    <a:pt x="152518" y="86377"/>
                    <a:pt x="150334" y="87452"/>
                    <a:pt x="150334" y="87452"/>
                  </a:cubicBezTo>
                  <a:lnTo>
                    <a:pt x="146202" y="80727"/>
                  </a:lnTo>
                  <a:lnTo>
                    <a:pt x="144655" y="71525"/>
                  </a:lnTo>
                  <a:lnTo>
                    <a:pt x="139998" y="66641"/>
                  </a:lnTo>
                  <a:cubicBezTo>
                    <a:pt x="139998" y="66641"/>
                    <a:pt x="133172" y="66377"/>
                    <a:pt x="129282" y="68044"/>
                  </a:cubicBezTo>
                  <a:cubicBezTo>
                    <a:pt x="125406" y="69760"/>
                    <a:pt x="122335" y="68970"/>
                    <a:pt x="121183" y="68044"/>
                  </a:cubicBezTo>
                  <a:cubicBezTo>
                    <a:pt x="119978" y="67147"/>
                    <a:pt x="115196" y="64048"/>
                    <a:pt x="115196" y="64048"/>
                  </a:cubicBezTo>
                  <a:lnTo>
                    <a:pt x="109011" y="64318"/>
                  </a:lnTo>
                  <a:lnTo>
                    <a:pt x="97152" y="62269"/>
                  </a:lnTo>
                  <a:lnTo>
                    <a:pt x="84478" y="65605"/>
                  </a:lnTo>
                  <a:lnTo>
                    <a:pt x="77999" y="64048"/>
                  </a:lnTo>
                  <a:cubicBezTo>
                    <a:pt x="77999" y="64048"/>
                    <a:pt x="73342" y="64048"/>
                    <a:pt x="68174" y="67003"/>
                  </a:cubicBezTo>
                  <a:cubicBezTo>
                    <a:pt x="65349" y="68579"/>
                    <a:pt x="59950" y="69857"/>
                    <a:pt x="53597" y="65084"/>
                  </a:cubicBezTo>
                  <a:cubicBezTo>
                    <a:pt x="49070" y="66381"/>
                    <a:pt x="46616" y="66747"/>
                    <a:pt x="46616" y="66747"/>
                  </a:cubicBezTo>
                  <a:cubicBezTo>
                    <a:pt x="46616" y="66747"/>
                    <a:pt x="38874" y="64318"/>
                    <a:pt x="29729" y="68198"/>
                  </a:cubicBezTo>
                  <a:cubicBezTo>
                    <a:pt x="20555" y="72041"/>
                    <a:pt x="9159" y="75174"/>
                    <a:pt x="4271" y="68198"/>
                  </a:cubicBezTo>
                  <a:cubicBezTo>
                    <a:pt x="3755" y="66646"/>
                    <a:pt x="3755" y="62120"/>
                    <a:pt x="3755" y="62120"/>
                  </a:cubicBezTo>
                  <a:lnTo>
                    <a:pt x="1157" y="55645"/>
                  </a:lnTo>
                  <a:lnTo>
                    <a:pt x="2087" y="49721"/>
                  </a:lnTo>
                  <a:lnTo>
                    <a:pt x="926" y="43622"/>
                  </a:lnTo>
                  <a:lnTo>
                    <a:pt x="2087" y="37442"/>
                  </a:lnTo>
                  <a:lnTo>
                    <a:pt x="0" y="31653"/>
                  </a:lnTo>
                  <a:lnTo>
                    <a:pt x="1417" y="25063"/>
                  </a:lnTo>
                  <a:lnTo>
                    <a:pt x="4792" y="31392"/>
                  </a:lnTo>
                  <a:lnTo>
                    <a:pt x="11377" y="35350"/>
                  </a:lnTo>
                  <a:lnTo>
                    <a:pt x="16776" y="32819"/>
                  </a:lnTo>
                  <a:lnTo>
                    <a:pt x="18092" y="27112"/>
                  </a:lnTo>
                  <a:cubicBezTo>
                    <a:pt x="18092" y="27112"/>
                    <a:pt x="11902" y="19996"/>
                    <a:pt x="12915" y="13315"/>
                  </a:cubicBezTo>
                  <a:cubicBezTo>
                    <a:pt x="13440" y="10446"/>
                    <a:pt x="15132" y="7602"/>
                    <a:pt x="17176" y="10307"/>
                  </a:cubicBezTo>
                  <a:cubicBezTo>
                    <a:pt x="19288" y="13055"/>
                    <a:pt x="19881" y="14829"/>
                    <a:pt x="19881" y="14829"/>
                  </a:cubicBezTo>
                  <a:cubicBezTo>
                    <a:pt x="19881" y="14829"/>
                    <a:pt x="23395" y="28018"/>
                    <a:pt x="32159" y="27777"/>
                  </a:cubicBezTo>
                  <a:cubicBezTo>
                    <a:pt x="40952" y="27502"/>
                    <a:pt x="57472" y="26881"/>
                    <a:pt x="58142" y="12408"/>
                  </a:cubicBezTo>
                  <a:cubicBezTo>
                    <a:pt x="61893" y="11377"/>
                    <a:pt x="64728" y="11642"/>
                    <a:pt x="64728" y="1164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27" name="Freihandform: Form 526">
              <a:extLst>
                <a:ext uri="{FF2B5EF4-FFF2-40B4-BE49-F238E27FC236}">
                  <a16:creationId xmlns:a16="http://schemas.microsoft.com/office/drawing/2014/main" id="{77489965-9C3E-57A7-F5D8-795B34DBBE74}"/>
                </a:ext>
              </a:extLst>
            </p:cNvPr>
            <p:cNvSpPr/>
            <p:nvPr/>
          </p:nvSpPr>
          <p:spPr>
            <a:xfrm>
              <a:off x="7797644" y="6518384"/>
              <a:ext cx="14286" cy="20639"/>
            </a:xfrm>
            <a:custGeom>
              <a:avLst/>
              <a:gdLst>
                <a:gd name="connsiteX0" fmla="*/ 11358 w 11357"/>
                <a:gd name="connsiteY0" fmla="*/ 0 h 15503"/>
                <a:gd name="connsiteX1" fmla="*/ 9420 w 11357"/>
                <a:gd name="connsiteY1" fmla="*/ 6074 h 15503"/>
                <a:gd name="connsiteX2" fmla="*/ 1668 w 11357"/>
                <a:gd name="connsiteY2" fmla="*/ 15504 h 15503"/>
                <a:gd name="connsiteX3" fmla="*/ 0 w 11357"/>
                <a:gd name="connsiteY3" fmla="*/ 8798 h 15503"/>
              </a:gdLst>
              <a:ahLst/>
              <a:cxnLst>
                <a:cxn ang="0">
                  <a:pos x="connsiteX0" y="connsiteY0"/>
                </a:cxn>
                <a:cxn ang="0">
                  <a:pos x="connsiteX1" y="connsiteY1"/>
                </a:cxn>
                <a:cxn ang="0">
                  <a:pos x="connsiteX2" y="connsiteY2"/>
                </a:cxn>
                <a:cxn ang="0">
                  <a:pos x="connsiteX3" y="connsiteY3"/>
                </a:cxn>
              </a:cxnLst>
              <a:rect l="l" t="t" r="r" b="b"/>
              <a:pathLst>
                <a:path w="11357" h="15503">
                  <a:moveTo>
                    <a:pt x="11358" y="0"/>
                  </a:moveTo>
                  <a:lnTo>
                    <a:pt x="9420" y="6074"/>
                  </a:lnTo>
                  <a:lnTo>
                    <a:pt x="1668" y="15504"/>
                  </a:lnTo>
                  <a:lnTo>
                    <a:pt x="0" y="879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28" name="Freihandform: Form 527">
              <a:extLst>
                <a:ext uri="{FF2B5EF4-FFF2-40B4-BE49-F238E27FC236}">
                  <a16:creationId xmlns:a16="http://schemas.microsoft.com/office/drawing/2014/main" id="{F24F997B-A310-C5D7-7A60-6E4E9CABA4B9}"/>
                </a:ext>
              </a:extLst>
            </p:cNvPr>
            <p:cNvSpPr/>
            <p:nvPr/>
          </p:nvSpPr>
          <p:spPr>
            <a:xfrm>
              <a:off x="7816692" y="6445357"/>
              <a:ext cx="25397" cy="73028"/>
            </a:xfrm>
            <a:custGeom>
              <a:avLst/>
              <a:gdLst>
                <a:gd name="connsiteX0" fmla="*/ 7205 w 19999"/>
                <a:gd name="connsiteY0" fmla="*/ 0 h 57212"/>
                <a:gd name="connsiteX1" fmla="*/ 10030 w 19999"/>
                <a:gd name="connsiteY1" fmla="*/ 9946 h 57212"/>
                <a:gd name="connsiteX2" fmla="*/ 8864 w 19999"/>
                <a:gd name="connsiteY2" fmla="*/ 18064 h 57212"/>
                <a:gd name="connsiteX3" fmla="*/ 8517 w 19999"/>
                <a:gd name="connsiteY3" fmla="*/ 29850 h 57212"/>
                <a:gd name="connsiteX4" fmla="*/ 14581 w 19999"/>
                <a:gd name="connsiteY4" fmla="*/ 32680 h 57212"/>
                <a:gd name="connsiteX5" fmla="*/ 16114 w 19999"/>
                <a:gd name="connsiteY5" fmla="*/ 39275 h 57212"/>
                <a:gd name="connsiteX6" fmla="*/ 20000 w 19999"/>
                <a:gd name="connsiteY6" fmla="*/ 45074 h 57212"/>
                <a:gd name="connsiteX7" fmla="*/ 14417 w 19999"/>
                <a:gd name="connsiteY7" fmla="*/ 49851 h 57212"/>
                <a:gd name="connsiteX8" fmla="*/ 14311 w 19999"/>
                <a:gd name="connsiteY8" fmla="*/ 57212 h 57212"/>
                <a:gd name="connsiteX9" fmla="*/ 7210 w 19999"/>
                <a:gd name="connsiteY9" fmla="*/ 53095 h 57212"/>
                <a:gd name="connsiteX10" fmla="*/ 8357 w 19999"/>
                <a:gd name="connsiteY10" fmla="*/ 47402 h 57212"/>
                <a:gd name="connsiteX11" fmla="*/ 1526 w 19999"/>
                <a:gd name="connsiteY11" fmla="*/ 37332 h 57212"/>
                <a:gd name="connsiteX12" fmla="*/ 1276 w 19999"/>
                <a:gd name="connsiteY12" fmla="*/ 25989 h 57212"/>
                <a:gd name="connsiteX13" fmla="*/ 3214 w 19999"/>
                <a:gd name="connsiteY13" fmla="*/ 4782 h 57212"/>
                <a:gd name="connsiteX14" fmla="*/ 7205 w 19999"/>
                <a:gd name="connsiteY14" fmla="*/ 0 h 5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99" h="57212">
                  <a:moveTo>
                    <a:pt x="7205" y="0"/>
                  </a:moveTo>
                  <a:cubicBezTo>
                    <a:pt x="7205" y="0"/>
                    <a:pt x="8758" y="7356"/>
                    <a:pt x="10030" y="9946"/>
                  </a:cubicBezTo>
                  <a:cubicBezTo>
                    <a:pt x="11337" y="12520"/>
                    <a:pt x="9900" y="14072"/>
                    <a:pt x="8864" y="18064"/>
                  </a:cubicBezTo>
                  <a:cubicBezTo>
                    <a:pt x="7842" y="22099"/>
                    <a:pt x="6169" y="28172"/>
                    <a:pt x="8517" y="29850"/>
                  </a:cubicBezTo>
                  <a:cubicBezTo>
                    <a:pt x="10826" y="31542"/>
                    <a:pt x="14581" y="32680"/>
                    <a:pt x="14581" y="32680"/>
                  </a:cubicBezTo>
                  <a:lnTo>
                    <a:pt x="16114" y="39275"/>
                  </a:lnTo>
                  <a:lnTo>
                    <a:pt x="20000" y="45074"/>
                  </a:lnTo>
                  <a:lnTo>
                    <a:pt x="14417" y="49851"/>
                  </a:lnTo>
                  <a:lnTo>
                    <a:pt x="14311" y="57212"/>
                  </a:lnTo>
                  <a:cubicBezTo>
                    <a:pt x="14311" y="57212"/>
                    <a:pt x="6974" y="53988"/>
                    <a:pt x="7210" y="53095"/>
                  </a:cubicBezTo>
                  <a:cubicBezTo>
                    <a:pt x="7485" y="52185"/>
                    <a:pt x="8763" y="49090"/>
                    <a:pt x="8357" y="47402"/>
                  </a:cubicBezTo>
                  <a:cubicBezTo>
                    <a:pt x="7986" y="45725"/>
                    <a:pt x="5513" y="40952"/>
                    <a:pt x="1526" y="37332"/>
                  </a:cubicBezTo>
                  <a:cubicBezTo>
                    <a:pt x="-541" y="35519"/>
                    <a:pt x="-392" y="28930"/>
                    <a:pt x="1276" y="25989"/>
                  </a:cubicBezTo>
                  <a:cubicBezTo>
                    <a:pt x="2953" y="23000"/>
                    <a:pt x="6699" y="13956"/>
                    <a:pt x="3214" y="4782"/>
                  </a:cubicBezTo>
                  <a:cubicBezTo>
                    <a:pt x="4858" y="1847"/>
                    <a:pt x="7205" y="0"/>
                    <a:pt x="7205"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29" name="Freihandform: Form 528">
              <a:extLst>
                <a:ext uri="{FF2B5EF4-FFF2-40B4-BE49-F238E27FC236}">
                  <a16:creationId xmlns:a16="http://schemas.microsoft.com/office/drawing/2014/main" id="{D43DBCCE-256B-D645-6E75-3B0183673424}"/>
                </a:ext>
              </a:extLst>
            </p:cNvPr>
            <p:cNvSpPr/>
            <p:nvPr/>
          </p:nvSpPr>
          <p:spPr>
            <a:xfrm>
              <a:off x="7880185" y="6302476"/>
              <a:ext cx="60318" cy="111129"/>
            </a:xfrm>
            <a:custGeom>
              <a:avLst/>
              <a:gdLst>
                <a:gd name="connsiteX0" fmla="*/ 43276 w 47463"/>
                <a:gd name="connsiteY0" fmla="*/ 55535 h 86927"/>
                <a:gd name="connsiteX1" fmla="*/ 37341 w 47463"/>
                <a:gd name="connsiteY1" fmla="*/ 55535 h 86927"/>
                <a:gd name="connsiteX2" fmla="*/ 27121 w 47463"/>
                <a:gd name="connsiteY2" fmla="*/ 69611 h 86927"/>
                <a:gd name="connsiteX3" fmla="*/ 16405 w 47463"/>
                <a:gd name="connsiteY3" fmla="*/ 86787 h 86927"/>
                <a:gd name="connsiteX4" fmla="*/ 9425 w 47463"/>
                <a:gd name="connsiteY4" fmla="*/ 84454 h 86927"/>
                <a:gd name="connsiteX5" fmla="*/ 8244 w 47463"/>
                <a:gd name="connsiteY5" fmla="*/ 72701 h 86927"/>
                <a:gd name="connsiteX6" fmla="*/ 0 w 47463"/>
                <a:gd name="connsiteY6" fmla="*/ 55130 h 86927"/>
                <a:gd name="connsiteX7" fmla="*/ 3770 w 47463"/>
                <a:gd name="connsiteY7" fmla="*/ 44158 h 86927"/>
                <a:gd name="connsiteX8" fmla="*/ 5549 w 47463"/>
                <a:gd name="connsiteY8" fmla="*/ 36667 h 86927"/>
                <a:gd name="connsiteX9" fmla="*/ 10991 w 47463"/>
                <a:gd name="connsiteY9" fmla="*/ 31113 h 86927"/>
                <a:gd name="connsiteX10" fmla="*/ 14346 w 47463"/>
                <a:gd name="connsiteY10" fmla="*/ 24258 h 86927"/>
                <a:gd name="connsiteX11" fmla="*/ 20030 w 47463"/>
                <a:gd name="connsiteY11" fmla="*/ 19871 h 86927"/>
                <a:gd name="connsiteX12" fmla="*/ 32810 w 47463"/>
                <a:gd name="connsiteY12" fmla="*/ 7872 h 86927"/>
                <a:gd name="connsiteX13" fmla="*/ 38373 w 47463"/>
                <a:gd name="connsiteY13" fmla="*/ 6344 h 86927"/>
                <a:gd name="connsiteX14" fmla="*/ 43512 w 47463"/>
                <a:gd name="connsiteY14" fmla="*/ 0 h 86927"/>
                <a:gd name="connsiteX15" fmla="*/ 45059 w 47463"/>
                <a:gd name="connsiteY15" fmla="*/ 23617 h 86927"/>
                <a:gd name="connsiteX16" fmla="*/ 44823 w 47463"/>
                <a:gd name="connsiteY16" fmla="*/ 37486 h 86927"/>
                <a:gd name="connsiteX17" fmla="*/ 43276 w 47463"/>
                <a:gd name="connsiteY17" fmla="*/ 55535 h 8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463" h="86927">
                  <a:moveTo>
                    <a:pt x="43276" y="55535"/>
                  </a:moveTo>
                  <a:lnTo>
                    <a:pt x="37341" y="55535"/>
                  </a:lnTo>
                  <a:cubicBezTo>
                    <a:pt x="37341" y="55535"/>
                    <a:pt x="29561" y="60288"/>
                    <a:pt x="27121" y="69611"/>
                  </a:cubicBezTo>
                  <a:cubicBezTo>
                    <a:pt x="24643" y="78891"/>
                    <a:pt x="19885" y="86247"/>
                    <a:pt x="16405" y="86787"/>
                  </a:cubicBezTo>
                  <a:cubicBezTo>
                    <a:pt x="12949" y="87298"/>
                    <a:pt x="10471" y="86392"/>
                    <a:pt x="9425" y="84454"/>
                  </a:cubicBezTo>
                  <a:cubicBezTo>
                    <a:pt x="8393" y="82506"/>
                    <a:pt x="7111" y="79176"/>
                    <a:pt x="8244" y="72701"/>
                  </a:cubicBezTo>
                  <a:cubicBezTo>
                    <a:pt x="9425" y="66265"/>
                    <a:pt x="7781" y="60061"/>
                    <a:pt x="0" y="55130"/>
                  </a:cubicBezTo>
                  <a:cubicBezTo>
                    <a:pt x="776" y="50237"/>
                    <a:pt x="2464" y="45706"/>
                    <a:pt x="3770" y="44158"/>
                  </a:cubicBezTo>
                  <a:cubicBezTo>
                    <a:pt x="5033" y="42591"/>
                    <a:pt x="5549" y="39385"/>
                    <a:pt x="5549" y="36667"/>
                  </a:cubicBezTo>
                  <a:cubicBezTo>
                    <a:pt x="8682" y="34083"/>
                    <a:pt x="10991" y="31113"/>
                    <a:pt x="10991" y="31113"/>
                  </a:cubicBezTo>
                  <a:lnTo>
                    <a:pt x="14346" y="24258"/>
                  </a:lnTo>
                  <a:lnTo>
                    <a:pt x="20030" y="19871"/>
                  </a:lnTo>
                  <a:lnTo>
                    <a:pt x="32810" y="7872"/>
                  </a:lnTo>
                  <a:lnTo>
                    <a:pt x="38373" y="6344"/>
                  </a:lnTo>
                  <a:lnTo>
                    <a:pt x="43512" y="0"/>
                  </a:lnTo>
                  <a:cubicBezTo>
                    <a:pt x="43512" y="0"/>
                    <a:pt x="51259" y="11917"/>
                    <a:pt x="45059" y="23617"/>
                  </a:cubicBezTo>
                  <a:cubicBezTo>
                    <a:pt x="45339" y="32926"/>
                    <a:pt x="44823" y="37486"/>
                    <a:pt x="44823" y="37486"/>
                  </a:cubicBezTo>
                  <a:cubicBezTo>
                    <a:pt x="44823" y="37486"/>
                    <a:pt x="33441" y="46231"/>
                    <a:pt x="43276" y="5553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30" name="Freihandform: Form 529">
              <a:extLst>
                <a:ext uri="{FF2B5EF4-FFF2-40B4-BE49-F238E27FC236}">
                  <a16:creationId xmlns:a16="http://schemas.microsoft.com/office/drawing/2014/main" id="{3FF0E2A6-44BF-015C-8ED1-9D29679664BC}"/>
                </a:ext>
              </a:extLst>
            </p:cNvPr>
            <p:cNvSpPr/>
            <p:nvPr/>
          </p:nvSpPr>
          <p:spPr>
            <a:xfrm>
              <a:off x="7810343" y="6327877"/>
              <a:ext cx="22222" cy="17464"/>
            </a:xfrm>
            <a:custGeom>
              <a:avLst/>
              <a:gdLst>
                <a:gd name="connsiteX0" fmla="*/ 10818 w 17132"/>
                <a:gd name="connsiteY0" fmla="*/ 5419 h 13025"/>
                <a:gd name="connsiteX1" fmla="*/ 17133 w 17132"/>
                <a:gd name="connsiteY1" fmla="*/ 6204 h 13025"/>
                <a:gd name="connsiteX2" fmla="*/ 13252 w 17132"/>
                <a:gd name="connsiteY2" fmla="*/ 13026 h 13025"/>
                <a:gd name="connsiteX3" fmla="*/ 7067 w 17132"/>
                <a:gd name="connsiteY3" fmla="*/ 6976 h 13025"/>
                <a:gd name="connsiteX4" fmla="*/ 1769 w 17132"/>
                <a:gd name="connsiteY4" fmla="*/ 8913 h 13025"/>
                <a:gd name="connsiteX5" fmla="*/ 0 w 17132"/>
                <a:gd name="connsiteY5" fmla="*/ 2150 h 13025"/>
                <a:gd name="connsiteX6" fmla="*/ 5770 w 17132"/>
                <a:gd name="connsiteY6" fmla="*/ 0 h 1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32" h="13025">
                  <a:moveTo>
                    <a:pt x="10818" y="5419"/>
                  </a:moveTo>
                  <a:lnTo>
                    <a:pt x="17133" y="6204"/>
                  </a:lnTo>
                  <a:lnTo>
                    <a:pt x="13252" y="13026"/>
                  </a:lnTo>
                  <a:lnTo>
                    <a:pt x="7067" y="6976"/>
                  </a:lnTo>
                  <a:lnTo>
                    <a:pt x="1769" y="8913"/>
                  </a:lnTo>
                  <a:lnTo>
                    <a:pt x="0" y="2150"/>
                  </a:lnTo>
                  <a:lnTo>
                    <a:pt x="577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31" name="Freihandform: Form 530">
              <a:extLst>
                <a:ext uri="{FF2B5EF4-FFF2-40B4-BE49-F238E27FC236}">
                  <a16:creationId xmlns:a16="http://schemas.microsoft.com/office/drawing/2014/main" id="{A766E2C4-67B3-C712-1D7C-B7BDD2C382F1}"/>
                </a:ext>
              </a:extLst>
            </p:cNvPr>
            <p:cNvSpPr/>
            <p:nvPr/>
          </p:nvSpPr>
          <p:spPr>
            <a:xfrm>
              <a:off x="7872249" y="6283426"/>
              <a:ext cx="12699" cy="20639"/>
            </a:xfrm>
            <a:custGeom>
              <a:avLst/>
              <a:gdLst>
                <a:gd name="connsiteX0" fmla="*/ 2854 w 9908"/>
                <a:gd name="connsiteY0" fmla="*/ 0 h 15075"/>
                <a:gd name="connsiteX1" fmla="*/ 7872 w 9908"/>
                <a:gd name="connsiteY1" fmla="*/ 14944 h 15075"/>
                <a:gd name="connsiteX2" fmla="*/ 1789 w 9908"/>
                <a:gd name="connsiteY2" fmla="*/ 11734 h 15075"/>
                <a:gd name="connsiteX3" fmla="*/ 0 w 9908"/>
                <a:gd name="connsiteY3" fmla="*/ 5799 h 15075"/>
                <a:gd name="connsiteX4" fmla="*/ 2854 w 9908"/>
                <a:gd name="connsiteY4" fmla="*/ 0 h 15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8" h="15075">
                  <a:moveTo>
                    <a:pt x="2854" y="0"/>
                  </a:moveTo>
                  <a:cubicBezTo>
                    <a:pt x="2854" y="0"/>
                    <a:pt x="14491" y="3466"/>
                    <a:pt x="7872" y="14944"/>
                  </a:cubicBezTo>
                  <a:cubicBezTo>
                    <a:pt x="6966" y="15856"/>
                    <a:pt x="1789" y="11734"/>
                    <a:pt x="1789" y="11734"/>
                  </a:cubicBezTo>
                  <a:lnTo>
                    <a:pt x="0" y="5799"/>
                  </a:lnTo>
                  <a:lnTo>
                    <a:pt x="2854"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32" name="Freihandform: Form 531">
              <a:extLst>
                <a:ext uri="{FF2B5EF4-FFF2-40B4-BE49-F238E27FC236}">
                  <a16:creationId xmlns:a16="http://schemas.microsoft.com/office/drawing/2014/main" id="{936113D6-093F-D4F8-CB72-F284EC95252E}"/>
                </a:ext>
              </a:extLst>
            </p:cNvPr>
            <p:cNvSpPr/>
            <p:nvPr/>
          </p:nvSpPr>
          <p:spPr>
            <a:xfrm>
              <a:off x="7746850" y="6258025"/>
              <a:ext cx="49207" cy="49215"/>
            </a:xfrm>
            <a:custGeom>
              <a:avLst/>
              <a:gdLst>
                <a:gd name="connsiteX0" fmla="*/ 38498 w 38498"/>
                <a:gd name="connsiteY0" fmla="*/ 7766 h 39148"/>
                <a:gd name="connsiteX1" fmla="*/ 37592 w 38498"/>
                <a:gd name="connsiteY1" fmla="*/ 2213 h 39148"/>
                <a:gd name="connsiteX2" fmla="*/ 31643 w 38498"/>
                <a:gd name="connsiteY2" fmla="*/ 0 h 39148"/>
                <a:gd name="connsiteX3" fmla="*/ 20392 w 38498"/>
                <a:gd name="connsiteY3" fmla="*/ 6889 h 39148"/>
                <a:gd name="connsiteX4" fmla="*/ 6691 w 38498"/>
                <a:gd name="connsiteY4" fmla="*/ 25102 h 39148"/>
                <a:gd name="connsiteX5" fmla="*/ 0 w 38498"/>
                <a:gd name="connsiteY5" fmla="*/ 29208 h 39148"/>
                <a:gd name="connsiteX6" fmla="*/ 1538 w 38498"/>
                <a:gd name="connsiteY6" fmla="*/ 35302 h 39148"/>
                <a:gd name="connsiteX7" fmla="*/ 7631 w 38498"/>
                <a:gd name="connsiteY7" fmla="*/ 39149 h 39148"/>
                <a:gd name="connsiteX8" fmla="*/ 11358 w 38498"/>
                <a:gd name="connsiteY8" fmla="*/ 25472 h 39148"/>
                <a:gd name="connsiteX9" fmla="*/ 23005 w 38498"/>
                <a:gd name="connsiteY9" fmla="*/ 21091 h 39148"/>
                <a:gd name="connsiteX10" fmla="*/ 38498 w 38498"/>
                <a:gd name="connsiteY10" fmla="*/ 7766 h 39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498" h="39148">
                  <a:moveTo>
                    <a:pt x="38498" y="7766"/>
                  </a:moveTo>
                  <a:lnTo>
                    <a:pt x="37592" y="2213"/>
                  </a:lnTo>
                  <a:lnTo>
                    <a:pt x="31643" y="0"/>
                  </a:lnTo>
                  <a:cubicBezTo>
                    <a:pt x="31643" y="0"/>
                    <a:pt x="23501" y="6209"/>
                    <a:pt x="20392" y="6889"/>
                  </a:cubicBezTo>
                  <a:cubicBezTo>
                    <a:pt x="19399" y="7125"/>
                    <a:pt x="10852" y="15653"/>
                    <a:pt x="6691" y="25102"/>
                  </a:cubicBezTo>
                  <a:cubicBezTo>
                    <a:pt x="5414" y="26485"/>
                    <a:pt x="0" y="29208"/>
                    <a:pt x="0" y="29208"/>
                  </a:cubicBezTo>
                  <a:lnTo>
                    <a:pt x="1538" y="35302"/>
                  </a:lnTo>
                  <a:lnTo>
                    <a:pt x="7631" y="39149"/>
                  </a:lnTo>
                  <a:cubicBezTo>
                    <a:pt x="7631" y="39149"/>
                    <a:pt x="8007" y="26099"/>
                    <a:pt x="11358" y="25472"/>
                  </a:cubicBezTo>
                  <a:cubicBezTo>
                    <a:pt x="14698" y="24812"/>
                    <a:pt x="22349" y="22879"/>
                    <a:pt x="23005" y="21091"/>
                  </a:cubicBezTo>
                  <a:cubicBezTo>
                    <a:pt x="23617" y="19263"/>
                    <a:pt x="30110" y="10205"/>
                    <a:pt x="38498" y="776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33" name="Freihandform: Form 532">
              <a:extLst>
                <a:ext uri="{FF2B5EF4-FFF2-40B4-BE49-F238E27FC236}">
                  <a16:creationId xmlns:a16="http://schemas.microsoft.com/office/drawing/2014/main" id="{9ADB21B9-D201-E867-1C0C-A5537CE62319}"/>
                </a:ext>
              </a:extLst>
            </p:cNvPr>
            <p:cNvSpPr/>
            <p:nvPr/>
          </p:nvSpPr>
          <p:spPr>
            <a:xfrm>
              <a:off x="7730977" y="6242149"/>
              <a:ext cx="22222" cy="22226"/>
            </a:xfrm>
            <a:custGeom>
              <a:avLst/>
              <a:gdLst>
                <a:gd name="connsiteX0" fmla="*/ 0 w 18082"/>
                <a:gd name="connsiteY0" fmla="*/ 1576 h 18593"/>
                <a:gd name="connsiteX1" fmla="*/ 6431 w 18082"/>
                <a:gd name="connsiteY1" fmla="*/ 0 h 18593"/>
                <a:gd name="connsiteX2" fmla="*/ 18083 w 18082"/>
                <a:gd name="connsiteY2" fmla="*/ 11613 h 18593"/>
                <a:gd name="connsiteX3" fmla="*/ 12799 w 18082"/>
                <a:gd name="connsiteY3" fmla="*/ 18594 h 18593"/>
                <a:gd name="connsiteX4" fmla="*/ 6431 w 18082"/>
                <a:gd name="connsiteY4" fmla="*/ 16029 h 18593"/>
                <a:gd name="connsiteX5" fmla="*/ 6195 w 18082"/>
                <a:gd name="connsiteY5" fmla="*/ 5529 h 18593"/>
                <a:gd name="connsiteX6" fmla="*/ 0 w 18082"/>
                <a:gd name="connsiteY6" fmla="*/ 1576 h 18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82" h="18593">
                  <a:moveTo>
                    <a:pt x="0" y="1576"/>
                  </a:moveTo>
                  <a:lnTo>
                    <a:pt x="6431" y="0"/>
                  </a:lnTo>
                  <a:lnTo>
                    <a:pt x="18083" y="11613"/>
                  </a:lnTo>
                  <a:lnTo>
                    <a:pt x="12799" y="18594"/>
                  </a:lnTo>
                  <a:cubicBezTo>
                    <a:pt x="12799" y="18594"/>
                    <a:pt x="6730" y="17813"/>
                    <a:pt x="6431" y="16029"/>
                  </a:cubicBezTo>
                  <a:cubicBezTo>
                    <a:pt x="6195" y="14207"/>
                    <a:pt x="5298" y="9955"/>
                    <a:pt x="6195" y="5529"/>
                  </a:cubicBezTo>
                  <a:cubicBezTo>
                    <a:pt x="3476" y="3712"/>
                    <a:pt x="0" y="1576"/>
                    <a:pt x="0" y="157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34" name="Freihandform: Form 533">
              <a:extLst>
                <a:ext uri="{FF2B5EF4-FFF2-40B4-BE49-F238E27FC236}">
                  <a16:creationId xmlns:a16="http://schemas.microsoft.com/office/drawing/2014/main" id="{B4BCC630-1D18-DB09-FD77-7BA579499BAA}"/>
                </a:ext>
              </a:extLst>
            </p:cNvPr>
            <p:cNvSpPr/>
            <p:nvPr/>
          </p:nvSpPr>
          <p:spPr>
            <a:xfrm>
              <a:off x="7662722" y="6334227"/>
              <a:ext cx="28572" cy="20639"/>
            </a:xfrm>
            <a:custGeom>
              <a:avLst/>
              <a:gdLst>
                <a:gd name="connsiteX0" fmla="*/ 11131 w 22580"/>
                <a:gd name="connsiteY0" fmla="*/ 145 h 16275"/>
                <a:gd name="connsiteX1" fmla="*/ 16800 w 22580"/>
                <a:gd name="connsiteY1" fmla="*/ 0 h 16275"/>
                <a:gd name="connsiteX2" fmla="*/ 22580 w 22580"/>
                <a:gd name="connsiteY2" fmla="*/ 4667 h 16275"/>
                <a:gd name="connsiteX3" fmla="*/ 16149 w 22580"/>
                <a:gd name="connsiteY3" fmla="*/ 8017 h 16275"/>
                <a:gd name="connsiteX4" fmla="*/ 4797 w 22580"/>
                <a:gd name="connsiteY4" fmla="*/ 16275 h 16275"/>
                <a:gd name="connsiteX5" fmla="*/ 0 w 22580"/>
                <a:gd name="connsiteY5" fmla="*/ 8803 h 16275"/>
                <a:gd name="connsiteX6" fmla="*/ 6590 w 22580"/>
                <a:gd name="connsiteY6" fmla="*/ 8422 h 16275"/>
                <a:gd name="connsiteX7" fmla="*/ 12013 w 22580"/>
                <a:gd name="connsiteY7" fmla="*/ 5192 h 16275"/>
                <a:gd name="connsiteX8" fmla="*/ 11131 w 22580"/>
                <a:gd name="connsiteY8" fmla="*/ 145 h 1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580" h="16275">
                  <a:moveTo>
                    <a:pt x="11131" y="145"/>
                  </a:moveTo>
                  <a:lnTo>
                    <a:pt x="16800" y="0"/>
                  </a:lnTo>
                  <a:lnTo>
                    <a:pt x="22580" y="4667"/>
                  </a:lnTo>
                  <a:lnTo>
                    <a:pt x="16149" y="8017"/>
                  </a:lnTo>
                  <a:cubicBezTo>
                    <a:pt x="16149" y="8017"/>
                    <a:pt x="6590" y="15234"/>
                    <a:pt x="4797" y="16275"/>
                  </a:cubicBezTo>
                  <a:cubicBezTo>
                    <a:pt x="1914" y="12544"/>
                    <a:pt x="0" y="8803"/>
                    <a:pt x="0" y="8803"/>
                  </a:cubicBezTo>
                  <a:lnTo>
                    <a:pt x="6590" y="8422"/>
                  </a:lnTo>
                  <a:lnTo>
                    <a:pt x="12013" y="5192"/>
                  </a:lnTo>
                  <a:lnTo>
                    <a:pt x="11131" y="14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35" name="Freihandform: Form 534">
              <a:extLst>
                <a:ext uri="{FF2B5EF4-FFF2-40B4-BE49-F238E27FC236}">
                  <a16:creationId xmlns:a16="http://schemas.microsoft.com/office/drawing/2014/main" id="{80C58EFF-D4D4-FD33-5FCC-59FD6126CB28}"/>
                </a:ext>
              </a:extLst>
            </p:cNvPr>
            <p:cNvSpPr/>
            <p:nvPr/>
          </p:nvSpPr>
          <p:spPr>
            <a:xfrm>
              <a:off x="7599230" y="6392968"/>
              <a:ext cx="14285" cy="7937"/>
            </a:xfrm>
            <a:custGeom>
              <a:avLst/>
              <a:gdLst>
                <a:gd name="connsiteX0" fmla="*/ 5713 w 11270"/>
                <a:gd name="connsiteY0" fmla="*/ 0 h 6454"/>
                <a:gd name="connsiteX1" fmla="*/ 11271 w 11270"/>
                <a:gd name="connsiteY1" fmla="*/ 2955 h 6454"/>
                <a:gd name="connsiteX2" fmla="*/ 5303 w 11270"/>
                <a:gd name="connsiteY2" fmla="*/ 6455 h 6454"/>
                <a:gd name="connsiteX3" fmla="*/ 0 w 11270"/>
                <a:gd name="connsiteY3" fmla="*/ 4257 h 6454"/>
              </a:gdLst>
              <a:ahLst/>
              <a:cxnLst>
                <a:cxn ang="0">
                  <a:pos x="connsiteX0" y="connsiteY0"/>
                </a:cxn>
                <a:cxn ang="0">
                  <a:pos x="connsiteX1" y="connsiteY1"/>
                </a:cxn>
                <a:cxn ang="0">
                  <a:pos x="connsiteX2" y="connsiteY2"/>
                </a:cxn>
                <a:cxn ang="0">
                  <a:pos x="connsiteX3" y="connsiteY3"/>
                </a:cxn>
              </a:cxnLst>
              <a:rect l="l" t="t" r="r" b="b"/>
              <a:pathLst>
                <a:path w="11270" h="6454">
                  <a:moveTo>
                    <a:pt x="5713" y="0"/>
                  </a:moveTo>
                  <a:lnTo>
                    <a:pt x="11271" y="2955"/>
                  </a:lnTo>
                  <a:lnTo>
                    <a:pt x="5303" y="6455"/>
                  </a:lnTo>
                  <a:lnTo>
                    <a:pt x="0" y="425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36" name="Freihandform: Form 535">
              <a:extLst>
                <a:ext uri="{FF2B5EF4-FFF2-40B4-BE49-F238E27FC236}">
                  <a16:creationId xmlns:a16="http://schemas.microsoft.com/office/drawing/2014/main" id="{65658065-EC19-7AE8-BA80-B32FED0F40AF}"/>
                </a:ext>
              </a:extLst>
            </p:cNvPr>
            <p:cNvSpPr/>
            <p:nvPr/>
          </p:nvSpPr>
          <p:spPr>
            <a:xfrm>
              <a:off x="7545261" y="6392968"/>
              <a:ext cx="19048" cy="20638"/>
            </a:xfrm>
            <a:custGeom>
              <a:avLst/>
              <a:gdLst>
                <a:gd name="connsiteX0" fmla="*/ 13030 w 14842"/>
                <a:gd name="connsiteY0" fmla="*/ 17311 h 17310"/>
                <a:gd name="connsiteX1" fmla="*/ 14843 w 14842"/>
                <a:gd name="connsiteY1" fmla="*/ 10576 h 17310"/>
                <a:gd name="connsiteX2" fmla="*/ 11753 w 14842"/>
                <a:gd name="connsiteY2" fmla="*/ 3886 h 17310"/>
                <a:gd name="connsiteX3" fmla="*/ 5452 w 14842"/>
                <a:gd name="connsiteY3" fmla="*/ 0 h 17310"/>
                <a:gd name="connsiteX4" fmla="*/ 0 w 14842"/>
                <a:gd name="connsiteY4" fmla="*/ 786 h 17310"/>
                <a:gd name="connsiteX5" fmla="*/ 4787 w 14842"/>
                <a:gd name="connsiteY5" fmla="*/ 4647 h 17310"/>
                <a:gd name="connsiteX6" fmla="*/ 8513 w 14842"/>
                <a:gd name="connsiteY6" fmla="*/ 11497 h 17310"/>
                <a:gd name="connsiteX7" fmla="*/ 6455 w 14842"/>
                <a:gd name="connsiteY7" fmla="*/ 16901 h 1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42" h="17310">
                  <a:moveTo>
                    <a:pt x="13030" y="17311"/>
                  </a:moveTo>
                  <a:lnTo>
                    <a:pt x="14843" y="10576"/>
                  </a:lnTo>
                  <a:lnTo>
                    <a:pt x="11753" y="3886"/>
                  </a:lnTo>
                  <a:lnTo>
                    <a:pt x="5452" y="0"/>
                  </a:lnTo>
                  <a:lnTo>
                    <a:pt x="0" y="786"/>
                  </a:lnTo>
                  <a:lnTo>
                    <a:pt x="4787" y="4647"/>
                  </a:lnTo>
                  <a:lnTo>
                    <a:pt x="8513" y="11497"/>
                  </a:lnTo>
                  <a:lnTo>
                    <a:pt x="6455" y="1690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37" name="Freihandform: Form 536">
              <a:extLst>
                <a:ext uri="{FF2B5EF4-FFF2-40B4-BE49-F238E27FC236}">
                  <a16:creationId xmlns:a16="http://schemas.microsoft.com/office/drawing/2014/main" id="{F875856B-9526-87BD-6D13-03A248915C57}"/>
                </a:ext>
              </a:extLst>
            </p:cNvPr>
            <p:cNvSpPr/>
            <p:nvPr/>
          </p:nvSpPr>
          <p:spPr>
            <a:xfrm>
              <a:off x="7519864" y="6342166"/>
              <a:ext cx="19048" cy="20638"/>
            </a:xfrm>
            <a:custGeom>
              <a:avLst/>
              <a:gdLst>
                <a:gd name="connsiteX0" fmla="*/ 5684 w 15363"/>
                <a:gd name="connsiteY0" fmla="*/ 0 h 16944"/>
                <a:gd name="connsiteX1" fmla="*/ 12298 w 15363"/>
                <a:gd name="connsiteY1" fmla="*/ 4416 h 16944"/>
                <a:gd name="connsiteX2" fmla="*/ 15364 w 15363"/>
                <a:gd name="connsiteY2" fmla="*/ 10726 h 16944"/>
                <a:gd name="connsiteX3" fmla="*/ 13691 w 15363"/>
                <a:gd name="connsiteY3" fmla="*/ 16945 h 16944"/>
                <a:gd name="connsiteX4" fmla="*/ 1027 w 15363"/>
                <a:gd name="connsiteY4" fmla="*/ 8769 h 16944"/>
                <a:gd name="connsiteX5" fmla="*/ 0 w 15363"/>
                <a:gd name="connsiteY5" fmla="*/ 2729 h 16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63" h="16944">
                  <a:moveTo>
                    <a:pt x="5684" y="0"/>
                  </a:moveTo>
                  <a:lnTo>
                    <a:pt x="12298" y="4416"/>
                  </a:lnTo>
                  <a:lnTo>
                    <a:pt x="15364" y="10726"/>
                  </a:lnTo>
                  <a:lnTo>
                    <a:pt x="13691" y="16945"/>
                  </a:lnTo>
                  <a:lnTo>
                    <a:pt x="1027" y="8769"/>
                  </a:lnTo>
                  <a:lnTo>
                    <a:pt x="0" y="272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38" name="Freihandform: Form 537">
              <a:extLst>
                <a:ext uri="{FF2B5EF4-FFF2-40B4-BE49-F238E27FC236}">
                  <a16:creationId xmlns:a16="http://schemas.microsoft.com/office/drawing/2014/main" id="{95CD3D91-84EC-0856-21CE-80F58B2B4CC2}"/>
                </a:ext>
              </a:extLst>
            </p:cNvPr>
            <p:cNvSpPr/>
            <p:nvPr/>
          </p:nvSpPr>
          <p:spPr>
            <a:xfrm>
              <a:off x="7499228" y="6358041"/>
              <a:ext cx="6349" cy="15876"/>
            </a:xfrm>
            <a:custGeom>
              <a:avLst/>
              <a:gdLst>
                <a:gd name="connsiteX0" fmla="*/ 4869 w 5905"/>
                <a:gd name="connsiteY0" fmla="*/ 0 h 12057"/>
                <a:gd name="connsiteX1" fmla="*/ 4936 w 5905"/>
                <a:gd name="connsiteY1" fmla="*/ 376 h 12057"/>
                <a:gd name="connsiteX2" fmla="*/ 5905 w 5905"/>
                <a:gd name="connsiteY2" fmla="*/ 5573 h 12057"/>
                <a:gd name="connsiteX3" fmla="*/ 0 w 5905"/>
                <a:gd name="connsiteY3" fmla="*/ 12057 h 12057"/>
                <a:gd name="connsiteX4" fmla="*/ 371 w 5905"/>
                <a:gd name="connsiteY4" fmla="*/ 5313 h 12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5" h="12057">
                  <a:moveTo>
                    <a:pt x="4869" y="0"/>
                  </a:moveTo>
                  <a:lnTo>
                    <a:pt x="4936" y="376"/>
                  </a:lnTo>
                  <a:lnTo>
                    <a:pt x="5905" y="5573"/>
                  </a:lnTo>
                  <a:lnTo>
                    <a:pt x="0" y="12057"/>
                  </a:lnTo>
                  <a:lnTo>
                    <a:pt x="371" y="531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39" name="Freihandform: Form 538">
              <a:extLst>
                <a:ext uri="{FF2B5EF4-FFF2-40B4-BE49-F238E27FC236}">
                  <a16:creationId xmlns:a16="http://schemas.microsoft.com/office/drawing/2014/main" id="{FD6EE2D8-B99D-6FFD-E6DE-EF1C6CC1E544}"/>
                </a:ext>
              </a:extLst>
            </p:cNvPr>
            <p:cNvSpPr/>
            <p:nvPr/>
          </p:nvSpPr>
          <p:spPr>
            <a:xfrm>
              <a:off x="7467481" y="6377092"/>
              <a:ext cx="15873" cy="9525"/>
            </a:xfrm>
            <a:custGeom>
              <a:avLst/>
              <a:gdLst>
                <a:gd name="connsiteX0" fmla="*/ 0 w 11608"/>
                <a:gd name="connsiteY0" fmla="*/ 1566 h 7380"/>
                <a:gd name="connsiteX1" fmla="*/ 5510 w 11608"/>
                <a:gd name="connsiteY1" fmla="*/ 0 h 7380"/>
                <a:gd name="connsiteX2" fmla="*/ 11348 w 11608"/>
                <a:gd name="connsiteY2" fmla="*/ 2319 h 7380"/>
                <a:gd name="connsiteX3" fmla="*/ 11608 w 11608"/>
                <a:gd name="connsiteY3" fmla="*/ 7381 h 7380"/>
              </a:gdLst>
              <a:ahLst/>
              <a:cxnLst>
                <a:cxn ang="0">
                  <a:pos x="connsiteX0" y="connsiteY0"/>
                </a:cxn>
                <a:cxn ang="0">
                  <a:pos x="connsiteX1" y="connsiteY1"/>
                </a:cxn>
                <a:cxn ang="0">
                  <a:pos x="connsiteX2" y="connsiteY2"/>
                </a:cxn>
                <a:cxn ang="0">
                  <a:pos x="connsiteX3" y="connsiteY3"/>
                </a:cxn>
              </a:cxnLst>
              <a:rect l="l" t="t" r="r" b="b"/>
              <a:pathLst>
                <a:path w="11608" h="7380">
                  <a:moveTo>
                    <a:pt x="0" y="1566"/>
                  </a:moveTo>
                  <a:lnTo>
                    <a:pt x="5510" y="0"/>
                  </a:lnTo>
                  <a:lnTo>
                    <a:pt x="11348" y="2319"/>
                  </a:lnTo>
                  <a:lnTo>
                    <a:pt x="11608" y="738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40" name="Freihandform: Form 539">
              <a:extLst>
                <a:ext uri="{FF2B5EF4-FFF2-40B4-BE49-F238E27FC236}">
                  <a16:creationId xmlns:a16="http://schemas.microsoft.com/office/drawing/2014/main" id="{D0F64146-FFB0-58D5-5C97-82B4C5DB1F27}"/>
                </a:ext>
              </a:extLst>
            </p:cNvPr>
            <p:cNvSpPr/>
            <p:nvPr/>
          </p:nvSpPr>
          <p:spPr>
            <a:xfrm>
              <a:off x="7427799" y="6361216"/>
              <a:ext cx="9524" cy="6350"/>
            </a:xfrm>
            <a:custGeom>
              <a:avLst/>
              <a:gdLst>
                <a:gd name="connsiteX0" fmla="*/ 0 w 7076"/>
                <a:gd name="connsiteY0" fmla="*/ 438 h 4950"/>
                <a:gd name="connsiteX1" fmla="*/ 6701 w 7076"/>
                <a:gd name="connsiteY1" fmla="*/ 0 h 4950"/>
                <a:gd name="connsiteX2" fmla="*/ 7077 w 7076"/>
                <a:gd name="connsiteY2" fmla="*/ 4951 h 4950"/>
              </a:gdLst>
              <a:ahLst/>
              <a:cxnLst>
                <a:cxn ang="0">
                  <a:pos x="connsiteX0" y="connsiteY0"/>
                </a:cxn>
                <a:cxn ang="0">
                  <a:pos x="connsiteX1" y="connsiteY1"/>
                </a:cxn>
                <a:cxn ang="0">
                  <a:pos x="connsiteX2" y="connsiteY2"/>
                </a:cxn>
              </a:cxnLst>
              <a:rect l="l" t="t" r="r" b="b"/>
              <a:pathLst>
                <a:path w="7076" h="4950">
                  <a:moveTo>
                    <a:pt x="0" y="438"/>
                  </a:moveTo>
                  <a:lnTo>
                    <a:pt x="6701" y="0"/>
                  </a:lnTo>
                  <a:lnTo>
                    <a:pt x="7077" y="495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41" name="Freihandform: Form 540">
              <a:extLst>
                <a:ext uri="{FF2B5EF4-FFF2-40B4-BE49-F238E27FC236}">
                  <a16:creationId xmlns:a16="http://schemas.microsoft.com/office/drawing/2014/main" id="{F6E65809-70DB-6782-4368-C8884E43B0B9}"/>
                </a:ext>
              </a:extLst>
            </p:cNvPr>
            <p:cNvSpPr/>
            <p:nvPr/>
          </p:nvSpPr>
          <p:spPr>
            <a:xfrm>
              <a:off x="7416687" y="6353278"/>
              <a:ext cx="7937" cy="11113"/>
            </a:xfrm>
            <a:custGeom>
              <a:avLst/>
              <a:gdLst>
                <a:gd name="connsiteX0" fmla="*/ 3591 w 6165"/>
                <a:gd name="connsiteY0" fmla="*/ 8643 h 8643"/>
                <a:gd name="connsiteX1" fmla="*/ 6166 w 6165"/>
                <a:gd name="connsiteY1" fmla="*/ 5804 h 8643"/>
                <a:gd name="connsiteX2" fmla="*/ 5240 w 6165"/>
                <a:gd name="connsiteY2" fmla="*/ 0 h 8643"/>
                <a:gd name="connsiteX3" fmla="*/ 0 w 6165"/>
                <a:gd name="connsiteY3" fmla="*/ 2058 h 8643"/>
              </a:gdLst>
              <a:ahLst/>
              <a:cxnLst>
                <a:cxn ang="0">
                  <a:pos x="connsiteX0" y="connsiteY0"/>
                </a:cxn>
                <a:cxn ang="0">
                  <a:pos x="connsiteX1" y="connsiteY1"/>
                </a:cxn>
                <a:cxn ang="0">
                  <a:pos x="connsiteX2" y="connsiteY2"/>
                </a:cxn>
                <a:cxn ang="0">
                  <a:pos x="connsiteX3" y="connsiteY3"/>
                </a:cxn>
              </a:cxnLst>
              <a:rect l="l" t="t" r="r" b="b"/>
              <a:pathLst>
                <a:path w="6165" h="8643">
                  <a:moveTo>
                    <a:pt x="3591" y="8643"/>
                  </a:moveTo>
                  <a:lnTo>
                    <a:pt x="6166" y="5804"/>
                  </a:lnTo>
                  <a:lnTo>
                    <a:pt x="5240" y="0"/>
                  </a:lnTo>
                  <a:lnTo>
                    <a:pt x="0" y="205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42" name="Freihandform: Form 541">
              <a:extLst>
                <a:ext uri="{FF2B5EF4-FFF2-40B4-BE49-F238E27FC236}">
                  <a16:creationId xmlns:a16="http://schemas.microsoft.com/office/drawing/2014/main" id="{772B4227-7030-4E94-236B-2972D036DC11}"/>
                </a:ext>
              </a:extLst>
            </p:cNvPr>
            <p:cNvSpPr/>
            <p:nvPr/>
          </p:nvSpPr>
          <p:spPr>
            <a:xfrm>
              <a:off x="7392878" y="6369154"/>
              <a:ext cx="30159" cy="23814"/>
            </a:xfrm>
            <a:custGeom>
              <a:avLst/>
              <a:gdLst>
                <a:gd name="connsiteX0" fmla="*/ 21223 w 23183"/>
                <a:gd name="connsiteY0" fmla="*/ 0 h 18993"/>
                <a:gd name="connsiteX1" fmla="*/ 20664 w 23183"/>
                <a:gd name="connsiteY1" fmla="*/ 12544 h 18993"/>
                <a:gd name="connsiteX2" fmla="*/ 1338 w 23183"/>
                <a:gd name="connsiteY2" fmla="*/ 18994 h 18993"/>
                <a:gd name="connsiteX3" fmla="*/ 803 w 23183"/>
                <a:gd name="connsiteY3" fmla="*/ 6199 h 18993"/>
                <a:gd name="connsiteX4" fmla="*/ 7253 w 23183"/>
                <a:gd name="connsiteY4" fmla="*/ 6074 h 18993"/>
                <a:gd name="connsiteX5" fmla="*/ 12686 w 23183"/>
                <a:gd name="connsiteY5" fmla="*/ 10066 h 18993"/>
                <a:gd name="connsiteX6" fmla="*/ 9446 w 23183"/>
                <a:gd name="connsiteY6" fmla="*/ 4150 h 18993"/>
                <a:gd name="connsiteX7" fmla="*/ 13968 w 23183"/>
                <a:gd name="connsiteY7" fmla="*/ 3461 h 18993"/>
                <a:gd name="connsiteX8" fmla="*/ 21223 w 23183"/>
                <a:gd name="connsiteY8" fmla="*/ 0 h 18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83" h="18993">
                  <a:moveTo>
                    <a:pt x="21223" y="0"/>
                  </a:moveTo>
                  <a:cubicBezTo>
                    <a:pt x="21223" y="0"/>
                    <a:pt x="25986" y="9955"/>
                    <a:pt x="20664" y="12544"/>
                  </a:cubicBezTo>
                  <a:cubicBezTo>
                    <a:pt x="15375" y="15104"/>
                    <a:pt x="1338" y="18994"/>
                    <a:pt x="1338" y="18994"/>
                  </a:cubicBezTo>
                  <a:cubicBezTo>
                    <a:pt x="1338" y="18994"/>
                    <a:pt x="-1275" y="10451"/>
                    <a:pt x="803" y="6199"/>
                  </a:cubicBezTo>
                  <a:cubicBezTo>
                    <a:pt x="4273" y="5799"/>
                    <a:pt x="7253" y="6074"/>
                    <a:pt x="7253" y="6074"/>
                  </a:cubicBezTo>
                  <a:lnTo>
                    <a:pt x="12686" y="10066"/>
                  </a:lnTo>
                  <a:lnTo>
                    <a:pt x="9446" y="4150"/>
                  </a:lnTo>
                  <a:lnTo>
                    <a:pt x="13968" y="3461"/>
                  </a:lnTo>
                  <a:lnTo>
                    <a:pt x="21223"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43" name="Freihandform: Form 542">
              <a:extLst>
                <a:ext uri="{FF2B5EF4-FFF2-40B4-BE49-F238E27FC236}">
                  <a16:creationId xmlns:a16="http://schemas.microsoft.com/office/drawing/2014/main" id="{4C4B8A4C-FA68-A768-414A-DDD2A26C1131}"/>
                </a:ext>
              </a:extLst>
            </p:cNvPr>
            <p:cNvSpPr/>
            <p:nvPr/>
          </p:nvSpPr>
          <p:spPr>
            <a:xfrm>
              <a:off x="7429386" y="6319940"/>
              <a:ext cx="14286" cy="19051"/>
            </a:xfrm>
            <a:custGeom>
              <a:avLst/>
              <a:gdLst>
                <a:gd name="connsiteX0" fmla="*/ 5264 w 10798"/>
                <a:gd name="connsiteY0" fmla="*/ 0 h 14726"/>
                <a:gd name="connsiteX1" fmla="*/ 10798 w 10798"/>
                <a:gd name="connsiteY1" fmla="*/ 4801 h 14726"/>
                <a:gd name="connsiteX2" fmla="*/ 7443 w 10798"/>
                <a:gd name="connsiteY2" fmla="*/ 14727 h 14726"/>
                <a:gd name="connsiteX3" fmla="*/ 0 w 10798"/>
                <a:gd name="connsiteY3" fmla="*/ 2198 h 14726"/>
              </a:gdLst>
              <a:ahLst/>
              <a:cxnLst>
                <a:cxn ang="0">
                  <a:pos x="connsiteX0" y="connsiteY0"/>
                </a:cxn>
                <a:cxn ang="0">
                  <a:pos x="connsiteX1" y="connsiteY1"/>
                </a:cxn>
                <a:cxn ang="0">
                  <a:pos x="connsiteX2" y="connsiteY2"/>
                </a:cxn>
                <a:cxn ang="0">
                  <a:pos x="connsiteX3" y="connsiteY3"/>
                </a:cxn>
              </a:cxnLst>
              <a:rect l="l" t="t" r="r" b="b"/>
              <a:pathLst>
                <a:path w="10798" h="14726">
                  <a:moveTo>
                    <a:pt x="5264" y="0"/>
                  </a:moveTo>
                  <a:lnTo>
                    <a:pt x="10798" y="4801"/>
                  </a:lnTo>
                  <a:lnTo>
                    <a:pt x="7443" y="14727"/>
                  </a:lnTo>
                  <a:lnTo>
                    <a:pt x="0" y="219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44" name="Freihandform: Form 543">
              <a:extLst>
                <a:ext uri="{FF2B5EF4-FFF2-40B4-BE49-F238E27FC236}">
                  <a16:creationId xmlns:a16="http://schemas.microsoft.com/office/drawing/2014/main" id="{E0B2463C-2DF7-600F-FA3C-DA32A848AB57}"/>
                </a:ext>
              </a:extLst>
            </p:cNvPr>
            <p:cNvSpPr/>
            <p:nvPr/>
          </p:nvSpPr>
          <p:spPr>
            <a:xfrm>
              <a:off x="7391290" y="6294539"/>
              <a:ext cx="14286" cy="14288"/>
            </a:xfrm>
            <a:custGeom>
              <a:avLst/>
              <a:gdLst>
                <a:gd name="connsiteX0" fmla="*/ 6320 w 10340"/>
                <a:gd name="connsiteY0" fmla="*/ 0 h 12128"/>
                <a:gd name="connsiteX1" fmla="*/ 10341 w 10340"/>
                <a:gd name="connsiteY1" fmla="*/ 5929 h 12128"/>
                <a:gd name="connsiteX2" fmla="*/ 8393 w 10340"/>
                <a:gd name="connsiteY2" fmla="*/ 12129 h 12128"/>
                <a:gd name="connsiteX3" fmla="*/ 2218 w 10340"/>
                <a:gd name="connsiteY3" fmla="*/ 9964 h 12128"/>
                <a:gd name="connsiteX4" fmla="*/ 0 w 10340"/>
                <a:gd name="connsiteY4" fmla="*/ 3345 h 12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40" h="12128">
                  <a:moveTo>
                    <a:pt x="6320" y="0"/>
                  </a:moveTo>
                  <a:lnTo>
                    <a:pt x="10341" y="5929"/>
                  </a:lnTo>
                  <a:lnTo>
                    <a:pt x="8393" y="12129"/>
                  </a:lnTo>
                  <a:lnTo>
                    <a:pt x="2218" y="9964"/>
                  </a:lnTo>
                  <a:lnTo>
                    <a:pt x="0" y="334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45" name="Freihandform: Form 544">
              <a:extLst>
                <a:ext uri="{FF2B5EF4-FFF2-40B4-BE49-F238E27FC236}">
                  <a16:creationId xmlns:a16="http://schemas.microsoft.com/office/drawing/2014/main" id="{FF28E440-9021-BDA1-3EDE-0DBC4465AF41}"/>
                </a:ext>
              </a:extLst>
            </p:cNvPr>
            <p:cNvSpPr/>
            <p:nvPr/>
          </p:nvSpPr>
          <p:spPr>
            <a:xfrm>
              <a:off x="7583356" y="6294539"/>
              <a:ext cx="39683" cy="34926"/>
            </a:xfrm>
            <a:custGeom>
              <a:avLst/>
              <a:gdLst>
                <a:gd name="connsiteX0" fmla="*/ 23554 w 30394"/>
                <a:gd name="connsiteY0" fmla="*/ 0 h 27377"/>
                <a:gd name="connsiteX1" fmla="*/ 30395 w 30394"/>
                <a:gd name="connsiteY1" fmla="*/ 3211 h 27377"/>
                <a:gd name="connsiteX2" fmla="*/ 18516 w 30394"/>
                <a:gd name="connsiteY2" fmla="*/ 14978 h 27377"/>
                <a:gd name="connsiteX3" fmla="*/ 15802 w 30394"/>
                <a:gd name="connsiteY3" fmla="*/ 20261 h 27377"/>
                <a:gd name="connsiteX4" fmla="*/ 6874 w 30394"/>
                <a:gd name="connsiteY4" fmla="*/ 27377 h 27377"/>
                <a:gd name="connsiteX5" fmla="*/ 0 w 30394"/>
                <a:gd name="connsiteY5" fmla="*/ 26861 h 27377"/>
                <a:gd name="connsiteX6" fmla="*/ 5722 w 30394"/>
                <a:gd name="connsiteY6" fmla="*/ 23091 h 27377"/>
                <a:gd name="connsiteX7" fmla="*/ 8817 w 30394"/>
                <a:gd name="connsiteY7" fmla="*/ 16401 h 27377"/>
                <a:gd name="connsiteX8" fmla="*/ 21727 w 30394"/>
                <a:gd name="connsiteY8" fmla="*/ 4922 h 27377"/>
                <a:gd name="connsiteX9" fmla="*/ 23554 w 30394"/>
                <a:gd name="connsiteY9" fmla="*/ 0 h 2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94" h="27377">
                  <a:moveTo>
                    <a:pt x="23554" y="0"/>
                  </a:moveTo>
                  <a:lnTo>
                    <a:pt x="30395" y="3211"/>
                  </a:lnTo>
                  <a:cubicBezTo>
                    <a:pt x="30395" y="3211"/>
                    <a:pt x="20835" y="8913"/>
                    <a:pt x="18516" y="14978"/>
                  </a:cubicBezTo>
                  <a:cubicBezTo>
                    <a:pt x="17591" y="17976"/>
                    <a:pt x="15802" y="20261"/>
                    <a:pt x="15802" y="20261"/>
                  </a:cubicBezTo>
                  <a:lnTo>
                    <a:pt x="6874" y="27377"/>
                  </a:lnTo>
                  <a:lnTo>
                    <a:pt x="0" y="26861"/>
                  </a:lnTo>
                  <a:lnTo>
                    <a:pt x="5722" y="23091"/>
                  </a:lnTo>
                  <a:lnTo>
                    <a:pt x="8817" y="16401"/>
                  </a:lnTo>
                  <a:lnTo>
                    <a:pt x="21727" y="4922"/>
                  </a:lnTo>
                  <a:lnTo>
                    <a:pt x="23554"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46" name="Freihandform: Form 545">
              <a:extLst>
                <a:ext uri="{FF2B5EF4-FFF2-40B4-BE49-F238E27FC236}">
                  <a16:creationId xmlns:a16="http://schemas.microsoft.com/office/drawing/2014/main" id="{C7479736-F57F-44FA-0732-4F4751A31AA8}"/>
                </a:ext>
              </a:extLst>
            </p:cNvPr>
            <p:cNvSpPr/>
            <p:nvPr/>
          </p:nvSpPr>
          <p:spPr>
            <a:xfrm>
              <a:off x="7575419" y="6269138"/>
              <a:ext cx="11112" cy="4762"/>
            </a:xfrm>
            <a:custGeom>
              <a:avLst/>
              <a:gdLst>
                <a:gd name="connsiteX0" fmla="*/ 0 w 8122"/>
                <a:gd name="connsiteY0" fmla="*/ 516 h 4362"/>
                <a:gd name="connsiteX1" fmla="*/ 8123 w 8122"/>
                <a:gd name="connsiteY1" fmla="*/ 0 h 4362"/>
                <a:gd name="connsiteX2" fmla="*/ 7592 w 8122"/>
                <a:gd name="connsiteY2" fmla="*/ 4363 h 4362"/>
              </a:gdLst>
              <a:ahLst/>
              <a:cxnLst>
                <a:cxn ang="0">
                  <a:pos x="connsiteX0" y="connsiteY0"/>
                </a:cxn>
                <a:cxn ang="0">
                  <a:pos x="connsiteX1" y="connsiteY1"/>
                </a:cxn>
                <a:cxn ang="0">
                  <a:pos x="connsiteX2" y="connsiteY2"/>
                </a:cxn>
              </a:cxnLst>
              <a:rect l="l" t="t" r="r" b="b"/>
              <a:pathLst>
                <a:path w="8122" h="4362">
                  <a:moveTo>
                    <a:pt x="0" y="516"/>
                  </a:moveTo>
                  <a:lnTo>
                    <a:pt x="8123" y="0"/>
                  </a:lnTo>
                  <a:lnTo>
                    <a:pt x="7592" y="436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47" name="Freihandform: Form 546">
              <a:extLst>
                <a:ext uri="{FF2B5EF4-FFF2-40B4-BE49-F238E27FC236}">
                  <a16:creationId xmlns:a16="http://schemas.microsoft.com/office/drawing/2014/main" id="{58891D2A-13B6-0420-D522-4824C2B97D5B}"/>
                </a:ext>
              </a:extLst>
            </p:cNvPr>
            <p:cNvSpPr/>
            <p:nvPr/>
          </p:nvSpPr>
          <p:spPr>
            <a:xfrm>
              <a:off x="7564309" y="6310415"/>
              <a:ext cx="7936" cy="4762"/>
            </a:xfrm>
            <a:custGeom>
              <a:avLst/>
              <a:gdLst>
                <a:gd name="connsiteX0" fmla="*/ 0 w 6074"/>
                <a:gd name="connsiteY0" fmla="*/ 3809 h 3861"/>
                <a:gd name="connsiteX1" fmla="*/ 5973 w 6074"/>
                <a:gd name="connsiteY1" fmla="*/ 0 h 3861"/>
                <a:gd name="connsiteX2" fmla="*/ 6074 w 6074"/>
                <a:gd name="connsiteY2" fmla="*/ 3862 h 3861"/>
              </a:gdLst>
              <a:ahLst/>
              <a:cxnLst>
                <a:cxn ang="0">
                  <a:pos x="connsiteX0" y="connsiteY0"/>
                </a:cxn>
                <a:cxn ang="0">
                  <a:pos x="connsiteX1" y="connsiteY1"/>
                </a:cxn>
                <a:cxn ang="0">
                  <a:pos x="connsiteX2" y="connsiteY2"/>
                </a:cxn>
              </a:cxnLst>
              <a:rect l="l" t="t" r="r" b="b"/>
              <a:pathLst>
                <a:path w="6074" h="3861">
                  <a:moveTo>
                    <a:pt x="0" y="3809"/>
                  </a:moveTo>
                  <a:lnTo>
                    <a:pt x="5973" y="0"/>
                  </a:lnTo>
                  <a:lnTo>
                    <a:pt x="6074" y="386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48" name="Freihandform: Form 547">
              <a:extLst>
                <a:ext uri="{FF2B5EF4-FFF2-40B4-BE49-F238E27FC236}">
                  <a16:creationId xmlns:a16="http://schemas.microsoft.com/office/drawing/2014/main" id="{AC11AF3A-D251-B702-C9D3-7F96D14096AB}"/>
                </a:ext>
              </a:extLst>
            </p:cNvPr>
            <p:cNvSpPr/>
            <p:nvPr/>
          </p:nvSpPr>
          <p:spPr>
            <a:xfrm>
              <a:off x="7538911" y="6321527"/>
              <a:ext cx="7936" cy="7938"/>
            </a:xfrm>
            <a:custGeom>
              <a:avLst/>
              <a:gdLst>
                <a:gd name="connsiteX0" fmla="*/ 0 w 6517"/>
                <a:gd name="connsiteY0" fmla="*/ 6339 h 6338"/>
                <a:gd name="connsiteX1" fmla="*/ 3809 w 6517"/>
                <a:gd name="connsiteY1" fmla="*/ 0 h 6338"/>
                <a:gd name="connsiteX2" fmla="*/ 6518 w 6517"/>
                <a:gd name="connsiteY2" fmla="*/ 1808 h 6338"/>
              </a:gdLst>
              <a:ahLst/>
              <a:cxnLst>
                <a:cxn ang="0">
                  <a:pos x="connsiteX0" y="connsiteY0"/>
                </a:cxn>
                <a:cxn ang="0">
                  <a:pos x="connsiteX1" y="connsiteY1"/>
                </a:cxn>
                <a:cxn ang="0">
                  <a:pos x="connsiteX2" y="connsiteY2"/>
                </a:cxn>
              </a:cxnLst>
              <a:rect l="l" t="t" r="r" b="b"/>
              <a:pathLst>
                <a:path w="6517" h="6338">
                  <a:moveTo>
                    <a:pt x="0" y="6339"/>
                  </a:moveTo>
                  <a:lnTo>
                    <a:pt x="3809" y="0"/>
                  </a:lnTo>
                  <a:lnTo>
                    <a:pt x="6518" y="180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49" name="Freihandform: Form 548">
              <a:extLst>
                <a:ext uri="{FF2B5EF4-FFF2-40B4-BE49-F238E27FC236}">
                  <a16:creationId xmlns:a16="http://schemas.microsoft.com/office/drawing/2014/main" id="{3AE1825F-8FA4-08D4-DF4E-98E18DFB5EEA}"/>
                </a:ext>
              </a:extLst>
            </p:cNvPr>
            <p:cNvSpPr/>
            <p:nvPr/>
          </p:nvSpPr>
          <p:spPr>
            <a:xfrm>
              <a:off x="7478593" y="6305651"/>
              <a:ext cx="9524" cy="15876"/>
            </a:xfrm>
            <a:custGeom>
              <a:avLst/>
              <a:gdLst>
                <a:gd name="connsiteX0" fmla="*/ 2343 w 7009"/>
                <a:gd name="connsiteY0" fmla="*/ 0 h 12654"/>
                <a:gd name="connsiteX1" fmla="*/ 7009 w 7009"/>
                <a:gd name="connsiteY1" fmla="*/ 12654 h 12654"/>
                <a:gd name="connsiteX2" fmla="*/ 0 w 7009"/>
                <a:gd name="connsiteY2" fmla="*/ 7231 h 12654"/>
              </a:gdLst>
              <a:ahLst/>
              <a:cxnLst>
                <a:cxn ang="0">
                  <a:pos x="connsiteX0" y="connsiteY0"/>
                </a:cxn>
                <a:cxn ang="0">
                  <a:pos x="connsiteX1" y="connsiteY1"/>
                </a:cxn>
                <a:cxn ang="0">
                  <a:pos x="connsiteX2" y="connsiteY2"/>
                </a:cxn>
              </a:cxnLst>
              <a:rect l="l" t="t" r="r" b="b"/>
              <a:pathLst>
                <a:path w="7009" h="12654">
                  <a:moveTo>
                    <a:pt x="2343" y="0"/>
                  </a:moveTo>
                  <a:lnTo>
                    <a:pt x="7009" y="12654"/>
                  </a:lnTo>
                  <a:lnTo>
                    <a:pt x="0" y="723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50" name="Freihandform: Form 549">
              <a:extLst>
                <a:ext uri="{FF2B5EF4-FFF2-40B4-BE49-F238E27FC236}">
                  <a16:creationId xmlns:a16="http://schemas.microsoft.com/office/drawing/2014/main" id="{3AEA1727-85F6-C450-0277-4F4AC8C37819}"/>
                </a:ext>
              </a:extLst>
            </p:cNvPr>
            <p:cNvSpPr/>
            <p:nvPr/>
          </p:nvSpPr>
          <p:spPr>
            <a:xfrm>
              <a:off x="7488117" y="6280250"/>
              <a:ext cx="20635" cy="31751"/>
            </a:xfrm>
            <a:custGeom>
              <a:avLst/>
              <a:gdLst>
                <a:gd name="connsiteX0" fmla="*/ 16766 w 16766"/>
                <a:gd name="connsiteY0" fmla="*/ 0 h 25299"/>
                <a:gd name="connsiteX1" fmla="*/ 15253 w 16766"/>
                <a:gd name="connsiteY1" fmla="*/ 6031 h 25299"/>
                <a:gd name="connsiteX2" fmla="*/ 14197 w 16766"/>
                <a:gd name="connsiteY2" fmla="*/ 20011 h 25299"/>
                <a:gd name="connsiteX3" fmla="*/ 9935 w 16766"/>
                <a:gd name="connsiteY3" fmla="*/ 25299 h 25299"/>
                <a:gd name="connsiteX4" fmla="*/ 4507 w 16766"/>
                <a:gd name="connsiteY4" fmla="*/ 23646 h 25299"/>
                <a:gd name="connsiteX5" fmla="*/ 0 w 16766"/>
                <a:gd name="connsiteY5" fmla="*/ 16270 h 25299"/>
                <a:gd name="connsiteX6" fmla="*/ 3210 w 16766"/>
                <a:gd name="connsiteY6" fmla="*/ 10982 h 25299"/>
                <a:gd name="connsiteX7" fmla="*/ 4507 w 16766"/>
                <a:gd name="connsiteY7" fmla="*/ 4252 h 25299"/>
                <a:gd name="connsiteX8" fmla="*/ 9675 w 16766"/>
                <a:gd name="connsiteY8" fmla="*/ 1297 h 25299"/>
                <a:gd name="connsiteX9" fmla="*/ 16766 w 16766"/>
                <a:gd name="connsiteY9" fmla="*/ 0 h 2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66" h="25299">
                  <a:moveTo>
                    <a:pt x="16766" y="0"/>
                  </a:moveTo>
                  <a:lnTo>
                    <a:pt x="15253" y="6031"/>
                  </a:lnTo>
                  <a:cubicBezTo>
                    <a:pt x="15253" y="6031"/>
                    <a:pt x="17432" y="16386"/>
                    <a:pt x="14197" y="20011"/>
                  </a:cubicBezTo>
                  <a:cubicBezTo>
                    <a:pt x="11748" y="23125"/>
                    <a:pt x="9935" y="25299"/>
                    <a:pt x="9935" y="25299"/>
                  </a:cubicBezTo>
                  <a:lnTo>
                    <a:pt x="4507" y="23646"/>
                  </a:lnTo>
                  <a:lnTo>
                    <a:pt x="0" y="16270"/>
                  </a:lnTo>
                  <a:lnTo>
                    <a:pt x="3210" y="10982"/>
                  </a:lnTo>
                  <a:lnTo>
                    <a:pt x="4507" y="4252"/>
                  </a:lnTo>
                  <a:lnTo>
                    <a:pt x="9675" y="1297"/>
                  </a:lnTo>
                  <a:lnTo>
                    <a:pt x="16766"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51" name="Freihandform: Form 550">
              <a:extLst>
                <a:ext uri="{FF2B5EF4-FFF2-40B4-BE49-F238E27FC236}">
                  <a16:creationId xmlns:a16="http://schemas.microsoft.com/office/drawing/2014/main" id="{47C544DD-1A08-9302-3149-AC3687640FBD}"/>
                </a:ext>
              </a:extLst>
            </p:cNvPr>
            <p:cNvSpPr/>
            <p:nvPr/>
          </p:nvSpPr>
          <p:spPr>
            <a:xfrm>
              <a:off x="7519864" y="6264375"/>
              <a:ext cx="33333" cy="49215"/>
            </a:xfrm>
            <a:custGeom>
              <a:avLst/>
              <a:gdLst>
                <a:gd name="connsiteX0" fmla="*/ 3104 w 25597"/>
                <a:gd name="connsiteY0" fmla="*/ 13956 h 39245"/>
                <a:gd name="connsiteX1" fmla="*/ 8243 w 25597"/>
                <a:gd name="connsiteY1" fmla="*/ 8933 h 39245"/>
                <a:gd name="connsiteX2" fmla="*/ 11102 w 25597"/>
                <a:gd name="connsiteY2" fmla="*/ 2575 h 39245"/>
                <a:gd name="connsiteX3" fmla="*/ 17311 w 25597"/>
                <a:gd name="connsiteY3" fmla="*/ 0 h 39245"/>
                <a:gd name="connsiteX4" fmla="*/ 23491 w 25597"/>
                <a:gd name="connsiteY4" fmla="*/ 6330 h 39245"/>
                <a:gd name="connsiteX5" fmla="*/ 25554 w 25597"/>
                <a:gd name="connsiteY5" fmla="*/ 18082 h 39245"/>
                <a:gd name="connsiteX6" fmla="*/ 25396 w 25597"/>
                <a:gd name="connsiteY6" fmla="*/ 30375 h 39245"/>
                <a:gd name="connsiteX7" fmla="*/ 14443 w 25597"/>
                <a:gd name="connsiteY7" fmla="*/ 39245 h 39245"/>
                <a:gd name="connsiteX8" fmla="*/ 3336 w 25597"/>
                <a:gd name="connsiteY8" fmla="*/ 27112 h 39245"/>
                <a:gd name="connsiteX9" fmla="*/ 0 w 25597"/>
                <a:gd name="connsiteY9" fmla="*/ 19760 h 39245"/>
                <a:gd name="connsiteX10" fmla="*/ 3104 w 25597"/>
                <a:gd name="connsiteY10" fmla="*/ 13956 h 3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597" h="39245">
                  <a:moveTo>
                    <a:pt x="3104" y="13956"/>
                  </a:moveTo>
                  <a:lnTo>
                    <a:pt x="8243" y="8933"/>
                  </a:lnTo>
                  <a:lnTo>
                    <a:pt x="11102" y="2575"/>
                  </a:lnTo>
                  <a:lnTo>
                    <a:pt x="17311" y="0"/>
                  </a:lnTo>
                  <a:lnTo>
                    <a:pt x="23491" y="6330"/>
                  </a:lnTo>
                  <a:cubicBezTo>
                    <a:pt x="23491" y="6330"/>
                    <a:pt x="25950" y="13696"/>
                    <a:pt x="25554" y="18082"/>
                  </a:cubicBezTo>
                  <a:cubicBezTo>
                    <a:pt x="25169" y="22469"/>
                    <a:pt x="24504" y="28042"/>
                    <a:pt x="25396" y="30375"/>
                  </a:cubicBezTo>
                  <a:cubicBezTo>
                    <a:pt x="18834" y="36040"/>
                    <a:pt x="14443" y="39245"/>
                    <a:pt x="14443" y="39245"/>
                  </a:cubicBezTo>
                  <a:lnTo>
                    <a:pt x="3336" y="27112"/>
                  </a:lnTo>
                  <a:lnTo>
                    <a:pt x="0" y="19760"/>
                  </a:lnTo>
                  <a:lnTo>
                    <a:pt x="3104" y="1395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52" name="Freihandform: Form 551">
              <a:extLst>
                <a:ext uri="{FF2B5EF4-FFF2-40B4-BE49-F238E27FC236}">
                  <a16:creationId xmlns:a16="http://schemas.microsoft.com/office/drawing/2014/main" id="{C1DF11DE-411D-7658-09F5-BEBF10364FC2}"/>
                </a:ext>
              </a:extLst>
            </p:cNvPr>
            <p:cNvSpPr/>
            <p:nvPr/>
          </p:nvSpPr>
          <p:spPr>
            <a:xfrm>
              <a:off x="7442084" y="6231037"/>
              <a:ext cx="12699" cy="23813"/>
            </a:xfrm>
            <a:custGeom>
              <a:avLst/>
              <a:gdLst>
                <a:gd name="connsiteX0" fmla="*/ 9950 w 9950"/>
                <a:gd name="connsiteY0" fmla="*/ 12650 h 18959"/>
                <a:gd name="connsiteX1" fmla="*/ 5848 w 9950"/>
                <a:gd name="connsiteY1" fmla="*/ 473 h 18959"/>
                <a:gd name="connsiteX2" fmla="*/ 0 w 9950"/>
                <a:gd name="connsiteY2" fmla="*/ 0 h 18959"/>
                <a:gd name="connsiteX3" fmla="*/ 2198 w 9950"/>
                <a:gd name="connsiteY3" fmla="*/ 6165 h 18959"/>
                <a:gd name="connsiteX4" fmla="*/ 111 w 9950"/>
                <a:gd name="connsiteY4" fmla="*/ 11975 h 18959"/>
                <a:gd name="connsiteX5" fmla="*/ 3355 w 9950"/>
                <a:gd name="connsiteY5" fmla="*/ 18960 h 18959"/>
                <a:gd name="connsiteX6" fmla="*/ 9950 w 9950"/>
                <a:gd name="connsiteY6" fmla="*/ 12650 h 18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50" h="18959">
                  <a:moveTo>
                    <a:pt x="9950" y="12650"/>
                  </a:moveTo>
                  <a:cubicBezTo>
                    <a:pt x="9950" y="12650"/>
                    <a:pt x="5684" y="5269"/>
                    <a:pt x="5848" y="473"/>
                  </a:cubicBezTo>
                  <a:cubicBezTo>
                    <a:pt x="2449" y="236"/>
                    <a:pt x="0" y="0"/>
                    <a:pt x="0" y="0"/>
                  </a:cubicBezTo>
                  <a:lnTo>
                    <a:pt x="2198" y="6165"/>
                  </a:lnTo>
                  <a:lnTo>
                    <a:pt x="111" y="11975"/>
                  </a:lnTo>
                  <a:lnTo>
                    <a:pt x="3355" y="18960"/>
                  </a:lnTo>
                  <a:lnTo>
                    <a:pt x="9950" y="1265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53" name="Freihandform: Form 552">
              <a:extLst>
                <a:ext uri="{FF2B5EF4-FFF2-40B4-BE49-F238E27FC236}">
                  <a16:creationId xmlns:a16="http://schemas.microsoft.com/office/drawing/2014/main" id="{3CC4C1F5-5DF9-D1CE-65D9-C63A01E48321}"/>
                </a:ext>
              </a:extLst>
            </p:cNvPr>
            <p:cNvSpPr/>
            <p:nvPr/>
          </p:nvSpPr>
          <p:spPr>
            <a:xfrm>
              <a:off x="7499228" y="6218336"/>
              <a:ext cx="17461" cy="15876"/>
            </a:xfrm>
            <a:custGeom>
              <a:avLst/>
              <a:gdLst>
                <a:gd name="connsiteX0" fmla="*/ 0 w 13796"/>
                <a:gd name="connsiteY0" fmla="*/ 3379 h 12268"/>
                <a:gd name="connsiteX1" fmla="*/ 6064 w 13796"/>
                <a:gd name="connsiteY1" fmla="*/ 2959 h 12268"/>
                <a:gd name="connsiteX2" fmla="*/ 12124 w 13796"/>
                <a:gd name="connsiteY2" fmla="*/ 0 h 12268"/>
                <a:gd name="connsiteX3" fmla="*/ 13797 w 13796"/>
                <a:gd name="connsiteY3" fmla="*/ 6464 h 12268"/>
                <a:gd name="connsiteX4" fmla="*/ 6836 w 13796"/>
                <a:gd name="connsiteY4" fmla="*/ 12268 h 12268"/>
                <a:gd name="connsiteX5" fmla="*/ 140 w 13796"/>
                <a:gd name="connsiteY5" fmla="*/ 9829 h 12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96" h="12268">
                  <a:moveTo>
                    <a:pt x="0" y="3379"/>
                  </a:moveTo>
                  <a:lnTo>
                    <a:pt x="6064" y="2959"/>
                  </a:lnTo>
                  <a:lnTo>
                    <a:pt x="12124" y="0"/>
                  </a:lnTo>
                  <a:lnTo>
                    <a:pt x="13797" y="6464"/>
                  </a:lnTo>
                  <a:lnTo>
                    <a:pt x="6836" y="12268"/>
                  </a:lnTo>
                  <a:lnTo>
                    <a:pt x="140" y="982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54" name="Freihandform: Form 553">
              <a:extLst>
                <a:ext uri="{FF2B5EF4-FFF2-40B4-BE49-F238E27FC236}">
                  <a16:creationId xmlns:a16="http://schemas.microsoft.com/office/drawing/2014/main" id="{75AB0C1A-AA5A-454D-4C1F-57F360F66F75}"/>
                </a:ext>
              </a:extLst>
            </p:cNvPr>
            <p:cNvSpPr/>
            <p:nvPr/>
          </p:nvSpPr>
          <p:spPr>
            <a:xfrm>
              <a:off x="7373830" y="6248499"/>
              <a:ext cx="14285" cy="23814"/>
            </a:xfrm>
            <a:custGeom>
              <a:avLst/>
              <a:gdLst>
                <a:gd name="connsiteX0" fmla="*/ 4628 w 10506"/>
                <a:gd name="connsiteY0" fmla="*/ 0 h 19369"/>
                <a:gd name="connsiteX1" fmla="*/ 10422 w 10506"/>
                <a:gd name="connsiteY1" fmla="*/ 6686 h 19369"/>
                <a:gd name="connsiteX2" fmla="*/ 7848 w 10506"/>
                <a:gd name="connsiteY2" fmla="*/ 19369 h 19369"/>
                <a:gd name="connsiteX3" fmla="*/ 0 w 10506"/>
                <a:gd name="connsiteY3" fmla="*/ 6185 h 19369"/>
                <a:gd name="connsiteX4" fmla="*/ 4628 w 10506"/>
                <a:gd name="connsiteY4" fmla="*/ 0 h 19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06" h="19369">
                  <a:moveTo>
                    <a:pt x="4628" y="0"/>
                  </a:moveTo>
                  <a:lnTo>
                    <a:pt x="10422" y="6686"/>
                  </a:lnTo>
                  <a:cubicBezTo>
                    <a:pt x="10422" y="6686"/>
                    <a:pt x="11227" y="14043"/>
                    <a:pt x="7848" y="19369"/>
                  </a:cubicBezTo>
                  <a:cubicBezTo>
                    <a:pt x="4855" y="15470"/>
                    <a:pt x="0" y="6185"/>
                    <a:pt x="0" y="6185"/>
                  </a:cubicBezTo>
                  <a:lnTo>
                    <a:pt x="4628"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55" name="Freihandform: Form 554">
              <a:extLst>
                <a:ext uri="{FF2B5EF4-FFF2-40B4-BE49-F238E27FC236}">
                  <a16:creationId xmlns:a16="http://schemas.microsoft.com/office/drawing/2014/main" id="{B279EFC9-8C77-3A28-EDE6-37ECFF589E9C}"/>
                </a:ext>
              </a:extLst>
            </p:cNvPr>
            <p:cNvSpPr/>
            <p:nvPr/>
          </p:nvSpPr>
          <p:spPr>
            <a:xfrm>
              <a:off x="7354782" y="6213573"/>
              <a:ext cx="15873" cy="30164"/>
            </a:xfrm>
            <a:custGeom>
              <a:avLst/>
              <a:gdLst>
                <a:gd name="connsiteX0" fmla="*/ 7448 w 12109"/>
                <a:gd name="connsiteY0" fmla="*/ 0 h 23635"/>
                <a:gd name="connsiteX1" fmla="*/ 12110 w 12109"/>
                <a:gd name="connsiteY1" fmla="*/ 5934 h 23635"/>
                <a:gd name="connsiteX2" fmla="*/ 10288 w 12109"/>
                <a:gd name="connsiteY2" fmla="*/ 13185 h 23635"/>
                <a:gd name="connsiteX3" fmla="*/ 3071 w 12109"/>
                <a:gd name="connsiteY3" fmla="*/ 23636 h 23635"/>
                <a:gd name="connsiteX4" fmla="*/ 0 w 12109"/>
                <a:gd name="connsiteY4" fmla="*/ 10717 h 23635"/>
                <a:gd name="connsiteX5" fmla="*/ 1413 w 12109"/>
                <a:gd name="connsiteY5" fmla="*/ 4396 h 2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09" h="23635">
                  <a:moveTo>
                    <a:pt x="7448" y="0"/>
                  </a:moveTo>
                  <a:lnTo>
                    <a:pt x="12110" y="5934"/>
                  </a:lnTo>
                  <a:lnTo>
                    <a:pt x="10288" y="13185"/>
                  </a:lnTo>
                  <a:lnTo>
                    <a:pt x="3071" y="23636"/>
                  </a:lnTo>
                  <a:lnTo>
                    <a:pt x="0" y="10717"/>
                  </a:lnTo>
                  <a:lnTo>
                    <a:pt x="1413" y="439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56" name="Freihandform: Form 555">
              <a:extLst>
                <a:ext uri="{FF2B5EF4-FFF2-40B4-BE49-F238E27FC236}">
                  <a16:creationId xmlns:a16="http://schemas.microsoft.com/office/drawing/2014/main" id="{C9D6F5E1-4454-90F0-E328-23C4AC136120}"/>
                </a:ext>
              </a:extLst>
            </p:cNvPr>
            <p:cNvSpPr/>
            <p:nvPr/>
          </p:nvSpPr>
          <p:spPr>
            <a:xfrm>
              <a:off x="7450021" y="6196110"/>
              <a:ext cx="36508" cy="20638"/>
            </a:xfrm>
            <a:custGeom>
              <a:avLst/>
              <a:gdLst>
                <a:gd name="connsiteX0" fmla="*/ 6194 w 29194"/>
                <a:gd name="connsiteY0" fmla="*/ 0 h 16674"/>
                <a:gd name="connsiteX1" fmla="*/ 12924 w 29194"/>
                <a:gd name="connsiteY1" fmla="*/ 2439 h 16674"/>
                <a:gd name="connsiteX2" fmla="*/ 25178 w 29194"/>
                <a:gd name="connsiteY2" fmla="*/ 2863 h 16674"/>
                <a:gd name="connsiteX3" fmla="*/ 29194 w 29194"/>
                <a:gd name="connsiteY3" fmla="*/ 8402 h 16674"/>
                <a:gd name="connsiteX4" fmla="*/ 27912 w 29194"/>
                <a:gd name="connsiteY4" fmla="*/ 15619 h 16674"/>
                <a:gd name="connsiteX5" fmla="*/ 21828 w 29194"/>
                <a:gd name="connsiteY5" fmla="*/ 16675 h 16674"/>
                <a:gd name="connsiteX6" fmla="*/ 15113 w 29194"/>
                <a:gd name="connsiteY6" fmla="*/ 15108 h 16674"/>
                <a:gd name="connsiteX7" fmla="*/ 1041 w 29194"/>
                <a:gd name="connsiteY7" fmla="*/ 6594 h 16674"/>
                <a:gd name="connsiteX8" fmla="*/ 0 w 29194"/>
                <a:gd name="connsiteY8" fmla="*/ 1528 h 16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94" h="16674">
                  <a:moveTo>
                    <a:pt x="6194" y="0"/>
                  </a:moveTo>
                  <a:lnTo>
                    <a:pt x="12924" y="2439"/>
                  </a:lnTo>
                  <a:lnTo>
                    <a:pt x="25178" y="2863"/>
                  </a:lnTo>
                  <a:lnTo>
                    <a:pt x="29194" y="8402"/>
                  </a:lnTo>
                  <a:lnTo>
                    <a:pt x="27912" y="15619"/>
                  </a:lnTo>
                  <a:lnTo>
                    <a:pt x="21828" y="16675"/>
                  </a:lnTo>
                  <a:lnTo>
                    <a:pt x="15113" y="15108"/>
                  </a:lnTo>
                  <a:lnTo>
                    <a:pt x="1041" y="6594"/>
                  </a:lnTo>
                  <a:lnTo>
                    <a:pt x="0" y="152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57" name="Freihandform: Form 556">
              <a:extLst>
                <a:ext uri="{FF2B5EF4-FFF2-40B4-BE49-F238E27FC236}">
                  <a16:creationId xmlns:a16="http://schemas.microsoft.com/office/drawing/2014/main" id="{DEDC1A34-A8E0-9A98-D901-3C665A75E17D}"/>
                </a:ext>
              </a:extLst>
            </p:cNvPr>
            <p:cNvSpPr/>
            <p:nvPr/>
          </p:nvSpPr>
          <p:spPr>
            <a:xfrm>
              <a:off x="7399227" y="6150070"/>
              <a:ext cx="46032" cy="47627"/>
            </a:xfrm>
            <a:custGeom>
              <a:avLst/>
              <a:gdLst>
                <a:gd name="connsiteX0" fmla="*/ 36661 w 36661"/>
                <a:gd name="connsiteY0" fmla="*/ 26586 h 37032"/>
                <a:gd name="connsiteX1" fmla="*/ 29401 w 36661"/>
                <a:gd name="connsiteY1" fmla="*/ 14211 h 37032"/>
                <a:gd name="connsiteX2" fmla="*/ 28259 w 36661"/>
                <a:gd name="connsiteY2" fmla="*/ 8653 h 37032"/>
                <a:gd name="connsiteX3" fmla="*/ 16149 w 36661"/>
                <a:gd name="connsiteY3" fmla="*/ 8798 h 37032"/>
                <a:gd name="connsiteX4" fmla="*/ 12640 w 36661"/>
                <a:gd name="connsiteY4" fmla="*/ 2709 h 37032"/>
                <a:gd name="connsiteX5" fmla="*/ 5944 w 36661"/>
                <a:gd name="connsiteY5" fmla="*/ 0 h 37032"/>
                <a:gd name="connsiteX6" fmla="*/ 0 w 36661"/>
                <a:gd name="connsiteY6" fmla="*/ 4291 h 37032"/>
                <a:gd name="connsiteX7" fmla="*/ 496 w 36661"/>
                <a:gd name="connsiteY7" fmla="*/ 10837 h 37032"/>
                <a:gd name="connsiteX8" fmla="*/ 4908 w 36661"/>
                <a:gd name="connsiteY8" fmla="*/ 16506 h 37032"/>
                <a:gd name="connsiteX9" fmla="*/ 10957 w 36661"/>
                <a:gd name="connsiteY9" fmla="*/ 17417 h 37032"/>
                <a:gd name="connsiteX10" fmla="*/ 35369 w 36661"/>
                <a:gd name="connsiteY10" fmla="*/ 37033 h 37032"/>
                <a:gd name="connsiteX11" fmla="*/ 35504 w 36661"/>
                <a:gd name="connsiteY11" fmla="*/ 33962 h 37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661" h="37032">
                  <a:moveTo>
                    <a:pt x="36661" y="26586"/>
                  </a:moveTo>
                  <a:lnTo>
                    <a:pt x="29401" y="14211"/>
                  </a:lnTo>
                  <a:lnTo>
                    <a:pt x="28259" y="8653"/>
                  </a:lnTo>
                  <a:lnTo>
                    <a:pt x="16149" y="8798"/>
                  </a:lnTo>
                  <a:lnTo>
                    <a:pt x="12640" y="2709"/>
                  </a:lnTo>
                  <a:lnTo>
                    <a:pt x="5944" y="0"/>
                  </a:lnTo>
                  <a:lnTo>
                    <a:pt x="0" y="4291"/>
                  </a:lnTo>
                  <a:lnTo>
                    <a:pt x="496" y="10837"/>
                  </a:lnTo>
                  <a:lnTo>
                    <a:pt x="4908" y="16506"/>
                  </a:lnTo>
                  <a:lnTo>
                    <a:pt x="10957" y="17417"/>
                  </a:lnTo>
                  <a:lnTo>
                    <a:pt x="35369" y="37033"/>
                  </a:lnTo>
                  <a:lnTo>
                    <a:pt x="35504" y="3396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58" name="Freihandform: Form 557">
              <a:extLst>
                <a:ext uri="{FF2B5EF4-FFF2-40B4-BE49-F238E27FC236}">
                  <a16:creationId xmlns:a16="http://schemas.microsoft.com/office/drawing/2014/main" id="{631395DA-58E2-0D08-C325-BAE527DDF402}"/>
                </a:ext>
              </a:extLst>
            </p:cNvPr>
            <p:cNvSpPr/>
            <p:nvPr/>
          </p:nvSpPr>
          <p:spPr>
            <a:xfrm>
              <a:off x="7245257" y="6289776"/>
              <a:ext cx="22222" cy="17464"/>
            </a:xfrm>
            <a:custGeom>
              <a:avLst/>
              <a:gdLst>
                <a:gd name="connsiteX0" fmla="*/ 16699 w 16698"/>
                <a:gd name="connsiteY0" fmla="*/ 0 h 13411"/>
                <a:gd name="connsiteX1" fmla="*/ 0 w 16698"/>
                <a:gd name="connsiteY1" fmla="*/ 13411 h 13411"/>
                <a:gd name="connsiteX2" fmla="*/ 11025 w 16698"/>
                <a:gd name="connsiteY2" fmla="*/ 6889 h 13411"/>
                <a:gd name="connsiteX3" fmla="*/ 16699 w 16698"/>
                <a:gd name="connsiteY3" fmla="*/ 0 h 13411"/>
              </a:gdLst>
              <a:ahLst/>
              <a:cxnLst>
                <a:cxn ang="0">
                  <a:pos x="connsiteX0" y="connsiteY0"/>
                </a:cxn>
                <a:cxn ang="0">
                  <a:pos x="connsiteX1" y="connsiteY1"/>
                </a:cxn>
                <a:cxn ang="0">
                  <a:pos x="connsiteX2" y="connsiteY2"/>
                </a:cxn>
                <a:cxn ang="0">
                  <a:pos x="connsiteX3" y="connsiteY3"/>
                </a:cxn>
              </a:cxnLst>
              <a:rect l="l" t="t" r="r" b="b"/>
              <a:pathLst>
                <a:path w="16698" h="13411">
                  <a:moveTo>
                    <a:pt x="16699" y="0"/>
                  </a:moveTo>
                  <a:cubicBezTo>
                    <a:pt x="16699" y="0"/>
                    <a:pt x="5843" y="1576"/>
                    <a:pt x="0" y="13411"/>
                  </a:cubicBezTo>
                  <a:cubicBezTo>
                    <a:pt x="6879" y="9294"/>
                    <a:pt x="11025" y="6889"/>
                    <a:pt x="11025" y="6889"/>
                  </a:cubicBezTo>
                  <a:lnTo>
                    <a:pt x="16699"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59" name="Freihandform: Form 558">
              <a:extLst>
                <a:ext uri="{FF2B5EF4-FFF2-40B4-BE49-F238E27FC236}">
                  <a16:creationId xmlns:a16="http://schemas.microsoft.com/office/drawing/2014/main" id="{2F47F833-295A-97D0-FA4C-A70C29F02F3C}"/>
                </a:ext>
              </a:extLst>
            </p:cNvPr>
            <p:cNvSpPr/>
            <p:nvPr/>
          </p:nvSpPr>
          <p:spPr>
            <a:xfrm>
              <a:off x="7242082" y="6262788"/>
              <a:ext cx="7937" cy="6350"/>
            </a:xfrm>
            <a:custGeom>
              <a:avLst/>
              <a:gdLst>
                <a:gd name="connsiteX0" fmla="*/ 6363 w 6734"/>
                <a:gd name="connsiteY0" fmla="*/ 0 h 5192"/>
                <a:gd name="connsiteX1" fmla="*/ 6734 w 6734"/>
                <a:gd name="connsiteY1" fmla="*/ 5192 h 5192"/>
                <a:gd name="connsiteX2" fmla="*/ 0 w 6734"/>
                <a:gd name="connsiteY2" fmla="*/ 2623 h 5192"/>
              </a:gdLst>
              <a:ahLst/>
              <a:cxnLst>
                <a:cxn ang="0">
                  <a:pos x="connsiteX0" y="connsiteY0"/>
                </a:cxn>
                <a:cxn ang="0">
                  <a:pos x="connsiteX1" y="connsiteY1"/>
                </a:cxn>
                <a:cxn ang="0">
                  <a:pos x="connsiteX2" y="connsiteY2"/>
                </a:cxn>
              </a:cxnLst>
              <a:rect l="l" t="t" r="r" b="b"/>
              <a:pathLst>
                <a:path w="6734" h="5192">
                  <a:moveTo>
                    <a:pt x="6363" y="0"/>
                  </a:moveTo>
                  <a:lnTo>
                    <a:pt x="6734" y="5192"/>
                  </a:lnTo>
                  <a:lnTo>
                    <a:pt x="0" y="262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60" name="Freihandform: Form 559">
              <a:extLst>
                <a:ext uri="{FF2B5EF4-FFF2-40B4-BE49-F238E27FC236}">
                  <a16:creationId xmlns:a16="http://schemas.microsoft.com/office/drawing/2014/main" id="{85124A59-0396-37C4-4FAA-2FC1CE79402F}"/>
                </a:ext>
              </a:extLst>
            </p:cNvPr>
            <p:cNvSpPr/>
            <p:nvPr/>
          </p:nvSpPr>
          <p:spPr>
            <a:xfrm>
              <a:off x="7235733" y="6223098"/>
              <a:ext cx="14286" cy="17464"/>
            </a:xfrm>
            <a:custGeom>
              <a:avLst/>
              <a:gdLst>
                <a:gd name="connsiteX0" fmla="*/ 10673 w 10673"/>
                <a:gd name="connsiteY0" fmla="*/ 6209 h 13406"/>
                <a:gd name="connsiteX1" fmla="*/ 6561 w 10673"/>
                <a:gd name="connsiteY1" fmla="*/ 0 h 13406"/>
                <a:gd name="connsiteX2" fmla="*/ 1191 w 10673"/>
                <a:gd name="connsiteY2" fmla="*/ 1692 h 13406"/>
                <a:gd name="connsiteX3" fmla="*/ 0 w 10673"/>
                <a:gd name="connsiteY3" fmla="*/ 6667 h 13406"/>
                <a:gd name="connsiteX4" fmla="*/ 7593 w 10673"/>
                <a:gd name="connsiteY4" fmla="*/ 13406 h 13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73" h="13406">
                  <a:moveTo>
                    <a:pt x="10673" y="6209"/>
                  </a:moveTo>
                  <a:lnTo>
                    <a:pt x="6561" y="0"/>
                  </a:lnTo>
                  <a:lnTo>
                    <a:pt x="1191" y="1692"/>
                  </a:lnTo>
                  <a:lnTo>
                    <a:pt x="0" y="6667"/>
                  </a:lnTo>
                  <a:lnTo>
                    <a:pt x="7593" y="1340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61" name="Freihandform: Form 560">
              <a:extLst>
                <a:ext uri="{FF2B5EF4-FFF2-40B4-BE49-F238E27FC236}">
                  <a16:creationId xmlns:a16="http://schemas.microsoft.com/office/drawing/2014/main" id="{79D01F01-7F37-201F-0BF7-09D3E8E6A955}"/>
                </a:ext>
              </a:extLst>
            </p:cNvPr>
            <p:cNvSpPr/>
            <p:nvPr/>
          </p:nvSpPr>
          <p:spPr>
            <a:xfrm>
              <a:off x="7227797" y="6183410"/>
              <a:ext cx="15873" cy="22226"/>
            </a:xfrm>
            <a:custGeom>
              <a:avLst/>
              <a:gdLst>
                <a:gd name="connsiteX0" fmla="*/ 12404 w 12403"/>
                <a:gd name="connsiteY0" fmla="*/ 4136 h 16713"/>
                <a:gd name="connsiteX1" fmla="*/ 10697 w 12403"/>
                <a:gd name="connsiteY1" fmla="*/ 10355 h 16713"/>
                <a:gd name="connsiteX2" fmla="*/ 5862 w 12403"/>
                <a:gd name="connsiteY2" fmla="*/ 16713 h 16713"/>
                <a:gd name="connsiteX3" fmla="*/ 198 w 12403"/>
                <a:gd name="connsiteY3" fmla="*/ 15320 h 16713"/>
                <a:gd name="connsiteX4" fmla="*/ 2068 w 12403"/>
                <a:gd name="connsiteY4" fmla="*/ 10538 h 16713"/>
                <a:gd name="connsiteX5" fmla="*/ 0 w 12403"/>
                <a:gd name="connsiteY5" fmla="*/ 3813 h 16713"/>
                <a:gd name="connsiteX6" fmla="*/ 6204 w 12403"/>
                <a:gd name="connsiteY6" fmla="*/ 0 h 1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03" h="16713">
                  <a:moveTo>
                    <a:pt x="12404" y="4136"/>
                  </a:moveTo>
                  <a:lnTo>
                    <a:pt x="10697" y="10355"/>
                  </a:lnTo>
                  <a:lnTo>
                    <a:pt x="5862" y="16713"/>
                  </a:lnTo>
                  <a:lnTo>
                    <a:pt x="198" y="15320"/>
                  </a:lnTo>
                  <a:lnTo>
                    <a:pt x="2068" y="10538"/>
                  </a:lnTo>
                  <a:lnTo>
                    <a:pt x="0" y="3813"/>
                  </a:lnTo>
                  <a:lnTo>
                    <a:pt x="6204"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62" name="Freihandform: Form 561">
              <a:extLst>
                <a:ext uri="{FF2B5EF4-FFF2-40B4-BE49-F238E27FC236}">
                  <a16:creationId xmlns:a16="http://schemas.microsoft.com/office/drawing/2014/main" id="{09CE09E3-BBC0-1C1F-2A23-EA6BA3819D38}"/>
                </a:ext>
              </a:extLst>
            </p:cNvPr>
            <p:cNvSpPr/>
            <p:nvPr/>
          </p:nvSpPr>
          <p:spPr>
            <a:xfrm>
              <a:off x="7588118" y="6158009"/>
              <a:ext cx="41270" cy="38101"/>
            </a:xfrm>
            <a:custGeom>
              <a:avLst/>
              <a:gdLst>
                <a:gd name="connsiteX0" fmla="*/ 29941 w 32915"/>
                <a:gd name="connsiteY0" fmla="*/ 0 h 30596"/>
                <a:gd name="connsiteX1" fmla="*/ 32916 w 32915"/>
                <a:gd name="connsiteY1" fmla="*/ 5809 h 30596"/>
                <a:gd name="connsiteX2" fmla="*/ 23487 w 32915"/>
                <a:gd name="connsiteY2" fmla="*/ 18198 h 30596"/>
                <a:gd name="connsiteX3" fmla="*/ 17263 w 32915"/>
                <a:gd name="connsiteY3" fmla="*/ 19866 h 30596"/>
                <a:gd name="connsiteX4" fmla="*/ 5920 w 32915"/>
                <a:gd name="connsiteY4" fmla="*/ 29068 h 30596"/>
                <a:gd name="connsiteX5" fmla="*/ 521 w 32915"/>
                <a:gd name="connsiteY5" fmla="*/ 30597 h 30596"/>
                <a:gd name="connsiteX6" fmla="*/ 0 w 32915"/>
                <a:gd name="connsiteY6" fmla="*/ 24132 h 30596"/>
                <a:gd name="connsiteX7" fmla="*/ 4879 w 32915"/>
                <a:gd name="connsiteY7" fmla="*/ 12649 h 30596"/>
                <a:gd name="connsiteX8" fmla="*/ 17167 w 32915"/>
                <a:gd name="connsiteY8" fmla="*/ 9651 h 30596"/>
                <a:gd name="connsiteX9" fmla="*/ 29941 w 32915"/>
                <a:gd name="connsiteY9" fmla="*/ 0 h 3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915" h="30596">
                  <a:moveTo>
                    <a:pt x="29941" y="0"/>
                  </a:moveTo>
                  <a:lnTo>
                    <a:pt x="32916" y="5809"/>
                  </a:lnTo>
                  <a:lnTo>
                    <a:pt x="23487" y="18198"/>
                  </a:lnTo>
                  <a:lnTo>
                    <a:pt x="17263" y="19866"/>
                  </a:lnTo>
                  <a:cubicBezTo>
                    <a:pt x="17263" y="19866"/>
                    <a:pt x="10061" y="23125"/>
                    <a:pt x="5920" y="29068"/>
                  </a:cubicBezTo>
                  <a:cubicBezTo>
                    <a:pt x="3852" y="30201"/>
                    <a:pt x="521" y="30597"/>
                    <a:pt x="521" y="30597"/>
                  </a:cubicBezTo>
                  <a:lnTo>
                    <a:pt x="0" y="24132"/>
                  </a:lnTo>
                  <a:cubicBezTo>
                    <a:pt x="0" y="24132"/>
                    <a:pt x="4739" y="16246"/>
                    <a:pt x="4879" y="12649"/>
                  </a:cubicBezTo>
                  <a:cubicBezTo>
                    <a:pt x="9801" y="10847"/>
                    <a:pt x="14048" y="9954"/>
                    <a:pt x="17167" y="9651"/>
                  </a:cubicBezTo>
                  <a:cubicBezTo>
                    <a:pt x="23747" y="5288"/>
                    <a:pt x="29941" y="0"/>
                    <a:pt x="29941"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63" name="Freihandform: Form 562">
              <a:extLst>
                <a:ext uri="{FF2B5EF4-FFF2-40B4-BE49-F238E27FC236}">
                  <a16:creationId xmlns:a16="http://schemas.microsoft.com/office/drawing/2014/main" id="{4ECCFE48-AB4E-7BF0-0ADE-839902480A70}"/>
                </a:ext>
              </a:extLst>
            </p:cNvPr>
            <p:cNvSpPr/>
            <p:nvPr/>
          </p:nvSpPr>
          <p:spPr>
            <a:xfrm>
              <a:off x="7659548" y="6116732"/>
              <a:ext cx="63493" cy="31751"/>
            </a:xfrm>
            <a:custGeom>
              <a:avLst/>
              <a:gdLst>
                <a:gd name="connsiteX0" fmla="*/ 34593 w 49609"/>
                <a:gd name="connsiteY0" fmla="*/ 23231 h 25053"/>
                <a:gd name="connsiteX1" fmla="*/ 37978 w 49609"/>
                <a:gd name="connsiteY1" fmla="*/ 17017 h 25053"/>
                <a:gd name="connsiteX2" fmla="*/ 49610 w 49609"/>
                <a:gd name="connsiteY2" fmla="*/ 6604 h 25053"/>
                <a:gd name="connsiteX3" fmla="*/ 47788 w 49609"/>
                <a:gd name="connsiteY3" fmla="*/ 897 h 25053"/>
                <a:gd name="connsiteX4" fmla="*/ 41844 w 49609"/>
                <a:gd name="connsiteY4" fmla="*/ 0 h 25053"/>
                <a:gd name="connsiteX5" fmla="*/ 40320 w 49609"/>
                <a:gd name="connsiteY5" fmla="*/ 6435 h 25053"/>
                <a:gd name="connsiteX6" fmla="*/ 0 w 49609"/>
                <a:gd name="connsiteY6" fmla="*/ 18816 h 25053"/>
                <a:gd name="connsiteX7" fmla="*/ 4276 w 49609"/>
                <a:gd name="connsiteY7" fmla="*/ 25053 h 25053"/>
                <a:gd name="connsiteX8" fmla="*/ 28678 w 49609"/>
                <a:gd name="connsiteY8" fmla="*/ 24282 h 25053"/>
                <a:gd name="connsiteX9" fmla="*/ 34593 w 49609"/>
                <a:gd name="connsiteY9" fmla="*/ 23231 h 25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609" h="25053">
                  <a:moveTo>
                    <a:pt x="34593" y="23231"/>
                  </a:moveTo>
                  <a:lnTo>
                    <a:pt x="37978" y="17017"/>
                  </a:lnTo>
                  <a:lnTo>
                    <a:pt x="49610" y="6604"/>
                  </a:lnTo>
                  <a:lnTo>
                    <a:pt x="47788" y="897"/>
                  </a:lnTo>
                  <a:lnTo>
                    <a:pt x="41844" y="0"/>
                  </a:lnTo>
                  <a:lnTo>
                    <a:pt x="40320" y="6435"/>
                  </a:lnTo>
                  <a:cubicBezTo>
                    <a:pt x="40320" y="6435"/>
                    <a:pt x="12664" y="-8157"/>
                    <a:pt x="0" y="18816"/>
                  </a:cubicBezTo>
                  <a:cubicBezTo>
                    <a:pt x="1692" y="21298"/>
                    <a:pt x="4276" y="25053"/>
                    <a:pt x="4276" y="25053"/>
                  </a:cubicBezTo>
                  <a:cubicBezTo>
                    <a:pt x="4276" y="25053"/>
                    <a:pt x="11666" y="12544"/>
                    <a:pt x="28678" y="24282"/>
                  </a:cubicBezTo>
                  <a:cubicBezTo>
                    <a:pt x="31783" y="23868"/>
                    <a:pt x="34593" y="23231"/>
                    <a:pt x="34593" y="2323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64" name="Freihandform: Form 563">
              <a:extLst>
                <a:ext uri="{FF2B5EF4-FFF2-40B4-BE49-F238E27FC236}">
                  <a16:creationId xmlns:a16="http://schemas.microsoft.com/office/drawing/2014/main" id="{8A67CD5A-8827-3D87-C5E6-CB26F95E8096}"/>
                </a:ext>
              </a:extLst>
            </p:cNvPr>
            <p:cNvSpPr/>
            <p:nvPr/>
          </p:nvSpPr>
          <p:spPr>
            <a:xfrm>
              <a:off x="7527800" y="6011953"/>
              <a:ext cx="52382" cy="74615"/>
            </a:xfrm>
            <a:custGeom>
              <a:avLst/>
              <a:gdLst>
                <a:gd name="connsiteX0" fmla="*/ 31523 w 40657"/>
                <a:gd name="connsiteY0" fmla="*/ 59153 h 59171"/>
                <a:gd name="connsiteX1" fmla="*/ 37905 w 40657"/>
                <a:gd name="connsiteY1" fmla="*/ 45033 h 59171"/>
                <a:gd name="connsiteX2" fmla="*/ 38214 w 40657"/>
                <a:gd name="connsiteY2" fmla="*/ 39191 h 59171"/>
                <a:gd name="connsiteX3" fmla="*/ 40658 w 40657"/>
                <a:gd name="connsiteY3" fmla="*/ 33025 h 59171"/>
                <a:gd name="connsiteX4" fmla="*/ 35837 w 40657"/>
                <a:gd name="connsiteY4" fmla="*/ 20106 h 59171"/>
                <a:gd name="connsiteX5" fmla="*/ 36681 w 40657"/>
                <a:gd name="connsiteY5" fmla="*/ 14923 h 59171"/>
                <a:gd name="connsiteX6" fmla="*/ 32762 w 40657"/>
                <a:gd name="connsiteY6" fmla="*/ 2163 h 59171"/>
                <a:gd name="connsiteX7" fmla="*/ 26692 w 40657"/>
                <a:gd name="connsiteY7" fmla="*/ 3219 h 59171"/>
                <a:gd name="connsiteX8" fmla="*/ 12741 w 40657"/>
                <a:gd name="connsiteY8" fmla="*/ 1112 h 59171"/>
                <a:gd name="connsiteX9" fmla="*/ 3456 w 40657"/>
                <a:gd name="connsiteY9" fmla="*/ 3537 h 59171"/>
                <a:gd name="connsiteX10" fmla="*/ 0 w 40657"/>
                <a:gd name="connsiteY10" fmla="*/ 10074 h 59171"/>
                <a:gd name="connsiteX11" fmla="*/ 4845 w 40657"/>
                <a:gd name="connsiteY11" fmla="*/ 16803 h 59171"/>
                <a:gd name="connsiteX12" fmla="*/ 20864 w 40657"/>
                <a:gd name="connsiteY12" fmla="*/ 41235 h 59171"/>
                <a:gd name="connsiteX13" fmla="*/ 13440 w 40657"/>
                <a:gd name="connsiteY13" fmla="*/ 45217 h 59171"/>
                <a:gd name="connsiteX14" fmla="*/ 12413 w 40657"/>
                <a:gd name="connsiteY14" fmla="*/ 50375 h 59171"/>
                <a:gd name="connsiteX15" fmla="*/ 22383 w 40657"/>
                <a:gd name="connsiteY15" fmla="*/ 56767 h 59171"/>
                <a:gd name="connsiteX16" fmla="*/ 31523 w 40657"/>
                <a:gd name="connsiteY16" fmla="*/ 59153 h 59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657" h="59171">
                  <a:moveTo>
                    <a:pt x="31523" y="59153"/>
                  </a:moveTo>
                  <a:lnTo>
                    <a:pt x="37905" y="45033"/>
                  </a:lnTo>
                  <a:lnTo>
                    <a:pt x="38214" y="39191"/>
                  </a:lnTo>
                  <a:lnTo>
                    <a:pt x="40658" y="33025"/>
                  </a:lnTo>
                  <a:lnTo>
                    <a:pt x="35837" y="20106"/>
                  </a:lnTo>
                  <a:lnTo>
                    <a:pt x="36681" y="14923"/>
                  </a:lnTo>
                  <a:lnTo>
                    <a:pt x="32762" y="2163"/>
                  </a:lnTo>
                  <a:lnTo>
                    <a:pt x="26692" y="3219"/>
                  </a:lnTo>
                  <a:cubicBezTo>
                    <a:pt x="26692" y="3219"/>
                    <a:pt x="18811" y="-2296"/>
                    <a:pt x="12741" y="1112"/>
                  </a:cubicBezTo>
                  <a:cubicBezTo>
                    <a:pt x="7612" y="4226"/>
                    <a:pt x="5626" y="3445"/>
                    <a:pt x="3456" y="3537"/>
                  </a:cubicBezTo>
                  <a:cubicBezTo>
                    <a:pt x="169" y="6993"/>
                    <a:pt x="0" y="10074"/>
                    <a:pt x="0" y="10074"/>
                  </a:cubicBezTo>
                  <a:lnTo>
                    <a:pt x="4845" y="16803"/>
                  </a:lnTo>
                  <a:cubicBezTo>
                    <a:pt x="4845" y="16803"/>
                    <a:pt x="27748" y="21619"/>
                    <a:pt x="20864" y="41235"/>
                  </a:cubicBezTo>
                  <a:cubicBezTo>
                    <a:pt x="16188" y="43148"/>
                    <a:pt x="13440" y="45217"/>
                    <a:pt x="13440" y="45217"/>
                  </a:cubicBezTo>
                  <a:lnTo>
                    <a:pt x="12413" y="50375"/>
                  </a:lnTo>
                  <a:cubicBezTo>
                    <a:pt x="12413" y="50375"/>
                    <a:pt x="20912" y="53976"/>
                    <a:pt x="22383" y="56767"/>
                  </a:cubicBezTo>
                  <a:cubicBezTo>
                    <a:pt x="23887" y="59534"/>
                    <a:pt x="31523" y="59153"/>
                    <a:pt x="31523" y="59153"/>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65" name="Freihandform: Form 564">
              <a:extLst>
                <a:ext uri="{FF2B5EF4-FFF2-40B4-BE49-F238E27FC236}">
                  <a16:creationId xmlns:a16="http://schemas.microsoft.com/office/drawing/2014/main" id="{3772E035-7071-9C38-0448-566E7A88C115}"/>
                </a:ext>
              </a:extLst>
            </p:cNvPr>
            <p:cNvSpPr/>
            <p:nvPr/>
          </p:nvSpPr>
          <p:spPr>
            <a:xfrm>
              <a:off x="7488117" y="6023066"/>
              <a:ext cx="11111" cy="12700"/>
            </a:xfrm>
            <a:custGeom>
              <a:avLst/>
              <a:gdLst>
                <a:gd name="connsiteX0" fmla="*/ 6378 w 8807"/>
                <a:gd name="connsiteY0" fmla="*/ 0 h 9993"/>
                <a:gd name="connsiteX1" fmla="*/ 8808 w 8807"/>
                <a:gd name="connsiteY1" fmla="*/ 5848 h 9993"/>
                <a:gd name="connsiteX2" fmla="*/ 4479 w 8807"/>
                <a:gd name="connsiteY2" fmla="*/ 9993 h 9993"/>
                <a:gd name="connsiteX3" fmla="*/ 0 w 8807"/>
                <a:gd name="connsiteY3" fmla="*/ 2916 h 9993"/>
              </a:gdLst>
              <a:ahLst/>
              <a:cxnLst>
                <a:cxn ang="0">
                  <a:pos x="connsiteX0" y="connsiteY0"/>
                </a:cxn>
                <a:cxn ang="0">
                  <a:pos x="connsiteX1" y="connsiteY1"/>
                </a:cxn>
                <a:cxn ang="0">
                  <a:pos x="connsiteX2" y="connsiteY2"/>
                </a:cxn>
                <a:cxn ang="0">
                  <a:pos x="connsiteX3" y="connsiteY3"/>
                </a:cxn>
              </a:cxnLst>
              <a:rect l="l" t="t" r="r" b="b"/>
              <a:pathLst>
                <a:path w="8807" h="9993">
                  <a:moveTo>
                    <a:pt x="6378" y="0"/>
                  </a:moveTo>
                  <a:lnTo>
                    <a:pt x="8808" y="5848"/>
                  </a:lnTo>
                  <a:lnTo>
                    <a:pt x="4479" y="9993"/>
                  </a:lnTo>
                  <a:lnTo>
                    <a:pt x="0" y="291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66" name="Freihandform: Form 565">
              <a:extLst>
                <a:ext uri="{FF2B5EF4-FFF2-40B4-BE49-F238E27FC236}">
                  <a16:creationId xmlns:a16="http://schemas.microsoft.com/office/drawing/2014/main" id="{70EA3F91-6CDF-F0D8-07C5-C90F0F0ECCFC}"/>
                </a:ext>
              </a:extLst>
            </p:cNvPr>
            <p:cNvSpPr/>
            <p:nvPr/>
          </p:nvSpPr>
          <p:spPr>
            <a:xfrm>
              <a:off x="7123033" y="6011953"/>
              <a:ext cx="258733" cy="152406"/>
            </a:xfrm>
            <a:custGeom>
              <a:avLst/>
              <a:gdLst>
                <a:gd name="connsiteX0" fmla="*/ 197596 w 203072"/>
                <a:gd name="connsiteY0" fmla="*/ 91685 h 119230"/>
                <a:gd name="connsiteX1" fmla="*/ 202489 w 203072"/>
                <a:gd name="connsiteY1" fmla="*/ 110298 h 119230"/>
                <a:gd name="connsiteX2" fmla="*/ 196565 w 203072"/>
                <a:gd name="connsiteY2" fmla="*/ 119226 h 119230"/>
                <a:gd name="connsiteX3" fmla="*/ 190110 w 203072"/>
                <a:gd name="connsiteY3" fmla="*/ 113234 h 119230"/>
                <a:gd name="connsiteX4" fmla="*/ 184007 w 203072"/>
                <a:gd name="connsiteY4" fmla="*/ 113523 h 119230"/>
                <a:gd name="connsiteX5" fmla="*/ 183640 w 203072"/>
                <a:gd name="connsiteY5" fmla="*/ 119231 h 119230"/>
                <a:gd name="connsiteX6" fmla="*/ 178077 w 203072"/>
                <a:gd name="connsiteY6" fmla="*/ 116902 h 119230"/>
                <a:gd name="connsiteX7" fmla="*/ 163996 w 203072"/>
                <a:gd name="connsiteY7" fmla="*/ 106793 h 119230"/>
                <a:gd name="connsiteX8" fmla="*/ 158601 w 203072"/>
                <a:gd name="connsiteY8" fmla="*/ 100623 h 119230"/>
                <a:gd name="connsiteX9" fmla="*/ 157309 w 203072"/>
                <a:gd name="connsiteY9" fmla="*/ 94419 h 119230"/>
                <a:gd name="connsiteX10" fmla="*/ 151076 w 203072"/>
                <a:gd name="connsiteY10" fmla="*/ 90914 h 119230"/>
                <a:gd name="connsiteX11" fmla="*/ 151356 w 203072"/>
                <a:gd name="connsiteY11" fmla="*/ 84594 h 119230"/>
                <a:gd name="connsiteX12" fmla="*/ 145142 w 203072"/>
                <a:gd name="connsiteY12" fmla="*/ 85235 h 119230"/>
                <a:gd name="connsiteX13" fmla="*/ 144515 w 203072"/>
                <a:gd name="connsiteY13" fmla="*/ 79175 h 119230"/>
                <a:gd name="connsiteX14" fmla="*/ 137636 w 203072"/>
                <a:gd name="connsiteY14" fmla="*/ 79686 h 119230"/>
                <a:gd name="connsiteX15" fmla="*/ 137009 w 203072"/>
                <a:gd name="connsiteY15" fmla="*/ 72701 h 119230"/>
                <a:gd name="connsiteX16" fmla="*/ 130815 w 203072"/>
                <a:gd name="connsiteY16" fmla="*/ 70107 h 119230"/>
                <a:gd name="connsiteX17" fmla="*/ 112732 w 203072"/>
                <a:gd name="connsiteY17" fmla="*/ 73482 h 119230"/>
                <a:gd name="connsiteX18" fmla="*/ 106909 w 203072"/>
                <a:gd name="connsiteY18" fmla="*/ 75671 h 119230"/>
                <a:gd name="connsiteX19" fmla="*/ 100705 w 203072"/>
                <a:gd name="connsiteY19" fmla="*/ 74374 h 119230"/>
                <a:gd name="connsiteX20" fmla="*/ 93888 w 203072"/>
                <a:gd name="connsiteY20" fmla="*/ 77233 h 119230"/>
                <a:gd name="connsiteX21" fmla="*/ 87674 w 203072"/>
                <a:gd name="connsiteY21" fmla="*/ 69221 h 119230"/>
                <a:gd name="connsiteX22" fmla="*/ 89848 w 203072"/>
                <a:gd name="connsiteY22" fmla="*/ 63142 h 119230"/>
                <a:gd name="connsiteX23" fmla="*/ 85105 w 203072"/>
                <a:gd name="connsiteY23" fmla="*/ 56822 h 119230"/>
                <a:gd name="connsiteX24" fmla="*/ 68310 w 203072"/>
                <a:gd name="connsiteY24" fmla="*/ 49195 h 119230"/>
                <a:gd name="connsiteX25" fmla="*/ 30472 w 203072"/>
                <a:gd name="connsiteY25" fmla="*/ 27801 h 119230"/>
                <a:gd name="connsiteX26" fmla="*/ 23477 w 203072"/>
                <a:gd name="connsiteY26" fmla="*/ 30221 h 119230"/>
                <a:gd name="connsiteX27" fmla="*/ 11473 w 203072"/>
                <a:gd name="connsiteY27" fmla="*/ 26070 h 119230"/>
                <a:gd name="connsiteX28" fmla="*/ 11878 w 203072"/>
                <a:gd name="connsiteY28" fmla="*/ 32289 h 119230"/>
                <a:gd name="connsiteX29" fmla="*/ 0 w 203072"/>
                <a:gd name="connsiteY29" fmla="*/ 35124 h 119230"/>
                <a:gd name="connsiteX30" fmla="*/ 2589 w 203072"/>
                <a:gd name="connsiteY30" fmla="*/ 28293 h 119230"/>
                <a:gd name="connsiteX31" fmla="*/ 21423 w 203072"/>
                <a:gd name="connsiteY31" fmla="*/ 11864 h 119230"/>
                <a:gd name="connsiteX32" fmla="*/ 27353 w 203072"/>
                <a:gd name="connsiteY32" fmla="*/ 6069 h 119230"/>
                <a:gd name="connsiteX33" fmla="*/ 38860 w 203072"/>
                <a:gd name="connsiteY33" fmla="*/ 0 h 119230"/>
                <a:gd name="connsiteX34" fmla="*/ 45720 w 203072"/>
                <a:gd name="connsiteY34" fmla="*/ 376 h 119230"/>
                <a:gd name="connsiteX35" fmla="*/ 57979 w 203072"/>
                <a:gd name="connsiteY35" fmla="*/ 11768 h 119230"/>
                <a:gd name="connsiteX36" fmla="*/ 61218 w 203072"/>
                <a:gd name="connsiteY36" fmla="*/ 18362 h 119230"/>
                <a:gd name="connsiteX37" fmla="*/ 77088 w 203072"/>
                <a:gd name="connsiteY37" fmla="*/ 28688 h 119230"/>
                <a:gd name="connsiteX38" fmla="*/ 91666 w 203072"/>
                <a:gd name="connsiteY38" fmla="*/ 28032 h 119230"/>
                <a:gd name="connsiteX39" fmla="*/ 98135 w 203072"/>
                <a:gd name="connsiteY39" fmla="*/ 33287 h 119230"/>
                <a:gd name="connsiteX40" fmla="*/ 118411 w 203072"/>
                <a:gd name="connsiteY40" fmla="*/ 34984 h 119230"/>
                <a:gd name="connsiteX41" fmla="*/ 128612 w 203072"/>
                <a:gd name="connsiteY41" fmla="*/ 31267 h 119230"/>
                <a:gd name="connsiteX42" fmla="*/ 135202 w 203072"/>
                <a:gd name="connsiteY42" fmla="*/ 32699 h 119230"/>
                <a:gd name="connsiteX43" fmla="*/ 150286 w 203072"/>
                <a:gd name="connsiteY43" fmla="*/ 48043 h 119230"/>
                <a:gd name="connsiteX44" fmla="*/ 152383 w 203072"/>
                <a:gd name="connsiteY44" fmla="*/ 69601 h 119230"/>
                <a:gd name="connsiteX45" fmla="*/ 161412 w 203072"/>
                <a:gd name="connsiteY45" fmla="*/ 83673 h 119230"/>
                <a:gd name="connsiteX46" fmla="*/ 174216 w 203072"/>
                <a:gd name="connsiteY46" fmla="*/ 94804 h 119230"/>
                <a:gd name="connsiteX47" fmla="*/ 178858 w 203072"/>
                <a:gd name="connsiteY47" fmla="*/ 92992 h 119230"/>
                <a:gd name="connsiteX48" fmla="*/ 185829 w 203072"/>
                <a:gd name="connsiteY48" fmla="*/ 95084 h 119230"/>
                <a:gd name="connsiteX49" fmla="*/ 197596 w 203072"/>
                <a:gd name="connsiteY49" fmla="*/ 91685 h 11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03072" h="119230">
                  <a:moveTo>
                    <a:pt x="197596" y="91685"/>
                  </a:moveTo>
                  <a:cubicBezTo>
                    <a:pt x="197596" y="91685"/>
                    <a:pt x="205198" y="102927"/>
                    <a:pt x="202489" y="110298"/>
                  </a:cubicBezTo>
                  <a:cubicBezTo>
                    <a:pt x="201048" y="114053"/>
                    <a:pt x="196565" y="119226"/>
                    <a:pt x="196565" y="119226"/>
                  </a:cubicBezTo>
                  <a:lnTo>
                    <a:pt x="190110" y="113234"/>
                  </a:lnTo>
                  <a:lnTo>
                    <a:pt x="184007" y="113523"/>
                  </a:lnTo>
                  <a:lnTo>
                    <a:pt x="183640" y="119231"/>
                  </a:lnTo>
                  <a:lnTo>
                    <a:pt x="178077" y="116902"/>
                  </a:lnTo>
                  <a:cubicBezTo>
                    <a:pt x="178077" y="116902"/>
                    <a:pt x="172663" y="103722"/>
                    <a:pt x="163996" y="106793"/>
                  </a:cubicBezTo>
                  <a:cubicBezTo>
                    <a:pt x="162583" y="107078"/>
                    <a:pt x="158601" y="100623"/>
                    <a:pt x="158601" y="100623"/>
                  </a:cubicBezTo>
                  <a:lnTo>
                    <a:pt x="157309" y="94419"/>
                  </a:lnTo>
                  <a:lnTo>
                    <a:pt x="151076" y="90914"/>
                  </a:lnTo>
                  <a:lnTo>
                    <a:pt x="151356" y="84594"/>
                  </a:lnTo>
                  <a:lnTo>
                    <a:pt x="145142" y="85235"/>
                  </a:lnTo>
                  <a:lnTo>
                    <a:pt x="144515" y="79175"/>
                  </a:lnTo>
                  <a:lnTo>
                    <a:pt x="137636" y="79686"/>
                  </a:lnTo>
                  <a:lnTo>
                    <a:pt x="137009" y="72701"/>
                  </a:lnTo>
                  <a:lnTo>
                    <a:pt x="130815" y="70107"/>
                  </a:lnTo>
                  <a:cubicBezTo>
                    <a:pt x="130815" y="70107"/>
                    <a:pt x="122301" y="76476"/>
                    <a:pt x="112732" y="73482"/>
                  </a:cubicBezTo>
                  <a:cubicBezTo>
                    <a:pt x="109131" y="74899"/>
                    <a:pt x="106909" y="75671"/>
                    <a:pt x="106909" y="75671"/>
                  </a:cubicBezTo>
                  <a:lnTo>
                    <a:pt x="100705" y="74374"/>
                  </a:lnTo>
                  <a:lnTo>
                    <a:pt x="93888" y="77233"/>
                  </a:lnTo>
                  <a:lnTo>
                    <a:pt x="87674" y="69221"/>
                  </a:lnTo>
                  <a:lnTo>
                    <a:pt x="89848" y="63142"/>
                  </a:lnTo>
                  <a:lnTo>
                    <a:pt x="85105" y="56822"/>
                  </a:lnTo>
                  <a:cubicBezTo>
                    <a:pt x="85105" y="56822"/>
                    <a:pt x="73984" y="54754"/>
                    <a:pt x="68310" y="49195"/>
                  </a:cubicBezTo>
                  <a:cubicBezTo>
                    <a:pt x="62645" y="43642"/>
                    <a:pt x="38339" y="27507"/>
                    <a:pt x="30472" y="27801"/>
                  </a:cubicBezTo>
                  <a:cubicBezTo>
                    <a:pt x="26181" y="28688"/>
                    <a:pt x="23477" y="30221"/>
                    <a:pt x="23477" y="30221"/>
                  </a:cubicBezTo>
                  <a:cubicBezTo>
                    <a:pt x="23477" y="30221"/>
                    <a:pt x="18063" y="23761"/>
                    <a:pt x="11473" y="26070"/>
                  </a:cubicBezTo>
                  <a:cubicBezTo>
                    <a:pt x="12119" y="29551"/>
                    <a:pt x="11878" y="32289"/>
                    <a:pt x="11878" y="32289"/>
                  </a:cubicBezTo>
                  <a:cubicBezTo>
                    <a:pt x="11878" y="32289"/>
                    <a:pt x="4903" y="35389"/>
                    <a:pt x="0" y="35124"/>
                  </a:cubicBezTo>
                  <a:cubicBezTo>
                    <a:pt x="636" y="30737"/>
                    <a:pt x="776" y="29435"/>
                    <a:pt x="2589" y="28293"/>
                  </a:cubicBezTo>
                  <a:cubicBezTo>
                    <a:pt x="4397" y="27141"/>
                    <a:pt x="20382" y="18863"/>
                    <a:pt x="21423" y="11864"/>
                  </a:cubicBezTo>
                  <a:cubicBezTo>
                    <a:pt x="21824" y="8793"/>
                    <a:pt x="27353" y="6069"/>
                    <a:pt x="27353" y="6069"/>
                  </a:cubicBezTo>
                  <a:cubicBezTo>
                    <a:pt x="27353" y="6069"/>
                    <a:pt x="37703" y="2068"/>
                    <a:pt x="38860" y="0"/>
                  </a:cubicBezTo>
                  <a:cubicBezTo>
                    <a:pt x="43893" y="0"/>
                    <a:pt x="45720" y="376"/>
                    <a:pt x="45720" y="376"/>
                  </a:cubicBezTo>
                  <a:lnTo>
                    <a:pt x="57979" y="11768"/>
                  </a:lnTo>
                  <a:lnTo>
                    <a:pt x="61218" y="18362"/>
                  </a:lnTo>
                  <a:cubicBezTo>
                    <a:pt x="61218" y="18362"/>
                    <a:pt x="74514" y="25849"/>
                    <a:pt x="77088" y="28688"/>
                  </a:cubicBezTo>
                  <a:cubicBezTo>
                    <a:pt x="79681" y="31503"/>
                    <a:pt x="85355" y="30862"/>
                    <a:pt x="91666" y="28032"/>
                  </a:cubicBezTo>
                  <a:cubicBezTo>
                    <a:pt x="95416" y="31397"/>
                    <a:pt x="98135" y="33287"/>
                    <a:pt x="98135" y="33287"/>
                  </a:cubicBezTo>
                  <a:cubicBezTo>
                    <a:pt x="98135" y="33287"/>
                    <a:pt x="109893" y="38474"/>
                    <a:pt x="118411" y="34984"/>
                  </a:cubicBezTo>
                  <a:cubicBezTo>
                    <a:pt x="126949" y="31503"/>
                    <a:pt x="128612" y="31267"/>
                    <a:pt x="128612" y="31267"/>
                  </a:cubicBezTo>
                  <a:lnTo>
                    <a:pt x="135202" y="32699"/>
                  </a:lnTo>
                  <a:cubicBezTo>
                    <a:pt x="135202" y="32699"/>
                    <a:pt x="137636" y="42369"/>
                    <a:pt x="150286" y="48043"/>
                  </a:cubicBezTo>
                  <a:cubicBezTo>
                    <a:pt x="148121" y="53982"/>
                    <a:pt x="148772" y="65374"/>
                    <a:pt x="152383" y="69601"/>
                  </a:cubicBezTo>
                  <a:cubicBezTo>
                    <a:pt x="155989" y="73863"/>
                    <a:pt x="160134" y="79436"/>
                    <a:pt x="161412" y="83673"/>
                  </a:cubicBezTo>
                  <a:cubicBezTo>
                    <a:pt x="162718" y="87949"/>
                    <a:pt x="172398" y="96067"/>
                    <a:pt x="174216" y="94804"/>
                  </a:cubicBezTo>
                  <a:cubicBezTo>
                    <a:pt x="175990" y="93502"/>
                    <a:pt x="178858" y="92992"/>
                    <a:pt x="178858" y="92992"/>
                  </a:cubicBezTo>
                  <a:lnTo>
                    <a:pt x="185829" y="95084"/>
                  </a:lnTo>
                  <a:lnTo>
                    <a:pt x="197596" y="9168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67" name="Freihandform: Form 566">
              <a:extLst>
                <a:ext uri="{FF2B5EF4-FFF2-40B4-BE49-F238E27FC236}">
                  <a16:creationId xmlns:a16="http://schemas.microsoft.com/office/drawing/2014/main" id="{5B75E780-A78F-9A0A-9D3D-7E2A4DDAA113}"/>
                </a:ext>
              </a:extLst>
            </p:cNvPr>
            <p:cNvSpPr/>
            <p:nvPr/>
          </p:nvSpPr>
          <p:spPr>
            <a:xfrm>
              <a:off x="7332560" y="5992903"/>
              <a:ext cx="31746" cy="33338"/>
            </a:xfrm>
            <a:custGeom>
              <a:avLst/>
              <a:gdLst>
                <a:gd name="connsiteX0" fmla="*/ 0 w 25482"/>
                <a:gd name="connsiteY0" fmla="*/ 8 h 26005"/>
                <a:gd name="connsiteX1" fmla="*/ 11864 w 25482"/>
                <a:gd name="connsiteY1" fmla="*/ 3445 h 26005"/>
                <a:gd name="connsiteX2" fmla="*/ 13406 w 25482"/>
                <a:gd name="connsiteY2" fmla="*/ 8776 h 26005"/>
                <a:gd name="connsiteX3" fmla="*/ 25482 w 25482"/>
                <a:gd name="connsiteY3" fmla="*/ 16687 h 26005"/>
                <a:gd name="connsiteX4" fmla="*/ 25280 w 25482"/>
                <a:gd name="connsiteY4" fmla="*/ 22564 h 26005"/>
                <a:gd name="connsiteX5" fmla="*/ 19114 w 25482"/>
                <a:gd name="connsiteY5" fmla="*/ 21344 h 26005"/>
                <a:gd name="connsiteX6" fmla="*/ 15118 w 25482"/>
                <a:gd name="connsiteY6" fmla="*/ 26006 h 26005"/>
                <a:gd name="connsiteX7" fmla="*/ 14626 w 25482"/>
                <a:gd name="connsiteY7" fmla="*/ 19117 h 26005"/>
                <a:gd name="connsiteX8" fmla="*/ 2748 w 25482"/>
                <a:gd name="connsiteY8" fmla="*/ 12749 h 26005"/>
                <a:gd name="connsiteX9" fmla="*/ 0 w 25482"/>
                <a:gd name="connsiteY9" fmla="*/ 8 h 2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482" h="26005">
                  <a:moveTo>
                    <a:pt x="0" y="8"/>
                  </a:moveTo>
                  <a:cubicBezTo>
                    <a:pt x="0" y="8"/>
                    <a:pt x="6730" y="-329"/>
                    <a:pt x="11864" y="3445"/>
                  </a:cubicBezTo>
                  <a:cubicBezTo>
                    <a:pt x="12042" y="4824"/>
                    <a:pt x="13406" y="8776"/>
                    <a:pt x="13406" y="8776"/>
                  </a:cubicBezTo>
                  <a:lnTo>
                    <a:pt x="25482" y="16687"/>
                  </a:lnTo>
                  <a:lnTo>
                    <a:pt x="25280" y="22564"/>
                  </a:lnTo>
                  <a:lnTo>
                    <a:pt x="19114" y="21344"/>
                  </a:lnTo>
                  <a:lnTo>
                    <a:pt x="15118" y="26006"/>
                  </a:lnTo>
                  <a:lnTo>
                    <a:pt x="14626" y="19117"/>
                  </a:lnTo>
                  <a:cubicBezTo>
                    <a:pt x="14626" y="19117"/>
                    <a:pt x="11179" y="14475"/>
                    <a:pt x="2748" y="12749"/>
                  </a:cubicBezTo>
                  <a:cubicBezTo>
                    <a:pt x="824" y="6526"/>
                    <a:pt x="0" y="8"/>
                    <a:pt x="0" y="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68" name="Freihandform: Form 567">
              <a:extLst>
                <a:ext uri="{FF2B5EF4-FFF2-40B4-BE49-F238E27FC236}">
                  <a16:creationId xmlns:a16="http://schemas.microsoft.com/office/drawing/2014/main" id="{0E04E9CF-B3BC-C593-989C-D47755CD07A0}"/>
                </a:ext>
              </a:extLst>
            </p:cNvPr>
            <p:cNvSpPr/>
            <p:nvPr/>
          </p:nvSpPr>
          <p:spPr>
            <a:xfrm>
              <a:off x="7245257" y="5951626"/>
              <a:ext cx="11112" cy="23813"/>
            </a:xfrm>
            <a:custGeom>
              <a:avLst/>
              <a:gdLst>
                <a:gd name="connsiteX0" fmla="*/ 5356 w 7804"/>
                <a:gd name="connsiteY0" fmla="*/ 0 h 19278"/>
                <a:gd name="connsiteX1" fmla="*/ 7805 w 7804"/>
                <a:gd name="connsiteY1" fmla="*/ 6720 h 19278"/>
                <a:gd name="connsiteX2" fmla="*/ 1933 w 7804"/>
                <a:gd name="connsiteY2" fmla="*/ 19278 h 19278"/>
                <a:gd name="connsiteX3" fmla="*/ 0 w 7804"/>
                <a:gd name="connsiteY3" fmla="*/ 12905 h 19278"/>
                <a:gd name="connsiteX4" fmla="*/ 5356 w 7804"/>
                <a:gd name="connsiteY4" fmla="*/ 0 h 19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4" h="19278">
                  <a:moveTo>
                    <a:pt x="5356" y="0"/>
                  </a:moveTo>
                  <a:lnTo>
                    <a:pt x="7805" y="6720"/>
                  </a:lnTo>
                  <a:lnTo>
                    <a:pt x="1933" y="19278"/>
                  </a:lnTo>
                  <a:lnTo>
                    <a:pt x="0" y="12905"/>
                  </a:lnTo>
                  <a:cubicBezTo>
                    <a:pt x="0" y="12900"/>
                    <a:pt x="4869" y="3114"/>
                    <a:pt x="5356"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69" name="Freihandform: Form 568">
              <a:extLst>
                <a:ext uri="{FF2B5EF4-FFF2-40B4-BE49-F238E27FC236}">
                  <a16:creationId xmlns:a16="http://schemas.microsoft.com/office/drawing/2014/main" id="{97E8D2C5-8F7A-1D77-9512-375C5EE0B702}"/>
                </a:ext>
              </a:extLst>
            </p:cNvPr>
            <p:cNvSpPr/>
            <p:nvPr/>
          </p:nvSpPr>
          <p:spPr>
            <a:xfrm>
              <a:off x="7210336" y="5977027"/>
              <a:ext cx="23810" cy="17463"/>
            </a:xfrm>
            <a:custGeom>
              <a:avLst/>
              <a:gdLst>
                <a:gd name="connsiteX0" fmla="*/ 0 w 18583"/>
                <a:gd name="connsiteY0" fmla="*/ 0 h 14044"/>
                <a:gd name="connsiteX1" fmla="*/ 18584 w 18583"/>
                <a:gd name="connsiteY1" fmla="*/ 5322 h 14044"/>
                <a:gd name="connsiteX2" fmla="*/ 14809 w 18583"/>
                <a:gd name="connsiteY2" fmla="*/ 13951 h 14044"/>
                <a:gd name="connsiteX3" fmla="*/ 8268 w 18583"/>
                <a:gd name="connsiteY3" fmla="*/ 12732 h 14044"/>
                <a:gd name="connsiteX4" fmla="*/ 0 w 18583"/>
                <a:gd name="connsiteY4" fmla="*/ 0 h 14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83" h="14044">
                  <a:moveTo>
                    <a:pt x="0" y="0"/>
                  </a:moveTo>
                  <a:lnTo>
                    <a:pt x="18584" y="5322"/>
                  </a:lnTo>
                  <a:cubicBezTo>
                    <a:pt x="18584" y="5322"/>
                    <a:pt x="17557" y="13406"/>
                    <a:pt x="14809" y="13951"/>
                  </a:cubicBezTo>
                  <a:cubicBezTo>
                    <a:pt x="12056" y="14457"/>
                    <a:pt x="8268" y="12732"/>
                    <a:pt x="8268" y="12732"/>
                  </a:cubicBezTo>
                  <a:cubicBezTo>
                    <a:pt x="8268" y="12732"/>
                    <a:pt x="4975" y="3784"/>
                    <a:pt x="0"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70" name="Freihandform: Form 569">
              <a:extLst>
                <a:ext uri="{FF2B5EF4-FFF2-40B4-BE49-F238E27FC236}">
                  <a16:creationId xmlns:a16="http://schemas.microsoft.com/office/drawing/2014/main" id="{3DC208E9-B7E3-1C62-7C95-B9C433D63F58}"/>
                </a:ext>
              </a:extLst>
            </p:cNvPr>
            <p:cNvSpPr/>
            <p:nvPr/>
          </p:nvSpPr>
          <p:spPr>
            <a:xfrm>
              <a:off x="7184938" y="5980202"/>
              <a:ext cx="12699" cy="12700"/>
            </a:xfrm>
            <a:custGeom>
              <a:avLst/>
              <a:gdLst>
                <a:gd name="connsiteX0" fmla="*/ 9111 w 9111"/>
                <a:gd name="connsiteY0" fmla="*/ 0 h 10499"/>
                <a:gd name="connsiteX1" fmla="*/ 1548 w 9111"/>
                <a:gd name="connsiteY1" fmla="*/ 829 h 10499"/>
                <a:gd name="connsiteX2" fmla="*/ 0 w 9111"/>
                <a:gd name="connsiteY2" fmla="*/ 7198 h 10499"/>
                <a:gd name="connsiteX3" fmla="*/ 5496 w 9111"/>
                <a:gd name="connsiteY3" fmla="*/ 10499 h 10499"/>
              </a:gdLst>
              <a:ahLst/>
              <a:cxnLst>
                <a:cxn ang="0">
                  <a:pos x="connsiteX0" y="connsiteY0"/>
                </a:cxn>
                <a:cxn ang="0">
                  <a:pos x="connsiteX1" y="connsiteY1"/>
                </a:cxn>
                <a:cxn ang="0">
                  <a:pos x="connsiteX2" y="connsiteY2"/>
                </a:cxn>
                <a:cxn ang="0">
                  <a:pos x="connsiteX3" y="connsiteY3"/>
                </a:cxn>
              </a:cxnLst>
              <a:rect l="l" t="t" r="r" b="b"/>
              <a:pathLst>
                <a:path w="9111" h="10499">
                  <a:moveTo>
                    <a:pt x="9111" y="0"/>
                  </a:moveTo>
                  <a:lnTo>
                    <a:pt x="1548" y="829"/>
                  </a:lnTo>
                  <a:lnTo>
                    <a:pt x="0" y="7198"/>
                  </a:lnTo>
                  <a:lnTo>
                    <a:pt x="5496" y="1049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71" name="Freihandform: Form 570">
              <a:extLst>
                <a:ext uri="{FF2B5EF4-FFF2-40B4-BE49-F238E27FC236}">
                  <a16:creationId xmlns:a16="http://schemas.microsoft.com/office/drawing/2014/main" id="{F758FBA7-75F5-F1CE-7DCF-822CA6C0951E}"/>
                </a:ext>
              </a:extLst>
            </p:cNvPr>
            <p:cNvSpPr/>
            <p:nvPr/>
          </p:nvSpPr>
          <p:spPr>
            <a:xfrm>
              <a:off x="7505577" y="5867485"/>
              <a:ext cx="107938" cy="69853"/>
            </a:xfrm>
            <a:custGeom>
              <a:avLst/>
              <a:gdLst>
                <a:gd name="connsiteX0" fmla="*/ 85252 w 85252"/>
                <a:gd name="connsiteY0" fmla="*/ 41347 h 54464"/>
                <a:gd name="connsiteX1" fmla="*/ 73866 w 85252"/>
                <a:gd name="connsiteY1" fmla="*/ 30496 h 54464"/>
                <a:gd name="connsiteX2" fmla="*/ 71562 w 85252"/>
                <a:gd name="connsiteY2" fmla="*/ 23525 h 54464"/>
                <a:gd name="connsiteX3" fmla="*/ 58136 w 85252"/>
                <a:gd name="connsiteY3" fmla="*/ 16776 h 54464"/>
                <a:gd name="connsiteX4" fmla="*/ 53474 w 85252"/>
                <a:gd name="connsiteY4" fmla="*/ 10591 h 54464"/>
                <a:gd name="connsiteX5" fmla="*/ 50914 w 85252"/>
                <a:gd name="connsiteY5" fmla="*/ 4131 h 54464"/>
                <a:gd name="connsiteX6" fmla="*/ 44686 w 85252"/>
                <a:gd name="connsiteY6" fmla="*/ 0 h 54464"/>
                <a:gd name="connsiteX7" fmla="*/ 37735 w 85252"/>
                <a:gd name="connsiteY7" fmla="*/ 2883 h 54464"/>
                <a:gd name="connsiteX8" fmla="*/ 31796 w 85252"/>
                <a:gd name="connsiteY8" fmla="*/ 3109 h 54464"/>
                <a:gd name="connsiteX9" fmla="*/ 7239 w 85252"/>
                <a:gd name="connsiteY9" fmla="*/ 23757 h 54464"/>
                <a:gd name="connsiteX10" fmla="*/ 278 w 85252"/>
                <a:gd name="connsiteY10" fmla="*/ 34102 h 54464"/>
                <a:gd name="connsiteX11" fmla="*/ 2336 w 85252"/>
                <a:gd name="connsiteY11" fmla="*/ 40797 h 54464"/>
                <a:gd name="connsiteX12" fmla="*/ 14219 w 85252"/>
                <a:gd name="connsiteY12" fmla="*/ 46231 h 54464"/>
                <a:gd name="connsiteX13" fmla="*/ 25832 w 85252"/>
                <a:gd name="connsiteY13" fmla="*/ 45980 h 54464"/>
                <a:gd name="connsiteX14" fmla="*/ 42618 w 85252"/>
                <a:gd name="connsiteY14" fmla="*/ 26080 h 54464"/>
                <a:gd name="connsiteX15" fmla="*/ 44069 w 85252"/>
                <a:gd name="connsiteY15" fmla="*/ 33022 h 54464"/>
                <a:gd name="connsiteX16" fmla="*/ 37870 w 85252"/>
                <a:gd name="connsiteY16" fmla="*/ 37669 h 54464"/>
                <a:gd name="connsiteX17" fmla="*/ 34881 w 85252"/>
                <a:gd name="connsiteY17" fmla="*/ 43160 h 54464"/>
                <a:gd name="connsiteX18" fmla="*/ 28402 w 85252"/>
                <a:gd name="connsiteY18" fmla="*/ 47513 h 54464"/>
                <a:gd name="connsiteX19" fmla="*/ 41591 w 85252"/>
                <a:gd name="connsiteY19" fmla="*/ 51914 h 54464"/>
                <a:gd name="connsiteX20" fmla="*/ 64871 w 85252"/>
                <a:gd name="connsiteY20" fmla="*/ 54465 h 54464"/>
                <a:gd name="connsiteX21" fmla="*/ 73384 w 85252"/>
                <a:gd name="connsiteY21" fmla="*/ 50887 h 54464"/>
                <a:gd name="connsiteX22" fmla="*/ 76985 w 85252"/>
                <a:gd name="connsiteY22" fmla="*/ 44963 h 54464"/>
                <a:gd name="connsiteX23" fmla="*/ 70279 w 85252"/>
                <a:gd name="connsiteY23" fmla="*/ 40306 h 54464"/>
                <a:gd name="connsiteX24" fmla="*/ 64581 w 85252"/>
                <a:gd name="connsiteY24" fmla="*/ 33330 h 54464"/>
                <a:gd name="connsiteX25" fmla="*/ 70540 w 85252"/>
                <a:gd name="connsiteY25" fmla="*/ 32820 h 54464"/>
                <a:gd name="connsiteX26" fmla="*/ 72612 w 85252"/>
                <a:gd name="connsiteY26" fmla="*/ 38763 h 54464"/>
                <a:gd name="connsiteX27" fmla="*/ 78778 w 85252"/>
                <a:gd name="connsiteY27" fmla="*/ 43926 h 54464"/>
                <a:gd name="connsiteX28" fmla="*/ 85252 w 85252"/>
                <a:gd name="connsiteY28" fmla="*/ 41347 h 5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5252" h="54464">
                  <a:moveTo>
                    <a:pt x="85252" y="41347"/>
                  </a:moveTo>
                  <a:cubicBezTo>
                    <a:pt x="85252" y="41347"/>
                    <a:pt x="79058" y="33326"/>
                    <a:pt x="73866" y="30496"/>
                  </a:cubicBezTo>
                  <a:cubicBezTo>
                    <a:pt x="72338" y="26591"/>
                    <a:pt x="71562" y="23525"/>
                    <a:pt x="71562" y="23525"/>
                  </a:cubicBezTo>
                  <a:lnTo>
                    <a:pt x="58136" y="16776"/>
                  </a:lnTo>
                  <a:lnTo>
                    <a:pt x="53474" y="10591"/>
                  </a:lnTo>
                  <a:lnTo>
                    <a:pt x="50914" y="4131"/>
                  </a:lnTo>
                  <a:lnTo>
                    <a:pt x="44686" y="0"/>
                  </a:lnTo>
                  <a:lnTo>
                    <a:pt x="37735" y="2883"/>
                  </a:lnTo>
                  <a:lnTo>
                    <a:pt x="31796" y="3109"/>
                  </a:lnTo>
                  <a:cubicBezTo>
                    <a:pt x="31796" y="3109"/>
                    <a:pt x="27120" y="20667"/>
                    <a:pt x="7239" y="23757"/>
                  </a:cubicBezTo>
                  <a:cubicBezTo>
                    <a:pt x="1054" y="25314"/>
                    <a:pt x="-768" y="28693"/>
                    <a:pt x="278" y="34102"/>
                  </a:cubicBezTo>
                  <a:cubicBezTo>
                    <a:pt x="1310" y="39520"/>
                    <a:pt x="2336" y="40797"/>
                    <a:pt x="2336" y="40797"/>
                  </a:cubicBezTo>
                  <a:lnTo>
                    <a:pt x="14219" y="46231"/>
                  </a:lnTo>
                  <a:cubicBezTo>
                    <a:pt x="14219" y="46231"/>
                    <a:pt x="22487" y="43391"/>
                    <a:pt x="25832" y="45980"/>
                  </a:cubicBezTo>
                  <a:cubicBezTo>
                    <a:pt x="30243" y="38489"/>
                    <a:pt x="34370" y="24021"/>
                    <a:pt x="42618" y="26080"/>
                  </a:cubicBezTo>
                  <a:cubicBezTo>
                    <a:pt x="43905" y="28949"/>
                    <a:pt x="44069" y="33022"/>
                    <a:pt x="44069" y="33022"/>
                  </a:cubicBezTo>
                  <a:lnTo>
                    <a:pt x="37870" y="37669"/>
                  </a:lnTo>
                  <a:lnTo>
                    <a:pt x="34881" y="43160"/>
                  </a:lnTo>
                  <a:lnTo>
                    <a:pt x="28402" y="47513"/>
                  </a:lnTo>
                  <a:cubicBezTo>
                    <a:pt x="28402" y="47513"/>
                    <a:pt x="36703" y="52936"/>
                    <a:pt x="41591" y="51914"/>
                  </a:cubicBezTo>
                  <a:cubicBezTo>
                    <a:pt x="46504" y="50887"/>
                    <a:pt x="52443" y="51914"/>
                    <a:pt x="64871" y="54465"/>
                  </a:cubicBezTo>
                  <a:cubicBezTo>
                    <a:pt x="69749" y="52676"/>
                    <a:pt x="73384" y="50887"/>
                    <a:pt x="73384" y="50887"/>
                  </a:cubicBezTo>
                  <a:lnTo>
                    <a:pt x="76985" y="44963"/>
                  </a:lnTo>
                  <a:lnTo>
                    <a:pt x="70279" y="40306"/>
                  </a:lnTo>
                  <a:lnTo>
                    <a:pt x="64581" y="33330"/>
                  </a:lnTo>
                  <a:lnTo>
                    <a:pt x="70540" y="32820"/>
                  </a:lnTo>
                  <a:lnTo>
                    <a:pt x="72612" y="38763"/>
                  </a:lnTo>
                  <a:lnTo>
                    <a:pt x="78778" y="43926"/>
                  </a:lnTo>
                  <a:lnTo>
                    <a:pt x="85252" y="4134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72" name="Freihandform: Form 571">
              <a:extLst>
                <a:ext uri="{FF2B5EF4-FFF2-40B4-BE49-F238E27FC236}">
                  <a16:creationId xmlns:a16="http://schemas.microsoft.com/office/drawing/2014/main" id="{A1C92391-C28F-70B8-3353-BC6A49EBBDC1}"/>
                </a:ext>
              </a:extLst>
            </p:cNvPr>
            <p:cNvSpPr/>
            <p:nvPr/>
          </p:nvSpPr>
          <p:spPr>
            <a:xfrm>
              <a:off x="7378592" y="5878598"/>
              <a:ext cx="9524" cy="12700"/>
            </a:xfrm>
            <a:custGeom>
              <a:avLst/>
              <a:gdLst>
                <a:gd name="connsiteX0" fmla="*/ 7968 w 7968"/>
                <a:gd name="connsiteY0" fmla="*/ 1533 h 10596"/>
                <a:gd name="connsiteX1" fmla="*/ 1277 w 7968"/>
                <a:gd name="connsiteY1" fmla="*/ 0 h 10596"/>
                <a:gd name="connsiteX2" fmla="*/ 0 w 7968"/>
                <a:gd name="connsiteY2" fmla="*/ 3852 h 10596"/>
                <a:gd name="connsiteX3" fmla="*/ 4141 w 7968"/>
                <a:gd name="connsiteY3" fmla="*/ 10596 h 10596"/>
              </a:gdLst>
              <a:ahLst/>
              <a:cxnLst>
                <a:cxn ang="0">
                  <a:pos x="connsiteX0" y="connsiteY0"/>
                </a:cxn>
                <a:cxn ang="0">
                  <a:pos x="connsiteX1" y="connsiteY1"/>
                </a:cxn>
                <a:cxn ang="0">
                  <a:pos x="connsiteX2" y="connsiteY2"/>
                </a:cxn>
                <a:cxn ang="0">
                  <a:pos x="connsiteX3" y="connsiteY3"/>
                </a:cxn>
              </a:cxnLst>
              <a:rect l="l" t="t" r="r" b="b"/>
              <a:pathLst>
                <a:path w="7968" h="10596">
                  <a:moveTo>
                    <a:pt x="7968" y="1533"/>
                  </a:moveTo>
                  <a:lnTo>
                    <a:pt x="1277" y="0"/>
                  </a:lnTo>
                  <a:lnTo>
                    <a:pt x="0" y="3852"/>
                  </a:lnTo>
                  <a:lnTo>
                    <a:pt x="4141" y="1059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73" name="Freihandform: Form 572">
              <a:extLst>
                <a:ext uri="{FF2B5EF4-FFF2-40B4-BE49-F238E27FC236}">
                  <a16:creationId xmlns:a16="http://schemas.microsoft.com/office/drawing/2014/main" id="{C9B55E57-CCE6-10B0-C087-60403814A930}"/>
                </a:ext>
              </a:extLst>
            </p:cNvPr>
            <p:cNvSpPr/>
            <p:nvPr/>
          </p:nvSpPr>
          <p:spPr>
            <a:xfrm>
              <a:off x="7497641" y="5799220"/>
              <a:ext cx="15873" cy="9525"/>
            </a:xfrm>
            <a:custGeom>
              <a:avLst/>
              <a:gdLst>
                <a:gd name="connsiteX0" fmla="*/ 5929 w 12128"/>
                <a:gd name="connsiteY0" fmla="*/ 0 h 8011"/>
                <a:gd name="connsiteX1" fmla="*/ 0 w 12128"/>
                <a:gd name="connsiteY1" fmla="*/ 3591 h 8011"/>
                <a:gd name="connsiteX2" fmla="*/ 12129 w 12128"/>
                <a:gd name="connsiteY2" fmla="*/ 8012 h 8011"/>
              </a:gdLst>
              <a:ahLst/>
              <a:cxnLst>
                <a:cxn ang="0">
                  <a:pos x="connsiteX0" y="connsiteY0"/>
                </a:cxn>
                <a:cxn ang="0">
                  <a:pos x="connsiteX1" y="connsiteY1"/>
                </a:cxn>
                <a:cxn ang="0">
                  <a:pos x="connsiteX2" y="connsiteY2"/>
                </a:cxn>
              </a:cxnLst>
              <a:rect l="l" t="t" r="r" b="b"/>
              <a:pathLst>
                <a:path w="12128" h="8011">
                  <a:moveTo>
                    <a:pt x="5929" y="0"/>
                  </a:moveTo>
                  <a:lnTo>
                    <a:pt x="0" y="3591"/>
                  </a:lnTo>
                  <a:lnTo>
                    <a:pt x="12129" y="801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74" name="Freihandform: Form 573">
              <a:extLst>
                <a:ext uri="{FF2B5EF4-FFF2-40B4-BE49-F238E27FC236}">
                  <a16:creationId xmlns:a16="http://schemas.microsoft.com/office/drawing/2014/main" id="{0071D692-139B-F95F-C3E8-A6A71C4165A5}"/>
                </a:ext>
              </a:extLst>
            </p:cNvPr>
            <p:cNvSpPr/>
            <p:nvPr/>
          </p:nvSpPr>
          <p:spPr>
            <a:xfrm>
              <a:off x="7372242" y="5786520"/>
              <a:ext cx="49207" cy="44452"/>
            </a:xfrm>
            <a:custGeom>
              <a:avLst/>
              <a:gdLst>
                <a:gd name="connsiteX0" fmla="*/ 36657 w 39279"/>
                <a:gd name="connsiteY0" fmla="*/ 14718 h 34366"/>
                <a:gd name="connsiteX1" fmla="*/ 36941 w 39279"/>
                <a:gd name="connsiteY1" fmla="*/ 9318 h 34366"/>
                <a:gd name="connsiteX2" fmla="*/ 39279 w 39279"/>
                <a:gd name="connsiteY2" fmla="*/ 2858 h 34366"/>
                <a:gd name="connsiteX3" fmla="*/ 36657 w 39279"/>
                <a:gd name="connsiteY3" fmla="*/ 0 h 34366"/>
                <a:gd name="connsiteX4" fmla="*/ 30727 w 39279"/>
                <a:gd name="connsiteY4" fmla="*/ 4368 h 34366"/>
                <a:gd name="connsiteX5" fmla="*/ 31238 w 39279"/>
                <a:gd name="connsiteY5" fmla="*/ 8788 h 34366"/>
                <a:gd name="connsiteX6" fmla="*/ 23771 w 39279"/>
                <a:gd name="connsiteY6" fmla="*/ 13151 h 34366"/>
                <a:gd name="connsiteX7" fmla="*/ 18087 w 39279"/>
                <a:gd name="connsiteY7" fmla="*/ 7506 h 34366"/>
                <a:gd name="connsiteX8" fmla="*/ 4633 w 39279"/>
                <a:gd name="connsiteY8" fmla="*/ 10586 h 34366"/>
                <a:gd name="connsiteX9" fmla="*/ 0 w 39279"/>
                <a:gd name="connsiteY9" fmla="*/ 14462 h 34366"/>
                <a:gd name="connsiteX10" fmla="*/ 3852 w 39279"/>
                <a:gd name="connsiteY10" fmla="*/ 20676 h 34366"/>
                <a:gd name="connsiteX11" fmla="*/ 3852 w 39279"/>
                <a:gd name="connsiteY11" fmla="*/ 34082 h 34366"/>
                <a:gd name="connsiteX12" fmla="*/ 10341 w 39279"/>
                <a:gd name="connsiteY12" fmla="*/ 29715 h 34366"/>
                <a:gd name="connsiteX13" fmla="*/ 16275 w 39279"/>
                <a:gd name="connsiteY13" fmla="*/ 28418 h 34366"/>
                <a:gd name="connsiteX14" fmla="*/ 15740 w 39279"/>
                <a:gd name="connsiteY14" fmla="*/ 34367 h 34366"/>
                <a:gd name="connsiteX15" fmla="*/ 22204 w 39279"/>
                <a:gd name="connsiteY15" fmla="*/ 33311 h 34366"/>
                <a:gd name="connsiteX16" fmla="*/ 18579 w 39279"/>
                <a:gd name="connsiteY16" fmla="*/ 27092 h 34366"/>
                <a:gd name="connsiteX17" fmla="*/ 20151 w 39279"/>
                <a:gd name="connsiteY17" fmla="*/ 20411 h 34366"/>
                <a:gd name="connsiteX18" fmla="*/ 26080 w 39279"/>
                <a:gd name="connsiteY18" fmla="*/ 21182 h 34366"/>
                <a:gd name="connsiteX19" fmla="*/ 23492 w 39279"/>
                <a:gd name="connsiteY19" fmla="*/ 26591 h 34366"/>
                <a:gd name="connsiteX20" fmla="*/ 29488 w 39279"/>
                <a:gd name="connsiteY20" fmla="*/ 32810 h 34366"/>
                <a:gd name="connsiteX21" fmla="*/ 36406 w 39279"/>
                <a:gd name="connsiteY21" fmla="*/ 27623 h 34366"/>
                <a:gd name="connsiteX22" fmla="*/ 32038 w 39279"/>
                <a:gd name="connsiteY22" fmla="*/ 21698 h 3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279" h="34366">
                  <a:moveTo>
                    <a:pt x="36657" y="14718"/>
                  </a:moveTo>
                  <a:lnTo>
                    <a:pt x="36941" y="9318"/>
                  </a:lnTo>
                  <a:lnTo>
                    <a:pt x="39279" y="2858"/>
                  </a:lnTo>
                  <a:lnTo>
                    <a:pt x="36657" y="0"/>
                  </a:lnTo>
                  <a:lnTo>
                    <a:pt x="30727" y="4368"/>
                  </a:lnTo>
                  <a:lnTo>
                    <a:pt x="31238" y="8788"/>
                  </a:lnTo>
                  <a:lnTo>
                    <a:pt x="23771" y="13151"/>
                  </a:lnTo>
                  <a:lnTo>
                    <a:pt x="18087" y="7506"/>
                  </a:lnTo>
                  <a:lnTo>
                    <a:pt x="4633" y="10586"/>
                  </a:lnTo>
                  <a:lnTo>
                    <a:pt x="0" y="14462"/>
                  </a:lnTo>
                  <a:lnTo>
                    <a:pt x="3852" y="20676"/>
                  </a:lnTo>
                  <a:lnTo>
                    <a:pt x="3852" y="34082"/>
                  </a:lnTo>
                  <a:lnTo>
                    <a:pt x="10341" y="29715"/>
                  </a:lnTo>
                  <a:lnTo>
                    <a:pt x="16275" y="28418"/>
                  </a:lnTo>
                  <a:lnTo>
                    <a:pt x="15740" y="34367"/>
                  </a:lnTo>
                  <a:lnTo>
                    <a:pt x="22204" y="33311"/>
                  </a:lnTo>
                  <a:lnTo>
                    <a:pt x="18579" y="27092"/>
                  </a:lnTo>
                  <a:lnTo>
                    <a:pt x="20151" y="20411"/>
                  </a:lnTo>
                  <a:lnTo>
                    <a:pt x="26080" y="21182"/>
                  </a:lnTo>
                  <a:lnTo>
                    <a:pt x="23492" y="26591"/>
                  </a:lnTo>
                  <a:lnTo>
                    <a:pt x="29488" y="32810"/>
                  </a:lnTo>
                  <a:lnTo>
                    <a:pt x="36406" y="27623"/>
                  </a:lnTo>
                  <a:lnTo>
                    <a:pt x="32038" y="2169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75" name="Freihandform: Form 574">
              <a:extLst>
                <a:ext uri="{FF2B5EF4-FFF2-40B4-BE49-F238E27FC236}">
                  <a16:creationId xmlns:a16="http://schemas.microsoft.com/office/drawing/2014/main" id="{234BD0A8-FB46-2BAB-6144-041A23462E3A}"/>
                </a:ext>
              </a:extLst>
            </p:cNvPr>
            <p:cNvSpPr/>
            <p:nvPr/>
          </p:nvSpPr>
          <p:spPr>
            <a:xfrm>
              <a:off x="7445259" y="5735718"/>
              <a:ext cx="39684" cy="30163"/>
            </a:xfrm>
            <a:custGeom>
              <a:avLst/>
              <a:gdLst>
                <a:gd name="connsiteX0" fmla="*/ 25579 w 31503"/>
                <a:gd name="connsiteY0" fmla="*/ 0 h 24012"/>
                <a:gd name="connsiteX1" fmla="*/ 30250 w 31503"/>
                <a:gd name="connsiteY1" fmla="*/ 5433 h 24012"/>
                <a:gd name="connsiteX2" fmla="*/ 31503 w 31503"/>
                <a:gd name="connsiteY2" fmla="*/ 11869 h 24012"/>
                <a:gd name="connsiteX3" fmla="*/ 8798 w 31503"/>
                <a:gd name="connsiteY3" fmla="*/ 24012 h 24012"/>
                <a:gd name="connsiteX4" fmla="*/ 0 w 31503"/>
                <a:gd name="connsiteY4" fmla="*/ 21462 h 24012"/>
                <a:gd name="connsiteX5" fmla="*/ 2343 w 31503"/>
                <a:gd name="connsiteY5" fmla="*/ 14713 h 24012"/>
                <a:gd name="connsiteX6" fmla="*/ 9820 w 31503"/>
                <a:gd name="connsiteY6" fmla="*/ 7525 h 24012"/>
                <a:gd name="connsiteX7" fmla="*/ 15769 w 31503"/>
                <a:gd name="connsiteY7" fmla="*/ 5910 h 24012"/>
                <a:gd name="connsiteX8" fmla="*/ 25579 w 31503"/>
                <a:gd name="connsiteY8" fmla="*/ 0 h 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03" h="24012">
                  <a:moveTo>
                    <a:pt x="25579" y="0"/>
                  </a:moveTo>
                  <a:lnTo>
                    <a:pt x="30250" y="5433"/>
                  </a:lnTo>
                  <a:lnTo>
                    <a:pt x="31503" y="11869"/>
                  </a:lnTo>
                  <a:cubicBezTo>
                    <a:pt x="31503" y="11869"/>
                    <a:pt x="21211" y="20686"/>
                    <a:pt x="8798" y="24012"/>
                  </a:cubicBezTo>
                  <a:cubicBezTo>
                    <a:pt x="5168" y="23511"/>
                    <a:pt x="0" y="21462"/>
                    <a:pt x="0" y="21462"/>
                  </a:cubicBezTo>
                  <a:lnTo>
                    <a:pt x="2343" y="14713"/>
                  </a:lnTo>
                  <a:cubicBezTo>
                    <a:pt x="2343" y="14713"/>
                    <a:pt x="9820" y="8268"/>
                    <a:pt x="9820" y="7525"/>
                  </a:cubicBezTo>
                  <a:cubicBezTo>
                    <a:pt x="9820" y="6749"/>
                    <a:pt x="15769" y="5910"/>
                    <a:pt x="15769" y="5910"/>
                  </a:cubicBezTo>
                  <a:lnTo>
                    <a:pt x="25579"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76" name="Freihandform: Form 575">
              <a:extLst>
                <a:ext uri="{FF2B5EF4-FFF2-40B4-BE49-F238E27FC236}">
                  <a16:creationId xmlns:a16="http://schemas.microsoft.com/office/drawing/2014/main" id="{BBA62C09-D0B9-8E11-9306-2595F15FEDD3}"/>
                </a:ext>
              </a:extLst>
            </p:cNvPr>
            <p:cNvSpPr/>
            <p:nvPr/>
          </p:nvSpPr>
          <p:spPr>
            <a:xfrm>
              <a:off x="7405576" y="5700791"/>
              <a:ext cx="31746" cy="19051"/>
            </a:xfrm>
            <a:custGeom>
              <a:avLst/>
              <a:gdLst>
                <a:gd name="connsiteX0" fmla="*/ 24788 w 24787"/>
                <a:gd name="connsiteY0" fmla="*/ 5939 h 14948"/>
                <a:gd name="connsiteX1" fmla="*/ 0 w 24787"/>
                <a:gd name="connsiteY1" fmla="*/ 7722 h 14948"/>
                <a:gd name="connsiteX2" fmla="*/ 12404 w 24787"/>
                <a:gd name="connsiteY2" fmla="*/ 14948 h 14948"/>
                <a:gd name="connsiteX3" fmla="*/ 19350 w 24787"/>
                <a:gd name="connsiteY3" fmla="*/ 13155 h 14948"/>
                <a:gd name="connsiteX4" fmla="*/ 24788 w 24787"/>
                <a:gd name="connsiteY4" fmla="*/ 5939 h 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7" h="14948">
                  <a:moveTo>
                    <a:pt x="24788" y="5939"/>
                  </a:moveTo>
                  <a:cubicBezTo>
                    <a:pt x="24788" y="5939"/>
                    <a:pt x="16786" y="-8543"/>
                    <a:pt x="0" y="7722"/>
                  </a:cubicBezTo>
                  <a:cubicBezTo>
                    <a:pt x="4387" y="11342"/>
                    <a:pt x="12404" y="14948"/>
                    <a:pt x="12404" y="14948"/>
                  </a:cubicBezTo>
                  <a:lnTo>
                    <a:pt x="19350" y="13155"/>
                  </a:lnTo>
                  <a:lnTo>
                    <a:pt x="24788" y="593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77" name="Freihandform: Form 576">
              <a:extLst>
                <a:ext uri="{FF2B5EF4-FFF2-40B4-BE49-F238E27FC236}">
                  <a16:creationId xmlns:a16="http://schemas.microsoft.com/office/drawing/2014/main" id="{020EAA88-4909-CE50-D627-F1A3B934C6BB}"/>
                </a:ext>
              </a:extLst>
            </p:cNvPr>
            <p:cNvSpPr/>
            <p:nvPr/>
          </p:nvSpPr>
          <p:spPr>
            <a:xfrm>
              <a:off x="7278591" y="5678566"/>
              <a:ext cx="34921" cy="38101"/>
            </a:xfrm>
            <a:custGeom>
              <a:avLst/>
              <a:gdLst>
                <a:gd name="connsiteX0" fmla="*/ 14918 w 27293"/>
                <a:gd name="connsiteY0" fmla="*/ 29696 h 29696"/>
                <a:gd name="connsiteX1" fmla="*/ 27293 w 27293"/>
                <a:gd name="connsiteY1" fmla="*/ 21134 h 29696"/>
                <a:gd name="connsiteX2" fmla="*/ 23186 w 27293"/>
                <a:gd name="connsiteY2" fmla="*/ 8779 h 29696"/>
                <a:gd name="connsiteX3" fmla="*/ 8714 w 27293"/>
                <a:gd name="connsiteY3" fmla="*/ 10 h 29696"/>
                <a:gd name="connsiteX4" fmla="*/ 2785 w 27293"/>
                <a:gd name="connsiteY4" fmla="*/ 5154 h 29696"/>
                <a:gd name="connsiteX5" fmla="*/ 4848 w 27293"/>
                <a:gd name="connsiteY5" fmla="*/ 24808 h 29696"/>
                <a:gd name="connsiteX6" fmla="*/ 9780 w 27293"/>
                <a:gd name="connsiteY6" fmla="*/ 24808 h 29696"/>
                <a:gd name="connsiteX7" fmla="*/ 14918 w 27293"/>
                <a:gd name="connsiteY7" fmla="*/ 29696 h 29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293" h="29696">
                  <a:moveTo>
                    <a:pt x="14918" y="29696"/>
                  </a:moveTo>
                  <a:cubicBezTo>
                    <a:pt x="14918" y="29696"/>
                    <a:pt x="23716" y="21689"/>
                    <a:pt x="27293" y="21134"/>
                  </a:cubicBezTo>
                  <a:cubicBezTo>
                    <a:pt x="24994" y="15764"/>
                    <a:pt x="23716" y="12370"/>
                    <a:pt x="23186" y="8779"/>
                  </a:cubicBezTo>
                  <a:cubicBezTo>
                    <a:pt x="22670" y="5154"/>
                    <a:pt x="20327" y="-265"/>
                    <a:pt x="8714" y="10"/>
                  </a:cubicBezTo>
                  <a:cubicBezTo>
                    <a:pt x="4843" y="2324"/>
                    <a:pt x="2785" y="5154"/>
                    <a:pt x="2785" y="5154"/>
                  </a:cubicBezTo>
                  <a:cubicBezTo>
                    <a:pt x="2785" y="5154"/>
                    <a:pt x="-4687" y="22214"/>
                    <a:pt x="4848" y="24808"/>
                  </a:cubicBezTo>
                  <a:cubicBezTo>
                    <a:pt x="7437" y="24808"/>
                    <a:pt x="9780" y="24808"/>
                    <a:pt x="9780" y="24808"/>
                  </a:cubicBezTo>
                  <a:lnTo>
                    <a:pt x="14918" y="2969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78" name="Freihandform: Form 577">
              <a:extLst>
                <a:ext uri="{FF2B5EF4-FFF2-40B4-BE49-F238E27FC236}">
                  <a16:creationId xmlns:a16="http://schemas.microsoft.com/office/drawing/2014/main" id="{64E353E1-26C5-7456-6648-B8093167FF07}"/>
                </a:ext>
              </a:extLst>
            </p:cNvPr>
            <p:cNvSpPr/>
            <p:nvPr/>
          </p:nvSpPr>
          <p:spPr>
            <a:xfrm>
              <a:off x="7664309" y="5611888"/>
              <a:ext cx="22222" cy="15876"/>
            </a:xfrm>
            <a:custGeom>
              <a:avLst/>
              <a:gdLst>
                <a:gd name="connsiteX0" fmla="*/ 18627 w 18626"/>
                <a:gd name="connsiteY0" fmla="*/ 0 h 12225"/>
                <a:gd name="connsiteX1" fmla="*/ 16896 w 18626"/>
                <a:gd name="connsiteY1" fmla="*/ 6532 h 12225"/>
                <a:gd name="connsiteX2" fmla="*/ 11112 w 18626"/>
                <a:gd name="connsiteY2" fmla="*/ 12225 h 12225"/>
                <a:gd name="connsiteX3" fmla="*/ 3668 w 18626"/>
                <a:gd name="connsiteY3" fmla="*/ 11025 h 12225"/>
                <a:gd name="connsiteX4" fmla="*/ 0 w 18626"/>
                <a:gd name="connsiteY4" fmla="*/ 4353 h 12225"/>
                <a:gd name="connsiteX5" fmla="*/ 6734 w 18626"/>
                <a:gd name="connsiteY5" fmla="*/ 858 h 1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26" h="12225">
                  <a:moveTo>
                    <a:pt x="18627" y="0"/>
                  </a:moveTo>
                  <a:lnTo>
                    <a:pt x="16896" y="6532"/>
                  </a:lnTo>
                  <a:lnTo>
                    <a:pt x="11112" y="12225"/>
                  </a:lnTo>
                  <a:lnTo>
                    <a:pt x="3668" y="11025"/>
                  </a:lnTo>
                  <a:lnTo>
                    <a:pt x="0" y="4353"/>
                  </a:lnTo>
                  <a:lnTo>
                    <a:pt x="6734" y="85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79" name="Freihandform: Form 578">
              <a:extLst>
                <a:ext uri="{FF2B5EF4-FFF2-40B4-BE49-F238E27FC236}">
                  <a16:creationId xmlns:a16="http://schemas.microsoft.com/office/drawing/2014/main" id="{BF810CC4-EC10-D600-62F9-D6AF57C5970F}"/>
                </a:ext>
              </a:extLst>
            </p:cNvPr>
            <p:cNvSpPr/>
            <p:nvPr/>
          </p:nvSpPr>
          <p:spPr>
            <a:xfrm>
              <a:off x="6573820" y="687277"/>
              <a:ext cx="19048" cy="25401"/>
            </a:xfrm>
            <a:custGeom>
              <a:avLst/>
              <a:gdLst>
                <a:gd name="connsiteX0" fmla="*/ 275 w 14881"/>
                <a:gd name="connsiteY0" fmla="*/ 439 h 20941"/>
                <a:gd name="connsiteX1" fmla="*/ 5891 w 14881"/>
                <a:gd name="connsiteY1" fmla="*/ 0 h 20941"/>
                <a:gd name="connsiteX2" fmla="*/ 10302 w 14881"/>
                <a:gd name="connsiteY2" fmla="*/ 5737 h 20941"/>
                <a:gd name="connsiteX3" fmla="*/ 8682 w 14881"/>
                <a:gd name="connsiteY3" fmla="*/ 9863 h 20941"/>
                <a:gd name="connsiteX4" fmla="*/ 14881 w 14881"/>
                <a:gd name="connsiteY4" fmla="*/ 6773 h 20941"/>
                <a:gd name="connsiteX5" fmla="*/ 7496 w 14881"/>
                <a:gd name="connsiteY5" fmla="*/ 20941 h 20941"/>
                <a:gd name="connsiteX6" fmla="*/ 0 w 14881"/>
                <a:gd name="connsiteY6" fmla="*/ 19919 h 20941"/>
                <a:gd name="connsiteX7" fmla="*/ 1919 w 14881"/>
                <a:gd name="connsiteY7" fmla="*/ 14462 h 20941"/>
                <a:gd name="connsiteX8" fmla="*/ 275 w 14881"/>
                <a:gd name="connsiteY8" fmla="*/ 439 h 2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81" h="20941">
                  <a:moveTo>
                    <a:pt x="275" y="439"/>
                  </a:moveTo>
                  <a:lnTo>
                    <a:pt x="5891" y="0"/>
                  </a:lnTo>
                  <a:lnTo>
                    <a:pt x="10302" y="5737"/>
                  </a:lnTo>
                  <a:lnTo>
                    <a:pt x="8682" y="9863"/>
                  </a:lnTo>
                  <a:lnTo>
                    <a:pt x="14881" y="6773"/>
                  </a:lnTo>
                  <a:lnTo>
                    <a:pt x="7496" y="20941"/>
                  </a:lnTo>
                  <a:lnTo>
                    <a:pt x="0" y="19919"/>
                  </a:lnTo>
                  <a:lnTo>
                    <a:pt x="1919" y="14462"/>
                  </a:lnTo>
                  <a:cubicBezTo>
                    <a:pt x="1923" y="14472"/>
                    <a:pt x="-762" y="1012"/>
                    <a:pt x="275" y="43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80" name="Freihandform: Form 579">
              <a:extLst>
                <a:ext uri="{FF2B5EF4-FFF2-40B4-BE49-F238E27FC236}">
                  <a16:creationId xmlns:a16="http://schemas.microsoft.com/office/drawing/2014/main" id="{03940046-E866-225D-7727-3F245D9853BF}"/>
                </a:ext>
              </a:extLst>
            </p:cNvPr>
            <p:cNvSpPr/>
            <p:nvPr/>
          </p:nvSpPr>
          <p:spPr>
            <a:xfrm>
              <a:off x="4037282" y="4889548"/>
              <a:ext cx="22222" cy="39690"/>
            </a:xfrm>
            <a:custGeom>
              <a:avLst/>
              <a:gdLst>
                <a:gd name="connsiteX0" fmla="*/ 692 w 16314"/>
                <a:gd name="connsiteY0" fmla="*/ 0 h 30992"/>
                <a:gd name="connsiteX1" fmla="*/ 11712 w 16314"/>
                <a:gd name="connsiteY1" fmla="*/ 5173 h 30992"/>
                <a:gd name="connsiteX2" fmla="*/ 14981 w 16314"/>
                <a:gd name="connsiteY2" fmla="*/ 13431 h 30992"/>
                <a:gd name="connsiteX3" fmla="*/ 12219 w 16314"/>
                <a:gd name="connsiteY3" fmla="*/ 30992 h 30992"/>
                <a:gd name="connsiteX4" fmla="*/ 4472 w 16314"/>
                <a:gd name="connsiteY4" fmla="*/ 14655 h 30992"/>
                <a:gd name="connsiteX5" fmla="*/ 692 w 16314"/>
                <a:gd name="connsiteY5" fmla="*/ 0 h 3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4" h="30992">
                  <a:moveTo>
                    <a:pt x="692" y="0"/>
                  </a:moveTo>
                  <a:cubicBezTo>
                    <a:pt x="692" y="0"/>
                    <a:pt x="11037" y="2401"/>
                    <a:pt x="11712" y="5173"/>
                  </a:cubicBezTo>
                  <a:cubicBezTo>
                    <a:pt x="12407" y="7896"/>
                    <a:pt x="13954" y="11902"/>
                    <a:pt x="14981" y="13431"/>
                  </a:cubicBezTo>
                  <a:cubicBezTo>
                    <a:pt x="16012" y="14988"/>
                    <a:pt x="18423" y="27709"/>
                    <a:pt x="12219" y="30992"/>
                  </a:cubicBezTo>
                  <a:cubicBezTo>
                    <a:pt x="12055" y="22720"/>
                    <a:pt x="7383" y="17918"/>
                    <a:pt x="4472" y="14655"/>
                  </a:cubicBezTo>
                  <a:cubicBezTo>
                    <a:pt x="1560" y="11343"/>
                    <a:pt x="-1371" y="3100"/>
                    <a:pt x="692"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81" name="Freihandform: Form 580">
              <a:extLst>
                <a:ext uri="{FF2B5EF4-FFF2-40B4-BE49-F238E27FC236}">
                  <a16:creationId xmlns:a16="http://schemas.microsoft.com/office/drawing/2014/main" id="{D019B885-257B-324C-91B5-D9B84D180A60}"/>
                </a:ext>
              </a:extLst>
            </p:cNvPr>
            <p:cNvSpPr/>
            <p:nvPr/>
          </p:nvSpPr>
          <p:spPr>
            <a:xfrm>
              <a:off x="4024584" y="4848271"/>
              <a:ext cx="31746" cy="22226"/>
            </a:xfrm>
            <a:custGeom>
              <a:avLst/>
              <a:gdLst>
                <a:gd name="connsiteX0" fmla="*/ 24267 w 24267"/>
                <a:gd name="connsiteY0" fmla="*/ 13773 h 17055"/>
                <a:gd name="connsiteX1" fmla="*/ 6884 w 24267"/>
                <a:gd name="connsiteY1" fmla="*/ 0 h 17055"/>
                <a:gd name="connsiteX2" fmla="*/ 0 w 24267"/>
                <a:gd name="connsiteY2" fmla="*/ 501 h 17055"/>
                <a:gd name="connsiteX3" fmla="*/ 3625 w 24267"/>
                <a:gd name="connsiteY3" fmla="*/ 6879 h 17055"/>
                <a:gd name="connsiteX4" fmla="*/ 11179 w 24267"/>
                <a:gd name="connsiteY4" fmla="*/ 8962 h 17055"/>
                <a:gd name="connsiteX5" fmla="*/ 22571 w 24267"/>
                <a:gd name="connsiteY5" fmla="*/ 17046 h 17055"/>
                <a:gd name="connsiteX6" fmla="*/ 24267 w 24267"/>
                <a:gd name="connsiteY6" fmla="*/ 13773 h 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67" h="17055">
                  <a:moveTo>
                    <a:pt x="24267" y="13773"/>
                  </a:moveTo>
                  <a:lnTo>
                    <a:pt x="6884" y="0"/>
                  </a:lnTo>
                  <a:lnTo>
                    <a:pt x="0" y="501"/>
                  </a:lnTo>
                  <a:lnTo>
                    <a:pt x="3625" y="6879"/>
                  </a:lnTo>
                  <a:lnTo>
                    <a:pt x="11179" y="8962"/>
                  </a:lnTo>
                  <a:cubicBezTo>
                    <a:pt x="11179" y="8962"/>
                    <a:pt x="21876" y="17384"/>
                    <a:pt x="22571" y="17046"/>
                  </a:cubicBezTo>
                  <a:cubicBezTo>
                    <a:pt x="23250" y="16684"/>
                    <a:pt x="24267" y="13773"/>
                    <a:pt x="24267" y="13773"/>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82" name="Freihandform: Form 581">
              <a:extLst>
                <a:ext uri="{FF2B5EF4-FFF2-40B4-BE49-F238E27FC236}">
                  <a16:creationId xmlns:a16="http://schemas.microsoft.com/office/drawing/2014/main" id="{8B7DC09D-E552-557C-8BAC-189E69685B1E}"/>
                </a:ext>
              </a:extLst>
            </p:cNvPr>
            <p:cNvSpPr/>
            <p:nvPr/>
          </p:nvSpPr>
          <p:spPr>
            <a:xfrm>
              <a:off x="3961091" y="4705391"/>
              <a:ext cx="14285" cy="22226"/>
            </a:xfrm>
            <a:custGeom>
              <a:avLst/>
              <a:gdLst>
                <a:gd name="connsiteX0" fmla="*/ 10586 w 11367"/>
                <a:gd name="connsiteY0" fmla="*/ 17301 h 17301"/>
                <a:gd name="connsiteX1" fmla="*/ 11367 w 11367"/>
                <a:gd name="connsiteY1" fmla="*/ 12148 h 17301"/>
                <a:gd name="connsiteX2" fmla="*/ 6985 w 11367"/>
                <a:gd name="connsiteY2" fmla="*/ 6725 h 17301"/>
                <a:gd name="connsiteX3" fmla="*/ 6730 w 11367"/>
                <a:gd name="connsiteY3" fmla="*/ 0 h 17301"/>
                <a:gd name="connsiteX4" fmla="*/ 0 w 11367"/>
                <a:gd name="connsiteY4" fmla="*/ 776 h 17301"/>
                <a:gd name="connsiteX5" fmla="*/ 275 w 11367"/>
                <a:gd name="connsiteY5" fmla="*/ 6995 h 17301"/>
                <a:gd name="connsiteX6" fmla="*/ 6985 w 11367"/>
                <a:gd name="connsiteY6" fmla="*/ 10085 h 1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67" h="17301">
                  <a:moveTo>
                    <a:pt x="10586" y="17301"/>
                  </a:moveTo>
                  <a:lnTo>
                    <a:pt x="11367" y="12148"/>
                  </a:lnTo>
                  <a:lnTo>
                    <a:pt x="6985" y="6725"/>
                  </a:lnTo>
                  <a:lnTo>
                    <a:pt x="6730" y="0"/>
                  </a:lnTo>
                  <a:lnTo>
                    <a:pt x="0" y="776"/>
                  </a:lnTo>
                  <a:lnTo>
                    <a:pt x="275" y="6995"/>
                  </a:lnTo>
                  <a:lnTo>
                    <a:pt x="6985" y="1008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83" name="Freihandform: Form 582">
              <a:extLst>
                <a:ext uri="{FF2B5EF4-FFF2-40B4-BE49-F238E27FC236}">
                  <a16:creationId xmlns:a16="http://schemas.microsoft.com/office/drawing/2014/main" id="{9E5A3F37-F77D-05DA-E3C5-4D8D073C68DD}"/>
                </a:ext>
              </a:extLst>
            </p:cNvPr>
            <p:cNvSpPr/>
            <p:nvPr/>
          </p:nvSpPr>
          <p:spPr>
            <a:xfrm>
              <a:off x="3861089" y="4629188"/>
              <a:ext cx="17461" cy="15876"/>
            </a:xfrm>
            <a:custGeom>
              <a:avLst/>
              <a:gdLst>
                <a:gd name="connsiteX0" fmla="*/ 13696 w 13695"/>
                <a:gd name="connsiteY0" fmla="*/ 12924 h 12924"/>
                <a:gd name="connsiteX1" fmla="*/ 11131 w 13695"/>
                <a:gd name="connsiteY1" fmla="*/ 5949 h 12924"/>
                <a:gd name="connsiteX2" fmla="*/ 5173 w 13695"/>
                <a:gd name="connsiteY2" fmla="*/ 0 h 12924"/>
                <a:gd name="connsiteX3" fmla="*/ 0 w 13695"/>
                <a:gd name="connsiteY3" fmla="*/ 270 h 12924"/>
                <a:gd name="connsiteX4" fmla="*/ 255 w 13695"/>
                <a:gd name="connsiteY4" fmla="*/ 5688 h 12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95" h="12924">
                  <a:moveTo>
                    <a:pt x="13696" y="12924"/>
                  </a:moveTo>
                  <a:lnTo>
                    <a:pt x="11131" y="5949"/>
                  </a:lnTo>
                  <a:lnTo>
                    <a:pt x="5173" y="0"/>
                  </a:lnTo>
                  <a:lnTo>
                    <a:pt x="0" y="270"/>
                  </a:lnTo>
                  <a:lnTo>
                    <a:pt x="255" y="568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84" name="Freihandform: Form 583">
              <a:extLst>
                <a:ext uri="{FF2B5EF4-FFF2-40B4-BE49-F238E27FC236}">
                  <a16:creationId xmlns:a16="http://schemas.microsoft.com/office/drawing/2014/main" id="{4AF11081-AA3C-6A95-77B6-14E302E8DA2C}"/>
                </a:ext>
              </a:extLst>
            </p:cNvPr>
            <p:cNvSpPr/>
            <p:nvPr/>
          </p:nvSpPr>
          <p:spPr>
            <a:xfrm>
              <a:off x="4026170" y="4330727"/>
              <a:ext cx="23810" cy="17464"/>
            </a:xfrm>
            <a:custGeom>
              <a:avLst/>
              <a:gdLst>
                <a:gd name="connsiteX0" fmla="*/ 17065 w 18357"/>
                <a:gd name="connsiteY0" fmla="*/ 13942 h 14211"/>
                <a:gd name="connsiteX1" fmla="*/ 18357 w 18357"/>
                <a:gd name="connsiteY1" fmla="*/ 8263 h 14211"/>
                <a:gd name="connsiteX2" fmla="*/ 13194 w 18357"/>
                <a:gd name="connsiteY2" fmla="*/ 2613 h 14211"/>
                <a:gd name="connsiteX3" fmla="*/ 7000 w 18357"/>
                <a:gd name="connsiteY3" fmla="*/ 0 h 14211"/>
                <a:gd name="connsiteX4" fmla="*/ 0 w 18357"/>
                <a:gd name="connsiteY4" fmla="*/ 3355 h 14211"/>
                <a:gd name="connsiteX5" fmla="*/ 0 w 18357"/>
                <a:gd name="connsiteY5" fmla="*/ 10051 h 14211"/>
                <a:gd name="connsiteX6" fmla="*/ 6720 w 18357"/>
                <a:gd name="connsiteY6" fmla="*/ 8774 h 14211"/>
                <a:gd name="connsiteX7" fmla="*/ 11647 w 18357"/>
                <a:gd name="connsiteY7" fmla="*/ 14211 h 1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57" h="14211">
                  <a:moveTo>
                    <a:pt x="17065" y="13942"/>
                  </a:moveTo>
                  <a:lnTo>
                    <a:pt x="18357" y="8263"/>
                  </a:lnTo>
                  <a:lnTo>
                    <a:pt x="13194" y="2613"/>
                  </a:lnTo>
                  <a:lnTo>
                    <a:pt x="7000" y="0"/>
                  </a:lnTo>
                  <a:lnTo>
                    <a:pt x="0" y="3355"/>
                  </a:lnTo>
                  <a:lnTo>
                    <a:pt x="0" y="10051"/>
                  </a:lnTo>
                  <a:lnTo>
                    <a:pt x="6720" y="8774"/>
                  </a:lnTo>
                  <a:lnTo>
                    <a:pt x="11647" y="1421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85" name="Freihandform: Form 584">
              <a:extLst>
                <a:ext uri="{FF2B5EF4-FFF2-40B4-BE49-F238E27FC236}">
                  <a16:creationId xmlns:a16="http://schemas.microsoft.com/office/drawing/2014/main" id="{344452AD-BC44-75A0-319C-FDC25C05FDB3}"/>
                </a:ext>
              </a:extLst>
            </p:cNvPr>
            <p:cNvSpPr/>
            <p:nvPr/>
          </p:nvSpPr>
          <p:spPr>
            <a:xfrm>
              <a:off x="3984900" y="4284688"/>
              <a:ext cx="15873" cy="12700"/>
            </a:xfrm>
            <a:custGeom>
              <a:avLst/>
              <a:gdLst>
                <a:gd name="connsiteX0" fmla="*/ 12389 w 12389"/>
                <a:gd name="connsiteY0" fmla="*/ 5423 h 9569"/>
                <a:gd name="connsiteX1" fmla="*/ 12389 w 12389"/>
                <a:gd name="connsiteY1" fmla="*/ 0 h 9569"/>
                <a:gd name="connsiteX2" fmla="*/ 6194 w 12389"/>
                <a:gd name="connsiteY2" fmla="*/ 1576 h 9569"/>
                <a:gd name="connsiteX3" fmla="*/ 0 w 12389"/>
                <a:gd name="connsiteY3" fmla="*/ 6706 h 9569"/>
                <a:gd name="connsiteX4" fmla="*/ 7236 w 12389"/>
                <a:gd name="connsiteY4" fmla="*/ 9569 h 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9" h="9569">
                  <a:moveTo>
                    <a:pt x="12389" y="5423"/>
                  </a:moveTo>
                  <a:lnTo>
                    <a:pt x="12389" y="0"/>
                  </a:lnTo>
                  <a:lnTo>
                    <a:pt x="6194" y="1576"/>
                  </a:lnTo>
                  <a:lnTo>
                    <a:pt x="0" y="6706"/>
                  </a:lnTo>
                  <a:lnTo>
                    <a:pt x="7236" y="956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86" name="Freihandform: Form 585">
              <a:extLst>
                <a:ext uri="{FF2B5EF4-FFF2-40B4-BE49-F238E27FC236}">
                  <a16:creationId xmlns:a16="http://schemas.microsoft.com/office/drawing/2014/main" id="{75C41086-B2A8-C19F-25D6-44D70D14F379}"/>
                </a:ext>
              </a:extLst>
            </p:cNvPr>
            <p:cNvSpPr/>
            <p:nvPr/>
          </p:nvSpPr>
          <p:spPr>
            <a:xfrm>
              <a:off x="4734115" y="3973526"/>
              <a:ext cx="47620" cy="33338"/>
            </a:xfrm>
            <a:custGeom>
              <a:avLst/>
              <a:gdLst>
                <a:gd name="connsiteX0" fmla="*/ 0 w 37534"/>
                <a:gd name="connsiteY0" fmla="*/ 6223 h 26022"/>
                <a:gd name="connsiteX1" fmla="*/ 5510 w 37534"/>
                <a:gd name="connsiteY1" fmla="*/ 0 h 26022"/>
                <a:gd name="connsiteX2" fmla="*/ 12727 w 37534"/>
                <a:gd name="connsiteY2" fmla="*/ 227 h 26022"/>
                <a:gd name="connsiteX3" fmla="*/ 37534 w 37534"/>
                <a:gd name="connsiteY3" fmla="*/ 20835 h 26022"/>
                <a:gd name="connsiteX4" fmla="*/ 31672 w 37534"/>
                <a:gd name="connsiteY4" fmla="*/ 26022 h 26022"/>
                <a:gd name="connsiteX5" fmla="*/ 23602 w 37534"/>
                <a:gd name="connsiteY5" fmla="*/ 22749 h 26022"/>
                <a:gd name="connsiteX6" fmla="*/ 22383 w 37534"/>
                <a:gd name="connsiteY6" fmla="*/ 20835 h 26022"/>
                <a:gd name="connsiteX7" fmla="*/ 16540 w 37534"/>
                <a:gd name="connsiteY7" fmla="*/ 18584 h 26022"/>
                <a:gd name="connsiteX8" fmla="*/ 10157 w 37534"/>
                <a:gd name="connsiteY8" fmla="*/ 6556 h 26022"/>
                <a:gd name="connsiteX9" fmla="*/ 0 w 37534"/>
                <a:gd name="connsiteY9" fmla="*/ 6223 h 2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534" h="26022">
                  <a:moveTo>
                    <a:pt x="0" y="6223"/>
                  </a:moveTo>
                  <a:lnTo>
                    <a:pt x="5510" y="0"/>
                  </a:lnTo>
                  <a:lnTo>
                    <a:pt x="12727" y="227"/>
                  </a:lnTo>
                  <a:lnTo>
                    <a:pt x="37534" y="20835"/>
                  </a:lnTo>
                  <a:lnTo>
                    <a:pt x="31672" y="26022"/>
                  </a:lnTo>
                  <a:lnTo>
                    <a:pt x="23602" y="22749"/>
                  </a:lnTo>
                  <a:lnTo>
                    <a:pt x="22383" y="20835"/>
                  </a:lnTo>
                  <a:lnTo>
                    <a:pt x="16540" y="18584"/>
                  </a:lnTo>
                  <a:cubicBezTo>
                    <a:pt x="16540" y="18584"/>
                    <a:pt x="12915" y="6720"/>
                    <a:pt x="10157" y="6556"/>
                  </a:cubicBezTo>
                  <a:cubicBezTo>
                    <a:pt x="7410" y="6402"/>
                    <a:pt x="0" y="6223"/>
                    <a:pt x="0" y="6223"/>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87" name="Freihandform: Form 586">
              <a:extLst>
                <a:ext uri="{FF2B5EF4-FFF2-40B4-BE49-F238E27FC236}">
                  <a16:creationId xmlns:a16="http://schemas.microsoft.com/office/drawing/2014/main" id="{7E674378-4ED0-9EAD-20A6-BF838F931EEE}"/>
                </a:ext>
              </a:extLst>
            </p:cNvPr>
            <p:cNvSpPr/>
            <p:nvPr/>
          </p:nvSpPr>
          <p:spPr>
            <a:xfrm>
              <a:off x="4713481" y="3987814"/>
              <a:ext cx="42857" cy="23814"/>
            </a:xfrm>
            <a:custGeom>
              <a:avLst/>
              <a:gdLst>
                <a:gd name="connsiteX0" fmla="*/ 19630 w 33416"/>
                <a:gd name="connsiteY0" fmla="*/ 2902 h 17771"/>
                <a:gd name="connsiteX1" fmla="*/ 26336 w 33416"/>
                <a:gd name="connsiteY1" fmla="*/ 8258 h 17771"/>
                <a:gd name="connsiteX2" fmla="*/ 33220 w 33416"/>
                <a:gd name="connsiteY2" fmla="*/ 14612 h 17771"/>
                <a:gd name="connsiteX3" fmla="*/ 24277 w 33416"/>
                <a:gd name="connsiteY3" fmla="*/ 17735 h 17771"/>
                <a:gd name="connsiteX4" fmla="*/ 10842 w 33416"/>
                <a:gd name="connsiteY4" fmla="*/ 8253 h 17771"/>
                <a:gd name="connsiteX5" fmla="*/ 5158 w 33416"/>
                <a:gd name="connsiteY5" fmla="*/ 9270 h 17771"/>
                <a:gd name="connsiteX6" fmla="*/ 0 w 33416"/>
                <a:gd name="connsiteY6" fmla="*/ 6214 h 17771"/>
                <a:gd name="connsiteX7" fmla="*/ 4638 w 33416"/>
                <a:gd name="connsiteY7" fmla="*/ 0 h 17771"/>
                <a:gd name="connsiteX8" fmla="*/ 11541 w 33416"/>
                <a:gd name="connsiteY8" fmla="*/ 0 h 17771"/>
                <a:gd name="connsiteX9" fmla="*/ 19630 w 33416"/>
                <a:gd name="connsiteY9" fmla="*/ 2902 h 17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416" h="17771">
                  <a:moveTo>
                    <a:pt x="19630" y="2902"/>
                  </a:moveTo>
                  <a:lnTo>
                    <a:pt x="26336" y="8258"/>
                  </a:lnTo>
                  <a:cubicBezTo>
                    <a:pt x="26336" y="8258"/>
                    <a:pt x="34801" y="13426"/>
                    <a:pt x="33220" y="14612"/>
                  </a:cubicBezTo>
                  <a:cubicBezTo>
                    <a:pt x="31696" y="15826"/>
                    <a:pt x="25998" y="18083"/>
                    <a:pt x="24277" y="17735"/>
                  </a:cubicBezTo>
                  <a:cubicBezTo>
                    <a:pt x="22537" y="17369"/>
                    <a:pt x="15855" y="16511"/>
                    <a:pt x="10842" y="8253"/>
                  </a:cubicBezTo>
                  <a:cubicBezTo>
                    <a:pt x="6199" y="8928"/>
                    <a:pt x="5158" y="9270"/>
                    <a:pt x="5158" y="9270"/>
                  </a:cubicBezTo>
                  <a:lnTo>
                    <a:pt x="0" y="6214"/>
                  </a:lnTo>
                  <a:lnTo>
                    <a:pt x="4638" y="0"/>
                  </a:lnTo>
                  <a:lnTo>
                    <a:pt x="11541" y="0"/>
                  </a:lnTo>
                  <a:lnTo>
                    <a:pt x="19630" y="290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88" name="Freihandform: Form 587">
              <a:extLst>
                <a:ext uri="{FF2B5EF4-FFF2-40B4-BE49-F238E27FC236}">
                  <a16:creationId xmlns:a16="http://schemas.microsoft.com/office/drawing/2014/main" id="{A1CC4114-AB94-BF55-E9DD-730EEF468928}"/>
                </a:ext>
              </a:extLst>
            </p:cNvPr>
            <p:cNvSpPr/>
            <p:nvPr/>
          </p:nvSpPr>
          <p:spPr>
            <a:xfrm>
              <a:off x="4835704" y="3752855"/>
              <a:ext cx="20636" cy="31751"/>
            </a:xfrm>
            <a:custGeom>
              <a:avLst/>
              <a:gdLst>
                <a:gd name="connsiteX0" fmla="*/ 11367 w 16579"/>
                <a:gd name="connsiteY0" fmla="*/ 0 h 24662"/>
                <a:gd name="connsiteX1" fmla="*/ 16540 w 16579"/>
                <a:gd name="connsiteY1" fmla="*/ 7221 h 24662"/>
                <a:gd name="connsiteX2" fmla="*/ 3755 w 16579"/>
                <a:gd name="connsiteY2" fmla="*/ 24663 h 24662"/>
                <a:gd name="connsiteX3" fmla="*/ 0 w 16579"/>
                <a:gd name="connsiteY3" fmla="*/ 18839 h 24662"/>
                <a:gd name="connsiteX4" fmla="*/ 1567 w 16579"/>
                <a:gd name="connsiteY4" fmla="*/ 13401 h 24662"/>
                <a:gd name="connsiteX5" fmla="*/ 11367 w 16579"/>
                <a:gd name="connsiteY5" fmla="*/ 0 h 24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79" h="24662">
                  <a:moveTo>
                    <a:pt x="11367" y="0"/>
                  </a:moveTo>
                  <a:lnTo>
                    <a:pt x="16540" y="7221"/>
                  </a:lnTo>
                  <a:cubicBezTo>
                    <a:pt x="16540" y="7221"/>
                    <a:pt x="17957" y="16511"/>
                    <a:pt x="3755" y="24663"/>
                  </a:cubicBezTo>
                  <a:cubicBezTo>
                    <a:pt x="1171" y="22961"/>
                    <a:pt x="0" y="18839"/>
                    <a:pt x="0" y="18839"/>
                  </a:cubicBezTo>
                  <a:lnTo>
                    <a:pt x="1567" y="13401"/>
                  </a:lnTo>
                  <a:lnTo>
                    <a:pt x="11367"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89" name="Freihandform: Form 588">
              <a:extLst>
                <a:ext uri="{FF2B5EF4-FFF2-40B4-BE49-F238E27FC236}">
                  <a16:creationId xmlns:a16="http://schemas.microsoft.com/office/drawing/2014/main" id="{450D62A4-C192-27D0-8470-8D6580F76A22}"/>
                </a:ext>
              </a:extLst>
            </p:cNvPr>
            <p:cNvSpPr/>
            <p:nvPr/>
          </p:nvSpPr>
          <p:spPr>
            <a:xfrm>
              <a:off x="4859514" y="3730629"/>
              <a:ext cx="15873" cy="15876"/>
            </a:xfrm>
            <a:custGeom>
              <a:avLst/>
              <a:gdLst>
                <a:gd name="connsiteX0" fmla="*/ 0 w 12278"/>
                <a:gd name="connsiteY0" fmla="*/ 11608 h 11608"/>
                <a:gd name="connsiteX1" fmla="*/ 12278 w 12278"/>
                <a:gd name="connsiteY1" fmla="*/ 0 h 11608"/>
                <a:gd name="connsiteX2" fmla="*/ 5313 w 12278"/>
                <a:gd name="connsiteY2" fmla="*/ 5009 h 11608"/>
                <a:gd name="connsiteX3" fmla="*/ 0 w 12278"/>
                <a:gd name="connsiteY3" fmla="*/ 11608 h 11608"/>
              </a:gdLst>
              <a:ahLst/>
              <a:cxnLst>
                <a:cxn ang="0">
                  <a:pos x="connsiteX0" y="connsiteY0"/>
                </a:cxn>
                <a:cxn ang="0">
                  <a:pos x="connsiteX1" y="connsiteY1"/>
                </a:cxn>
                <a:cxn ang="0">
                  <a:pos x="connsiteX2" y="connsiteY2"/>
                </a:cxn>
                <a:cxn ang="0">
                  <a:pos x="connsiteX3" y="connsiteY3"/>
                </a:cxn>
              </a:cxnLst>
              <a:rect l="l" t="t" r="r" b="b"/>
              <a:pathLst>
                <a:path w="12278" h="11608">
                  <a:moveTo>
                    <a:pt x="0" y="11608"/>
                  </a:moveTo>
                  <a:cubicBezTo>
                    <a:pt x="0" y="11608"/>
                    <a:pt x="405" y="1654"/>
                    <a:pt x="12278" y="0"/>
                  </a:cubicBezTo>
                  <a:cubicBezTo>
                    <a:pt x="6238" y="3775"/>
                    <a:pt x="5313" y="5009"/>
                    <a:pt x="5313" y="5009"/>
                  </a:cubicBezTo>
                  <a:lnTo>
                    <a:pt x="0" y="1160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90" name="Freihandform: Form 589">
              <a:extLst>
                <a:ext uri="{FF2B5EF4-FFF2-40B4-BE49-F238E27FC236}">
                  <a16:creationId xmlns:a16="http://schemas.microsoft.com/office/drawing/2014/main" id="{4E1343AB-7630-B57C-930E-91CCE88248C3}"/>
                </a:ext>
              </a:extLst>
            </p:cNvPr>
            <p:cNvSpPr/>
            <p:nvPr/>
          </p:nvSpPr>
          <p:spPr>
            <a:xfrm>
              <a:off x="4888086" y="3711578"/>
              <a:ext cx="34921" cy="14289"/>
            </a:xfrm>
            <a:custGeom>
              <a:avLst/>
              <a:gdLst>
                <a:gd name="connsiteX0" fmla="*/ 2839 w 27241"/>
                <a:gd name="connsiteY0" fmla="*/ 5554 h 11897"/>
                <a:gd name="connsiteX1" fmla="*/ 12399 w 27241"/>
                <a:gd name="connsiteY1" fmla="*/ 4252 h 11897"/>
                <a:gd name="connsiteX2" fmla="*/ 21057 w 27241"/>
                <a:gd name="connsiteY2" fmla="*/ 641 h 11897"/>
                <a:gd name="connsiteX3" fmla="*/ 27242 w 27241"/>
                <a:gd name="connsiteY3" fmla="*/ 0 h 11897"/>
                <a:gd name="connsiteX4" fmla="*/ 20671 w 27241"/>
                <a:gd name="connsiteY4" fmla="*/ 5930 h 11897"/>
                <a:gd name="connsiteX5" fmla="*/ 15118 w 27241"/>
                <a:gd name="connsiteY5" fmla="*/ 6455 h 11897"/>
                <a:gd name="connsiteX6" fmla="*/ 0 w 27241"/>
                <a:gd name="connsiteY6" fmla="*/ 11898 h 11897"/>
                <a:gd name="connsiteX7" fmla="*/ 2839 w 27241"/>
                <a:gd name="connsiteY7" fmla="*/ 5554 h 11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241" h="11897">
                  <a:moveTo>
                    <a:pt x="2839" y="5554"/>
                  </a:moveTo>
                  <a:cubicBezTo>
                    <a:pt x="2839" y="5554"/>
                    <a:pt x="9969" y="5428"/>
                    <a:pt x="12399" y="4252"/>
                  </a:cubicBezTo>
                  <a:cubicBezTo>
                    <a:pt x="14848" y="3081"/>
                    <a:pt x="21057" y="641"/>
                    <a:pt x="21057" y="641"/>
                  </a:cubicBezTo>
                  <a:lnTo>
                    <a:pt x="27242" y="0"/>
                  </a:lnTo>
                  <a:lnTo>
                    <a:pt x="20671" y="5930"/>
                  </a:lnTo>
                  <a:lnTo>
                    <a:pt x="15118" y="6455"/>
                  </a:lnTo>
                  <a:lnTo>
                    <a:pt x="0" y="11898"/>
                  </a:lnTo>
                  <a:lnTo>
                    <a:pt x="2839" y="555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91" name="Freihandform: Form 590">
              <a:extLst>
                <a:ext uri="{FF2B5EF4-FFF2-40B4-BE49-F238E27FC236}">
                  <a16:creationId xmlns:a16="http://schemas.microsoft.com/office/drawing/2014/main" id="{5E4BCC26-B5A5-6166-921D-13544855E46C}"/>
                </a:ext>
              </a:extLst>
            </p:cNvPr>
            <p:cNvSpPr/>
            <p:nvPr/>
          </p:nvSpPr>
          <p:spPr>
            <a:xfrm>
              <a:off x="4935706" y="3706816"/>
              <a:ext cx="23809" cy="9525"/>
            </a:xfrm>
            <a:custGeom>
              <a:avLst/>
              <a:gdLst>
                <a:gd name="connsiteX0" fmla="*/ 0 w 19359"/>
                <a:gd name="connsiteY0" fmla="*/ 0 h 7486"/>
                <a:gd name="connsiteX1" fmla="*/ 6059 w 19359"/>
                <a:gd name="connsiteY1" fmla="*/ 1803 h 7486"/>
                <a:gd name="connsiteX2" fmla="*/ 19360 w 19359"/>
                <a:gd name="connsiteY2" fmla="*/ 2073 h 7486"/>
                <a:gd name="connsiteX3" fmla="*/ 12389 w 19359"/>
                <a:gd name="connsiteY3" fmla="*/ 6238 h 7486"/>
                <a:gd name="connsiteX4" fmla="*/ 5963 w 19359"/>
                <a:gd name="connsiteY4" fmla="*/ 3958 h 7486"/>
                <a:gd name="connsiteX5" fmla="*/ 1533 w 19359"/>
                <a:gd name="connsiteY5" fmla="*/ 7486 h 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59" h="7486">
                  <a:moveTo>
                    <a:pt x="0" y="0"/>
                  </a:moveTo>
                  <a:lnTo>
                    <a:pt x="6059" y="1803"/>
                  </a:lnTo>
                  <a:lnTo>
                    <a:pt x="19360" y="2073"/>
                  </a:lnTo>
                  <a:lnTo>
                    <a:pt x="12389" y="6238"/>
                  </a:lnTo>
                  <a:lnTo>
                    <a:pt x="5963" y="3958"/>
                  </a:lnTo>
                  <a:lnTo>
                    <a:pt x="1533" y="748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92" name="Freihandform: Form 591">
              <a:extLst>
                <a:ext uri="{FF2B5EF4-FFF2-40B4-BE49-F238E27FC236}">
                  <a16:creationId xmlns:a16="http://schemas.microsoft.com/office/drawing/2014/main" id="{81A296D4-976A-60AC-E9EA-CE5DD0FE8464}"/>
                </a:ext>
              </a:extLst>
            </p:cNvPr>
            <p:cNvSpPr/>
            <p:nvPr/>
          </p:nvSpPr>
          <p:spPr>
            <a:xfrm>
              <a:off x="4983325" y="3703641"/>
              <a:ext cx="17460" cy="11112"/>
            </a:xfrm>
            <a:custGeom>
              <a:avLst/>
              <a:gdLst>
                <a:gd name="connsiteX0" fmla="*/ 14332 w 14332"/>
                <a:gd name="connsiteY0" fmla="*/ 0 h 7992"/>
                <a:gd name="connsiteX1" fmla="*/ 1673 w 14332"/>
                <a:gd name="connsiteY1" fmla="*/ 1393 h 7992"/>
                <a:gd name="connsiteX2" fmla="*/ 0 w 14332"/>
                <a:gd name="connsiteY2" fmla="*/ 7993 h 7992"/>
                <a:gd name="connsiteX3" fmla="*/ 3100 w 14332"/>
                <a:gd name="connsiteY3" fmla="*/ 5274 h 7992"/>
                <a:gd name="connsiteX4" fmla="*/ 8277 w 14332"/>
                <a:gd name="connsiteY4" fmla="*/ 4777 h 7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32" h="7992">
                  <a:moveTo>
                    <a:pt x="14332" y="0"/>
                  </a:moveTo>
                  <a:lnTo>
                    <a:pt x="1673" y="1393"/>
                  </a:lnTo>
                  <a:lnTo>
                    <a:pt x="0" y="7993"/>
                  </a:lnTo>
                  <a:lnTo>
                    <a:pt x="3100" y="5274"/>
                  </a:lnTo>
                  <a:lnTo>
                    <a:pt x="8277" y="477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93" name="Freihandform: Form 592">
              <a:extLst>
                <a:ext uri="{FF2B5EF4-FFF2-40B4-BE49-F238E27FC236}">
                  <a16:creationId xmlns:a16="http://schemas.microsoft.com/office/drawing/2014/main" id="{84A3D6B8-7945-DB1E-0E8C-0E74EBC2045C}"/>
                </a:ext>
              </a:extLst>
            </p:cNvPr>
            <p:cNvSpPr/>
            <p:nvPr/>
          </p:nvSpPr>
          <p:spPr>
            <a:xfrm>
              <a:off x="5037294" y="3687765"/>
              <a:ext cx="7936" cy="11112"/>
            </a:xfrm>
            <a:custGeom>
              <a:avLst/>
              <a:gdLst>
                <a:gd name="connsiteX0" fmla="*/ 6059 w 6430"/>
                <a:gd name="connsiteY0" fmla="*/ 0 h 8773"/>
                <a:gd name="connsiteX1" fmla="*/ 6431 w 6430"/>
                <a:gd name="connsiteY1" fmla="*/ 8774 h 8773"/>
                <a:gd name="connsiteX2" fmla="*/ 0 w 6430"/>
                <a:gd name="connsiteY2" fmla="*/ 5679 h 8773"/>
              </a:gdLst>
              <a:ahLst/>
              <a:cxnLst>
                <a:cxn ang="0">
                  <a:pos x="connsiteX0" y="connsiteY0"/>
                </a:cxn>
                <a:cxn ang="0">
                  <a:pos x="connsiteX1" y="connsiteY1"/>
                </a:cxn>
                <a:cxn ang="0">
                  <a:pos x="connsiteX2" y="connsiteY2"/>
                </a:cxn>
              </a:cxnLst>
              <a:rect l="l" t="t" r="r" b="b"/>
              <a:pathLst>
                <a:path w="6430" h="8773">
                  <a:moveTo>
                    <a:pt x="6059" y="0"/>
                  </a:moveTo>
                  <a:lnTo>
                    <a:pt x="6431" y="8774"/>
                  </a:lnTo>
                  <a:lnTo>
                    <a:pt x="0" y="567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94" name="Freihandform: Form 593">
              <a:extLst>
                <a:ext uri="{FF2B5EF4-FFF2-40B4-BE49-F238E27FC236}">
                  <a16:creationId xmlns:a16="http://schemas.microsoft.com/office/drawing/2014/main" id="{DA4AB519-235B-9725-86C7-01388F9B036D}"/>
                </a:ext>
              </a:extLst>
            </p:cNvPr>
            <p:cNvSpPr/>
            <p:nvPr/>
          </p:nvSpPr>
          <p:spPr>
            <a:xfrm>
              <a:off x="5086501" y="3671890"/>
              <a:ext cx="17461" cy="3175"/>
            </a:xfrm>
            <a:custGeom>
              <a:avLst/>
              <a:gdLst>
                <a:gd name="connsiteX0" fmla="*/ 13397 w 13396"/>
                <a:gd name="connsiteY0" fmla="*/ 0 h 3369"/>
                <a:gd name="connsiteX1" fmla="*/ 6976 w 13396"/>
                <a:gd name="connsiteY1" fmla="*/ 19 h 3369"/>
                <a:gd name="connsiteX2" fmla="*/ 0 w 13396"/>
                <a:gd name="connsiteY2" fmla="*/ 3370 h 3369"/>
                <a:gd name="connsiteX3" fmla="*/ 6976 w 13396"/>
                <a:gd name="connsiteY3" fmla="*/ 3249 h 3369"/>
              </a:gdLst>
              <a:ahLst/>
              <a:cxnLst>
                <a:cxn ang="0">
                  <a:pos x="connsiteX0" y="connsiteY0"/>
                </a:cxn>
                <a:cxn ang="0">
                  <a:pos x="connsiteX1" y="connsiteY1"/>
                </a:cxn>
                <a:cxn ang="0">
                  <a:pos x="connsiteX2" y="connsiteY2"/>
                </a:cxn>
                <a:cxn ang="0">
                  <a:pos x="connsiteX3" y="connsiteY3"/>
                </a:cxn>
              </a:cxnLst>
              <a:rect l="l" t="t" r="r" b="b"/>
              <a:pathLst>
                <a:path w="13396" h="3369">
                  <a:moveTo>
                    <a:pt x="13397" y="0"/>
                  </a:moveTo>
                  <a:lnTo>
                    <a:pt x="6976" y="19"/>
                  </a:lnTo>
                  <a:lnTo>
                    <a:pt x="0" y="3370"/>
                  </a:lnTo>
                  <a:lnTo>
                    <a:pt x="6976" y="324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95" name="Freihandform: Form 594">
              <a:extLst>
                <a:ext uri="{FF2B5EF4-FFF2-40B4-BE49-F238E27FC236}">
                  <a16:creationId xmlns:a16="http://schemas.microsoft.com/office/drawing/2014/main" id="{5A3C7E0F-35D3-6142-91A3-26092175EC90}"/>
                </a:ext>
              </a:extLst>
            </p:cNvPr>
            <p:cNvSpPr/>
            <p:nvPr/>
          </p:nvSpPr>
          <p:spPr>
            <a:xfrm>
              <a:off x="5257931" y="3538535"/>
              <a:ext cx="12699" cy="11112"/>
            </a:xfrm>
            <a:custGeom>
              <a:avLst/>
              <a:gdLst>
                <a:gd name="connsiteX0" fmla="*/ 10341 w 10340"/>
                <a:gd name="connsiteY0" fmla="*/ 1195 h 7761"/>
                <a:gd name="connsiteX1" fmla="*/ 5857 w 10340"/>
                <a:gd name="connsiteY1" fmla="*/ 0 h 7761"/>
                <a:gd name="connsiteX2" fmla="*/ 0 w 10340"/>
                <a:gd name="connsiteY2" fmla="*/ 1716 h 7761"/>
                <a:gd name="connsiteX3" fmla="*/ 1547 w 10340"/>
                <a:gd name="connsiteY3" fmla="*/ 7761 h 7761"/>
                <a:gd name="connsiteX4" fmla="*/ 8615 w 10340"/>
                <a:gd name="connsiteY4" fmla="*/ 6358 h 7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40" h="7761">
                  <a:moveTo>
                    <a:pt x="10341" y="1195"/>
                  </a:moveTo>
                  <a:lnTo>
                    <a:pt x="5857" y="0"/>
                  </a:lnTo>
                  <a:lnTo>
                    <a:pt x="0" y="1716"/>
                  </a:lnTo>
                  <a:lnTo>
                    <a:pt x="1547" y="7761"/>
                  </a:lnTo>
                  <a:lnTo>
                    <a:pt x="8615" y="635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96" name="Freihandform: Form 595">
              <a:extLst>
                <a:ext uri="{FF2B5EF4-FFF2-40B4-BE49-F238E27FC236}">
                  <a16:creationId xmlns:a16="http://schemas.microsoft.com/office/drawing/2014/main" id="{01A3A671-D7F3-75F2-2FFF-602DFAEE818B}"/>
                </a:ext>
              </a:extLst>
            </p:cNvPr>
            <p:cNvSpPr/>
            <p:nvPr/>
          </p:nvSpPr>
          <p:spPr>
            <a:xfrm>
              <a:off x="5215074" y="3498845"/>
              <a:ext cx="19048" cy="12700"/>
            </a:xfrm>
            <a:custGeom>
              <a:avLst/>
              <a:gdLst>
                <a:gd name="connsiteX0" fmla="*/ 12225 w 14129"/>
                <a:gd name="connsiteY0" fmla="*/ 9969 h 9969"/>
                <a:gd name="connsiteX1" fmla="*/ 14130 w 14129"/>
                <a:gd name="connsiteY1" fmla="*/ 6368 h 9969"/>
                <a:gd name="connsiteX2" fmla="*/ 10678 w 14129"/>
                <a:gd name="connsiteY2" fmla="*/ 1022 h 9969"/>
                <a:gd name="connsiteX3" fmla="*/ 3784 w 14129"/>
                <a:gd name="connsiteY3" fmla="*/ 0 h 9969"/>
                <a:gd name="connsiteX4" fmla="*/ 0 w 14129"/>
                <a:gd name="connsiteY4" fmla="*/ 6715 h 9969"/>
                <a:gd name="connsiteX5" fmla="*/ 6527 w 14129"/>
                <a:gd name="connsiteY5" fmla="*/ 9969 h 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29" h="9969">
                  <a:moveTo>
                    <a:pt x="12225" y="9969"/>
                  </a:moveTo>
                  <a:lnTo>
                    <a:pt x="14130" y="6368"/>
                  </a:lnTo>
                  <a:lnTo>
                    <a:pt x="10678" y="1022"/>
                  </a:lnTo>
                  <a:lnTo>
                    <a:pt x="3784" y="0"/>
                  </a:lnTo>
                  <a:lnTo>
                    <a:pt x="0" y="6715"/>
                  </a:lnTo>
                  <a:lnTo>
                    <a:pt x="6527" y="996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97" name="Freihandform: Form 596">
              <a:extLst>
                <a:ext uri="{FF2B5EF4-FFF2-40B4-BE49-F238E27FC236}">
                  <a16:creationId xmlns:a16="http://schemas.microsoft.com/office/drawing/2014/main" id="{5B3E1AB2-3597-B185-EFE4-72944AE9BA08}"/>
                </a:ext>
              </a:extLst>
            </p:cNvPr>
            <p:cNvSpPr/>
            <p:nvPr/>
          </p:nvSpPr>
          <p:spPr>
            <a:xfrm>
              <a:off x="5205550" y="3506783"/>
              <a:ext cx="6349" cy="17463"/>
            </a:xfrm>
            <a:custGeom>
              <a:avLst/>
              <a:gdLst>
                <a:gd name="connsiteX0" fmla="*/ 3134 w 4835"/>
                <a:gd name="connsiteY0" fmla="*/ 0 h 12909"/>
                <a:gd name="connsiteX1" fmla="*/ 4493 w 4835"/>
                <a:gd name="connsiteY1" fmla="*/ 5346 h 12909"/>
                <a:gd name="connsiteX2" fmla="*/ 4835 w 4835"/>
                <a:gd name="connsiteY2" fmla="*/ 12910 h 12909"/>
                <a:gd name="connsiteX3" fmla="*/ 0 w 4835"/>
                <a:gd name="connsiteY3" fmla="*/ 6865 h 12909"/>
              </a:gdLst>
              <a:ahLst/>
              <a:cxnLst>
                <a:cxn ang="0">
                  <a:pos x="connsiteX0" y="connsiteY0"/>
                </a:cxn>
                <a:cxn ang="0">
                  <a:pos x="connsiteX1" y="connsiteY1"/>
                </a:cxn>
                <a:cxn ang="0">
                  <a:pos x="connsiteX2" y="connsiteY2"/>
                </a:cxn>
                <a:cxn ang="0">
                  <a:pos x="connsiteX3" y="connsiteY3"/>
                </a:cxn>
              </a:cxnLst>
              <a:rect l="l" t="t" r="r" b="b"/>
              <a:pathLst>
                <a:path w="4835" h="12909">
                  <a:moveTo>
                    <a:pt x="3134" y="0"/>
                  </a:moveTo>
                  <a:lnTo>
                    <a:pt x="4493" y="5346"/>
                  </a:lnTo>
                  <a:lnTo>
                    <a:pt x="4835" y="12910"/>
                  </a:lnTo>
                  <a:lnTo>
                    <a:pt x="0" y="686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98" name="Freihandform: Form 597">
              <a:extLst>
                <a:ext uri="{FF2B5EF4-FFF2-40B4-BE49-F238E27FC236}">
                  <a16:creationId xmlns:a16="http://schemas.microsoft.com/office/drawing/2014/main" id="{AC3A1427-BB03-CEFE-23D2-C57F39BB2003}"/>
                </a:ext>
              </a:extLst>
            </p:cNvPr>
            <p:cNvSpPr/>
            <p:nvPr/>
          </p:nvSpPr>
          <p:spPr>
            <a:xfrm>
              <a:off x="5215074" y="3384541"/>
              <a:ext cx="7936" cy="17464"/>
            </a:xfrm>
            <a:custGeom>
              <a:avLst/>
              <a:gdLst>
                <a:gd name="connsiteX0" fmla="*/ 6455 w 6985"/>
                <a:gd name="connsiteY0" fmla="*/ 661 h 13980"/>
                <a:gd name="connsiteX1" fmla="*/ 6175 w 6985"/>
                <a:gd name="connsiteY1" fmla="*/ 6956 h 13980"/>
                <a:gd name="connsiteX2" fmla="*/ 6985 w 6985"/>
                <a:gd name="connsiteY2" fmla="*/ 13980 h 13980"/>
                <a:gd name="connsiteX3" fmla="*/ 0 w 6985"/>
                <a:gd name="connsiteY3" fmla="*/ 0 h 13980"/>
              </a:gdLst>
              <a:ahLst/>
              <a:cxnLst>
                <a:cxn ang="0">
                  <a:pos x="connsiteX0" y="connsiteY0"/>
                </a:cxn>
                <a:cxn ang="0">
                  <a:pos x="connsiteX1" y="connsiteY1"/>
                </a:cxn>
                <a:cxn ang="0">
                  <a:pos x="connsiteX2" y="connsiteY2"/>
                </a:cxn>
                <a:cxn ang="0">
                  <a:pos x="connsiteX3" y="connsiteY3"/>
                </a:cxn>
              </a:cxnLst>
              <a:rect l="l" t="t" r="r" b="b"/>
              <a:pathLst>
                <a:path w="6985" h="13980">
                  <a:moveTo>
                    <a:pt x="6455" y="661"/>
                  </a:moveTo>
                  <a:lnTo>
                    <a:pt x="6175" y="6956"/>
                  </a:lnTo>
                  <a:lnTo>
                    <a:pt x="6985" y="13980"/>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99" name="Freihandform: Form 598">
              <a:extLst>
                <a:ext uri="{FF2B5EF4-FFF2-40B4-BE49-F238E27FC236}">
                  <a16:creationId xmlns:a16="http://schemas.microsoft.com/office/drawing/2014/main" id="{A75855F0-3E55-28BF-1756-3300D4432BC3}"/>
                </a:ext>
              </a:extLst>
            </p:cNvPr>
            <p:cNvSpPr/>
            <p:nvPr/>
          </p:nvSpPr>
          <p:spPr>
            <a:xfrm>
              <a:off x="4037282" y="2057340"/>
              <a:ext cx="12699" cy="30164"/>
            </a:xfrm>
            <a:custGeom>
              <a:avLst/>
              <a:gdLst>
                <a:gd name="connsiteX0" fmla="*/ 4173 w 9684"/>
                <a:gd name="connsiteY0" fmla="*/ 0 h 24850"/>
                <a:gd name="connsiteX1" fmla="*/ 8000 w 9684"/>
                <a:gd name="connsiteY1" fmla="*/ 7458 h 24850"/>
                <a:gd name="connsiteX2" fmla="*/ 3199 w 9684"/>
                <a:gd name="connsiteY2" fmla="*/ 24851 h 24850"/>
                <a:gd name="connsiteX3" fmla="*/ 109 w 9684"/>
                <a:gd name="connsiteY3" fmla="*/ 18160 h 24850"/>
                <a:gd name="connsiteX4" fmla="*/ 4173 w 9684"/>
                <a:gd name="connsiteY4" fmla="*/ 0 h 2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4" h="24850">
                  <a:moveTo>
                    <a:pt x="4173" y="0"/>
                  </a:moveTo>
                  <a:cubicBezTo>
                    <a:pt x="4173" y="0"/>
                    <a:pt x="6814" y="6257"/>
                    <a:pt x="8000" y="7458"/>
                  </a:cubicBezTo>
                  <a:cubicBezTo>
                    <a:pt x="9210" y="8663"/>
                    <a:pt x="12850" y="14708"/>
                    <a:pt x="3199" y="24851"/>
                  </a:cubicBezTo>
                  <a:cubicBezTo>
                    <a:pt x="986" y="21602"/>
                    <a:pt x="-412" y="19003"/>
                    <a:pt x="109" y="18160"/>
                  </a:cubicBezTo>
                  <a:cubicBezTo>
                    <a:pt x="630" y="17311"/>
                    <a:pt x="5132" y="10943"/>
                    <a:pt x="4173"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00" name="Freihandform: Form 599">
              <a:extLst>
                <a:ext uri="{FF2B5EF4-FFF2-40B4-BE49-F238E27FC236}">
                  <a16:creationId xmlns:a16="http://schemas.microsoft.com/office/drawing/2014/main" id="{BAED589A-91F6-C8AB-F2D7-3F288E54A93C}"/>
                </a:ext>
              </a:extLst>
            </p:cNvPr>
            <p:cNvSpPr/>
            <p:nvPr/>
          </p:nvSpPr>
          <p:spPr>
            <a:xfrm>
              <a:off x="3999186" y="2130368"/>
              <a:ext cx="20635" cy="26989"/>
            </a:xfrm>
            <a:custGeom>
              <a:avLst/>
              <a:gdLst>
                <a:gd name="connsiteX0" fmla="*/ 16362 w 16361"/>
                <a:gd name="connsiteY0" fmla="*/ 11700 h 21871"/>
                <a:gd name="connsiteX1" fmla="*/ 6894 w 16361"/>
                <a:gd name="connsiteY1" fmla="*/ 0 h 21871"/>
                <a:gd name="connsiteX2" fmla="*/ 0 w 16361"/>
                <a:gd name="connsiteY2" fmla="*/ 145 h 21871"/>
                <a:gd name="connsiteX3" fmla="*/ 525 w 16361"/>
                <a:gd name="connsiteY3" fmla="*/ 6725 h 21871"/>
                <a:gd name="connsiteX4" fmla="*/ 6735 w 16361"/>
                <a:gd name="connsiteY4" fmla="*/ 9969 h 21871"/>
                <a:gd name="connsiteX5" fmla="*/ 11362 w 16361"/>
                <a:gd name="connsiteY5" fmla="*/ 21872 h 21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61" h="21871">
                  <a:moveTo>
                    <a:pt x="16362" y="11700"/>
                  </a:moveTo>
                  <a:lnTo>
                    <a:pt x="6894" y="0"/>
                  </a:lnTo>
                  <a:lnTo>
                    <a:pt x="0" y="145"/>
                  </a:lnTo>
                  <a:lnTo>
                    <a:pt x="525" y="6725"/>
                  </a:lnTo>
                  <a:lnTo>
                    <a:pt x="6735" y="9969"/>
                  </a:lnTo>
                  <a:lnTo>
                    <a:pt x="11362" y="2187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01" name="Freihandform: Form 600">
              <a:extLst>
                <a:ext uri="{FF2B5EF4-FFF2-40B4-BE49-F238E27FC236}">
                  <a16:creationId xmlns:a16="http://schemas.microsoft.com/office/drawing/2014/main" id="{12BA332B-CC84-C0D4-BE48-D4ED5ED73892}"/>
                </a:ext>
              </a:extLst>
            </p:cNvPr>
            <p:cNvSpPr/>
            <p:nvPr/>
          </p:nvSpPr>
          <p:spPr>
            <a:xfrm>
              <a:off x="3983313" y="2170058"/>
              <a:ext cx="17460" cy="49214"/>
            </a:xfrm>
            <a:custGeom>
              <a:avLst/>
              <a:gdLst>
                <a:gd name="connsiteX0" fmla="*/ 5491 w 14086"/>
                <a:gd name="connsiteY0" fmla="*/ 0 h 38387"/>
                <a:gd name="connsiteX1" fmla="*/ 0 w 14086"/>
                <a:gd name="connsiteY1" fmla="*/ 6359 h 38387"/>
                <a:gd name="connsiteX2" fmla="*/ 1543 w 14086"/>
                <a:gd name="connsiteY2" fmla="*/ 17547 h 38387"/>
                <a:gd name="connsiteX3" fmla="*/ 12553 w 14086"/>
                <a:gd name="connsiteY3" fmla="*/ 38387 h 38387"/>
                <a:gd name="connsiteX4" fmla="*/ 13599 w 14086"/>
                <a:gd name="connsiteY4" fmla="*/ 30129 h 38387"/>
                <a:gd name="connsiteX5" fmla="*/ 8094 w 14086"/>
                <a:gd name="connsiteY5" fmla="*/ 26167 h 38387"/>
                <a:gd name="connsiteX6" fmla="*/ 14086 w 14086"/>
                <a:gd name="connsiteY6" fmla="*/ 25314 h 38387"/>
                <a:gd name="connsiteX7" fmla="*/ 12389 w 14086"/>
                <a:gd name="connsiteY7" fmla="*/ 19278 h 38387"/>
                <a:gd name="connsiteX8" fmla="*/ 7896 w 14086"/>
                <a:gd name="connsiteY8" fmla="*/ 12746 h 38387"/>
                <a:gd name="connsiteX9" fmla="*/ 14081 w 14086"/>
                <a:gd name="connsiteY9" fmla="*/ 14790 h 38387"/>
                <a:gd name="connsiteX10" fmla="*/ 9265 w 14086"/>
                <a:gd name="connsiteY10" fmla="*/ 9646 h 38387"/>
                <a:gd name="connsiteX11" fmla="*/ 3601 w 14086"/>
                <a:gd name="connsiteY11" fmla="*/ 6889 h 38387"/>
                <a:gd name="connsiteX12" fmla="*/ 5491 w 14086"/>
                <a:gd name="connsiteY12" fmla="*/ 0 h 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086" h="38387">
                  <a:moveTo>
                    <a:pt x="5491" y="0"/>
                  </a:moveTo>
                  <a:lnTo>
                    <a:pt x="0" y="6359"/>
                  </a:lnTo>
                  <a:cubicBezTo>
                    <a:pt x="0" y="6359"/>
                    <a:pt x="1369" y="15142"/>
                    <a:pt x="1543" y="17547"/>
                  </a:cubicBezTo>
                  <a:cubicBezTo>
                    <a:pt x="1692" y="19953"/>
                    <a:pt x="3452" y="28568"/>
                    <a:pt x="12553" y="38387"/>
                  </a:cubicBezTo>
                  <a:cubicBezTo>
                    <a:pt x="13416" y="34608"/>
                    <a:pt x="13599" y="30129"/>
                    <a:pt x="13599" y="30129"/>
                  </a:cubicBezTo>
                  <a:lnTo>
                    <a:pt x="8094" y="26167"/>
                  </a:lnTo>
                  <a:lnTo>
                    <a:pt x="14086" y="25314"/>
                  </a:lnTo>
                  <a:lnTo>
                    <a:pt x="12389" y="19278"/>
                  </a:lnTo>
                  <a:lnTo>
                    <a:pt x="7896" y="12746"/>
                  </a:lnTo>
                  <a:lnTo>
                    <a:pt x="14081" y="14790"/>
                  </a:lnTo>
                  <a:lnTo>
                    <a:pt x="9265" y="9646"/>
                  </a:lnTo>
                  <a:lnTo>
                    <a:pt x="3601" y="6889"/>
                  </a:lnTo>
                  <a:lnTo>
                    <a:pt x="5491"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02" name="Freihandform: Form 601">
              <a:extLst>
                <a:ext uri="{FF2B5EF4-FFF2-40B4-BE49-F238E27FC236}">
                  <a16:creationId xmlns:a16="http://schemas.microsoft.com/office/drawing/2014/main" id="{04E02AB0-4E45-209B-1B1F-6637F0F240E3}"/>
                </a:ext>
              </a:extLst>
            </p:cNvPr>
            <p:cNvSpPr/>
            <p:nvPr/>
          </p:nvSpPr>
          <p:spPr>
            <a:xfrm>
              <a:off x="3965852" y="2076391"/>
              <a:ext cx="28572" cy="25401"/>
            </a:xfrm>
            <a:custGeom>
              <a:avLst/>
              <a:gdLst>
                <a:gd name="connsiteX0" fmla="*/ 6542 w 23409"/>
                <a:gd name="connsiteY0" fmla="*/ 3611 h 19451"/>
                <a:gd name="connsiteX1" fmla="*/ 0 w 23409"/>
                <a:gd name="connsiteY1" fmla="*/ 1562 h 19451"/>
                <a:gd name="connsiteX2" fmla="*/ 4300 w 23409"/>
                <a:gd name="connsiteY2" fmla="*/ 14472 h 19451"/>
                <a:gd name="connsiteX3" fmla="*/ 11719 w 23409"/>
                <a:gd name="connsiteY3" fmla="*/ 13604 h 19451"/>
                <a:gd name="connsiteX4" fmla="*/ 11006 w 23409"/>
                <a:gd name="connsiteY4" fmla="*/ 19452 h 19451"/>
                <a:gd name="connsiteX5" fmla="*/ 23409 w 23409"/>
                <a:gd name="connsiteY5" fmla="*/ 12910 h 19451"/>
                <a:gd name="connsiteX6" fmla="*/ 12404 w 23409"/>
                <a:gd name="connsiteY6" fmla="*/ 0 h 19451"/>
                <a:gd name="connsiteX7" fmla="*/ 6542 w 23409"/>
                <a:gd name="connsiteY7" fmla="*/ 3611 h 19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409" h="19451">
                  <a:moveTo>
                    <a:pt x="6542" y="3611"/>
                  </a:moveTo>
                  <a:lnTo>
                    <a:pt x="0" y="1562"/>
                  </a:lnTo>
                  <a:cubicBezTo>
                    <a:pt x="0" y="1562"/>
                    <a:pt x="4999" y="11541"/>
                    <a:pt x="4300" y="14472"/>
                  </a:cubicBezTo>
                  <a:cubicBezTo>
                    <a:pt x="10851" y="13431"/>
                    <a:pt x="11719" y="13604"/>
                    <a:pt x="11719" y="13604"/>
                  </a:cubicBezTo>
                  <a:lnTo>
                    <a:pt x="11006" y="19452"/>
                  </a:lnTo>
                  <a:cubicBezTo>
                    <a:pt x="11006" y="19452"/>
                    <a:pt x="22069" y="14549"/>
                    <a:pt x="23409" y="12910"/>
                  </a:cubicBezTo>
                  <a:cubicBezTo>
                    <a:pt x="17056" y="6706"/>
                    <a:pt x="12404" y="0"/>
                    <a:pt x="12404" y="0"/>
                  </a:cubicBezTo>
                  <a:lnTo>
                    <a:pt x="6542" y="361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03" name="Freihandform: Form 602">
              <a:extLst>
                <a:ext uri="{FF2B5EF4-FFF2-40B4-BE49-F238E27FC236}">
                  <a16:creationId xmlns:a16="http://schemas.microsoft.com/office/drawing/2014/main" id="{9757C6DF-D2BE-DCB0-75EE-9F9D4AB6D8A0}"/>
                </a:ext>
              </a:extLst>
            </p:cNvPr>
            <p:cNvSpPr/>
            <p:nvPr/>
          </p:nvSpPr>
          <p:spPr>
            <a:xfrm>
              <a:off x="3984900" y="2055753"/>
              <a:ext cx="31746" cy="68265"/>
            </a:xfrm>
            <a:custGeom>
              <a:avLst/>
              <a:gdLst>
                <a:gd name="connsiteX0" fmla="*/ 0 w 25814"/>
                <a:gd name="connsiteY0" fmla="*/ 11213 h 53905"/>
                <a:gd name="connsiteX1" fmla="*/ 4816 w 25814"/>
                <a:gd name="connsiteY1" fmla="*/ 0 h 53905"/>
                <a:gd name="connsiteX2" fmla="*/ 10668 w 25814"/>
                <a:gd name="connsiteY2" fmla="*/ 882 h 53905"/>
                <a:gd name="connsiteX3" fmla="*/ 13411 w 25814"/>
                <a:gd name="connsiteY3" fmla="*/ 11382 h 53905"/>
                <a:gd name="connsiteX4" fmla="*/ 20850 w 25814"/>
                <a:gd name="connsiteY4" fmla="*/ 24976 h 53905"/>
                <a:gd name="connsiteX5" fmla="*/ 24798 w 25814"/>
                <a:gd name="connsiteY5" fmla="*/ 37023 h 53905"/>
                <a:gd name="connsiteX6" fmla="*/ 25815 w 25814"/>
                <a:gd name="connsiteY6" fmla="*/ 50299 h 53905"/>
                <a:gd name="connsiteX7" fmla="*/ 23241 w 25814"/>
                <a:gd name="connsiteY7" fmla="*/ 53905 h 53905"/>
                <a:gd name="connsiteX8" fmla="*/ 12206 w 25814"/>
                <a:gd name="connsiteY8" fmla="*/ 35828 h 53905"/>
                <a:gd name="connsiteX9" fmla="*/ 12057 w 25814"/>
                <a:gd name="connsiteY9" fmla="*/ 28616 h 53905"/>
                <a:gd name="connsiteX10" fmla="*/ 6368 w 25814"/>
                <a:gd name="connsiteY10" fmla="*/ 23964 h 53905"/>
                <a:gd name="connsiteX11" fmla="*/ 5163 w 25814"/>
                <a:gd name="connsiteY11" fmla="*/ 18102 h 53905"/>
                <a:gd name="connsiteX12" fmla="*/ 0 w 25814"/>
                <a:gd name="connsiteY12" fmla="*/ 11213 h 53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14" h="53905">
                  <a:moveTo>
                    <a:pt x="0" y="11213"/>
                  </a:moveTo>
                  <a:cubicBezTo>
                    <a:pt x="0" y="11213"/>
                    <a:pt x="4980" y="4136"/>
                    <a:pt x="4816" y="0"/>
                  </a:cubicBezTo>
                  <a:cubicBezTo>
                    <a:pt x="8595" y="362"/>
                    <a:pt x="10668" y="882"/>
                    <a:pt x="10668" y="882"/>
                  </a:cubicBezTo>
                  <a:cubicBezTo>
                    <a:pt x="10668" y="882"/>
                    <a:pt x="12924" y="7766"/>
                    <a:pt x="13411" y="11382"/>
                  </a:cubicBezTo>
                  <a:cubicBezTo>
                    <a:pt x="13946" y="14988"/>
                    <a:pt x="16188" y="21520"/>
                    <a:pt x="20850" y="24976"/>
                  </a:cubicBezTo>
                  <a:cubicBezTo>
                    <a:pt x="23058" y="29295"/>
                    <a:pt x="24798" y="37023"/>
                    <a:pt x="24798" y="37023"/>
                  </a:cubicBezTo>
                  <a:lnTo>
                    <a:pt x="25815" y="50299"/>
                  </a:lnTo>
                  <a:lnTo>
                    <a:pt x="23241" y="53905"/>
                  </a:lnTo>
                  <a:lnTo>
                    <a:pt x="12206" y="35828"/>
                  </a:lnTo>
                  <a:lnTo>
                    <a:pt x="12057" y="28616"/>
                  </a:lnTo>
                  <a:lnTo>
                    <a:pt x="6368" y="23964"/>
                  </a:lnTo>
                  <a:lnTo>
                    <a:pt x="5163" y="18102"/>
                  </a:lnTo>
                  <a:lnTo>
                    <a:pt x="0" y="1121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04" name="Freihandform: Form 603">
              <a:extLst>
                <a:ext uri="{FF2B5EF4-FFF2-40B4-BE49-F238E27FC236}">
                  <a16:creationId xmlns:a16="http://schemas.microsoft.com/office/drawing/2014/main" id="{B4D4674E-F14C-115B-9E47-1AAC8495C5AF}"/>
                </a:ext>
              </a:extLst>
            </p:cNvPr>
            <p:cNvSpPr/>
            <p:nvPr/>
          </p:nvSpPr>
          <p:spPr>
            <a:xfrm>
              <a:off x="4000773" y="2050990"/>
              <a:ext cx="33334" cy="55565"/>
            </a:xfrm>
            <a:custGeom>
              <a:avLst/>
              <a:gdLst>
                <a:gd name="connsiteX0" fmla="*/ 585 w 26771"/>
                <a:gd name="connsiteY0" fmla="*/ 1210 h 43048"/>
                <a:gd name="connsiteX1" fmla="*/ 5772 w 26771"/>
                <a:gd name="connsiteY1" fmla="*/ 0 h 43048"/>
                <a:gd name="connsiteX2" fmla="*/ 11977 w 26771"/>
                <a:gd name="connsiteY2" fmla="*/ 5168 h 43048"/>
                <a:gd name="connsiteX3" fmla="*/ 6809 w 26771"/>
                <a:gd name="connsiteY3" fmla="*/ 11709 h 43048"/>
                <a:gd name="connsiteX4" fmla="*/ 13881 w 26771"/>
                <a:gd name="connsiteY4" fmla="*/ 8263 h 43048"/>
                <a:gd name="connsiteX5" fmla="*/ 19545 w 26771"/>
                <a:gd name="connsiteY5" fmla="*/ 14279 h 43048"/>
                <a:gd name="connsiteX6" fmla="*/ 21440 w 26771"/>
                <a:gd name="connsiteY6" fmla="*/ 19615 h 43048"/>
                <a:gd name="connsiteX7" fmla="*/ 21098 w 26771"/>
                <a:gd name="connsiteY7" fmla="*/ 26692 h 43048"/>
                <a:gd name="connsiteX8" fmla="*/ 26772 w 26771"/>
                <a:gd name="connsiteY8" fmla="*/ 32549 h 43048"/>
                <a:gd name="connsiteX9" fmla="*/ 21098 w 26771"/>
                <a:gd name="connsiteY9" fmla="*/ 35640 h 43048"/>
                <a:gd name="connsiteX10" fmla="*/ 18176 w 26771"/>
                <a:gd name="connsiteY10" fmla="*/ 43049 h 43048"/>
                <a:gd name="connsiteX11" fmla="*/ 16455 w 26771"/>
                <a:gd name="connsiteY11" fmla="*/ 39086 h 43048"/>
                <a:gd name="connsiteX12" fmla="*/ 18533 w 26771"/>
                <a:gd name="connsiteY12" fmla="*/ 32713 h 43048"/>
                <a:gd name="connsiteX13" fmla="*/ 14725 w 26771"/>
                <a:gd name="connsiteY13" fmla="*/ 26350 h 43048"/>
                <a:gd name="connsiteX14" fmla="*/ 12488 w 26771"/>
                <a:gd name="connsiteY14" fmla="*/ 31875 h 43048"/>
                <a:gd name="connsiteX15" fmla="*/ 6650 w 26771"/>
                <a:gd name="connsiteY15" fmla="*/ 22734 h 43048"/>
                <a:gd name="connsiteX16" fmla="*/ 1810 w 26771"/>
                <a:gd name="connsiteY16" fmla="*/ 8947 h 43048"/>
                <a:gd name="connsiteX17" fmla="*/ 585 w 26771"/>
                <a:gd name="connsiteY17" fmla="*/ 1210 h 43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771" h="43048">
                  <a:moveTo>
                    <a:pt x="585" y="1210"/>
                  </a:moveTo>
                  <a:lnTo>
                    <a:pt x="5772" y="0"/>
                  </a:lnTo>
                  <a:lnTo>
                    <a:pt x="11977" y="5168"/>
                  </a:lnTo>
                  <a:lnTo>
                    <a:pt x="6809" y="11709"/>
                  </a:lnTo>
                  <a:lnTo>
                    <a:pt x="13881" y="8263"/>
                  </a:lnTo>
                  <a:lnTo>
                    <a:pt x="19545" y="14279"/>
                  </a:lnTo>
                  <a:lnTo>
                    <a:pt x="21440" y="19615"/>
                  </a:lnTo>
                  <a:lnTo>
                    <a:pt x="21098" y="26692"/>
                  </a:lnTo>
                  <a:lnTo>
                    <a:pt x="26772" y="32549"/>
                  </a:lnTo>
                  <a:lnTo>
                    <a:pt x="21098" y="35640"/>
                  </a:lnTo>
                  <a:lnTo>
                    <a:pt x="18176" y="43049"/>
                  </a:lnTo>
                  <a:lnTo>
                    <a:pt x="16455" y="39086"/>
                  </a:lnTo>
                  <a:lnTo>
                    <a:pt x="18533" y="32713"/>
                  </a:lnTo>
                  <a:lnTo>
                    <a:pt x="14725" y="26350"/>
                  </a:lnTo>
                  <a:lnTo>
                    <a:pt x="12488" y="31875"/>
                  </a:lnTo>
                  <a:cubicBezTo>
                    <a:pt x="12488" y="31875"/>
                    <a:pt x="10598" y="26350"/>
                    <a:pt x="6650" y="22734"/>
                  </a:cubicBezTo>
                  <a:cubicBezTo>
                    <a:pt x="2678" y="19119"/>
                    <a:pt x="1641" y="11025"/>
                    <a:pt x="1810" y="8947"/>
                  </a:cubicBezTo>
                  <a:cubicBezTo>
                    <a:pt x="1969" y="6894"/>
                    <a:pt x="-1295" y="2242"/>
                    <a:pt x="585" y="121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05" name="Freihandform: Form 604">
              <a:extLst>
                <a:ext uri="{FF2B5EF4-FFF2-40B4-BE49-F238E27FC236}">
                  <a16:creationId xmlns:a16="http://schemas.microsoft.com/office/drawing/2014/main" id="{DA98628B-3050-84EB-E101-51E6E643D50E}"/>
                </a:ext>
              </a:extLst>
            </p:cNvPr>
            <p:cNvSpPr/>
            <p:nvPr/>
          </p:nvSpPr>
          <p:spPr>
            <a:xfrm>
              <a:off x="2913459" y="980975"/>
              <a:ext cx="753977" cy="622324"/>
            </a:xfrm>
            <a:custGeom>
              <a:avLst/>
              <a:gdLst>
                <a:gd name="connsiteX0" fmla="*/ 518766 w 590859"/>
                <a:gd name="connsiteY0" fmla="*/ 165702 h 487272"/>
                <a:gd name="connsiteX1" fmla="*/ 518221 w 590859"/>
                <a:gd name="connsiteY1" fmla="*/ 160004 h 487272"/>
                <a:gd name="connsiteX2" fmla="*/ 511786 w 590859"/>
                <a:gd name="connsiteY2" fmla="*/ 154706 h 487272"/>
                <a:gd name="connsiteX3" fmla="*/ 511125 w 590859"/>
                <a:gd name="connsiteY3" fmla="*/ 147480 h 487272"/>
                <a:gd name="connsiteX4" fmla="*/ 511911 w 590859"/>
                <a:gd name="connsiteY4" fmla="*/ 142558 h 487272"/>
                <a:gd name="connsiteX5" fmla="*/ 508421 w 590859"/>
                <a:gd name="connsiteY5" fmla="*/ 135997 h 487272"/>
                <a:gd name="connsiteX6" fmla="*/ 503779 w 590859"/>
                <a:gd name="connsiteY6" fmla="*/ 135072 h 487272"/>
                <a:gd name="connsiteX7" fmla="*/ 496919 w 590859"/>
                <a:gd name="connsiteY7" fmla="*/ 136383 h 487272"/>
                <a:gd name="connsiteX8" fmla="*/ 484534 w 590859"/>
                <a:gd name="connsiteY8" fmla="*/ 131461 h 487272"/>
                <a:gd name="connsiteX9" fmla="*/ 478981 w 590859"/>
                <a:gd name="connsiteY9" fmla="*/ 134961 h 487272"/>
                <a:gd name="connsiteX10" fmla="*/ 479101 w 590859"/>
                <a:gd name="connsiteY10" fmla="*/ 141416 h 487272"/>
                <a:gd name="connsiteX11" fmla="*/ 476392 w 590859"/>
                <a:gd name="connsiteY11" fmla="*/ 147480 h 487272"/>
                <a:gd name="connsiteX12" fmla="*/ 476633 w 590859"/>
                <a:gd name="connsiteY12" fmla="*/ 160245 h 487272"/>
                <a:gd name="connsiteX13" fmla="*/ 475881 w 590859"/>
                <a:gd name="connsiteY13" fmla="*/ 165423 h 487272"/>
                <a:gd name="connsiteX14" fmla="*/ 469802 w 590859"/>
                <a:gd name="connsiteY14" fmla="*/ 172524 h 487272"/>
                <a:gd name="connsiteX15" fmla="*/ 468255 w 590859"/>
                <a:gd name="connsiteY15" fmla="*/ 178226 h 487272"/>
                <a:gd name="connsiteX16" fmla="*/ 462692 w 590859"/>
                <a:gd name="connsiteY16" fmla="*/ 172393 h 487272"/>
                <a:gd name="connsiteX17" fmla="*/ 457668 w 590859"/>
                <a:gd name="connsiteY17" fmla="*/ 177431 h 487272"/>
                <a:gd name="connsiteX18" fmla="*/ 458956 w 590859"/>
                <a:gd name="connsiteY18" fmla="*/ 184026 h 487272"/>
                <a:gd name="connsiteX19" fmla="*/ 455089 w 590859"/>
                <a:gd name="connsiteY19" fmla="*/ 177320 h 487272"/>
                <a:gd name="connsiteX20" fmla="*/ 441529 w 590859"/>
                <a:gd name="connsiteY20" fmla="*/ 175623 h 487272"/>
                <a:gd name="connsiteX21" fmla="*/ 439842 w 590859"/>
                <a:gd name="connsiteY21" fmla="*/ 159349 h 487272"/>
                <a:gd name="connsiteX22" fmla="*/ 433777 w 590859"/>
                <a:gd name="connsiteY22" fmla="*/ 158442 h 487272"/>
                <a:gd name="connsiteX23" fmla="*/ 426792 w 590859"/>
                <a:gd name="connsiteY23" fmla="*/ 161156 h 487272"/>
                <a:gd name="connsiteX24" fmla="*/ 423056 w 590859"/>
                <a:gd name="connsiteY24" fmla="*/ 167110 h 487272"/>
                <a:gd name="connsiteX25" fmla="*/ 416991 w 590859"/>
                <a:gd name="connsiteY25" fmla="*/ 171111 h 487272"/>
                <a:gd name="connsiteX26" fmla="*/ 414157 w 590859"/>
                <a:gd name="connsiteY26" fmla="*/ 177841 h 487272"/>
                <a:gd name="connsiteX27" fmla="*/ 402534 w 590859"/>
                <a:gd name="connsiteY27" fmla="*/ 181191 h 487272"/>
                <a:gd name="connsiteX28" fmla="*/ 400157 w 590859"/>
                <a:gd name="connsiteY28" fmla="*/ 187810 h 487272"/>
                <a:gd name="connsiteX29" fmla="*/ 399425 w 590859"/>
                <a:gd name="connsiteY29" fmla="*/ 182367 h 487272"/>
                <a:gd name="connsiteX30" fmla="*/ 398899 w 590859"/>
                <a:gd name="connsiteY30" fmla="*/ 175247 h 487272"/>
                <a:gd name="connsiteX31" fmla="*/ 396065 w 590859"/>
                <a:gd name="connsiteY31" fmla="*/ 160163 h 487272"/>
                <a:gd name="connsiteX32" fmla="*/ 388578 w 590859"/>
                <a:gd name="connsiteY32" fmla="*/ 147355 h 487272"/>
                <a:gd name="connsiteX33" fmla="*/ 375919 w 590859"/>
                <a:gd name="connsiteY33" fmla="*/ 139237 h 487272"/>
                <a:gd name="connsiteX34" fmla="*/ 369604 w 590859"/>
                <a:gd name="connsiteY34" fmla="*/ 144134 h 487272"/>
                <a:gd name="connsiteX35" fmla="*/ 365337 w 590859"/>
                <a:gd name="connsiteY35" fmla="*/ 162482 h 487272"/>
                <a:gd name="connsiteX36" fmla="*/ 366870 w 590859"/>
                <a:gd name="connsiteY36" fmla="*/ 169704 h 487272"/>
                <a:gd name="connsiteX37" fmla="*/ 369223 w 590859"/>
                <a:gd name="connsiteY37" fmla="*/ 174741 h 487272"/>
                <a:gd name="connsiteX38" fmla="*/ 368832 w 590859"/>
                <a:gd name="connsiteY38" fmla="*/ 187530 h 487272"/>
                <a:gd name="connsiteX39" fmla="*/ 361592 w 590859"/>
                <a:gd name="connsiteY39" fmla="*/ 199790 h 487272"/>
                <a:gd name="connsiteX40" fmla="*/ 361457 w 590859"/>
                <a:gd name="connsiteY40" fmla="*/ 206886 h 487272"/>
                <a:gd name="connsiteX41" fmla="*/ 358622 w 590859"/>
                <a:gd name="connsiteY41" fmla="*/ 211682 h 487272"/>
                <a:gd name="connsiteX42" fmla="*/ 360300 w 590859"/>
                <a:gd name="connsiteY42" fmla="*/ 187530 h 487272"/>
                <a:gd name="connsiteX43" fmla="*/ 362758 w 590859"/>
                <a:gd name="connsiteY43" fmla="*/ 180801 h 487272"/>
                <a:gd name="connsiteX44" fmla="*/ 360054 w 590859"/>
                <a:gd name="connsiteY44" fmla="*/ 167891 h 487272"/>
                <a:gd name="connsiteX45" fmla="*/ 353324 w 590859"/>
                <a:gd name="connsiteY45" fmla="*/ 155998 h 487272"/>
                <a:gd name="connsiteX46" fmla="*/ 353835 w 590859"/>
                <a:gd name="connsiteY46" fmla="*/ 132502 h 487272"/>
                <a:gd name="connsiteX47" fmla="*/ 347385 w 590859"/>
                <a:gd name="connsiteY47" fmla="*/ 129147 h 487272"/>
                <a:gd name="connsiteX48" fmla="*/ 345963 w 590859"/>
                <a:gd name="connsiteY48" fmla="*/ 123589 h 487272"/>
                <a:gd name="connsiteX49" fmla="*/ 340949 w 590859"/>
                <a:gd name="connsiteY49" fmla="*/ 129798 h 487272"/>
                <a:gd name="connsiteX50" fmla="*/ 341952 w 590859"/>
                <a:gd name="connsiteY50" fmla="*/ 123589 h 487272"/>
                <a:gd name="connsiteX51" fmla="*/ 333183 w 590859"/>
                <a:gd name="connsiteY51" fmla="*/ 124876 h 487272"/>
                <a:gd name="connsiteX52" fmla="*/ 325321 w 590859"/>
                <a:gd name="connsiteY52" fmla="*/ 131736 h 487272"/>
                <a:gd name="connsiteX53" fmla="*/ 312126 w 590859"/>
                <a:gd name="connsiteY53" fmla="*/ 128380 h 487272"/>
                <a:gd name="connsiteX54" fmla="*/ 307344 w 590859"/>
                <a:gd name="connsiteY54" fmla="*/ 131996 h 487272"/>
                <a:gd name="connsiteX55" fmla="*/ 305937 w 590859"/>
                <a:gd name="connsiteY55" fmla="*/ 137680 h 487272"/>
                <a:gd name="connsiteX56" fmla="*/ 300128 w 590859"/>
                <a:gd name="connsiteY56" fmla="*/ 140384 h 487272"/>
                <a:gd name="connsiteX57" fmla="*/ 292231 w 590859"/>
                <a:gd name="connsiteY57" fmla="*/ 171270 h 487272"/>
                <a:gd name="connsiteX58" fmla="*/ 289787 w 590859"/>
                <a:gd name="connsiteY58" fmla="*/ 170475 h 487272"/>
                <a:gd name="connsiteX59" fmla="*/ 291354 w 590859"/>
                <a:gd name="connsiteY59" fmla="*/ 168040 h 487272"/>
                <a:gd name="connsiteX60" fmla="*/ 285410 w 590859"/>
                <a:gd name="connsiteY60" fmla="*/ 167250 h 487272"/>
                <a:gd name="connsiteX61" fmla="*/ 282445 w 590859"/>
                <a:gd name="connsiteY61" fmla="*/ 162352 h 487272"/>
                <a:gd name="connsiteX62" fmla="*/ 281149 w 590859"/>
                <a:gd name="connsiteY62" fmla="*/ 142327 h 487272"/>
                <a:gd name="connsiteX63" fmla="*/ 278169 w 590859"/>
                <a:gd name="connsiteY63" fmla="*/ 129272 h 487272"/>
                <a:gd name="connsiteX64" fmla="*/ 279076 w 590859"/>
                <a:gd name="connsiteY64" fmla="*/ 124490 h 487272"/>
                <a:gd name="connsiteX65" fmla="*/ 278439 w 590859"/>
                <a:gd name="connsiteY65" fmla="*/ 114294 h 487272"/>
                <a:gd name="connsiteX66" fmla="*/ 273517 w 590859"/>
                <a:gd name="connsiteY66" fmla="*/ 105511 h 487272"/>
                <a:gd name="connsiteX67" fmla="*/ 258920 w 590859"/>
                <a:gd name="connsiteY67" fmla="*/ 106176 h 487272"/>
                <a:gd name="connsiteX68" fmla="*/ 254919 w 590859"/>
                <a:gd name="connsiteY68" fmla="*/ 111590 h 487272"/>
                <a:gd name="connsiteX69" fmla="*/ 254789 w 590859"/>
                <a:gd name="connsiteY69" fmla="*/ 117413 h 487272"/>
                <a:gd name="connsiteX70" fmla="*/ 252600 w 590859"/>
                <a:gd name="connsiteY70" fmla="*/ 123593 h 487272"/>
                <a:gd name="connsiteX71" fmla="*/ 252875 w 590859"/>
                <a:gd name="connsiteY71" fmla="*/ 136122 h 487272"/>
                <a:gd name="connsiteX72" fmla="*/ 249366 w 590859"/>
                <a:gd name="connsiteY72" fmla="*/ 142201 h 487272"/>
                <a:gd name="connsiteX73" fmla="*/ 249366 w 590859"/>
                <a:gd name="connsiteY73" fmla="*/ 149172 h 487272"/>
                <a:gd name="connsiteX74" fmla="*/ 243822 w 590859"/>
                <a:gd name="connsiteY74" fmla="*/ 162077 h 487272"/>
                <a:gd name="connsiteX75" fmla="*/ 239681 w 590859"/>
                <a:gd name="connsiteY75" fmla="*/ 163384 h 487272"/>
                <a:gd name="connsiteX76" fmla="*/ 233877 w 590859"/>
                <a:gd name="connsiteY76" fmla="*/ 169568 h 487272"/>
                <a:gd name="connsiteX77" fmla="*/ 230902 w 590859"/>
                <a:gd name="connsiteY77" fmla="*/ 176298 h 487272"/>
                <a:gd name="connsiteX78" fmla="*/ 232464 w 590859"/>
                <a:gd name="connsiteY78" fmla="*/ 166093 h 487272"/>
                <a:gd name="connsiteX79" fmla="*/ 226790 w 590859"/>
                <a:gd name="connsiteY79" fmla="*/ 165967 h 487272"/>
                <a:gd name="connsiteX80" fmla="*/ 228853 w 590859"/>
                <a:gd name="connsiteY80" fmla="*/ 172818 h 487272"/>
                <a:gd name="connsiteX81" fmla="*/ 224958 w 590859"/>
                <a:gd name="connsiteY81" fmla="*/ 179007 h 487272"/>
                <a:gd name="connsiteX82" fmla="*/ 218508 w 590859"/>
                <a:gd name="connsiteY82" fmla="*/ 167529 h 487272"/>
                <a:gd name="connsiteX83" fmla="*/ 223541 w 590859"/>
                <a:gd name="connsiteY83" fmla="*/ 155617 h 487272"/>
                <a:gd name="connsiteX84" fmla="*/ 222379 w 590859"/>
                <a:gd name="connsiteY84" fmla="*/ 148921 h 487272"/>
                <a:gd name="connsiteX85" fmla="*/ 195002 w 590859"/>
                <a:gd name="connsiteY85" fmla="*/ 175257 h 487272"/>
                <a:gd name="connsiteX86" fmla="*/ 190350 w 590859"/>
                <a:gd name="connsiteY86" fmla="*/ 181466 h 487272"/>
                <a:gd name="connsiteX87" fmla="*/ 191136 w 590859"/>
                <a:gd name="connsiteY87" fmla="*/ 175257 h 487272"/>
                <a:gd name="connsiteX88" fmla="*/ 188413 w 590859"/>
                <a:gd name="connsiteY88" fmla="*/ 168807 h 487272"/>
                <a:gd name="connsiteX89" fmla="*/ 186349 w 590859"/>
                <a:gd name="connsiteY89" fmla="*/ 176530 h 487272"/>
                <a:gd name="connsiteX90" fmla="*/ 179248 w 590859"/>
                <a:gd name="connsiteY90" fmla="*/ 190765 h 487272"/>
                <a:gd name="connsiteX91" fmla="*/ 177566 w 590859"/>
                <a:gd name="connsiteY91" fmla="*/ 199298 h 487272"/>
                <a:gd name="connsiteX92" fmla="*/ 174085 w 590859"/>
                <a:gd name="connsiteY92" fmla="*/ 207040 h 487272"/>
                <a:gd name="connsiteX93" fmla="*/ 172663 w 590859"/>
                <a:gd name="connsiteY93" fmla="*/ 204061 h 487272"/>
                <a:gd name="connsiteX94" fmla="*/ 175508 w 590859"/>
                <a:gd name="connsiteY94" fmla="*/ 197461 h 487272"/>
                <a:gd name="connsiteX95" fmla="*/ 177566 w 590859"/>
                <a:gd name="connsiteY95" fmla="*/ 182233 h 487272"/>
                <a:gd name="connsiteX96" fmla="*/ 172924 w 590859"/>
                <a:gd name="connsiteY96" fmla="*/ 160419 h 487272"/>
                <a:gd name="connsiteX97" fmla="*/ 179369 w 590859"/>
                <a:gd name="connsiteY97" fmla="*/ 156668 h 487272"/>
                <a:gd name="connsiteX98" fmla="*/ 184411 w 590859"/>
                <a:gd name="connsiteY98" fmla="*/ 150589 h 487272"/>
                <a:gd name="connsiteX99" fmla="*/ 182623 w 590859"/>
                <a:gd name="connsiteY99" fmla="*/ 145050 h 487272"/>
                <a:gd name="connsiteX100" fmla="*/ 176154 w 590859"/>
                <a:gd name="connsiteY100" fmla="*/ 145836 h 487272"/>
                <a:gd name="connsiteX101" fmla="*/ 181702 w 590859"/>
                <a:gd name="connsiteY101" fmla="*/ 142095 h 487272"/>
                <a:gd name="connsiteX102" fmla="*/ 171757 w 590859"/>
                <a:gd name="connsiteY102" fmla="*/ 130212 h 487272"/>
                <a:gd name="connsiteX103" fmla="*/ 177301 w 590859"/>
                <a:gd name="connsiteY103" fmla="*/ 117534 h 487272"/>
                <a:gd name="connsiteX104" fmla="*/ 176925 w 590859"/>
                <a:gd name="connsiteY104" fmla="*/ 123598 h 487272"/>
                <a:gd name="connsiteX105" fmla="*/ 180405 w 590859"/>
                <a:gd name="connsiteY105" fmla="*/ 129282 h 487272"/>
                <a:gd name="connsiteX106" fmla="*/ 187121 w 590859"/>
                <a:gd name="connsiteY106" fmla="*/ 130569 h 487272"/>
                <a:gd name="connsiteX107" fmla="*/ 192033 w 590859"/>
                <a:gd name="connsiteY107" fmla="*/ 126963 h 487272"/>
                <a:gd name="connsiteX108" fmla="*/ 187771 w 590859"/>
                <a:gd name="connsiteY108" fmla="*/ 120648 h 487272"/>
                <a:gd name="connsiteX109" fmla="*/ 192554 w 590859"/>
                <a:gd name="connsiteY109" fmla="*/ 120648 h 487272"/>
                <a:gd name="connsiteX110" fmla="*/ 200170 w 590859"/>
                <a:gd name="connsiteY110" fmla="*/ 117143 h 487272"/>
                <a:gd name="connsiteX111" fmla="*/ 201077 w 590859"/>
                <a:gd name="connsiteY111" fmla="*/ 110814 h 487272"/>
                <a:gd name="connsiteX112" fmla="*/ 205989 w 590859"/>
                <a:gd name="connsiteY112" fmla="*/ 105511 h 487272"/>
                <a:gd name="connsiteX113" fmla="*/ 202879 w 590859"/>
                <a:gd name="connsiteY113" fmla="*/ 98405 h 487272"/>
                <a:gd name="connsiteX114" fmla="*/ 195137 w 590859"/>
                <a:gd name="connsiteY114" fmla="*/ 93368 h 487272"/>
                <a:gd name="connsiteX115" fmla="*/ 208698 w 590859"/>
                <a:gd name="connsiteY115" fmla="*/ 94929 h 487272"/>
                <a:gd name="connsiteX116" fmla="*/ 204827 w 590859"/>
                <a:gd name="connsiteY116" fmla="*/ 89125 h 487272"/>
                <a:gd name="connsiteX117" fmla="*/ 202884 w 590859"/>
                <a:gd name="connsiteY117" fmla="*/ 83302 h 487272"/>
                <a:gd name="connsiteX118" fmla="*/ 196936 w 590859"/>
                <a:gd name="connsiteY118" fmla="*/ 77893 h 487272"/>
                <a:gd name="connsiteX119" fmla="*/ 192419 w 590859"/>
                <a:gd name="connsiteY119" fmla="*/ 83957 h 487272"/>
                <a:gd name="connsiteX120" fmla="*/ 191917 w 590859"/>
                <a:gd name="connsiteY120" fmla="*/ 77228 h 487272"/>
                <a:gd name="connsiteX121" fmla="*/ 195788 w 590859"/>
                <a:gd name="connsiteY121" fmla="*/ 65089 h 487272"/>
                <a:gd name="connsiteX122" fmla="*/ 187497 w 590859"/>
                <a:gd name="connsiteY122" fmla="*/ 51900 h 487272"/>
                <a:gd name="connsiteX123" fmla="*/ 191131 w 590859"/>
                <a:gd name="connsiteY123" fmla="*/ 46245 h 487272"/>
                <a:gd name="connsiteX124" fmla="*/ 185968 w 590859"/>
                <a:gd name="connsiteY124" fmla="*/ 40836 h 487272"/>
                <a:gd name="connsiteX125" fmla="*/ 179514 w 590859"/>
                <a:gd name="connsiteY125" fmla="*/ 37838 h 487272"/>
                <a:gd name="connsiteX126" fmla="*/ 182223 w 590859"/>
                <a:gd name="connsiteY126" fmla="*/ 25839 h 487272"/>
                <a:gd name="connsiteX127" fmla="*/ 170986 w 590859"/>
                <a:gd name="connsiteY127" fmla="*/ 6725 h 487272"/>
                <a:gd name="connsiteX128" fmla="*/ 163996 w 590859"/>
                <a:gd name="connsiteY128" fmla="*/ 10581 h 487272"/>
                <a:gd name="connsiteX129" fmla="*/ 153675 w 590859"/>
                <a:gd name="connsiteY129" fmla="*/ 0 h 487272"/>
                <a:gd name="connsiteX130" fmla="*/ 155217 w 590859"/>
                <a:gd name="connsiteY130" fmla="*/ 6831 h 487272"/>
                <a:gd name="connsiteX131" fmla="*/ 149288 w 590859"/>
                <a:gd name="connsiteY131" fmla="*/ 376 h 487272"/>
                <a:gd name="connsiteX132" fmla="*/ 142973 w 590859"/>
                <a:gd name="connsiteY132" fmla="*/ 2974 h 487272"/>
                <a:gd name="connsiteX133" fmla="*/ 140625 w 590859"/>
                <a:gd name="connsiteY133" fmla="*/ 8007 h 487272"/>
                <a:gd name="connsiteX134" fmla="*/ 134946 w 590859"/>
                <a:gd name="connsiteY134" fmla="*/ 5679 h 487272"/>
                <a:gd name="connsiteX135" fmla="*/ 136349 w 590859"/>
                <a:gd name="connsiteY135" fmla="*/ 12404 h 487272"/>
                <a:gd name="connsiteX136" fmla="*/ 141922 w 590859"/>
                <a:gd name="connsiteY136" fmla="*/ 18348 h 487272"/>
                <a:gd name="connsiteX137" fmla="*/ 153916 w 590859"/>
                <a:gd name="connsiteY137" fmla="*/ 15123 h 487272"/>
                <a:gd name="connsiteX138" fmla="*/ 154060 w 590859"/>
                <a:gd name="connsiteY138" fmla="*/ 21057 h 487272"/>
                <a:gd name="connsiteX139" fmla="*/ 158833 w 590859"/>
                <a:gd name="connsiteY139" fmla="*/ 20286 h 487272"/>
                <a:gd name="connsiteX140" fmla="*/ 155989 w 590859"/>
                <a:gd name="connsiteY140" fmla="*/ 26225 h 487272"/>
                <a:gd name="connsiteX141" fmla="*/ 168407 w 590859"/>
                <a:gd name="connsiteY141" fmla="*/ 28789 h 487272"/>
                <a:gd name="connsiteX142" fmla="*/ 162063 w 590859"/>
                <a:gd name="connsiteY142" fmla="*/ 31629 h 487272"/>
                <a:gd name="connsiteX143" fmla="*/ 168407 w 590859"/>
                <a:gd name="connsiteY143" fmla="*/ 36420 h 487272"/>
                <a:gd name="connsiteX144" fmla="*/ 156258 w 590859"/>
                <a:gd name="connsiteY144" fmla="*/ 32400 h 487272"/>
                <a:gd name="connsiteX145" fmla="*/ 138036 w 590859"/>
                <a:gd name="connsiteY145" fmla="*/ 30607 h 487272"/>
                <a:gd name="connsiteX146" fmla="*/ 144110 w 590859"/>
                <a:gd name="connsiteY146" fmla="*/ 44442 h 487272"/>
                <a:gd name="connsiteX147" fmla="*/ 149288 w 590859"/>
                <a:gd name="connsiteY147" fmla="*/ 50511 h 487272"/>
                <a:gd name="connsiteX148" fmla="*/ 157550 w 590859"/>
                <a:gd name="connsiteY148" fmla="*/ 58909 h 487272"/>
                <a:gd name="connsiteX149" fmla="*/ 151741 w 590859"/>
                <a:gd name="connsiteY149" fmla="*/ 63011 h 487272"/>
                <a:gd name="connsiteX150" fmla="*/ 152007 w 590859"/>
                <a:gd name="connsiteY150" fmla="*/ 69081 h 487272"/>
                <a:gd name="connsiteX151" fmla="*/ 148757 w 590859"/>
                <a:gd name="connsiteY151" fmla="*/ 82405 h 487272"/>
                <a:gd name="connsiteX152" fmla="*/ 142168 w 590859"/>
                <a:gd name="connsiteY152" fmla="*/ 86011 h 487272"/>
                <a:gd name="connsiteX153" fmla="*/ 145021 w 590859"/>
                <a:gd name="connsiteY153" fmla="*/ 80212 h 487272"/>
                <a:gd name="connsiteX154" fmla="*/ 142973 w 590859"/>
                <a:gd name="connsiteY154" fmla="*/ 73863 h 487272"/>
                <a:gd name="connsiteX155" fmla="*/ 130159 w 590859"/>
                <a:gd name="connsiteY155" fmla="*/ 85394 h 487272"/>
                <a:gd name="connsiteX156" fmla="*/ 140504 w 590859"/>
                <a:gd name="connsiteY156" fmla="*/ 72200 h 487272"/>
                <a:gd name="connsiteX157" fmla="*/ 138031 w 590859"/>
                <a:gd name="connsiteY157" fmla="*/ 55539 h 487272"/>
                <a:gd name="connsiteX158" fmla="*/ 128332 w 590859"/>
                <a:gd name="connsiteY158" fmla="*/ 67177 h 487272"/>
                <a:gd name="connsiteX159" fmla="*/ 129397 w 590859"/>
                <a:gd name="connsiteY159" fmla="*/ 61614 h 487272"/>
                <a:gd name="connsiteX160" fmla="*/ 124451 w 590859"/>
                <a:gd name="connsiteY160" fmla="*/ 63147 h 487272"/>
                <a:gd name="connsiteX161" fmla="*/ 130294 w 590859"/>
                <a:gd name="connsiteY161" fmla="*/ 59430 h 487272"/>
                <a:gd name="connsiteX162" fmla="*/ 127296 w 590859"/>
                <a:gd name="connsiteY162" fmla="*/ 53857 h 487272"/>
                <a:gd name="connsiteX163" fmla="*/ 120985 w 590859"/>
                <a:gd name="connsiteY163" fmla="*/ 54749 h 487272"/>
                <a:gd name="connsiteX164" fmla="*/ 126804 w 590859"/>
                <a:gd name="connsiteY164" fmla="*/ 49996 h 487272"/>
                <a:gd name="connsiteX165" fmla="*/ 127715 w 590859"/>
                <a:gd name="connsiteY165" fmla="*/ 43787 h 487272"/>
                <a:gd name="connsiteX166" fmla="*/ 122133 w 590859"/>
                <a:gd name="connsiteY166" fmla="*/ 43406 h 487272"/>
                <a:gd name="connsiteX167" fmla="*/ 123569 w 590859"/>
                <a:gd name="connsiteY167" fmla="*/ 36430 h 487272"/>
                <a:gd name="connsiteX168" fmla="*/ 117890 w 590859"/>
                <a:gd name="connsiteY168" fmla="*/ 24677 h 487272"/>
                <a:gd name="connsiteX169" fmla="*/ 111826 w 590859"/>
                <a:gd name="connsiteY169" fmla="*/ 19640 h 487272"/>
                <a:gd name="connsiteX170" fmla="*/ 106147 w 590859"/>
                <a:gd name="connsiteY170" fmla="*/ 19885 h 487272"/>
                <a:gd name="connsiteX171" fmla="*/ 105246 w 590859"/>
                <a:gd name="connsiteY171" fmla="*/ 24807 h 487272"/>
                <a:gd name="connsiteX172" fmla="*/ 107381 w 590859"/>
                <a:gd name="connsiteY172" fmla="*/ 31913 h 487272"/>
                <a:gd name="connsiteX173" fmla="*/ 101341 w 590859"/>
                <a:gd name="connsiteY173" fmla="*/ 24923 h 487272"/>
                <a:gd name="connsiteX174" fmla="*/ 96207 w 590859"/>
                <a:gd name="connsiteY174" fmla="*/ 27907 h 487272"/>
                <a:gd name="connsiteX175" fmla="*/ 102903 w 590859"/>
                <a:gd name="connsiteY175" fmla="*/ 39014 h 487272"/>
                <a:gd name="connsiteX176" fmla="*/ 102021 w 590859"/>
                <a:gd name="connsiteY176" fmla="*/ 45594 h 487272"/>
                <a:gd name="connsiteX177" fmla="*/ 99292 w 590859"/>
                <a:gd name="connsiteY177" fmla="*/ 39274 h 487272"/>
                <a:gd name="connsiteX178" fmla="*/ 88195 w 590859"/>
                <a:gd name="connsiteY178" fmla="*/ 27647 h 487272"/>
                <a:gd name="connsiteX179" fmla="*/ 81986 w 590859"/>
                <a:gd name="connsiteY179" fmla="*/ 34097 h 487272"/>
                <a:gd name="connsiteX180" fmla="*/ 85616 w 590859"/>
                <a:gd name="connsiteY180" fmla="*/ 44032 h 487272"/>
                <a:gd name="connsiteX181" fmla="*/ 86768 w 590859"/>
                <a:gd name="connsiteY181" fmla="*/ 51278 h 487272"/>
                <a:gd name="connsiteX182" fmla="*/ 98632 w 590859"/>
                <a:gd name="connsiteY182" fmla="*/ 63016 h 487272"/>
                <a:gd name="connsiteX183" fmla="*/ 102141 w 590859"/>
                <a:gd name="connsiteY183" fmla="*/ 70262 h 487272"/>
                <a:gd name="connsiteX184" fmla="*/ 89612 w 590859"/>
                <a:gd name="connsiteY184" fmla="*/ 58249 h 487272"/>
                <a:gd name="connsiteX185" fmla="*/ 83938 w 590859"/>
                <a:gd name="connsiteY185" fmla="*/ 54652 h 487272"/>
                <a:gd name="connsiteX186" fmla="*/ 79542 w 590859"/>
                <a:gd name="connsiteY186" fmla="*/ 48154 h 487272"/>
                <a:gd name="connsiteX187" fmla="*/ 73212 w 590859"/>
                <a:gd name="connsiteY187" fmla="*/ 46886 h 487272"/>
                <a:gd name="connsiteX188" fmla="*/ 74475 w 590859"/>
                <a:gd name="connsiteY188" fmla="*/ 67553 h 487272"/>
                <a:gd name="connsiteX189" fmla="*/ 97610 w 590859"/>
                <a:gd name="connsiteY189" fmla="*/ 78520 h 487272"/>
                <a:gd name="connsiteX190" fmla="*/ 84049 w 590859"/>
                <a:gd name="connsiteY190" fmla="*/ 77999 h 487272"/>
                <a:gd name="connsiteX191" fmla="*/ 78896 w 590859"/>
                <a:gd name="connsiteY191" fmla="*/ 78274 h 487272"/>
                <a:gd name="connsiteX192" fmla="*/ 80183 w 590859"/>
                <a:gd name="connsiteY192" fmla="*/ 83046 h 487272"/>
                <a:gd name="connsiteX193" fmla="*/ 86768 w 590859"/>
                <a:gd name="connsiteY193" fmla="*/ 88716 h 487272"/>
                <a:gd name="connsiteX194" fmla="*/ 80438 w 590859"/>
                <a:gd name="connsiteY194" fmla="*/ 91936 h 487272"/>
                <a:gd name="connsiteX195" fmla="*/ 74355 w 590859"/>
                <a:gd name="connsiteY195" fmla="*/ 84068 h 487272"/>
                <a:gd name="connsiteX196" fmla="*/ 73969 w 590859"/>
                <a:gd name="connsiteY196" fmla="*/ 78269 h 487272"/>
                <a:gd name="connsiteX197" fmla="*/ 57453 w 590859"/>
                <a:gd name="connsiteY197" fmla="*/ 54363 h 487272"/>
                <a:gd name="connsiteX198" fmla="*/ 51379 w 590859"/>
                <a:gd name="connsiteY198" fmla="*/ 56957 h 487272"/>
                <a:gd name="connsiteX199" fmla="*/ 52160 w 590859"/>
                <a:gd name="connsiteY199" fmla="*/ 70117 h 487272"/>
                <a:gd name="connsiteX200" fmla="*/ 55520 w 590859"/>
                <a:gd name="connsiteY200" fmla="*/ 75425 h 487272"/>
                <a:gd name="connsiteX201" fmla="*/ 57328 w 590859"/>
                <a:gd name="connsiteY201" fmla="*/ 82526 h 487272"/>
                <a:gd name="connsiteX202" fmla="*/ 52160 w 590859"/>
                <a:gd name="connsiteY202" fmla="*/ 76085 h 487272"/>
                <a:gd name="connsiteX203" fmla="*/ 46587 w 590859"/>
                <a:gd name="connsiteY203" fmla="*/ 75145 h 487272"/>
                <a:gd name="connsiteX204" fmla="*/ 50227 w 590859"/>
                <a:gd name="connsiteY204" fmla="*/ 87944 h 487272"/>
                <a:gd name="connsiteX205" fmla="*/ 49957 w 590859"/>
                <a:gd name="connsiteY205" fmla="*/ 94269 h 487272"/>
                <a:gd name="connsiteX206" fmla="*/ 40417 w 590859"/>
                <a:gd name="connsiteY206" fmla="*/ 74533 h 487272"/>
                <a:gd name="connsiteX207" fmla="*/ 35124 w 590859"/>
                <a:gd name="connsiteY207" fmla="*/ 68980 h 487272"/>
                <a:gd name="connsiteX208" fmla="*/ 29681 w 590859"/>
                <a:gd name="connsiteY208" fmla="*/ 69630 h 487272"/>
                <a:gd name="connsiteX209" fmla="*/ 25164 w 590859"/>
                <a:gd name="connsiteY209" fmla="*/ 76461 h 487272"/>
                <a:gd name="connsiteX210" fmla="*/ 19866 w 590859"/>
                <a:gd name="connsiteY210" fmla="*/ 77093 h 487272"/>
                <a:gd name="connsiteX211" fmla="*/ 20257 w 590859"/>
                <a:gd name="connsiteY211" fmla="*/ 82781 h 487272"/>
                <a:gd name="connsiteX212" fmla="*/ 32535 w 590859"/>
                <a:gd name="connsiteY212" fmla="*/ 89125 h 487272"/>
                <a:gd name="connsiteX213" fmla="*/ 37438 w 590859"/>
                <a:gd name="connsiteY213" fmla="*/ 94404 h 487272"/>
                <a:gd name="connsiteX214" fmla="*/ 39501 w 590859"/>
                <a:gd name="connsiteY214" fmla="*/ 102170 h 487272"/>
                <a:gd name="connsiteX215" fmla="*/ 42225 w 590859"/>
                <a:gd name="connsiteY215" fmla="*/ 107589 h 487272"/>
                <a:gd name="connsiteX216" fmla="*/ 49190 w 590859"/>
                <a:gd name="connsiteY216" fmla="*/ 109006 h 487272"/>
                <a:gd name="connsiteX217" fmla="*/ 65967 w 590859"/>
                <a:gd name="connsiteY217" fmla="*/ 107974 h 487272"/>
                <a:gd name="connsiteX218" fmla="*/ 73969 w 590859"/>
                <a:gd name="connsiteY218" fmla="*/ 105781 h 487272"/>
                <a:gd name="connsiteX219" fmla="*/ 76707 w 590859"/>
                <a:gd name="connsiteY219" fmla="*/ 112342 h 487272"/>
                <a:gd name="connsiteX220" fmla="*/ 83408 w 590859"/>
                <a:gd name="connsiteY220" fmla="*/ 112477 h 487272"/>
                <a:gd name="connsiteX221" fmla="*/ 89737 w 590859"/>
                <a:gd name="connsiteY221" fmla="*/ 108596 h 487272"/>
                <a:gd name="connsiteX222" fmla="*/ 95807 w 590859"/>
                <a:gd name="connsiteY222" fmla="*/ 111190 h 487272"/>
                <a:gd name="connsiteX223" fmla="*/ 102021 w 590859"/>
                <a:gd name="connsiteY223" fmla="*/ 107584 h 487272"/>
                <a:gd name="connsiteX224" fmla="*/ 102262 w 590859"/>
                <a:gd name="connsiteY224" fmla="*/ 110023 h 487272"/>
                <a:gd name="connsiteX225" fmla="*/ 108201 w 590859"/>
                <a:gd name="connsiteY225" fmla="*/ 111190 h 487272"/>
                <a:gd name="connsiteX226" fmla="*/ 102903 w 590859"/>
                <a:gd name="connsiteY226" fmla="*/ 116878 h 487272"/>
                <a:gd name="connsiteX227" fmla="*/ 108852 w 590859"/>
                <a:gd name="connsiteY227" fmla="*/ 121641 h 487272"/>
                <a:gd name="connsiteX228" fmla="*/ 109878 w 590859"/>
                <a:gd name="connsiteY228" fmla="*/ 114410 h 487272"/>
                <a:gd name="connsiteX229" fmla="*/ 116854 w 590859"/>
                <a:gd name="connsiteY229" fmla="*/ 109522 h 487272"/>
                <a:gd name="connsiteX230" fmla="*/ 112848 w 590859"/>
                <a:gd name="connsiteY230" fmla="*/ 115707 h 487272"/>
                <a:gd name="connsiteX231" fmla="*/ 112216 w 590859"/>
                <a:gd name="connsiteY231" fmla="*/ 121400 h 487272"/>
                <a:gd name="connsiteX232" fmla="*/ 118806 w 590859"/>
                <a:gd name="connsiteY232" fmla="*/ 123203 h 487272"/>
                <a:gd name="connsiteX233" fmla="*/ 123323 w 590859"/>
                <a:gd name="connsiteY233" fmla="*/ 117269 h 487272"/>
                <a:gd name="connsiteX234" fmla="*/ 120354 w 590859"/>
                <a:gd name="connsiteY234" fmla="*/ 129793 h 487272"/>
                <a:gd name="connsiteX235" fmla="*/ 126418 w 590859"/>
                <a:gd name="connsiteY235" fmla="*/ 126568 h 487272"/>
                <a:gd name="connsiteX236" fmla="*/ 132116 w 590859"/>
                <a:gd name="connsiteY236" fmla="*/ 131085 h 487272"/>
                <a:gd name="connsiteX237" fmla="*/ 145393 w 590859"/>
                <a:gd name="connsiteY237" fmla="*/ 127088 h 487272"/>
                <a:gd name="connsiteX238" fmla="*/ 136243 w 590859"/>
                <a:gd name="connsiteY238" fmla="*/ 133804 h 487272"/>
                <a:gd name="connsiteX239" fmla="*/ 125261 w 590859"/>
                <a:gd name="connsiteY239" fmla="*/ 132367 h 487272"/>
                <a:gd name="connsiteX240" fmla="*/ 125763 w 590859"/>
                <a:gd name="connsiteY240" fmla="*/ 138441 h 487272"/>
                <a:gd name="connsiteX241" fmla="*/ 128491 w 590859"/>
                <a:gd name="connsiteY241" fmla="*/ 144506 h 487272"/>
                <a:gd name="connsiteX242" fmla="*/ 134691 w 590859"/>
                <a:gd name="connsiteY242" fmla="*/ 142196 h 487272"/>
                <a:gd name="connsiteX243" fmla="*/ 140365 w 590859"/>
                <a:gd name="connsiteY243" fmla="*/ 138195 h 487272"/>
                <a:gd name="connsiteX244" fmla="*/ 145653 w 590859"/>
                <a:gd name="connsiteY244" fmla="*/ 144130 h 487272"/>
                <a:gd name="connsiteX245" fmla="*/ 145267 w 590859"/>
                <a:gd name="connsiteY245" fmla="*/ 150445 h 487272"/>
                <a:gd name="connsiteX246" fmla="*/ 151086 w 590859"/>
                <a:gd name="connsiteY246" fmla="*/ 153564 h 487272"/>
                <a:gd name="connsiteX247" fmla="*/ 157550 w 590859"/>
                <a:gd name="connsiteY247" fmla="*/ 154605 h 487272"/>
                <a:gd name="connsiteX248" fmla="*/ 149543 w 590859"/>
                <a:gd name="connsiteY248" fmla="*/ 155752 h 487272"/>
                <a:gd name="connsiteX249" fmla="*/ 139979 w 590859"/>
                <a:gd name="connsiteY249" fmla="*/ 155232 h 487272"/>
                <a:gd name="connsiteX250" fmla="*/ 122412 w 590859"/>
                <a:gd name="connsiteY250" fmla="*/ 158727 h 487272"/>
                <a:gd name="connsiteX251" fmla="*/ 99292 w 590859"/>
                <a:gd name="connsiteY251" fmla="*/ 166724 h 487272"/>
                <a:gd name="connsiteX252" fmla="*/ 100194 w 590859"/>
                <a:gd name="connsiteY252" fmla="*/ 172808 h 487272"/>
                <a:gd name="connsiteX253" fmla="*/ 106152 w 590859"/>
                <a:gd name="connsiteY253" fmla="*/ 176428 h 487272"/>
                <a:gd name="connsiteX254" fmla="*/ 134946 w 590859"/>
                <a:gd name="connsiteY254" fmla="*/ 185448 h 487272"/>
                <a:gd name="connsiteX255" fmla="*/ 141141 w 590859"/>
                <a:gd name="connsiteY255" fmla="*/ 186354 h 487272"/>
                <a:gd name="connsiteX256" fmla="*/ 136108 w 590859"/>
                <a:gd name="connsiteY256" fmla="*/ 193474 h 487272"/>
                <a:gd name="connsiteX257" fmla="*/ 130159 w 590859"/>
                <a:gd name="connsiteY257" fmla="*/ 197215 h 487272"/>
                <a:gd name="connsiteX258" fmla="*/ 125126 w 590859"/>
                <a:gd name="connsiteY258" fmla="*/ 204441 h 487272"/>
                <a:gd name="connsiteX259" fmla="*/ 106407 w 590859"/>
                <a:gd name="connsiteY259" fmla="*/ 194612 h 487272"/>
                <a:gd name="connsiteX260" fmla="*/ 101346 w 590859"/>
                <a:gd name="connsiteY260" fmla="*/ 188157 h 487272"/>
                <a:gd name="connsiteX261" fmla="*/ 87684 w 590859"/>
                <a:gd name="connsiteY261" fmla="*/ 185848 h 487272"/>
                <a:gd name="connsiteX262" fmla="*/ 82506 w 590859"/>
                <a:gd name="connsiteY262" fmla="*/ 189338 h 487272"/>
                <a:gd name="connsiteX263" fmla="*/ 79286 w 590859"/>
                <a:gd name="connsiteY263" fmla="*/ 183404 h 487272"/>
                <a:gd name="connsiteX264" fmla="*/ 82646 w 590859"/>
                <a:gd name="connsiteY264" fmla="*/ 177060 h 487272"/>
                <a:gd name="connsiteX265" fmla="*/ 76061 w 590859"/>
                <a:gd name="connsiteY265" fmla="*/ 181201 h 487272"/>
                <a:gd name="connsiteX266" fmla="*/ 69601 w 590859"/>
                <a:gd name="connsiteY266" fmla="*/ 182372 h 487272"/>
                <a:gd name="connsiteX267" fmla="*/ 64564 w 590859"/>
                <a:gd name="connsiteY267" fmla="*/ 178487 h 487272"/>
                <a:gd name="connsiteX268" fmla="*/ 52811 w 590859"/>
                <a:gd name="connsiteY268" fmla="*/ 185732 h 487272"/>
                <a:gd name="connsiteX269" fmla="*/ 55390 w 590859"/>
                <a:gd name="connsiteY269" fmla="*/ 179909 h 487272"/>
                <a:gd name="connsiteX270" fmla="*/ 55525 w 590859"/>
                <a:gd name="connsiteY270" fmla="*/ 174490 h 487272"/>
                <a:gd name="connsiteX271" fmla="*/ 49060 w 590859"/>
                <a:gd name="connsiteY271" fmla="*/ 177335 h 487272"/>
                <a:gd name="connsiteX272" fmla="*/ 42605 w 590859"/>
                <a:gd name="connsiteY272" fmla="*/ 180950 h 487272"/>
                <a:gd name="connsiteX273" fmla="*/ 43507 w 590859"/>
                <a:gd name="connsiteY273" fmla="*/ 175127 h 487272"/>
                <a:gd name="connsiteX274" fmla="*/ 25834 w 590859"/>
                <a:gd name="connsiteY274" fmla="*/ 176019 h 487272"/>
                <a:gd name="connsiteX275" fmla="*/ 12760 w 590859"/>
                <a:gd name="connsiteY275" fmla="*/ 166329 h 487272"/>
                <a:gd name="connsiteX276" fmla="*/ 6566 w 590859"/>
                <a:gd name="connsiteY276" fmla="*/ 166469 h 487272"/>
                <a:gd name="connsiteX277" fmla="*/ 0 w 590859"/>
                <a:gd name="connsiteY277" fmla="*/ 171646 h 487272"/>
                <a:gd name="connsiteX278" fmla="*/ 390 w 590859"/>
                <a:gd name="connsiteY278" fmla="*/ 183785 h 487272"/>
                <a:gd name="connsiteX279" fmla="*/ 2825 w 590859"/>
                <a:gd name="connsiteY279" fmla="*/ 190100 h 487272"/>
                <a:gd name="connsiteX280" fmla="*/ 14081 w 590859"/>
                <a:gd name="connsiteY280" fmla="*/ 195408 h 487272"/>
                <a:gd name="connsiteX281" fmla="*/ 20787 w 590859"/>
                <a:gd name="connsiteY281" fmla="*/ 189444 h 487272"/>
                <a:gd name="connsiteX282" fmla="*/ 27357 w 590859"/>
                <a:gd name="connsiteY282" fmla="*/ 193339 h 487272"/>
                <a:gd name="connsiteX283" fmla="*/ 33446 w 590859"/>
                <a:gd name="connsiteY283" fmla="*/ 191922 h 487272"/>
                <a:gd name="connsiteX284" fmla="*/ 39139 w 590859"/>
                <a:gd name="connsiteY284" fmla="*/ 194520 h 487272"/>
                <a:gd name="connsiteX285" fmla="*/ 43772 w 590859"/>
                <a:gd name="connsiteY285" fmla="*/ 200725 h 487272"/>
                <a:gd name="connsiteX286" fmla="*/ 61739 w 590859"/>
                <a:gd name="connsiteY286" fmla="*/ 211041 h 487272"/>
                <a:gd name="connsiteX287" fmla="*/ 68840 w 590859"/>
                <a:gd name="connsiteY287" fmla="*/ 212073 h 487272"/>
                <a:gd name="connsiteX288" fmla="*/ 71669 w 590859"/>
                <a:gd name="connsiteY288" fmla="*/ 217867 h 487272"/>
                <a:gd name="connsiteX289" fmla="*/ 77493 w 590859"/>
                <a:gd name="connsiteY289" fmla="*/ 215298 h 487272"/>
                <a:gd name="connsiteX290" fmla="*/ 84574 w 590859"/>
                <a:gd name="connsiteY290" fmla="*/ 228338 h 487272"/>
                <a:gd name="connsiteX291" fmla="*/ 79436 w 590859"/>
                <a:gd name="connsiteY291" fmla="*/ 233240 h 487272"/>
                <a:gd name="connsiteX292" fmla="*/ 91430 w 590859"/>
                <a:gd name="connsiteY292" fmla="*/ 232479 h 487272"/>
                <a:gd name="connsiteX293" fmla="*/ 78775 w 590859"/>
                <a:gd name="connsiteY293" fmla="*/ 238403 h 487272"/>
                <a:gd name="connsiteX294" fmla="*/ 73868 w 590859"/>
                <a:gd name="connsiteY294" fmla="*/ 236976 h 487272"/>
                <a:gd name="connsiteX295" fmla="*/ 74779 w 590859"/>
                <a:gd name="connsiteY295" fmla="*/ 242809 h 487272"/>
                <a:gd name="connsiteX296" fmla="*/ 72041 w 590859"/>
                <a:gd name="connsiteY296" fmla="*/ 249650 h 487272"/>
                <a:gd name="connsiteX297" fmla="*/ 77613 w 590859"/>
                <a:gd name="connsiteY297" fmla="*/ 255714 h 487272"/>
                <a:gd name="connsiteX298" fmla="*/ 76596 w 590859"/>
                <a:gd name="connsiteY298" fmla="*/ 267853 h 487272"/>
                <a:gd name="connsiteX299" fmla="*/ 89631 w 590859"/>
                <a:gd name="connsiteY299" fmla="*/ 257002 h 487272"/>
                <a:gd name="connsiteX300" fmla="*/ 89116 w 590859"/>
                <a:gd name="connsiteY300" fmla="*/ 263596 h 487272"/>
                <a:gd name="connsiteX301" fmla="*/ 101264 w 590859"/>
                <a:gd name="connsiteY301" fmla="*/ 260362 h 487272"/>
                <a:gd name="connsiteX302" fmla="*/ 111980 w 590859"/>
                <a:gd name="connsiteY302" fmla="*/ 257378 h 487272"/>
                <a:gd name="connsiteX303" fmla="*/ 121675 w 590859"/>
                <a:gd name="connsiteY303" fmla="*/ 259851 h 487272"/>
                <a:gd name="connsiteX304" fmla="*/ 112872 w 590859"/>
                <a:gd name="connsiteY304" fmla="*/ 259185 h 487272"/>
                <a:gd name="connsiteX305" fmla="*/ 114174 w 590859"/>
                <a:gd name="connsiteY305" fmla="*/ 265525 h 487272"/>
                <a:gd name="connsiteX306" fmla="*/ 107863 w 590859"/>
                <a:gd name="connsiteY306" fmla="*/ 261514 h 487272"/>
                <a:gd name="connsiteX307" fmla="*/ 101505 w 590859"/>
                <a:gd name="connsiteY307" fmla="*/ 266156 h 487272"/>
                <a:gd name="connsiteX308" fmla="*/ 89120 w 590859"/>
                <a:gd name="connsiteY308" fmla="*/ 266821 h 487272"/>
                <a:gd name="connsiteX309" fmla="*/ 83191 w 590859"/>
                <a:gd name="connsiteY309" fmla="*/ 271845 h 487272"/>
                <a:gd name="connsiteX310" fmla="*/ 80472 w 590859"/>
                <a:gd name="connsiteY310" fmla="*/ 277673 h 487272"/>
                <a:gd name="connsiteX311" fmla="*/ 85895 w 590859"/>
                <a:gd name="connsiteY311" fmla="*/ 284639 h 487272"/>
                <a:gd name="connsiteX312" fmla="*/ 79450 w 590859"/>
                <a:gd name="connsiteY312" fmla="*/ 283082 h 487272"/>
                <a:gd name="connsiteX313" fmla="*/ 74504 w 590859"/>
                <a:gd name="connsiteY313" fmla="*/ 289927 h 487272"/>
                <a:gd name="connsiteX314" fmla="*/ 80983 w 590859"/>
                <a:gd name="connsiteY314" fmla="*/ 293143 h 487272"/>
                <a:gd name="connsiteX315" fmla="*/ 89516 w 590859"/>
                <a:gd name="connsiteY315" fmla="*/ 289296 h 487272"/>
                <a:gd name="connsiteX316" fmla="*/ 103737 w 590859"/>
                <a:gd name="connsiteY316" fmla="*/ 289816 h 487272"/>
                <a:gd name="connsiteX317" fmla="*/ 109536 w 590859"/>
                <a:gd name="connsiteY317" fmla="*/ 295471 h 487272"/>
                <a:gd name="connsiteX318" fmla="*/ 115981 w 590859"/>
                <a:gd name="connsiteY318" fmla="*/ 295611 h 487272"/>
                <a:gd name="connsiteX319" fmla="*/ 107347 w 590859"/>
                <a:gd name="connsiteY319" fmla="*/ 297679 h 487272"/>
                <a:gd name="connsiteX320" fmla="*/ 100758 w 590859"/>
                <a:gd name="connsiteY320" fmla="*/ 292251 h 487272"/>
                <a:gd name="connsiteX321" fmla="*/ 93126 w 590859"/>
                <a:gd name="connsiteY321" fmla="*/ 294054 h 487272"/>
                <a:gd name="connsiteX322" fmla="*/ 78264 w 590859"/>
                <a:gd name="connsiteY322" fmla="*/ 301931 h 487272"/>
                <a:gd name="connsiteX323" fmla="*/ 83442 w 590859"/>
                <a:gd name="connsiteY323" fmla="*/ 307889 h 487272"/>
                <a:gd name="connsiteX324" fmla="*/ 83316 w 590859"/>
                <a:gd name="connsiteY324" fmla="*/ 312782 h 487272"/>
                <a:gd name="connsiteX325" fmla="*/ 75290 w 590859"/>
                <a:gd name="connsiteY325" fmla="*/ 311876 h 487272"/>
                <a:gd name="connsiteX326" fmla="*/ 68073 w 590859"/>
                <a:gd name="connsiteY326" fmla="*/ 307754 h 487272"/>
                <a:gd name="connsiteX327" fmla="*/ 68854 w 590859"/>
                <a:gd name="connsiteY327" fmla="*/ 317053 h 487272"/>
                <a:gd name="connsiteX328" fmla="*/ 63166 w 590859"/>
                <a:gd name="connsiteY328" fmla="*/ 314450 h 487272"/>
                <a:gd name="connsiteX329" fmla="*/ 63291 w 590859"/>
                <a:gd name="connsiteY329" fmla="*/ 319888 h 487272"/>
                <a:gd name="connsiteX330" fmla="*/ 51027 w 590859"/>
                <a:gd name="connsiteY330" fmla="*/ 321315 h 487272"/>
                <a:gd name="connsiteX331" fmla="*/ 33856 w 590859"/>
                <a:gd name="connsiteY331" fmla="*/ 320278 h 487272"/>
                <a:gd name="connsiteX332" fmla="*/ 29064 w 590859"/>
                <a:gd name="connsiteY332" fmla="*/ 314209 h 487272"/>
                <a:gd name="connsiteX333" fmla="*/ 29700 w 590859"/>
                <a:gd name="connsiteY333" fmla="*/ 307995 h 487272"/>
                <a:gd name="connsiteX334" fmla="*/ 24171 w 590859"/>
                <a:gd name="connsiteY334" fmla="*/ 301931 h 487272"/>
                <a:gd name="connsiteX335" fmla="*/ 18203 w 590859"/>
                <a:gd name="connsiteY335" fmla="*/ 313168 h 487272"/>
                <a:gd name="connsiteX336" fmla="*/ 17171 w 590859"/>
                <a:gd name="connsiteY336" fmla="*/ 320032 h 487272"/>
                <a:gd name="connsiteX337" fmla="*/ 10490 w 590859"/>
                <a:gd name="connsiteY337" fmla="*/ 332292 h 487272"/>
                <a:gd name="connsiteX338" fmla="*/ 28307 w 590859"/>
                <a:gd name="connsiteY338" fmla="*/ 339783 h 487272"/>
                <a:gd name="connsiteX339" fmla="*/ 34878 w 590859"/>
                <a:gd name="connsiteY339" fmla="*/ 339783 h 487272"/>
                <a:gd name="connsiteX340" fmla="*/ 40181 w 590859"/>
                <a:gd name="connsiteY340" fmla="*/ 345201 h 487272"/>
                <a:gd name="connsiteX341" fmla="*/ 63166 w 590859"/>
                <a:gd name="connsiteY341" fmla="*/ 350234 h 487272"/>
                <a:gd name="connsiteX342" fmla="*/ 72185 w 590859"/>
                <a:gd name="connsiteY342" fmla="*/ 359143 h 487272"/>
                <a:gd name="connsiteX343" fmla="*/ 84213 w 590859"/>
                <a:gd name="connsiteY343" fmla="*/ 363173 h 487272"/>
                <a:gd name="connsiteX344" fmla="*/ 90176 w 590859"/>
                <a:gd name="connsiteY344" fmla="*/ 359538 h 487272"/>
                <a:gd name="connsiteX345" fmla="*/ 95840 w 590859"/>
                <a:gd name="connsiteY345" fmla="*/ 360714 h 487272"/>
                <a:gd name="connsiteX346" fmla="*/ 96091 w 590859"/>
                <a:gd name="connsiteY346" fmla="*/ 353980 h 487272"/>
                <a:gd name="connsiteX347" fmla="*/ 102050 w 590859"/>
                <a:gd name="connsiteY347" fmla="*/ 354780 h 487272"/>
                <a:gd name="connsiteX348" fmla="*/ 108230 w 590859"/>
                <a:gd name="connsiteY348" fmla="*/ 360454 h 487272"/>
                <a:gd name="connsiteX349" fmla="*/ 98800 w 590859"/>
                <a:gd name="connsiteY349" fmla="*/ 359273 h 487272"/>
                <a:gd name="connsiteX350" fmla="*/ 97518 w 590859"/>
                <a:gd name="connsiteY350" fmla="*/ 364701 h 487272"/>
                <a:gd name="connsiteX351" fmla="*/ 102671 w 590859"/>
                <a:gd name="connsiteY351" fmla="*/ 372848 h 487272"/>
                <a:gd name="connsiteX352" fmla="*/ 113012 w 590859"/>
                <a:gd name="connsiteY352" fmla="*/ 383704 h 487272"/>
                <a:gd name="connsiteX353" fmla="*/ 117654 w 590859"/>
                <a:gd name="connsiteY353" fmla="*/ 382904 h 487272"/>
                <a:gd name="connsiteX354" fmla="*/ 122431 w 590859"/>
                <a:gd name="connsiteY354" fmla="*/ 376975 h 487272"/>
                <a:gd name="connsiteX355" fmla="*/ 123473 w 590859"/>
                <a:gd name="connsiteY355" fmla="*/ 380446 h 487272"/>
                <a:gd name="connsiteX356" fmla="*/ 119062 w 590859"/>
                <a:gd name="connsiteY356" fmla="*/ 386404 h 487272"/>
                <a:gd name="connsiteX357" fmla="*/ 121921 w 590859"/>
                <a:gd name="connsiteY357" fmla="*/ 392078 h 487272"/>
                <a:gd name="connsiteX358" fmla="*/ 115075 w 590859"/>
                <a:gd name="connsiteY358" fmla="*/ 390159 h 487272"/>
                <a:gd name="connsiteX359" fmla="*/ 118300 w 590859"/>
                <a:gd name="connsiteY359" fmla="*/ 396725 h 487272"/>
                <a:gd name="connsiteX360" fmla="*/ 130950 w 590859"/>
                <a:gd name="connsiteY360" fmla="*/ 392594 h 487272"/>
                <a:gd name="connsiteX361" fmla="*/ 137154 w 590859"/>
                <a:gd name="connsiteY361" fmla="*/ 387773 h 487272"/>
                <a:gd name="connsiteX362" fmla="*/ 135472 w 590859"/>
                <a:gd name="connsiteY362" fmla="*/ 396098 h 487272"/>
                <a:gd name="connsiteX363" fmla="*/ 136884 w 590859"/>
                <a:gd name="connsiteY363" fmla="*/ 404742 h 487272"/>
                <a:gd name="connsiteX364" fmla="*/ 129793 w 590859"/>
                <a:gd name="connsiteY364" fmla="*/ 395578 h 487272"/>
                <a:gd name="connsiteX365" fmla="*/ 123733 w 590859"/>
                <a:gd name="connsiteY365" fmla="*/ 399974 h 487272"/>
                <a:gd name="connsiteX366" fmla="*/ 127604 w 590859"/>
                <a:gd name="connsiteY366" fmla="*/ 418298 h 487272"/>
                <a:gd name="connsiteX367" fmla="*/ 134319 w 590859"/>
                <a:gd name="connsiteY367" fmla="*/ 431212 h 487272"/>
                <a:gd name="connsiteX368" fmla="*/ 140389 w 590859"/>
                <a:gd name="connsiteY368" fmla="*/ 431487 h 487272"/>
                <a:gd name="connsiteX369" fmla="*/ 144269 w 590859"/>
                <a:gd name="connsiteY369" fmla="*/ 435088 h 487272"/>
                <a:gd name="connsiteX370" fmla="*/ 159242 w 590859"/>
                <a:gd name="connsiteY370" fmla="*/ 439981 h 487272"/>
                <a:gd name="connsiteX371" fmla="*/ 161836 w 590859"/>
                <a:gd name="connsiteY371" fmla="*/ 447102 h 487272"/>
                <a:gd name="connsiteX372" fmla="*/ 180926 w 590859"/>
                <a:gd name="connsiteY372" fmla="*/ 466741 h 487272"/>
                <a:gd name="connsiteX373" fmla="*/ 187400 w 590859"/>
                <a:gd name="connsiteY373" fmla="*/ 469691 h 487272"/>
                <a:gd name="connsiteX374" fmla="*/ 205218 w 590859"/>
                <a:gd name="connsiteY374" fmla="*/ 482876 h 487272"/>
                <a:gd name="connsiteX375" fmla="*/ 222654 w 590859"/>
                <a:gd name="connsiteY375" fmla="*/ 483382 h 487272"/>
                <a:gd name="connsiteX376" fmla="*/ 241633 w 590859"/>
                <a:gd name="connsiteY376" fmla="*/ 487272 h 487272"/>
                <a:gd name="connsiteX377" fmla="*/ 238938 w 590859"/>
                <a:gd name="connsiteY377" fmla="*/ 480818 h 487272"/>
                <a:gd name="connsiteX378" fmla="*/ 238529 w 590859"/>
                <a:gd name="connsiteY378" fmla="*/ 475520 h 487272"/>
                <a:gd name="connsiteX379" fmla="*/ 246174 w 590859"/>
                <a:gd name="connsiteY379" fmla="*/ 478745 h 487272"/>
                <a:gd name="connsiteX380" fmla="*/ 243711 w 590859"/>
                <a:gd name="connsiteY380" fmla="*/ 486246 h 487272"/>
                <a:gd name="connsiteX381" fmla="*/ 261654 w 590859"/>
                <a:gd name="connsiteY381" fmla="*/ 482225 h 487272"/>
                <a:gd name="connsiteX382" fmla="*/ 267728 w 590859"/>
                <a:gd name="connsiteY382" fmla="*/ 475413 h 487272"/>
                <a:gd name="connsiteX383" fmla="*/ 263736 w 590859"/>
                <a:gd name="connsiteY383" fmla="*/ 470737 h 487272"/>
                <a:gd name="connsiteX384" fmla="*/ 272375 w 590859"/>
                <a:gd name="connsiteY384" fmla="*/ 469971 h 487272"/>
                <a:gd name="connsiteX385" fmla="*/ 266571 w 590859"/>
                <a:gd name="connsiteY385" fmla="*/ 465049 h 487272"/>
                <a:gd name="connsiteX386" fmla="*/ 272375 w 590859"/>
                <a:gd name="connsiteY386" fmla="*/ 460016 h 487272"/>
                <a:gd name="connsiteX387" fmla="*/ 284123 w 590859"/>
                <a:gd name="connsiteY387" fmla="*/ 460426 h 487272"/>
                <a:gd name="connsiteX388" fmla="*/ 284258 w 590859"/>
                <a:gd name="connsiteY388" fmla="*/ 465464 h 487272"/>
                <a:gd name="connsiteX389" fmla="*/ 291248 w 590859"/>
                <a:gd name="connsiteY389" fmla="*/ 462860 h 487272"/>
                <a:gd name="connsiteX390" fmla="*/ 297443 w 590859"/>
                <a:gd name="connsiteY390" fmla="*/ 465314 h 487272"/>
                <a:gd name="connsiteX391" fmla="*/ 308024 w 590859"/>
                <a:gd name="connsiteY391" fmla="*/ 465565 h 487272"/>
                <a:gd name="connsiteX392" fmla="*/ 314089 w 590859"/>
                <a:gd name="connsiteY392" fmla="*/ 464803 h 487272"/>
                <a:gd name="connsiteX393" fmla="*/ 320172 w 590859"/>
                <a:gd name="connsiteY393" fmla="*/ 469320 h 487272"/>
                <a:gd name="connsiteX394" fmla="*/ 327398 w 590859"/>
                <a:gd name="connsiteY394" fmla="*/ 467498 h 487272"/>
                <a:gd name="connsiteX395" fmla="*/ 332942 w 590859"/>
                <a:gd name="connsiteY395" fmla="*/ 455610 h 487272"/>
                <a:gd name="connsiteX396" fmla="*/ 334244 w 590859"/>
                <a:gd name="connsiteY396" fmla="*/ 461192 h 487272"/>
                <a:gd name="connsiteX397" fmla="*/ 329852 w 590859"/>
                <a:gd name="connsiteY397" fmla="*/ 467498 h 487272"/>
                <a:gd name="connsiteX398" fmla="*/ 330238 w 590859"/>
                <a:gd name="connsiteY398" fmla="*/ 472680 h 487272"/>
                <a:gd name="connsiteX399" fmla="*/ 336963 w 590859"/>
                <a:gd name="connsiteY399" fmla="*/ 468930 h 487272"/>
                <a:gd name="connsiteX400" fmla="*/ 338775 w 590859"/>
                <a:gd name="connsiteY400" fmla="*/ 474999 h 487272"/>
                <a:gd name="connsiteX401" fmla="*/ 342371 w 590859"/>
                <a:gd name="connsiteY401" fmla="*/ 468930 h 487272"/>
                <a:gd name="connsiteX402" fmla="*/ 348576 w 590859"/>
                <a:gd name="connsiteY402" fmla="*/ 469325 h 487272"/>
                <a:gd name="connsiteX403" fmla="*/ 360329 w 590859"/>
                <a:gd name="connsiteY403" fmla="*/ 468168 h 487272"/>
                <a:gd name="connsiteX404" fmla="*/ 373253 w 590859"/>
                <a:gd name="connsiteY404" fmla="*/ 461057 h 487272"/>
                <a:gd name="connsiteX405" fmla="*/ 374029 w 590859"/>
                <a:gd name="connsiteY405" fmla="*/ 457972 h 487272"/>
                <a:gd name="connsiteX406" fmla="*/ 380860 w 590859"/>
                <a:gd name="connsiteY406" fmla="*/ 457697 h 487272"/>
                <a:gd name="connsiteX407" fmla="*/ 392382 w 590859"/>
                <a:gd name="connsiteY407" fmla="*/ 452795 h 487272"/>
                <a:gd name="connsiteX408" fmla="*/ 398427 w 590859"/>
                <a:gd name="connsiteY408" fmla="*/ 446730 h 487272"/>
                <a:gd name="connsiteX409" fmla="*/ 412643 w 590859"/>
                <a:gd name="connsiteY409" fmla="*/ 446065 h 487272"/>
                <a:gd name="connsiteX410" fmla="*/ 426474 w 590859"/>
                <a:gd name="connsiteY410" fmla="*/ 443505 h 487272"/>
                <a:gd name="connsiteX411" fmla="*/ 440781 w 590859"/>
                <a:gd name="connsiteY411" fmla="*/ 425939 h 487272"/>
                <a:gd name="connsiteX412" fmla="*/ 451647 w 590859"/>
                <a:gd name="connsiteY412" fmla="*/ 445699 h 487272"/>
                <a:gd name="connsiteX413" fmla="*/ 457191 w 590859"/>
                <a:gd name="connsiteY413" fmla="*/ 446070 h 487272"/>
                <a:gd name="connsiteX414" fmla="*/ 463376 w 590859"/>
                <a:gd name="connsiteY414" fmla="*/ 452800 h 487272"/>
                <a:gd name="connsiteX415" fmla="*/ 464287 w 590859"/>
                <a:gd name="connsiteY415" fmla="*/ 447246 h 487272"/>
                <a:gd name="connsiteX416" fmla="*/ 479916 w 590859"/>
                <a:gd name="connsiteY416" fmla="*/ 440140 h 487272"/>
                <a:gd name="connsiteX417" fmla="*/ 489861 w 590859"/>
                <a:gd name="connsiteY417" fmla="*/ 441943 h 487272"/>
                <a:gd name="connsiteX418" fmla="*/ 502409 w 590859"/>
                <a:gd name="connsiteY418" fmla="*/ 426054 h 487272"/>
                <a:gd name="connsiteX419" fmla="*/ 509240 w 590859"/>
                <a:gd name="connsiteY419" fmla="*/ 421156 h 487272"/>
                <a:gd name="connsiteX420" fmla="*/ 502776 w 590859"/>
                <a:gd name="connsiteY420" fmla="*/ 418457 h 487272"/>
                <a:gd name="connsiteX421" fmla="*/ 509346 w 590859"/>
                <a:gd name="connsiteY421" fmla="*/ 416890 h 487272"/>
                <a:gd name="connsiteX422" fmla="*/ 507037 w 590859"/>
                <a:gd name="connsiteY422" fmla="*/ 409153 h 487272"/>
                <a:gd name="connsiteX423" fmla="*/ 518149 w 590859"/>
                <a:gd name="connsiteY423" fmla="*/ 413275 h 487272"/>
                <a:gd name="connsiteX424" fmla="*/ 514914 w 590859"/>
                <a:gd name="connsiteY424" fmla="*/ 395072 h 487272"/>
                <a:gd name="connsiteX425" fmla="*/ 537003 w 590859"/>
                <a:gd name="connsiteY425" fmla="*/ 407461 h 487272"/>
                <a:gd name="connsiteX426" fmla="*/ 537803 w 590859"/>
                <a:gd name="connsiteY426" fmla="*/ 400765 h 487272"/>
                <a:gd name="connsiteX427" fmla="*/ 548245 w 590859"/>
                <a:gd name="connsiteY427" fmla="*/ 405132 h 487272"/>
                <a:gd name="connsiteX428" fmla="*/ 548635 w 590859"/>
                <a:gd name="connsiteY428" fmla="*/ 400095 h 487272"/>
                <a:gd name="connsiteX429" fmla="*/ 555355 w 590859"/>
                <a:gd name="connsiteY429" fmla="*/ 395587 h 487272"/>
                <a:gd name="connsiteX430" fmla="*/ 551349 w 590859"/>
                <a:gd name="connsiteY430" fmla="*/ 390169 h 487272"/>
                <a:gd name="connsiteX431" fmla="*/ 545656 w 590859"/>
                <a:gd name="connsiteY431" fmla="*/ 384861 h 487272"/>
                <a:gd name="connsiteX432" fmla="*/ 558320 w 590859"/>
                <a:gd name="connsiteY432" fmla="*/ 386283 h 487272"/>
                <a:gd name="connsiteX433" fmla="*/ 552641 w 590859"/>
                <a:gd name="connsiteY433" fmla="*/ 374907 h 487272"/>
                <a:gd name="connsiteX434" fmla="*/ 539476 w 590859"/>
                <a:gd name="connsiteY434" fmla="*/ 367825 h 487272"/>
                <a:gd name="connsiteX435" fmla="*/ 547218 w 590859"/>
                <a:gd name="connsiteY435" fmla="*/ 367825 h 487272"/>
                <a:gd name="connsiteX436" fmla="*/ 552000 w 590859"/>
                <a:gd name="connsiteY436" fmla="*/ 367299 h 487272"/>
                <a:gd name="connsiteX437" fmla="*/ 558711 w 590859"/>
                <a:gd name="connsiteY437" fmla="*/ 374130 h 487272"/>
                <a:gd name="connsiteX438" fmla="*/ 558711 w 590859"/>
                <a:gd name="connsiteY438" fmla="*/ 379828 h 487272"/>
                <a:gd name="connsiteX439" fmla="*/ 565426 w 590859"/>
                <a:gd name="connsiteY439" fmla="*/ 383054 h 487272"/>
                <a:gd name="connsiteX440" fmla="*/ 572671 w 590859"/>
                <a:gd name="connsiteY440" fmla="*/ 376464 h 487272"/>
                <a:gd name="connsiteX441" fmla="*/ 577424 w 590859"/>
                <a:gd name="connsiteY441" fmla="*/ 375427 h 487272"/>
                <a:gd name="connsiteX442" fmla="*/ 579237 w 590859"/>
                <a:gd name="connsiteY442" fmla="*/ 364074 h 487272"/>
                <a:gd name="connsiteX443" fmla="*/ 572772 w 590859"/>
                <a:gd name="connsiteY443" fmla="*/ 367945 h 487272"/>
                <a:gd name="connsiteX444" fmla="*/ 568535 w 590859"/>
                <a:gd name="connsiteY444" fmla="*/ 360960 h 487272"/>
                <a:gd name="connsiteX445" fmla="*/ 573168 w 590859"/>
                <a:gd name="connsiteY445" fmla="*/ 355031 h 487272"/>
                <a:gd name="connsiteX446" fmla="*/ 556517 w 590859"/>
                <a:gd name="connsiteY446" fmla="*/ 351560 h 487272"/>
                <a:gd name="connsiteX447" fmla="*/ 569682 w 590859"/>
                <a:gd name="connsiteY447" fmla="*/ 351946 h 487272"/>
                <a:gd name="connsiteX448" fmla="*/ 577805 w 590859"/>
                <a:gd name="connsiteY448" fmla="*/ 352317 h 487272"/>
                <a:gd name="connsiteX449" fmla="*/ 583108 w 590859"/>
                <a:gd name="connsiteY449" fmla="*/ 346633 h 487272"/>
                <a:gd name="connsiteX450" fmla="*/ 564664 w 590859"/>
                <a:gd name="connsiteY450" fmla="*/ 339026 h 487272"/>
                <a:gd name="connsiteX451" fmla="*/ 577805 w 590859"/>
                <a:gd name="connsiteY451" fmla="*/ 336428 h 487272"/>
                <a:gd name="connsiteX452" fmla="*/ 575887 w 590859"/>
                <a:gd name="connsiteY452" fmla="*/ 330734 h 487272"/>
                <a:gd name="connsiteX453" fmla="*/ 581961 w 590859"/>
                <a:gd name="connsiteY453" fmla="*/ 332161 h 487272"/>
                <a:gd name="connsiteX454" fmla="*/ 586343 w 590859"/>
                <a:gd name="connsiteY454" fmla="*/ 325991 h 487272"/>
                <a:gd name="connsiteX455" fmla="*/ 590860 w 590859"/>
                <a:gd name="connsiteY455" fmla="*/ 314084 h 487272"/>
                <a:gd name="connsiteX456" fmla="*/ 587519 w 590859"/>
                <a:gd name="connsiteY456" fmla="*/ 308149 h 487272"/>
                <a:gd name="connsiteX457" fmla="*/ 581445 w 590859"/>
                <a:gd name="connsiteY457" fmla="*/ 308284 h 487272"/>
                <a:gd name="connsiteX458" fmla="*/ 580278 w 590859"/>
                <a:gd name="connsiteY458" fmla="*/ 302461 h 487272"/>
                <a:gd name="connsiteX459" fmla="*/ 576933 w 590859"/>
                <a:gd name="connsiteY459" fmla="*/ 295375 h 487272"/>
                <a:gd name="connsiteX460" fmla="*/ 570198 w 590859"/>
                <a:gd name="connsiteY460" fmla="*/ 293051 h 487272"/>
                <a:gd name="connsiteX461" fmla="*/ 563632 w 590859"/>
                <a:gd name="connsiteY461" fmla="*/ 287362 h 487272"/>
                <a:gd name="connsiteX462" fmla="*/ 557939 w 590859"/>
                <a:gd name="connsiteY462" fmla="*/ 285685 h 487272"/>
                <a:gd name="connsiteX463" fmla="*/ 539336 w 590859"/>
                <a:gd name="connsiteY463" fmla="*/ 300166 h 487272"/>
                <a:gd name="connsiteX464" fmla="*/ 543867 w 590859"/>
                <a:gd name="connsiteY464" fmla="*/ 293822 h 487272"/>
                <a:gd name="connsiteX465" fmla="*/ 557554 w 590859"/>
                <a:gd name="connsiteY465" fmla="*/ 282850 h 487272"/>
                <a:gd name="connsiteX466" fmla="*/ 560653 w 590859"/>
                <a:gd name="connsiteY466" fmla="*/ 271478 h 487272"/>
                <a:gd name="connsiteX467" fmla="*/ 558961 w 590859"/>
                <a:gd name="connsiteY467" fmla="*/ 263982 h 487272"/>
                <a:gd name="connsiteX468" fmla="*/ 535205 w 590859"/>
                <a:gd name="connsiteY468" fmla="*/ 263982 h 487272"/>
                <a:gd name="connsiteX469" fmla="*/ 539481 w 590859"/>
                <a:gd name="connsiteY469" fmla="*/ 258429 h 487272"/>
                <a:gd name="connsiteX470" fmla="*/ 534944 w 590859"/>
                <a:gd name="connsiteY470" fmla="*/ 259200 h 487272"/>
                <a:gd name="connsiteX471" fmla="*/ 540652 w 590859"/>
                <a:gd name="connsiteY471" fmla="*/ 252215 h 487272"/>
                <a:gd name="connsiteX472" fmla="*/ 556266 w 590859"/>
                <a:gd name="connsiteY472" fmla="*/ 242024 h 487272"/>
                <a:gd name="connsiteX473" fmla="*/ 558576 w 590859"/>
                <a:gd name="connsiteY473" fmla="*/ 228212 h 487272"/>
                <a:gd name="connsiteX474" fmla="*/ 554054 w 590859"/>
                <a:gd name="connsiteY474" fmla="*/ 222519 h 487272"/>
                <a:gd name="connsiteX475" fmla="*/ 547989 w 590859"/>
                <a:gd name="connsiteY475" fmla="*/ 224982 h 487272"/>
                <a:gd name="connsiteX476" fmla="*/ 536381 w 590859"/>
                <a:gd name="connsiteY476" fmla="*/ 217761 h 487272"/>
                <a:gd name="connsiteX477" fmla="*/ 539336 w 590859"/>
                <a:gd name="connsiteY477" fmla="*/ 205873 h 487272"/>
                <a:gd name="connsiteX478" fmla="*/ 546177 w 590859"/>
                <a:gd name="connsiteY478" fmla="*/ 204451 h 487272"/>
                <a:gd name="connsiteX479" fmla="*/ 551099 w 590859"/>
                <a:gd name="connsiteY479" fmla="*/ 200204 h 487272"/>
                <a:gd name="connsiteX480" fmla="*/ 551605 w 590859"/>
                <a:gd name="connsiteY480" fmla="*/ 194116 h 487272"/>
                <a:gd name="connsiteX481" fmla="*/ 555741 w 590859"/>
                <a:gd name="connsiteY481" fmla="*/ 188451 h 487272"/>
                <a:gd name="connsiteX482" fmla="*/ 574865 w 590859"/>
                <a:gd name="connsiteY482" fmla="*/ 183524 h 487272"/>
                <a:gd name="connsiteX483" fmla="*/ 568540 w 590859"/>
                <a:gd name="connsiteY483" fmla="*/ 182107 h 487272"/>
                <a:gd name="connsiteX484" fmla="*/ 562716 w 590859"/>
                <a:gd name="connsiteY484" fmla="*/ 178101 h 487272"/>
                <a:gd name="connsiteX485" fmla="*/ 556522 w 590859"/>
                <a:gd name="connsiteY485" fmla="*/ 178766 h 487272"/>
                <a:gd name="connsiteX486" fmla="*/ 544890 w 590859"/>
                <a:gd name="connsiteY486" fmla="*/ 187926 h 487272"/>
                <a:gd name="connsiteX487" fmla="*/ 531719 w 590859"/>
                <a:gd name="connsiteY487" fmla="*/ 187926 h 487272"/>
                <a:gd name="connsiteX488" fmla="*/ 530046 w 590859"/>
                <a:gd name="connsiteY488" fmla="*/ 194009 h 487272"/>
                <a:gd name="connsiteX489" fmla="*/ 524488 w 590859"/>
                <a:gd name="connsiteY489" fmla="*/ 199804 h 487272"/>
                <a:gd name="connsiteX490" fmla="*/ 518163 w 590859"/>
                <a:gd name="connsiteY490" fmla="*/ 187545 h 487272"/>
                <a:gd name="connsiteX491" fmla="*/ 518766 w 590859"/>
                <a:gd name="connsiteY491" fmla="*/ 165702 h 487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Lst>
              <a:rect l="l" t="t" r="r" b="b"/>
              <a:pathLst>
                <a:path w="590859" h="487272">
                  <a:moveTo>
                    <a:pt x="518766" y="165702"/>
                  </a:moveTo>
                  <a:lnTo>
                    <a:pt x="518221" y="160004"/>
                  </a:lnTo>
                  <a:lnTo>
                    <a:pt x="511786" y="154706"/>
                  </a:lnTo>
                  <a:cubicBezTo>
                    <a:pt x="511786" y="154706"/>
                    <a:pt x="510383" y="149669"/>
                    <a:pt x="511125" y="147480"/>
                  </a:cubicBezTo>
                  <a:cubicBezTo>
                    <a:pt x="511911" y="145291"/>
                    <a:pt x="511911" y="142558"/>
                    <a:pt x="511911" y="142558"/>
                  </a:cubicBezTo>
                  <a:cubicBezTo>
                    <a:pt x="511911" y="142558"/>
                    <a:pt x="510489" y="136754"/>
                    <a:pt x="508421" y="135997"/>
                  </a:cubicBezTo>
                  <a:cubicBezTo>
                    <a:pt x="506358" y="135192"/>
                    <a:pt x="503779" y="135072"/>
                    <a:pt x="503779" y="135072"/>
                  </a:cubicBezTo>
                  <a:lnTo>
                    <a:pt x="496919" y="136383"/>
                  </a:lnTo>
                  <a:lnTo>
                    <a:pt x="484534" y="131461"/>
                  </a:lnTo>
                  <a:lnTo>
                    <a:pt x="478981" y="134961"/>
                  </a:lnTo>
                  <a:cubicBezTo>
                    <a:pt x="478981" y="134961"/>
                    <a:pt x="480519" y="139352"/>
                    <a:pt x="479101" y="141416"/>
                  </a:cubicBezTo>
                  <a:cubicBezTo>
                    <a:pt x="477694" y="143488"/>
                    <a:pt x="476392" y="147480"/>
                    <a:pt x="476392" y="147480"/>
                  </a:cubicBezTo>
                  <a:lnTo>
                    <a:pt x="476633" y="160245"/>
                  </a:lnTo>
                  <a:lnTo>
                    <a:pt x="475881" y="165423"/>
                  </a:lnTo>
                  <a:lnTo>
                    <a:pt x="469802" y="172524"/>
                  </a:lnTo>
                  <a:lnTo>
                    <a:pt x="468255" y="178226"/>
                  </a:lnTo>
                  <a:lnTo>
                    <a:pt x="462692" y="172393"/>
                  </a:lnTo>
                  <a:lnTo>
                    <a:pt x="457668" y="177431"/>
                  </a:lnTo>
                  <a:lnTo>
                    <a:pt x="458956" y="184026"/>
                  </a:lnTo>
                  <a:cubicBezTo>
                    <a:pt x="458956" y="184026"/>
                    <a:pt x="455711" y="180029"/>
                    <a:pt x="455089" y="177320"/>
                  </a:cubicBezTo>
                  <a:cubicBezTo>
                    <a:pt x="454434" y="174592"/>
                    <a:pt x="449922" y="172152"/>
                    <a:pt x="441529" y="175623"/>
                  </a:cubicBezTo>
                  <a:cubicBezTo>
                    <a:pt x="444498" y="168262"/>
                    <a:pt x="442570" y="159349"/>
                    <a:pt x="439842" y="159349"/>
                  </a:cubicBezTo>
                  <a:cubicBezTo>
                    <a:pt x="437127" y="159349"/>
                    <a:pt x="433777" y="158442"/>
                    <a:pt x="433777" y="158442"/>
                  </a:cubicBezTo>
                  <a:lnTo>
                    <a:pt x="426792" y="161156"/>
                  </a:lnTo>
                  <a:lnTo>
                    <a:pt x="423056" y="167110"/>
                  </a:lnTo>
                  <a:lnTo>
                    <a:pt x="416991" y="171111"/>
                  </a:lnTo>
                  <a:lnTo>
                    <a:pt x="414157" y="177841"/>
                  </a:lnTo>
                  <a:cubicBezTo>
                    <a:pt x="414157" y="177841"/>
                    <a:pt x="403170" y="179374"/>
                    <a:pt x="402534" y="181191"/>
                  </a:cubicBezTo>
                  <a:cubicBezTo>
                    <a:pt x="401888" y="183013"/>
                    <a:pt x="400157" y="187810"/>
                    <a:pt x="400157" y="187810"/>
                  </a:cubicBezTo>
                  <a:cubicBezTo>
                    <a:pt x="400157" y="187810"/>
                    <a:pt x="398648" y="184802"/>
                    <a:pt x="399425" y="182367"/>
                  </a:cubicBezTo>
                  <a:cubicBezTo>
                    <a:pt x="400196" y="179899"/>
                    <a:pt x="399820" y="176804"/>
                    <a:pt x="398899" y="175247"/>
                  </a:cubicBezTo>
                  <a:cubicBezTo>
                    <a:pt x="398017" y="173690"/>
                    <a:pt x="399820" y="164155"/>
                    <a:pt x="396065" y="160163"/>
                  </a:cubicBezTo>
                  <a:cubicBezTo>
                    <a:pt x="392343" y="156133"/>
                    <a:pt x="391552" y="149293"/>
                    <a:pt x="388578" y="147355"/>
                  </a:cubicBezTo>
                  <a:cubicBezTo>
                    <a:pt x="385613" y="145412"/>
                    <a:pt x="375919" y="139237"/>
                    <a:pt x="375919" y="139237"/>
                  </a:cubicBezTo>
                  <a:lnTo>
                    <a:pt x="369604" y="144134"/>
                  </a:lnTo>
                  <a:lnTo>
                    <a:pt x="365337" y="162482"/>
                  </a:lnTo>
                  <a:lnTo>
                    <a:pt x="366870" y="169704"/>
                  </a:lnTo>
                  <a:lnTo>
                    <a:pt x="369223" y="174741"/>
                  </a:lnTo>
                  <a:lnTo>
                    <a:pt x="368832" y="187530"/>
                  </a:lnTo>
                  <a:lnTo>
                    <a:pt x="361592" y="199790"/>
                  </a:lnTo>
                  <a:lnTo>
                    <a:pt x="361457" y="206886"/>
                  </a:lnTo>
                  <a:lnTo>
                    <a:pt x="358622" y="211682"/>
                  </a:lnTo>
                  <a:cubicBezTo>
                    <a:pt x="358622" y="211682"/>
                    <a:pt x="358357" y="192568"/>
                    <a:pt x="360300" y="187530"/>
                  </a:cubicBezTo>
                  <a:cubicBezTo>
                    <a:pt x="362233" y="182469"/>
                    <a:pt x="362758" y="180801"/>
                    <a:pt x="362758" y="180801"/>
                  </a:cubicBezTo>
                  <a:cubicBezTo>
                    <a:pt x="362758" y="180801"/>
                    <a:pt x="359784" y="174881"/>
                    <a:pt x="360054" y="167891"/>
                  </a:cubicBezTo>
                  <a:cubicBezTo>
                    <a:pt x="355783" y="164295"/>
                    <a:pt x="352543" y="158732"/>
                    <a:pt x="353324" y="155998"/>
                  </a:cubicBezTo>
                  <a:cubicBezTo>
                    <a:pt x="354110" y="153294"/>
                    <a:pt x="358743" y="148777"/>
                    <a:pt x="353835" y="132502"/>
                  </a:cubicBezTo>
                  <a:cubicBezTo>
                    <a:pt x="350490" y="130844"/>
                    <a:pt x="347385" y="129147"/>
                    <a:pt x="347385" y="129147"/>
                  </a:cubicBezTo>
                  <a:lnTo>
                    <a:pt x="345963" y="123589"/>
                  </a:lnTo>
                  <a:lnTo>
                    <a:pt x="340949" y="129798"/>
                  </a:lnTo>
                  <a:lnTo>
                    <a:pt x="341952" y="123589"/>
                  </a:lnTo>
                  <a:cubicBezTo>
                    <a:pt x="341952" y="123589"/>
                    <a:pt x="336268" y="122581"/>
                    <a:pt x="333183" y="124876"/>
                  </a:cubicBezTo>
                  <a:cubicBezTo>
                    <a:pt x="330069" y="127223"/>
                    <a:pt x="325321" y="131736"/>
                    <a:pt x="325321" y="131736"/>
                  </a:cubicBezTo>
                  <a:cubicBezTo>
                    <a:pt x="325321" y="131736"/>
                    <a:pt x="314840" y="126201"/>
                    <a:pt x="312126" y="128380"/>
                  </a:cubicBezTo>
                  <a:cubicBezTo>
                    <a:pt x="309422" y="130559"/>
                    <a:pt x="307344" y="131996"/>
                    <a:pt x="307344" y="131996"/>
                  </a:cubicBezTo>
                  <a:lnTo>
                    <a:pt x="305937" y="137680"/>
                  </a:lnTo>
                  <a:lnTo>
                    <a:pt x="300128" y="140384"/>
                  </a:lnTo>
                  <a:cubicBezTo>
                    <a:pt x="300128" y="140384"/>
                    <a:pt x="306337" y="153438"/>
                    <a:pt x="292231" y="171270"/>
                  </a:cubicBezTo>
                  <a:cubicBezTo>
                    <a:pt x="290829" y="172027"/>
                    <a:pt x="289787" y="170475"/>
                    <a:pt x="289787" y="170475"/>
                  </a:cubicBezTo>
                  <a:lnTo>
                    <a:pt x="291354" y="168040"/>
                  </a:lnTo>
                  <a:lnTo>
                    <a:pt x="285410" y="167250"/>
                  </a:lnTo>
                  <a:lnTo>
                    <a:pt x="282445" y="162352"/>
                  </a:lnTo>
                  <a:cubicBezTo>
                    <a:pt x="282445" y="162352"/>
                    <a:pt x="286562" y="150864"/>
                    <a:pt x="281149" y="142327"/>
                  </a:cubicBezTo>
                  <a:cubicBezTo>
                    <a:pt x="275701" y="133808"/>
                    <a:pt x="277388" y="131225"/>
                    <a:pt x="278169" y="129272"/>
                  </a:cubicBezTo>
                  <a:cubicBezTo>
                    <a:pt x="278950" y="127339"/>
                    <a:pt x="279076" y="124490"/>
                    <a:pt x="279076" y="124490"/>
                  </a:cubicBezTo>
                  <a:cubicBezTo>
                    <a:pt x="279076" y="124490"/>
                    <a:pt x="277928" y="116517"/>
                    <a:pt x="278439" y="114294"/>
                  </a:cubicBezTo>
                  <a:cubicBezTo>
                    <a:pt x="278945" y="112096"/>
                    <a:pt x="277639" y="106041"/>
                    <a:pt x="273517" y="105511"/>
                  </a:cubicBezTo>
                  <a:cubicBezTo>
                    <a:pt x="269367" y="105000"/>
                    <a:pt x="260742" y="104744"/>
                    <a:pt x="258920" y="106176"/>
                  </a:cubicBezTo>
                  <a:cubicBezTo>
                    <a:pt x="257117" y="107593"/>
                    <a:pt x="254919" y="111590"/>
                    <a:pt x="254919" y="111590"/>
                  </a:cubicBezTo>
                  <a:lnTo>
                    <a:pt x="254789" y="117413"/>
                  </a:lnTo>
                  <a:lnTo>
                    <a:pt x="252600" y="123593"/>
                  </a:lnTo>
                  <a:lnTo>
                    <a:pt x="252875" y="136122"/>
                  </a:lnTo>
                  <a:lnTo>
                    <a:pt x="249366" y="142201"/>
                  </a:lnTo>
                  <a:lnTo>
                    <a:pt x="249366" y="149172"/>
                  </a:lnTo>
                  <a:lnTo>
                    <a:pt x="243822" y="162077"/>
                  </a:lnTo>
                  <a:lnTo>
                    <a:pt x="239681" y="163384"/>
                  </a:lnTo>
                  <a:lnTo>
                    <a:pt x="233877" y="169568"/>
                  </a:lnTo>
                  <a:lnTo>
                    <a:pt x="230902" y="176298"/>
                  </a:lnTo>
                  <a:lnTo>
                    <a:pt x="232464" y="166093"/>
                  </a:lnTo>
                  <a:lnTo>
                    <a:pt x="226790" y="165967"/>
                  </a:lnTo>
                  <a:lnTo>
                    <a:pt x="228853" y="172818"/>
                  </a:lnTo>
                  <a:lnTo>
                    <a:pt x="224958" y="179007"/>
                  </a:lnTo>
                  <a:lnTo>
                    <a:pt x="218508" y="167529"/>
                  </a:lnTo>
                  <a:lnTo>
                    <a:pt x="223541" y="155617"/>
                  </a:lnTo>
                  <a:lnTo>
                    <a:pt x="222379" y="148921"/>
                  </a:lnTo>
                  <a:cubicBezTo>
                    <a:pt x="222379" y="148921"/>
                    <a:pt x="198743" y="151255"/>
                    <a:pt x="195002" y="175257"/>
                  </a:cubicBezTo>
                  <a:cubicBezTo>
                    <a:pt x="193190" y="178091"/>
                    <a:pt x="190350" y="181466"/>
                    <a:pt x="190350" y="181466"/>
                  </a:cubicBezTo>
                  <a:lnTo>
                    <a:pt x="191136" y="175257"/>
                  </a:lnTo>
                  <a:lnTo>
                    <a:pt x="188413" y="168807"/>
                  </a:lnTo>
                  <a:cubicBezTo>
                    <a:pt x="188413" y="168807"/>
                    <a:pt x="186749" y="173700"/>
                    <a:pt x="186349" y="176530"/>
                  </a:cubicBezTo>
                  <a:cubicBezTo>
                    <a:pt x="185978" y="179383"/>
                    <a:pt x="182097" y="187400"/>
                    <a:pt x="179248" y="190765"/>
                  </a:cubicBezTo>
                  <a:cubicBezTo>
                    <a:pt x="178612" y="195287"/>
                    <a:pt x="177566" y="199298"/>
                    <a:pt x="177566" y="199298"/>
                  </a:cubicBezTo>
                  <a:lnTo>
                    <a:pt x="174085" y="207040"/>
                  </a:lnTo>
                  <a:lnTo>
                    <a:pt x="172663" y="204061"/>
                  </a:lnTo>
                  <a:lnTo>
                    <a:pt x="175508" y="197461"/>
                  </a:lnTo>
                  <a:cubicBezTo>
                    <a:pt x="175508" y="197461"/>
                    <a:pt x="174225" y="187261"/>
                    <a:pt x="177566" y="182233"/>
                  </a:cubicBezTo>
                  <a:cubicBezTo>
                    <a:pt x="180916" y="177205"/>
                    <a:pt x="186870" y="160023"/>
                    <a:pt x="172924" y="160419"/>
                  </a:cubicBezTo>
                  <a:cubicBezTo>
                    <a:pt x="177306" y="158462"/>
                    <a:pt x="179369" y="156668"/>
                    <a:pt x="179369" y="156668"/>
                  </a:cubicBezTo>
                  <a:lnTo>
                    <a:pt x="184411" y="150589"/>
                  </a:lnTo>
                  <a:lnTo>
                    <a:pt x="182623" y="145050"/>
                  </a:lnTo>
                  <a:lnTo>
                    <a:pt x="176154" y="145836"/>
                  </a:lnTo>
                  <a:lnTo>
                    <a:pt x="181702" y="142095"/>
                  </a:lnTo>
                  <a:cubicBezTo>
                    <a:pt x="181702" y="142095"/>
                    <a:pt x="174346" y="130212"/>
                    <a:pt x="171757" y="130212"/>
                  </a:cubicBezTo>
                  <a:cubicBezTo>
                    <a:pt x="174220" y="122976"/>
                    <a:pt x="177301" y="117534"/>
                    <a:pt x="177301" y="117534"/>
                  </a:cubicBezTo>
                  <a:lnTo>
                    <a:pt x="176925" y="123598"/>
                  </a:lnTo>
                  <a:lnTo>
                    <a:pt x="180405" y="129282"/>
                  </a:lnTo>
                  <a:lnTo>
                    <a:pt x="187121" y="130569"/>
                  </a:lnTo>
                  <a:lnTo>
                    <a:pt x="192033" y="126963"/>
                  </a:lnTo>
                  <a:lnTo>
                    <a:pt x="187771" y="120648"/>
                  </a:lnTo>
                  <a:lnTo>
                    <a:pt x="192554" y="120648"/>
                  </a:lnTo>
                  <a:lnTo>
                    <a:pt x="200170" y="117143"/>
                  </a:lnTo>
                  <a:lnTo>
                    <a:pt x="201077" y="110814"/>
                  </a:lnTo>
                  <a:lnTo>
                    <a:pt x="205989" y="105511"/>
                  </a:lnTo>
                  <a:lnTo>
                    <a:pt x="202879" y="98405"/>
                  </a:lnTo>
                  <a:lnTo>
                    <a:pt x="195137" y="93368"/>
                  </a:lnTo>
                  <a:lnTo>
                    <a:pt x="208698" y="94929"/>
                  </a:lnTo>
                  <a:lnTo>
                    <a:pt x="204827" y="89125"/>
                  </a:lnTo>
                  <a:lnTo>
                    <a:pt x="202884" y="83302"/>
                  </a:lnTo>
                  <a:lnTo>
                    <a:pt x="196936" y="77893"/>
                  </a:lnTo>
                  <a:lnTo>
                    <a:pt x="192419" y="83957"/>
                  </a:lnTo>
                  <a:lnTo>
                    <a:pt x="191917" y="77228"/>
                  </a:lnTo>
                  <a:lnTo>
                    <a:pt x="195788" y="65089"/>
                  </a:lnTo>
                  <a:lnTo>
                    <a:pt x="187497" y="51900"/>
                  </a:lnTo>
                  <a:lnTo>
                    <a:pt x="191131" y="46245"/>
                  </a:lnTo>
                  <a:lnTo>
                    <a:pt x="185968" y="40836"/>
                  </a:lnTo>
                  <a:lnTo>
                    <a:pt x="179514" y="37838"/>
                  </a:lnTo>
                  <a:lnTo>
                    <a:pt x="182223" y="25839"/>
                  </a:lnTo>
                  <a:lnTo>
                    <a:pt x="170986" y="6725"/>
                  </a:lnTo>
                  <a:lnTo>
                    <a:pt x="163996" y="10581"/>
                  </a:lnTo>
                  <a:cubicBezTo>
                    <a:pt x="163996" y="10581"/>
                    <a:pt x="158201" y="2454"/>
                    <a:pt x="153675" y="0"/>
                  </a:cubicBezTo>
                  <a:cubicBezTo>
                    <a:pt x="155362" y="4652"/>
                    <a:pt x="155217" y="6831"/>
                    <a:pt x="155217" y="6831"/>
                  </a:cubicBezTo>
                  <a:lnTo>
                    <a:pt x="149288" y="376"/>
                  </a:lnTo>
                  <a:lnTo>
                    <a:pt x="142973" y="2974"/>
                  </a:lnTo>
                  <a:lnTo>
                    <a:pt x="140625" y="8007"/>
                  </a:lnTo>
                  <a:lnTo>
                    <a:pt x="134946" y="5679"/>
                  </a:lnTo>
                  <a:lnTo>
                    <a:pt x="136349" y="12404"/>
                  </a:lnTo>
                  <a:lnTo>
                    <a:pt x="141922" y="18348"/>
                  </a:lnTo>
                  <a:cubicBezTo>
                    <a:pt x="141922" y="18348"/>
                    <a:pt x="151346" y="16651"/>
                    <a:pt x="153916" y="15123"/>
                  </a:cubicBezTo>
                  <a:cubicBezTo>
                    <a:pt x="153549" y="18078"/>
                    <a:pt x="154060" y="21057"/>
                    <a:pt x="154060" y="21057"/>
                  </a:cubicBezTo>
                  <a:lnTo>
                    <a:pt x="158833" y="20286"/>
                  </a:lnTo>
                  <a:lnTo>
                    <a:pt x="155989" y="26225"/>
                  </a:lnTo>
                  <a:cubicBezTo>
                    <a:pt x="155989" y="26225"/>
                    <a:pt x="160616" y="29835"/>
                    <a:pt x="168407" y="28789"/>
                  </a:cubicBezTo>
                  <a:cubicBezTo>
                    <a:pt x="163490" y="31118"/>
                    <a:pt x="162063" y="31629"/>
                    <a:pt x="162063" y="31629"/>
                  </a:cubicBezTo>
                  <a:lnTo>
                    <a:pt x="168407" y="36420"/>
                  </a:lnTo>
                  <a:cubicBezTo>
                    <a:pt x="168407" y="36420"/>
                    <a:pt x="159749" y="36281"/>
                    <a:pt x="156258" y="32400"/>
                  </a:cubicBezTo>
                  <a:cubicBezTo>
                    <a:pt x="152749" y="28534"/>
                    <a:pt x="145793" y="24417"/>
                    <a:pt x="138036" y="30607"/>
                  </a:cubicBezTo>
                  <a:cubicBezTo>
                    <a:pt x="136614" y="32400"/>
                    <a:pt x="140509" y="41699"/>
                    <a:pt x="144110" y="44442"/>
                  </a:cubicBezTo>
                  <a:cubicBezTo>
                    <a:pt x="147735" y="47137"/>
                    <a:pt x="147991" y="47768"/>
                    <a:pt x="149288" y="50511"/>
                  </a:cubicBezTo>
                  <a:cubicBezTo>
                    <a:pt x="150584" y="53225"/>
                    <a:pt x="150584" y="57053"/>
                    <a:pt x="157550" y="58909"/>
                  </a:cubicBezTo>
                  <a:cubicBezTo>
                    <a:pt x="153024" y="61609"/>
                    <a:pt x="151741" y="63011"/>
                    <a:pt x="151741" y="63011"/>
                  </a:cubicBezTo>
                  <a:lnTo>
                    <a:pt x="152007" y="69081"/>
                  </a:lnTo>
                  <a:lnTo>
                    <a:pt x="148757" y="82405"/>
                  </a:lnTo>
                  <a:lnTo>
                    <a:pt x="142168" y="86011"/>
                  </a:lnTo>
                  <a:lnTo>
                    <a:pt x="145021" y="80212"/>
                  </a:lnTo>
                  <a:lnTo>
                    <a:pt x="142973" y="73863"/>
                  </a:lnTo>
                  <a:lnTo>
                    <a:pt x="130159" y="85394"/>
                  </a:lnTo>
                  <a:cubicBezTo>
                    <a:pt x="130159" y="85394"/>
                    <a:pt x="137274" y="75304"/>
                    <a:pt x="140504" y="72200"/>
                  </a:cubicBezTo>
                  <a:cubicBezTo>
                    <a:pt x="143720" y="69086"/>
                    <a:pt x="144105" y="63282"/>
                    <a:pt x="138031" y="55539"/>
                  </a:cubicBezTo>
                  <a:cubicBezTo>
                    <a:pt x="133264" y="61869"/>
                    <a:pt x="129904" y="65615"/>
                    <a:pt x="128332" y="67177"/>
                  </a:cubicBezTo>
                  <a:cubicBezTo>
                    <a:pt x="130154" y="63421"/>
                    <a:pt x="129397" y="61614"/>
                    <a:pt x="129397" y="61614"/>
                  </a:cubicBezTo>
                  <a:lnTo>
                    <a:pt x="124451" y="63147"/>
                  </a:lnTo>
                  <a:lnTo>
                    <a:pt x="130294" y="59430"/>
                  </a:lnTo>
                  <a:lnTo>
                    <a:pt x="127296" y="53857"/>
                  </a:lnTo>
                  <a:lnTo>
                    <a:pt x="120985" y="54749"/>
                  </a:lnTo>
                  <a:lnTo>
                    <a:pt x="126804" y="49996"/>
                  </a:lnTo>
                  <a:lnTo>
                    <a:pt x="127715" y="43787"/>
                  </a:lnTo>
                  <a:lnTo>
                    <a:pt x="122133" y="43406"/>
                  </a:lnTo>
                  <a:lnTo>
                    <a:pt x="123569" y="36430"/>
                  </a:lnTo>
                  <a:lnTo>
                    <a:pt x="117890" y="24677"/>
                  </a:lnTo>
                  <a:lnTo>
                    <a:pt x="111826" y="19640"/>
                  </a:lnTo>
                  <a:lnTo>
                    <a:pt x="106147" y="19885"/>
                  </a:lnTo>
                  <a:lnTo>
                    <a:pt x="105246" y="24807"/>
                  </a:lnTo>
                  <a:lnTo>
                    <a:pt x="107381" y="31913"/>
                  </a:lnTo>
                  <a:lnTo>
                    <a:pt x="101341" y="24923"/>
                  </a:lnTo>
                  <a:lnTo>
                    <a:pt x="96207" y="27907"/>
                  </a:lnTo>
                  <a:lnTo>
                    <a:pt x="102903" y="39014"/>
                  </a:lnTo>
                  <a:lnTo>
                    <a:pt x="102021" y="45594"/>
                  </a:lnTo>
                  <a:lnTo>
                    <a:pt x="99292" y="39274"/>
                  </a:lnTo>
                  <a:lnTo>
                    <a:pt x="88195" y="27647"/>
                  </a:lnTo>
                  <a:lnTo>
                    <a:pt x="81986" y="34097"/>
                  </a:lnTo>
                  <a:lnTo>
                    <a:pt x="85616" y="44032"/>
                  </a:lnTo>
                  <a:lnTo>
                    <a:pt x="86768" y="51278"/>
                  </a:lnTo>
                  <a:lnTo>
                    <a:pt x="98632" y="63016"/>
                  </a:lnTo>
                  <a:lnTo>
                    <a:pt x="102141" y="70262"/>
                  </a:lnTo>
                  <a:lnTo>
                    <a:pt x="89612" y="58249"/>
                  </a:lnTo>
                  <a:lnTo>
                    <a:pt x="83938" y="54652"/>
                  </a:lnTo>
                  <a:lnTo>
                    <a:pt x="79542" y="48154"/>
                  </a:lnTo>
                  <a:lnTo>
                    <a:pt x="73212" y="46886"/>
                  </a:lnTo>
                  <a:cubicBezTo>
                    <a:pt x="73212" y="46886"/>
                    <a:pt x="67794" y="58914"/>
                    <a:pt x="74475" y="67553"/>
                  </a:cubicBezTo>
                  <a:cubicBezTo>
                    <a:pt x="77073" y="71019"/>
                    <a:pt x="89844" y="77893"/>
                    <a:pt x="97610" y="78520"/>
                  </a:cubicBezTo>
                  <a:cubicBezTo>
                    <a:pt x="89482" y="78645"/>
                    <a:pt x="85466" y="78785"/>
                    <a:pt x="84049" y="77999"/>
                  </a:cubicBezTo>
                  <a:cubicBezTo>
                    <a:pt x="82637" y="77228"/>
                    <a:pt x="78896" y="78274"/>
                    <a:pt x="78896" y="78274"/>
                  </a:cubicBezTo>
                  <a:lnTo>
                    <a:pt x="80183" y="83046"/>
                  </a:lnTo>
                  <a:cubicBezTo>
                    <a:pt x="80183" y="83046"/>
                    <a:pt x="87149" y="88716"/>
                    <a:pt x="86768" y="88716"/>
                  </a:cubicBezTo>
                  <a:cubicBezTo>
                    <a:pt x="86382" y="88716"/>
                    <a:pt x="80438" y="91936"/>
                    <a:pt x="80438" y="91936"/>
                  </a:cubicBezTo>
                  <a:lnTo>
                    <a:pt x="74355" y="84068"/>
                  </a:lnTo>
                  <a:lnTo>
                    <a:pt x="73969" y="78269"/>
                  </a:lnTo>
                  <a:lnTo>
                    <a:pt x="57453" y="54363"/>
                  </a:lnTo>
                  <a:lnTo>
                    <a:pt x="51379" y="56957"/>
                  </a:lnTo>
                  <a:cubicBezTo>
                    <a:pt x="51379" y="56957"/>
                    <a:pt x="49571" y="66372"/>
                    <a:pt x="52160" y="70117"/>
                  </a:cubicBezTo>
                  <a:cubicBezTo>
                    <a:pt x="54734" y="73853"/>
                    <a:pt x="55520" y="75425"/>
                    <a:pt x="55520" y="75425"/>
                  </a:cubicBezTo>
                  <a:lnTo>
                    <a:pt x="57328" y="82526"/>
                  </a:lnTo>
                  <a:lnTo>
                    <a:pt x="52160" y="76085"/>
                  </a:lnTo>
                  <a:lnTo>
                    <a:pt x="46587" y="75145"/>
                  </a:lnTo>
                  <a:lnTo>
                    <a:pt x="50227" y="87944"/>
                  </a:lnTo>
                  <a:lnTo>
                    <a:pt x="49957" y="94269"/>
                  </a:lnTo>
                  <a:lnTo>
                    <a:pt x="40417" y="74533"/>
                  </a:lnTo>
                  <a:lnTo>
                    <a:pt x="35124" y="68980"/>
                  </a:lnTo>
                  <a:lnTo>
                    <a:pt x="29681" y="69630"/>
                  </a:lnTo>
                  <a:lnTo>
                    <a:pt x="25164" y="76461"/>
                  </a:lnTo>
                  <a:lnTo>
                    <a:pt x="19866" y="77093"/>
                  </a:lnTo>
                  <a:lnTo>
                    <a:pt x="20257" y="82781"/>
                  </a:lnTo>
                  <a:lnTo>
                    <a:pt x="32535" y="89125"/>
                  </a:lnTo>
                  <a:lnTo>
                    <a:pt x="37438" y="94404"/>
                  </a:lnTo>
                  <a:lnTo>
                    <a:pt x="39501" y="102170"/>
                  </a:lnTo>
                  <a:lnTo>
                    <a:pt x="42225" y="107589"/>
                  </a:lnTo>
                  <a:lnTo>
                    <a:pt x="49190" y="109006"/>
                  </a:lnTo>
                  <a:cubicBezTo>
                    <a:pt x="49190" y="109006"/>
                    <a:pt x="56287" y="105265"/>
                    <a:pt x="65967" y="107974"/>
                  </a:cubicBezTo>
                  <a:cubicBezTo>
                    <a:pt x="68690" y="108206"/>
                    <a:pt x="73969" y="105781"/>
                    <a:pt x="73969" y="105781"/>
                  </a:cubicBezTo>
                  <a:lnTo>
                    <a:pt x="76707" y="112342"/>
                  </a:lnTo>
                  <a:lnTo>
                    <a:pt x="83408" y="112477"/>
                  </a:lnTo>
                  <a:lnTo>
                    <a:pt x="89737" y="108596"/>
                  </a:lnTo>
                  <a:lnTo>
                    <a:pt x="95807" y="111190"/>
                  </a:lnTo>
                  <a:lnTo>
                    <a:pt x="102021" y="107584"/>
                  </a:lnTo>
                  <a:lnTo>
                    <a:pt x="102262" y="110023"/>
                  </a:lnTo>
                  <a:lnTo>
                    <a:pt x="108201" y="111190"/>
                  </a:lnTo>
                  <a:lnTo>
                    <a:pt x="102903" y="116878"/>
                  </a:lnTo>
                  <a:lnTo>
                    <a:pt x="108852" y="121641"/>
                  </a:lnTo>
                  <a:lnTo>
                    <a:pt x="109878" y="114410"/>
                  </a:lnTo>
                  <a:lnTo>
                    <a:pt x="116854" y="109522"/>
                  </a:lnTo>
                  <a:lnTo>
                    <a:pt x="112848" y="115707"/>
                  </a:lnTo>
                  <a:lnTo>
                    <a:pt x="112216" y="121400"/>
                  </a:lnTo>
                  <a:lnTo>
                    <a:pt x="118806" y="123203"/>
                  </a:lnTo>
                  <a:lnTo>
                    <a:pt x="123323" y="117269"/>
                  </a:lnTo>
                  <a:lnTo>
                    <a:pt x="120354" y="129793"/>
                  </a:lnTo>
                  <a:lnTo>
                    <a:pt x="126418" y="126568"/>
                  </a:lnTo>
                  <a:lnTo>
                    <a:pt x="132116" y="131085"/>
                  </a:lnTo>
                  <a:lnTo>
                    <a:pt x="145393" y="127088"/>
                  </a:lnTo>
                  <a:cubicBezTo>
                    <a:pt x="145393" y="127088"/>
                    <a:pt x="138986" y="133948"/>
                    <a:pt x="136243" y="133804"/>
                  </a:cubicBezTo>
                  <a:cubicBezTo>
                    <a:pt x="133495" y="133625"/>
                    <a:pt x="125261" y="132367"/>
                    <a:pt x="125261" y="132367"/>
                  </a:cubicBezTo>
                  <a:lnTo>
                    <a:pt x="125763" y="138441"/>
                  </a:lnTo>
                  <a:lnTo>
                    <a:pt x="128491" y="144506"/>
                  </a:lnTo>
                  <a:lnTo>
                    <a:pt x="134691" y="142196"/>
                  </a:lnTo>
                  <a:lnTo>
                    <a:pt x="140365" y="138195"/>
                  </a:lnTo>
                  <a:lnTo>
                    <a:pt x="145653" y="144130"/>
                  </a:lnTo>
                  <a:lnTo>
                    <a:pt x="145267" y="150445"/>
                  </a:lnTo>
                  <a:lnTo>
                    <a:pt x="151086" y="153564"/>
                  </a:lnTo>
                  <a:lnTo>
                    <a:pt x="157550" y="154605"/>
                  </a:lnTo>
                  <a:lnTo>
                    <a:pt x="149543" y="155752"/>
                  </a:lnTo>
                  <a:cubicBezTo>
                    <a:pt x="149543" y="155752"/>
                    <a:pt x="145388" y="153814"/>
                    <a:pt x="139979" y="155232"/>
                  </a:cubicBezTo>
                  <a:cubicBezTo>
                    <a:pt x="134546" y="156654"/>
                    <a:pt x="128756" y="158977"/>
                    <a:pt x="122412" y="158727"/>
                  </a:cubicBezTo>
                  <a:cubicBezTo>
                    <a:pt x="116092" y="158447"/>
                    <a:pt x="108852" y="160014"/>
                    <a:pt x="99292" y="166724"/>
                  </a:cubicBezTo>
                  <a:cubicBezTo>
                    <a:pt x="98776" y="168031"/>
                    <a:pt x="100194" y="172808"/>
                    <a:pt x="100194" y="172808"/>
                  </a:cubicBezTo>
                  <a:lnTo>
                    <a:pt x="106152" y="176428"/>
                  </a:lnTo>
                  <a:cubicBezTo>
                    <a:pt x="106152" y="176428"/>
                    <a:pt x="114810" y="197967"/>
                    <a:pt x="134946" y="185448"/>
                  </a:cubicBezTo>
                  <a:cubicBezTo>
                    <a:pt x="138036" y="185727"/>
                    <a:pt x="141141" y="186354"/>
                    <a:pt x="141141" y="186354"/>
                  </a:cubicBezTo>
                  <a:lnTo>
                    <a:pt x="136108" y="193474"/>
                  </a:lnTo>
                  <a:lnTo>
                    <a:pt x="130159" y="197215"/>
                  </a:lnTo>
                  <a:lnTo>
                    <a:pt x="125126" y="204441"/>
                  </a:lnTo>
                  <a:lnTo>
                    <a:pt x="106407" y="194612"/>
                  </a:lnTo>
                  <a:lnTo>
                    <a:pt x="101346" y="188157"/>
                  </a:lnTo>
                  <a:lnTo>
                    <a:pt x="87684" y="185848"/>
                  </a:lnTo>
                  <a:cubicBezTo>
                    <a:pt x="87684" y="185848"/>
                    <a:pt x="82897" y="189203"/>
                    <a:pt x="82506" y="189338"/>
                  </a:cubicBezTo>
                  <a:cubicBezTo>
                    <a:pt x="82121" y="189444"/>
                    <a:pt x="79286" y="183404"/>
                    <a:pt x="79286" y="183404"/>
                  </a:cubicBezTo>
                  <a:lnTo>
                    <a:pt x="82646" y="177060"/>
                  </a:lnTo>
                  <a:lnTo>
                    <a:pt x="76061" y="181201"/>
                  </a:lnTo>
                  <a:lnTo>
                    <a:pt x="69601" y="182372"/>
                  </a:lnTo>
                  <a:lnTo>
                    <a:pt x="64564" y="178487"/>
                  </a:lnTo>
                  <a:lnTo>
                    <a:pt x="52811" y="185732"/>
                  </a:lnTo>
                  <a:lnTo>
                    <a:pt x="55390" y="179909"/>
                  </a:lnTo>
                  <a:lnTo>
                    <a:pt x="55525" y="174490"/>
                  </a:lnTo>
                  <a:lnTo>
                    <a:pt x="49060" y="177335"/>
                  </a:lnTo>
                  <a:lnTo>
                    <a:pt x="42605" y="180950"/>
                  </a:lnTo>
                  <a:lnTo>
                    <a:pt x="43507" y="175127"/>
                  </a:lnTo>
                  <a:cubicBezTo>
                    <a:pt x="43507" y="175127"/>
                    <a:pt x="32790" y="173695"/>
                    <a:pt x="25834" y="176019"/>
                  </a:cubicBezTo>
                  <a:cubicBezTo>
                    <a:pt x="19239" y="173594"/>
                    <a:pt x="12760" y="166329"/>
                    <a:pt x="12760" y="166329"/>
                  </a:cubicBezTo>
                  <a:lnTo>
                    <a:pt x="6566" y="166469"/>
                  </a:lnTo>
                  <a:lnTo>
                    <a:pt x="0" y="171646"/>
                  </a:lnTo>
                  <a:lnTo>
                    <a:pt x="390" y="183785"/>
                  </a:lnTo>
                  <a:lnTo>
                    <a:pt x="2825" y="190100"/>
                  </a:lnTo>
                  <a:lnTo>
                    <a:pt x="14081" y="195408"/>
                  </a:lnTo>
                  <a:lnTo>
                    <a:pt x="20787" y="189444"/>
                  </a:lnTo>
                  <a:lnTo>
                    <a:pt x="27357" y="193339"/>
                  </a:lnTo>
                  <a:lnTo>
                    <a:pt x="33446" y="191922"/>
                  </a:lnTo>
                  <a:lnTo>
                    <a:pt x="39139" y="194520"/>
                  </a:lnTo>
                  <a:lnTo>
                    <a:pt x="43772" y="200725"/>
                  </a:lnTo>
                  <a:lnTo>
                    <a:pt x="61739" y="211041"/>
                  </a:lnTo>
                  <a:lnTo>
                    <a:pt x="68840" y="212073"/>
                  </a:lnTo>
                  <a:lnTo>
                    <a:pt x="71669" y="217867"/>
                  </a:lnTo>
                  <a:lnTo>
                    <a:pt x="77493" y="215298"/>
                  </a:lnTo>
                  <a:cubicBezTo>
                    <a:pt x="77493" y="215298"/>
                    <a:pt x="77088" y="221232"/>
                    <a:pt x="84574" y="228338"/>
                  </a:cubicBezTo>
                  <a:cubicBezTo>
                    <a:pt x="80332" y="231437"/>
                    <a:pt x="79436" y="233240"/>
                    <a:pt x="79436" y="233240"/>
                  </a:cubicBezTo>
                  <a:lnTo>
                    <a:pt x="91430" y="232479"/>
                  </a:lnTo>
                  <a:cubicBezTo>
                    <a:pt x="91430" y="232479"/>
                    <a:pt x="79556" y="238403"/>
                    <a:pt x="78775" y="238403"/>
                  </a:cubicBezTo>
                  <a:cubicBezTo>
                    <a:pt x="77994" y="238403"/>
                    <a:pt x="73868" y="236976"/>
                    <a:pt x="73868" y="236976"/>
                  </a:cubicBezTo>
                  <a:lnTo>
                    <a:pt x="74779" y="242809"/>
                  </a:lnTo>
                  <a:lnTo>
                    <a:pt x="72041" y="249650"/>
                  </a:lnTo>
                  <a:lnTo>
                    <a:pt x="77613" y="255714"/>
                  </a:lnTo>
                  <a:cubicBezTo>
                    <a:pt x="77613" y="255714"/>
                    <a:pt x="74138" y="263351"/>
                    <a:pt x="76596" y="267853"/>
                  </a:cubicBezTo>
                  <a:cubicBezTo>
                    <a:pt x="80718" y="265780"/>
                    <a:pt x="85886" y="265530"/>
                    <a:pt x="89631" y="257002"/>
                  </a:cubicBezTo>
                  <a:cubicBezTo>
                    <a:pt x="88976" y="262030"/>
                    <a:pt x="89116" y="263596"/>
                    <a:pt x="89116" y="263596"/>
                  </a:cubicBezTo>
                  <a:cubicBezTo>
                    <a:pt x="89116" y="263596"/>
                    <a:pt x="98800" y="260101"/>
                    <a:pt x="101264" y="260362"/>
                  </a:cubicBezTo>
                  <a:cubicBezTo>
                    <a:pt x="103732" y="260617"/>
                    <a:pt x="111344" y="257903"/>
                    <a:pt x="111980" y="257378"/>
                  </a:cubicBezTo>
                  <a:cubicBezTo>
                    <a:pt x="112636" y="256872"/>
                    <a:pt x="120788" y="258414"/>
                    <a:pt x="121675" y="259851"/>
                  </a:cubicBezTo>
                  <a:cubicBezTo>
                    <a:pt x="114959" y="259185"/>
                    <a:pt x="112872" y="259185"/>
                    <a:pt x="112872" y="259185"/>
                  </a:cubicBezTo>
                  <a:cubicBezTo>
                    <a:pt x="112872" y="259185"/>
                    <a:pt x="114574" y="265264"/>
                    <a:pt x="114174" y="265525"/>
                  </a:cubicBezTo>
                  <a:cubicBezTo>
                    <a:pt x="113793" y="265775"/>
                    <a:pt x="107863" y="261514"/>
                    <a:pt x="107863" y="261514"/>
                  </a:cubicBezTo>
                  <a:lnTo>
                    <a:pt x="101505" y="266156"/>
                  </a:lnTo>
                  <a:lnTo>
                    <a:pt x="89120" y="266821"/>
                  </a:lnTo>
                  <a:lnTo>
                    <a:pt x="83191" y="271845"/>
                  </a:lnTo>
                  <a:lnTo>
                    <a:pt x="80472" y="277673"/>
                  </a:lnTo>
                  <a:lnTo>
                    <a:pt x="85895" y="284639"/>
                  </a:lnTo>
                  <a:lnTo>
                    <a:pt x="79450" y="283082"/>
                  </a:lnTo>
                  <a:lnTo>
                    <a:pt x="74504" y="289927"/>
                  </a:lnTo>
                  <a:lnTo>
                    <a:pt x="80983" y="293143"/>
                  </a:lnTo>
                  <a:cubicBezTo>
                    <a:pt x="80983" y="293143"/>
                    <a:pt x="84878" y="292906"/>
                    <a:pt x="89516" y="289296"/>
                  </a:cubicBezTo>
                  <a:cubicBezTo>
                    <a:pt x="94168" y="285670"/>
                    <a:pt x="99972" y="286582"/>
                    <a:pt x="103737" y="289816"/>
                  </a:cubicBezTo>
                  <a:cubicBezTo>
                    <a:pt x="107468" y="293032"/>
                    <a:pt x="109536" y="295471"/>
                    <a:pt x="109536" y="295471"/>
                  </a:cubicBezTo>
                  <a:lnTo>
                    <a:pt x="115981" y="295611"/>
                  </a:lnTo>
                  <a:lnTo>
                    <a:pt x="107347" y="297679"/>
                  </a:lnTo>
                  <a:lnTo>
                    <a:pt x="100758" y="292251"/>
                  </a:lnTo>
                  <a:cubicBezTo>
                    <a:pt x="100758" y="292251"/>
                    <a:pt x="95980" y="294459"/>
                    <a:pt x="93126" y="294054"/>
                  </a:cubicBezTo>
                  <a:cubicBezTo>
                    <a:pt x="90297" y="293668"/>
                    <a:pt x="81889" y="296512"/>
                    <a:pt x="78264" y="301931"/>
                  </a:cubicBezTo>
                  <a:cubicBezTo>
                    <a:pt x="81378" y="305431"/>
                    <a:pt x="83442" y="307889"/>
                    <a:pt x="83442" y="307889"/>
                  </a:cubicBezTo>
                  <a:lnTo>
                    <a:pt x="83316" y="312782"/>
                  </a:lnTo>
                  <a:lnTo>
                    <a:pt x="75290" y="311876"/>
                  </a:lnTo>
                  <a:lnTo>
                    <a:pt x="68073" y="307754"/>
                  </a:lnTo>
                  <a:lnTo>
                    <a:pt x="68854" y="317053"/>
                  </a:lnTo>
                  <a:lnTo>
                    <a:pt x="63166" y="314450"/>
                  </a:lnTo>
                  <a:lnTo>
                    <a:pt x="63291" y="319888"/>
                  </a:lnTo>
                  <a:lnTo>
                    <a:pt x="51027" y="321315"/>
                  </a:lnTo>
                  <a:cubicBezTo>
                    <a:pt x="51027" y="321315"/>
                    <a:pt x="43150" y="316812"/>
                    <a:pt x="33856" y="320278"/>
                  </a:cubicBezTo>
                  <a:cubicBezTo>
                    <a:pt x="30105" y="315380"/>
                    <a:pt x="29064" y="314209"/>
                    <a:pt x="29064" y="314209"/>
                  </a:cubicBezTo>
                  <a:lnTo>
                    <a:pt x="29700" y="307995"/>
                  </a:lnTo>
                  <a:lnTo>
                    <a:pt x="24171" y="301931"/>
                  </a:lnTo>
                  <a:lnTo>
                    <a:pt x="18203" y="313168"/>
                  </a:lnTo>
                  <a:lnTo>
                    <a:pt x="17171" y="320032"/>
                  </a:lnTo>
                  <a:lnTo>
                    <a:pt x="10490" y="332292"/>
                  </a:lnTo>
                  <a:lnTo>
                    <a:pt x="28307" y="339783"/>
                  </a:lnTo>
                  <a:lnTo>
                    <a:pt x="34878" y="339783"/>
                  </a:lnTo>
                  <a:lnTo>
                    <a:pt x="40181" y="345201"/>
                  </a:lnTo>
                  <a:cubicBezTo>
                    <a:pt x="40181" y="345201"/>
                    <a:pt x="53871" y="352452"/>
                    <a:pt x="63166" y="350234"/>
                  </a:cubicBezTo>
                  <a:cubicBezTo>
                    <a:pt x="67683" y="357345"/>
                    <a:pt x="70281" y="358757"/>
                    <a:pt x="72185" y="359143"/>
                  </a:cubicBezTo>
                  <a:cubicBezTo>
                    <a:pt x="74147" y="359538"/>
                    <a:pt x="83316" y="361746"/>
                    <a:pt x="84213" y="363173"/>
                  </a:cubicBezTo>
                  <a:cubicBezTo>
                    <a:pt x="89371" y="360194"/>
                    <a:pt x="90176" y="359538"/>
                    <a:pt x="90176" y="359538"/>
                  </a:cubicBezTo>
                  <a:lnTo>
                    <a:pt x="95840" y="360714"/>
                  </a:lnTo>
                  <a:lnTo>
                    <a:pt x="96091" y="353980"/>
                  </a:lnTo>
                  <a:lnTo>
                    <a:pt x="102050" y="354780"/>
                  </a:lnTo>
                  <a:lnTo>
                    <a:pt x="108230" y="360454"/>
                  </a:lnTo>
                  <a:lnTo>
                    <a:pt x="98800" y="359273"/>
                  </a:lnTo>
                  <a:lnTo>
                    <a:pt x="97518" y="364701"/>
                  </a:lnTo>
                  <a:cubicBezTo>
                    <a:pt x="97518" y="364701"/>
                    <a:pt x="100748" y="371156"/>
                    <a:pt x="102671" y="372848"/>
                  </a:cubicBezTo>
                  <a:cubicBezTo>
                    <a:pt x="104614" y="374516"/>
                    <a:pt x="113012" y="382774"/>
                    <a:pt x="113012" y="383704"/>
                  </a:cubicBezTo>
                  <a:cubicBezTo>
                    <a:pt x="116237" y="383430"/>
                    <a:pt x="117654" y="382904"/>
                    <a:pt x="117654" y="382904"/>
                  </a:cubicBezTo>
                  <a:lnTo>
                    <a:pt x="122431" y="376975"/>
                  </a:lnTo>
                  <a:lnTo>
                    <a:pt x="123473" y="380446"/>
                  </a:lnTo>
                  <a:lnTo>
                    <a:pt x="119062" y="386404"/>
                  </a:lnTo>
                  <a:lnTo>
                    <a:pt x="121921" y="392078"/>
                  </a:lnTo>
                  <a:lnTo>
                    <a:pt x="115075" y="390159"/>
                  </a:lnTo>
                  <a:lnTo>
                    <a:pt x="118300" y="396725"/>
                  </a:lnTo>
                  <a:lnTo>
                    <a:pt x="130950" y="392594"/>
                  </a:lnTo>
                  <a:lnTo>
                    <a:pt x="137154" y="387773"/>
                  </a:lnTo>
                  <a:lnTo>
                    <a:pt x="135472" y="396098"/>
                  </a:lnTo>
                  <a:lnTo>
                    <a:pt x="136884" y="404742"/>
                  </a:lnTo>
                  <a:lnTo>
                    <a:pt x="129793" y="395578"/>
                  </a:lnTo>
                  <a:lnTo>
                    <a:pt x="123733" y="399974"/>
                  </a:lnTo>
                  <a:cubicBezTo>
                    <a:pt x="123733" y="399974"/>
                    <a:pt x="128776" y="410426"/>
                    <a:pt x="127604" y="418298"/>
                  </a:cubicBezTo>
                  <a:cubicBezTo>
                    <a:pt x="130950" y="426830"/>
                    <a:pt x="134319" y="431212"/>
                    <a:pt x="134319" y="431212"/>
                  </a:cubicBezTo>
                  <a:lnTo>
                    <a:pt x="140389" y="431487"/>
                  </a:lnTo>
                  <a:lnTo>
                    <a:pt x="144269" y="435088"/>
                  </a:lnTo>
                  <a:lnTo>
                    <a:pt x="159242" y="439981"/>
                  </a:lnTo>
                  <a:lnTo>
                    <a:pt x="161836" y="447102"/>
                  </a:lnTo>
                  <a:lnTo>
                    <a:pt x="180926" y="466741"/>
                  </a:lnTo>
                  <a:lnTo>
                    <a:pt x="187400" y="469691"/>
                  </a:lnTo>
                  <a:lnTo>
                    <a:pt x="205218" y="482876"/>
                  </a:lnTo>
                  <a:lnTo>
                    <a:pt x="222654" y="483382"/>
                  </a:lnTo>
                  <a:cubicBezTo>
                    <a:pt x="222654" y="483382"/>
                    <a:pt x="240341" y="486241"/>
                    <a:pt x="241633" y="487272"/>
                  </a:cubicBezTo>
                  <a:cubicBezTo>
                    <a:pt x="239329" y="482640"/>
                    <a:pt x="238938" y="480818"/>
                    <a:pt x="238938" y="480818"/>
                  </a:cubicBezTo>
                  <a:lnTo>
                    <a:pt x="238529" y="475520"/>
                  </a:lnTo>
                  <a:lnTo>
                    <a:pt x="246174" y="478745"/>
                  </a:lnTo>
                  <a:lnTo>
                    <a:pt x="243711" y="486246"/>
                  </a:lnTo>
                  <a:cubicBezTo>
                    <a:pt x="243711" y="486246"/>
                    <a:pt x="257662" y="485209"/>
                    <a:pt x="261654" y="482225"/>
                  </a:cubicBezTo>
                  <a:cubicBezTo>
                    <a:pt x="265655" y="479270"/>
                    <a:pt x="267728" y="475413"/>
                    <a:pt x="267728" y="475413"/>
                  </a:cubicBezTo>
                  <a:lnTo>
                    <a:pt x="263736" y="470737"/>
                  </a:lnTo>
                  <a:lnTo>
                    <a:pt x="272375" y="469971"/>
                  </a:lnTo>
                  <a:lnTo>
                    <a:pt x="266571" y="465049"/>
                  </a:lnTo>
                  <a:lnTo>
                    <a:pt x="272375" y="460016"/>
                  </a:lnTo>
                  <a:cubicBezTo>
                    <a:pt x="272375" y="460016"/>
                    <a:pt x="284639" y="458213"/>
                    <a:pt x="284123" y="460426"/>
                  </a:cubicBezTo>
                  <a:cubicBezTo>
                    <a:pt x="283617" y="462610"/>
                    <a:pt x="284258" y="465464"/>
                    <a:pt x="284258" y="465464"/>
                  </a:cubicBezTo>
                  <a:lnTo>
                    <a:pt x="291248" y="462860"/>
                  </a:lnTo>
                  <a:lnTo>
                    <a:pt x="297443" y="465314"/>
                  </a:lnTo>
                  <a:lnTo>
                    <a:pt x="308024" y="465565"/>
                  </a:lnTo>
                  <a:lnTo>
                    <a:pt x="314089" y="464803"/>
                  </a:lnTo>
                  <a:lnTo>
                    <a:pt x="320172" y="469320"/>
                  </a:lnTo>
                  <a:lnTo>
                    <a:pt x="327398" y="467498"/>
                  </a:lnTo>
                  <a:cubicBezTo>
                    <a:pt x="327398" y="467498"/>
                    <a:pt x="332913" y="458840"/>
                    <a:pt x="332942" y="455610"/>
                  </a:cubicBezTo>
                  <a:cubicBezTo>
                    <a:pt x="333868" y="459626"/>
                    <a:pt x="334244" y="461192"/>
                    <a:pt x="334244" y="461192"/>
                  </a:cubicBezTo>
                  <a:lnTo>
                    <a:pt x="329852" y="467498"/>
                  </a:lnTo>
                  <a:lnTo>
                    <a:pt x="330238" y="472680"/>
                  </a:lnTo>
                  <a:lnTo>
                    <a:pt x="336963" y="468930"/>
                  </a:lnTo>
                  <a:lnTo>
                    <a:pt x="338775" y="474999"/>
                  </a:lnTo>
                  <a:lnTo>
                    <a:pt x="342371" y="468930"/>
                  </a:lnTo>
                  <a:lnTo>
                    <a:pt x="348576" y="469325"/>
                  </a:lnTo>
                  <a:lnTo>
                    <a:pt x="360329" y="468168"/>
                  </a:lnTo>
                  <a:lnTo>
                    <a:pt x="373253" y="461057"/>
                  </a:lnTo>
                  <a:lnTo>
                    <a:pt x="374029" y="457972"/>
                  </a:lnTo>
                  <a:lnTo>
                    <a:pt x="380860" y="457697"/>
                  </a:lnTo>
                  <a:lnTo>
                    <a:pt x="392382" y="452795"/>
                  </a:lnTo>
                  <a:lnTo>
                    <a:pt x="398427" y="446730"/>
                  </a:lnTo>
                  <a:cubicBezTo>
                    <a:pt x="398427" y="446730"/>
                    <a:pt x="407981" y="448909"/>
                    <a:pt x="412643" y="446065"/>
                  </a:cubicBezTo>
                  <a:cubicBezTo>
                    <a:pt x="417276" y="443226"/>
                    <a:pt x="423755" y="443505"/>
                    <a:pt x="426474" y="443505"/>
                  </a:cubicBezTo>
                  <a:cubicBezTo>
                    <a:pt x="429178" y="443505"/>
                    <a:pt x="448167" y="442729"/>
                    <a:pt x="440781" y="425939"/>
                  </a:cubicBezTo>
                  <a:cubicBezTo>
                    <a:pt x="446856" y="438458"/>
                    <a:pt x="451647" y="445699"/>
                    <a:pt x="451647" y="445699"/>
                  </a:cubicBezTo>
                  <a:lnTo>
                    <a:pt x="457191" y="446070"/>
                  </a:lnTo>
                  <a:lnTo>
                    <a:pt x="463376" y="452800"/>
                  </a:lnTo>
                  <a:lnTo>
                    <a:pt x="464287" y="447246"/>
                  </a:lnTo>
                  <a:lnTo>
                    <a:pt x="479916" y="440140"/>
                  </a:lnTo>
                  <a:lnTo>
                    <a:pt x="489861" y="441943"/>
                  </a:lnTo>
                  <a:cubicBezTo>
                    <a:pt x="489861" y="441943"/>
                    <a:pt x="501995" y="430321"/>
                    <a:pt x="502409" y="426054"/>
                  </a:cubicBezTo>
                  <a:cubicBezTo>
                    <a:pt x="505495" y="423109"/>
                    <a:pt x="509240" y="421156"/>
                    <a:pt x="509240" y="421156"/>
                  </a:cubicBezTo>
                  <a:lnTo>
                    <a:pt x="502776" y="418457"/>
                  </a:lnTo>
                  <a:lnTo>
                    <a:pt x="509346" y="416890"/>
                  </a:lnTo>
                  <a:lnTo>
                    <a:pt x="507037" y="409153"/>
                  </a:lnTo>
                  <a:cubicBezTo>
                    <a:pt x="507037" y="409153"/>
                    <a:pt x="516216" y="410435"/>
                    <a:pt x="518149" y="413275"/>
                  </a:cubicBezTo>
                  <a:cubicBezTo>
                    <a:pt x="512205" y="405402"/>
                    <a:pt x="514649" y="399188"/>
                    <a:pt x="514914" y="395072"/>
                  </a:cubicBezTo>
                  <a:cubicBezTo>
                    <a:pt x="519041" y="408497"/>
                    <a:pt x="522406" y="417276"/>
                    <a:pt x="537003" y="407461"/>
                  </a:cubicBezTo>
                  <a:cubicBezTo>
                    <a:pt x="537519" y="404641"/>
                    <a:pt x="537803" y="400765"/>
                    <a:pt x="537803" y="400765"/>
                  </a:cubicBezTo>
                  <a:lnTo>
                    <a:pt x="548245" y="405132"/>
                  </a:lnTo>
                  <a:lnTo>
                    <a:pt x="548635" y="400095"/>
                  </a:lnTo>
                  <a:lnTo>
                    <a:pt x="555355" y="395587"/>
                  </a:lnTo>
                  <a:cubicBezTo>
                    <a:pt x="555355" y="395587"/>
                    <a:pt x="551735" y="390285"/>
                    <a:pt x="551349" y="390169"/>
                  </a:cubicBezTo>
                  <a:cubicBezTo>
                    <a:pt x="550959" y="390029"/>
                    <a:pt x="545656" y="384861"/>
                    <a:pt x="545656" y="384861"/>
                  </a:cubicBezTo>
                  <a:cubicBezTo>
                    <a:pt x="545656" y="384861"/>
                    <a:pt x="555090" y="387715"/>
                    <a:pt x="558320" y="386283"/>
                  </a:cubicBezTo>
                  <a:cubicBezTo>
                    <a:pt x="554319" y="382022"/>
                    <a:pt x="552641" y="377886"/>
                    <a:pt x="552641" y="374907"/>
                  </a:cubicBezTo>
                  <a:cubicBezTo>
                    <a:pt x="547724" y="371817"/>
                    <a:pt x="539476" y="367825"/>
                    <a:pt x="539476" y="367825"/>
                  </a:cubicBezTo>
                  <a:lnTo>
                    <a:pt x="547218" y="367825"/>
                  </a:lnTo>
                  <a:lnTo>
                    <a:pt x="552000" y="367299"/>
                  </a:lnTo>
                  <a:lnTo>
                    <a:pt x="558711" y="374130"/>
                  </a:lnTo>
                  <a:lnTo>
                    <a:pt x="558711" y="379828"/>
                  </a:lnTo>
                  <a:lnTo>
                    <a:pt x="565426" y="383054"/>
                  </a:lnTo>
                  <a:lnTo>
                    <a:pt x="572671" y="376464"/>
                  </a:lnTo>
                  <a:lnTo>
                    <a:pt x="577424" y="375427"/>
                  </a:lnTo>
                  <a:cubicBezTo>
                    <a:pt x="577424" y="375427"/>
                    <a:pt x="580794" y="367830"/>
                    <a:pt x="579237" y="364074"/>
                  </a:cubicBezTo>
                  <a:cubicBezTo>
                    <a:pt x="575501" y="366644"/>
                    <a:pt x="572772" y="367945"/>
                    <a:pt x="572772" y="367945"/>
                  </a:cubicBezTo>
                  <a:lnTo>
                    <a:pt x="568535" y="360960"/>
                  </a:lnTo>
                  <a:lnTo>
                    <a:pt x="573168" y="355031"/>
                  </a:lnTo>
                  <a:cubicBezTo>
                    <a:pt x="573168" y="355031"/>
                    <a:pt x="561675" y="351560"/>
                    <a:pt x="556517" y="351560"/>
                  </a:cubicBezTo>
                  <a:cubicBezTo>
                    <a:pt x="563362" y="350249"/>
                    <a:pt x="566588" y="350895"/>
                    <a:pt x="569682" y="351946"/>
                  </a:cubicBezTo>
                  <a:cubicBezTo>
                    <a:pt x="572772" y="352977"/>
                    <a:pt x="576002" y="353353"/>
                    <a:pt x="577805" y="352317"/>
                  </a:cubicBezTo>
                  <a:cubicBezTo>
                    <a:pt x="579637" y="351271"/>
                    <a:pt x="583108" y="346633"/>
                    <a:pt x="583108" y="346633"/>
                  </a:cubicBezTo>
                  <a:cubicBezTo>
                    <a:pt x="583108" y="346633"/>
                    <a:pt x="578972" y="337994"/>
                    <a:pt x="564664" y="339026"/>
                  </a:cubicBezTo>
                  <a:cubicBezTo>
                    <a:pt x="571611" y="337994"/>
                    <a:pt x="577805" y="336428"/>
                    <a:pt x="577805" y="336428"/>
                  </a:cubicBezTo>
                  <a:lnTo>
                    <a:pt x="575887" y="330734"/>
                  </a:lnTo>
                  <a:lnTo>
                    <a:pt x="581961" y="332161"/>
                  </a:lnTo>
                  <a:lnTo>
                    <a:pt x="586343" y="325991"/>
                  </a:lnTo>
                  <a:lnTo>
                    <a:pt x="590860" y="314084"/>
                  </a:lnTo>
                  <a:lnTo>
                    <a:pt x="587519" y="308149"/>
                  </a:lnTo>
                  <a:lnTo>
                    <a:pt x="581445" y="308284"/>
                  </a:lnTo>
                  <a:lnTo>
                    <a:pt x="580278" y="302461"/>
                  </a:lnTo>
                  <a:lnTo>
                    <a:pt x="576933" y="295375"/>
                  </a:lnTo>
                  <a:lnTo>
                    <a:pt x="570198" y="293051"/>
                  </a:lnTo>
                  <a:lnTo>
                    <a:pt x="563632" y="287362"/>
                  </a:lnTo>
                  <a:lnTo>
                    <a:pt x="557939" y="285685"/>
                  </a:lnTo>
                  <a:lnTo>
                    <a:pt x="539336" y="300166"/>
                  </a:lnTo>
                  <a:lnTo>
                    <a:pt x="543867" y="293822"/>
                  </a:lnTo>
                  <a:lnTo>
                    <a:pt x="557554" y="282850"/>
                  </a:lnTo>
                  <a:lnTo>
                    <a:pt x="560653" y="271478"/>
                  </a:lnTo>
                  <a:lnTo>
                    <a:pt x="558961" y="263982"/>
                  </a:lnTo>
                  <a:lnTo>
                    <a:pt x="535205" y="263982"/>
                  </a:lnTo>
                  <a:cubicBezTo>
                    <a:pt x="535205" y="263982"/>
                    <a:pt x="540131" y="258429"/>
                    <a:pt x="539481" y="258429"/>
                  </a:cubicBezTo>
                  <a:cubicBezTo>
                    <a:pt x="538815" y="258429"/>
                    <a:pt x="534944" y="259200"/>
                    <a:pt x="534944" y="259200"/>
                  </a:cubicBezTo>
                  <a:lnTo>
                    <a:pt x="540652" y="252215"/>
                  </a:lnTo>
                  <a:cubicBezTo>
                    <a:pt x="540652" y="252215"/>
                    <a:pt x="552781" y="249891"/>
                    <a:pt x="556266" y="242024"/>
                  </a:cubicBezTo>
                  <a:cubicBezTo>
                    <a:pt x="559747" y="234151"/>
                    <a:pt x="558576" y="228212"/>
                    <a:pt x="558576" y="228212"/>
                  </a:cubicBezTo>
                  <a:lnTo>
                    <a:pt x="554054" y="222519"/>
                  </a:lnTo>
                  <a:lnTo>
                    <a:pt x="547989" y="224982"/>
                  </a:lnTo>
                  <a:lnTo>
                    <a:pt x="536381" y="217761"/>
                  </a:lnTo>
                  <a:cubicBezTo>
                    <a:pt x="536381" y="217761"/>
                    <a:pt x="539857" y="210790"/>
                    <a:pt x="539336" y="205873"/>
                  </a:cubicBezTo>
                  <a:cubicBezTo>
                    <a:pt x="543607" y="204967"/>
                    <a:pt x="546177" y="204451"/>
                    <a:pt x="546177" y="204451"/>
                  </a:cubicBezTo>
                  <a:lnTo>
                    <a:pt x="551099" y="200204"/>
                  </a:lnTo>
                  <a:lnTo>
                    <a:pt x="551605" y="194116"/>
                  </a:lnTo>
                  <a:lnTo>
                    <a:pt x="555741" y="188451"/>
                  </a:lnTo>
                  <a:cubicBezTo>
                    <a:pt x="555741" y="188451"/>
                    <a:pt x="570844" y="187265"/>
                    <a:pt x="574865" y="183524"/>
                  </a:cubicBezTo>
                  <a:cubicBezTo>
                    <a:pt x="570979" y="183659"/>
                    <a:pt x="568540" y="182107"/>
                    <a:pt x="568540" y="182107"/>
                  </a:cubicBezTo>
                  <a:lnTo>
                    <a:pt x="562716" y="178101"/>
                  </a:lnTo>
                  <a:lnTo>
                    <a:pt x="556522" y="178766"/>
                  </a:lnTo>
                  <a:cubicBezTo>
                    <a:pt x="556522" y="178766"/>
                    <a:pt x="549286" y="187926"/>
                    <a:pt x="544890" y="187926"/>
                  </a:cubicBezTo>
                  <a:cubicBezTo>
                    <a:pt x="540493" y="187926"/>
                    <a:pt x="531854" y="186508"/>
                    <a:pt x="531719" y="187926"/>
                  </a:cubicBezTo>
                  <a:cubicBezTo>
                    <a:pt x="531594" y="189348"/>
                    <a:pt x="530046" y="194009"/>
                    <a:pt x="530046" y="194009"/>
                  </a:cubicBezTo>
                  <a:lnTo>
                    <a:pt x="524488" y="199804"/>
                  </a:lnTo>
                  <a:cubicBezTo>
                    <a:pt x="524488" y="199804"/>
                    <a:pt x="521663" y="190775"/>
                    <a:pt x="518163" y="187545"/>
                  </a:cubicBezTo>
                  <a:cubicBezTo>
                    <a:pt x="514606" y="184301"/>
                    <a:pt x="512162" y="171632"/>
                    <a:pt x="518766" y="16570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06" name="Freihandform: Form 605">
              <a:extLst>
                <a:ext uri="{FF2B5EF4-FFF2-40B4-BE49-F238E27FC236}">
                  <a16:creationId xmlns:a16="http://schemas.microsoft.com/office/drawing/2014/main" id="{82813BBC-E654-FE0A-6D3E-939E4BB9B007}"/>
                </a:ext>
              </a:extLst>
            </p:cNvPr>
            <p:cNvSpPr/>
            <p:nvPr/>
          </p:nvSpPr>
          <p:spPr>
            <a:xfrm>
              <a:off x="6432548" y="4870497"/>
              <a:ext cx="571435" cy="635024"/>
            </a:xfrm>
            <a:custGeom>
              <a:avLst/>
              <a:gdLst>
                <a:gd name="connsiteX0" fmla="*/ 109618 w 448190"/>
                <a:gd name="connsiteY0" fmla="*/ 1990 h 497130"/>
                <a:gd name="connsiteX1" fmla="*/ 102127 w 448190"/>
                <a:gd name="connsiteY1" fmla="*/ 833 h 497130"/>
                <a:gd name="connsiteX2" fmla="*/ 86647 w 448190"/>
                <a:gd name="connsiteY2" fmla="*/ 5346 h 497130"/>
                <a:gd name="connsiteX3" fmla="*/ 74509 w 448190"/>
                <a:gd name="connsiteY3" fmla="*/ 3533 h 497130"/>
                <a:gd name="connsiteX4" fmla="*/ 61724 w 448190"/>
                <a:gd name="connsiteY4" fmla="*/ 5210 h 497130"/>
                <a:gd name="connsiteX5" fmla="*/ 54098 w 448190"/>
                <a:gd name="connsiteY5" fmla="*/ 17609 h 497130"/>
                <a:gd name="connsiteX6" fmla="*/ 47894 w 448190"/>
                <a:gd name="connsiteY6" fmla="*/ 24185 h 497130"/>
                <a:gd name="connsiteX7" fmla="*/ 41824 w 448190"/>
                <a:gd name="connsiteY7" fmla="*/ 27043 h 497130"/>
                <a:gd name="connsiteX8" fmla="*/ 39260 w 448190"/>
                <a:gd name="connsiteY8" fmla="*/ 33108 h 497130"/>
                <a:gd name="connsiteX9" fmla="*/ 26085 w 448190"/>
                <a:gd name="connsiteY9" fmla="*/ 34790 h 497130"/>
                <a:gd name="connsiteX10" fmla="*/ 20266 w 448190"/>
                <a:gd name="connsiteY10" fmla="*/ 30934 h 497130"/>
                <a:gd name="connsiteX11" fmla="*/ 17952 w 448190"/>
                <a:gd name="connsiteY11" fmla="*/ 36714 h 497130"/>
                <a:gd name="connsiteX12" fmla="*/ 3148 w 448190"/>
                <a:gd name="connsiteY12" fmla="*/ 46114 h 497130"/>
                <a:gd name="connsiteX13" fmla="*/ 2309 w 448190"/>
                <a:gd name="connsiteY13" fmla="*/ 51335 h 497130"/>
                <a:gd name="connsiteX14" fmla="*/ 5399 w 448190"/>
                <a:gd name="connsiteY14" fmla="*/ 54406 h 497130"/>
                <a:gd name="connsiteX15" fmla="*/ 0 w 448190"/>
                <a:gd name="connsiteY15" fmla="*/ 56744 h 497130"/>
                <a:gd name="connsiteX16" fmla="*/ 3731 w 448190"/>
                <a:gd name="connsiteY16" fmla="*/ 59737 h 497130"/>
                <a:gd name="connsiteX17" fmla="*/ 7742 w 448190"/>
                <a:gd name="connsiteY17" fmla="*/ 62972 h 497130"/>
                <a:gd name="connsiteX18" fmla="*/ 11488 w 448190"/>
                <a:gd name="connsiteY18" fmla="*/ 67224 h 497130"/>
                <a:gd name="connsiteX19" fmla="*/ 9420 w 448190"/>
                <a:gd name="connsiteY19" fmla="*/ 72888 h 497130"/>
                <a:gd name="connsiteX20" fmla="*/ 8918 w 448190"/>
                <a:gd name="connsiteY20" fmla="*/ 75361 h 497130"/>
                <a:gd name="connsiteX21" fmla="*/ 13411 w 448190"/>
                <a:gd name="connsiteY21" fmla="*/ 81431 h 497130"/>
                <a:gd name="connsiteX22" fmla="*/ 9559 w 448190"/>
                <a:gd name="connsiteY22" fmla="*/ 91111 h 497130"/>
                <a:gd name="connsiteX23" fmla="*/ 13035 w 448190"/>
                <a:gd name="connsiteY23" fmla="*/ 96250 h 497130"/>
                <a:gd name="connsiteX24" fmla="*/ 18352 w 448190"/>
                <a:gd name="connsiteY24" fmla="*/ 94721 h 497130"/>
                <a:gd name="connsiteX25" fmla="*/ 27618 w 448190"/>
                <a:gd name="connsiteY25" fmla="*/ 97059 h 497130"/>
                <a:gd name="connsiteX26" fmla="*/ 21288 w 448190"/>
                <a:gd name="connsiteY26" fmla="*/ 109699 h 497130"/>
                <a:gd name="connsiteX27" fmla="*/ 23115 w 448190"/>
                <a:gd name="connsiteY27" fmla="*/ 119640 h 497130"/>
                <a:gd name="connsiteX28" fmla="*/ 30602 w 448190"/>
                <a:gd name="connsiteY28" fmla="*/ 124836 h 497130"/>
                <a:gd name="connsiteX29" fmla="*/ 43005 w 448190"/>
                <a:gd name="connsiteY29" fmla="*/ 130380 h 497130"/>
                <a:gd name="connsiteX30" fmla="*/ 48554 w 448190"/>
                <a:gd name="connsiteY30" fmla="*/ 131026 h 497130"/>
                <a:gd name="connsiteX31" fmla="*/ 59507 w 448190"/>
                <a:gd name="connsiteY31" fmla="*/ 132188 h 497130"/>
                <a:gd name="connsiteX32" fmla="*/ 64829 w 448190"/>
                <a:gd name="connsiteY32" fmla="*/ 135914 h 497130"/>
                <a:gd name="connsiteX33" fmla="*/ 60302 w 448190"/>
                <a:gd name="connsiteY33" fmla="*/ 141593 h 497130"/>
                <a:gd name="connsiteX34" fmla="*/ 56672 w 448190"/>
                <a:gd name="connsiteY34" fmla="*/ 140827 h 497130"/>
                <a:gd name="connsiteX35" fmla="*/ 42215 w 448190"/>
                <a:gd name="connsiteY35" fmla="*/ 142900 h 497130"/>
                <a:gd name="connsiteX36" fmla="*/ 39771 w 448190"/>
                <a:gd name="connsiteY36" fmla="*/ 146525 h 497130"/>
                <a:gd name="connsiteX37" fmla="*/ 32921 w 448190"/>
                <a:gd name="connsiteY37" fmla="*/ 147532 h 497130"/>
                <a:gd name="connsiteX38" fmla="*/ 38860 w 448190"/>
                <a:gd name="connsiteY38" fmla="*/ 167051 h 497130"/>
                <a:gd name="connsiteX39" fmla="*/ 37953 w 448190"/>
                <a:gd name="connsiteY39" fmla="*/ 176350 h 497130"/>
                <a:gd name="connsiteX40" fmla="*/ 33056 w 448190"/>
                <a:gd name="connsiteY40" fmla="*/ 179580 h 497130"/>
                <a:gd name="connsiteX41" fmla="*/ 34256 w 448190"/>
                <a:gd name="connsiteY41" fmla="*/ 186479 h 497130"/>
                <a:gd name="connsiteX42" fmla="*/ 46872 w 448190"/>
                <a:gd name="connsiteY42" fmla="*/ 177001 h 497130"/>
                <a:gd name="connsiteX43" fmla="*/ 63517 w 448190"/>
                <a:gd name="connsiteY43" fmla="*/ 177907 h 497130"/>
                <a:gd name="connsiteX44" fmla="*/ 65856 w 448190"/>
                <a:gd name="connsiteY44" fmla="*/ 186787 h 497130"/>
                <a:gd name="connsiteX45" fmla="*/ 64057 w 448190"/>
                <a:gd name="connsiteY45" fmla="*/ 201380 h 497130"/>
                <a:gd name="connsiteX46" fmla="*/ 59410 w 448190"/>
                <a:gd name="connsiteY46" fmla="*/ 209797 h 497130"/>
                <a:gd name="connsiteX47" fmla="*/ 58355 w 448190"/>
                <a:gd name="connsiteY47" fmla="*/ 215856 h 497130"/>
                <a:gd name="connsiteX48" fmla="*/ 53958 w 448190"/>
                <a:gd name="connsiteY48" fmla="*/ 222186 h 497130"/>
                <a:gd name="connsiteX49" fmla="*/ 53847 w 448190"/>
                <a:gd name="connsiteY49" fmla="*/ 227218 h 497130"/>
                <a:gd name="connsiteX50" fmla="*/ 50102 w 448190"/>
                <a:gd name="connsiteY50" fmla="*/ 229518 h 497130"/>
                <a:gd name="connsiteX51" fmla="*/ 50463 w 448190"/>
                <a:gd name="connsiteY51" fmla="*/ 236127 h 497130"/>
                <a:gd name="connsiteX52" fmla="*/ 52541 w 448190"/>
                <a:gd name="connsiteY52" fmla="*/ 239000 h 497130"/>
                <a:gd name="connsiteX53" fmla="*/ 50617 w 448190"/>
                <a:gd name="connsiteY53" fmla="*/ 250628 h 497130"/>
                <a:gd name="connsiteX54" fmla="*/ 56412 w 448190"/>
                <a:gd name="connsiteY54" fmla="*/ 261557 h 497130"/>
                <a:gd name="connsiteX55" fmla="*/ 64554 w 448190"/>
                <a:gd name="connsiteY55" fmla="*/ 262988 h 497130"/>
                <a:gd name="connsiteX56" fmla="*/ 67659 w 448190"/>
                <a:gd name="connsiteY56" fmla="*/ 261070 h 497130"/>
                <a:gd name="connsiteX57" fmla="*/ 73988 w 448190"/>
                <a:gd name="connsiteY57" fmla="*/ 264936 h 497130"/>
                <a:gd name="connsiteX58" fmla="*/ 77208 w 448190"/>
                <a:gd name="connsiteY58" fmla="*/ 272577 h 497130"/>
                <a:gd name="connsiteX59" fmla="*/ 83928 w 448190"/>
                <a:gd name="connsiteY59" fmla="*/ 275136 h 497130"/>
                <a:gd name="connsiteX60" fmla="*/ 89487 w 448190"/>
                <a:gd name="connsiteY60" fmla="*/ 273999 h 497130"/>
                <a:gd name="connsiteX61" fmla="*/ 92432 w 448190"/>
                <a:gd name="connsiteY61" fmla="*/ 282618 h 497130"/>
                <a:gd name="connsiteX62" fmla="*/ 104711 w 448190"/>
                <a:gd name="connsiteY62" fmla="*/ 289767 h 497130"/>
                <a:gd name="connsiteX63" fmla="*/ 98140 w 448190"/>
                <a:gd name="connsiteY63" fmla="*/ 299163 h 497130"/>
                <a:gd name="connsiteX64" fmla="*/ 77869 w 448190"/>
                <a:gd name="connsiteY64" fmla="*/ 298898 h 497130"/>
                <a:gd name="connsiteX65" fmla="*/ 70363 w 448190"/>
                <a:gd name="connsiteY65" fmla="*/ 297731 h 497130"/>
                <a:gd name="connsiteX66" fmla="*/ 75136 w 448190"/>
                <a:gd name="connsiteY66" fmla="*/ 306249 h 497130"/>
                <a:gd name="connsiteX67" fmla="*/ 83803 w 448190"/>
                <a:gd name="connsiteY67" fmla="*/ 314565 h 497130"/>
                <a:gd name="connsiteX68" fmla="*/ 95561 w 448190"/>
                <a:gd name="connsiteY68" fmla="*/ 326279 h 497130"/>
                <a:gd name="connsiteX69" fmla="*/ 102001 w 448190"/>
                <a:gd name="connsiteY69" fmla="*/ 336133 h 497130"/>
                <a:gd name="connsiteX70" fmla="*/ 101736 w 448190"/>
                <a:gd name="connsiteY70" fmla="*/ 342843 h 497130"/>
                <a:gd name="connsiteX71" fmla="*/ 100970 w 448190"/>
                <a:gd name="connsiteY71" fmla="*/ 350696 h 497130"/>
                <a:gd name="connsiteX72" fmla="*/ 94139 w 448190"/>
                <a:gd name="connsiteY72" fmla="*/ 355623 h 497130"/>
                <a:gd name="connsiteX73" fmla="*/ 88576 w 448190"/>
                <a:gd name="connsiteY73" fmla="*/ 348508 h 497130"/>
                <a:gd name="connsiteX74" fmla="*/ 78881 w 448190"/>
                <a:gd name="connsiteY74" fmla="*/ 353541 h 497130"/>
                <a:gd name="connsiteX75" fmla="*/ 75261 w 448190"/>
                <a:gd name="connsiteY75" fmla="*/ 360550 h 497130"/>
                <a:gd name="connsiteX76" fmla="*/ 78385 w 448190"/>
                <a:gd name="connsiteY76" fmla="*/ 360651 h 497130"/>
                <a:gd name="connsiteX77" fmla="*/ 75261 w 448190"/>
                <a:gd name="connsiteY77" fmla="*/ 360550 h 497130"/>
                <a:gd name="connsiteX78" fmla="*/ 73983 w 448190"/>
                <a:gd name="connsiteY78" fmla="*/ 362955 h 497130"/>
                <a:gd name="connsiteX79" fmla="*/ 80057 w 448190"/>
                <a:gd name="connsiteY79" fmla="*/ 374597 h 497130"/>
                <a:gd name="connsiteX80" fmla="*/ 87168 w 448190"/>
                <a:gd name="connsiteY80" fmla="*/ 377282 h 497130"/>
                <a:gd name="connsiteX81" fmla="*/ 92432 w 448190"/>
                <a:gd name="connsiteY81" fmla="*/ 378078 h 497130"/>
                <a:gd name="connsiteX82" fmla="*/ 97981 w 448190"/>
                <a:gd name="connsiteY82" fmla="*/ 382349 h 497130"/>
                <a:gd name="connsiteX83" fmla="*/ 103158 w 448190"/>
                <a:gd name="connsiteY83" fmla="*/ 386466 h 497130"/>
                <a:gd name="connsiteX84" fmla="*/ 107574 w 448190"/>
                <a:gd name="connsiteY84" fmla="*/ 392044 h 497130"/>
                <a:gd name="connsiteX85" fmla="*/ 113368 w 448190"/>
                <a:gd name="connsiteY85" fmla="*/ 397317 h 497130"/>
                <a:gd name="connsiteX86" fmla="*/ 119057 w 448190"/>
                <a:gd name="connsiteY86" fmla="*/ 402225 h 497130"/>
                <a:gd name="connsiteX87" fmla="*/ 124591 w 448190"/>
                <a:gd name="connsiteY87" fmla="*/ 404553 h 497130"/>
                <a:gd name="connsiteX88" fmla="*/ 130154 w 448190"/>
                <a:gd name="connsiteY88" fmla="*/ 403772 h 497130"/>
                <a:gd name="connsiteX89" fmla="*/ 134271 w 448190"/>
                <a:gd name="connsiteY89" fmla="*/ 407127 h 497130"/>
                <a:gd name="connsiteX90" fmla="*/ 137506 w 448190"/>
                <a:gd name="connsiteY90" fmla="*/ 409610 h 497130"/>
                <a:gd name="connsiteX91" fmla="*/ 139863 w 448190"/>
                <a:gd name="connsiteY91" fmla="*/ 411799 h 497130"/>
                <a:gd name="connsiteX92" fmla="*/ 143710 w 448190"/>
                <a:gd name="connsiteY92" fmla="*/ 410492 h 497130"/>
                <a:gd name="connsiteX93" fmla="*/ 147600 w 448190"/>
                <a:gd name="connsiteY93" fmla="*/ 410362 h 497130"/>
                <a:gd name="connsiteX94" fmla="*/ 152247 w 448190"/>
                <a:gd name="connsiteY94" fmla="*/ 406766 h 497130"/>
                <a:gd name="connsiteX95" fmla="*/ 156495 w 448190"/>
                <a:gd name="connsiteY95" fmla="*/ 409075 h 497130"/>
                <a:gd name="connsiteX96" fmla="*/ 159199 w 448190"/>
                <a:gd name="connsiteY96" fmla="*/ 411750 h 497130"/>
                <a:gd name="connsiteX97" fmla="*/ 169433 w 448190"/>
                <a:gd name="connsiteY97" fmla="*/ 417974 h 497130"/>
                <a:gd name="connsiteX98" fmla="*/ 179258 w 448190"/>
                <a:gd name="connsiteY98" fmla="*/ 422891 h 497130"/>
                <a:gd name="connsiteX99" fmla="*/ 186200 w 448190"/>
                <a:gd name="connsiteY99" fmla="*/ 423537 h 497130"/>
                <a:gd name="connsiteX100" fmla="*/ 190982 w 448190"/>
                <a:gd name="connsiteY100" fmla="*/ 425036 h 497130"/>
                <a:gd name="connsiteX101" fmla="*/ 196024 w 448190"/>
                <a:gd name="connsiteY101" fmla="*/ 427297 h 497130"/>
                <a:gd name="connsiteX102" fmla="*/ 200999 w 448190"/>
                <a:gd name="connsiteY102" fmla="*/ 437912 h 497130"/>
                <a:gd name="connsiteX103" fmla="*/ 212304 w 448190"/>
                <a:gd name="connsiteY103" fmla="*/ 432104 h 497130"/>
                <a:gd name="connsiteX104" fmla="*/ 211340 w 448190"/>
                <a:gd name="connsiteY104" fmla="*/ 426492 h 497130"/>
                <a:gd name="connsiteX105" fmla="*/ 208052 w 448190"/>
                <a:gd name="connsiteY105" fmla="*/ 420466 h 497130"/>
                <a:gd name="connsiteX106" fmla="*/ 212429 w 448190"/>
                <a:gd name="connsiteY106" fmla="*/ 417222 h 497130"/>
                <a:gd name="connsiteX107" fmla="*/ 215404 w 448190"/>
                <a:gd name="connsiteY107" fmla="*/ 414662 h 497130"/>
                <a:gd name="connsiteX108" fmla="*/ 218677 w 448190"/>
                <a:gd name="connsiteY108" fmla="*/ 411755 h 497130"/>
                <a:gd name="connsiteX109" fmla="*/ 223676 w 448190"/>
                <a:gd name="connsiteY109" fmla="*/ 406882 h 497130"/>
                <a:gd name="connsiteX110" fmla="*/ 224949 w 448190"/>
                <a:gd name="connsiteY110" fmla="*/ 398865 h 497130"/>
                <a:gd name="connsiteX111" fmla="*/ 223160 w 448190"/>
                <a:gd name="connsiteY111" fmla="*/ 395900 h 497130"/>
                <a:gd name="connsiteX112" fmla="*/ 218740 w 448190"/>
                <a:gd name="connsiteY112" fmla="*/ 392053 h 497130"/>
                <a:gd name="connsiteX113" fmla="*/ 218475 w 448190"/>
                <a:gd name="connsiteY113" fmla="*/ 383882 h 497130"/>
                <a:gd name="connsiteX114" fmla="*/ 225204 w 448190"/>
                <a:gd name="connsiteY114" fmla="*/ 380937 h 497130"/>
                <a:gd name="connsiteX115" fmla="*/ 237082 w 448190"/>
                <a:gd name="connsiteY115" fmla="*/ 374351 h 497130"/>
                <a:gd name="connsiteX116" fmla="*/ 240057 w 448190"/>
                <a:gd name="connsiteY116" fmla="*/ 379230 h 497130"/>
                <a:gd name="connsiteX117" fmla="*/ 239416 w 448190"/>
                <a:gd name="connsiteY117" fmla="*/ 381717 h 497130"/>
                <a:gd name="connsiteX118" fmla="*/ 241725 w 448190"/>
                <a:gd name="connsiteY118" fmla="*/ 386480 h 497130"/>
                <a:gd name="connsiteX119" fmla="*/ 247148 w 448190"/>
                <a:gd name="connsiteY119" fmla="*/ 388929 h 497130"/>
                <a:gd name="connsiteX120" fmla="*/ 252957 w 448190"/>
                <a:gd name="connsiteY120" fmla="*/ 390004 h 497130"/>
                <a:gd name="connsiteX121" fmla="*/ 258506 w 448190"/>
                <a:gd name="connsiteY121" fmla="*/ 392564 h 497130"/>
                <a:gd name="connsiteX122" fmla="*/ 263408 w 448190"/>
                <a:gd name="connsiteY122" fmla="*/ 392169 h 497130"/>
                <a:gd name="connsiteX123" fmla="*/ 270774 w 448190"/>
                <a:gd name="connsiteY123" fmla="*/ 391152 h 497130"/>
                <a:gd name="connsiteX124" fmla="*/ 282783 w 448190"/>
                <a:gd name="connsiteY124" fmla="*/ 403960 h 497130"/>
                <a:gd name="connsiteX125" fmla="*/ 291455 w 448190"/>
                <a:gd name="connsiteY125" fmla="*/ 411813 h 497130"/>
                <a:gd name="connsiteX126" fmla="*/ 301265 w 448190"/>
                <a:gd name="connsiteY126" fmla="*/ 414503 h 497130"/>
                <a:gd name="connsiteX127" fmla="*/ 302051 w 448190"/>
                <a:gd name="connsiteY127" fmla="*/ 419420 h 497130"/>
                <a:gd name="connsiteX128" fmla="*/ 304495 w 448190"/>
                <a:gd name="connsiteY128" fmla="*/ 427186 h 497130"/>
                <a:gd name="connsiteX129" fmla="*/ 307079 w 448190"/>
                <a:gd name="connsiteY129" fmla="*/ 431038 h 497130"/>
                <a:gd name="connsiteX130" fmla="*/ 315081 w 448190"/>
                <a:gd name="connsiteY130" fmla="*/ 433767 h 497130"/>
                <a:gd name="connsiteX131" fmla="*/ 319873 w 448190"/>
                <a:gd name="connsiteY131" fmla="*/ 431433 h 497130"/>
                <a:gd name="connsiteX132" fmla="*/ 323209 w 448190"/>
                <a:gd name="connsiteY132" fmla="*/ 435970 h 497130"/>
                <a:gd name="connsiteX133" fmla="*/ 325431 w 448190"/>
                <a:gd name="connsiteY133" fmla="*/ 435170 h 497130"/>
                <a:gd name="connsiteX134" fmla="*/ 328623 w 448190"/>
                <a:gd name="connsiteY134" fmla="*/ 439065 h 497130"/>
                <a:gd name="connsiteX135" fmla="*/ 337512 w 448190"/>
                <a:gd name="connsiteY135" fmla="*/ 434008 h 497130"/>
                <a:gd name="connsiteX136" fmla="*/ 341311 w 448190"/>
                <a:gd name="connsiteY136" fmla="*/ 439715 h 497130"/>
                <a:gd name="connsiteX137" fmla="*/ 338949 w 448190"/>
                <a:gd name="connsiteY137" fmla="*/ 442950 h 497130"/>
                <a:gd name="connsiteX138" fmla="*/ 339619 w 448190"/>
                <a:gd name="connsiteY138" fmla="*/ 445394 h 497130"/>
                <a:gd name="connsiteX139" fmla="*/ 339658 w 448190"/>
                <a:gd name="connsiteY139" fmla="*/ 449555 h 497130"/>
                <a:gd name="connsiteX140" fmla="*/ 337816 w 448190"/>
                <a:gd name="connsiteY140" fmla="*/ 454684 h 497130"/>
                <a:gd name="connsiteX141" fmla="*/ 336775 w 448190"/>
                <a:gd name="connsiteY141" fmla="*/ 458280 h 497130"/>
                <a:gd name="connsiteX142" fmla="*/ 331375 w 448190"/>
                <a:gd name="connsiteY142" fmla="*/ 467439 h 497130"/>
                <a:gd name="connsiteX143" fmla="*/ 330971 w 448190"/>
                <a:gd name="connsiteY143" fmla="*/ 478826 h 497130"/>
                <a:gd name="connsiteX144" fmla="*/ 326714 w 448190"/>
                <a:gd name="connsiteY144" fmla="*/ 479959 h 497130"/>
                <a:gd name="connsiteX145" fmla="*/ 323364 w 448190"/>
                <a:gd name="connsiteY145" fmla="*/ 485551 h 497130"/>
                <a:gd name="connsiteX146" fmla="*/ 327384 w 448190"/>
                <a:gd name="connsiteY146" fmla="*/ 489272 h 497130"/>
                <a:gd name="connsiteX147" fmla="*/ 331014 w 448190"/>
                <a:gd name="connsiteY147" fmla="*/ 497130 h 497130"/>
                <a:gd name="connsiteX148" fmla="*/ 340279 w 448190"/>
                <a:gd name="connsiteY148" fmla="*/ 495616 h 497130"/>
                <a:gd name="connsiteX149" fmla="*/ 343259 w 448190"/>
                <a:gd name="connsiteY149" fmla="*/ 496402 h 497130"/>
                <a:gd name="connsiteX150" fmla="*/ 355392 w 448190"/>
                <a:gd name="connsiteY150" fmla="*/ 484876 h 497130"/>
                <a:gd name="connsiteX151" fmla="*/ 360150 w 448190"/>
                <a:gd name="connsiteY151" fmla="*/ 484355 h 497130"/>
                <a:gd name="connsiteX152" fmla="*/ 364171 w 448190"/>
                <a:gd name="connsiteY152" fmla="*/ 478951 h 497130"/>
                <a:gd name="connsiteX153" fmla="*/ 378879 w 448190"/>
                <a:gd name="connsiteY153" fmla="*/ 481289 h 497130"/>
                <a:gd name="connsiteX154" fmla="*/ 384302 w 448190"/>
                <a:gd name="connsiteY154" fmla="*/ 478180 h 497130"/>
                <a:gd name="connsiteX155" fmla="*/ 398166 w 448190"/>
                <a:gd name="connsiteY155" fmla="*/ 469416 h 497130"/>
                <a:gd name="connsiteX156" fmla="*/ 402679 w 448190"/>
                <a:gd name="connsiteY156" fmla="*/ 473518 h 497130"/>
                <a:gd name="connsiteX157" fmla="*/ 406882 w 448190"/>
                <a:gd name="connsiteY157" fmla="*/ 474280 h 497130"/>
                <a:gd name="connsiteX158" fmla="*/ 404978 w 448190"/>
                <a:gd name="connsiteY158" fmla="*/ 472742 h 497130"/>
                <a:gd name="connsiteX159" fmla="*/ 406882 w 448190"/>
                <a:gd name="connsiteY159" fmla="*/ 474280 h 497130"/>
                <a:gd name="connsiteX160" fmla="*/ 411071 w 448190"/>
                <a:gd name="connsiteY160" fmla="*/ 473287 h 497130"/>
                <a:gd name="connsiteX161" fmla="*/ 414783 w 448190"/>
                <a:gd name="connsiteY161" fmla="*/ 468220 h 497130"/>
                <a:gd name="connsiteX162" fmla="*/ 418905 w 448190"/>
                <a:gd name="connsiteY162" fmla="*/ 460883 h 497130"/>
                <a:gd name="connsiteX163" fmla="*/ 421523 w 448190"/>
                <a:gd name="connsiteY163" fmla="*/ 449241 h 497130"/>
                <a:gd name="connsiteX164" fmla="*/ 411071 w 448190"/>
                <a:gd name="connsiteY164" fmla="*/ 440617 h 497130"/>
                <a:gd name="connsiteX165" fmla="*/ 409365 w 448190"/>
                <a:gd name="connsiteY165" fmla="*/ 427418 h 497130"/>
                <a:gd name="connsiteX166" fmla="*/ 408208 w 448190"/>
                <a:gd name="connsiteY166" fmla="*/ 413462 h 497130"/>
                <a:gd name="connsiteX167" fmla="*/ 402683 w 448190"/>
                <a:gd name="connsiteY167" fmla="*/ 407031 h 497130"/>
                <a:gd name="connsiteX168" fmla="*/ 412739 w 448190"/>
                <a:gd name="connsiteY168" fmla="*/ 396290 h 497130"/>
                <a:gd name="connsiteX169" fmla="*/ 423576 w 448190"/>
                <a:gd name="connsiteY169" fmla="*/ 396011 h 497130"/>
                <a:gd name="connsiteX170" fmla="*/ 430658 w 448190"/>
                <a:gd name="connsiteY170" fmla="*/ 392309 h 497130"/>
                <a:gd name="connsiteX171" fmla="*/ 431955 w 448190"/>
                <a:gd name="connsiteY171" fmla="*/ 385979 h 497130"/>
                <a:gd name="connsiteX172" fmla="*/ 432364 w 448190"/>
                <a:gd name="connsiteY172" fmla="*/ 379510 h 497130"/>
                <a:gd name="connsiteX173" fmla="*/ 437542 w 448190"/>
                <a:gd name="connsiteY173" fmla="*/ 376150 h 497130"/>
                <a:gd name="connsiteX174" fmla="*/ 443336 w 448190"/>
                <a:gd name="connsiteY174" fmla="*/ 363514 h 497130"/>
                <a:gd name="connsiteX175" fmla="*/ 448128 w 448190"/>
                <a:gd name="connsiteY175" fmla="*/ 354833 h 497130"/>
                <a:gd name="connsiteX176" fmla="*/ 447733 w 448190"/>
                <a:gd name="connsiteY176" fmla="*/ 347081 h 497130"/>
                <a:gd name="connsiteX177" fmla="*/ 426941 w 448190"/>
                <a:gd name="connsiteY177" fmla="*/ 332628 h 497130"/>
                <a:gd name="connsiteX178" fmla="*/ 412980 w 448190"/>
                <a:gd name="connsiteY178" fmla="*/ 323960 h 497130"/>
                <a:gd name="connsiteX179" fmla="*/ 387802 w 448190"/>
                <a:gd name="connsiteY179" fmla="*/ 295967 h 497130"/>
                <a:gd name="connsiteX180" fmla="*/ 376695 w 448190"/>
                <a:gd name="connsiteY180" fmla="*/ 284103 h 497130"/>
                <a:gd name="connsiteX181" fmla="*/ 372024 w 448190"/>
                <a:gd name="connsiteY181" fmla="*/ 274004 h 497130"/>
                <a:gd name="connsiteX182" fmla="*/ 373345 w 448190"/>
                <a:gd name="connsiteY182" fmla="*/ 270099 h 497130"/>
                <a:gd name="connsiteX183" fmla="*/ 372279 w 448190"/>
                <a:gd name="connsiteY183" fmla="*/ 250864 h 497130"/>
                <a:gd name="connsiteX184" fmla="*/ 384432 w 448190"/>
                <a:gd name="connsiteY184" fmla="*/ 242476 h 497130"/>
                <a:gd name="connsiteX185" fmla="*/ 389094 w 448190"/>
                <a:gd name="connsiteY185" fmla="*/ 233052 h 497130"/>
                <a:gd name="connsiteX186" fmla="*/ 389875 w 448190"/>
                <a:gd name="connsiteY186" fmla="*/ 219105 h 497130"/>
                <a:gd name="connsiteX187" fmla="*/ 391740 w 448190"/>
                <a:gd name="connsiteY187" fmla="*/ 217370 h 497130"/>
                <a:gd name="connsiteX188" fmla="*/ 389465 w 448190"/>
                <a:gd name="connsiteY188" fmla="*/ 208914 h 497130"/>
                <a:gd name="connsiteX189" fmla="*/ 381718 w 448190"/>
                <a:gd name="connsiteY189" fmla="*/ 207724 h 497130"/>
                <a:gd name="connsiteX190" fmla="*/ 375649 w 448190"/>
                <a:gd name="connsiteY190" fmla="*/ 204253 h 497130"/>
                <a:gd name="connsiteX191" fmla="*/ 371532 w 448190"/>
                <a:gd name="connsiteY191" fmla="*/ 197933 h 497130"/>
                <a:gd name="connsiteX192" fmla="*/ 370751 w 448190"/>
                <a:gd name="connsiteY192" fmla="*/ 193527 h 497130"/>
                <a:gd name="connsiteX193" fmla="*/ 367897 w 448190"/>
                <a:gd name="connsiteY193" fmla="*/ 190413 h 497130"/>
                <a:gd name="connsiteX194" fmla="*/ 367516 w 448190"/>
                <a:gd name="connsiteY194" fmla="*/ 185664 h 497130"/>
                <a:gd name="connsiteX195" fmla="*/ 372940 w 448190"/>
                <a:gd name="connsiteY195" fmla="*/ 183075 h 497130"/>
                <a:gd name="connsiteX196" fmla="*/ 374386 w 448190"/>
                <a:gd name="connsiteY196" fmla="*/ 176890 h 497130"/>
                <a:gd name="connsiteX197" fmla="*/ 380171 w 448190"/>
                <a:gd name="connsiteY197" fmla="*/ 174678 h 497130"/>
                <a:gd name="connsiteX198" fmla="*/ 385859 w 448190"/>
                <a:gd name="connsiteY198" fmla="*/ 177633 h 497130"/>
                <a:gd name="connsiteX199" fmla="*/ 392584 w 448190"/>
                <a:gd name="connsiteY199" fmla="*/ 171699 h 497130"/>
                <a:gd name="connsiteX200" fmla="*/ 385343 w 448190"/>
                <a:gd name="connsiteY200" fmla="*/ 166680 h 497130"/>
                <a:gd name="connsiteX201" fmla="*/ 378879 w 448190"/>
                <a:gd name="connsiteY201" fmla="*/ 165282 h 497130"/>
                <a:gd name="connsiteX202" fmla="*/ 364441 w 448190"/>
                <a:gd name="connsiteY202" fmla="*/ 157386 h 497130"/>
                <a:gd name="connsiteX203" fmla="*/ 357195 w 448190"/>
                <a:gd name="connsiteY203" fmla="*/ 157251 h 497130"/>
                <a:gd name="connsiteX204" fmla="*/ 346855 w 448190"/>
                <a:gd name="connsiteY204" fmla="*/ 167317 h 497130"/>
                <a:gd name="connsiteX205" fmla="*/ 344406 w 448190"/>
                <a:gd name="connsiteY205" fmla="*/ 174808 h 497130"/>
                <a:gd name="connsiteX206" fmla="*/ 341311 w 448190"/>
                <a:gd name="connsiteY206" fmla="*/ 180651 h 497130"/>
                <a:gd name="connsiteX207" fmla="*/ 339744 w 448190"/>
                <a:gd name="connsiteY207" fmla="*/ 187081 h 497130"/>
                <a:gd name="connsiteX208" fmla="*/ 335844 w 448190"/>
                <a:gd name="connsiteY208" fmla="*/ 191603 h 497130"/>
                <a:gd name="connsiteX209" fmla="*/ 320630 w 448190"/>
                <a:gd name="connsiteY209" fmla="*/ 176611 h 497130"/>
                <a:gd name="connsiteX210" fmla="*/ 303579 w 448190"/>
                <a:gd name="connsiteY210" fmla="*/ 173916 h 497130"/>
                <a:gd name="connsiteX211" fmla="*/ 281630 w 448190"/>
                <a:gd name="connsiteY211" fmla="*/ 175613 h 497130"/>
                <a:gd name="connsiteX212" fmla="*/ 280835 w 448190"/>
                <a:gd name="connsiteY212" fmla="*/ 168493 h 497130"/>
                <a:gd name="connsiteX213" fmla="*/ 276733 w 448190"/>
                <a:gd name="connsiteY213" fmla="*/ 164593 h 497130"/>
                <a:gd name="connsiteX214" fmla="*/ 259171 w 448190"/>
                <a:gd name="connsiteY214" fmla="*/ 164477 h 497130"/>
                <a:gd name="connsiteX215" fmla="*/ 254765 w 448190"/>
                <a:gd name="connsiteY215" fmla="*/ 158692 h 497130"/>
                <a:gd name="connsiteX216" fmla="*/ 254765 w 448190"/>
                <a:gd name="connsiteY216" fmla="*/ 152748 h 497130"/>
                <a:gd name="connsiteX217" fmla="*/ 265211 w 448190"/>
                <a:gd name="connsiteY217" fmla="*/ 150131 h 497130"/>
                <a:gd name="connsiteX218" fmla="*/ 270254 w 448190"/>
                <a:gd name="connsiteY218" fmla="*/ 143705 h 497130"/>
                <a:gd name="connsiteX219" fmla="*/ 263293 w 448190"/>
                <a:gd name="connsiteY219" fmla="*/ 140205 h 497130"/>
                <a:gd name="connsiteX220" fmla="*/ 258501 w 448190"/>
                <a:gd name="connsiteY220" fmla="*/ 140369 h 497130"/>
                <a:gd name="connsiteX221" fmla="*/ 251680 w 448190"/>
                <a:gd name="connsiteY221" fmla="*/ 135297 h 497130"/>
                <a:gd name="connsiteX222" fmla="*/ 257725 w 448190"/>
                <a:gd name="connsiteY222" fmla="*/ 130004 h 497130"/>
                <a:gd name="connsiteX223" fmla="*/ 257725 w 448190"/>
                <a:gd name="connsiteY223" fmla="*/ 123159 h 497130"/>
                <a:gd name="connsiteX224" fmla="*/ 260448 w 448190"/>
                <a:gd name="connsiteY224" fmla="*/ 117610 h 497130"/>
                <a:gd name="connsiteX225" fmla="*/ 258375 w 448190"/>
                <a:gd name="connsiteY225" fmla="*/ 111300 h 497130"/>
                <a:gd name="connsiteX226" fmla="*/ 245842 w 448190"/>
                <a:gd name="connsiteY226" fmla="*/ 106629 h 497130"/>
                <a:gd name="connsiteX227" fmla="*/ 226988 w 448190"/>
                <a:gd name="connsiteY227" fmla="*/ 98872 h 497130"/>
                <a:gd name="connsiteX228" fmla="*/ 219887 w 448190"/>
                <a:gd name="connsiteY228" fmla="*/ 100550 h 497130"/>
                <a:gd name="connsiteX229" fmla="*/ 207888 w 448190"/>
                <a:gd name="connsiteY229" fmla="*/ 96057 h 497130"/>
                <a:gd name="connsiteX230" fmla="*/ 202050 w 448190"/>
                <a:gd name="connsiteY230" fmla="*/ 89313 h 497130"/>
                <a:gd name="connsiteX231" fmla="*/ 195118 w 448190"/>
                <a:gd name="connsiteY231" fmla="*/ 86329 h 497130"/>
                <a:gd name="connsiteX232" fmla="*/ 193055 w 448190"/>
                <a:gd name="connsiteY232" fmla="*/ 82101 h 497130"/>
                <a:gd name="connsiteX233" fmla="*/ 186055 w 448190"/>
                <a:gd name="connsiteY233" fmla="*/ 79792 h 497130"/>
                <a:gd name="connsiteX234" fmla="*/ 189169 w 448190"/>
                <a:gd name="connsiteY234" fmla="*/ 73052 h 497130"/>
                <a:gd name="connsiteX235" fmla="*/ 182179 w 448190"/>
                <a:gd name="connsiteY235" fmla="*/ 60890 h 497130"/>
                <a:gd name="connsiteX236" fmla="*/ 183110 w 448190"/>
                <a:gd name="connsiteY236" fmla="*/ 54203 h 497130"/>
                <a:gd name="connsiteX237" fmla="*/ 182179 w 448190"/>
                <a:gd name="connsiteY237" fmla="*/ 42441 h 497130"/>
                <a:gd name="connsiteX238" fmla="*/ 174823 w 448190"/>
                <a:gd name="connsiteY238" fmla="*/ 47112 h 497130"/>
                <a:gd name="connsiteX239" fmla="*/ 164367 w 448190"/>
                <a:gd name="connsiteY239" fmla="*/ 34332 h 497130"/>
                <a:gd name="connsiteX240" fmla="*/ 148377 w 448190"/>
                <a:gd name="connsiteY240" fmla="*/ 25139 h 497130"/>
                <a:gd name="connsiteX241" fmla="*/ 143445 w 448190"/>
                <a:gd name="connsiteY241" fmla="*/ 21929 h 497130"/>
                <a:gd name="connsiteX242" fmla="*/ 139328 w 448190"/>
                <a:gd name="connsiteY242" fmla="*/ 21153 h 497130"/>
                <a:gd name="connsiteX243" fmla="*/ 125391 w 448190"/>
                <a:gd name="connsiteY243" fmla="*/ 4193 h 497130"/>
                <a:gd name="connsiteX244" fmla="*/ 123974 w 448190"/>
                <a:gd name="connsiteY244" fmla="*/ 6676 h 497130"/>
                <a:gd name="connsiteX245" fmla="*/ 125391 w 448190"/>
                <a:gd name="connsiteY245" fmla="*/ 4193 h 497130"/>
                <a:gd name="connsiteX246" fmla="*/ 121491 w 448190"/>
                <a:gd name="connsiteY246" fmla="*/ 1103 h 497130"/>
                <a:gd name="connsiteX247" fmla="*/ 109618 w 448190"/>
                <a:gd name="connsiteY247" fmla="*/ 1990 h 49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448190" h="497130">
                  <a:moveTo>
                    <a:pt x="109618" y="1990"/>
                  </a:moveTo>
                  <a:cubicBezTo>
                    <a:pt x="107184" y="3528"/>
                    <a:pt x="104600" y="2742"/>
                    <a:pt x="102127" y="833"/>
                  </a:cubicBezTo>
                  <a:cubicBezTo>
                    <a:pt x="99683" y="-1105"/>
                    <a:pt x="89487" y="3022"/>
                    <a:pt x="86647" y="5346"/>
                  </a:cubicBezTo>
                  <a:cubicBezTo>
                    <a:pt x="83803" y="7703"/>
                    <a:pt x="76808" y="5090"/>
                    <a:pt x="74509" y="3533"/>
                  </a:cubicBezTo>
                  <a:cubicBezTo>
                    <a:pt x="72171" y="1995"/>
                    <a:pt x="64414" y="5437"/>
                    <a:pt x="61724" y="5210"/>
                  </a:cubicBezTo>
                  <a:cubicBezTo>
                    <a:pt x="59005" y="4979"/>
                    <a:pt x="54098" y="17609"/>
                    <a:pt x="54098" y="17609"/>
                  </a:cubicBezTo>
                  <a:lnTo>
                    <a:pt x="47894" y="24185"/>
                  </a:lnTo>
                  <a:lnTo>
                    <a:pt x="41824" y="27043"/>
                  </a:lnTo>
                  <a:lnTo>
                    <a:pt x="39260" y="33108"/>
                  </a:lnTo>
                  <a:lnTo>
                    <a:pt x="26085" y="34790"/>
                  </a:lnTo>
                  <a:lnTo>
                    <a:pt x="20266" y="30934"/>
                  </a:lnTo>
                  <a:cubicBezTo>
                    <a:pt x="20266" y="30934"/>
                    <a:pt x="18579" y="35055"/>
                    <a:pt x="17952" y="36714"/>
                  </a:cubicBezTo>
                  <a:cubicBezTo>
                    <a:pt x="17499" y="37827"/>
                    <a:pt x="9082" y="42749"/>
                    <a:pt x="3148" y="46114"/>
                  </a:cubicBezTo>
                  <a:lnTo>
                    <a:pt x="2309" y="51335"/>
                  </a:lnTo>
                  <a:lnTo>
                    <a:pt x="5399" y="54406"/>
                  </a:lnTo>
                  <a:lnTo>
                    <a:pt x="0" y="56744"/>
                  </a:lnTo>
                  <a:cubicBezTo>
                    <a:pt x="0" y="56744"/>
                    <a:pt x="1403" y="59443"/>
                    <a:pt x="3731" y="59737"/>
                  </a:cubicBezTo>
                  <a:cubicBezTo>
                    <a:pt x="6050" y="59979"/>
                    <a:pt x="7482" y="60345"/>
                    <a:pt x="7742" y="62972"/>
                  </a:cubicBezTo>
                  <a:cubicBezTo>
                    <a:pt x="7993" y="65522"/>
                    <a:pt x="11488" y="64515"/>
                    <a:pt x="11488" y="67224"/>
                  </a:cubicBezTo>
                  <a:cubicBezTo>
                    <a:pt x="11488" y="69924"/>
                    <a:pt x="11362" y="72628"/>
                    <a:pt x="9420" y="72888"/>
                  </a:cubicBezTo>
                  <a:cubicBezTo>
                    <a:pt x="7482" y="73168"/>
                    <a:pt x="7207" y="74431"/>
                    <a:pt x="8918" y="75361"/>
                  </a:cubicBezTo>
                  <a:cubicBezTo>
                    <a:pt x="10610" y="76234"/>
                    <a:pt x="14828" y="78712"/>
                    <a:pt x="13411" y="81431"/>
                  </a:cubicBezTo>
                  <a:cubicBezTo>
                    <a:pt x="11989" y="84121"/>
                    <a:pt x="9559" y="91111"/>
                    <a:pt x="9559" y="91111"/>
                  </a:cubicBezTo>
                  <a:lnTo>
                    <a:pt x="13035" y="96250"/>
                  </a:lnTo>
                  <a:lnTo>
                    <a:pt x="18352" y="94721"/>
                  </a:lnTo>
                  <a:lnTo>
                    <a:pt x="27618" y="97059"/>
                  </a:lnTo>
                  <a:cubicBezTo>
                    <a:pt x="27618" y="97059"/>
                    <a:pt x="20001" y="103596"/>
                    <a:pt x="21288" y="109699"/>
                  </a:cubicBezTo>
                  <a:cubicBezTo>
                    <a:pt x="20420" y="115928"/>
                    <a:pt x="19620" y="119375"/>
                    <a:pt x="23115" y="119640"/>
                  </a:cubicBezTo>
                  <a:cubicBezTo>
                    <a:pt x="26610" y="119895"/>
                    <a:pt x="29305" y="122363"/>
                    <a:pt x="30602" y="124836"/>
                  </a:cubicBezTo>
                  <a:cubicBezTo>
                    <a:pt x="31899" y="127223"/>
                    <a:pt x="41603" y="131797"/>
                    <a:pt x="43005" y="130380"/>
                  </a:cubicBezTo>
                  <a:cubicBezTo>
                    <a:pt x="44437" y="128924"/>
                    <a:pt x="47903" y="127772"/>
                    <a:pt x="48554" y="131026"/>
                  </a:cubicBezTo>
                  <a:cubicBezTo>
                    <a:pt x="49195" y="134256"/>
                    <a:pt x="56961" y="133461"/>
                    <a:pt x="59507" y="132188"/>
                  </a:cubicBezTo>
                  <a:cubicBezTo>
                    <a:pt x="62110" y="130886"/>
                    <a:pt x="65340" y="132694"/>
                    <a:pt x="64829" y="135914"/>
                  </a:cubicBezTo>
                  <a:cubicBezTo>
                    <a:pt x="64289" y="139154"/>
                    <a:pt x="61990" y="141853"/>
                    <a:pt x="60302" y="141593"/>
                  </a:cubicBezTo>
                  <a:cubicBezTo>
                    <a:pt x="58615" y="141328"/>
                    <a:pt x="56672" y="140827"/>
                    <a:pt x="56672" y="140827"/>
                  </a:cubicBezTo>
                  <a:lnTo>
                    <a:pt x="42215" y="142900"/>
                  </a:lnTo>
                  <a:lnTo>
                    <a:pt x="39771" y="146525"/>
                  </a:lnTo>
                  <a:lnTo>
                    <a:pt x="32921" y="147532"/>
                  </a:lnTo>
                  <a:cubicBezTo>
                    <a:pt x="32921" y="147532"/>
                    <a:pt x="40282" y="157748"/>
                    <a:pt x="38860" y="167051"/>
                  </a:cubicBezTo>
                  <a:cubicBezTo>
                    <a:pt x="40528" y="172470"/>
                    <a:pt x="41043" y="176081"/>
                    <a:pt x="37953" y="176350"/>
                  </a:cubicBezTo>
                  <a:cubicBezTo>
                    <a:pt x="34844" y="176587"/>
                    <a:pt x="33056" y="177397"/>
                    <a:pt x="33056" y="179580"/>
                  </a:cubicBezTo>
                  <a:cubicBezTo>
                    <a:pt x="33056" y="180709"/>
                    <a:pt x="33287" y="183779"/>
                    <a:pt x="34256" y="186479"/>
                  </a:cubicBezTo>
                  <a:cubicBezTo>
                    <a:pt x="39650" y="183355"/>
                    <a:pt x="44968" y="178457"/>
                    <a:pt x="46872" y="177001"/>
                  </a:cubicBezTo>
                  <a:cubicBezTo>
                    <a:pt x="49682" y="174789"/>
                    <a:pt x="60023" y="176085"/>
                    <a:pt x="63517" y="177907"/>
                  </a:cubicBezTo>
                  <a:cubicBezTo>
                    <a:pt x="67013" y="179711"/>
                    <a:pt x="67013" y="182964"/>
                    <a:pt x="65856" y="186787"/>
                  </a:cubicBezTo>
                  <a:cubicBezTo>
                    <a:pt x="64679" y="190663"/>
                    <a:pt x="64057" y="197277"/>
                    <a:pt x="64057" y="201380"/>
                  </a:cubicBezTo>
                  <a:cubicBezTo>
                    <a:pt x="64057" y="205525"/>
                    <a:pt x="59410" y="209797"/>
                    <a:pt x="59410" y="209797"/>
                  </a:cubicBezTo>
                  <a:lnTo>
                    <a:pt x="58355" y="215856"/>
                  </a:lnTo>
                  <a:lnTo>
                    <a:pt x="53958" y="222186"/>
                  </a:lnTo>
                  <a:lnTo>
                    <a:pt x="53847" y="227218"/>
                  </a:lnTo>
                  <a:lnTo>
                    <a:pt x="50102" y="229518"/>
                  </a:lnTo>
                  <a:lnTo>
                    <a:pt x="50463" y="236127"/>
                  </a:lnTo>
                  <a:lnTo>
                    <a:pt x="52541" y="239000"/>
                  </a:lnTo>
                  <a:lnTo>
                    <a:pt x="50617" y="250628"/>
                  </a:lnTo>
                  <a:lnTo>
                    <a:pt x="56412" y="261557"/>
                  </a:lnTo>
                  <a:lnTo>
                    <a:pt x="64554" y="262988"/>
                  </a:lnTo>
                  <a:lnTo>
                    <a:pt x="67659" y="261070"/>
                  </a:lnTo>
                  <a:lnTo>
                    <a:pt x="73988" y="264936"/>
                  </a:lnTo>
                  <a:lnTo>
                    <a:pt x="77208" y="272577"/>
                  </a:lnTo>
                  <a:lnTo>
                    <a:pt x="83928" y="275136"/>
                  </a:lnTo>
                  <a:lnTo>
                    <a:pt x="89487" y="273999"/>
                  </a:lnTo>
                  <a:lnTo>
                    <a:pt x="92432" y="282618"/>
                  </a:lnTo>
                  <a:cubicBezTo>
                    <a:pt x="92432" y="282618"/>
                    <a:pt x="100324" y="287424"/>
                    <a:pt x="104711" y="289767"/>
                  </a:cubicBezTo>
                  <a:cubicBezTo>
                    <a:pt x="99547" y="291295"/>
                    <a:pt x="99282" y="296965"/>
                    <a:pt x="98140" y="299163"/>
                  </a:cubicBezTo>
                  <a:cubicBezTo>
                    <a:pt x="96978" y="301361"/>
                    <a:pt x="79802" y="300985"/>
                    <a:pt x="77869" y="298898"/>
                  </a:cubicBezTo>
                  <a:cubicBezTo>
                    <a:pt x="75926" y="296844"/>
                    <a:pt x="70893" y="296058"/>
                    <a:pt x="70363" y="297731"/>
                  </a:cubicBezTo>
                  <a:cubicBezTo>
                    <a:pt x="69973" y="300575"/>
                    <a:pt x="72436" y="304066"/>
                    <a:pt x="75136" y="306249"/>
                  </a:cubicBezTo>
                  <a:cubicBezTo>
                    <a:pt x="77864" y="308452"/>
                    <a:pt x="82121" y="310771"/>
                    <a:pt x="83803" y="314565"/>
                  </a:cubicBezTo>
                  <a:cubicBezTo>
                    <a:pt x="86243" y="320499"/>
                    <a:pt x="95561" y="326279"/>
                    <a:pt x="95561" y="326279"/>
                  </a:cubicBezTo>
                  <a:cubicBezTo>
                    <a:pt x="95561" y="326279"/>
                    <a:pt x="101100" y="334981"/>
                    <a:pt x="102001" y="336133"/>
                  </a:cubicBezTo>
                  <a:cubicBezTo>
                    <a:pt x="102908" y="337242"/>
                    <a:pt x="102397" y="340235"/>
                    <a:pt x="101736" y="342843"/>
                  </a:cubicBezTo>
                  <a:cubicBezTo>
                    <a:pt x="101100" y="345418"/>
                    <a:pt x="100970" y="350084"/>
                    <a:pt x="100970" y="350696"/>
                  </a:cubicBezTo>
                  <a:cubicBezTo>
                    <a:pt x="100970" y="351342"/>
                    <a:pt x="98135" y="354037"/>
                    <a:pt x="94139" y="355623"/>
                  </a:cubicBezTo>
                  <a:cubicBezTo>
                    <a:pt x="93739" y="353299"/>
                    <a:pt x="89993" y="349809"/>
                    <a:pt x="88576" y="348508"/>
                  </a:cubicBezTo>
                  <a:cubicBezTo>
                    <a:pt x="87168" y="347206"/>
                    <a:pt x="78881" y="353541"/>
                    <a:pt x="78881" y="353541"/>
                  </a:cubicBezTo>
                  <a:cubicBezTo>
                    <a:pt x="78881" y="353541"/>
                    <a:pt x="77155" y="356944"/>
                    <a:pt x="75261" y="360550"/>
                  </a:cubicBezTo>
                  <a:lnTo>
                    <a:pt x="78385" y="360651"/>
                  </a:lnTo>
                  <a:lnTo>
                    <a:pt x="75261" y="360550"/>
                  </a:lnTo>
                  <a:cubicBezTo>
                    <a:pt x="74827" y="361374"/>
                    <a:pt x="74384" y="362189"/>
                    <a:pt x="73983" y="362955"/>
                  </a:cubicBezTo>
                  <a:cubicBezTo>
                    <a:pt x="71660" y="367362"/>
                    <a:pt x="76288" y="374597"/>
                    <a:pt x="80057" y="374597"/>
                  </a:cubicBezTo>
                  <a:cubicBezTo>
                    <a:pt x="83798" y="374597"/>
                    <a:pt x="85365" y="375128"/>
                    <a:pt x="87168" y="377282"/>
                  </a:cubicBezTo>
                  <a:cubicBezTo>
                    <a:pt x="88961" y="379505"/>
                    <a:pt x="89222" y="379216"/>
                    <a:pt x="92432" y="378078"/>
                  </a:cubicBezTo>
                  <a:cubicBezTo>
                    <a:pt x="95672" y="376906"/>
                    <a:pt x="97745" y="380030"/>
                    <a:pt x="97981" y="382349"/>
                  </a:cubicBezTo>
                  <a:cubicBezTo>
                    <a:pt x="98255" y="384658"/>
                    <a:pt x="99683" y="385189"/>
                    <a:pt x="103158" y="386466"/>
                  </a:cubicBezTo>
                  <a:cubicBezTo>
                    <a:pt x="106663" y="387767"/>
                    <a:pt x="107574" y="389320"/>
                    <a:pt x="107574" y="392044"/>
                  </a:cubicBezTo>
                  <a:cubicBezTo>
                    <a:pt x="107574" y="394738"/>
                    <a:pt x="110659" y="397187"/>
                    <a:pt x="113368" y="397317"/>
                  </a:cubicBezTo>
                  <a:cubicBezTo>
                    <a:pt x="116083" y="397452"/>
                    <a:pt x="118387" y="399906"/>
                    <a:pt x="119057" y="402225"/>
                  </a:cubicBezTo>
                  <a:cubicBezTo>
                    <a:pt x="119679" y="404553"/>
                    <a:pt x="121771" y="405088"/>
                    <a:pt x="124591" y="404553"/>
                  </a:cubicBezTo>
                  <a:cubicBezTo>
                    <a:pt x="127435" y="404037"/>
                    <a:pt x="128481" y="406592"/>
                    <a:pt x="130154" y="403772"/>
                  </a:cubicBezTo>
                  <a:cubicBezTo>
                    <a:pt x="131832" y="400899"/>
                    <a:pt x="133399" y="404283"/>
                    <a:pt x="134271" y="407127"/>
                  </a:cubicBezTo>
                  <a:cubicBezTo>
                    <a:pt x="135178" y="410005"/>
                    <a:pt x="135978" y="410878"/>
                    <a:pt x="137506" y="409610"/>
                  </a:cubicBezTo>
                  <a:cubicBezTo>
                    <a:pt x="139063" y="408299"/>
                    <a:pt x="139863" y="409721"/>
                    <a:pt x="139863" y="411799"/>
                  </a:cubicBezTo>
                  <a:cubicBezTo>
                    <a:pt x="139863" y="413862"/>
                    <a:pt x="142023" y="412329"/>
                    <a:pt x="143710" y="410492"/>
                  </a:cubicBezTo>
                  <a:cubicBezTo>
                    <a:pt x="145383" y="408689"/>
                    <a:pt x="146173" y="409335"/>
                    <a:pt x="147600" y="410362"/>
                  </a:cubicBezTo>
                  <a:cubicBezTo>
                    <a:pt x="149027" y="411447"/>
                    <a:pt x="150970" y="409841"/>
                    <a:pt x="152247" y="406766"/>
                  </a:cubicBezTo>
                  <a:cubicBezTo>
                    <a:pt x="153549" y="403652"/>
                    <a:pt x="155984" y="406766"/>
                    <a:pt x="156495" y="409075"/>
                  </a:cubicBezTo>
                  <a:cubicBezTo>
                    <a:pt x="157015" y="411447"/>
                    <a:pt x="158172" y="411915"/>
                    <a:pt x="159199" y="411750"/>
                  </a:cubicBezTo>
                  <a:cubicBezTo>
                    <a:pt x="160260" y="411553"/>
                    <a:pt x="168132" y="415005"/>
                    <a:pt x="169433" y="417974"/>
                  </a:cubicBezTo>
                  <a:cubicBezTo>
                    <a:pt x="170966" y="421642"/>
                    <a:pt x="176260" y="425355"/>
                    <a:pt x="179258" y="422891"/>
                  </a:cubicBezTo>
                  <a:cubicBezTo>
                    <a:pt x="182194" y="420461"/>
                    <a:pt x="184141" y="424318"/>
                    <a:pt x="186200" y="423537"/>
                  </a:cubicBezTo>
                  <a:cubicBezTo>
                    <a:pt x="188273" y="422771"/>
                    <a:pt x="190346" y="422891"/>
                    <a:pt x="190982" y="425036"/>
                  </a:cubicBezTo>
                  <a:cubicBezTo>
                    <a:pt x="191628" y="427124"/>
                    <a:pt x="192674" y="427823"/>
                    <a:pt x="196024" y="427297"/>
                  </a:cubicBezTo>
                  <a:cubicBezTo>
                    <a:pt x="198782" y="426873"/>
                    <a:pt x="200614" y="431395"/>
                    <a:pt x="200999" y="437912"/>
                  </a:cubicBezTo>
                  <a:cubicBezTo>
                    <a:pt x="204523" y="436423"/>
                    <a:pt x="211340" y="434263"/>
                    <a:pt x="212304" y="432104"/>
                  </a:cubicBezTo>
                  <a:cubicBezTo>
                    <a:pt x="213331" y="429780"/>
                    <a:pt x="214396" y="428618"/>
                    <a:pt x="211340" y="426492"/>
                  </a:cubicBezTo>
                  <a:cubicBezTo>
                    <a:pt x="208288" y="424323"/>
                    <a:pt x="206230" y="423137"/>
                    <a:pt x="208052" y="420466"/>
                  </a:cubicBezTo>
                  <a:cubicBezTo>
                    <a:pt x="209836" y="417747"/>
                    <a:pt x="210862" y="416547"/>
                    <a:pt x="212429" y="417222"/>
                  </a:cubicBezTo>
                  <a:cubicBezTo>
                    <a:pt x="213962" y="417878"/>
                    <a:pt x="215278" y="417598"/>
                    <a:pt x="215404" y="414662"/>
                  </a:cubicBezTo>
                  <a:cubicBezTo>
                    <a:pt x="215505" y="411688"/>
                    <a:pt x="217216" y="409673"/>
                    <a:pt x="218677" y="411755"/>
                  </a:cubicBezTo>
                  <a:cubicBezTo>
                    <a:pt x="220171" y="413867"/>
                    <a:pt x="224568" y="410372"/>
                    <a:pt x="223676" y="406882"/>
                  </a:cubicBezTo>
                  <a:cubicBezTo>
                    <a:pt x="222750" y="403382"/>
                    <a:pt x="224177" y="400311"/>
                    <a:pt x="224949" y="398865"/>
                  </a:cubicBezTo>
                  <a:cubicBezTo>
                    <a:pt x="225720" y="397462"/>
                    <a:pt x="226115" y="394994"/>
                    <a:pt x="223160" y="395900"/>
                  </a:cubicBezTo>
                  <a:cubicBezTo>
                    <a:pt x="220171" y="396830"/>
                    <a:pt x="221458" y="393181"/>
                    <a:pt x="218740" y="392053"/>
                  </a:cubicBezTo>
                  <a:cubicBezTo>
                    <a:pt x="216040" y="390872"/>
                    <a:pt x="215143" y="383790"/>
                    <a:pt x="218475" y="383882"/>
                  </a:cubicBezTo>
                  <a:cubicBezTo>
                    <a:pt x="221854" y="384031"/>
                    <a:pt x="224814" y="383019"/>
                    <a:pt x="225204" y="380937"/>
                  </a:cubicBezTo>
                  <a:cubicBezTo>
                    <a:pt x="225599" y="378878"/>
                    <a:pt x="232850" y="371854"/>
                    <a:pt x="237082" y="374351"/>
                  </a:cubicBezTo>
                  <a:cubicBezTo>
                    <a:pt x="241329" y="376820"/>
                    <a:pt x="242472" y="378965"/>
                    <a:pt x="240057" y="379230"/>
                  </a:cubicBezTo>
                  <a:cubicBezTo>
                    <a:pt x="237603" y="379519"/>
                    <a:pt x="238895" y="381573"/>
                    <a:pt x="239416" y="381717"/>
                  </a:cubicBezTo>
                  <a:cubicBezTo>
                    <a:pt x="239936" y="381853"/>
                    <a:pt x="239020" y="386480"/>
                    <a:pt x="241725" y="386480"/>
                  </a:cubicBezTo>
                  <a:cubicBezTo>
                    <a:pt x="244453" y="386480"/>
                    <a:pt x="246512" y="387666"/>
                    <a:pt x="247148" y="388929"/>
                  </a:cubicBezTo>
                  <a:cubicBezTo>
                    <a:pt x="247808" y="390231"/>
                    <a:pt x="251164" y="387782"/>
                    <a:pt x="252957" y="390004"/>
                  </a:cubicBezTo>
                  <a:cubicBezTo>
                    <a:pt x="254774" y="392169"/>
                    <a:pt x="257238" y="389831"/>
                    <a:pt x="258506" y="392564"/>
                  </a:cubicBezTo>
                  <a:cubicBezTo>
                    <a:pt x="259812" y="395273"/>
                    <a:pt x="262420" y="393591"/>
                    <a:pt x="263408" y="392169"/>
                  </a:cubicBezTo>
                  <a:cubicBezTo>
                    <a:pt x="264469" y="390732"/>
                    <a:pt x="269251" y="390105"/>
                    <a:pt x="270774" y="391152"/>
                  </a:cubicBezTo>
                  <a:cubicBezTo>
                    <a:pt x="270774" y="391152"/>
                    <a:pt x="280580" y="396705"/>
                    <a:pt x="282783" y="403960"/>
                  </a:cubicBezTo>
                  <a:cubicBezTo>
                    <a:pt x="284981" y="411182"/>
                    <a:pt x="289768" y="411813"/>
                    <a:pt x="291455" y="411813"/>
                  </a:cubicBezTo>
                  <a:cubicBezTo>
                    <a:pt x="293133" y="411813"/>
                    <a:pt x="301265" y="414503"/>
                    <a:pt x="301265" y="414503"/>
                  </a:cubicBezTo>
                  <a:lnTo>
                    <a:pt x="302051" y="419420"/>
                  </a:lnTo>
                  <a:lnTo>
                    <a:pt x="304495" y="427186"/>
                  </a:lnTo>
                  <a:lnTo>
                    <a:pt x="307079" y="431038"/>
                  </a:lnTo>
                  <a:lnTo>
                    <a:pt x="315081" y="433767"/>
                  </a:lnTo>
                  <a:lnTo>
                    <a:pt x="319873" y="431433"/>
                  </a:lnTo>
                  <a:lnTo>
                    <a:pt x="323209" y="435970"/>
                  </a:lnTo>
                  <a:lnTo>
                    <a:pt x="325431" y="435170"/>
                  </a:lnTo>
                  <a:lnTo>
                    <a:pt x="328623" y="439065"/>
                  </a:lnTo>
                  <a:cubicBezTo>
                    <a:pt x="328623" y="439065"/>
                    <a:pt x="333993" y="432055"/>
                    <a:pt x="337512" y="434008"/>
                  </a:cubicBezTo>
                  <a:cubicBezTo>
                    <a:pt x="341027" y="435970"/>
                    <a:pt x="343620" y="438636"/>
                    <a:pt x="341311" y="439715"/>
                  </a:cubicBezTo>
                  <a:cubicBezTo>
                    <a:pt x="338949" y="440723"/>
                    <a:pt x="337570" y="441147"/>
                    <a:pt x="338949" y="442950"/>
                  </a:cubicBezTo>
                  <a:cubicBezTo>
                    <a:pt x="340376" y="444724"/>
                    <a:pt x="341407" y="444136"/>
                    <a:pt x="339619" y="445394"/>
                  </a:cubicBezTo>
                  <a:cubicBezTo>
                    <a:pt x="337816" y="446706"/>
                    <a:pt x="338573" y="447616"/>
                    <a:pt x="339658" y="449555"/>
                  </a:cubicBezTo>
                  <a:cubicBezTo>
                    <a:pt x="340776" y="451483"/>
                    <a:pt x="339619" y="453262"/>
                    <a:pt x="337816" y="454684"/>
                  </a:cubicBezTo>
                  <a:cubicBezTo>
                    <a:pt x="336003" y="456092"/>
                    <a:pt x="336003" y="457027"/>
                    <a:pt x="336775" y="458280"/>
                  </a:cubicBezTo>
                  <a:cubicBezTo>
                    <a:pt x="337570" y="459567"/>
                    <a:pt x="331375" y="467439"/>
                    <a:pt x="331375" y="467439"/>
                  </a:cubicBezTo>
                  <a:cubicBezTo>
                    <a:pt x="331375" y="467439"/>
                    <a:pt x="334070" y="478826"/>
                    <a:pt x="330971" y="478826"/>
                  </a:cubicBezTo>
                  <a:cubicBezTo>
                    <a:pt x="327876" y="478826"/>
                    <a:pt x="327210" y="477269"/>
                    <a:pt x="326714" y="479959"/>
                  </a:cubicBezTo>
                  <a:cubicBezTo>
                    <a:pt x="326188" y="482711"/>
                    <a:pt x="322708" y="482576"/>
                    <a:pt x="323364" y="485551"/>
                  </a:cubicBezTo>
                  <a:cubicBezTo>
                    <a:pt x="323976" y="488525"/>
                    <a:pt x="325282" y="488617"/>
                    <a:pt x="327384" y="489272"/>
                  </a:cubicBezTo>
                  <a:cubicBezTo>
                    <a:pt x="329018" y="489793"/>
                    <a:pt x="331496" y="492545"/>
                    <a:pt x="331014" y="497130"/>
                  </a:cubicBezTo>
                  <a:lnTo>
                    <a:pt x="340279" y="495616"/>
                  </a:lnTo>
                  <a:lnTo>
                    <a:pt x="343259" y="496402"/>
                  </a:lnTo>
                  <a:lnTo>
                    <a:pt x="355392" y="484876"/>
                  </a:lnTo>
                  <a:cubicBezTo>
                    <a:pt x="355392" y="484876"/>
                    <a:pt x="358102" y="484616"/>
                    <a:pt x="360150" y="484355"/>
                  </a:cubicBezTo>
                  <a:cubicBezTo>
                    <a:pt x="362228" y="484090"/>
                    <a:pt x="362493" y="482813"/>
                    <a:pt x="364171" y="478951"/>
                  </a:cubicBezTo>
                  <a:cubicBezTo>
                    <a:pt x="366880" y="477543"/>
                    <a:pt x="378879" y="481289"/>
                    <a:pt x="378879" y="481289"/>
                  </a:cubicBezTo>
                  <a:cubicBezTo>
                    <a:pt x="378879" y="481289"/>
                    <a:pt x="381974" y="480494"/>
                    <a:pt x="384302" y="478180"/>
                  </a:cubicBezTo>
                  <a:cubicBezTo>
                    <a:pt x="386269" y="477818"/>
                    <a:pt x="398166" y="469416"/>
                    <a:pt x="398166" y="469416"/>
                  </a:cubicBezTo>
                  <a:cubicBezTo>
                    <a:pt x="398166" y="469416"/>
                    <a:pt x="401353" y="471450"/>
                    <a:pt x="402679" y="473518"/>
                  </a:cubicBezTo>
                  <a:cubicBezTo>
                    <a:pt x="403373" y="474637"/>
                    <a:pt x="405094" y="474613"/>
                    <a:pt x="406882" y="474280"/>
                  </a:cubicBezTo>
                  <a:cubicBezTo>
                    <a:pt x="406178" y="473697"/>
                    <a:pt x="405421" y="473176"/>
                    <a:pt x="404978" y="472742"/>
                  </a:cubicBezTo>
                  <a:cubicBezTo>
                    <a:pt x="405421" y="473176"/>
                    <a:pt x="406174" y="473697"/>
                    <a:pt x="406882" y="474280"/>
                  </a:cubicBezTo>
                  <a:cubicBezTo>
                    <a:pt x="408478" y="474010"/>
                    <a:pt x="410040" y="473489"/>
                    <a:pt x="411071" y="473287"/>
                  </a:cubicBezTo>
                  <a:cubicBezTo>
                    <a:pt x="413245" y="472742"/>
                    <a:pt x="413762" y="471055"/>
                    <a:pt x="414783" y="468220"/>
                  </a:cubicBezTo>
                  <a:cubicBezTo>
                    <a:pt x="415834" y="465395"/>
                    <a:pt x="415945" y="464209"/>
                    <a:pt x="418905" y="460883"/>
                  </a:cubicBezTo>
                  <a:cubicBezTo>
                    <a:pt x="421908" y="457509"/>
                    <a:pt x="421768" y="454009"/>
                    <a:pt x="421523" y="449241"/>
                  </a:cubicBezTo>
                  <a:cubicBezTo>
                    <a:pt x="421258" y="444469"/>
                    <a:pt x="414147" y="441345"/>
                    <a:pt x="411071" y="440617"/>
                  </a:cubicBezTo>
                  <a:cubicBezTo>
                    <a:pt x="407938" y="439807"/>
                    <a:pt x="409365" y="427418"/>
                    <a:pt x="409365" y="427418"/>
                  </a:cubicBezTo>
                  <a:lnTo>
                    <a:pt x="408208" y="413462"/>
                  </a:lnTo>
                  <a:lnTo>
                    <a:pt x="402683" y="407031"/>
                  </a:lnTo>
                  <a:cubicBezTo>
                    <a:pt x="402683" y="407031"/>
                    <a:pt x="407562" y="401468"/>
                    <a:pt x="412739" y="396290"/>
                  </a:cubicBezTo>
                  <a:cubicBezTo>
                    <a:pt x="417888" y="391147"/>
                    <a:pt x="423576" y="396011"/>
                    <a:pt x="423576" y="396011"/>
                  </a:cubicBezTo>
                  <a:lnTo>
                    <a:pt x="430658" y="392309"/>
                  </a:lnTo>
                  <a:lnTo>
                    <a:pt x="431955" y="385979"/>
                  </a:lnTo>
                  <a:lnTo>
                    <a:pt x="432364" y="379510"/>
                  </a:lnTo>
                  <a:lnTo>
                    <a:pt x="437542" y="376150"/>
                  </a:lnTo>
                  <a:cubicBezTo>
                    <a:pt x="437542" y="376150"/>
                    <a:pt x="440478" y="372539"/>
                    <a:pt x="443336" y="363514"/>
                  </a:cubicBezTo>
                  <a:cubicBezTo>
                    <a:pt x="447212" y="359745"/>
                    <a:pt x="448504" y="356182"/>
                    <a:pt x="448128" y="354833"/>
                  </a:cubicBezTo>
                  <a:cubicBezTo>
                    <a:pt x="447733" y="353545"/>
                    <a:pt x="446957" y="352244"/>
                    <a:pt x="447733" y="347081"/>
                  </a:cubicBezTo>
                  <a:cubicBezTo>
                    <a:pt x="441924" y="349289"/>
                    <a:pt x="430181" y="337921"/>
                    <a:pt x="426941" y="332628"/>
                  </a:cubicBezTo>
                  <a:cubicBezTo>
                    <a:pt x="423687" y="327335"/>
                    <a:pt x="416866" y="324240"/>
                    <a:pt x="412980" y="323960"/>
                  </a:cubicBezTo>
                  <a:cubicBezTo>
                    <a:pt x="390641" y="320610"/>
                    <a:pt x="388973" y="301617"/>
                    <a:pt x="387802" y="295967"/>
                  </a:cubicBezTo>
                  <a:cubicBezTo>
                    <a:pt x="383786" y="295292"/>
                    <a:pt x="378363" y="289777"/>
                    <a:pt x="376695" y="284103"/>
                  </a:cubicBezTo>
                  <a:cubicBezTo>
                    <a:pt x="374265" y="281746"/>
                    <a:pt x="372024" y="274004"/>
                    <a:pt x="372024" y="274004"/>
                  </a:cubicBezTo>
                  <a:lnTo>
                    <a:pt x="373345" y="270099"/>
                  </a:lnTo>
                  <a:lnTo>
                    <a:pt x="372279" y="250864"/>
                  </a:lnTo>
                  <a:cubicBezTo>
                    <a:pt x="372279" y="250864"/>
                    <a:pt x="382114" y="243783"/>
                    <a:pt x="384432" y="242476"/>
                  </a:cubicBezTo>
                  <a:cubicBezTo>
                    <a:pt x="386761" y="241194"/>
                    <a:pt x="390150" y="238080"/>
                    <a:pt x="389094" y="233052"/>
                  </a:cubicBezTo>
                  <a:cubicBezTo>
                    <a:pt x="388043" y="228029"/>
                    <a:pt x="388843" y="223097"/>
                    <a:pt x="389875" y="219105"/>
                  </a:cubicBezTo>
                  <a:cubicBezTo>
                    <a:pt x="390150" y="218054"/>
                    <a:pt x="390834" y="217563"/>
                    <a:pt x="391740" y="217370"/>
                  </a:cubicBezTo>
                  <a:lnTo>
                    <a:pt x="389465" y="208914"/>
                  </a:lnTo>
                  <a:lnTo>
                    <a:pt x="381718" y="207724"/>
                  </a:lnTo>
                  <a:lnTo>
                    <a:pt x="375649" y="204253"/>
                  </a:lnTo>
                  <a:lnTo>
                    <a:pt x="371532" y="197933"/>
                  </a:lnTo>
                  <a:lnTo>
                    <a:pt x="370751" y="193527"/>
                  </a:lnTo>
                  <a:cubicBezTo>
                    <a:pt x="370751" y="193527"/>
                    <a:pt x="370471" y="192235"/>
                    <a:pt x="367897" y="190413"/>
                  </a:cubicBezTo>
                  <a:cubicBezTo>
                    <a:pt x="365328" y="188610"/>
                    <a:pt x="367516" y="185664"/>
                    <a:pt x="367516" y="185664"/>
                  </a:cubicBezTo>
                  <a:lnTo>
                    <a:pt x="372940" y="183075"/>
                  </a:lnTo>
                  <a:lnTo>
                    <a:pt x="374386" y="176890"/>
                  </a:lnTo>
                  <a:lnTo>
                    <a:pt x="380171" y="174678"/>
                  </a:lnTo>
                  <a:lnTo>
                    <a:pt x="385859" y="177633"/>
                  </a:lnTo>
                  <a:lnTo>
                    <a:pt x="392584" y="171699"/>
                  </a:lnTo>
                  <a:lnTo>
                    <a:pt x="385343" y="166680"/>
                  </a:lnTo>
                  <a:cubicBezTo>
                    <a:pt x="385343" y="166680"/>
                    <a:pt x="385859" y="164983"/>
                    <a:pt x="378879" y="165282"/>
                  </a:cubicBezTo>
                  <a:cubicBezTo>
                    <a:pt x="371903" y="165513"/>
                    <a:pt x="364441" y="157386"/>
                    <a:pt x="364441" y="157386"/>
                  </a:cubicBezTo>
                  <a:cubicBezTo>
                    <a:pt x="364441" y="157386"/>
                    <a:pt x="361293" y="157251"/>
                    <a:pt x="357195" y="157251"/>
                  </a:cubicBezTo>
                  <a:cubicBezTo>
                    <a:pt x="354250" y="162925"/>
                    <a:pt x="346855" y="167317"/>
                    <a:pt x="346855" y="167317"/>
                  </a:cubicBezTo>
                  <a:lnTo>
                    <a:pt x="344406" y="174808"/>
                  </a:lnTo>
                  <a:cubicBezTo>
                    <a:pt x="344406" y="174808"/>
                    <a:pt x="341427" y="179995"/>
                    <a:pt x="341311" y="180651"/>
                  </a:cubicBezTo>
                  <a:cubicBezTo>
                    <a:pt x="341181" y="181277"/>
                    <a:pt x="340004" y="184358"/>
                    <a:pt x="339744" y="187081"/>
                  </a:cubicBezTo>
                  <a:cubicBezTo>
                    <a:pt x="339513" y="189795"/>
                    <a:pt x="340275" y="190557"/>
                    <a:pt x="335844" y="191603"/>
                  </a:cubicBezTo>
                  <a:cubicBezTo>
                    <a:pt x="331491" y="192654"/>
                    <a:pt x="322313" y="180655"/>
                    <a:pt x="320630" y="176611"/>
                  </a:cubicBezTo>
                  <a:cubicBezTo>
                    <a:pt x="318982" y="172629"/>
                    <a:pt x="309808" y="172258"/>
                    <a:pt x="303579" y="173916"/>
                  </a:cubicBezTo>
                  <a:cubicBezTo>
                    <a:pt x="297414" y="175613"/>
                    <a:pt x="281630" y="175613"/>
                    <a:pt x="281630" y="175613"/>
                  </a:cubicBezTo>
                  <a:lnTo>
                    <a:pt x="280835" y="168493"/>
                  </a:lnTo>
                  <a:cubicBezTo>
                    <a:pt x="280835" y="168493"/>
                    <a:pt x="279963" y="167572"/>
                    <a:pt x="276733" y="164593"/>
                  </a:cubicBezTo>
                  <a:cubicBezTo>
                    <a:pt x="273498" y="161633"/>
                    <a:pt x="259171" y="164477"/>
                    <a:pt x="259171" y="164477"/>
                  </a:cubicBezTo>
                  <a:lnTo>
                    <a:pt x="254765" y="158692"/>
                  </a:lnTo>
                  <a:lnTo>
                    <a:pt x="254765" y="152748"/>
                  </a:lnTo>
                  <a:lnTo>
                    <a:pt x="265211" y="150131"/>
                  </a:lnTo>
                  <a:lnTo>
                    <a:pt x="270254" y="143705"/>
                  </a:lnTo>
                  <a:lnTo>
                    <a:pt x="263293" y="140205"/>
                  </a:lnTo>
                  <a:lnTo>
                    <a:pt x="258501" y="140369"/>
                  </a:lnTo>
                  <a:lnTo>
                    <a:pt x="251680" y="135297"/>
                  </a:lnTo>
                  <a:lnTo>
                    <a:pt x="257725" y="130004"/>
                  </a:lnTo>
                  <a:lnTo>
                    <a:pt x="257725" y="123159"/>
                  </a:lnTo>
                  <a:lnTo>
                    <a:pt x="260448" y="117610"/>
                  </a:lnTo>
                  <a:cubicBezTo>
                    <a:pt x="260448" y="117610"/>
                    <a:pt x="259542" y="113214"/>
                    <a:pt x="258375" y="111300"/>
                  </a:cubicBezTo>
                  <a:cubicBezTo>
                    <a:pt x="257228" y="109347"/>
                    <a:pt x="252070" y="105341"/>
                    <a:pt x="245842" y="106629"/>
                  </a:cubicBezTo>
                  <a:cubicBezTo>
                    <a:pt x="232937" y="108576"/>
                    <a:pt x="226988" y="98872"/>
                    <a:pt x="226988" y="98872"/>
                  </a:cubicBezTo>
                  <a:lnTo>
                    <a:pt x="219887" y="100550"/>
                  </a:lnTo>
                  <a:lnTo>
                    <a:pt x="207888" y="96057"/>
                  </a:lnTo>
                  <a:lnTo>
                    <a:pt x="202050" y="89313"/>
                  </a:lnTo>
                  <a:lnTo>
                    <a:pt x="195118" y="86329"/>
                  </a:lnTo>
                  <a:lnTo>
                    <a:pt x="193055" y="82101"/>
                  </a:lnTo>
                  <a:lnTo>
                    <a:pt x="186055" y="79792"/>
                  </a:lnTo>
                  <a:cubicBezTo>
                    <a:pt x="186055" y="79792"/>
                    <a:pt x="186561" y="77541"/>
                    <a:pt x="189169" y="73052"/>
                  </a:cubicBezTo>
                  <a:cubicBezTo>
                    <a:pt x="186716" y="72421"/>
                    <a:pt x="182179" y="60890"/>
                    <a:pt x="182179" y="60890"/>
                  </a:cubicBezTo>
                  <a:lnTo>
                    <a:pt x="183110" y="54203"/>
                  </a:lnTo>
                  <a:lnTo>
                    <a:pt x="182179" y="42441"/>
                  </a:lnTo>
                  <a:cubicBezTo>
                    <a:pt x="182179" y="42441"/>
                    <a:pt x="178434" y="44524"/>
                    <a:pt x="174823" y="47112"/>
                  </a:cubicBezTo>
                  <a:cubicBezTo>
                    <a:pt x="171593" y="47368"/>
                    <a:pt x="167076" y="39732"/>
                    <a:pt x="164367" y="34332"/>
                  </a:cubicBezTo>
                  <a:cubicBezTo>
                    <a:pt x="161658" y="28899"/>
                    <a:pt x="148377" y="25139"/>
                    <a:pt x="148377" y="25139"/>
                  </a:cubicBezTo>
                  <a:lnTo>
                    <a:pt x="143445" y="21929"/>
                  </a:lnTo>
                  <a:cubicBezTo>
                    <a:pt x="143445" y="21929"/>
                    <a:pt x="142678" y="21779"/>
                    <a:pt x="139328" y="21153"/>
                  </a:cubicBezTo>
                  <a:cubicBezTo>
                    <a:pt x="137202" y="15831"/>
                    <a:pt x="130217" y="8464"/>
                    <a:pt x="125391" y="4193"/>
                  </a:cubicBezTo>
                  <a:cubicBezTo>
                    <a:pt x="124904" y="4989"/>
                    <a:pt x="124437" y="5702"/>
                    <a:pt x="123974" y="6676"/>
                  </a:cubicBezTo>
                  <a:cubicBezTo>
                    <a:pt x="124437" y="5702"/>
                    <a:pt x="124904" y="4989"/>
                    <a:pt x="125391" y="4193"/>
                  </a:cubicBezTo>
                  <a:cubicBezTo>
                    <a:pt x="123776" y="2747"/>
                    <a:pt x="122369" y="1696"/>
                    <a:pt x="121491" y="1103"/>
                  </a:cubicBezTo>
                  <a:cubicBezTo>
                    <a:pt x="118011" y="-1105"/>
                    <a:pt x="112076" y="428"/>
                    <a:pt x="109618" y="199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07" name="Freihandform: Form 606">
              <a:extLst>
                <a:ext uri="{FF2B5EF4-FFF2-40B4-BE49-F238E27FC236}">
                  <a16:creationId xmlns:a16="http://schemas.microsoft.com/office/drawing/2014/main" id="{DDE7BB3F-1257-D652-FE61-C301611200B4}"/>
                </a:ext>
              </a:extLst>
            </p:cNvPr>
            <p:cNvSpPr/>
            <p:nvPr/>
          </p:nvSpPr>
          <p:spPr>
            <a:xfrm>
              <a:off x="6734139" y="5469008"/>
              <a:ext cx="322227" cy="285761"/>
            </a:xfrm>
            <a:custGeom>
              <a:avLst/>
              <a:gdLst>
                <a:gd name="connsiteX0" fmla="*/ 166242 w 252245"/>
                <a:gd name="connsiteY0" fmla="*/ 4102 h 223193"/>
                <a:gd name="connsiteX1" fmla="*/ 161730 w 252245"/>
                <a:gd name="connsiteY1" fmla="*/ 0 h 223193"/>
                <a:gd name="connsiteX2" fmla="*/ 147866 w 252245"/>
                <a:gd name="connsiteY2" fmla="*/ 8764 h 223193"/>
                <a:gd name="connsiteX3" fmla="*/ 142442 w 252245"/>
                <a:gd name="connsiteY3" fmla="*/ 11873 h 223193"/>
                <a:gd name="connsiteX4" fmla="*/ 127734 w 252245"/>
                <a:gd name="connsiteY4" fmla="*/ 9535 h 223193"/>
                <a:gd name="connsiteX5" fmla="*/ 123714 w 252245"/>
                <a:gd name="connsiteY5" fmla="*/ 14939 h 223193"/>
                <a:gd name="connsiteX6" fmla="*/ 118956 w 252245"/>
                <a:gd name="connsiteY6" fmla="*/ 15460 h 223193"/>
                <a:gd name="connsiteX7" fmla="*/ 106822 w 252245"/>
                <a:gd name="connsiteY7" fmla="*/ 26986 h 223193"/>
                <a:gd name="connsiteX8" fmla="*/ 103843 w 252245"/>
                <a:gd name="connsiteY8" fmla="*/ 26201 h 223193"/>
                <a:gd name="connsiteX9" fmla="*/ 94578 w 252245"/>
                <a:gd name="connsiteY9" fmla="*/ 27714 h 223193"/>
                <a:gd name="connsiteX10" fmla="*/ 93768 w 252245"/>
                <a:gd name="connsiteY10" fmla="*/ 31233 h 223193"/>
                <a:gd name="connsiteX11" fmla="*/ 94578 w 252245"/>
                <a:gd name="connsiteY11" fmla="*/ 27714 h 223193"/>
                <a:gd name="connsiteX12" fmla="*/ 87674 w 252245"/>
                <a:gd name="connsiteY12" fmla="*/ 28919 h 223193"/>
                <a:gd name="connsiteX13" fmla="*/ 81624 w 252245"/>
                <a:gd name="connsiteY13" fmla="*/ 33923 h 223193"/>
                <a:gd name="connsiteX14" fmla="*/ 76085 w 252245"/>
                <a:gd name="connsiteY14" fmla="*/ 33827 h 223193"/>
                <a:gd name="connsiteX15" fmla="*/ 70643 w 252245"/>
                <a:gd name="connsiteY15" fmla="*/ 45599 h 223193"/>
                <a:gd name="connsiteX16" fmla="*/ 72446 w 252245"/>
                <a:gd name="connsiteY16" fmla="*/ 52536 h 223193"/>
                <a:gd name="connsiteX17" fmla="*/ 64323 w 252245"/>
                <a:gd name="connsiteY17" fmla="*/ 51109 h 223193"/>
                <a:gd name="connsiteX18" fmla="*/ 49451 w 252245"/>
                <a:gd name="connsiteY18" fmla="*/ 43112 h 223193"/>
                <a:gd name="connsiteX19" fmla="*/ 32930 w 252245"/>
                <a:gd name="connsiteY19" fmla="*/ 54623 h 223193"/>
                <a:gd name="connsiteX20" fmla="*/ 21452 w 252245"/>
                <a:gd name="connsiteY20" fmla="*/ 62983 h 223193"/>
                <a:gd name="connsiteX21" fmla="*/ 20532 w 252245"/>
                <a:gd name="connsiteY21" fmla="*/ 76418 h 223193"/>
                <a:gd name="connsiteX22" fmla="*/ 22845 w 252245"/>
                <a:gd name="connsiteY22" fmla="*/ 82979 h 223193"/>
                <a:gd name="connsiteX23" fmla="*/ 20276 w 252245"/>
                <a:gd name="connsiteY23" fmla="*/ 90253 h 223193"/>
                <a:gd name="connsiteX24" fmla="*/ 15113 w 252245"/>
                <a:gd name="connsiteY24" fmla="*/ 93980 h 223193"/>
                <a:gd name="connsiteX25" fmla="*/ 11883 w 252245"/>
                <a:gd name="connsiteY25" fmla="*/ 91270 h 223193"/>
                <a:gd name="connsiteX26" fmla="*/ 10196 w 252245"/>
                <a:gd name="connsiteY26" fmla="*/ 94992 h 223193"/>
                <a:gd name="connsiteX27" fmla="*/ 4960 w 252245"/>
                <a:gd name="connsiteY27" fmla="*/ 92514 h 223193"/>
                <a:gd name="connsiteX28" fmla="*/ 5023 w 252245"/>
                <a:gd name="connsiteY28" fmla="*/ 92972 h 223193"/>
                <a:gd name="connsiteX29" fmla="*/ 3109 w 252245"/>
                <a:gd name="connsiteY29" fmla="*/ 95281 h 223193"/>
                <a:gd name="connsiteX30" fmla="*/ 3866 w 252245"/>
                <a:gd name="connsiteY30" fmla="*/ 102503 h 223193"/>
                <a:gd name="connsiteX31" fmla="*/ 1302 w 252245"/>
                <a:gd name="connsiteY31" fmla="*/ 108953 h 223193"/>
                <a:gd name="connsiteX32" fmla="*/ 1017 w 252245"/>
                <a:gd name="connsiteY32" fmla="*/ 114795 h 223193"/>
                <a:gd name="connsiteX33" fmla="*/ 6595 w 252245"/>
                <a:gd name="connsiteY33" fmla="*/ 132068 h 223193"/>
                <a:gd name="connsiteX34" fmla="*/ 0 w 252245"/>
                <a:gd name="connsiteY34" fmla="*/ 137255 h 223193"/>
                <a:gd name="connsiteX35" fmla="*/ 5549 w 252245"/>
                <a:gd name="connsiteY35" fmla="*/ 151462 h 223193"/>
                <a:gd name="connsiteX36" fmla="*/ 11112 w 252245"/>
                <a:gd name="connsiteY36" fmla="*/ 157252 h 223193"/>
                <a:gd name="connsiteX37" fmla="*/ 8142 w 252245"/>
                <a:gd name="connsiteY37" fmla="*/ 170436 h 223193"/>
                <a:gd name="connsiteX38" fmla="*/ 8899 w 252245"/>
                <a:gd name="connsiteY38" fmla="*/ 172919 h 223193"/>
                <a:gd name="connsiteX39" fmla="*/ 10827 w 252245"/>
                <a:gd name="connsiteY39" fmla="*/ 179976 h 223193"/>
                <a:gd name="connsiteX40" fmla="*/ 20787 w 252245"/>
                <a:gd name="connsiteY40" fmla="*/ 191232 h 223193"/>
                <a:gd name="connsiteX41" fmla="*/ 21824 w 252245"/>
                <a:gd name="connsiteY41" fmla="*/ 196622 h 223193"/>
                <a:gd name="connsiteX42" fmla="*/ 27512 w 252245"/>
                <a:gd name="connsiteY42" fmla="*/ 197442 h 223193"/>
                <a:gd name="connsiteX43" fmla="*/ 31007 w 252245"/>
                <a:gd name="connsiteY43" fmla="*/ 200406 h 223193"/>
                <a:gd name="connsiteX44" fmla="*/ 40672 w 252245"/>
                <a:gd name="connsiteY44" fmla="*/ 220171 h 223193"/>
                <a:gd name="connsiteX45" fmla="*/ 48805 w 252245"/>
                <a:gd name="connsiteY45" fmla="*/ 218990 h 223193"/>
                <a:gd name="connsiteX46" fmla="*/ 52049 w 252245"/>
                <a:gd name="connsiteY46" fmla="*/ 215380 h 223193"/>
                <a:gd name="connsiteX47" fmla="*/ 58991 w 252245"/>
                <a:gd name="connsiteY47" fmla="*/ 215148 h 223193"/>
                <a:gd name="connsiteX48" fmla="*/ 63272 w 252245"/>
                <a:gd name="connsiteY48" fmla="*/ 217091 h 223193"/>
                <a:gd name="connsiteX49" fmla="*/ 66184 w 252245"/>
                <a:gd name="connsiteY49" fmla="*/ 223194 h 223193"/>
                <a:gd name="connsiteX50" fmla="*/ 83153 w 252245"/>
                <a:gd name="connsiteY50" fmla="*/ 219246 h 223193"/>
                <a:gd name="connsiteX51" fmla="*/ 96703 w 252245"/>
                <a:gd name="connsiteY51" fmla="*/ 216797 h 223193"/>
                <a:gd name="connsiteX52" fmla="*/ 108490 w 252245"/>
                <a:gd name="connsiteY52" fmla="*/ 207257 h 223193"/>
                <a:gd name="connsiteX53" fmla="*/ 112352 w 252245"/>
                <a:gd name="connsiteY53" fmla="*/ 208693 h 223193"/>
                <a:gd name="connsiteX54" fmla="*/ 117529 w 252245"/>
                <a:gd name="connsiteY54" fmla="*/ 207112 h 223193"/>
                <a:gd name="connsiteX55" fmla="*/ 125787 w 252245"/>
                <a:gd name="connsiteY55" fmla="*/ 210496 h 223193"/>
                <a:gd name="connsiteX56" fmla="*/ 135742 w 252245"/>
                <a:gd name="connsiteY56" fmla="*/ 200908 h 223193"/>
                <a:gd name="connsiteX57" fmla="*/ 143334 w 252245"/>
                <a:gd name="connsiteY57" fmla="*/ 201043 h 223193"/>
                <a:gd name="connsiteX58" fmla="*/ 145672 w 252245"/>
                <a:gd name="connsiteY58" fmla="*/ 192650 h 223193"/>
                <a:gd name="connsiteX59" fmla="*/ 155106 w 252245"/>
                <a:gd name="connsiteY59" fmla="*/ 180241 h 223193"/>
                <a:gd name="connsiteX60" fmla="*/ 173184 w 252245"/>
                <a:gd name="connsiteY60" fmla="*/ 166445 h 223193"/>
                <a:gd name="connsiteX61" fmla="*/ 196020 w 252245"/>
                <a:gd name="connsiteY61" fmla="*/ 162453 h 223193"/>
                <a:gd name="connsiteX62" fmla="*/ 204311 w 252245"/>
                <a:gd name="connsiteY62" fmla="*/ 162303 h 223193"/>
                <a:gd name="connsiteX63" fmla="*/ 214878 w 252245"/>
                <a:gd name="connsiteY63" fmla="*/ 160771 h 223193"/>
                <a:gd name="connsiteX64" fmla="*/ 223392 w 252245"/>
                <a:gd name="connsiteY64" fmla="*/ 159083 h 223193"/>
                <a:gd name="connsiteX65" fmla="*/ 225879 w 252245"/>
                <a:gd name="connsiteY65" fmla="*/ 152228 h 223193"/>
                <a:gd name="connsiteX66" fmla="*/ 230902 w 252245"/>
                <a:gd name="connsiteY66" fmla="*/ 154036 h 223193"/>
                <a:gd name="connsiteX67" fmla="*/ 235670 w 252245"/>
                <a:gd name="connsiteY67" fmla="*/ 151578 h 223193"/>
                <a:gd name="connsiteX68" fmla="*/ 235569 w 252245"/>
                <a:gd name="connsiteY68" fmla="*/ 130284 h 223193"/>
                <a:gd name="connsiteX69" fmla="*/ 249920 w 252245"/>
                <a:gd name="connsiteY69" fmla="*/ 124340 h 223193"/>
                <a:gd name="connsiteX70" fmla="*/ 251853 w 252245"/>
                <a:gd name="connsiteY70" fmla="*/ 119057 h 223193"/>
                <a:gd name="connsiteX71" fmla="*/ 252215 w 252245"/>
                <a:gd name="connsiteY71" fmla="*/ 112062 h 223193"/>
                <a:gd name="connsiteX72" fmla="*/ 249641 w 252245"/>
                <a:gd name="connsiteY72" fmla="*/ 104971 h 223193"/>
                <a:gd name="connsiteX73" fmla="*/ 248223 w 252245"/>
                <a:gd name="connsiteY73" fmla="*/ 93980 h 223193"/>
                <a:gd name="connsiteX74" fmla="*/ 245514 w 252245"/>
                <a:gd name="connsiteY74" fmla="*/ 87915 h 223193"/>
                <a:gd name="connsiteX75" fmla="*/ 247799 w 252245"/>
                <a:gd name="connsiteY75" fmla="*/ 81981 h 223193"/>
                <a:gd name="connsiteX76" fmla="*/ 248855 w 252245"/>
                <a:gd name="connsiteY76" fmla="*/ 70623 h 223193"/>
                <a:gd name="connsiteX77" fmla="*/ 228468 w 252245"/>
                <a:gd name="connsiteY77" fmla="*/ 40147 h 223193"/>
                <a:gd name="connsiteX78" fmla="*/ 225117 w 252245"/>
                <a:gd name="connsiteY78" fmla="*/ 37828 h 223193"/>
                <a:gd name="connsiteX79" fmla="*/ 222244 w 252245"/>
                <a:gd name="connsiteY79" fmla="*/ 35745 h 223193"/>
                <a:gd name="connsiteX80" fmla="*/ 216185 w 252245"/>
                <a:gd name="connsiteY80" fmla="*/ 34593 h 223193"/>
                <a:gd name="connsiteX81" fmla="*/ 210246 w 252245"/>
                <a:gd name="connsiteY81" fmla="*/ 31739 h 223193"/>
                <a:gd name="connsiteX82" fmla="*/ 203771 w 252245"/>
                <a:gd name="connsiteY82" fmla="*/ 32270 h 223193"/>
                <a:gd name="connsiteX83" fmla="*/ 184691 w 252245"/>
                <a:gd name="connsiteY83" fmla="*/ 18955 h 223193"/>
                <a:gd name="connsiteX84" fmla="*/ 170441 w 252245"/>
                <a:gd name="connsiteY84" fmla="*/ 4854 h 223193"/>
                <a:gd name="connsiteX85" fmla="*/ 166242 w 252245"/>
                <a:gd name="connsiteY85" fmla="*/ 4102 h 223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252245" h="223193">
                  <a:moveTo>
                    <a:pt x="166242" y="4102"/>
                  </a:moveTo>
                  <a:cubicBezTo>
                    <a:pt x="164921" y="2034"/>
                    <a:pt x="161730" y="0"/>
                    <a:pt x="161730" y="0"/>
                  </a:cubicBezTo>
                  <a:cubicBezTo>
                    <a:pt x="161730" y="0"/>
                    <a:pt x="149832" y="8402"/>
                    <a:pt x="147866" y="8764"/>
                  </a:cubicBezTo>
                  <a:cubicBezTo>
                    <a:pt x="145537" y="11073"/>
                    <a:pt x="142442" y="11873"/>
                    <a:pt x="142442" y="11873"/>
                  </a:cubicBezTo>
                  <a:cubicBezTo>
                    <a:pt x="142442" y="11873"/>
                    <a:pt x="130444" y="8128"/>
                    <a:pt x="127734" y="9535"/>
                  </a:cubicBezTo>
                  <a:cubicBezTo>
                    <a:pt x="126057" y="13397"/>
                    <a:pt x="125792" y="14674"/>
                    <a:pt x="123714" y="14939"/>
                  </a:cubicBezTo>
                  <a:cubicBezTo>
                    <a:pt x="121660" y="15204"/>
                    <a:pt x="118956" y="15460"/>
                    <a:pt x="118956" y="15460"/>
                  </a:cubicBezTo>
                  <a:lnTo>
                    <a:pt x="106822" y="26986"/>
                  </a:lnTo>
                  <a:lnTo>
                    <a:pt x="103843" y="26201"/>
                  </a:lnTo>
                  <a:lnTo>
                    <a:pt x="94578" y="27714"/>
                  </a:lnTo>
                  <a:cubicBezTo>
                    <a:pt x="94481" y="28842"/>
                    <a:pt x="94255" y="29989"/>
                    <a:pt x="93768" y="31233"/>
                  </a:cubicBezTo>
                  <a:cubicBezTo>
                    <a:pt x="94255" y="29985"/>
                    <a:pt x="94481" y="28842"/>
                    <a:pt x="94578" y="27714"/>
                  </a:cubicBezTo>
                  <a:lnTo>
                    <a:pt x="87674" y="28919"/>
                  </a:lnTo>
                  <a:lnTo>
                    <a:pt x="81624" y="33923"/>
                  </a:lnTo>
                  <a:lnTo>
                    <a:pt x="76085" y="33827"/>
                  </a:lnTo>
                  <a:cubicBezTo>
                    <a:pt x="76085" y="33827"/>
                    <a:pt x="70272" y="43516"/>
                    <a:pt x="70643" y="45599"/>
                  </a:cubicBezTo>
                  <a:cubicBezTo>
                    <a:pt x="71024" y="47638"/>
                    <a:pt x="74389" y="51635"/>
                    <a:pt x="72446" y="52536"/>
                  </a:cubicBezTo>
                  <a:cubicBezTo>
                    <a:pt x="70532" y="53457"/>
                    <a:pt x="66511" y="54199"/>
                    <a:pt x="64323" y="51109"/>
                  </a:cubicBezTo>
                  <a:cubicBezTo>
                    <a:pt x="62115" y="48028"/>
                    <a:pt x="52936" y="38339"/>
                    <a:pt x="49451" y="43112"/>
                  </a:cubicBezTo>
                  <a:cubicBezTo>
                    <a:pt x="45990" y="47913"/>
                    <a:pt x="37568" y="54199"/>
                    <a:pt x="32930" y="54623"/>
                  </a:cubicBezTo>
                  <a:cubicBezTo>
                    <a:pt x="28418" y="57849"/>
                    <a:pt x="21452" y="62983"/>
                    <a:pt x="21452" y="62983"/>
                  </a:cubicBezTo>
                  <a:cubicBezTo>
                    <a:pt x="21452" y="62983"/>
                    <a:pt x="18333" y="72566"/>
                    <a:pt x="20532" y="76418"/>
                  </a:cubicBezTo>
                  <a:cubicBezTo>
                    <a:pt x="22739" y="80284"/>
                    <a:pt x="22845" y="82979"/>
                    <a:pt x="22845" y="82979"/>
                  </a:cubicBezTo>
                  <a:lnTo>
                    <a:pt x="20276" y="90253"/>
                  </a:lnTo>
                  <a:lnTo>
                    <a:pt x="15113" y="93980"/>
                  </a:lnTo>
                  <a:lnTo>
                    <a:pt x="11883" y="91270"/>
                  </a:lnTo>
                  <a:lnTo>
                    <a:pt x="10196" y="94992"/>
                  </a:lnTo>
                  <a:lnTo>
                    <a:pt x="4960" y="92514"/>
                  </a:lnTo>
                  <a:lnTo>
                    <a:pt x="5023" y="92972"/>
                  </a:lnTo>
                  <a:lnTo>
                    <a:pt x="3109" y="95281"/>
                  </a:lnTo>
                  <a:lnTo>
                    <a:pt x="3866" y="102503"/>
                  </a:lnTo>
                  <a:lnTo>
                    <a:pt x="1302" y="108953"/>
                  </a:lnTo>
                  <a:lnTo>
                    <a:pt x="1017" y="114795"/>
                  </a:lnTo>
                  <a:cubicBezTo>
                    <a:pt x="1017" y="114795"/>
                    <a:pt x="5284" y="129118"/>
                    <a:pt x="6595" y="132068"/>
                  </a:cubicBezTo>
                  <a:cubicBezTo>
                    <a:pt x="7877" y="135023"/>
                    <a:pt x="0" y="137255"/>
                    <a:pt x="0" y="137255"/>
                  </a:cubicBezTo>
                  <a:lnTo>
                    <a:pt x="5549" y="151462"/>
                  </a:lnTo>
                  <a:lnTo>
                    <a:pt x="11112" y="157252"/>
                  </a:lnTo>
                  <a:lnTo>
                    <a:pt x="8142" y="170436"/>
                  </a:lnTo>
                  <a:lnTo>
                    <a:pt x="8899" y="172919"/>
                  </a:lnTo>
                  <a:lnTo>
                    <a:pt x="10827" y="179976"/>
                  </a:lnTo>
                  <a:lnTo>
                    <a:pt x="20787" y="191232"/>
                  </a:lnTo>
                  <a:cubicBezTo>
                    <a:pt x="20787" y="191232"/>
                    <a:pt x="21674" y="193397"/>
                    <a:pt x="21824" y="196622"/>
                  </a:cubicBezTo>
                  <a:cubicBezTo>
                    <a:pt x="21934" y="199852"/>
                    <a:pt x="25029" y="198353"/>
                    <a:pt x="27512" y="197442"/>
                  </a:cubicBezTo>
                  <a:cubicBezTo>
                    <a:pt x="29956" y="196535"/>
                    <a:pt x="31007" y="200406"/>
                    <a:pt x="31007" y="200406"/>
                  </a:cubicBezTo>
                  <a:lnTo>
                    <a:pt x="40672" y="220171"/>
                  </a:lnTo>
                  <a:lnTo>
                    <a:pt x="48805" y="218990"/>
                  </a:lnTo>
                  <a:lnTo>
                    <a:pt x="52049" y="215380"/>
                  </a:lnTo>
                  <a:lnTo>
                    <a:pt x="58991" y="215148"/>
                  </a:lnTo>
                  <a:cubicBezTo>
                    <a:pt x="58991" y="215148"/>
                    <a:pt x="61213" y="215640"/>
                    <a:pt x="63272" y="217091"/>
                  </a:cubicBezTo>
                  <a:cubicBezTo>
                    <a:pt x="64241" y="217742"/>
                    <a:pt x="65383" y="220306"/>
                    <a:pt x="66184" y="223194"/>
                  </a:cubicBezTo>
                  <a:cubicBezTo>
                    <a:pt x="71867" y="222731"/>
                    <a:pt x="80409" y="221299"/>
                    <a:pt x="83153" y="219246"/>
                  </a:cubicBezTo>
                  <a:cubicBezTo>
                    <a:pt x="86662" y="216662"/>
                    <a:pt x="91029" y="214439"/>
                    <a:pt x="96703" y="216797"/>
                  </a:cubicBezTo>
                  <a:cubicBezTo>
                    <a:pt x="102426" y="219120"/>
                    <a:pt x="108490" y="207257"/>
                    <a:pt x="108490" y="207257"/>
                  </a:cubicBezTo>
                  <a:lnTo>
                    <a:pt x="112352" y="208693"/>
                  </a:lnTo>
                  <a:lnTo>
                    <a:pt x="117529" y="207112"/>
                  </a:lnTo>
                  <a:cubicBezTo>
                    <a:pt x="117529" y="207112"/>
                    <a:pt x="121130" y="207970"/>
                    <a:pt x="125787" y="210496"/>
                  </a:cubicBezTo>
                  <a:cubicBezTo>
                    <a:pt x="131215" y="207652"/>
                    <a:pt x="135742" y="200908"/>
                    <a:pt x="135742" y="200908"/>
                  </a:cubicBezTo>
                  <a:cubicBezTo>
                    <a:pt x="135742" y="200908"/>
                    <a:pt x="139208" y="200806"/>
                    <a:pt x="143334" y="201043"/>
                  </a:cubicBezTo>
                  <a:cubicBezTo>
                    <a:pt x="147456" y="201308"/>
                    <a:pt x="145672" y="192650"/>
                    <a:pt x="145672" y="192650"/>
                  </a:cubicBezTo>
                  <a:cubicBezTo>
                    <a:pt x="145672" y="192650"/>
                    <a:pt x="149153" y="188894"/>
                    <a:pt x="155106" y="180241"/>
                  </a:cubicBezTo>
                  <a:cubicBezTo>
                    <a:pt x="152127" y="170446"/>
                    <a:pt x="165027" y="167968"/>
                    <a:pt x="173184" y="166445"/>
                  </a:cubicBezTo>
                  <a:cubicBezTo>
                    <a:pt x="187897" y="155473"/>
                    <a:pt x="194622" y="160500"/>
                    <a:pt x="196020" y="162453"/>
                  </a:cubicBezTo>
                  <a:cubicBezTo>
                    <a:pt x="197437" y="164357"/>
                    <a:pt x="200296" y="163731"/>
                    <a:pt x="204311" y="162303"/>
                  </a:cubicBezTo>
                  <a:cubicBezTo>
                    <a:pt x="207122" y="163475"/>
                    <a:pt x="212574" y="162303"/>
                    <a:pt x="214878" y="160771"/>
                  </a:cubicBezTo>
                  <a:cubicBezTo>
                    <a:pt x="217197" y="159228"/>
                    <a:pt x="223392" y="159083"/>
                    <a:pt x="223392" y="159083"/>
                  </a:cubicBezTo>
                  <a:lnTo>
                    <a:pt x="225879" y="152228"/>
                  </a:lnTo>
                  <a:lnTo>
                    <a:pt x="230902" y="154036"/>
                  </a:lnTo>
                  <a:cubicBezTo>
                    <a:pt x="230902" y="154036"/>
                    <a:pt x="234417" y="152898"/>
                    <a:pt x="235670" y="151578"/>
                  </a:cubicBezTo>
                  <a:cubicBezTo>
                    <a:pt x="236967" y="150290"/>
                    <a:pt x="234639" y="131812"/>
                    <a:pt x="235569" y="130284"/>
                  </a:cubicBezTo>
                  <a:cubicBezTo>
                    <a:pt x="238249" y="126702"/>
                    <a:pt x="243976" y="125078"/>
                    <a:pt x="249920" y="124340"/>
                  </a:cubicBezTo>
                  <a:lnTo>
                    <a:pt x="251853" y="119057"/>
                  </a:lnTo>
                  <a:cubicBezTo>
                    <a:pt x="251853" y="119057"/>
                    <a:pt x="251964" y="114800"/>
                    <a:pt x="252215" y="112062"/>
                  </a:cubicBezTo>
                  <a:cubicBezTo>
                    <a:pt x="252485" y="109343"/>
                    <a:pt x="250928" y="106258"/>
                    <a:pt x="249641" y="104971"/>
                  </a:cubicBezTo>
                  <a:cubicBezTo>
                    <a:pt x="248349" y="103669"/>
                    <a:pt x="248223" y="93980"/>
                    <a:pt x="248223" y="93980"/>
                  </a:cubicBezTo>
                  <a:lnTo>
                    <a:pt x="245514" y="87915"/>
                  </a:lnTo>
                  <a:lnTo>
                    <a:pt x="247799" y="81981"/>
                  </a:lnTo>
                  <a:cubicBezTo>
                    <a:pt x="247799" y="81981"/>
                    <a:pt x="251193" y="74788"/>
                    <a:pt x="248855" y="70623"/>
                  </a:cubicBezTo>
                  <a:cubicBezTo>
                    <a:pt x="241638" y="67013"/>
                    <a:pt x="234643" y="55134"/>
                    <a:pt x="228468" y="40147"/>
                  </a:cubicBezTo>
                  <a:cubicBezTo>
                    <a:pt x="226120" y="39130"/>
                    <a:pt x="225117" y="37828"/>
                    <a:pt x="225117" y="37828"/>
                  </a:cubicBezTo>
                  <a:lnTo>
                    <a:pt x="222244" y="35745"/>
                  </a:lnTo>
                  <a:lnTo>
                    <a:pt x="216185" y="34593"/>
                  </a:lnTo>
                  <a:lnTo>
                    <a:pt x="210246" y="31739"/>
                  </a:lnTo>
                  <a:lnTo>
                    <a:pt x="203771" y="32270"/>
                  </a:lnTo>
                  <a:cubicBezTo>
                    <a:pt x="203771" y="32270"/>
                    <a:pt x="191011" y="28008"/>
                    <a:pt x="184691" y="18955"/>
                  </a:cubicBezTo>
                  <a:cubicBezTo>
                    <a:pt x="179494" y="11565"/>
                    <a:pt x="173786" y="7376"/>
                    <a:pt x="170441" y="4854"/>
                  </a:cubicBezTo>
                  <a:cubicBezTo>
                    <a:pt x="168657" y="5197"/>
                    <a:pt x="166931" y="5221"/>
                    <a:pt x="166242" y="410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08" name="Freihandform: Form 607">
              <a:extLst>
                <a:ext uri="{FF2B5EF4-FFF2-40B4-BE49-F238E27FC236}">
                  <a16:creationId xmlns:a16="http://schemas.microsoft.com/office/drawing/2014/main" id="{D94F1C59-06E5-D5EB-E815-0380CD22265D}"/>
                </a:ext>
              </a:extLst>
            </p:cNvPr>
            <p:cNvSpPr/>
            <p:nvPr/>
          </p:nvSpPr>
          <p:spPr>
            <a:xfrm>
              <a:off x="6092862" y="4440269"/>
              <a:ext cx="749215" cy="531832"/>
            </a:xfrm>
            <a:custGeom>
              <a:avLst/>
              <a:gdLst>
                <a:gd name="connsiteX0" fmla="*/ 505389 w 587822"/>
                <a:gd name="connsiteY0" fmla="*/ 16810 h 416359"/>
                <a:gd name="connsiteX1" fmla="*/ 493472 w 587822"/>
                <a:gd name="connsiteY1" fmla="*/ 18873 h 416359"/>
                <a:gd name="connsiteX2" fmla="*/ 481888 w 587822"/>
                <a:gd name="connsiteY2" fmla="*/ 25328 h 416359"/>
                <a:gd name="connsiteX3" fmla="*/ 473625 w 587822"/>
                <a:gd name="connsiteY3" fmla="*/ 23115 h 416359"/>
                <a:gd name="connsiteX4" fmla="*/ 467406 w 587822"/>
                <a:gd name="connsiteY4" fmla="*/ 16164 h 416359"/>
                <a:gd name="connsiteX5" fmla="*/ 464051 w 587822"/>
                <a:gd name="connsiteY5" fmla="*/ 8648 h 416359"/>
                <a:gd name="connsiteX6" fmla="*/ 457620 w 587822"/>
                <a:gd name="connsiteY6" fmla="*/ 7496 h 416359"/>
                <a:gd name="connsiteX7" fmla="*/ 450635 w 587822"/>
                <a:gd name="connsiteY7" fmla="*/ 1938 h 416359"/>
                <a:gd name="connsiteX8" fmla="*/ 445318 w 587822"/>
                <a:gd name="connsiteY8" fmla="*/ 0 h 416359"/>
                <a:gd name="connsiteX9" fmla="*/ 435537 w 587822"/>
                <a:gd name="connsiteY9" fmla="*/ 6378 h 416359"/>
                <a:gd name="connsiteX10" fmla="*/ 434356 w 587822"/>
                <a:gd name="connsiteY10" fmla="*/ 12148 h 416359"/>
                <a:gd name="connsiteX11" fmla="*/ 431415 w 587822"/>
                <a:gd name="connsiteY11" fmla="*/ 9959 h 416359"/>
                <a:gd name="connsiteX12" fmla="*/ 417825 w 587822"/>
                <a:gd name="connsiteY12" fmla="*/ 15233 h 416359"/>
                <a:gd name="connsiteX13" fmla="*/ 412518 w 587822"/>
                <a:gd name="connsiteY13" fmla="*/ 12799 h 416359"/>
                <a:gd name="connsiteX14" fmla="*/ 407099 w 587822"/>
                <a:gd name="connsiteY14" fmla="*/ 14708 h 416359"/>
                <a:gd name="connsiteX15" fmla="*/ 401411 w 587822"/>
                <a:gd name="connsiteY15" fmla="*/ 10866 h 416359"/>
                <a:gd name="connsiteX16" fmla="*/ 395101 w 587822"/>
                <a:gd name="connsiteY16" fmla="*/ 9294 h 416359"/>
                <a:gd name="connsiteX17" fmla="*/ 381810 w 587822"/>
                <a:gd name="connsiteY17" fmla="*/ 11753 h 416359"/>
                <a:gd name="connsiteX18" fmla="*/ 375717 w 587822"/>
                <a:gd name="connsiteY18" fmla="*/ 15122 h 416359"/>
                <a:gd name="connsiteX19" fmla="*/ 369261 w 587822"/>
                <a:gd name="connsiteY19" fmla="*/ 16815 h 416359"/>
                <a:gd name="connsiteX20" fmla="*/ 360739 w 587822"/>
                <a:gd name="connsiteY20" fmla="*/ 35379 h 416359"/>
                <a:gd name="connsiteX21" fmla="*/ 355581 w 587822"/>
                <a:gd name="connsiteY21" fmla="*/ 54537 h 416359"/>
                <a:gd name="connsiteX22" fmla="*/ 343027 w 587822"/>
                <a:gd name="connsiteY22" fmla="*/ 60066 h 416359"/>
                <a:gd name="connsiteX23" fmla="*/ 333352 w 587822"/>
                <a:gd name="connsiteY23" fmla="*/ 71559 h 416359"/>
                <a:gd name="connsiteX24" fmla="*/ 328599 w 587822"/>
                <a:gd name="connsiteY24" fmla="*/ 72971 h 416359"/>
                <a:gd name="connsiteX25" fmla="*/ 322255 w 587822"/>
                <a:gd name="connsiteY25" fmla="*/ 79416 h 416359"/>
                <a:gd name="connsiteX26" fmla="*/ 316836 w 587822"/>
                <a:gd name="connsiteY26" fmla="*/ 76500 h 416359"/>
                <a:gd name="connsiteX27" fmla="*/ 312951 w 587822"/>
                <a:gd name="connsiteY27" fmla="*/ 76857 h 416359"/>
                <a:gd name="connsiteX28" fmla="*/ 306236 w 587822"/>
                <a:gd name="connsiteY28" fmla="*/ 71559 h 416359"/>
                <a:gd name="connsiteX29" fmla="*/ 300311 w 587822"/>
                <a:gd name="connsiteY29" fmla="*/ 72074 h 416359"/>
                <a:gd name="connsiteX30" fmla="*/ 296310 w 587822"/>
                <a:gd name="connsiteY30" fmla="*/ 69486 h 416359"/>
                <a:gd name="connsiteX31" fmla="*/ 288539 w 587822"/>
                <a:gd name="connsiteY31" fmla="*/ 72831 h 416359"/>
                <a:gd name="connsiteX32" fmla="*/ 285724 w 587822"/>
                <a:gd name="connsiteY32" fmla="*/ 85485 h 416359"/>
                <a:gd name="connsiteX33" fmla="*/ 279100 w 587822"/>
                <a:gd name="connsiteY33" fmla="*/ 91034 h 416359"/>
                <a:gd name="connsiteX34" fmla="*/ 263876 w 587822"/>
                <a:gd name="connsiteY34" fmla="*/ 93883 h 416359"/>
                <a:gd name="connsiteX35" fmla="*/ 255744 w 587822"/>
                <a:gd name="connsiteY35" fmla="*/ 95961 h 416359"/>
                <a:gd name="connsiteX36" fmla="*/ 250576 w 587822"/>
                <a:gd name="connsiteY36" fmla="*/ 97904 h 416359"/>
                <a:gd name="connsiteX37" fmla="*/ 244371 w 587822"/>
                <a:gd name="connsiteY37" fmla="*/ 98024 h 416359"/>
                <a:gd name="connsiteX38" fmla="*/ 240390 w 587822"/>
                <a:gd name="connsiteY38" fmla="*/ 99832 h 416359"/>
                <a:gd name="connsiteX39" fmla="*/ 232888 w 587822"/>
                <a:gd name="connsiteY39" fmla="*/ 101254 h 416359"/>
                <a:gd name="connsiteX40" fmla="*/ 226308 w 587822"/>
                <a:gd name="connsiteY40" fmla="*/ 108355 h 416359"/>
                <a:gd name="connsiteX41" fmla="*/ 223575 w 587822"/>
                <a:gd name="connsiteY41" fmla="*/ 117013 h 416359"/>
                <a:gd name="connsiteX42" fmla="*/ 231462 w 587822"/>
                <a:gd name="connsiteY42" fmla="*/ 131759 h 416359"/>
                <a:gd name="connsiteX43" fmla="*/ 223575 w 587822"/>
                <a:gd name="connsiteY43" fmla="*/ 135732 h 416359"/>
                <a:gd name="connsiteX44" fmla="*/ 221025 w 587822"/>
                <a:gd name="connsiteY44" fmla="*/ 140403 h 416359"/>
                <a:gd name="connsiteX45" fmla="*/ 215973 w 587822"/>
                <a:gd name="connsiteY45" fmla="*/ 143619 h 416359"/>
                <a:gd name="connsiteX46" fmla="*/ 211456 w 587822"/>
                <a:gd name="connsiteY46" fmla="*/ 143879 h 416359"/>
                <a:gd name="connsiteX47" fmla="*/ 205377 w 587822"/>
                <a:gd name="connsiteY47" fmla="*/ 144790 h 416359"/>
                <a:gd name="connsiteX48" fmla="*/ 200599 w 587822"/>
                <a:gd name="connsiteY48" fmla="*/ 146313 h 416359"/>
                <a:gd name="connsiteX49" fmla="*/ 191701 w 587822"/>
                <a:gd name="connsiteY49" fmla="*/ 147870 h 416359"/>
                <a:gd name="connsiteX50" fmla="*/ 171916 w 587822"/>
                <a:gd name="connsiteY50" fmla="*/ 150435 h 416359"/>
                <a:gd name="connsiteX51" fmla="*/ 149476 w 587822"/>
                <a:gd name="connsiteY51" fmla="*/ 153684 h 416359"/>
                <a:gd name="connsiteX52" fmla="*/ 140413 w 587822"/>
                <a:gd name="connsiteY52" fmla="*/ 154186 h 416359"/>
                <a:gd name="connsiteX53" fmla="*/ 125825 w 587822"/>
                <a:gd name="connsiteY53" fmla="*/ 147489 h 416359"/>
                <a:gd name="connsiteX54" fmla="*/ 119501 w 587822"/>
                <a:gd name="connsiteY54" fmla="*/ 146183 h 416359"/>
                <a:gd name="connsiteX55" fmla="*/ 116271 w 587822"/>
                <a:gd name="connsiteY55" fmla="*/ 142573 h 416359"/>
                <a:gd name="connsiteX56" fmla="*/ 105154 w 587822"/>
                <a:gd name="connsiteY56" fmla="*/ 135351 h 416359"/>
                <a:gd name="connsiteX57" fmla="*/ 98188 w 587822"/>
                <a:gd name="connsiteY57" fmla="*/ 127715 h 416359"/>
                <a:gd name="connsiteX58" fmla="*/ 91217 w 587822"/>
                <a:gd name="connsiteY58" fmla="*/ 125285 h 416359"/>
                <a:gd name="connsiteX59" fmla="*/ 82169 w 587822"/>
                <a:gd name="connsiteY59" fmla="*/ 123579 h 416359"/>
                <a:gd name="connsiteX60" fmla="*/ 78997 w 587822"/>
                <a:gd name="connsiteY60" fmla="*/ 125777 h 416359"/>
                <a:gd name="connsiteX61" fmla="*/ 83336 w 587822"/>
                <a:gd name="connsiteY61" fmla="*/ 126375 h 416359"/>
                <a:gd name="connsiteX62" fmla="*/ 78997 w 587822"/>
                <a:gd name="connsiteY62" fmla="*/ 125777 h 416359"/>
                <a:gd name="connsiteX63" fmla="*/ 75598 w 587822"/>
                <a:gd name="connsiteY63" fmla="*/ 136248 h 416359"/>
                <a:gd name="connsiteX64" fmla="*/ 73776 w 587822"/>
                <a:gd name="connsiteY64" fmla="*/ 147639 h 416359"/>
                <a:gd name="connsiteX65" fmla="*/ 75184 w 587822"/>
                <a:gd name="connsiteY65" fmla="*/ 160669 h 416359"/>
                <a:gd name="connsiteX66" fmla="*/ 72619 w 587822"/>
                <a:gd name="connsiteY66" fmla="*/ 166088 h 416359"/>
                <a:gd name="connsiteX67" fmla="*/ 66025 w 587822"/>
                <a:gd name="connsiteY67" fmla="*/ 169419 h 416359"/>
                <a:gd name="connsiteX68" fmla="*/ 55197 w 587822"/>
                <a:gd name="connsiteY68" fmla="*/ 172412 h 416359"/>
                <a:gd name="connsiteX69" fmla="*/ 43565 w 587822"/>
                <a:gd name="connsiteY69" fmla="*/ 167240 h 416359"/>
                <a:gd name="connsiteX70" fmla="*/ 31793 w 587822"/>
                <a:gd name="connsiteY70" fmla="*/ 165316 h 416359"/>
                <a:gd name="connsiteX71" fmla="*/ 28322 w 587822"/>
                <a:gd name="connsiteY71" fmla="*/ 169424 h 416359"/>
                <a:gd name="connsiteX72" fmla="*/ 19664 w 587822"/>
                <a:gd name="connsiteY72" fmla="*/ 178255 h 416359"/>
                <a:gd name="connsiteX73" fmla="*/ 36724 w 587822"/>
                <a:gd name="connsiteY73" fmla="*/ 180564 h 416359"/>
                <a:gd name="connsiteX74" fmla="*/ 45903 w 587822"/>
                <a:gd name="connsiteY74" fmla="*/ 191512 h 416359"/>
                <a:gd name="connsiteX75" fmla="*/ 41878 w 587822"/>
                <a:gd name="connsiteY75" fmla="*/ 197851 h 416359"/>
                <a:gd name="connsiteX76" fmla="*/ 42003 w 587822"/>
                <a:gd name="connsiteY76" fmla="*/ 203251 h 416359"/>
                <a:gd name="connsiteX77" fmla="*/ 36589 w 587822"/>
                <a:gd name="connsiteY77" fmla="*/ 209224 h 416359"/>
                <a:gd name="connsiteX78" fmla="*/ 30390 w 587822"/>
                <a:gd name="connsiteY78" fmla="*/ 210766 h 416359"/>
                <a:gd name="connsiteX79" fmla="*/ 25343 w 587822"/>
                <a:gd name="connsiteY79" fmla="*/ 216324 h 416359"/>
                <a:gd name="connsiteX80" fmla="*/ 29349 w 587822"/>
                <a:gd name="connsiteY80" fmla="*/ 227962 h 416359"/>
                <a:gd name="connsiteX81" fmla="*/ 26514 w 587822"/>
                <a:gd name="connsiteY81" fmla="*/ 234658 h 416359"/>
                <a:gd name="connsiteX82" fmla="*/ 28196 w 587822"/>
                <a:gd name="connsiteY82" fmla="*/ 246922 h 416359"/>
                <a:gd name="connsiteX83" fmla="*/ 34131 w 587822"/>
                <a:gd name="connsiteY83" fmla="*/ 247437 h 416359"/>
                <a:gd name="connsiteX84" fmla="*/ 30641 w 587822"/>
                <a:gd name="connsiteY84" fmla="*/ 254129 h 416359"/>
                <a:gd name="connsiteX85" fmla="*/ 32323 w 587822"/>
                <a:gd name="connsiteY85" fmla="*/ 264744 h 416359"/>
                <a:gd name="connsiteX86" fmla="*/ 22633 w 587822"/>
                <a:gd name="connsiteY86" fmla="*/ 266151 h 416359"/>
                <a:gd name="connsiteX87" fmla="*/ 12563 w 587822"/>
                <a:gd name="connsiteY87" fmla="*/ 271999 h 416359"/>
                <a:gd name="connsiteX88" fmla="*/ 6884 w 587822"/>
                <a:gd name="connsiteY88" fmla="*/ 277528 h 416359"/>
                <a:gd name="connsiteX89" fmla="*/ 0 w 587822"/>
                <a:gd name="connsiteY89" fmla="*/ 286167 h 416359"/>
                <a:gd name="connsiteX90" fmla="*/ 7284 w 587822"/>
                <a:gd name="connsiteY90" fmla="*/ 286702 h 416359"/>
                <a:gd name="connsiteX91" fmla="*/ 14756 w 587822"/>
                <a:gd name="connsiteY91" fmla="*/ 285275 h 416359"/>
                <a:gd name="connsiteX92" fmla="*/ 19674 w 587822"/>
                <a:gd name="connsiteY92" fmla="*/ 287353 h 416359"/>
                <a:gd name="connsiteX93" fmla="*/ 22007 w 587822"/>
                <a:gd name="connsiteY93" fmla="*/ 291248 h 416359"/>
                <a:gd name="connsiteX94" fmla="*/ 20575 w 587822"/>
                <a:gd name="connsiteY94" fmla="*/ 297553 h 416359"/>
                <a:gd name="connsiteX95" fmla="*/ 25227 w 587822"/>
                <a:gd name="connsiteY95" fmla="*/ 303478 h 416359"/>
                <a:gd name="connsiteX96" fmla="*/ 26639 w 587822"/>
                <a:gd name="connsiteY96" fmla="*/ 305561 h 416359"/>
                <a:gd name="connsiteX97" fmla="*/ 31296 w 587822"/>
                <a:gd name="connsiteY97" fmla="*/ 308680 h 416359"/>
                <a:gd name="connsiteX98" fmla="*/ 28982 w 587822"/>
                <a:gd name="connsiteY98" fmla="*/ 314479 h 416359"/>
                <a:gd name="connsiteX99" fmla="*/ 41646 w 587822"/>
                <a:gd name="connsiteY99" fmla="*/ 325976 h 416359"/>
                <a:gd name="connsiteX100" fmla="*/ 48212 w 587822"/>
                <a:gd name="connsiteY100" fmla="*/ 333911 h 416359"/>
                <a:gd name="connsiteX101" fmla="*/ 53510 w 587822"/>
                <a:gd name="connsiteY101" fmla="*/ 332942 h 416359"/>
                <a:gd name="connsiteX102" fmla="*/ 48212 w 587822"/>
                <a:gd name="connsiteY102" fmla="*/ 333911 h 416359"/>
                <a:gd name="connsiteX103" fmla="*/ 49114 w 587822"/>
                <a:gd name="connsiteY103" fmla="*/ 334355 h 416359"/>
                <a:gd name="connsiteX104" fmla="*/ 56740 w 587822"/>
                <a:gd name="connsiteY104" fmla="*/ 337609 h 416359"/>
                <a:gd name="connsiteX105" fmla="*/ 60746 w 587822"/>
                <a:gd name="connsiteY105" fmla="*/ 342482 h 416359"/>
                <a:gd name="connsiteX106" fmla="*/ 70450 w 587822"/>
                <a:gd name="connsiteY106" fmla="*/ 344980 h 416359"/>
                <a:gd name="connsiteX107" fmla="*/ 75719 w 587822"/>
                <a:gd name="connsiteY107" fmla="*/ 349067 h 416359"/>
                <a:gd name="connsiteX108" fmla="*/ 78718 w 587822"/>
                <a:gd name="connsiteY108" fmla="*/ 355932 h 416359"/>
                <a:gd name="connsiteX109" fmla="*/ 84367 w 587822"/>
                <a:gd name="connsiteY109" fmla="*/ 362508 h 416359"/>
                <a:gd name="connsiteX110" fmla="*/ 107483 w 587822"/>
                <a:gd name="connsiteY110" fmla="*/ 371812 h 416359"/>
                <a:gd name="connsiteX111" fmla="*/ 108794 w 587822"/>
                <a:gd name="connsiteY111" fmla="*/ 376974 h 416359"/>
                <a:gd name="connsiteX112" fmla="*/ 112125 w 587822"/>
                <a:gd name="connsiteY112" fmla="*/ 377910 h 416359"/>
                <a:gd name="connsiteX113" fmla="*/ 112400 w 587822"/>
                <a:gd name="connsiteY113" fmla="*/ 381766 h 416359"/>
                <a:gd name="connsiteX114" fmla="*/ 115890 w 587822"/>
                <a:gd name="connsiteY114" fmla="*/ 383680 h 416359"/>
                <a:gd name="connsiteX115" fmla="*/ 117948 w 587822"/>
                <a:gd name="connsiteY115" fmla="*/ 390559 h 416359"/>
                <a:gd name="connsiteX116" fmla="*/ 121434 w 587822"/>
                <a:gd name="connsiteY116" fmla="*/ 391162 h 416359"/>
                <a:gd name="connsiteX117" fmla="*/ 134493 w 587822"/>
                <a:gd name="connsiteY117" fmla="*/ 396079 h 416359"/>
                <a:gd name="connsiteX118" fmla="*/ 154379 w 587822"/>
                <a:gd name="connsiteY118" fmla="*/ 405258 h 416359"/>
                <a:gd name="connsiteX119" fmla="*/ 161475 w 587822"/>
                <a:gd name="connsiteY119" fmla="*/ 409394 h 416359"/>
                <a:gd name="connsiteX120" fmla="*/ 176578 w 587822"/>
                <a:gd name="connsiteY120" fmla="*/ 416360 h 416359"/>
                <a:gd name="connsiteX121" fmla="*/ 188591 w 587822"/>
                <a:gd name="connsiteY121" fmla="*/ 412874 h 416359"/>
                <a:gd name="connsiteX122" fmla="*/ 202532 w 587822"/>
                <a:gd name="connsiteY122" fmla="*/ 411963 h 416359"/>
                <a:gd name="connsiteX123" fmla="*/ 212868 w 587822"/>
                <a:gd name="connsiteY123" fmla="*/ 412243 h 416359"/>
                <a:gd name="connsiteX124" fmla="*/ 221261 w 587822"/>
                <a:gd name="connsiteY124" fmla="*/ 412633 h 416359"/>
                <a:gd name="connsiteX125" fmla="*/ 226684 w 587822"/>
                <a:gd name="connsiteY125" fmla="*/ 411336 h 416359"/>
                <a:gd name="connsiteX126" fmla="*/ 231457 w 587822"/>
                <a:gd name="connsiteY126" fmla="*/ 409249 h 416359"/>
                <a:gd name="connsiteX127" fmla="*/ 237415 w 587822"/>
                <a:gd name="connsiteY127" fmla="*/ 405118 h 416359"/>
                <a:gd name="connsiteX128" fmla="*/ 249308 w 587822"/>
                <a:gd name="connsiteY128" fmla="*/ 387267 h 416359"/>
                <a:gd name="connsiteX129" fmla="*/ 255849 w 587822"/>
                <a:gd name="connsiteY129" fmla="*/ 388327 h 416359"/>
                <a:gd name="connsiteX130" fmla="*/ 263486 w 587822"/>
                <a:gd name="connsiteY130" fmla="*/ 386669 h 416359"/>
                <a:gd name="connsiteX131" fmla="*/ 269362 w 587822"/>
                <a:gd name="connsiteY131" fmla="*/ 383386 h 416359"/>
                <a:gd name="connsiteX132" fmla="*/ 270206 w 587822"/>
                <a:gd name="connsiteY132" fmla="*/ 377905 h 416359"/>
                <a:gd name="connsiteX133" fmla="*/ 269362 w 587822"/>
                <a:gd name="connsiteY133" fmla="*/ 383386 h 416359"/>
                <a:gd name="connsiteX134" fmla="*/ 284166 w 587822"/>
                <a:gd name="connsiteY134" fmla="*/ 373986 h 416359"/>
                <a:gd name="connsiteX135" fmla="*/ 286480 w 587822"/>
                <a:gd name="connsiteY135" fmla="*/ 368206 h 416359"/>
                <a:gd name="connsiteX136" fmla="*/ 292299 w 587822"/>
                <a:gd name="connsiteY136" fmla="*/ 372062 h 416359"/>
                <a:gd name="connsiteX137" fmla="*/ 305474 w 587822"/>
                <a:gd name="connsiteY137" fmla="*/ 370380 h 416359"/>
                <a:gd name="connsiteX138" fmla="*/ 308039 w 587822"/>
                <a:gd name="connsiteY138" fmla="*/ 364315 h 416359"/>
                <a:gd name="connsiteX139" fmla="*/ 314108 w 587822"/>
                <a:gd name="connsiteY139" fmla="*/ 361457 h 416359"/>
                <a:gd name="connsiteX140" fmla="*/ 320312 w 587822"/>
                <a:gd name="connsiteY140" fmla="*/ 354881 h 416359"/>
                <a:gd name="connsiteX141" fmla="*/ 327939 w 587822"/>
                <a:gd name="connsiteY141" fmla="*/ 342482 h 416359"/>
                <a:gd name="connsiteX142" fmla="*/ 340723 w 587822"/>
                <a:gd name="connsiteY142" fmla="*/ 340805 h 416359"/>
                <a:gd name="connsiteX143" fmla="*/ 352862 w 587822"/>
                <a:gd name="connsiteY143" fmla="*/ 342617 h 416359"/>
                <a:gd name="connsiteX144" fmla="*/ 368341 w 587822"/>
                <a:gd name="connsiteY144" fmla="*/ 338105 h 416359"/>
                <a:gd name="connsiteX145" fmla="*/ 375832 w 587822"/>
                <a:gd name="connsiteY145" fmla="*/ 339262 h 416359"/>
                <a:gd name="connsiteX146" fmla="*/ 387720 w 587822"/>
                <a:gd name="connsiteY146" fmla="*/ 338341 h 416359"/>
                <a:gd name="connsiteX147" fmla="*/ 391620 w 587822"/>
                <a:gd name="connsiteY147" fmla="*/ 341431 h 416359"/>
                <a:gd name="connsiteX148" fmla="*/ 406318 w 587822"/>
                <a:gd name="connsiteY148" fmla="*/ 334755 h 416359"/>
                <a:gd name="connsiteX149" fmla="*/ 411756 w 587822"/>
                <a:gd name="connsiteY149" fmla="*/ 329071 h 416359"/>
                <a:gd name="connsiteX150" fmla="*/ 424811 w 587822"/>
                <a:gd name="connsiteY150" fmla="*/ 333699 h 416359"/>
                <a:gd name="connsiteX151" fmla="*/ 436414 w 587822"/>
                <a:gd name="connsiteY151" fmla="*/ 316253 h 416359"/>
                <a:gd name="connsiteX152" fmla="*/ 450775 w 587822"/>
                <a:gd name="connsiteY152" fmla="*/ 310724 h 416359"/>
                <a:gd name="connsiteX153" fmla="*/ 461742 w 587822"/>
                <a:gd name="connsiteY153" fmla="*/ 314055 h 416359"/>
                <a:gd name="connsiteX154" fmla="*/ 470520 w 587822"/>
                <a:gd name="connsiteY154" fmla="*/ 301183 h 416359"/>
                <a:gd name="connsiteX155" fmla="*/ 472053 w 587822"/>
                <a:gd name="connsiteY155" fmla="*/ 291479 h 416359"/>
                <a:gd name="connsiteX156" fmla="*/ 475418 w 587822"/>
                <a:gd name="connsiteY156" fmla="*/ 288109 h 416359"/>
                <a:gd name="connsiteX157" fmla="*/ 478648 w 587822"/>
                <a:gd name="connsiteY157" fmla="*/ 282580 h 416359"/>
                <a:gd name="connsiteX158" fmla="*/ 475023 w 587822"/>
                <a:gd name="connsiteY158" fmla="*/ 276381 h 416359"/>
                <a:gd name="connsiteX159" fmla="*/ 477872 w 587822"/>
                <a:gd name="connsiteY159" fmla="*/ 270432 h 416359"/>
                <a:gd name="connsiteX160" fmla="*/ 477082 w 587822"/>
                <a:gd name="connsiteY160" fmla="*/ 264348 h 416359"/>
                <a:gd name="connsiteX161" fmla="*/ 477602 w 587822"/>
                <a:gd name="connsiteY161" fmla="*/ 259465 h 416359"/>
                <a:gd name="connsiteX162" fmla="*/ 484838 w 587822"/>
                <a:gd name="connsiteY162" fmla="*/ 259103 h 416359"/>
                <a:gd name="connsiteX163" fmla="*/ 487562 w 587822"/>
                <a:gd name="connsiteY163" fmla="*/ 252494 h 416359"/>
                <a:gd name="connsiteX164" fmla="*/ 491524 w 587822"/>
                <a:gd name="connsiteY164" fmla="*/ 249120 h 416359"/>
                <a:gd name="connsiteX165" fmla="*/ 494239 w 587822"/>
                <a:gd name="connsiteY165" fmla="*/ 243195 h 416359"/>
                <a:gd name="connsiteX166" fmla="*/ 489895 w 587822"/>
                <a:gd name="connsiteY166" fmla="*/ 238529 h 416359"/>
                <a:gd name="connsiteX167" fmla="*/ 492710 w 587822"/>
                <a:gd name="connsiteY167" fmla="*/ 226390 h 416359"/>
                <a:gd name="connsiteX168" fmla="*/ 497999 w 587822"/>
                <a:gd name="connsiteY168" fmla="*/ 221347 h 416359"/>
                <a:gd name="connsiteX169" fmla="*/ 499059 w 587822"/>
                <a:gd name="connsiteY169" fmla="*/ 214372 h 416359"/>
                <a:gd name="connsiteX170" fmla="*/ 499951 w 587822"/>
                <a:gd name="connsiteY170" fmla="*/ 201713 h 416359"/>
                <a:gd name="connsiteX171" fmla="*/ 500876 w 587822"/>
                <a:gd name="connsiteY171" fmla="*/ 195263 h 416359"/>
                <a:gd name="connsiteX172" fmla="*/ 508995 w 587822"/>
                <a:gd name="connsiteY172" fmla="*/ 184927 h 416359"/>
                <a:gd name="connsiteX173" fmla="*/ 511959 w 587822"/>
                <a:gd name="connsiteY173" fmla="*/ 178472 h 416359"/>
                <a:gd name="connsiteX174" fmla="*/ 511834 w 587822"/>
                <a:gd name="connsiteY174" fmla="*/ 172263 h 416359"/>
                <a:gd name="connsiteX175" fmla="*/ 515826 w 587822"/>
                <a:gd name="connsiteY175" fmla="*/ 154171 h 416359"/>
                <a:gd name="connsiteX176" fmla="*/ 521524 w 587822"/>
                <a:gd name="connsiteY176" fmla="*/ 150700 h 416359"/>
                <a:gd name="connsiteX177" fmla="*/ 522951 w 587822"/>
                <a:gd name="connsiteY177" fmla="*/ 144775 h 416359"/>
                <a:gd name="connsiteX178" fmla="*/ 520106 w 587822"/>
                <a:gd name="connsiteY178" fmla="*/ 133134 h 416359"/>
                <a:gd name="connsiteX179" fmla="*/ 527988 w 587822"/>
                <a:gd name="connsiteY179" fmla="*/ 121911 h 416359"/>
                <a:gd name="connsiteX180" fmla="*/ 533527 w 587822"/>
                <a:gd name="connsiteY180" fmla="*/ 117394 h 416359"/>
                <a:gd name="connsiteX181" fmla="*/ 535885 w 587822"/>
                <a:gd name="connsiteY181" fmla="*/ 104219 h 416359"/>
                <a:gd name="connsiteX182" fmla="*/ 538950 w 587822"/>
                <a:gd name="connsiteY182" fmla="*/ 98685 h 416359"/>
                <a:gd name="connsiteX183" fmla="*/ 551099 w 587822"/>
                <a:gd name="connsiteY183" fmla="*/ 93213 h 416359"/>
                <a:gd name="connsiteX184" fmla="*/ 557298 w 587822"/>
                <a:gd name="connsiteY184" fmla="*/ 87409 h 416359"/>
                <a:gd name="connsiteX185" fmla="*/ 564129 w 587822"/>
                <a:gd name="connsiteY185" fmla="*/ 89737 h 416359"/>
                <a:gd name="connsiteX186" fmla="*/ 570213 w 587822"/>
                <a:gd name="connsiteY186" fmla="*/ 87308 h 416359"/>
                <a:gd name="connsiteX187" fmla="*/ 574614 w 587822"/>
                <a:gd name="connsiteY187" fmla="*/ 79556 h 416359"/>
                <a:gd name="connsiteX188" fmla="*/ 580549 w 587822"/>
                <a:gd name="connsiteY188" fmla="*/ 76052 h 416359"/>
                <a:gd name="connsiteX189" fmla="*/ 580264 w 587822"/>
                <a:gd name="connsiteY189" fmla="*/ 69876 h 416359"/>
                <a:gd name="connsiteX190" fmla="*/ 585822 w 587822"/>
                <a:gd name="connsiteY190" fmla="*/ 64718 h 416359"/>
                <a:gd name="connsiteX191" fmla="*/ 587823 w 587822"/>
                <a:gd name="connsiteY191" fmla="*/ 60003 h 416359"/>
                <a:gd name="connsiteX192" fmla="*/ 584294 w 587822"/>
                <a:gd name="connsiteY192" fmla="*/ 53327 h 416359"/>
                <a:gd name="connsiteX193" fmla="*/ 584174 w 587822"/>
                <a:gd name="connsiteY193" fmla="*/ 47537 h 416359"/>
                <a:gd name="connsiteX194" fmla="*/ 576943 w 587822"/>
                <a:gd name="connsiteY194" fmla="*/ 41824 h 416359"/>
                <a:gd name="connsiteX195" fmla="*/ 571090 w 587822"/>
                <a:gd name="connsiteY195" fmla="*/ 41304 h 416359"/>
                <a:gd name="connsiteX196" fmla="*/ 565807 w 587822"/>
                <a:gd name="connsiteY196" fmla="*/ 44818 h 416359"/>
                <a:gd name="connsiteX197" fmla="*/ 558074 w 587822"/>
                <a:gd name="connsiteY197" fmla="*/ 40937 h 416359"/>
                <a:gd name="connsiteX198" fmla="*/ 538078 w 587822"/>
                <a:gd name="connsiteY198" fmla="*/ 29324 h 416359"/>
                <a:gd name="connsiteX199" fmla="*/ 530191 w 587822"/>
                <a:gd name="connsiteY199" fmla="*/ 23106 h 416359"/>
                <a:gd name="connsiteX200" fmla="*/ 528360 w 587822"/>
                <a:gd name="connsiteY200" fmla="*/ 17976 h 416359"/>
                <a:gd name="connsiteX201" fmla="*/ 523336 w 587822"/>
                <a:gd name="connsiteY201" fmla="*/ 17036 h 416359"/>
                <a:gd name="connsiteX202" fmla="*/ 521779 w 587822"/>
                <a:gd name="connsiteY202" fmla="*/ 14448 h 416359"/>
                <a:gd name="connsiteX203" fmla="*/ 516626 w 587822"/>
                <a:gd name="connsiteY203" fmla="*/ 11102 h 416359"/>
                <a:gd name="connsiteX204" fmla="*/ 511887 w 587822"/>
                <a:gd name="connsiteY204" fmla="*/ 10239 h 416359"/>
                <a:gd name="connsiteX205" fmla="*/ 511969 w 587822"/>
                <a:gd name="connsiteY205" fmla="*/ 10581 h 416359"/>
                <a:gd name="connsiteX206" fmla="*/ 505389 w 587822"/>
                <a:gd name="connsiteY206" fmla="*/ 16810 h 416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587822" h="416359">
                  <a:moveTo>
                    <a:pt x="505389" y="16810"/>
                  </a:moveTo>
                  <a:lnTo>
                    <a:pt x="493472" y="18873"/>
                  </a:lnTo>
                  <a:cubicBezTo>
                    <a:pt x="493472" y="18873"/>
                    <a:pt x="484457" y="23400"/>
                    <a:pt x="481888" y="25328"/>
                  </a:cubicBezTo>
                  <a:cubicBezTo>
                    <a:pt x="479304" y="27247"/>
                    <a:pt x="474281" y="25964"/>
                    <a:pt x="473625" y="23115"/>
                  </a:cubicBezTo>
                  <a:cubicBezTo>
                    <a:pt x="472969" y="20286"/>
                    <a:pt x="467406" y="16164"/>
                    <a:pt x="467406" y="16164"/>
                  </a:cubicBezTo>
                  <a:lnTo>
                    <a:pt x="464051" y="8648"/>
                  </a:lnTo>
                  <a:lnTo>
                    <a:pt x="457620" y="7496"/>
                  </a:lnTo>
                  <a:lnTo>
                    <a:pt x="450635" y="1938"/>
                  </a:lnTo>
                  <a:lnTo>
                    <a:pt x="445318" y="0"/>
                  </a:lnTo>
                  <a:lnTo>
                    <a:pt x="435537" y="6378"/>
                  </a:lnTo>
                  <a:lnTo>
                    <a:pt x="434356" y="12148"/>
                  </a:lnTo>
                  <a:lnTo>
                    <a:pt x="431415" y="9959"/>
                  </a:lnTo>
                  <a:lnTo>
                    <a:pt x="417825" y="15233"/>
                  </a:lnTo>
                  <a:lnTo>
                    <a:pt x="412518" y="12799"/>
                  </a:lnTo>
                  <a:lnTo>
                    <a:pt x="407099" y="14708"/>
                  </a:lnTo>
                  <a:lnTo>
                    <a:pt x="401411" y="10866"/>
                  </a:lnTo>
                  <a:lnTo>
                    <a:pt x="395101" y="9294"/>
                  </a:lnTo>
                  <a:lnTo>
                    <a:pt x="381810" y="11753"/>
                  </a:lnTo>
                  <a:lnTo>
                    <a:pt x="375717" y="15122"/>
                  </a:lnTo>
                  <a:lnTo>
                    <a:pt x="369261" y="16815"/>
                  </a:lnTo>
                  <a:lnTo>
                    <a:pt x="360739" y="35379"/>
                  </a:lnTo>
                  <a:cubicBezTo>
                    <a:pt x="360739" y="35379"/>
                    <a:pt x="359056" y="46640"/>
                    <a:pt x="355581" y="54537"/>
                  </a:cubicBezTo>
                  <a:cubicBezTo>
                    <a:pt x="348615" y="55038"/>
                    <a:pt x="343027" y="60066"/>
                    <a:pt x="343027" y="60066"/>
                  </a:cubicBezTo>
                  <a:lnTo>
                    <a:pt x="333352" y="71559"/>
                  </a:lnTo>
                  <a:lnTo>
                    <a:pt x="328599" y="72971"/>
                  </a:lnTo>
                  <a:lnTo>
                    <a:pt x="322255" y="79416"/>
                  </a:lnTo>
                  <a:lnTo>
                    <a:pt x="316836" y="76500"/>
                  </a:lnTo>
                  <a:lnTo>
                    <a:pt x="312951" y="76857"/>
                  </a:lnTo>
                  <a:lnTo>
                    <a:pt x="306236" y="71559"/>
                  </a:lnTo>
                  <a:lnTo>
                    <a:pt x="300311" y="72074"/>
                  </a:lnTo>
                  <a:lnTo>
                    <a:pt x="296310" y="69486"/>
                  </a:lnTo>
                  <a:cubicBezTo>
                    <a:pt x="296310" y="69486"/>
                    <a:pt x="291402" y="71424"/>
                    <a:pt x="288539" y="72831"/>
                  </a:cubicBezTo>
                  <a:cubicBezTo>
                    <a:pt x="285724" y="74244"/>
                    <a:pt x="285724" y="85485"/>
                    <a:pt x="285724" y="85485"/>
                  </a:cubicBezTo>
                  <a:cubicBezTo>
                    <a:pt x="285724" y="85485"/>
                    <a:pt x="284567" y="88199"/>
                    <a:pt x="279100" y="91034"/>
                  </a:cubicBezTo>
                  <a:cubicBezTo>
                    <a:pt x="276164" y="90658"/>
                    <a:pt x="265944" y="91328"/>
                    <a:pt x="263876" y="93883"/>
                  </a:cubicBezTo>
                  <a:cubicBezTo>
                    <a:pt x="261818" y="96462"/>
                    <a:pt x="259354" y="97508"/>
                    <a:pt x="255744" y="95961"/>
                  </a:cubicBezTo>
                  <a:cubicBezTo>
                    <a:pt x="252133" y="94452"/>
                    <a:pt x="251622" y="96101"/>
                    <a:pt x="250576" y="97904"/>
                  </a:cubicBezTo>
                  <a:cubicBezTo>
                    <a:pt x="249544" y="99711"/>
                    <a:pt x="246816" y="98550"/>
                    <a:pt x="244371" y="98024"/>
                  </a:cubicBezTo>
                  <a:cubicBezTo>
                    <a:pt x="241923" y="97508"/>
                    <a:pt x="240631" y="99326"/>
                    <a:pt x="240390" y="99832"/>
                  </a:cubicBezTo>
                  <a:cubicBezTo>
                    <a:pt x="240144" y="100348"/>
                    <a:pt x="237034" y="101254"/>
                    <a:pt x="232888" y="101254"/>
                  </a:cubicBezTo>
                  <a:cubicBezTo>
                    <a:pt x="228762" y="101254"/>
                    <a:pt x="226048" y="106292"/>
                    <a:pt x="226308" y="108355"/>
                  </a:cubicBezTo>
                  <a:cubicBezTo>
                    <a:pt x="226578" y="110399"/>
                    <a:pt x="226048" y="113677"/>
                    <a:pt x="223575" y="117013"/>
                  </a:cubicBezTo>
                  <a:cubicBezTo>
                    <a:pt x="221141" y="120373"/>
                    <a:pt x="227070" y="127715"/>
                    <a:pt x="231462" y="131759"/>
                  </a:cubicBezTo>
                  <a:cubicBezTo>
                    <a:pt x="235863" y="135732"/>
                    <a:pt x="223575" y="135732"/>
                    <a:pt x="223575" y="135732"/>
                  </a:cubicBezTo>
                  <a:lnTo>
                    <a:pt x="221025" y="140403"/>
                  </a:lnTo>
                  <a:lnTo>
                    <a:pt x="215973" y="143619"/>
                  </a:lnTo>
                  <a:cubicBezTo>
                    <a:pt x="215973" y="143619"/>
                    <a:pt x="213765" y="143990"/>
                    <a:pt x="211456" y="143879"/>
                  </a:cubicBezTo>
                  <a:cubicBezTo>
                    <a:pt x="209127" y="143773"/>
                    <a:pt x="206018" y="143773"/>
                    <a:pt x="205377" y="144790"/>
                  </a:cubicBezTo>
                  <a:cubicBezTo>
                    <a:pt x="204740" y="145821"/>
                    <a:pt x="201482" y="146848"/>
                    <a:pt x="200599" y="146313"/>
                  </a:cubicBezTo>
                  <a:cubicBezTo>
                    <a:pt x="199703" y="145817"/>
                    <a:pt x="195051" y="144905"/>
                    <a:pt x="191701" y="147870"/>
                  </a:cubicBezTo>
                  <a:cubicBezTo>
                    <a:pt x="188336" y="150840"/>
                    <a:pt x="177248" y="151361"/>
                    <a:pt x="171916" y="150435"/>
                  </a:cubicBezTo>
                  <a:cubicBezTo>
                    <a:pt x="166633" y="149543"/>
                    <a:pt x="158346" y="147726"/>
                    <a:pt x="149476" y="153684"/>
                  </a:cubicBezTo>
                  <a:cubicBezTo>
                    <a:pt x="147769" y="152527"/>
                    <a:pt x="142871" y="152783"/>
                    <a:pt x="140413" y="154186"/>
                  </a:cubicBezTo>
                  <a:cubicBezTo>
                    <a:pt x="137954" y="155622"/>
                    <a:pt x="128270" y="150579"/>
                    <a:pt x="125825" y="147489"/>
                  </a:cubicBezTo>
                  <a:cubicBezTo>
                    <a:pt x="123381" y="144380"/>
                    <a:pt x="121304" y="145180"/>
                    <a:pt x="119501" y="146183"/>
                  </a:cubicBezTo>
                  <a:cubicBezTo>
                    <a:pt x="117688" y="147239"/>
                    <a:pt x="117433" y="146077"/>
                    <a:pt x="116271" y="142573"/>
                  </a:cubicBezTo>
                  <a:cubicBezTo>
                    <a:pt x="115119" y="139111"/>
                    <a:pt x="106586" y="139632"/>
                    <a:pt x="105154" y="135351"/>
                  </a:cubicBezTo>
                  <a:cubicBezTo>
                    <a:pt x="103732" y="131085"/>
                    <a:pt x="100628" y="130728"/>
                    <a:pt x="98188" y="127715"/>
                  </a:cubicBezTo>
                  <a:cubicBezTo>
                    <a:pt x="95725" y="124769"/>
                    <a:pt x="93291" y="127363"/>
                    <a:pt x="91217" y="125285"/>
                  </a:cubicBezTo>
                  <a:cubicBezTo>
                    <a:pt x="89154" y="123222"/>
                    <a:pt x="86325" y="122446"/>
                    <a:pt x="82169" y="123579"/>
                  </a:cubicBezTo>
                  <a:cubicBezTo>
                    <a:pt x="81070" y="123887"/>
                    <a:pt x="79976" y="124745"/>
                    <a:pt x="78997" y="125777"/>
                  </a:cubicBezTo>
                  <a:cubicBezTo>
                    <a:pt x="80236" y="126225"/>
                    <a:pt x="81663" y="126457"/>
                    <a:pt x="83336" y="126375"/>
                  </a:cubicBezTo>
                  <a:cubicBezTo>
                    <a:pt x="81663" y="126457"/>
                    <a:pt x="80236" y="126225"/>
                    <a:pt x="78997" y="125777"/>
                  </a:cubicBezTo>
                  <a:cubicBezTo>
                    <a:pt x="76259" y="128747"/>
                    <a:pt x="74355" y="133712"/>
                    <a:pt x="75598" y="136248"/>
                  </a:cubicBezTo>
                  <a:cubicBezTo>
                    <a:pt x="77266" y="139762"/>
                    <a:pt x="76621" y="143074"/>
                    <a:pt x="73776" y="147639"/>
                  </a:cubicBezTo>
                  <a:cubicBezTo>
                    <a:pt x="70932" y="152151"/>
                    <a:pt x="75184" y="160669"/>
                    <a:pt x="75184" y="160669"/>
                  </a:cubicBezTo>
                  <a:lnTo>
                    <a:pt x="72619" y="166088"/>
                  </a:lnTo>
                  <a:cubicBezTo>
                    <a:pt x="72619" y="166088"/>
                    <a:pt x="69630" y="168156"/>
                    <a:pt x="66025" y="169419"/>
                  </a:cubicBezTo>
                  <a:cubicBezTo>
                    <a:pt x="62428" y="170725"/>
                    <a:pt x="60471" y="170354"/>
                    <a:pt x="55197" y="172412"/>
                  </a:cubicBezTo>
                  <a:cubicBezTo>
                    <a:pt x="49875" y="174490"/>
                    <a:pt x="45623" y="170475"/>
                    <a:pt x="43565" y="167240"/>
                  </a:cubicBezTo>
                  <a:cubicBezTo>
                    <a:pt x="41482" y="164015"/>
                    <a:pt x="35293" y="164159"/>
                    <a:pt x="31793" y="165316"/>
                  </a:cubicBezTo>
                  <a:cubicBezTo>
                    <a:pt x="28322" y="166473"/>
                    <a:pt x="28587" y="166618"/>
                    <a:pt x="28322" y="169424"/>
                  </a:cubicBezTo>
                  <a:cubicBezTo>
                    <a:pt x="28052" y="172278"/>
                    <a:pt x="23906" y="174365"/>
                    <a:pt x="19664" y="178255"/>
                  </a:cubicBezTo>
                  <a:cubicBezTo>
                    <a:pt x="27030" y="182232"/>
                    <a:pt x="36724" y="180564"/>
                    <a:pt x="36724" y="180564"/>
                  </a:cubicBezTo>
                  <a:lnTo>
                    <a:pt x="45903" y="191512"/>
                  </a:lnTo>
                  <a:lnTo>
                    <a:pt x="41878" y="197851"/>
                  </a:lnTo>
                  <a:lnTo>
                    <a:pt x="42003" y="203251"/>
                  </a:lnTo>
                  <a:lnTo>
                    <a:pt x="36589" y="209224"/>
                  </a:lnTo>
                  <a:lnTo>
                    <a:pt x="30390" y="210766"/>
                  </a:lnTo>
                  <a:lnTo>
                    <a:pt x="25343" y="216324"/>
                  </a:lnTo>
                  <a:lnTo>
                    <a:pt x="29349" y="227962"/>
                  </a:lnTo>
                  <a:lnTo>
                    <a:pt x="26514" y="234658"/>
                  </a:lnTo>
                  <a:lnTo>
                    <a:pt x="28196" y="246922"/>
                  </a:lnTo>
                  <a:lnTo>
                    <a:pt x="34131" y="247437"/>
                  </a:lnTo>
                  <a:lnTo>
                    <a:pt x="30641" y="254129"/>
                  </a:lnTo>
                  <a:cubicBezTo>
                    <a:pt x="30641" y="254129"/>
                    <a:pt x="31682" y="261909"/>
                    <a:pt x="32323" y="264744"/>
                  </a:cubicBezTo>
                  <a:cubicBezTo>
                    <a:pt x="32959" y="267578"/>
                    <a:pt x="27155" y="267188"/>
                    <a:pt x="22633" y="266151"/>
                  </a:cubicBezTo>
                  <a:cubicBezTo>
                    <a:pt x="18131" y="265158"/>
                    <a:pt x="14631" y="268755"/>
                    <a:pt x="12563" y="271999"/>
                  </a:cubicBezTo>
                  <a:cubicBezTo>
                    <a:pt x="10495" y="275219"/>
                    <a:pt x="11281" y="275084"/>
                    <a:pt x="6884" y="277528"/>
                  </a:cubicBezTo>
                  <a:cubicBezTo>
                    <a:pt x="6180" y="280223"/>
                    <a:pt x="3158" y="283366"/>
                    <a:pt x="0" y="286167"/>
                  </a:cubicBezTo>
                  <a:cubicBezTo>
                    <a:pt x="2309" y="287001"/>
                    <a:pt x="5346" y="287738"/>
                    <a:pt x="7284" y="286702"/>
                  </a:cubicBezTo>
                  <a:cubicBezTo>
                    <a:pt x="10615" y="284875"/>
                    <a:pt x="12447" y="285145"/>
                    <a:pt x="14756" y="285275"/>
                  </a:cubicBezTo>
                  <a:cubicBezTo>
                    <a:pt x="17090" y="285415"/>
                    <a:pt x="18001" y="285275"/>
                    <a:pt x="19674" y="287353"/>
                  </a:cubicBezTo>
                  <a:cubicBezTo>
                    <a:pt x="21346" y="289401"/>
                    <a:pt x="22007" y="291248"/>
                    <a:pt x="22007" y="291248"/>
                  </a:cubicBezTo>
                  <a:lnTo>
                    <a:pt x="20575" y="297553"/>
                  </a:lnTo>
                  <a:lnTo>
                    <a:pt x="25227" y="303478"/>
                  </a:lnTo>
                  <a:lnTo>
                    <a:pt x="26639" y="305561"/>
                  </a:lnTo>
                  <a:lnTo>
                    <a:pt x="31296" y="308680"/>
                  </a:lnTo>
                  <a:lnTo>
                    <a:pt x="28982" y="314479"/>
                  </a:lnTo>
                  <a:cubicBezTo>
                    <a:pt x="28982" y="314479"/>
                    <a:pt x="38281" y="319247"/>
                    <a:pt x="41646" y="325976"/>
                  </a:cubicBezTo>
                  <a:cubicBezTo>
                    <a:pt x="44539" y="331785"/>
                    <a:pt x="46293" y="332937"/>
                    <a:pt x="48212" y="333911"/>
                  </a:cubicBezTo>
                  <a:cubicBezTo>
                    <a:pt x="50131" y="333844"/>
                    <a:pt x="51972" y="333535"/>
                    <a:pt x="53510" y="332942"/>
                  </a:cubicBezTo>
                  <a:cubicBezTo>
                    <a:pt x="51972" y="333535"/>
                    <a:pt x="50131" y="333849"/>
                    <a:pt x="48212" y="333911"/>
                  </a:cubicBezTo>
                  <a:cubicBezTo>
                    <a:pt x="48511" y="334046"/>
                    <a:pt x="48819" y="334196"/>
                    <a:pt x="49114" y="334355"/>
                  </a:cubicBezTo>
                  <a:cubicBezTo>
                    <a:pt x="51437" y="335526"/>
                    <a:pt x="56740" y="337609"/>
                    <a:pt x="56740" y="337609"/>
                  </a:cubicBezTo>
                  <a:lnTo>
                    <a:pt x="60746" y="342482"/>
                  </a:lnTo>
                  <a:cubicBezTo>
                    <a:pt x="60746" y="342482"/>
                    <a:pt x="67837" y="344815"/>
                    <a:pt x="70450" y="344980"/>
                  </a:cubicBezTo>
                  <a:cubicBezTo>
                    <a:pt x="73010" y="345095"/>
                    <a:pt x="73786" y="343794"/>
                    <a:pt x="75719" y="349067"/>
                  </a:cubicBezTo>
                  <a:cubicBezTo>
                    <a:pt x="77657" y="354375"/>
                    <a:pt x="77941" y="354790"/>
                    <a:pt x="78718" y="355932"/>
                  </a:cubicBezTo>
                  <a:cubicBezTo>
                    <a:pt x="79489" y="357099"/>
                    <a:pt x="84367" y="362508"/>
                    <a:pt x="84367" y="362508"/>
                  </a:cubicBezTo>
                  <a:lnTo>
                    <a:pt x="107483" y="371812"/>
                  </a:lnTo>
                  <a:lnTo>
                    <a:pt x="108794" y="376974"/>
                  </a:lnTo>
                  <a:lnTo>
                    <a:pt x="112125" y="377910"/>
                  </a:lnTo>
                  <a:lnTo>
                    <a:pt x="112400" y="381766"/>
                  </a:lnTo>
                  <a:lnTo>
                    <a:pt x="115890" y="383680"/>
                  </a:lnTo>
                  <a:lnTo>
                    <a:pt x="117948" y="390559"/>
                  </a:lnTo>
                  <a:lnTo>
                    <a:pt x="121434" y="391162"/>
                  </a:lnTo>
                  <a:cubicBezTo>
                    <a:pt x="121434" y="391162"/>
                    <a:pt x="128414" y="400606"/>
                    <a:pt x="134493" y="396079"/>
                  </a:cubicBezTo>
                  <a:cubicBezTo>
                    <a:pt x="145836" y="397255"/>
                    <a:pt x="151645" y="397535"/>
                    <a:pt x="154379" y="405258"/>
                  </a:cubicBezTo>
                  <a:cubicBezTo>
                    <a:pt x="155415" y="408111"/>
                    <a:pt x="158110" y="410189"/>
                    <a:pt x="161475" y="409394"/>
                  </a:cubicBezTo>
                  <a:cubicBezTo>
                    <a:pt x="164830" y="408618"/>
                    <a:pt x="174254" y="412489"/>
                    <a:pt x="176578" y="416360"/>
                  </a:cubicBezTo>
                  <a:cubicBezTo>
                    <a:pt x="179663" y="410546"/>
                    <a:pt x="183934" y="411833"/>
                    <a:pt x="188591" y="412874"/>
                  </a:cubicBezTo>
                  <a:cubicBezTo>
                    <a:pt x="193229" y="413930"/>
                    <a:pt x="198652" y="413651"/>
                    <a:pt x="202532" y="411963"/>
                  </a:cubicBezTo>
                  <a:cubicBezTo>
                    <a:pt x="206432" y="410295"/>
                    <a:pt x="208742" y="409765"/>
                    <a:pt x="212868" y="412243"/>
                  </a:cubicBezTo>
                  <a:cubicBezTo>
                    <a:pt x="217014" y="414701"/>
                    <a:pt x="218942" y="414552"/>
                    <a:pt x="221261" y="412633"/>
                  </a:cubicBezTo>
                  <a:cubicBezTo>
                    <a:pt x="223570" y="410681"/>
                    <a:pt x="224105" y="410546"/>
                    <a:pt x="226684" y="411336"/>
                  </a:cubicBezTo>
                  <a:cubicBezTo>
                    <a:pt x="229268" y="412079"/>
                    <a:pt x="229543" y="411833"/>
                    <a:pt x="231457" y="409249"/>
                  </a:cubicBezTo>
                  <a:cubicBezTo>
                    <a:pt x="233414" y="406665"/>
                    <a:pt x="234817" y="405253"/>
                    <a:pt x="237415" y="405118"/>
                  </a:cubicBezTo>
                  <a:cubicBezTo>
                    <a:pt x="240004" y="405017"/>
                    <a:pt x="245075" y="400273"/>
                    <a:pt x="249308" y="387267"/>
                  </a:cubicBezTo>
                  <a:cubicBezTo>
                    <a:pt x="254051" y="387561"/>
                    <a:pt x="255849" y="388327"/>
                    <a:pt x="255849" y="388327"/>
                  </a:cubicBezTo>
                  <a:lnTo>
                    <a:pt x="263486" y="386669"/>
                  </a:lnTo>
                  <a:cubicBezTo>
                    <a:pt x="263486" y="386669"/>
                    <a:pt x="266046" y="385223"/>
                    <a:pt x="269362" y="383386"/>
                  </a:cubicBezTo>
                  <a:lnTo>
                    <a:pt x="270206" y="377905"/>
                  </a:lnTo>
                  <a:lnTo>
                    <a:pt x="269362" y="383386"/>
                  </a:lnTo>
                  <a:cubicBezTo>
                    <a:pt x="275296" y="380021"/>
                    <a:pt x="283718" y="375099"/>
                    <a:pt x="284166" y="373986"/>
                  </a:cubicBezTo>
                  <a:cubicBezTo>
                    <a:pt x="284798" y="372327"/>
                    <a:pt x="286480" y="368206"/>
                    <a:pt x="286480" y="368206"/>
                  </a:cubicBezTo>
                  <a:lnTo>
                    <a:pt x="292299" y="372062"/>
                  </a:lnTo>
                  <a:lnTo>
                    <a:pt x="305474" y="370380"/>
                  </a:lnTo>
                  <a:lnTo>
                    <a:pt x="308039" y="364315"/>
                  </a:lnTo>
                  <a:lnTo>
                    <a:pt x="314108" y="361457"/>
                  </a:lnTo>
                  <a:lnTo>
                    <a:pt x="320312" y="354881"/>
                  </a:lnTo>
                  <a:cubicBezTo>
                    <a:pt x="320312" y="354881"/>
                    <a:pt x="325220" y="342251"/>
                    <a:pt x="327939" y="342482"/>
                  </a:cubicBezTo>
                  <a:cubicBezTo>
                    <a:pt x="330633" y="342709"/>
                    <a:pt x="338385" y="339267"/>
                    <a:pt x="340723" y="340805"/>
                  </a:cubicBezTo>
                  <a:cubicBezTo>
                    <a:pt x="343022" y="342362"/>
                    <a:pt x="350017" y="344975"/>
                    <a:pt x="352862" y="342617"/>
                  </a:cubicBezTo>
                  <a:cubicBezTo>
                    <a:pt x="355701" y="340299"/>
                    <a:pt x="365897" y="336167"/>
                    <a:pt x="368341" y="338105"/>
                  </a:cubicBezTo>
                  <a:cubicBezTo>
                    <a:pt x="370814" y="340014"/>
                    <a:pt x="373398" y="340805"/>
                    <a:pt x="375832" y="339262"/>
                  </a:cubicBezTo>
                  <a:cubicBezTo>
                    <a:pt x="378291" y="337700"/>
                    <a:pt x="384225" y="336162"/>
                    <a:pt x="387720" y="338341"/>
                  </a:cubicBezTo>
                  <a:cubicBezTo>
                    <a:pt x="388598" y="338934"/>
                    <a:pt x="390005" y="339985"/>
                    <a:pt x="391620" y="341431"/>
                  </a:cubicBezTo>
                  <a:cubicBezTo>
                    <a:pt x="396557" y="333342"/>
                    <a:pt x="401020" y="335328"/>
                    <a:pt x="406318" y="334755"/>
                  </a:cubicBezTo>
                  <a:cubicBezTo>
                    <a:pt x="412123" y="334080"/>
                    <a:pt x="409327" y="328922"/>
                    <a:pt x="411756" y="329071"/>
                  </a:cubicBezTo>
                  <a:cubicBezTo>
                    <a:pt x="421036" y="328825"/>
                    <a:pt x="418327" y="333323"/>
                    <a:pt x="424811" y="333699"/>
                  </a:cubicBezTo>
                  <a:cubicBezTo>
                    <a:pt x="431251" y="334080"/>
                    <a:pt x="435117" y="320534"/>
                    <a:pt x="436414" y="316253"/>
                  </a:cubicBezTo>
                  <a:cubicBezTo>
                    <a:pt x="437711" y="312001"/>
                    <a:pt x="448803" y="309427"/>
                    <a:pt x="450775" y="310724"/>
                  </a:cubicBezTo>
                  <a:cubicBezTo>
                    <a:pt x="452684" y="312006"/>
                    <a:pt x="461742" y="314055"/>
                    <a:pt x="461742" y="314055"/>
                  </a:cubicBezTo>
                  <a:lnTo>
                    <a:pt x="470520" y="301183"/>
                  </a:lnTo>
                  <a:cubicBezTo>
                    <a:pt x="470520" y="301183"/>
                    <a:pt x="471547" y="294574"/>
                    <a:pt x="472053" y="291479"/>
                  </a:cubicBezTo>
                  <a:cubicBezTo>
                    <a:pt x="472593" y="288384"/>
                    <a:pt x="475418" y="288109"/>
                    <a:pt x="475418" y="288109"/>
                  </a:cubicBezTo>
                  <a:lnTo>
                    <a:pt x="478648" y="282580"/>
                  </a:lnTo>
                  <a:lnTo>
                    <a:pt x="475023" y="276381"/>
                  </a:lnTo>
                  <a:lnTo>
                    <a:pt x="477872" y="270432"/>
                  </a:lnTo>
                  <a:lnTo>
                    <a:pt x="477082" y="264348"/>
                  </a:lnTo>
                  <a:lnTo>
                    <a:pt x="477602" y="259465"/>
                  </a:lnTo>
                  <a:lnTo>
                    <a:pt x="484838" y="259103"/>
                  </a:lnTo>
                  <a:lnTo>
                    <a:pt x="487562" y="252494"/>
                  </a:lnTo>
                  <a:lnTo>
                    <a:pt x="491524" y="249120"/>
                  </a:lnTo>
                  <a:lnTo>
                    <a:pt x="494239" y="243195"/>
                  </a:lnTo>
                  <a:lnTo>
                    <a:pt x="489895" y="238529"/>
                  </a:lnTo>
                  <a:lnTo>
                    <a:pt x="492710" y="226390"/>
                  </a:lnTo>
                  <a:lnTo>
                    <a:pt x="497999" y="221347"/>
                  </a:lnTo>
                  <a:cubicBezTo>
                    <a:pt x="497999" y="221347"/>
                    <a:pt x="498678" y="217992"/>
                    <a:pt x="499059" y="214372"/>
                  </a:cubicBezTo>
                  <a:cubicBezTo>
                    <a:pt x="506020" y="204181"/>
                    <a:pt x="502525" y="201342"/>
                    <a:pt x="499951" y="201713"/>
                  </a:cubicBezTo>
                  <a:cubicBezTo>
                    <a:pt x="497372" y="202098"/>
                    <a:pt x="500876" y="195263"/>
                    <a:pt x="500876" y="195263"/>
                  </a:cubicBezTo>
                  <a:lnTo>
                    <a:pt x="508995" y="184927"/>
                  </a:lnTo>
                  <a:lnTo>
                    <a:pt x="511959" y="178472"/>
                  </a:lnTo>
                  <a:lnTo>
                    <a:pt x="511834" y="172263"/>
                  </a:lnTo>
                  <a:lnTo>
                    <a:pt x="515826" y="154171"/>
                  </a:lnTo>
                  <a:lnTo>
                    <a:pt x="521524" y="150700"/>
                  </a:lnTo>
                  <a:lnTo>
                    <a:pt x="522951" y="144775"/>
                  </a:lnTo>
                  <a:lnTo>
                    <a:pt x="520106" y="133134"/>
                  </a:lnTo>
                  <a:lnTo>
                    <a:pt x="527988" y="121911"/>
                  </a:lnTo>
                  <a:lnTo>
                    <a:pt x="533527" y="117394"/>
                  </a:lnTo>
                  <a:lnTo>
                    <a:pt x="535885" y="104219"/>
                  </a:lnTo>
                  <a:lnTo>
                    <a:pt x="538950" y="98685"/>
                  </a:lnTo>
                  <a:lnTo>
                    <a:pt x="551099" y="93213"/>
                  </a:lnTo>
                  <a:lnTo>
                    <a:pt x="557298" y="87409"/>
                  </a:lnTo>
                  <a:lnTo>
                    <a:pt x="564129" y="89737"/>
                  </a:lnTo>
                  <a:lnTo>
                    <a:pt x="570213" y="87308"/>
                  </a:lnTo>
                  <a:lnTo>
                    <a:pt x="574614" y="79556"/>
                  </a:lnTo>
                  <a:lnTo>
                    <a:pt x="580549" y="76052"/>
                  </a:lnTo>
                  <a:lnTo>
                    <a:pt x="580264" y="69876"/>
                  </a:lnTo>
                  <a:lnTo>
                    <a:pt x="585822" y="64718"/>
                  </a:lnTo>
                  <a:lnTo>
                    <a:pt x="587823" y="60003"/>
                  </a:lnTo>
                  <a:cubicBezTo>
                    <a:pt x="585803" y="57169"/>
                    <a:pt x="584294" y="53327"/>
                    <a:pt x="584294" y="53327"/>
                  </a:cubicBezTo>
                  <a:lnTo>
                    <a:pt x="584174" y="47537"/>
                  </a:lnTo>
                  <a:lnTo>
                    <a:pt x="576943" y="41824"/>
                  </a:lnTo>
                  <a:lnTo>
                    <a:pt x="571090" y="41304"/>
                  </a:lnTo>
                  <a:cubicBezTo>
                    <a:pt x="571090" y="41304"/>
                    <a:pt x="568911" y="42750"/>
                    <a:pt x="565807" y="44818"/>
                  </a:cubicBezTo>
                  <a:cubicBezTo>
                    <a:pt x="562726" y="46867"/>
                    <a:pt x="559506" y="43907"/>
                    <a:pt x="558074" y="40937"/>
                  </a:cubicBezTo>
                  <a:cubicBezTo>
                    <a:pt x="550573" y="27107"/>
                    <a:pt x="539987" y="27762"/>
                    <a:pt x="538078" y="29324"/>
                  </a:cubicBezTo>
                  <a:cubicBezTo>
                    <a:pt x="536126" y="30876"/>
                    <a:pt x="530191" y="23106"/>
                    <a:pt x="530191" y="23106"/>
                  </a:cubicBezTo>
                  <a:cubicBezTo>
                    <a:pt x="530191" y="23106"/>
                    <a:pt x="528769" y="20676"/>
                    <a:pt x="528360" y="17976"/>
                  </a:cubicBezTo>
                  <a:cubicBezTo>
                    <a:pt x="527988" y="15224"/>
                    <a:pt x="524893" y="16270"/>
                    <a:pt x="523336" y="17036"/>
                  </a:cubicBezTo>
                  <a:cubicBezTo>
                    <a:pt x="521779" y="17846"/>
                    <a:pt x="521678" y="16805"/>
                    <a:pt x="521779" y="14448"/>
                  </a:cubicBezTo>
                  <a:cubicBezTo>
                    <a:pt x="521900" y="12139"/>
                    <a:pt x="518940" y="12900"/>
                    <a:pt x="516626" y="11102"/>
                  </a:cubicBezTo>
                  <a:cubicBezTo>
                    <a:pt x="515565" y="10263"/>
                    <a:pt x="513791" y="10008"/>
                    <a:pt x="511887" y="10239"/>
                  </a:cubicBezTo>
                  <a:cubicBezTo>
                    <a:pt x="511926" y="10345"/>
                    <a:pt x="511969" y="10581"/>
                    <a:pt x="511969" y="10581"/>
                  </a:cubicBezTo>
                  <a:lnTo>
                    <a:pt x="505389" y="1681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09" name="Freihandform: Form 608">
              <a:extLst>
                <a:ext uri="{FF2B5EF4-FFF2-40B4-BE49-F238E27FC236}">
                  <a16:creationId xmlns:a16="http://schemas.microsoft.com/office/drawing/2014/main" id="{D590CC3B-4100-BF6C-5148-B1B845EBD28A}"/>
                </a:ext>
              </a:extLst>
            </p:cNvPr>
            <p:cNvSpPr/>
            <p:nvPr/>
          </p:nvSpPr>
          <p:spPr>
            <a:xfrm>
              <a:off x="6718266" y="3033690"/>
              <a:ext cx="923821" cy="871570"/>
            </a:xfrm>
            <a:custGeom>
              <a:avLst/>
              <a:gdLst>
                <a:gd name="connsiteX0" fmla="*/ 260574 w 725135"/>
                <a:gd name="connsiteY0" fmla="*/ 27366 h 684100"/>
                <a:gd name="connsiteX1" fmla="*/ 253998 w 725135"/>
                <a:gd name="connsiteY1" fmla="*/ 39258 h 684100"/>
                <a:gd name="connsiteX2" fmla="*/ 252706 w 725135"/>
                <a:gd name="connsiteY2" fmla="*/ 50616 h 684100"/>
                <a:gd name="connsiteX3" fmla="*/ 252856 w 725135"/>
                <a:gd name="connsiteY3" fmla="*/ 58035 h 684100"/>
                <a:gd name="connsiteX4" fmla="*/ 241334 w 725135"/>
                <a:gd name="connsiteY4" fmla="*/ 62504 h 684100"/>
                <a:gd name="connsiteX5" fmla="*/ 233303 w 725135"/>
                <a:gd name="connsiteY5" fmla="*/ 61067 h 684100"/>
                <a:gd name="connsiteX6" fmla="*/ 229596 w 725135"/>
                <a:gd name="connsiteY6" fmla="*/ 66881 h 684100"/>
                <a:gd name="connsiteX7" fmla="*/ 219993 w 725135"/>
                <a:gd name="connsiteY7" fmla="*/ 62383 h 684100"/>
                <a:gd name="connsiteX8" fmla="*/ 201674 w 725135"/>
                <a:gd name="connsiteY8" fmla="*/ 81126 h 684100"/>
                <a:gd name="connsiteX9" fmla="*/ 195870 w 725135"/>
                <a:gd name="connsiteY9" fmla="*/ 88078 h 684100"/>
                <a:gd name="connsiteX10" fmla="*/ 188871 w 725135"/>
                <a:gd name="connsiteY10" fmla="*/ 89220 h 684100"/>
                <a:gd name="connsiteX11" fmla="*/ 184469 w 725135"/>
                <a:gd name="connsiteY11" fmla="*/ 92961 h 684100"/>
                <a:gd name="connsiteX12" fmla="*/ 186465 w 725135"/>
                <a:gd name="connsiteY12" fmla="*/ 108127 h 684100"/>
                <a:gd name="connsiteX13" fmla="*/ 185087 w 725135"/>
                <a:gd name="connsiteY13" fmla="*/ 115551 h 684100"/>
                <a:gd name="connsiteX14" fmla="*/ 185790 w 725135"/>
                <a:gd name="connsiteY14" fmla="*/ 122430 h 684100"/>
                <a:gd name="connsiteX15" fmla="*/ 184773 w 725135"/>
                <a:gd name="connsiteY15" fmla="*/ 128297 h 684100"/>
                <a:gd name="connsiteX16" fmla="*/ 183047 w 725135"/>
                <a:gd name="connsiteY16" fmla="*/ 137071 h 684100"/>
                <a:gd name="connsiteX17" fmla="*/ 189753 w 725135"/>
                <a:gd name="connsiteY17" fmla="*/ 141028 h 684100"/>
                <a:gd name="connsiteX18" fmla="*/ 196136 w 725135"/>
                <a:gd name="connsiteY18" fmla="*/ 137909 h 684100"/>
                <a:gd name="connsiteX19" fmla="*/ 207127 w 725135"/>
                <a:gd name="connsiteY19" fmla="*/ 137398 h 684100"/>
                <a:gd name="connsiteX20" fmla="*/ 209214 w 725135"/>
                <a:gd name="connsiteY20" fmla="*/ 139298 h 684100"/>
                <a:gd name="connsiteX21" fmla="*/ 210207 w 725135"/>
                <a:gd name="connsiteY21" fmla="*/ 144466 h 684100"/>
                <a:gd name="connsiteX22" fmla="*/ 204220 w 725135"/>
                <a:gd name="connsiteY22" fmla="*/ 148944 h 684100"/>
                <a:gd name="connsiteX23" fmla="*/ 201453 w 725135"/>
                <a:gd name="connsiteY23" fmla="*/ 154994 h 684100"/>
                <a:gd name="connsiteX24" fmla="*/ 200773 w 725135"/>
                <a:gd name="connsiteY24" fmla="*/ 164616 h 684100"/>
                <a:gd name="connsiteX25" fmla="*/ 189917 w 725135"/>
                <a:gd name="connsiteY25" fmla="*/ 163411 h 684100"/>
                <a:gd name="connsiteX26" fmla="*/ 184262 w 725135"/>
                <a:gd name="connsiteY26" fmla="*/ 165812 h 684100"/>
                <a:gd name="connsiteX27" fmla="*/ 178930 w 725135"/>
                <a:gd name="connsiteY27" fmla="*/ 165812 h 684100"/>
                <a:gd name="connsiteX28" fmla="*/ 175310 w 725135"/>
                <a:gd name="connsiteY28" fmla="*/ 171997 h 684100"/>
                <a:gd name="connsiteX29" fmla="*/ 170330 w 725135"/>
                <a:gd name="connsiteY29" fmla="*/ 193724 h 684100"/>
                <a:gd name="connsiteX30" fmla="*/ 153612 w 725135"/>
                <a:gd name="connsiteY30" fmla="*/ 199422 h 684100"/>
                <a:gd name="connsiteX31" fmla="*/ 148459 w 725135"/>
                <a:gd name="connsiteY31" fmla="*/ 211411 h 684100"/>
                <a:gd name="connsiteX32" fmla="*/ 149616 w 725135"/>
                <a:gd name="connsiteY32" fmla="*/ 219028 h 684100"/>
                <a:gd name="connsiteX33" fmla="*/ 147056 w 725135"/>
                <a:gd name="connsiteY33" fmla="*/ 225878 h 684100"/>
                <a:gd name="connsiteX34" fmla="*/ 149008 w 725135"/>
                <a:gd name="connsiteY34" fmla="*/ 232468 h 684100"/>
                <a:gd name="connsiteX35" fmla="*/ 149008 w 725135"/>
                <a:gd name="connsiteY35" fmla="*/ 238031 h 684100"/>
                <a:gd name="connsiteX36" fmla="*/ 154297 w 725135"/>
                <a:gd name="connsiteY36" fmla="*/ 248607 h 684100"/>
                <a:gd name="connsiteX37" fmla="*/ 152739 w 725135"/>
                <a:gd name="connsiteY37" fmla="*/ 254812 h 684100"/>
                <a:gd name="connsiteX38" fmla="*/ 147726 w 725135"/>
                <a:gd name="connsiteY38" fmla="*/ 257911 h 684100"/>
                <a:gd name="connsiteX39" fmla="*/ 147292 w 725135"/>
                <a:gd name="connsiteY39" fmla="*/ 263831 h 684100"/>
                <a:gd name="connsiteX40" fmla="*/ 149379 w 725135"/>
                <a:gd name="connsiteY40" fmla="*/ 270175 h 684100"/>
                <a:gd name="connsiteX41" fmla="*/ 145099 w 725135"/>
                <a:gd name="connsiteY41" fmla="*/ 283090 h 684100"/>
                <a:gd name="connsiteX42" fmla="*/ 151071 w 725135"/>
                <a:gd name="connsiteY42" fmla="*/ 286980 h 684100"/>
                <a:gd name="connsiteX43" fmla="*/ 157001 w 725135"/>
                <a:gd name="connsiteY43" fmla="*/ 282825 h 684100"/>
                <a:gd name="connsiteX44" fmla="*/ 167838 w 725135"/>
                <a:gd name="connsiteY44" fmla="*/ 296665 h 684100"/>
                <a:gd name="connsiteX45" fmla="*/ 151698 w 725135"/>
                <a:gd name="connsiteY45" fmla="*/ 310602 h 684100"/>
                <a:gd name="connsiteX46" fmla="*/ 148613 w 725135"/>
                <a:gd name="connsiteY46" fmla="*/ 304161 h 684100"/>
                <a:gd name="connsiteX47" fmla="*/ 149775 w 725135"/>
                <a:gd name="connsiteY47" fmla="*/ 297957 h 684100"/>
                <a:gd name="connsiteX48" fmla="*/ 143821 w 725135"/>
                <a:gd name="connsiteY48" fmla="*/ 292645 h 684100"/>
                <a:gd name="connsiteX49" fmla="*/ 136450 w 725135"/>
                <a:gd name="connsiteY49" fmla="*/ 297046 h 684100"/>
                <a:gd name="connsiteX50" fmla="*/ 130786 w 725135"/>
                <a:gd name="connsiteY50" fmla="*/ 300425 h 684100"/>
                <a:gd name="connsiteX51" fmla="*/ 124832 w 725135"/>
                <a:gd name="connsiteY51" fmla="*/ 302363 h 684100"/>
                <a:gd name="connsiteX52" fmla="*/ 122109 w 725135"/>
                <a:gd name="connsiteY52" fmla="*/ 305439 h 684100"/>
                <a:gd name="connsiteX53" fmla="*/ 121998 w 725135"/>
                <a:gd name="connsiteY53" fmla="*/ 309584 h 684100"/>
                <a:gd name="connsiteX54" fmla="*/ 118402 w 725135"/>
                <a:gd name="connsiteY54" fmla="*/ 316686 h 684100"/>
                <a:gd name="connsiteX55" fmla="*/ 110867 w 725135"/>
                <a:gd name="connsiteY55" fmla="*/ 320952 h 684100"/>
                <a:gd name="connsiteX56" fmla="*/ 103400 w 725135"/>
                <a:gd name="connsiteY56" fmla="*/ 319539 h 684100"/>
                <a:gd name="connsiteX57" fmla="*/ 96684 w 725135"/>
                <a:gd name="connsiteY57" fmla="*/ 323396 h 684100"/>
                <a:gd name="connsiteX58" fmla="*/ 95122 w 725135"/>
                <a:gd name="connsiteY58" fmla="*/ 329836 h 684100"/>
                <a:gd name="connsiteX59" fmla="*/ 98478 w 725135"/>
                <a:gd name="connsiteY59" fmla="*/ 335023 h 684100"/>
                <a:gd name="connsiteX60" fmla="*/ 99794 w 725135"/>
                <a:gd name="connsiteY60" fmla="*/ 342254 h 684100"/>
                <a:gd name="connsiteX61" fmla="*/ 94491 w 725135"/>
                <a:gd name="connsiteY61" fmla="*/ 346246 h 684100"/>
                <a:gd name="connsiteX62" fmla="*/ 88552 w 725135"/>
                <a:gd name="connsiteY62" fmla="*/ 343681 h 684100"/>
                <a:gd name="connsiteX63" fmla="*/ 80925 w 725135"/>
                <a:gd name="connsiteY63" fmla="*/ 348049 h 684100"/>
                <a:gd name="connsiteX64" fmla="*/ 70614 w 725135"/>
                <a:gd name="connsiteY64" fmla="*/ 362154 h 684100"/>
                <a:gd name="connsiteX65" fmla="*/ 57675 w 725135"/>
                <a:gd name="connsiteY65" fmla="*/ 358780 h 684100"/>
                <a:gd name="connsiteX66" fmla="*/ 49292 w 725135"/>
                <a:gd name="connsiteY66" fmla="*/ 357112 h 684100"/>
                <a:gd name="connsiteX67" fmla="*/ 45295 w 725135"/>
                <a:gd name="connsiteY67" fmla="*/ 360857 h 684100"/>
                <a:gd name="connsiteX68" fmla="*/ 37799 w 725135"/>
                <a:gd name="connsiteY68" fmla="*/ 363032 h 684100"/>
                <a:gd name="connsiteX69" fmla="*/ 34931 w 725135"/>
                <a:gd name="connsiteY69" fmla="*/ 362014 h 684100"/>
                <a:gd name="connsiteX70" fmla="*/ 28871 w 725135"/>
                <a:gd name="connsiteY70" fmla="*/ 364984 h 684100"/>
                <a:gd name="connsiteX71" fmla="*/ 10784 w 725135"/>
                <a:gd name="connsiteY71" fmla="*/ 372451 h 684100"/>
                <a:gd name="connsiteX72" fmla="*/ 4719 w 725135"/>
                <a:gd name="connsiteY72" fmla="*/ 369111 h 684100"/>
                <a:gd name="connsiteX73" fmla="*/ 0 w 725135"/>
                <a:gd name="connsiteY73" fmla="*/ 368797 h 684100"/>
                <a:gd name="connsiteX74" fmla="*/ 2574 w 725135"/>
                <a:gd name="connsiteY74" fmla="*/ 376081 h 684100"/>
                <a:gd name="connsiteX75" fmla="*/ 28770 w 725135"/>
                <a:gd name="connsiteY75" fmla="*/ 432031 h 684100"/>
                <a:gd name="connsiteX76" fmla="*/ 36319 w 725135"/>
                <a:gd name="connsiteY76" fmla="*/ 443904 h 684100"/>
                <a:gd name="connsiteX77" fmla="*/ 44760 w 725135"/>
                <a:gd name="connsiteY77" fmla="*/ 456163 h 684100"/>
                <a:gd name="connsiteX78" fmla="*/ 51664 w 725135"/>
                <a:gd name="connsiteY78" fmla="*/ 470948 h 684100"/>
                <a:gd name="connsiteX79" fmla="*/ 53375 w 725135"/>
                <a:gd name="connsiteY79" fmla="*/ 480941 h 684100"/>
                <a:gd name="connsiteX80" fmla="*/ 57511 w 725135"/>
                <a:gd name="connsiteY80" fmla="*/ 487671 h 684100"/>
                <a:gd name="connsiteX81" fmla="*/ 64193 w 725135"/>
                <a:gd name="connsiteY81" fmla="*/ 526237 h 684100"/>
                <a:gd name="connsiteX82" fmla="*/ 54922 w 725135"/>
                <a:gd name="connsiteY82" fmla="*/ 536895 h 684100"/>
                <a:gd name="connsiteX83" fmla="*/ 17056 w 725135"/>
                <a:gd name="connsiteY83" fmla="*/ 585618 h 684100"/>
                <a:gd name="connsiteX84" fmla="*/ 15508 w 725135"/>
                <a:gd name="connsiteY84" fmla="*/ 591128 h 684100"/>
                <a:gd name="connsiteX85" fmla="*/ 17707 w 725135"/>
                <a:gd name="connsiteY85" fmla="*/ 593216 h 684100"/>
                <a:gd name="connsiteX86" fmla="*/ 21365 w 725135"/>
                <a:gd name="connsiteY86" fmla="*/ 598736 h 684100"/>
                <a:gd name="connsiteX87" fmla="*/ 41853 w 725135"/>
                <a:gd name="connsiteY87" fmla="*/ 602491 h 684100"/>
                <a:gd name="connsiteX88" fmla="*/ 48747 w 725135"/>
                <a:gd name="connsiteY88" fmla="*/ 606839 h 684100"/>
                <a:gd name="connsiteX89" fmla="*/ 61103 w 725135"/>
                <a:gd name="connsiteY89" fmla="*/ 616654 h 684100"/>
                <a:gd name="connsiteX90" fmla="*/ 61291 w 725135"/>
                <a:gd name="connsiteY90" fmla="*/ 625090 h 684100"/>
                <a:gd name="connsiteX91" fmla="*/ 60090 w 725135"/>
                <a:gd name="connsiteY91" fmla="*/ 634375 h 684100"/>
                <a:gd name="connsiteX92" fmla="*/ 61291 w 725135"/>
                <a:gd name="connsiteY92" fmla="*/ 641090 h 684100"/>
                <a:gd name="connsiteX93" fmla="*/ 62173 w 725135"/>
                <a:gd name="connsiteY93" fmla="*/ 649353 h 684100"/>
                <a:gd name="connsiteX94" fmla="*/ 59898 w 725135"/>
                <a:gd name="connsiteY94" fmla="*/ 655523 h 684100"/>
                <a:gd name="connsiteX95" fmla="*/ 60447 w 725135"/>
                <a:gd name="connsiteY95" fmla="*/ 662784 h 684100"/>
                <a:gd name="connsiteX96" fmla="*/ 59227 w 725135"/>
                <a:gd name="connsiteY96" fmla="*/ 667946 h 684100"/>
                <a:gd name="connsiteX97" fmla="*/ 61811 w 725135"/>
                <a:gd name="connsiteY97" fmla="*/ 672415 h 684100"/>
                <a:gd name="connsiteX98" fmla="*/ 68830 w 725135"/>
                <a:gd name="connsiteY98" fmla="*/ 684101 h 684100"/>
                <a:gd name="connsiteX99" fmla="*/ 70195 w 725135"/>
                <a:gd name="connsiteY99" fmla="*/ 678533 h 684100"/>
                <a:gd name="connsiteX100" fmla="*/ 69823 w 725135"/>
                <a:gd name="connsiteY100" fmla="*/ 669383 h 684100"/>
                <a:gd name="connsiteX101" fmla="*/ 81441 w 725135"/>
                <a:gd name="connsiteY101" fmla="*/ 665391 h 684100"/>
                <a:gd name="connsiteX102" fmla="*/ 90345 w 725135"/>
                <a:gd name="connsiteY102" fmla="*/ 665488 h 684100"/>
                <a:gd name="connsiteX103" fmla="*/ 96549 w 725135"/>
                <a:gd name="connsiteY103" fmla="*/ 671437 h 684100"/>
                <a:gd name="connsiteX104" fmla="*/ 103390 w 725135"/>
                <a:gd name="connsiteY104" fmla="*/ 665242 h 684100"/>
                <a:gd name="connsiteX105" fmla="*/ 107179 w 725135"/>
                <a:gd name="connsiteY105" fmla="*/ 659284 h 684100"/>
                <a:gd name="connsiteX106" fmla="*/ 118387 w 725135"/>
                <a:gd name="connsiteY106" fmla="*/ 644556 h 684100"/>
                <a:gd name="connsiteX107" fmla="*/ 119684 w 725135"/>
                <a:gd name="connsiteY107" fmla="*/ 631521 h 684100"/>
                <a:gd name="connsiteX108" fmla="*/ 127301 w 725135"/>
                <a:gd name="connsiteY108" fmla="*/ 623273 h 684100"/>
                <a:gd name="connsiteX109" fmla="*/ 133620 w 725135"/>
                <a:gd name="connsiteY109" fmla="*/ 622381 h 684100"/>
                <a:gd name="connsiteX110" fmla="*/ 146521 w 725135"/>
                <a:gd name="connsiteY110" fmla="*/ 617989 h 684100"/>
                <a:gd name="connsiteX111" fmla="*/ 174303 w 725135"/>
                <a:gd name="connsiteY111" fmla="*/ 607750 h 684100"/>
                <a:gd name="connsiteX112" fmla="*/ 192780 w 725135"/>
                <a:gd name="connsiteY112" fmla="*/ 601073 h 684100"/>
                <a:gd name="connsiteX113" fmla="*/ 233457 w 725135"/>
                <a:gd name="connsiteY113" fmla="*/ 592902 h 684100"/>
                <a:gd name="connsiteX114" fmla="*/ 253203 w 725135"/>
                <a:gd name="connsiteY114" fmla="*/ 592131 h 684100"/>
                <a:gd name="connsiteX115" fmla="*/ 259022 w 725135"/>
                <a:gd name="connsiteY115" fmla="*/ 590348 h 684100"/>
                <a:gd name="connsiteX116" fmla="*/ 266253 w 725135"/>
                <a:gd name="connsiteY116" fmla="*/ 595115 h 684100"/>
                <a:gd name="connsiteX117" fmla="*/ 282677 w 725135"/>
                <a:gd name="connsiteY117" fmla="*/ 593274 h 684100"/>
                <a:gd name="connsiteX118" fmla="*/ 287936 w 725135"/>
                <a:gd name="connsiteY118" fmla="*/ 595226 h 684100"/>
                <a:gd name="connsiteX119" fmla="*/ 294160 w 725135"/>
                <a:gd name="connsiteY119" fmla="*/ 596253 h 684100"/>
                <a:gd name="connsiteX120" fmla="*/ 305267 w 725135"/>
                <a:gd name="connsiteY120" fmla="*/ 592657 h 684100"/>
                <a:gd name="connsiteX121" fmla="*/ 319584 w 725135"/>
                <a:gd name="connsiteY121" fmla="*/ 594064 h 684100"/>
                <a:gd name="connsiteX122" fmla="*/ 331332 w 725135"/>
                <a:gd name="connsiteY122" fmla="*/ 595482 h 684100"/>
                <a:gd name="connsiteX123" fmla="*/ 342714 w 725135"/>
                <a:gd name="connsiteY123" fmla="*/ 590053 h 684100"/>
                <a:gd name="connsiteX124" fmla="*/ 349164 w 725135"/>
                <a:gd name="connsiteY124" fmla="*/ 590207 h 684100"/>
                <a:gd name="connsiteX125" fmla="*/ 354592 w 725135"/>
                <a:gd name="connsiteY125" fmla="*/ 596017 h 684100"/>
                <a:gd name="connsiteX126" fmla="*/ 360522 w 725135"/>
                <a:gd name="connsiteY126" fmla="*/ 600910 h 684100"/>
                <a:gd name="connsiteX127" fmla="*/ 365308 w 725135"/>
                <a:gd name="connsiteY127" fmla="*/ 607239 h 684100"/>
                <a:gd name="connsiteX128" fmla="*/ 377987 w 725135"/>
                <a:gd name="connsiteY128" fmla="*/ 603108 h 684100"/>
                <a:gd name="connsiteX129" fmla="*/ 388024 w 725135"/>
                <a:gd name="connsiteY129" fmla="*/ 599888 h 684100"/>
                <a:gd name="connsiteX130" fmla="*/ 395019 w 725135"/>
                <a:gd name="connsiteY130" fmla="*/ 600529 h 684100"/>
                <a:gd name="connsiteX131" fmla="*/ 399791 w 725135"/>
                <a:gd name="connsiteY131" fmla="*/ 602727 h 684100"/>
                <a:gd name="connsiteX132" fmla="*/ 400567 w 725135"/>
                <a:gd name="connsiteY132" fmla="*/ 606834 h 684100"/>
                <a:gd name="connsiteX133" fmla="*/ 399280 w 725135"/>
                <a:gd name="connsiteY133" fmla="*/ 613304 h 684100"/>
                <a:gd name="connsiteX134" fmla="*/ 404949 w 725135"/>
                <a:gd name="connsiteY134" fmla="*/ 616514 h 684100"/>
                <a:gd name="connsiteX135" fmla="*/ 408584 w 725135"/>
                <a:gd name="connsiteY135" fmla="*/ 608560 h 684100"/>
                <a:gd name="connsiteX136" fmla="*/ 407924 w 725135"/>
                <a:gd name="connsiteY136" fmla="*/ 600780 h 684100"/>
                <a:gd name="connsiteX137" fmla="*/ 408941 w 725135"/>
                <a:gd name="connsiteY137" fmla="*/ 595655 h 684100"/>
                <a:gd name="connsiteX138" fmla="*/ 415155 w 725135"/>
                <a:gd name="connsiteY138" fmla="*/ 595366 h 684100"/>
                <a:gd name="connsiteX139" fmla="*/ 420462 w 725135"/>
                <a:gd name="connsiteY139" fmla="*/ 598962 h 684100"/>
                <a:gd name="connsiteX140" fmla="*/ 432847 w 725135"/>
                <a:gd name="connsiteY140" fmla="*/ 594744 h 684100"/>
                <a:gd name="connsiteX141" fmla="*/ 438670 w 725135"/>
                <a:gd name="connsiteY141" fmla="*/ 583999 h 684100"/>
                <a:gd name="connsiteX142" fmla="*/ 443587 w 725135"/>
                <a:gd name="connsiteY142" fmla="*/ 586447 h 684100"/>
                <a:gd name="connsiteX143" fmla="*/ 455321 w 725135"/>
                <a:gd name="connsiteY143" fmla="*/ 592661 h 684100"/>
                <a:gd name="connsiteX144" fmla="*/ 462166 w 725135"/>
                <a:gd name="connsiteY144" fmla="*/ 586317 h 684100"/>
                <a:gd name="connsiteX145" fmla="*/ 468240 w 725135"/>
                <a:gd name="connsiteY145" fmla="*/ 586727 h 684100"/>
                <a:gd name="connsiteX146" fmla="*/ 473394 w 725135"/>
                <a:gd name="connsiteY146" fmla="*/ 584915 h 684100"/>
                <a:gd name="connsiteX147" fmla="*/ 479087 w 725135"/>
                <a:gd name="connsiteY147" fmla="*/ 598080 h 684100"/>
                <a:gd name="connsiteX148" fmla="*/ 484655 w 725135"/>
                <a:gd name="connsiteY148" fmla="*/ 598210 h 684100"/>
                <a:gd name="connsiteX149" fmla="*/ 487880 w 725135"/>
                <a:gd name="connsiteY149" fmla="*/ 592131 h 684100"/>
                <a:gd name="connsiteX150" fmla="*/ 488135 w 725135"/>
                <a:gd name="connsiteY150" fmla="*/ 585936 h 684100"/>
                <a:gd name="connsiteX151" fmla="*/ 493819 w 725135"/>
                <a:gd name="connsiteY151" fmla="*/ 579482 h 684100"/>
                <a:gd name="connsiteX152" fmla="*/ 499758 w 725135"/>
                <a:gd name="connsiteY152" fmla="*/ 576642 h 684100"/>
                <a:gd name="connsiteX153" fmla="*/ 504367 w 725135"/>
                <a:gd name="connsiteY153" fmla="*/ 568621 h 684100"/>
                <a:gd name="connsiteX154" fmla="*/ 515488 w 725135"/>
                <a:gd name="connsiteY154" fmla="*/ 567333 h 684100"/>
                <a:gd name="connsiteX155" fmla="*/ 524662 w 725135"/>
                <a:gd name="connsiteY155" fmla="*/ 578575 h 684100"/>
                <a:gd name="connsiteX156" fmla="*/ 526079 w 725135"/>
                <a:gd name="connsiteY156" fmla="*/ 585811 h 684100"/>
                <a:gd name="connsiteX157" fmla="*/ 537577 w 725135"/>
                <a:gd name="connsiteY157" fmla="*/ 593679 h 684100"/>
                <a:gd name="connsiteX158" fmla="*/ 542904 w 725135"/>
                <a:gd name="connsiteY158" fmla="*/ 588400 h 684100"/>
                <a:gd name="connsiteX159" fmla="*/ 548062 w 725135"/>
                <a:gd name="connsiteY159" fmla="*/ 586583 h 684100"/>
                <a:gd name="connsiteX160" fmla="*/ 548833 w 725135"/>
                <a:gd name="connsiteY160" fmla="*/ 580118 h 684100"/>
                <a:gd name="connsiteX161" fmla="*/ 553866 w 725135"/>
                <a:gd name="connsiteY161" fmla="*/ 577423 h 684100"/>
                <a:gd name="connsiteX162" fmla="*/ 557761 w 725135"/>
                <a:gd name="connsiteY162" fmla="*/ 571961 h 684100"/>
                <a:gd name="connsiteX163" fmla="*/ 563281 w 725135"/>
                <a:gd name="connsiteY163" fmla="*/ 571600 h 684100"/>
                <a:gd name="connsiteX164" fmla="*/ 569610 w 725135"/>
                <a:gd name="connsiteY164" fmla="*/ 575991 h 684100"/>
                <a:gd name="connsiteX165" fmla="*/ 575554 w 725135"/>
                <a:gd name="connsiteY165" fmla="*/ 575205 h 684100"/>
                <a:gd name="connsiteX166" fmla="*/ 585499 w 725135"/>
                <a:gd name="connsiteY166" fmla="*/ 565010 h 684100"/>
                <a:gd name="connsiteX167" fmla="*/ 598033 w 725135"/>
                <a:gd name="connsiteY167" fmla="*/ 560498 h 684100"/>
                <a:gd name="connsiteX168" fmla="*/ 604107 w 725135"/>
                <a:gd name="connsiteY168" fmla="*/ 561254 h 684100"/>
                <a:gd name="connsiteX169" fmla="*/ 607588 w 725135"/>
                <a:gd name="connsiteY169" fmla="*/ 563978 h 684100"/>
                <a:gd name="connsiteX170" fmla="*/ 613397 w 725135"/>
                <a:gd name="connsiteY170" fmla="*/ 566172 h 684100"/>
                <a:gd name="connsiteX171" fmla="*/ 623077 w 725135"/>
                <a:gd name="connsiteY171" fmla="*/ 579477 h 684100"/>
                <a:gd name="connsiteX172" fmla="*/ 629792 w 725135"/>
                <a:gd name="connsiteY172" fmla="*/ 578170 h 684100"/>
                <a:gd name="connsiteX173" fmla="*/ 638585 w 725135"/>
                <a:gd name="connsiteY173" fmla="*/ 582181 h 684100"/>
                <a:gd name="connsiteX174" fmla="*/ 640398 w 725135"/>
                <a:gd name="connsiteY174" fmla="*/ 573147 h 684100"/>
                <a:gd name="connsiteX175" fmla="*/ 642470 w 725135"/>
                <a:gd name="connsiteY175" fmla="*/ 569262 h 684100"/>
                <a:gd name="connsiteX176" fmla="*/ 640267 w 725135"/>
                <a:gd name="connsiteY176" fmla="*/ 563385 h 684100"/>
                <a:gd name="connsiteX177" fmla="*/ 633282 w 725135"/>
                <a:gd name="connsiteY177" fmla="*/ 557504 h 684100"/>
                <a:gd name="connsiteX178" fmla="*/ 631754 w 725135"/>
                <a:gd name="connsiteY178" fmla="*/ 549381 h 684100"/>
                <a:gd name="connsiteX179" fmla="*/ 625815 w 725135"/>
                <a:gd name="connsiteY179" fmla="*/ 544464 h 684100"/>
                <a:gd name="connsiteX180" fmla="*/ 622320 w 725135"/>
                <a:gd name="connsiteY180" fmla="*/ 537609 h 684100"/>
                <a:gd name="connsiteX181" fmla="*/ 624364 w 725135"/>
                <a:gd name="connsiteY181" fmla="*/ 532075 h 684100"/>
                <a:gd name="connsiteX182" fmla="*/ 623612 w 725135"/>
                <a:gd name="connsiteY182" fmla="*/ 525480 h 684100"/>
                <a:gd name="connsiteX183" fmla="*/ 626326 w 725135"/>
                <a:gd name="connsiteY183" fmla="*/ 519926 h 684100"/>
                <a:gd name="connsiteX184" fmla="*/ 626065 w 725135"/>
                <a:gd name="connsiteY184" fmla="*/ 507012 h 684100"/>
                <a:gd name="connsiteX185" fmla="*/ 629305 w 725135"/>
                <a:gd name="connsiteY185" fmla="*/ 495394 h 684100"/>
                <a:gd name="connsiteX186" fmla="*/ 631634 w 725135"/>
                <a:gd name="connsiteY186" fmla="*/ 489715 h 684100"/>
                <a:gd name="connsiteX187" fmla="*/ 631985 w 725135"/>
                <a:gd name="connsiteY187" fmla="*/ 486866 h 684100"/>
                <a:gd name="connsiteX188" fmla="*/ 638460 w 725135"/>
                <a:gd name="connsiteY188" fmla="*/ 467260 h 684100"/>
                <a:gd name="connsiteX189" fmla="*/ 652170 w 725135"/>
                <a:gd name="connsiteY189" fmla="*/ 461803 h 684100"/>
                <a:gd name="connsiteX190" fmla="*/ 665200 w 725135"/>
                <a:gd name="connsiteY190" fmla="*/ 461042 h 684100"/>
                <a:gd name="connsiteX191" fmla="*/ 666063 w 725135"/>
                <a:gd name="connsiteY191" fmla="*/ 455739 h 684100"/>
                <a:gd name="connsiteX192" fmla="*/ 675550 w 725135"/>
                <a:gd name="connsiteY192" fmla="*/ 450065 h 684100"/>
                <a:gd name="connsiteX193" fmla="*/ 694920 w 725135"/>
                <a:gd name="connsiteY193" fmla="*/ 446849 h 684100"/>
                <a:gd name="connsiteX194" fmla="*/ 702498 w 725135"/>
                <a:gd name="connsiteY194" fmla="*/ 443460 h 684100"/>
                <a:gd name="connsiteX195" fmla="*/ 697986 w 725135"/>
                <a:gd name="connsiteY195" fmla="*/ 434426 h 684100"/>
                <a:gd name="connsiteX196" fmla="*/ 689733 w 725135"/>
                <a:gd name="connsiteY196" fmla="*/ 428637 h 684100"/>
                <a:gd name="connsiteX197" fmla="*/ 681996 w 725135"/>
                <a:gd name="connsiteY197" fmla="*/ 423720 h 684100"/>
                <a:gd name="connsiteX198" fmla="*/ 679638 w 725135"/>
                <a:gd name="connsiteY198" fmla="*/ 416879 h 684100"/>
                <a:gd name="connsiteX199" fmla="*/ 677589 w 725135"/>
                <a:gd name="connsiteY199" fmla="*/ 411162 h 684100"/>
                <a:gd name="connsiteX200" fmla="*/ 674355 w 725135"/>
                <a:gd name="connsiteY200" fmla="*/ 403429 h 684100"/>
                <a:gd name="connsiteX201" fmla="*/ 671940 w 725135"/>
                <a:gd name="connsiteY201" fmla="*/ 395306 h 684100"/>
                <a:gd name="connsiteX202" fmla="*/ 671134 w 725135"/>
                <a:gd name="connsiteY202" fmla="*/ 389353 h 684100"/>
                <a:gd name="connsiteX203" fmla="*/ 662732 w 725135"/>
                <a:gd name="connsiteY203" fmla="*/ 381601 h 684100"/>
                <a:gd name="connsiteX204" fmla="*/ 659647 w 725135"/>
                <a:gd name="connsiteY204" fmla="*/ 375677 h 684100"/>
                <a:gd name="connsiteX205" fmla="*/ 660673 w 725135"/>
                <a:gd name="connsiteY205" fmla="*/ 365596 h 684100"/>
                <a:gd name="connsiteX206" fmla="*/ 645845 w 725135"/>
                <a:gd name="connsiteY206" fmla="*/ 353969 h 684100"/>
                <a:gd name="connsiteX207" fmla="*/ 636927 w 725135"/>
                <a:gd name="connsiteY207" fmla="*/ 345841 h 684100"/>
                <a:gd name="connsiteX208" fmla="*/ 629435 w 725135"/>
                <a:gd name="connsiteY208" fmla="*/ 337198 h 684100"/>
                <a:gd name="connsiteX209" fmla="*/ 630192 w 725135"/>
                <a:gd name="connsiteY209" fmla="*/ 324013 h 684100"/>
                <a:gd name="connsiteX210" fmla="*/ 630457 w 725135"/>
                <a:gd name="connsiteY210" fmla="*/ 316777 h 684100"/>
                <a:gd name="connsiteX211" fmla="*/ 634054 w 725135"/>
                <a:gd name="connsiteY211" fmla="*/ 311489 h 684100"/>
                <a:gd name="connsiteX212" fmla="*/ 641415 w 725135"/>
                <a:gd name="connsiteY212" fmla="*/ 309927 h 684100"/>
                <a:gd name="connsiteX213" fmla="*/ 647638 w 725135"/>
                <a:gd name="connsiteY213" fmla="*/ 305810 h 684100"/>
                <a:gd name="connsiteX214" fmla="*/ 654566 w 725135"/>
                <a:gd name="connsiteY214" fmla="*/ 305699 h 684100"/>
                <a:gd name="connsiteX215" fmla="*/ 666477 w 725135"/>
                <a:gd name="connsiteY215" fmla="*/ 312530 h 684100"/>
                <a:gd name="connsiteX216" fmla="*/ 672667 w 725135"/>
                <a:gd name="connsiteY216" fmla="*/ 313687 h 684100"/>
                <a:gd name="connsiteX217" fmla="*/ 679547 w 725135"/>
                <a:gd name="connsiteY217" fmla="*/ 310428 h 684100"/>
                <a:gd name="connsiteX218" fmla="*/ 686228 w 725135"/>
                <a:gd name="connsiteY218" fmla="*/ 310578 h 684100"/>
                <a:gd name="connsiteX219" fmla="*/ 689901 w 725135"/>
                <a:gd name="connsiteY219" fmla="*/ 309411 h 684100"/>
                <a:gd name="connsiteX220" fmla="*/ 693478 w 725135"/>
                <a:gd name="connsiteY220" fmla="*/ 304248 h 684100"/>
                <a:gd name="connsiteX221" fmla="*/ 698805 w 725135"/>
                <a:gd name="connsiteY221" fmla="*/ 300276 h 684100"/>
                <a:gd name="connsiteX222" fmla="*/ 701230 w 725135"/>
                <a:gd name="connsiteY222" fmla="*/ 297022 h 684100"/>
                <a:gd name="connsiteX223" fmla="*/ 707545 w 725135"/>
                <a:gd name="connsiteY223" fmla="*/ 287592 h 684100"/>
                <a:gd name="connsiteX224" fmla="*/ 708991 w 725135"/>
                <a:gd name="connsiteY224" fmla="*/ 272634 h 684100"/>
                <a:gd name="connsiteX225" fmla="*/ 714810 w 725135"/>
                <a:gd name="connsiteY225" fmla="*/ 270691 h 684100"/>
                <a:gd name="connsiteX226" fmla="*/ 719462 w 725135"/>
                <a:gd name="connsiteY226" fmla="*/ 264853 h 684100"/>
                <a:gd name="connsiteX227" fmla="*/ 725136 w 725135"/>
                <a:gd name="connsiteY227" fmla="*/ 263330 h 684100"/>
                <a:gd name="connsiteX228" fmla="*/ 722046 w 725135"/>
                <a:gd name="connsiteY228" fmla="*/ 256856 h 684100"/>
                <a:gd name="connsiteX229" fmla="*/ 720870 w 725135"/>
                <a:gd name="connsiteY229" fmla="*/ 250680 h 684100"/>
                <a:gd name="connsiteX230" fmla="*/ 709637 w 725135"/>
                <a:gd name="connsiteY230" fmla="*/ 248077 h 684100"/>
                <a:gd name="connsiteX231" fmla="*/ 703289 w 725135"/>
                <a:gd name="connsiteY231" fmla="*/ 243941 h 684100"/>
                <a:gd name="connsiteX232" fmla="*/ 700338 w 725135"/>
                <a:gd name="connsiteY232" fmla="*/ 244351 h 684100"/>
                <a:gd name="connsiteX233" fmla="*/ 693748 w 725135"/>
                <a:gd name="connsiteY233" fmla="*/ 241622 h 684100"/>
                <a:gd name="connsiteX234" fmla="*/ 689742 w 725135"/>
                <a:gd name="connsiteY234" fmla="*/ 235697 h 684100"/>
                <a:gd name="connsiteX235" fmla="*/ 691661 w 725135"/>
                <a:gd name="connsiteY235" fmla="*/ 230775 h 684100"/>
                <a:gd name="connsiteX236" fmla="*/ 692061 w 725135"/>
                <a:gd name="connsiteY236" fmla="*/ 223665 h 684100"/>
                <a:gd name="connsiteX237" fmla="*/ 686233 w 725135"/>
                <a:gd name="connsiteY237" fmla="*/ 223303 h 684100"/>
                <a:gd name="connsiteX238" fmla="*/ 680838 w 725135"/>
                <a:gd name="connsiteY238" fmla="*/ 221341 h 684100"/>
                <a:gd name="connsiteX239" fmla="*/ 676456 w 725135"/>
                <a:gd name="connsiteY239" fmla="*/ 220315 h 684100"/>
                <a:gd name="connsiteX240" fmla="*/ 671419 w 725135"/>
                <a:gd name="connsiteY240" fmla="*/ 219659 h 684100"/>
                <a:gd name="connsiteX241" fmla="*/ 665080 w 725135"/>
                <a:gd name="connsiteY241" fmla="*/ 220440 h 684100"/>
                <a:gd name="connsiteX242" fmla="*/ 660683 w 725135"/>
                <a:gd name="connsiteY242" fmla="*/ 219148 h 684100"/>
                <a:gd name="connsiteX243" fmla="*/ 644784 w 725135"/>
                <a:gd name="connsiteY243" fmla="*/ 227141 h 684100"/>
                <a:gd name="connsiteX244" fmla="*/ 633142 w 725135"/>
                <a:gd name="connsiteY244" fmla="*/ 228327 h 684100"/>
                <a:gd name="connsiteX245" fmla="*/ 632786 w 725135"/>
                <a:gd name="connsiteY245" fmla="*/ 222002 h 684100"/>
                <a:gd name="connsiteX246" fmla="*/ 634998 w 725135"/>
                <a:gd name="connsiteY246" fmla="*/ 215421 h 684100"/>
                <a:gd name="connsiteX247" fmla="*/ 633297 w 725135"/>
                <a:gd name="connsiteY247" fmla="*/ 204310 h 684100"/>
                <a:gd name="connsiteX248" fmla="*/ 633692 w 725135"/>
                <a:gd name="connsiteY248" fmla="*/ 200395 h 684100"/>
                <a:gd name="connsiteX249" fmla="*/ 629941 w 725135"/>
                <a:gd name="connsiteY249" fmla="*/ 193425 h 684100"/>
                <a:gd name="connsiteX250" fmla="*/ 611102 w 725135"/>
                <a:gd name="connsiteY250" fmla="*/ 190175 h 684100"/>
                <a:gd name="connsiteX251" fmla="*/ 605158 w 725135"/>
                <a:gd name="connsiteY251" fmla="*/ 190581 h 684100"/>
                <a:gd name="connsiteX252" fmla="*/ 593246 w 725135"/>
                <a:gd name="connsiteY252" fmla="*/ 185933 h 684100"/>
                <a:gd name="connsiteX253" fmla="*/ 586685 w 725135"/>
                <a:gd name="connsiteY253" fmla="*/ 184294 h 684100"/>
                <a:gd name="connsiteX254" fmla="*/ 579473 w 725135"/>
                <a:gd name="connsiteY254" fmla="*/ 173930 h 684100"/>
                <a:gd name="connsiteX255" fmla="*/ 575077 w 725135"/>
                <a:gd name="connsiteY255" fmla="*/ 167740 h 684100"/>
                <a:gd name="connsiteX256" fmla="*/ 568983 w 725135"/>
                <a:gd name="connsiteY256" fmla="*/ 160133 h 684100"/>
                <a:gd name="connsiteX257" fmla="*/ 556329 w 725135"/>
                <a:gd name="connsiteY257" fmla="*/ 154179 h 684100"/>
                <a:gd name="connsiteX258" fmla="*/ 557872 w 725135"/>
                <a:gd name="connsiteY258" fmla="*/ 139187 h 684100"/>
                <a:gd name="connsiteX259" fmla="*/ 555032 w 725135"/>
                <a:gd name="connsiteY259" fmla="*/ 134559 h 684100"/>
                <a:gd name="connsiteX260" fmla="*/ 550159 w 725135"/>
                <a:gd name="connsiteY260" fmla="*/ 136376 h 684100"/>
                <a:gd name="connsiteX261" fmla="*/ 542638 w 725135"/>
                <a:gd name="connsiteY261" fmla="*/ 133262 h 684100"/>
                <a:gd name="connsiteX262" fmla="*/ 524435 w 725135"/>
                <a:gd name="connsiteY262" fmla="*/ 124218 h 684100"/>
                <a:gd name="connsiteX263" fmla="*/ 520179 w 725135"/>
                <a:gd name="connsiteY263" fmla="*/ 115310 h 684100"/>
                <a:gd name="connsiteX264" fmla="*/ 521345 w 725135"/>
                <a:gd name="connsiteY264" fmla="*/ 107202 h 684100"/>
                <a:gd name="connsiteX265" fmla="*/ 524300 w 725135"/>
                <a:gd name="connsiteY265" fmla="*/ 99696 h 684100"/>
                <a:gd name="connsiteX266" fmla="*/ 526098 w 725135"/>
                <a:gd name="connsiteY266" fmla="*/ 92971 h 684100"/>
                <a:gd name="connsiteX267" fmla="*/ 527680 w 725135"/>
                <a:gd name="connsiteY267" fmla="*/ 89992 h 684100"/>
                <a:gd name="connsiteX268" fmla="*/ 528181 w 725135"/>
                <a:gd name="connsiteY268" fmla="*/ 84573 h 684100"/>
                <a:gd name="connsiteX269" fmla="*/ 520294 w 725135"/>
                <a:gd name="connsiteY269" fmla="*/ 71147 h 684100"/>
                <a:gd name="connsiteX270" fmla="*/ 513618 w 725135"/>
                <a:gd name="connsiteY270" fmla="*/ 68043 h 684100"/>
                <a:gd name="connsiteX271" fmla="*/ 504796 w 725135"/>
                <a:gd name="connsiteY271" fmla="*/ 57191 h 684100"/>
                <a:gd name="connsiteX272" fmla="*/ 509593 w 725135"/>
                <a:gd name="connsiteY272" fmla="*/ 43260 h 684100"/>
                <a:gd name="connsiteX273" fmla="*/ 503624 w 725135"/>
                <a:gd name="connsiteY273" fmla="*/ 32630 h 684100"/>
                <a:gd name="connsiteX274" fmla="*/ 503518 w 725135"/>
                <a:gd name="connsiteY274" fmla="*/ 24926 h 684100"/>
                <a:gd name="connsiteX275" fmla="*/ 502911 w 725135"/>
                <a:gd name="connsiteY275" fmla="*/ 19604 h 684100"/>
                <a:gd name="connsiteX276" fmla="*/ 496316 w 725135"/>
                <a:gd name="connsiteY276" fmla="*/ 17657 h 684100"/>
                <a:gd name="connsiteX277" fmla="*/ 492002 w 725135"/>
                <a:gd name="connsiteY277" fmla="*/ 20892 h 684100"/>
                <a:gd name="connsiteX278" fmla="*/ 487239 w 725135"/>
                <a:gd name="connsiteY278" fmla="*/ 20785 h 684100"/>
                <a:gd name="connsiteX279" fmla="*/ 481300 w 725135"/>
                <a:gd name="connsiteY279" fmla="*/ 15198 h 684100"/>
                <a:gd name="connsiteX280" fmla="*/ 474850 w 725135"/>
                <a:gd name="connsiteY280" fmla="*/ 14697 h 684100"/>
                <a:gd name="connsiteX281" fmla="*/ 472415 w 725135"/>
                <a:gd name="connsiteY281" fmla="*/ 7746 h 684100"/>
                <a:gd name="connsiteX282" fmla="*/ 466331 w 725135"/>
                <a:gd name="connsiteY282" fmla="*/ 7321 h 684100"/>
                <a:gd name="connsiteX283" fmla="*/ 459872 w 725135"/>
                <a:gd name="connsiteY283" fmla="*/ 1401 h 684100"/>
                <a:gd name="connsiteX284" fmla="*/ 449652 w 725135"/>
                <a:gd name="connsiteY284" fmla="*/ 1401 h 684100"/>
                <a:gd name="connsiteX285" fmla="*/ 443611 w 725135"/>
                <a:gd name="connsiteY285" fmla="*/ 485 h 684100"/>
                <a:gd name="connsiteX286" fmla="*/ 437123 w 725135"/>
                <a:gd name="connsiteY286" fmla="*/ 4477 h 684100"/>
                <a:gd name="connsiteX287" fmla="*/ 424088 w 725135"/>
                <a:gd name="connsiteY287" fmla="*/ 5036 h 684100"/>
                <a:gd name="connsiteX288" fmla="*/ 415965 w 725135"/>
                <a:gd name="connsiteY288" fmla="*/ 11872 h 684100"/>
                <a:gd name="connsiteX289" fmla="*/ 415039 w 725135"/>
                <a:gd name="connsiteY289" fmla="*/ 18178 h 684100"/>
                <a:gd name="connsiteX290" fmla="*/ 396070 w 725135"/>
                <a:gd name="connsiteY290" fmla="*/ 35228 h 684100"/>
                <a:gd name="connsiteX291" fmla="*/ 380045 w 725135"/>
                <a:gd name="connsiteY291" fmla="*/ 23866 h 684100"/>
                <a:gd name="connsiteX292" fmla="*/ 380431 w 725135"/>
                <a:gd name="connsiteY292" fmla="*/ 15073 h 684100"/>
                <a:gd name="connsiteX293" fmla="*/ 383810 w 725135"/>
                <a:gd name="connsiteY293" fmla="*/ 8734 h 684100"/>
                <a:gd name="connsiteX294" fmla="*/ 377606 w 725135"/>
                <a:gd name="connsiteY294" fmla="*/ 3831 h 684100"/>
                <a:gd name="connsiteX295" fmla="*/ 364937 w 725135"/>
                <a:gd name="connsiteY295" fmla="*/ 2684 h 684100"/>
                <a:gd name="connsiteX296" fmla="*/ 347139 w 725135"/>
                <a:gd name="connsiteY296" fmla="*/ 3349 h 684100"/>
                <a:gd name="connsiteX297" fmla="*/ 335656 w 725135"/>
                <a:gd name="connsiteY297" fmla="*/ 15343 h 684100"/>
                <a:gd name="connsiteX298" fmla="*/ 328001 w 725135"/>
                <a:gd name="connsiteY298" fmla="*/ 16403 h 684100"/>
                <a:gd name="connsiteX299" fmla="*/ 321541 w 725135"/>
                <a:gd name="connsiteY299" fmla="*/ 4241 h 684100"/>
                <a:gd name="connsiteX300" fmla="*/ 304240 w 725135"/>
                <a:gd name="connsiteY300" fmla="*/ 3455 h 684100"/>
                <a:gd name="connsiteX301" fmla="*/ 298267 w 725135"/>
                <a:gd name="connsiteY301" fmla="*/ 11081 h 684100"/>
                <a:gd name="connsiteX302" fmla="*/ 294685 w 725135"/>
                <a:gd name="connsiteY302" fmla="*/ 13149 h 684100"/>
                <a:gd name="connsiteX303" fmla="*/ 283839 w 725135"/>
                <a:gd name="connsiteY303" fmla="*/ 5036 h 684100"/>
                <a:gd name="connsiteX304" fmla="*/ 281732 w 725135"/>
                <a:gd name="connsiteY304" fmla="*/ 4376 h 684100"/>
                <a:gd name="connsiteX305" fmla="*/ 281115 w 725135"/>
                <a:gd name="connsiteY305" fmla="*/ 8097 h 684100"/>
                <a:gd name="connsiteX306" fmla="*/ 281732 w 725135"/>
                <a:gd name="connsiteY306" fmla="*/ 4376 h 684100"/>
                <a:gd name="connsiteX307" fmla="*/ 260574 w 725135"/>
                <a:gd name="connsiteY307" fmla="*/ 27366 h 68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Lst>
              <a:rect l="l" t="t" r="r" b="b"/>
              <a:pathLst>
                <a:path w="725135" h="684100">
                  <a:moveTo>
                    <a:pt x="260574" y="27366"/>
                  </a:moveTo>
                  <a:cubicBezTo>
                    <a:pt x="259802" y="30851"/>
                    <a:pt x="257344" y="36670"/>
                    <a:pt x="253998" y="39258"/>
                  </a:cubicBezTo>
                  <a:cubicBezTo>
                    <a:pt x="250634" y="41857"/>
                    <a:pt x="251405" y="47256"/>
                    <a:pt x="252706" y="50616"/>
                  </a:cubicBezTo>
                  <a:cubicBezTo>
                    <a:pt x="253998" y="53981"/>
                    <a:pt x="253868" y="54897"/>
                    <a:pt x="252856" y="58035"/>
                  </a:cubicBezTo>
                  <a:cubicBezTo>
                    <a:pt x="251839" y="61178"/>
                    <a:pt x="246777" y="61829"/>
                    <a:pt x="241334" y="62504"/>
                  </a:cubicBezTo>
                  <a:cubicBezTo>
                    <a:pt x="235901" y="63160"/>
                    <a:pt x="233303" y="61067"/>
                    <a:pt x="233303" y="61067"/>
                  </a:cubicBezTo>
                  <a:cubicBezTo>
                    <a:pt x="233303" y="61067"/>
                    <a:pt x="231635" y="62894"/>
                    <a:pt x="229596" y="66881"/>
                  </a:cubicBezTo>
                  <a:cubicBezTo>
                    <a:pt x="229051" y="65584"/>
                    <a:pt x="222587" y="63039"/>
                    <a:pt x="219993" y="62383"/>
                  </a:cubicBezTo>
                  <a:cubicBezTo>
                    <a:pt x="205039" y="63034"/>
                    <a:pt x="202181" y="77217"/>
                    <a:pt x="201674" y="81126"/>
                  </a:cubicBezTo>
                  <a:cubicBezTo>
                    <a:pt x="201139" y="84959"/>
                    <a:pt x="198811" y="85619"/>
                    <a:pt x="195870" y="88078"/>
                  </a:cubicBezTo>
                  <a:cubicBezTo>
                    <a:pt x="192896" y="90517"/>
                    <a:pt x="189912" y="88193"/>
                    <a:pt x="188871" y="89220"/>
                  </a:cubicBezTo>
                  <a:cubicBezTo>
                    <a:pt x="187497" y="91009"/>
                    <a:pt x="185969" y="92190"/>
                    <a:pt x="184469" y="92961"/>
                  </a:cubicBezTo>
                  <a:cubicBezTo>
                    <a:pt x="187289" y="98394"/>
                    <a:pt x="188702" y="104825"/>
                    <a:pt x="186465" y="108127"/>
                  </a:cubicBezTo>
                  <a:cubicBezTo>
                    <a:pt x="183737" y="112263"/>
                    <a:pt x="184074" y="113126"/>
                    <a:pt x="185087" y="115551"/>
                  </a:cubicBezTo>
                  <a:cubicBezTo>
                    <a:pt x="186161" y="117961"/>
                    <a:pt x="186807" y="120193"/>
                    <a:pt x="185790" y="122430"/>
                  </a:cubicBezTo>
                  <a:cubicBezTo>
                    <a:pt x="184773" y="124643"/>
                    <a:pt x="184561" y="126369"/>
                    <a:pt x="184773" y="128297"/>
                  </a:cubicBezTo>
                  <a:cubicBezTo>
                    <a:pt x="184913" y="130172"/>
                    <a:pt x="183047" y="137071"/>
                    <a:pt x="183047" y="137071"/>
                  </a:cubicBezTo>
                  <a:lnTo>
                    <a:pt x="189753" y="141028"/>
                  </a:lnTo>
                  <a:lnTo>
                    <a:pt x="196136" y="137909"/>
                  </a:lnTo>
                  <a:lnTo>
                    <a:pt x="207127" y="137398"/>
                  </a:lnTo>
                  <a:lnTo>
                    <a:pt x="209214" y="139298"/>
                  </a:lnTo>
                  <a:lnTo>
                    <a:pt x="210207" y="144466"/>
                  </a:lnTo>
                  <a:lnTo>
                    <a:pt x="204220" y="148944"/>
                  </a:lnTo>
                  <a:lnTo>
                    <a:pt x="201453" y="154994"/>
                  </a:lnTo>
                  <a:cubicBezTo>
                    <a:pt x="201453" y="154994"/>
                    <a:pt x="206114" y="165460"/>
                    <a:pt x="200773" y="164616"/>
                  </a:cubicBezTo>
                  <a:cubicBezTo>
                    <a:pt x="195446" y="163748"/>
                    <a:pt x="192154" y="161854"/>
                    <a:pt x="189917" y="163411"/>
                  </a:cubicBezTo>
                  <a:cubicBezTo>
                    <a:pt x="187704" y="164978"/>
                    <a:pt x="184262" y="165812"/>
                    <a:pt x="184262" y="165812"/>
                  </a:cubicBezTo>
                  <a:lnTo>
                    <a:pt x="178930" y="165812"/>
                  </a:lnTo>
                  <a:lnTo>
                    <a:pt x="175310" y="171997"/>
                  </a:lnTo>
                  <a:cubicBezTo>
                    <a:pt x="175310" y="171997"/>
                    <a:pt x="178574" y="185639"/>
                    <a:pt x="170330" y="193724"/>
                  </a:cubicBezTo>
                  <a:cubicBezTo>
                    <a:pt x="167202" y="197363"/>
                    <a:pt x="156875" y="199422"/>
                    <a:pt x="153612" y="199422"/>
                  </a:cubicBezTo>
                  <a:cubicBezTo>
                    <a:pt x="152889" y="204054"/>
                    <a:pt x="151322" y="207800"/>
                    <a:pt x="148459" y="211411"/>
                  </a:cubicBezTo>
                  <a:cubicBezTo>
                    <a:pt x="149779" y="216077"/>
                    <a:pt x="149616" y="219028"/>
                    <a:pt x="149616" y="219028"/>
                  </a:cubicBezTo>
                  <a:lnTo>
                    <a:pt x="147056" y="225878"/>
                  </a:lnTo>
                  <a:lnTo>
                    <a:pt x="149008" y="232468"/>
                  </a:lnTo>
                  <a:lnTo>
                    <a:pt x="149008" y="238031"/>
                  </a:lnTo>
                  <a:lnTo>
                    <a:pt x="154297" y="248607"/>
                  </a:lnTo>
                  <a:lnTo>
                    <a:pt x="152739" y="254812"/>
                  </a:lnTo>
                  <a:lnTo>
                    <a:pt x="147726" y="257911"/>
                  </a:lnTo>
                  <a:lnTo>
                    <a:pt x="147292" y="263831"/>
                  </a:lnTo>
                  <a:lnTo>
                    <a:pt x="149379" y="270175"/>
                  </a:lnTo>
                  <a:lnTo>
                    <a:pt x="145099" y="283090"/>
                  </a:lnTo>
                  <a:lnTo>
                    <a:pt x="151071" y="286980"/>
                  </a:lnTo>
                  <a:lnTo>
                    <a:pt x="157001" y="282825"/>
                  </a:lnTo>
                  <a:cubicBezTo>
                    <a:pt x="157001" y="282825"/>
                    <a:pt x="168219" y="289675"/>
                    <a:pt x="167838" y="296665"/>
                  </a:cubicBezTo>
                  <a:cubicBezTo>
                    <a:pt x="167457" y="303645"/>
                    <a:pt x="158698" y="311373"/>
                    <a:pt x="151698" y="310602"/>
                  </a:cubicBezTo>
                  <a:cubicBezTo>
                    <a:pt x="148333" y="310240"/>
                    <a:pt x="147721" y="306359"/>
                    <a:pt x="148613" y="304161"/>
                  </a:cubicBezTo>
                  <a:cubicBezTo>
                    <a:pt x="149500" y="301949"/>
                    <a:pt x="149775" y="297957"/>
                    <a:pt x="149775" y="297957"/>
                  </a:cubicBezTo>
                  <a:lnTo>
                    <a:pt x="143821" y="292645"/>
                  </a:lnTo>
                  <a:cubicBezTo>
                    <a:pt x="143821" y="292645"/>
                    <a:pt x="137357" y="294221"/>
                    <a:pt x="136450" y="297046"/>
                  </a:cubicBezTo>
                  <a:cubicBezTo>
                    <a:pt x="135568" y="299890"/>
                    <a:pt x="133741" y="300425"/>
                    <a:pt x="130786" y="300425"/>
                  </a:cubicBezTo>
                  <a:cubicBezTo>
                    <a:pt x="127811" y="300425"/>
                    <a:pt x="126409" y="300136"/>
                    <a:pt x="124832" y="302363"/>
                  </a:cubicBezTo>
                  <a:cubicBezTo>
                    <a:pt x="123290" y="304557"/>
                    <a:pt x="122109" y="305439"/>
                    <a:pt x="122109" y="305439"/>
                  </a:cubicBezTo>
                  <a:lnTo>
                    <a:pt x="121998" y="309584"/>
                  </a:lnTo>
                  <a:lnTo>
                    <a:pt x="118402" y="316686"/>
                  </a:lnTo>
                  <a:lnTo>
                    <a:pt x="110867" y="320952"/>
                  </a:lnTo>
                  <a:cubicBezTo>
                    <a:pt x="110867" y="320952"/>
                    <a:pt x="108186" y="318349"/>
                    <a:pt x="103400" y="319539"/>
                  </a:cubicBezTo>
                  <a:cubicBezTo>
                    <a:pt x="98622" y="320686"/>
                    <a:pt x="96684" y="323396"/>
                    <a:pt x="96684" y="323396"/>
                  </a:cubicBezTo>
                  <a:lnTo>
                    <a:pt x="95122" y="329836"/>
                  </a:lnTo>
                  <a:lnTo>
                    <a:pt x="98478" y="335023"/>
                  </a:lnTo>
                  <a:lnTo>
                    <a:pt x="99794" y="342254"/>
                  </a:lnTo>
                  <a:lnTo>
                    <a:pt x="94491" y="346246"/>
                  </a:lnTo>
                  <a:lnTo>
                    <a:pt x="88552" y="343681"/>
                  </a:lnTo>
                  <a:lnTo>
                    <a:pt x="80925" y="348049"/>
                  </a:lnTo>
                  <a:cubicBezTo>
                    <a:pt x="80925" y="348049"/>
                    <a:pt x="71342" y="359161"/>
                    <a:pt x="70614" y="362154"/>
                  </a:cubicBezTo>
                  <a:cubicBezTo>
                    <a:pt x="67760" y="362270"/>
                    <a:pt x="59102" y="361754"/>
                    <a:pt x="57675" y="358780"/>
                  </a:cubicBezTo>
                  <a:cubicBezTo>
                    <a:pt x="56243" y="355830"/>
                    <a:pt x="50584" y="355540"/>
                    <a:pt x="49292" y="357112"/>
                  </a:cubicBezTo>
                  <a:cubicBezTo>
                    <a:pt x="47986" y="358630"/>
                    <a:pt x="45295" y="360857"/>
                    <a:pt x="45295" y="360857"/>
                  </a:cubicBezTo>
                  <a:lnTo>
                    <a:pt x="37799" y="363032"/>
                  </a:lnTo>
                  <a:lnTo>
                    <a:pt x="34931" y="362014"/>
                  </a:lnTo>
                  <a:lnTo>
                    <a:pt x="28871" y="364984"/>
                  </a:lnTo>
                  <a:cubicBezTo>
                    <a:pt x="28871" y="364984"/>
                    <a:pt x="15971" y="365225"/>
                    <a:pt x="10784" y="372451"/>
                  </a:cubicBezTo>
                  <a:cubicBezTo>
                    <a:pt x="7043" y="369882"/>
                    <a:pt x="4719" y="369111"/>
                    <a:pt x="4719" y="369111"/>
                  </a:cubicBezTo>
                  <a:cubicBezTo>
                    <a:pt x="4719" y="369111"/>
                    <a:pt x="2709" y="368421"/>
                    <a:pt x="0" y="368797"/>
                  </a:cubicBezTo>
                  <a:cubicBezTo>
                    <a:pt x="1273" y="371439"/>
                    <a:pt x="2415" y="374274"/>
                    <a:pt x="2574" y="376081"/>
                  </a:cubicBezTo>
                  <a:cubicBezTo>
                    <a:pt x="2955" y="380184"/>
                    <a:pt x="24971" y="427904"/>
                    <a:pt x="28770" y="432031"/>
                  </a:cubicBezTo>
                  <a:cubicBezTo>
                    <a:pt x="32549" y="436167"/>
                    <a:pt x="35297" y="439257"/>
                    <a:pt x="36319" y="443904"/>
                  </a:cubicBezTo>
                  <a:cubicBezTo>
                    <a:pt x="37336" y="448561"/>
                    <a:pt x="42172" y="454582"/>
                    <a:pt x="44760" y="456163"/>
                  </a:cubicBezTo>
                  <a:cubicBezTo>
                    <a:pt x="47354" y="457682"/>
                    <a:pt x="53553" y="466995"/>
                    <a:pt x="51664" y="470948"/>
                  </a:cubicBezTo>
                  <a:cubicBezTo>
                    <a:pt x="49755" y="474920"/>
                    <a:pt x="50598" y="479052"/>
                    <a:pt x="53375" y="480941"/>
                  </a:cubicBezTo>
                  <a:cubicBezTo>
                    <a:pt x="56133" y="482826"/>
                    <a:pt x="57511" y="485579"/>
                    <a:pt x="57511" y="487671"/>
                  </a:cubicBezTo>
                  <a:cubicBezTo>
                    <a:pt x="57511" y="489725"/>
                    <a:pt x="67857" y="522250"/>
                    <a:pt x="64193" y="526237"/>
                  </a:cubicBezTo>
                  <a:cubicBezTo>
                    <a:pt x="60592" y="530195"/>
                    <a:pt x="54922" y="536895"/>
                    <a:pt x="54922" y="536895"/>
                  </a:cubicBezTo>
                  <a:cubicBezTo>
                    <a:pt x="54922" y="536895"/>
                    <a:pt x="23761" y="544638"/>
                    <a:pt x="17056" y="585618"/>
                  </a:cubicBezTo>
                  <a:cubicBezTo>
                    <a:pt x="16709" y="587860"/>
                    <a:pt x="15508" y="591128"/>
                    <a:pt x="15508" y="591128"/>
                  </a:cubicBezTo>
                  <a:lnTo>
                    <a:pt x="17707" y="593216"/>
                  </a:lnTo>
                  <a:lnTo>
                    <a:pt x="21365" y="598736"/>
                  </a:lnTo>
                  <a:cubicBezTo>
                    <a:pt x="21365" y="598736"/>
                    <a:pt x="38923" y="598711"/>
                    <a:pt x="41853" y="602491"/>
                  </a:cubicBezTo>
                  <a:cubicBezTo>
                    <a:pt x="44765" y="606318"/>
                    <a:pt x="46318" y="606839"/>
                    <a:pt x="48747" y="606839"/>
                  </a:cubicBezTo>
                  <a:cubicBezTo>
                    <a:pt x="51143" y="606839"/>
                    <a:pt x="59059" y="611125"/>
                    <a:pt x="61103" y="616654"/>
                  </a:cubicBezTo>
                  <a:cubicBezTo>
                    <a:pt x="63209" y="622150"/>
                    <a:pt x="62833" y="623032"/>
                    <a:pt x="61291" y="625090"/>
                  </a:cubicBezTo>
                  <a:cubicBezTo>
                    <a:pt x="59753" y="627144"/>
                    <a:pt x="59208" y="630244"/>
                    <a:pt x="60090" y="634375"/>
                  </a:cubicBezTo>
                  <a:cubicBezTo>
                    <a:pt x="60944" y="638506"/>
                    <a:pt x="61291" y="641090"/>
                    <a:pt x="61291" y="641090"/>
                  </a:cubicBezTo>
                  <a:cubicBezTo>
                    <a:pt x="61291" y="641090"/>
                    <a:pt x="63706" y="645371"/>
                    <a:pt x="62173" y="649353"/>
                  </a:cubicBezTo>
                  <a:cubicBezTo>
                    <a:pt x="60596" y="653301"/>
                    <a:pt x="59898" y="655523"/>
                    <a:pt x="59898" y="655523"/>
                  </a:cubicBezTo>
                  <a:lnTo>
                    <a:pt x="60447" y="662784"/>
                  </a:lnTo>
                  <a:lnTo>
                    <a:pt x="59227" y="667946"/>
                  </a:lnTo>
                  <a:cubicBezTo>
                    <a:pt x="59227" y="667946"/>
                    <a:pt x="61647" y="668477"/>
                    <a:pt x="61811" y="672415"/>
                  </a:cubicBezTo>
                  <a:cubicBezTo>
                    <a:pt x="61990" y="676142"/>
                    <a:pt x="63368" y="680176"/>
                    <a:pt x="68830" y="684101"/>
                  </a:cubicBezTo>
                  <a:cubicBezTo>
                    <a:pt x="70739" y="681816"/>
                    <a:pt x="71366" y="680533"/>
                    <a:pt x="70195" y="678533"/>
                  </a:cubicBezTo>
                  <a:cubicBezTo>
                    <a:pt x="68536" y="675693"/>
                    <a:pt x="67606" y="670530"/>
                    <a:pt x="69823" y="669383"/>
                  </a:cubicBezTo>
                  <a:cubicBezTo>
                    <a:pt x="72017" y="668192"/>
                    <a:pt x="81441" y="665391"/>
                    <a:pt x="81441" y="665391"/>
                  </a:cubicBezTo>
                  <a:lnTo>
                    <a:pt x="90345" y="665488"/>
                  </a:lnTo>
                  <a:lnTo>
                    <a:pt x="96549" y="671437"/>
                  </a:lnTo>
                  <a:lnTo>
                    <a:pt x="103390" y="665242"/>
                  </a:lnTo>
                  <a:lnTo>
                    <a:pt x="107179" y="659284"/>
                  </a:lnTo>
                  <a:cubicBezTo>
                    <a:pt x="107179" y="659284"/>
                    <a:pt x="118387" y="646528"/>
                    <a:pt x="118387" y="644556"/>
                  </a:cubicBezTo>
                  <a:cubicBezTo>
                    <a:pt x="118387" y="642623"/>
                    <a:pt x="117852" y="634910"/>
                    <a:pt x="119684" y="631521"/>
                  </a:cubicBezTo>
                  <a:cubicBezTo>
                    <a:pt x="121463" y="628185"/>
                    <a:pt x="127301" y="623273"/>
                    <a:pt x="127301" y="623273"/>
                  </a:cubicBezTo>
                  <a:lnTo>
                    <a:pt x="133620" y="622381"/>
                  </a:lnTo>
                  <a:cubicBezTo>
                    <a:pt x="133620" y="622381"/>
                    <a:pt x="143190" y="618100"/>
                    <a:pt x="146521" y="617989"/>
                  </a:cubicBezTo>
                  <a:cubicBezTo>
                    <a:pt x="149905" y="617859"/>
                    <a:pt x="159575" y="617035"/>
                    <a:pt x="174303" y="607750"/>
                  </a:cubicBezTo>
                  <a:cubicBezTo>
                    <a:pt x="179721" y="603894"/>
                    <a:pt x="187352" y="598345"/>
                    <a:pt x="192780" y="601073"/>
                  </a:cubicBezTo>
                  <a:cubicBezTo>
                    <a:pt x="198194" y="603763"/>
                    <a:pt x="228680" y="599603"/>
                    <a:pt x="233457" y="592902"/>
                  </a:cubicBezTo>
                  <a:cubicBezTo>
                    <a:pt x="239787" y="593683"/>
                    <a:pt x="250253" y="593418"/>
                    <a:pt x="253203" y="592131"/>
                  </a:cubicBezTo>
                  <a:cubicBezTo>
                    <a:pt x="256173" y="590854"/>
                    <a:pt x="259022" y="590348"/>
                    <a:pt x="259022" y="590348"/>
                  </a:cubicBezTo>
                  <a:cubicBezTo>
                    <a:pt x="259022" y="590348"/>
                    <a:pt x="263669" y="595115"/>
                    <a:pt x="266253" y="595115"/>
                  </a:cubicBezTo>
                  <a:cubicBezTo>
                    <a:pt x="268851" y="595115"/>
                    <a:pt x="277861" y="595491"/>
                    <a:pt x="282677" y="593274"/>
                  </a:cubicBezTo>
                  <a:cubicBezTo>
                    <a:pt x="284571" y="592661"/>
                    <a:pt x="286398" y="593543"/>
                    <a:pt x="287936" y="595226"/>
                  </a:cubicBezTo>
                  <a:cubicBezTo>
                    <a:pt x="289513" y="596923"/>
                    <a:pt x="290920" y="597820"/>
                    <a:pt x="294160" y="596253"/>
                  </a:cubicBezTo>
                  <a:cubicBezTo>
                    <a:pt x="297356" y="594744"/>
                    <a:pt x="302153" y="592657"/>
                    <a:pt x="305267" y="592657"/>
                  </a:cubicBezTo>
                  <a:cubicBezTo>
                    <a:pt x="308371" y="592657"/>
                    <a:pt x="315462" y="592126"/>
                    <a:pt x="319584" y="594064"/>
                  </a:cubicBezTo>
                  <a:cubicBezTo>
                    <a:pt x="323725" y="596012"/>
                    <a:pt x="328748" y="597424"/>
                    <a:pt x="331332" y="595482"/>
                  </a:cubicBezTo>
                  <a:cubicBezTo>
                    <a:pt x="333921" y="593539"/>
                    <a:pt x="342714" y="590053"/>
                    <a:pt x="342714" y="590053"/>
                  </a:cubicBezTo>
                  <a:lnTo>
                    <a:pt x="349164" y="590207"/>
                  </a:lnTo>
                  <a:lnTo>
                    <a:pt x="354592" y="596017"/>
                  </a:lnTo>
                  <a:lnTo>
                    <a:pt x="360522" y="600910"/>
                  </a:lnTo>
                  <a:cubicBezTo>
                    <a:pt x="360522" y="600910"/>
                    <a:pt x="362344" y="607490"/>
                    <a:pt x="365308" y="607239"/>
                  </a:cubicBezTo>
                  <a:cubicBezTo>
                    <a:pt x="368268" y="606979"/>
                    <a:pt x="374849" y="606733"/>
                    <a:pt x="377987" y="603108"/>
                  </a:cubicBezTo>
                  <a:cubicBezTo>
                    <a:pt x="381087" y="599492"/>
                    <a:pt x="384938" y="598340"/>
                    <a:pt x="388024" y="599888"/>
                  </a:cubicBezTo>
                  <a:cubicBezTo>
                    <a:pt x="391148" y="601445"/>
                    <a:pt x="393346" y="601806"/>
                    <a:pt x="395019" y="600529"/>
                  </a:cubicBezTo>
                  <a:cubicBezTo>
                    <a:pt x="396701" y="599251"/>
                    <a:pt x="399030" y="600399"/>
                    <a:pt x="399791" y="602727"/>
                  </a:cubicBezTo>
                  <a:cubicBezTo>
                    <a:pt x="400567" y="605055"/>
                    <a:pt x="400567" y="606834"/>
                    <a:pt x="400567" y="606834"/>
                  </a:cubicBezTo>
                  <a:lnTo>
                    <a:pt x="399280" y="613304"/>
                  </a:lnTo>
                  <a:lnTo>
                    <a:pt x="404949" y="616514"/>
                  </a:lnTo>
                  <a:cubicBezTo>
                    <a:pt x="404949" y="616514"/>
                    <a:pt x="406246" y="610507"/>
                    <a:pt x="408584" y="608560"/>
                  </a:cubicBezTo>
                  <a:cubicBezTo>
                    <a:pt x="408189" y="602867"/>
                    <a:pt x="407924" y="600780"/>
                    <a:pt x="407924" y="600780"/>
                  </a:cubicBezTo>
                  <a:lnTo>
                    <a:pt x="408941" y="595655"/>
                  </a:lnTo>
                  <a:lnTo>
                    <a:pt x="415155" y="595366"/>
                  </a:lnTo>
                  <a:lnTo>
                    <a:pt x="420462" y="598962"/>
                  </a:lnTo>
                  <a:cubicBezTo>
                    <a:pt x="420462" y="598962"/>
                    <a:pt x="432075" y="597024"/>
                    <a:pt x="432847" y="594744"/>
                  </a:cubicBezTo>
                  <a:cubicBezTo>
                    <a:pt x="433623" y="592391"/>
                    <a:pt x="436077" y="581285"/>
                    <a:pt x="438670" y="583999"/>
                  </a:cubicBezTo>
                  <a:cubicBezTo>
                    <a:pt x="441240" y="586722"/>
                    <a:pt x="443587" y="586447"/>
                    <a:pt x="443587" y="586447"/>
                  </a:cubicBezTo>
                  <a:cubicBezTo>
                    <a:pt x="443587" y="586447"/>
                    <a:pt x="455702" y="592661"/>
                    <a:pt x="455321" y="592661"/>
                  </a:cubicBezTo>
                  <a:cubicBezTo>
                    <a:pt x="454916" y="592661"/>
                    <a:pt x="462166" y="586317"/>
                    <a:pt x="462166" y="586317"/>
                  </a:cubicBezTo>
                  <a:lnTo>
                    <a:pt x="468240" y="586727"/>
                  </a:lnTo>
                  <a:lnTo>
                    <a:pt x="473394" y="584915"/>
                  </a:lnTo>
                  <a:lnTo>
                    <a:pt x="479087" y="598080"/>
                  </a:lnTo>
                  <a:lnTo>
                    <a:pt x="484655" y="598210"/>
                  </a:lnTo>
                  <a:lnTo>
                    <a:pt x="487880" y="592131"/>
                  </a:lnTo>
                  <a:lnTo>
                    <a:pt x="488135" y="585936"/>
                  </a:lnTo>
                  <a:lnTo>
                    <a:pt x="493819" y="579482"/>
                  </a:lnTo>
                  <a:lnTo>
                    <a:pt x="499758" y="576642"/>
                  </a:lnTo>
                  <a:cubicBezTo>
                    <a:pt x="499758" y="576642"/>
                    <a:pt x="504367" y="570843"/>
                    <a:pt x="504367" y="568621"/>
                  </a:cubicBezTo>
                  <a:cubicBezTo>
                    <a:pt x="504367" y="566427"/>
                    <a:pt x="512663" y="564248"/>
                    <a:pt x="515488" y="567333"/>
                  </a:cubicBezTo>
                  <a:cubicBezTo>
                    <a:pt x="518327" y="570443"/>
                    <a:pt x="524662" y="578575"/>
                    <a:pt x="524662" y="578575"/>
                  </a:cubicBezTo>
                  <a:lnTo>
                    <a:pt x="526079" y="585811"/>
                  </a:lnTo>
                  <a:lnTo>
                    <a:pt x="537577" y="593679"/>
                  </a:lnTo>
                  <a:lnTo>
                    <a:pt x="542904" y="588400"/>
                  </a:lnTo>
                  <a:lnTo>
                    <a:pt x="548062" y="586583"/>
                  </a:lnTo>
                  <a:lnTo>
                    <a:pt x="548833" y="580118"/>
                  </a:lnTo>
                  <a:lnTo>
                    <a:pt x="553866" y="577423"/>
                  </a:lnTo>
                  <a:lnTo>
                    <a:pt x="557761" y="571961"/>
                  </a:lnTo>
                  <a:lnTo>
                    <a:pt x="563281" y="571600"/>
                  </a:lnTo>
                  <a:lnTo>
                    <a:pt x="569610" y="575991"/>
                  </a:lnTo>
                  <a:lnTo>
                    <a:pt x="575554" y="575205"/>
                  </a:lnTo>
                  <a:lnTo>
                    <a:pt x="585499" y="565010"/>
                  </a:lnTo>
                  <a:lnTo>
                    <a:pt x="598033" y="560498"/>
                  </a:lnTo>
                  <a:lnTo>
                    <a:pt x="604107" y="561254"/>
                  </a:lnTo>
                  <a:lnTo>
                    <a:pt x="607588" y="563978"/>
                  </a:lnTo>
                  <a:lnTo>
                    <a:pt x="613397" y="566172"/>
                  </a:lnTo>
                  <a:lnTo>
                    <a:pt x="623077" y="579477"/>
                  </a:lnTo>
                  <a:lnTo>
                    <a:pt x="629792" y="578170"/>
                  </a:lnTo>
                  <a:lnTo>
                    <a:pt x="638585" y="582181"/>
                  </a:lnTo>
                  <a:lnTo>
                    <a:pt x="640398" y="573147"/>
                  </a:lnTo>
                  <a:lnTo>
                    <a:pt x="642470" y="569262"/>
                  </a:lnTo>
                  <a:lnTo>
                    <a:pt x="640267" y="563385"/>
                  </a:lnTo>
                  <a:lnTo>
                    <a:pt x="633282" y="557504"/>
                  </a:lnTo>
                  <a:lnTo>
                    <a:pt x="631754" y="549381"/>
                  </a:lnTo>
                  <a:lnTo>
                    <a:pt x="625815" y="544464"/>
                  </a:lnTo>
                  <a:lnTo>
                    <a:pt x="622320" y="537609"/>
                  </a:lnTo>
                  <a:lnTo>
                    <a:pt x="624364" y="532075"/>
                  </a:lnTo>
                  <a:lnTo>
                    <a:pt x="623612" y="525480"/>
                  </a:lnTo>
                  <a:lnTo>
                    <a:pt x="626326" y="519926"/>
                  </a:lnTo>
                  <a:lnTo>
                    <a:pt x="626065" y="507012"/>
                  </a:lnTo>
                  <a:lnTo>
                    <a:pt x="629305" y="495394"/>
                  </a:lnTo>
                  <a:lnTo>
                    <a:pt x="631634" y="489715"/>
                  </a:lnTo>
                  <a:lnTo>
                    <a:pt x="631985" y="486866"/>
                  </a:lnTo>
                  <a:cubicBezTo>
                    <a:pt x="631985" y="486866"/>
                    <a:pt x="641815" y="483251"/>
                    <a:pt x="638460" y="467260"/>
                  </a:cubicBezTo>
                  <a:cubicBezTo>
                    <a:pt x="640272" y="465973"/>
                    <a:pt x="650868" y="462984"/>
                    <a:pt x="652170" y="461803"/>
                  </a:cubicBezTo>
                  <a:cubicBezTo>
                    <a:pt x="656653" y="464025"/>
                    <a:pt x="665200" y="464025"/>
                    <a:pt x="665200" y="461042"/>
                  </a:cubicBezTo>
                  <a:cubicBezTo>
                    <a:pt x="665200" y="458058"/>
                    <a:pt x="666063" y="455739"/>
                    <a:pt x="666063" y="455739"/>
                  </a:cubicBezTo>
                  <a:lnTo>
                    <a:pt x="675550" y="450065"/>
                  </a:lnTo>
                  <a:lnTo>
                    <a:pt x="694920" y="446849"/>
                  </a:lnTo>
                  <a:lnTo>
                    <a:pt x="702498" y="443460"/>
                  </a:lnTo>
                  <a:cubicBezTo>
                    <a:pt x="701350" y="438910"/>
                    <a:pt x="698988" y="434426"/>
                    <a:pt x="697986" y="434426"/>
                  </a:cubicBezTo>
                  <a:cubicBezTo>
                    <a:pt x="696713" y="434426"/>
                    <a:pt x="691801" y="431847"/>
                    <a:pt x="689733" y="428637"/>
                  </a:cubicBezTo>
                  <a:cubicBezTo>
                    <a:pt x="687670" y="425402"/>
                    <a:pt x="681996" y="423720"/>
                    <a:pt x="681996" y="423720"/>
                  </a:cubicBezTo>
                  <a:cubicBezTo>
                    <a:pt x="679248" y="422944"/>
                    <a:pt x="679007" y="419714"/>
                    <a:pt x="679638" y="416879"/>
                  </a:cubicBezTo>
                  <a:cubicBezTo>
                    <a:pt x="680289" y="414035"/>
                    <a:pt x="679412" y="413365"/>
                    <a:pt x="677589" y="411162"/>
                  </a:cubicBezTo>
                  <a:cubicBezTo>
                    <a:pt x="675796" y="408992"/>
                    <a:pt x="674514" y="406905"/>
                    <a:pt x="674355" y="403429"/>
                  </a:cubicBezTo>
                  <a:cubicBezTo>
                    <a:pt x="674234" y="399963"/>
                    <a:pt x="673231" y="396323"/>
                    <a:pt x="671940" y="395306"/>
                  </a:cubicBezTo>
                  <a:cubicBezTo>
                    <a:pt x="670643" y="394260"/>
                    <a:pt x="671134" y="392062"/>
                    <a:pt x="671134" y="389353"/>
                  </a:cubicBezTo>
                  <a:cubicBezTo>
                    <a:pt x="671134" y="386639"/>
                    <a:pt x="666868" y="384084"/>
                    <a:pt x="662732" y="381601"/>
                  </a:cubicBezTo>
                  <a:cubicBezTo>
                    <a:pt x="658610" y="379147"/>
                    <a:pt x="658099" y="377079"/>
                    <a:pt x="659647" y="375677"/>
                  </a:cubicBezTo>
                  <a:cubicBezTo>
                    <a:pt x="661170" y="374249"/>
                    <a:pt x="661989" y="373584"/>
                    <a:pt x="660673" y="365596"/>
                  </a:cubicBezTo>
                  <a:cubicBezTo>
                    <a:pt x="659372" y="357594"/>
                    <a:pt x="649822" y="353853"/>
                    <a:pt x="645845" y="353969"/>
                  </a:cubicBezTo>
                  <a:cubicBezTo>
                    <a:pt x="641820" y="354085"/>
                    <a:pt x="638720" y="349577"/>
                    <a:pt x="636927" y="345841"/>
                  </a:cubicBezTo>
                  <a:cubicBezTo>
                    <a:pt x="635100" y="342090"/>
                    <a:pt x="631474" y="338856"/>
                    <a:pt x="629435" y="337198"/>
                  </a:cubicBezTo>
                  <a:cubicBezTo>
                    <a:pt x="627353" y="335491"/>
                    <a:pt x="629165" y="326086"/>
                    <a:pt x="630192" y="324013"/>
                  </a:cubicBezTo>
                  <a:cubicBezTo>
                    <a:pt x="631229" y="321930"/>
                    <a:pt x="630457" y="316777"/>
                    <a:pt x="630457" y="316777"/>
                  </a:cubicBezTo>
                  <a:cubicBezTo>
                    <a:pt x="630457" y="316777"/>
                    <a:pt x="631985" y="314333"/>
                    <a:pt x="634054" y="311489"/>
                  </a:cubicBezTo>
                  <a:cubicBezTo>
                    <a:pt x="636141" y="308644"/>
                    <a:pt x="641415" y="309927"/>
                    <a:pt x="641415" y="309927"/>
                  </a:cubicBezTo>
                  <a:lnTo>
                    <a:pt x="647638" y="305810"/>
                  </a:lnTo>
                  <a:lnTo>
                    <a:pt x="654566" y="305699"/>
                  </a:lnTo>
                  <a:lnTo>
                    <a:pt x="666477" y="312530"/>
                  </a:lnTo>
                  <a:lnTo>
                    <a:pt x="672667" y="313687"/>
                  </a:lnTo>
                  <a:lnTo>
                    <a:pt x="679547" y="310428"/>
                  </a:lnTo>
                  <a:lnTo>
                    <a:pt x="686228" y="310578"/>
                  </a:lnTo>
                  <a:cubicBezTo>
                    <a:pt x="686228" y="310578"/>
                    <a:pt x="687804" y="309932"/>
                    <a:pt x="689901" y="309411"/>
                  </a:cubicBezTo>
                  <a:cubicBezTo>
                    <a:pt x="691945" y="308900"/>
                    <a:pt x="692591" y="307357"/>
                    <a:pt x="693478" y="304248"/>
                  </a:cubicBezTo>
                  <a:cubicBezTo>
                    <a:pt x="694390" y="301163"/>
                    <a:pt x="695802" y="300738"/>
                    <a:pt x="698805" y="300276"/>
                  </a:cubicBezTo>
                  <a:cubicBezTo>
                    <a:pt x="701760" y="299741"/>
                    <a:pt x="701230" y="297022"/>
                    <a:pt x="701230" y="297022"/>
                  </a:cubicBezTo>
                  <a:cubicBezTo>
                    <a:pt x="701230" y="297022"/>
                    <a:pt x="703949" y="293271"/>
                    <a:pt x="707545" y="287592"/>
                  </a:cubicBezTo>
                  <a:cubicBezTo>
                    <a:pt x="711165" y="281899"/>
                    <a:pt x="708991" y="272634"/>
                    <a:pt x="708991" y="272634"/>
                  </a:cubicBezTo>
                  <a:lnTo>
                    <a:pt x="714810" y="270691"/>
                  </a:lnTo>
                  <a:lnTo>
                    <a:pt x="719462" y="264853"/>
                  </a:lnTo>
                  <a:lnTo>
                    <a:pt x="725136" y="263330"/>
                  </a:lnTo>
                  <a:lnTo>
                    <a:pt x="722046" y="256856"/>
                  </a:lnTo>
                  <a:lnTo>
                    <a:pt x="720870" y="250680"/>
                  </a:lnTo>
                  <a:lnTo>
                    <a:pt x="709637" y="248077"/>
                  </a:lnTo>
                  <a:lnTo>
                    <a:pt x="703289" y="243941"/>
                  </a:lnTo>
                  <a:lnTo>
                    <a:pt x="700338" y="244351"/>
                  </a:lnTo>
                  <a:lnTo>
                    <a:pt x="693748" y="241622"/>
                  </a:lnTo>
                  <a:lnTo>
                    <a:pt x="689742" y="235697"/>
                  </a:lnTo>
                  <a:cubicBezTo>
                    <a:pt x="689742" y="235697"/>
                    <a:pt x="689906" y="233364"/>
                    <a:pt x="691661" y="230775"/>
                  </a:cubicBezTo>
                  <a:cubicBezTo>
                    <a:pt x="693483" y="228196"/>
                    <a:pt x="693748" y="226254"/>
                    <a:pt x="692061" y="223665"/>
                  </a:cubicBezTo>
                  <a:cubicBezTo>
                    <a:pt x="690393" y="221081"/>
                    <a:pt x="688595" y="221862"/>
                    <a:pt x="686233" y="223303"/>
                  </a:cubicBezTo>
                  <a:cubicBezTo>
                    <a:pt x="683943" y="224721"/>
                    <a:pt x="682786" y="223795"/>
                    <a:pt x="680838" y="221341"/>
                  </a:cubicBezTo>
                  <a:cubicBezTo>
                    <a:pt x="678891" y="218902"/>
                    <a:pt x="678245" y="218757"/>
                    <a:pt x="676456" y="220315"/>
                  </a:cubicBezTo>
                  <a:cubicBezTo>
                    <a:pt x="674634" y="221862"/>
                    <a:pt x="671419" y="219659"/>
                    <a:pt x="671419" y="219659"/>
                  </a:cubicBezTo>
                  <a:lnTo>
                    <a:pt x="665080" y="220440"/>
                  </a:lnTo>
                  <a:cubicBezTo>
                    <a:pt x="665080" y="220440"/>
                    <a:pt x="664169" y="220695"/>
                    <a:pt x="660683" y="219148"/>
                  </a:cubicBezTo>
                  <a:cubicBezTo>
                    <a:pt x="657207" y="217572"/>
                    <a:pt x="651003" y="222224"/>
                    <a:pt x="644784" y="227141"/>
                  </a:cubicBezTo>
                  <a:cubicBezTo>
                    <a:pt x="639506" y="226625"/>
                    <a:pt x="633142" y="228327"/>
                    <a:pt x="633142" y="228327"/>
                  </a:cubicBezTo>
                  <a:lnTo>
                    <a:pt x="632786" y="222002"/>
                  </a:lnTo>
                  <a:lnTo>
                    <a:pt x="634998" y="215421"/>
                  </a:lnTo>
                  <a:lnTo>
                    <a:pt x="633297" y="204310"/>
                  </a:lnTo>
                  <a:lnTo>
                    <a:pt x="633692" y="200395"/>
                  </a:lnTo>
                  <a:lnTo>
                    <a:pt x="629941" y="193425"/>
                  </a:lnTo>
                  <a:lnTo>
                    <a:pt x="611102" y="190175"/>
                  </a:lnTo>
                  <a:cubicBezTo>
                    <a:pt x="611102" y="190175"/>
                    <a:pt x="608634" y="190089"/>
                    <a:pt x="605158" y="190581"/>
                  </a:cubicBezTo>
                  <a:cubicBezTo>
                    <a:pt x="601687" y="191130"/>
                    <a:pt x="593246" y="185933"/>
                    <a:pt x="593246" y="185933"/>
                  </a:cubicBezTo>
                  <a:cubicBezTo>
                    <a:pt x="593246" y="185933"/>
                    <a:pt x="588618" y="185075"/>
                    <a:pt x="586685" y="184294"/>
                  </a:cubicBezTo>
                  <a:cubicBezTo>
                    <a:pt x="584762" y="183489"/>
                    <a:pt x="579710" y="177420"/>
                    <a:pt x="579473" y="173930"/>
                  </a:cubicBezTo>
                  <a:cubicBezTo>
                    <a:pt x="579208" y="170459"/>
                    <a:pt x="578172" y="170179"/>
                    <a:pt x="575077" y="167740"/>
                  </a:cubicBezTo>
                  <a:cubicBezTo>
                    <a:pt x="571987" y="165320"/>
                    <a:pt x="570560" y="164153"/>
                    <a:pt x="568983" y="160133"/>
                  </a:cubicBezTo>
                  <a:cubicBezTo>
                    <a:pt x="567475" y="156112"/>
                    <a:pt x="559834" y="155486"/>
                    <a:pt x="556329" y="154179"/>
                  </a:cubicBezTo>
                  <a:cubicBezTo>
                    <a:pt x="552854" y="152892"/>
                    <a:pt x="557872" y="139187"/>
                    <a:pt x="557872" y="139187"/>
                  </a:cubicBezTo>
                  <a:lnTo>
                    <a:pt x="555032" y="134559"/>
                  </a:lnTo>
                  <a:cubicBezTo>
                    <a:pt x="555032" y="134559"/>
                    <a:pt x="553634" y="134829"/>
                    <a:pt x="550159" y="136376"/>
                  </a:cubicBezTo>
                  <a:cubicBezTo>
                    <a:pt x="546625" y="137890"/>
                    <a:pt x="543039" y="136892"/>
                    <a:pt x="542638" y="133262"/>
                  </a:cubicBezTo>
                  <a:cubicBezTo>
                    <a:pt x="542315" y="129637"/>
                    <a:pt x="528827" y="125636"/>
                    <a:pt x="524435" y="124218"/>
                  </a:cubicBezTo>
                  <a:cubicBezTo>
                    <a:pt x="520048" y="122777"/>
                    <a:pt x="519788" y="118405"/>
                    <a:pt x="520179" y="115310"/>
                  </a:cubicBezTo>
                  <a:cubicBezTo>
                    <a:pt x="520574" y="112220"/>
                    <a:pt x="521596" y="111193"/>
                    <a:pt x="521345" y="107202"/>
                  </a:cubicBezTo>
                  <a:cubicBezTo>
                    <a:pt x="521066" y="103181"/>
                    <a:pt x="521345" y="103311"/>
                    <a:pt x="524300" y="99696"/>
                  </a:cubicBezTo>
                  <a:cubicBezTo>
                    <a:pt x="527270" y="96061"/>
                    <a:pt x="526098" y="92971"/>
                    <a:pt x="526098" y="92971"/>
                  </a:cubicBezTo>
                  <a:lnTo>
                    <a:pt x="527680" y="89992"/>
                  </a:lnTo>
                  <a:cubicBezTo>
                    <a:pt x="527680" y="89992"/>
                    <a:pt x="527540" y="86762"/>
                    <a:pt x="528181" y="84573"/>
                  </a:cubicBezTo>
                  <a:cubicBezTo>
                    <a:pt x="528827" y="82389"/>
                    <a:pt x="520294" y="71147"/>
                    <a:pt x="520294" y="71147"/>
                  </a:cubicBezTo>
                  <a:cubicBezTo>
                    <a:pt x="520294" y="71147"/>
                    <a:pt x="517190" y="69720"/>
                    <a:pt x="513618" y="68043"/>
                  </a:cubicBezTo>
                  <a:cubicBezTo>
                    <a:pt x="512191" y="63280"/>
                    <a:pt x="506358" y="58893"/>
                    <a:pt x="504796" y="57191"/>
                  </a:cubicBezTo>
                  <a:cubicBezTo>
                    <a:pt x="503253" y="55500"/>
                    <a:pt x="504796" y="49319"/>
                    <a:pt x="509593" y="43260"/>
                  </a:cubicBezTo>
                  <a:cubicBezTo>
                    <a:pt x="505461" y="41206"/>
                    <a:pt x="503513" y="35884"/>
                    <a:pt x="503624" y="32630"/>
                  </a:cubicBezTo>
                  <a:cubicBezTo>
                    <a:pt x="503798" y="29410"/>
                    <a:pt x="503518" y="24926"/>
                    <a:pt x="503518" y="24926"/>
                  </a:cubicBezTo>
                  <a:cubicBezTo>
                    <a:pt x="503518" y="24926"/>
                    <a:pt x="504058" y="23736"/>
                    <a:pt x="502911" y="19604"/>
                  </a:cubicBezTo>
                  <a:cubicBezTo>
                    <a:pt x="501715" y="15463"/>
                    <a:pt x="498596" y="15873"/>
                    <a:pt x="496316" y="17657"/>
                  </a:cubicBezTo>
                  <a:cubicBezTo>
                    <a:pt x="493944" y="19470"/>
                    <a:pt x="492002" y="20892"/>
                    <a:pt x="492002" y="20892"/>
                  </a:cubicBezTo>
                  <a:lnTo>
                    <a:pt x="487239" y="20785"/>
                  </a:lnTo>
                  <a:lnTo>
                    <a:pt x="481300" y="15198"/>
                  </a:lnTo>
                  <a:cubicBezTo>
                    <a:pt x="481300" y="15198"/>
                    <a:pt x="474314" y="14446"/>
                    <a:pt x="474850" y="14697"/>
                  </a:cubicBezTo>
                  <a:cubicBezTo>
                    <a:pt x="475361" y="14909"/>
                    <a:pt x="472415" y="7746"/>
                    <a:pt x="472415" y="7746"/>
                  </a:cubicBezTo>
                  <a:lnTo>
                    <a:pt x="466331" y="7321"/>
                  </a:lnTo>
                  <a:lnTo>
                    <a:pt x="459872" y="1401"/>
                  </a:lnTo>
                  <a:lnTo>
                    <a:pt x="449652" y="1401"/>
                  </a:lnTo>
                  <a:lnTo>
                    <a:pt x="443611" y="485"/>
                  </a:lnTo>
                  <a:cubicBezTo>
                    <a:pt x="443611" y="485"/>
                    <a:pt x="440362" y="2313"/>
                    <a:pt x="437123" y="4477"/>
                  </a:cubicBezTo>
                  <a:cubicBezTo>
                    <a:pt x="433878" y="6675"/>
                    <a:pt x="427838" y="5253"/>
                    <a:pt x="424088" y="5036"/>
                  </a:cubicBezTo>
                  <a:cubicBezTo>
                    <a:pt x="420342" y="4733"/>
                    <a:pt x="415965" y="11872"/>
                    <a:pt x="415965" y="11872"/>
                  </a:cubicBezTo>
                  <a:cubicBezTo>
                    <a:pt x="415965" y="11872"/>
                    <a:pt x="415825" y="14297"/>
                    <a:pt x="415039" y="18178"/>
                  </a:cubicBezTo>
                  <a:cubicBezTo>
                    <a:pt x="401753" y="16403"/>
                    <a:pt x="398755" y="34327"/>
                    <a:pt x="396070" y="35228"/>
                  </a:cubicBezTo>
                  <a:cubicBezTo>
                    <a:pt x="381468" y="34958"/>
                    <a:pt x="380045" y="23866"/>
                    <a:pt x="380045" y="23866"/>
                  </a:cubicBezTo>
                  <a:lnTo>
                    <a:pt x="380431" y="15073"/>
                  </a:lnTo>
                  <a:lnTo>
                    <a:pt x="383810" y="8734"/>
                  </a:lnTo>
                  <a:lnTo>
                    <a:pt x="377606" y="3831"/>
                  </a:lnTo>
                  <a:cubicBezTo>
                    <a:pt x="377606" y="3831"/>
                    <a:pt x="368032" y="3985"/>
                    <a:pt x="364937" y="2684"/>
                  </a:cubicBezTo>
                  <a:cubicBezTo>
                    <a:pt x="358237" y="-811"/>
                    <a:pt x="350601" y="-1197"/>
                    <a:pt x="347139" y="3349"/>
                  </a:cubicBezTo>
                  <a:cubicBezTo>
                    <a:pt x="343635" y="7851"/>
                    <a:pt x="338341" y="12889"/>
                    <a:pt x="335656" y="15343"/>
                  </a:cubicBezTo>
                  <a:cubicBezTo>
                    <a:pt x="332918" y="17792"/>
                    <a:pt x="328768" y="19474"/>
                    <a:pt x="328001" y="16403"/>
                  </a:cubicBezTo>
                  <a:cubicBezTo>
                    <a:pt x="327249" y="13289"/>
                    <a:pt x="324149" y="9119"/>
                    <a:pt x="321541" y="4241"/>
                  </a:cubicBezTo>
                  <a:cubicBezTo>
                    <a:pt x="318957" y="-681"/>
                    <a:pt x="309403" y="1541"/>
                    <a:pt x="304240" y="3455"/>
                  </a:cubicBezTo>
                  <a:cubicBezTo>
                    <a:pt x="299091" y="5388"/>
                    <a:pt x="299501" y="7967"/>
                    <a:pt x="298267" y="11081"/>
                  </a:cubicBezTo>
                  <a:cubicBezTo>
                    <a:pt x="297120" y="14191"/>
                    <a:pt x="294685" y="13149"/>
                    <a:pt x="294685" y="13149"/>
                  </a:cubicBezTo>
                  <a:cubicBezTo>
                    <a:pt x="294685" y="13149"/>
                    <a:pt x="286929" y="6950"/>
                    <a:pt x="283839" y="5036"/>
                  </a:cubicBezTo>
                  <a:cubicBezTo>
                    <a:pt x="283135" y="4703"/>
                    <a:pt x="282441" y="4511"/>
                    <a:pt x="281732" y="4376"/>
                  </a:cubicBezTo>
                  <a:lnTo>
                    <a:pt x="281115" y="8097"/>
                  </a:lnTo>
                  <a:lnTo>
                    <a:pt x="281732" y="4376"/>
                  </a:lnTo>
                  <a:cubicBezTo>
                    <a:pt x="270008" y="2023"/>
                    <a:pt x="261287" y="24078"/>
                    <a:pt x="260574" y="2736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10" name="Freihandform: Form 609">
              <a:extLst>
                <a:ext uri="{FF2B5EF4-FFF2-40B4-BE49-F238E27FC236}">
                  <a16:creationId xmlns:a16="http://schemas.microsoft.com/office/drawing/2014/main" id="{98FA3697-46F7-D4E6-77CB-6470669DC27E}"/>
                </a:ext>
              </a:extLst>
            </p:cNvPr>
            <p:cNvSpPr/>
            <p:nvPr/>
          </p:nvSpPr>
          <p:spPr>
            <a:xfrm>
              <a:off x="6421438" y="3060678"/>
              <a:ext cx="563498" cy="447692"/>
            </a:xfrm>
            <a:custGeom>
              <a:avLst/>
              <a:gdLst>
                <a:gd name="connsiteX0" fmla="*/ 37539 w 442661"/>
                <a:gd name="connsiteY0" fmla="*/ 200686 h 350851"/>
                <a:gd name="connsiteX1" fmla="*/ 51129 w 442661"/>
                <a:gd name="connsiteY1" fmla="*/ 210704 h 350851"/>
                <a:gd name="connsiteX2" fmla="*/ 56306 w 442661"/>
                <a:gd name="connsiteY2" fmla="*/ 209981 h 350851"/>
                <a:gd name="connsiteX3" fmla="*/ 68512 w 442661"/>
                <a:gd name="connsiteY3" fmla="*/ 216204 h 350851"/>
                <a:gd name="connsiteX4" fmla="*/ 81239 w 442661"/>
                <a:gd name="connsiteY4" fmla="*/ 219805 h 350851"/>
                <a:gd name="connsiteX5" fmla="*/ 87655 w 442661"/>
                <a:gd name="connsiteY5" fmla="*/ 218957 h 350851"/>
                <a:gd name="connsiteX6" fmla="*/ 94698 w 442661"/>
                <a:gd name="connsiteY6" fmla="*/ 225340 h 350851"/>
                <a:gd name="connsiteX7" fmla="*/ 103641 w 442661"/>
                <a:gd name="connsiteY7" fmla="*/ 221680 h 350851"/>
                <a:gd name="connsiteX8" fmla="*/ 116213 w 442661"/>
                <a:gd name="connsiteY8" fmla="*/ 217381 h 350851"/>
                <a:gd name="connsiteX9" fmla="*/ 125150 w 442661"/>
                <a:gd name="connsiteY9" fmla="*/ 217549 h 350851"/>
                <a:gd name="connsiteX10" fmla="*/ 135496 w 442661"/>
                <a:gd name="connsiteY10" fmla="*/ 214797 h 350851"/>
                <a:gd name="connsiteX11" fmla="*/ 149283 w 442661"/>
                <a:gd name="connsiteY11" fmla="*/ 226530 h 350851"/>
                <a:gd name="connsiteX12" fmla="*/ 158250 w 442661"/>
                <a:gd name="connsiteY12" fmla="*/ 233226 h 350851"/>
                <a:gd name="connsiteX13" fmla="*/ 160809 w 442661"/>
                <a:gd name="connsiteY13" fmla="*/ 248382 h 350851"/>
                <a:gd name="connsiteX14" fmla="*/ 156013 w 442661"/>
                <a:gd name="connsiteY14" fmla="*/ 267183 h 350851"/>
                <a:gd name="connsiteX15" fmla="*/ 167322 w 442661"/>
                <a:gd name="connsiteY15" fmla="*/ 302230 h 350851"/>
                <a:gd name="connsiteX16" fmla="*/ 167722 w 442661"/>
                <a:gd name="connsiteY16" fmla="*/ 301936 h 350851"/>
                <a:gd name="connsiteX17" fmla="*/ 171145 w 442661"/>
                <a:gd name="connsiteY17" fmla="*/ 295399 h 350851"/>
                <a:gd name="connsiteX18" fmla="*/ 187005 w 442661"/>
                <a:gd name="connsiteY18" fmla="*/ 306067 h 350851"/>
                <a:gd name="connsiteX19" fmla="*/ 194217 w 442661"/>
                <a:gd name="connsiteY19" fmla="*/ 305050 h 350851"/>
                <a:gd name="connsiteX20" fmla="*/ 202648 w 442661"/>
                <a:gd name="connsiteY20" fmla="*/ 309350 h 350851"/>
                <a:gd name="connsiteX21" fmla="*/ 213856 w 442661"/>
                <a:gd name="connsiteY21" fmla="*/ 312455 h 350851"/>
                <a:gd name="connsiteX22" fmla="*/ 225879 w 442661"/>
                <a:gd name="connsiteY22" fmla="*/ 323634 h 350851"/>
                <a:gd name="connsiteX23" fmla="*/ 230570 w 442661"/>
                <a:gd name="connsiteY23" fmla="*/ 334683 h 350851"/>
                <a:gd name="connsiteX24" fmla="*/ 228984 w 442661"/>
                <a:gd name="connsiteY24" fmla="*/ 340699 h 350851"/>
                <a:gd name="connsiteX25" fmla="*/ 232455 w 442661"/>
                <a:gd name="connsiteY25" fmla="*/ 347197 h 350851"/>
                <a:gd name="connsiteX26" fmla="*/ 237174 w 442661"/>
                <a:gd name="connsiteY26" fmla="*/ 347511 h 350851"/>
                <a:gd name="connsiteX27" fmla="*/ 243239 w 442661"/>
                <a:gd name="connsiteY27" fmla="*/ 350852 h 350851"/>
                <a:gd name="connsiteX28" fmla="*/ 261326 w 442661"/>
                <a:gd name="connsiteY28" fmla="*/ 343384 h 350851"/>
                <a:gd name="connsiteX29" fmla="*/ 267385 w 442661"/>
                <a:gd name="connsiteY29" fmla="*/ 340415 h 350851"/>
                <a:gd name="connsiteX30" fmla="*/ 270254 w 442661"/>
                <a:gd name="connsiteY30" fmla="*/ 341432 h 350851"/>
                <a:gd name="connsiteX31" fmla="*/ 277750 w 442661"/>
                <a:gd name="connsiteY31" fmla="*/ 339258 h 350851"/>
                <a:gd name="connsiteX32" fmla="*/ 281746 w 442661"/>
                <a:gd name="connsiteY32" fmla="*/ 335512 h 350851"/>
                <a:gd name="connsiteX33" fmla="*/ 290130 w 442661"/>
                <a:gd name="connsiteY33" fmla="*/ 337180 h 350851"/>
                <a:gd name="connsiteX34" fmla="*/ 303069 w 442661"/>
                <a:gd name="connsiteY34" fmla="*/ 340554 h 350851"/>
                <a:gd name="connsiteX35" fmla="*/ 313380 w 442661"/>
                <a:gd name="connsiteY35" fmla="*/ 326449 h 350851"/>
                <a:gd name="connsiteX36" fmla="*/ 321006 w 442661"/>
                <a:gd name="connsiteY36" fmla="*/ 322082 h 350851"/>
                <a:gd name="connsiteX37" fmla="*/ 326946 w 442661"/>
                <a:gd name="connsiteY37" fmla="*/ 324646 h 350851"/>
                <a:gd name="connsiteX38" fmla="*/ 332248 w 442661"/>
                <a:gd name="connsiteY38" fmla="*/ 320654 h 350851"/>
                <a:gd name="connsiteX39" fmla="*/ 330932 w 442661"/>
                <a:gd name="connsiteY39" fmla="*/ 313423 h 350851"/>
                <a:gd name="connsiteX40" fmla="*/ 327577 w 442661"/>
                <a:gd name="connsiteY40" fmla="*/ 308236 h 350851"/>
                <a:gd name="connsiteX41" fmla="*/ 329139 w 442661"/>
                <a:gd name="connsiteY41" fmla="*/ 301796 h 350851"/>
                <a:gd name="connsiteX42" fmla="*/ 335854 w 442661"/>
                <a:gd name="connsiteY42" fmla="*/ 297939 h 350851"/>
                <a:gd name="connsiteX43" fmla="*/ 343321 w 442661"/>
                <a:gd name="connsiteY43" fmla="*/ 299352 h 350851"/>
                <a:gd name="connsiteX44" fmla="*/ 350856 w 442661"/>
                <a:gd name="connsiteY44" fmla="*/ 295085 h 350851"/>
                <a:gd name="connsiteX45" fmla="*/ 354452 w 442661"/>
                <a:gd name="connsiteY45" fmla="*/ 287985 h 350851"/>
                <a:gd name="connsiteX46" fmla="*/ 354563 w 442661"/>
                <a:gd name="connsiteY46" fmla="*/ 283839 h 350851"/>
                <a:gd name="connsiteX47" fmla="*/ 357287 w 442661"/>
                <a:gd name="connsiteY47" fmla="*/ 280763 h 350851"/>
                <a:gd name="connsiteX48" fmla="*/ 363241 w 442661"/>
                <a:gd name="connsiteY48" fmla="*/ 278825 h 350851"/>
                <a:gd name="connsiteX49" fmla="*/ 368905 w 442661"/>
                <a:gd name="connsiteY49" fmla="*/ 275446 h 350851"/>
                <a:gd name="connsiteX50" fmla="*/ 376276 w 442661"/>
                <a:gd name="connsiteY50" fmla="*/ 271044 h 350851"/>
                <a:gd name="connsiteX51" fmla="*/ 382229 w 442661"/>
                <a:gd name="connsiteY51" fmla="*/ 276357 h 350851"/>
                <a:gd name="connsiteX52" fmla="*/ 381068 w 442661"/>
                <a:gd name="connsiteY52" fmla="*/ 282561 h 350851"/>
                <a:gd name="connsiteX53" fmla="*/ 384153 w 442661"/>
                <a:gd name="connsiteY53" fmla="*/ 289002 h 350851"/>
                <a:gd name="connsiteX54" fmla="*/ 400292 w 442661"/>
                <a:gd name="connsiteY54" fmla="*/ 275065 h 350851"/>
                <a:gd name="connsiteX55" fmla="*/ 389456 w 442661"/>
                <a:gd name="connsiteY55" fmla="*/ 261225 h 350851"/>
                <a:gd name="connsiteX56" fmla="*/ 383526 w 442661"/>
                <a:gd name="connsiteY56" fmla="*/ 265380 h 350851"/>
                <a:gd name="connsiteX57" fmla="*/ 377553 w 442661"/>
                <a:gd name="connsiteY57" fmla="*/ 261490 h 350851"/>
                <a:gd name="connsiteX58" fmla="*/ 381834 w 442661"/>
                <a:gd name="connsiteY58" fmla="*/ 248575 h 350851"/>
                <a:gd name="connsiteX59" fmla="*/ 379746 w 442661"/>
                <a:gd name="connsiteY59" fmla="*/ 242231 h 350851"/>
                <a:gd name="connsiteX60" fmla="*/ 380180 w 442661"/>
                <a:gd name="connsiteY60" fmla="*/ 236311 h 350851"/>
                <a:gd name="connsiteX61" fmla="*/ 385194 w 442661"/>
                <a:gd name="connsiteY61" fmla="*/ 233212 h 350851"/>
                <a:gd name="connsiteX62" fmla="*/ 386751 w 442661"/>
                <a:gd name="connsiteY62" fmla="*/ 227008 h 350851"/>
                <a:gd name="connsiteX63" fmla="*/ 381463 w 442661"/>
                <a:gd name="connsiteY63" fmla="*/ 216431 h 350851"/>
                <a:gd name="connsiteX64" fmla="*/ 381463 w 442661"/>
                <a:gd name="connsiteY64" fmla="*/ 210868 h 350851"/>
                <a:gd name="connsiteX65" fmla="*/ 379510 w 442661"/>
                <a:gd name="connsiteY65" fmla="*/ 204278 h 350851"/>
                <a:gd name="connsiteX66" fmla="*/ 382070 w 442661"/>
                <a:gd name="connsiteY66" fmla="*/ 197427 h 350851"/>
                <a:gd name="connsiteX67" fmla="*/ 380913 w 442661"/>
                <a:gd name="connsiteY67" fmla="*/ 189811 h 350851"/>
                <a:gd name="connsiteX68" fmla="*/ 386067 w 442661"/>
                <a:gd name="connsiteY68" fmla="*/ 177822 h 350851"/>
                <a:gd name="connsiteX69" fmla="*/ 402785 w 442661"/>
                <a:gd name="connsiteY69" fmla="*/ 172124 h 350851"/>
                <a:gd name="connsiteX70" fmla="*/ 407764 w 442661"/>
                <a:gd name="connsiteY70" fmla="*/ 150397 h 350851"/>
                <a:gd name="connsiteX71" fmla="*/ 411385 w 442661"/>
                <a:gd name="connsiteY71" fmla="*/ 144212 h 350851"/>
                <a:gd name="connsiteX72" fmla="*/ 416717 w 442661"/>
                <a:gd name="connsiteY72" fmla="*/ 144212 h 350851"/>
                <a:gd name="connsiteX73" fmla="*/ 422371 w 442661"/>
                <a:gd name="connsiteY73" fmla="*/ 141811 h 350851"/>
                <a:gd name="connsiteX74" fmla="*/ 433228 w 442661"/>
                <a:gd name="connsiteY74" fmla="*/ 143016 h 350851"/>
                <a:gd name="connsiteX75" fmla="*/ 433907 w 442661"/>
                <a:gd name="connsiteY75" fmla="*/ 133394 h 350851"/>
                <a:gd name="connsiteX76" fmla="*/ 436674 w 442661"/>
                <a:gd name="connsiteY76" fmla="*/ 127344 h 350851"/>
                <a:gd name="connsiteX77" fmla="*/ 442662 w 442661"/>
                <a:gd name="connsiteY77" fmla="*/ 122866 h 350851"/>
                <a:gd name="connsiteX78" fmla="*/ 441669 w 442661"/>
                <a:gd name="connsiteY78" fmla="*/ 117698 h 350851"/>
                <a:gd name="connsiteX79" fmla="*/ 439581 w 442661"/>
                <a:gd name="connsiteY79" fmla="*/ 115798 h 350851"/>
                <a:gd name="connsiteX80" fmla="*/ 428590 w 442661"/>
                <a:gd name="connsiteY80" fmla="*/ 116310 h 350851"/>
                <a:gd name="connsiteX81" fmla="*/ 422207 w 442661"/>
                <a:gd name="connsiteY81" fmla="*/ 119428 h 350851"/>
                <a:gd name="connsiteX82" fmla="*/ 415502 w 442661"/>
                <a:gd name="connsiteY82" fmla="*/ 115471 h 350851"/>
                <a:gd name="connsiteX83" fmla="*/ 417228 w 442661"/>
                <a:gd name="connsiteY83" fmla="*/ 106697 h 350851"/>
                <a:gd name="connsiteX84" fmla="*/ 418245 w 442661"/>
                <a:gd name="connsiteY84" fmla="*/ 100830 h 350851"/>
                <a:gd name="connsiteX85" fmla="*/ 417541 w 442661"/>
                <a:gd name="connsiteY85" fmla="*/ 93951 h 350851"/>
                <a:gd name="connsiteX86" fmla="*/ 418920 w 442661"/>
                <a:gd name="connsiteY86" fmla="*/ 86527 h 350851"/>
                <a:gd name="connsiteX87" fmla="*/ 416924 w 442661"/>
                <a:gd name="connsiteY87" fmla="*/ 71361 h 350851"/>
                <a:gd name="connsiteX88" fmla="*/ 409582 w 442661"/>
                <a:gd name="connsiteY88" fmla="*/ 71901 h 350851"/>
                <a:gd name="connsiteX89" fmla="*/ 403426 w 442661"/>
                <a:gd name="connsiteY89" fmla="*/ 70349 h 350851"/>
                <a:gd name="connsiteX90" fmla="*/ 388535 w 442661"/>
                <a:gd name="connsiteY90" fmla="*/ 64646 h 350851"/>
                <a:gd name="connsiteX91" fmla="*/ 381313 w 442661"/>
                <a:gd name="connsiteY91" fmla="*/ 55390 h 350851"/>
                <a:gd name="connsiteX92" fmla="*/ 374598 w 442661"/>
                <a:gd name="connsiteY92" fmla="*/ 52411 h 350851"/>
                <a:gd name="connsiteX93" fmla="*/ 369035 w 442661"/>
                <a:gd name="connsiteY93" fmla="*/ 47479 h 350851"/>
                <a:gd name="connsiteX94" fmla="*/ 360912 w 442661"/>
                <a:gd name="connsiteY94" fmla="*/ 44119 h 350851"/>
                <a:gd name="connsiteX95" fmla="*/ 342314 w 442661"/>
                <a:gd name="connsiteY95" fmla="*/ 34059 h 350851"/>
                <a:gd name="connsiteX96" fmla="*/ 337392 w 442661"/>
                <a:gd name="connsiteY96" fmla="*/ 28645 h 350851"/>
                <a:gd name="connsiteX97" fmla="*/ 325779 w 442661"/>
                <a:gd name="connsiteY97" fmla="*/ 24504 h 350851"/>
                <a:gd name="connsiteX98" fmla="*/ 315684 w 442661"/>
                <a:gd name="connsiteY98" fmla="*/ 28119 h 350851"/>
                <a:gd name="connsiteX99" fmla="*/ 293114 w 442661"/>
                <a:gd name="connsiteY99" fmla="*/ 29402 h 350851"/>
                <a:gd name="connsiteX100" fmla="*/ 288698 w 442661"/>
                <a:gd name="connsiteY100" fmla="*/ 26591 h 350851"/>
                <a:gd name="connsiteX101" fmla="*/ 280724 w 442661"/>
                <a:gd name="connsiteY101" fmla="*/ 17654 h 350851"/>
                <a:gd name="connsiteX102" fmla="*/ 274626 w 442661"/>
                <a:gd name="connsiteY102" fmla="*/ 4874 h 350851"/>
                <a:gd name="connsiteX103" fmla="*/ 270866 w 442661"/>
                <a:gd name="connsiteY103" fmla="*/ 613 h 350851"/>
                <a:gd name="connsiteX104" fmla="*/ 266609 w 442661"/>
                <a:gd name="connsiteY104" fmla="*/ 3698 h 350851"/>
                <a:gd name="connsiteX105" fmla="*/ 256028 w 442661"/>
                <a:gd name="connsiteY105" fmla="*/ 11435 h 350851"/>
                <a:gd name="connsiteX106" fmla="*/ 249968 w 442661"/>
                <a:gd name="connsiteY106" fmla="*/ 24099 h 350851"/>
                <a:gd name="connsiteX107" fmla="*/ 243696 w 442661"/>
                <a:gd name="connsiteY107" fmla="*/ 28794 h 350851"/>
                <a:gd name="connsiteX108" fmla="*/ 230334 w 442661"/>
                <a:gd name="connsiteY108" fmla="*/ 27348 h 350851"/>
                <a:gd name="connsiteX109" fmla="*/ 219342 w 442661"/>
                <a:gd name="connsiteY109" fmla="*/ 34305 h 350851"/>
                <a:gd name="connsiteX110" fmla="*/ 208269 w 442661"/>
                <a:gd name="connsiteY110" fmla="*/ 29397 h 350851"/>
                <a:gd name="connsiteX111" fmla="*/ 198850 w 442661"/>
                <a:gd name="connsiteY111" fmla="*/ 28496 h 350851"/>
                <a:gd name="connsiteX112" fmla="*/ 189801 w 442661"/>
                <a:gd name="connsiteY112" fmla="*/ 28380 h 350851"/>
                <a:gd name="connsiteX113" fmla="*/ 180574 w 442661"/>
                <a:gd name="connsiteY113" fmla="*/ 28789 h 350851"/>
                <a:gd name="connsiteX114" fmla="*/ 173647 w 442661"/>
                <a:gd name="connsiteY114" fmla="*/ 33914 h 350851"/>
                <a:gd name="connsiteX115" fmla="*/ 166927 w 442661"/>
                <a:gd name="connsiteY115" fmla="*/ 34454 h 350851"/>
                <a:gd name="connsiteX116" fmla="*/ 160737 w 442661"/>
                <a:gd name="connsiteY116" fmla="*/ 32371 h 350851"/>
                <a:gd name="connsiteX117" fmla="*/ 153819 w 442661"/>
                <a:gd name="connsiteY117" fmla="*/ 31769 h 350851"/>
                <a:gd name="connsiteX118" fmla="*/ 141367 w 442661"/>
                <a:gd name="connsiteY118" fmla="*/ 43334 h 350851"/>
                <a:gd name="connsiteX119" fmla="*/ 134753 w 442661"/>
                <a:gd name="connsiteY119" fmla="*/ 38590 h 350851"/>
                <a:gd name="connsiteX120" fmla="*/ 131186 w 442661"/>
                <a:gd name="connsiteY120" fmla="*/ 32362 h 350851"/>
                <a:gd name="connsiteX121" fmla="*/ 124456 w 442661"/>
                <a:gd name="connsiteY121" fmla="*/ 32656 h 350851"/>
                <a:gd name="connsiteX122" fmla="*/ 118739 w 442661"/>
                <a:gd name="connsiteY122" fmla="*/ 38325 h 350851"/>
                <a:gd name="connsiteX123" fmla="*/ 114882 w 442661"/>
                <a:gd name="connsiteY123" fmla="*/ 41160 h 350851"/>
                <a:gd name="connsiteX124" fmla="*/ 108553 w 442661"/>
                <a:gd name="connsiteY124" fmla="*/ 41160 h 350851"/>
                <a:gd name="connsiteX125" fmla="*/ 77556 w 442661"/>
                <a:gd name="connsiteY125" fmla="*/ 43093 h 350851"/>
                <a:gd name="connsiteX126" fmla="*/ 71617 w 442661"/>
                <a:gd name="connsiteY126" fmla="*/ 40639 h 350851"/>
                <a:gd name="connsiteX127" fmla="*/ 64752 w 442661"/>
                <a:gd name="connsiteY127" fmla="*/ 42321 h 350851"/>
                <a:gd name="connsiteX128" fmla="*/ 55101 w 442661"/>
                <a:gd name="connsiteY128" fmla="*/ 50844 h 350851"/>
                <a:gd name="connsiteX129" fmla="*/ 47359 w 442661"/>
                <a:gd name="connsiteY129" fmla="*/ 55617 h 350851"/>
                <a:gd name="connsiteX130" fmla="*/ 41010 w 442661"/>
                <a:gd name="connsiteY130" fmla="*/ 60023 h 350851"/>
                <a:gd name="connsiteX131" fmla="*/ 35095 w 442661"/>
                <a:gd name="connsiteY131" fmla="*/ 61045 h 350851"/>
                <a:gd name="connsiteX132" fmla="*/ 26683 w 442661"/>
                <a:gd name="connsiteY132" fmla="*/ 68917 h 350851"/>
                <a:gd name="connsiteX133" fmla="*/ 24995 w 442661"/>
                <a:gd name="connsiteY133" fmla="*/ 69828 h 350851"/>
                <a:gd name="connsiteX134" fmla="*/ 19963 w 442661"/>
                <a:gd name="connsiteY134" fmla="*/ 74885 h 350851"/>
                <a:gd name="connsiteX135" fmla="*/ 14139 w 442661"/>
                <a:gd name="connsiteY135" fmla="*/ 79262 h 350851"/>
                <a:gd name="connsiteX136" fmla="*/ 10408 w 442661"/>
                <a:gd name="connsiteY136" fmla="*/ 85076 h 350851"/>
                <a:gd name="connsiteX137" fmla="*/ 9887 w 442661"/>
                <a:gd name="connsiteY137" fmla="*/ 91126 h 350851"/>
                <a:gd name="connsiteX138" fmla="*/ 5616 w 442661"/>
                <a:gd name="connsiteY138" fmla="*/ 97716 h 350851"/>
                <a:gd name="connsiteX139" fmla="*/ 0 w 442661"/>
                <a:gd name="connsiteY139" fmla="*/ 99437 h 350851"/>
                <a:gd name="connsiteX140" fmla="*/ 5573 w 442661"/>
                <a:gd name="connsiteY140" fmla="*/ 133645 h 350851"/>
                <a:gd name="connsiteX141" fmla="*/ 7308 w 442661"/>
                <a:gd name="connsiteY141" fmla="*/ 139946 h 350851"/>
                <a:gd name="connsiteX142" fmla="*/ 11324 w 442661"/>
                <a:gd name="connsiteY142" fmla="*/ 146237 h 350851"/>
                <a:gd name="connsiteX143" fmla="*/ 13705 w 442661"/>
                <a:gd name="connsiteY143" fmla="*/ 149789 h 350851"/>
                <a:gd name="connsiteX144" fmla="*/ 13821 w 442661"/>
                <a:gd name="connsiteY144" fmla="*/ 149982 h 350851"/>
                <a:gd name="connsiteX145" fmla="*/ 16771 w 442661"/>
                <a:gd name="connsiteY145" fmla="*/ 155902 h 350851"/>
                <a:gd name="connsiteX146" fmla="*/ 20329 w 442661"/>
                <a:gd name="connsiteY146" fmla="*/ 162429 h 350851"/>
                <a:gd name="connsiteX147" fmla="*/ 20512 w 442661"/>
                <a:gd name="connsiteY147" fmla="*/ 162940 h 350851"/>
                <a:gd name="connsiteX148" fmla="*/ 21645 w 442661"/>
                <a:gd name="connsiteY148" fmla="*/ 168585 h 350851"/>
                <a:gd name="connsiteX149" fmla="*/ 25077 w 442661"/>
                <a:gd name="connsiteY149" fmla="*/ 174915 h 350851"/>
                <a:gd name="connsiteX150" fmla="*/ 25179 w 442661"/>
                <a:gd name="connsiteY150" fmla="*/ 175127 h 350851"/>
                <a:gd name="connsiteX151" fmla="*/ 27555 w 442661"/>
                <a:gd name="connsiteY151" fmla="*/ 181052 h 350851"/>
                <a:gd name="connsiteX152" fmla="*/ 27671 w 442661"/>
                <a:gd name="connsiteY152" fmla="*/ 181910 h 350851"/>
                <a:gd name="connsiteX153" fmla="*/ 27126 w 442661"/>
                <a:gd name="connsiteY153" fmla="*/ 187854 h 350851"/>
                <a:gd name="connsiteX154" fmla="*/ 30356 w 442661"/>
                <a:gd name="connsiteY154" fmla="*/ 193248 h 350851"/>
                <a:gd name="connsiteX155" fmla="*/ 32087 w 442661"/>
                <a:gd name="connsiteY155" fmla="*/ 195528 h 350851"/>
                <a:gd name="connsiteX156" fmla="*/ 32410 w 442661"/>
                <a:gd name="connsiteY156" fmla="*/ 196261 h 350851"/>
                <a:gd name="connsiteX157" fmla="*/ 33605 w 442661"/>
                <a:gd name="connsiteY157" fmla="*/ 202219 h 350851"/>
                <a:gd name="connsiteX158" fmla="*/ 33620 w 442661"/>
                <a:gd name="connsiteY158" fmla="*/ 202822 h 350851"/>
                <a:gd name="connsiteX159" fmla="*/ 33191 w 442661"/>
                <a:gd name="connsiteY159" fmla="*/ 205840 h 350851"/>
                <a:gd name="connsiteX160" fmla="*/ 37539 w 442661"/>
                <a:gd name="connsiteY160" fmla="*/ 200686 h 350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442661" h="350851">
                  <a:moveTo>
                    <a:pt x="37539" y="200686"/>
                  </a:moveTo>
                  <a:cubicBezTo>
                    <a:pt x="42519" y="206731"/>
                    <a:pt x="51129" y="210704"/>
                    <a:pt x="51129" y="210704"/>
                  </a:cubicBezTo>
                  <a:lnTo>
                    <a:pt x="56306" y="209981"/>
                  </a:lnTo>
                  <a:cubicBezTo>
                    <a:pt x="56306" y="209981"/>
                    <a:pt x="64034" y="211032"/>
                    <a:pt x="68512" y="216204"/>
                  </a:cubicBezTo>
                  <a:cubicBezTo>
                    <a:pt x="73516" y="217761"/>
                    <a:pt x="78660" y="217549"/>
                    <a:pt x="81239" y="219805"/>
                  </a:cubicBezTo>
                  <a:cubicBezTo>
                    <a:pt x="85042" y="219632"/>
                    <a:pt x="87655" y="218957"/>
                    <a:pt x="87655" y="218957"/>
                  </a:cubicBezTo>
                  <a:lnTo>
                    <a:pt x="94698" y="225340"/>
                  </a:lnTo>
                  <a:cubicBezTo>
                    <a:pt x="94698" y="225340"/>
                    <a:pt x="100039" y="224645"/>
                    <a:pt x="103641" y="221680"/>
                  </a:cubicBezTo>
                  <a:cubicBezTo>
                    <a:pt x="107261" y="218764"/>
                    <a:pt x="111204" y="216204"/>
                    <a:pt x="116213" y="217381"/>
                  </a:cubicBezTo>
                  <a:cubicBezTo>
                    <a:pt x="121197" y="218615"/>
                    <a:pt x="125150" y="217549"/>
                    <a:pt x="125150" y="217549"/>
                  </a:cubicBezTo>
                  <a:cubicBezTo>
                    <a:pt x="125150" y="217549"/>
                    <a:pt x="133784" y="209475"/>
                    <a:pt x="135496" y="214797"/>
                  </a:cubicBezTo>
                  <a:cubicBezTo>
                    <a:pt x="137241" y="220133"/>
                    <a:pt x="143242" y="226342"/>
                    <a:pt x="149283" y="226530"/>
                  </a:cubicBezTo>
                  <a:cubicBezTo>
                    <a:pt x="155314" y="226689"/>
                    <a:pt x="156683" y="230840"/>
                    <a:pt x="158250" y="233226"/>
                  </a:cubicBezTo>
                  <a:cubicBezTo>
                    <a:pt x="159778" y="235670"/>
                    <a:pt x="163567" y="245138"/>
                    <a:pt x="160809" y="248382"/>
                  </a:cubicBezTo>
                  <a:cubicBezTo>
                    <a:pt x="158037" y="251660"/>
                    <a:pt x="152571" y="258733"/>
                    <a:pt x="156013" y="267183"/>
                  </a:cubicBezTo>
                  <a:cubicBezTo>
                    <a:pt x="154084" y="272708"/>
                    <a:pt x="153115" y="289059"/>
                    <a:pt x="167322" y="302230"/>
                  </a:cubicBezTo>
                  <a:cubicBezTo>
                    <a:pt x="167433" y="302128"/>
                    <a:pt x="167602" y="302051"/>
                    <a:pt x="167722" y="301936"/>
                  </a:cubicBezTo>
                  <a:cubicBezTo>
                    <a:pt x="169434" y="298850"/>
                    <a:pt x="171145" y="295399"/>
                    <a:pt x="171145" y="295399"/>
                  </a:cubicBezTo>
                  <a:cubicBezTo>
                    <a:pt x="171145" y="295399"/>
                    <a:pt x="187342" y="298147"/>
                    <a:pt x="187005" y="306067"/>
                  </a:cubicBezTo>
                  <a:cubicBezTo>
                    <a:pt x="192322" y="304876"/>
                    <a:pt x="194217" y="305050"/>
                    <a:pt x="194217" y="305050"/>
                  </a:cubicBezTo>
                  <a:lnTo>
                    <a:pt x="202648" y="309350"/>
                  </a:lnTo>
                  <a:cubicBezTo>
                    <a:pt x="202648" y="309350"/>
                    <a:pt x="212825" y="310719"/>
                    <a:pt x="213856" y="312455"/>
                  </a:cubicBezTo>
                  <a:cubicBezTo>
                    <a:pt x="214873" y="314200"/>
                    <a:pt x="224163" y="320891"/>
                    <a:pt x="225879" y="323634"/>
                  </a:cubicBezTo>
                  <a:cubicBezTo>
                    <a:pt x="227610" y="326391"/>
                    <a:pt x="230570" y="334683"/>
                    <a:pt x="230570" y="334683"/>
                  </a:cubicBezTo>
                  <a:lnTo>
                    <a:pt x="228984" y="340699"/>
                  </a:lnTo>
                  <a:cubicBezTo>
                    <a:pt x="228984" y="340699"/>
                    <a:pt x="230816" y="343794"/>
                    <a:pt x="232455" y="347197"/>
                  </a:cubicBezTo>
                  <a:cubicBezTo>
                    <a:pt x="235169" y="346821"/>
                    <a:pt x="237174" y="347511"/>
                    <a:pt x="237174" y="347511"/>
                  </a:cubicBezTo>
                  <a:cubicBezTo>
                    <a:pt x="237174" y="347511"/>
                    <a:pt x="239493" y="348282"/>
                    <a:pt x="243239" y="350852"/>
                  </a:cubicBezTo>
                  <a:cubicBezTo>
                    <a:pt x="248426" y="343621"/>
                    <a:pt x="261326" y="343384"/>
                    <a:pt x="261326" y="343384"/>
                  </a:cubicBezTo>
                  <a:lnTo>
                    <a:pt x="267385" y="340415"/>
                  </a:lnTo>
                  <a:lnTo>
                    <a:pt x="270254" y="341432"/>
                  </a:lnTo>
                  <a:lnTo>
                    <a:pt x="277750" y="339258"/>
                  </a:lnTo>
                  <a:cubicBezTo>
                    <a:pt x="277750" y="339258"/>
                    <a:pt x="280440" y="337035"/>
                    <a:pt x="281746" y="335512"/>
                  </a:cubicBezTo>
                  <a:cubicBezTo>
                    <a:pt x="283043" y="333940"/>
                    <a:pt x="288698" y="334225"/>
                    <a:pt x="290130" y="337180"/>
                  </a:cubicBezTo>
                  <a:cubicBezTo>
                    <a:pt x="291557" y="340149"/>
                    <a:pt x="300214" y="340670"/>
                    <a:pt x="303069" y="340554"/>
                  </a:cubicBezTo>
                  <a:cubicBezTo>
                    <a:pt x="303791" y="337561"/>
                    <a:pt x="313380" y="326449"/>
                    <a:pt x="313380" y="326449"/>
                  </a:cubicBezTo>
                  <a:lnTo>
                    <a:pt x="321006" y="322082"/>
                  </a:lnTo>
                  <a:lnTo>
                    <a:pt x="326946" y="324646"/>
                  </a:lnTo>
                  <a:lnTo>
                    <a:pt x="332248" y="320654"/>
                  </a:lnTo>
                  <a:lnTo>
                    <a:pt x="330932" y="313423"/>
                  </a:lnTo>
                  <a:lnTo>
                    <a:pt x="327577" y="308236"/>
                  </a:lnTo>
                  <a:lnTo>
                    <a:pt x="329139" y="301796"/>
                  </a:lnTo>
                  <a:cubicBezTo>
                    <a:pt x="329139" y="301796"/>
                    <a:pt x="331072" y="299087"/>
                    <a:pt x="335854" y="297939"/>
                  </a:cubicBezTo>
                  <a:cubicBezTo>
                    <a:pt x="340641" y="296749"/>
                    <a:pt x="343321" y="299352"/>
                    <a:pt x="343321" y="299352"/>
                  </a:cubicBezTo>
                  <a:lnTo>
                    <a:pt x="350856" y="295085"/>
                  </a:lnTo>
                  <a:lnTo>
                    <a:pt x="354452" y="287985"/>
                  </a:lnTo>
                  <a:lnTo>
                    <a:pt x="354563" y="283839"/>
                  </a:lnTo>
                  <a:cubicBezTo>
                    <a:pt x="354563" y="283839"/>
                    <a:pt x="355744" y="282957"/>
                    <a:pt x="357287" y="280763"/>
                  </a:cubicBezTo>
                  <a:cubicBezTo>
                    <a:pt x="358863" y="278541"/>
                    <a:pt x="360266" y="278825"/>
                    <a:pt x="363241" y="278825"/>
                  </a:cubicBezTo>
                  <a:cubicBezTo>
                    <a:pt x="366196" y="278825"/>
                    <a:pt x="368023" y="278290"/>
                    <a:pt x="368905" y="275446"/>
                  </a:cubicBezTo>
                  <a:cubicBezTo>
                    <a:pt x="369811" y="272621"/>
                    <a:pt x="376276" y="271044"/>
                    <a:pt x="376276" y="271044"/>
                  </a:cubicBezTo>
                  <a:lnTo>
                    <a:pt x="382229" y="276357"/>
                  </a:lnTo>
                  <a:cubicBezTo>
                    <a:pt x="382229" y="276357"/>
                    <a:pt x="381950" y="280349"/>
                    <a:pt x="381068" y="282561"/>
                  </a:cubicBezTo>
                  <a:cubicBezTo>
                    <a:pt x="380171" y="284760"/>
                    <a:pt x="380783" y="288645"/>
                    <a:pt x="384153" y="289002"/>
                  </a:cubicBezTo>
                  <a:cubicBezTo>
                    <a:pt x="391148" y="289773"/>
                    <a:pt x="399912" y="282050"/>
                    <a:pt x="400292" y="275065"/>
                  </a:cubicBezTo>
                  <a:cubicBezTo>
                    <a:pt x="400673" y="268075"/>
                    <a:pt x="389456" y="261225"/>
                    <a:pt x="389456" y="261225"/>
                  </a:cubicBezTo>
                  <a:lnTo>
                    <a:pt x="383526" y="265380"/>
                  </a:lnTo>
                  <a:lnTo>
                    <a:pt x="377553" y="261490"/>
                  </a:lnTo>
                  <a:lnTo>
                    <a:pt x="381834" y="248575"/>
                  </a:lnTo>
                  <a:lnTo>
                    <a:pt x="379746" y="242231"/>
                  </a:lnTo>
                  <a:lnTo>
                    <a:pt x="380180" y="236311"/>
                  </a:lnTo>
                  <a:lnTo>
                    <a:pt x="385194" y="233212"/>
                  </a:lnTo>
                  <a:lnTo>
                    <a:pt x="386751" y="227008"/>
                  </a:lnTo>
                  <a:lnTo>
                    <a:pt x="381463" y="216431"/>
                  </a:lnTo>
                  <a:lnTo>
                    <a:pt x="381463" y="210868"/>
                  </a:lnTo>
                  <a:lnTo>
                    <a:pt x="379510" y="204278"/>
                  </a:lnTo>
                  <a:lnTo>
                    <a:pt x="382070" y="197427"/>
                  </a:lnTo>
                  <a:cubicBezTo>
                    <a:pt x="382070" y="197427"/>
                    <a:pt x="382234" y="194477"/>
                    <a:pt x="380913" y="189811"/>
                  </a:cubicBezTo>
                  <a:cubicBezTo>
                    <a:pt x="383782" y="186200"/>
                    <a:pt x="385343" y="182455"/>
                    <a:pt x="386067" y="177822"/>
                  </a:cubicBezTo>
                  <a:cubicBezTo>
                    <a:pt x="389330" y="177822"/>
                    <a:pt x="399651" y="175768"/>
                    <a:pt x="402785" y="172124"/>
                  </a:cubicBezTo>
                  <a:cubicBezTo>
                    <a:pt x="411028" y="164039"/>
                    <a:pt x="407764" y="150397"/>
                    <a:pt x="407764" y="150397"/>
                  </a:cubicBezTo>
                  <a:lnTo>
                    <a:pt x="411385" y="144212"/>
                  </a:lnTo>
                  <a:lnTo>
                    <a:pt x="416717" y="144212"/>
                  </a:lnTo>
                  <a:cubicBezTo>
                    <a:pt x="416717" y="144212"/>
                    <a:pt x="420159" y="143378"/>
                    <a:pt x="422371" y="141811"/>
                  </a:cubicBezTo>
                  <a:cubicBezTo>
                    <a:pt x="424608" y="140254"/>
                    <a:pt x="427896" y="142148"/>
                    <a:pt x="433228" y="143016"/>
                  </a:cubicBezTo>
                  <a:cubicBezTo>
                    <a:pt x="438564" y="143865"/>
                    <a:pt x="433907" y="133394"/>
                    <a:pt x="433907" y="133394"/>
                  </a:cubicBezTo>
                  <a:lnTo>
                    <a:pt x="436674" y="127344"/>
                  </a:lnTo>
                  <a:lnTo>
                    <a:pt x="442662" y="122866"/>
                  </a:lnTo>
                  <a:lnTo>
                    <a:pt x="441669" y="117698"/>
                  </a:lnTo>
                  <a:lnTo>
                    <a:pt x="439581" y="115798"/>
                  </a:lnTo>
                  <a:lnTo>
                    <a:pt x="428590" y="116310"/>
                  </a:lnTo>
                  <a:lnTo>
                    <a:pt x="422207" y="119428"/>
                  </a:lnTo>
                  <a:lnTo>
                    <a:pt x="415502" y="115471"/>
                  </a:lnTo>
                  <a:cubicBezTo>
                    <a:pt x="415502" y="115471"/>
                    <a:pt x="417372" y="108572"/>
                    <a:pt x="417228" y="106697"/>
                  </a:cubicBezTo>
                  <a:cubicBezTo>
                    <a:pt x="417015" y="104769"/>
                    <a:pt x="417228" y="103043"/>
                    <a:pt x="418245" y="100830"/>
                  </a:cubicBezTo>
                  <a:cubicBezTo>
                    <a:pt x="419267" y="98594"/>
                    <a:pt x="418616" y="96361"/>
                    <a:pt x="417541" y="93951"/>
                  </a:cubicBezTo>
                  <a:cubicBezTo>
                    <a:pt x="416528" y="91531"/>
                    <a:pt x="416191" y="90668"/>
                    <a:pt x="418920" y="86527"/>
                  </a:cubicBezTo>
                  <a:cubicBezTo>
                    <a:pt x="421156" y="83225"/>
                    <a:pt x="419744" y="76794"/>
                    <a:pt x="416924" y="71361"/>
                  </a:cubicBezTo>
                  <a:cubicBezTo>
                    <a:pt x="413974" y="72827"/>
                    <a:pt x="411115" y="72667"/>
                    <a:pt x="409582" y="71901"/>
                  </a:cubicBezTo>
                  <a:cubicBezTo>
                    <a:pt x="407254" y="70730"/>
                    <a:pt x="404699" y="69963"/>
                    <a:pt x="403426" y="70349"/>
                  </a:cubicBezTo>
                  <a:cubicBezTo>
                    <a:pt x="394990" y="71655"/>
                    <a:pt x="390376" y="67529"/>
                    <a:pt x="388535" y="64646"/>
                  </a:cubicBezTo>
                  <a:cubicBezTo>
                    <a:pt x="386746" y="61831"/>
                    <a:pt x="383150" y="57699"/>
                    <a:pt x="381313" y="55390"/>
                  </a:cubicBezTo>
                  <a:cubicBezTo>
                    <a:pt x="379505" y="53023"/>
                    <a:pt x="376787" y="52777"/>
                    <a:pt x="374598" y="52411"/>
                  </a:cubicBezTo>
                  <a:cubicBezTo>
                    <a:pt x="372371" y="51987"/>
                    <a:pt x="370173" y="49311"/>
                    <a:pt x="369035" y="47479"/>
                  </a:cubicBezTo>
                  <a:cubicBezTo>
                    <a:pt x="367888" y="45676"/>
                    <a:pt x="363626" y="44775"/>
                    <a:pt x="360912" y="44119"/>
                  </a:cubicBezTo>
                  <a:cubicBezTo>
                    <a:pt x="354558" y="43488"/>
                    <a:pt x="342314" y="34059"/>
                    <a:pt x="342314" y="34059"/>
                  </a:cubicBezTo>
                  <a:cubicBezTo>
                    <a:pt x="342314" y="34059"/>
                    <a:pt x="338689" y="30713"/>
                    <a:pt x="337392" y="28645"/>
                  </a:cubicBezTo>
                  <a:cubicBezTo>
                    <a:pt x="336090" y="26587"/>
                    <a:pt x="327987" y="25266"/>
                    <a:pt x="325779" y="24504"/>
                  </a:cubicBezTo>
                  <a:cubicBezTo>
                    <a:pt x="323580" y="23747"/>
                    <a:pt x="318432" y="26688"/>
                    <a:pt x="315684" y="28119"/>
                  </a:cubicBezTo>
                  <a:cubicBezTo>
                    <a:pt x="312999" y="29547"/>
                    <a:pt x="294772" y="28920"/>
                    <a:pt x="293114" y="29402"/>
                  </a:cubicBezTo>
                  <a:cubicBezTo>
                    <a:pt x="291426" y="29932"/>
                    <a:pt x="289223" y="28255"/>
                    <a:pt x="288698" y="26591"/>
                  </a:cubicBezTo>
                  <a:cubicBezTo>
                    <a:pt x="288197" y="24885"/>
                    <a:pt x="285343" y="21959"/>
                    <a:pt x="280724" y="17654"/>
                  </a:cubicBezTo>
                  <a:cubicBezTo>
                    <a:pt x="280435" y="11975"/>
                    <a:pt x="274626" y="4874"/>
                    <a:pt x="274626" y="4874"/>
                  </a:cubicBezTo>
                  <a:cubicBezTo>
                    <a:pt x="274626" y="4874"/>
                    <a:pt x="273190" y="2652"/>
                    <a:pt x="270866" y="613"/>
                  </a:cubicBezTo>
                  <a:cubicBezTo>
                    <a:pt x="268552" y="-1494"/>
                    <a:pt x="266609" y="2406"/>
                    <a:pt x="266609" y="3698"/>
                  </a:cubicBezTo>
                  <a:cubicBezTo>
                    <a:pt x="266609" y="5009"/>
                    <a:pt x="259899" y="8895"/>
                    <a:pt x="256028" y="11435"/>
                  </a:cubicBezTo>
                  <a:cubicBezTo>
                    <a:pt x="252186" y="14062"/>
                    <a:pt x="249968" y="24099"/>
                    <a:pt x="249968" y="24099"/>
                  </a:cubicBezTo>
                  <a:lnTo>
                    <a:pt x="243696" y="28794"/>
                  </a:lnTo>
                  <a:cubicBezTo>
                    <a:pt x="243696" y="28794"/>
                    <a:pt x="232416" y="25405"/>
                    <a:pt x="230334" y="27348"/>
                  </a:cubicBezTo>
                  <a:cubicBezTo>
                    <a:pt x="228285" y="29257"/>
                    <a:pt x="221304" y="33393"/>
                    <a:pt x="219342" y="34305"/>
                  </a:cubicBezTo>
                  <a:cubicBezTo>
                    <a:pt x="217424" y="35201"/>
                    <a:pt x="210328" y="31595"/>
                    <a:pt x="208269" y="29397"/>
                  </a:cubicBezTo>
                  <a:cubicBezTo>
                    <a:pt x="206206" y="27194"/>
                    <a:pt x="201660" y="27734"/>
                    <a:pt x="198850" y="28496"/>
                  </a:cubicBezTo>
                  <a:cubicBezTo>
                    <a:pt x="196000" y="29252"/>
                    <a:pt x="192756" y="29397"/>
                    <a:pt x="189801" y="28380"/>
                  </a:cubicBezTo>
                  <a:cubicBezTo>
                    <a:pt x="186827" y="27348"/>
                    <a:pt x="180574" y="28789"/>
                    <a:pt x="180574" y="28789"/>
                  </a:cubicBezTo>
                  <a:lnTo>
                    <a:pt x="173647" y="33914"/>
                  </a:lnTo>
                  <a:lnTo>
                    <a:pt x="166927" y="34454"/>
                  </a:lnTo>
                  <a:lnTo>
                    <a:pt x="160737" y="32371"/>
                  </a:lnTo>
                  <a:lnTo>
                    <a:pt x="153819" y="31769"/>
                  </a:lnTo>
                  <a:lnTo>
                    <a:pt x="141367" y="43334"/>
                  </a:lnTo>
                  <a:lnTo>
                    <a:pt x="134753" y="38590"/>
                  </a:lnTo>
                  <a:lnTo>
                    <a:pt x="131186" y="32362"/>
                  </a:lnTo>
                  <a:lnTo>
                    <a:pt x="124456" y="32656"/>
                  </a:lnTo>
                  <a:lnTo>
                    <a:pt x="118739" y="38325"/>
                  </a:lnTo>
                  <a:cubicBezTo>
                    <a:pt x="118739" y="38325"/>
                    <a:pt x="116444" y="39848"/>
                    <a:pt x="114882" y="41160"/>
                  </a:cubicBezTo>
                  <a:cubicBezTo>
                    <a:pt x="113340" y="42447"/>
                    <a:pt x="111267" y="42586"/>
                    <a:pt x="108553" y="41160"/>
                  </a:cubicBezTo>
                  <a:cubicBezTo>
                    <a:pt x="98608" y="35606"/>
                    <a:pt x="77556" y="43093"/>
                    <a:pt x="77556" y="43093"/>
                  </a:cubicBezTo>
                  <a:lnTo>
                    <a:pt x="71617" y="40639"/>
                  </a:lnTo>
                  <a:lnTo>
                    <a:pt x="64752" y="42321"/>
                  </a:lnTo>
                  <a:lnTo>
                    <a:pt x="55101" y="50844"/>
                  </a:lnTo>
                  <a:lnTo>
                    <a:pt x="47359" y="55617"/>
                  </a:lnTo>
                  <a:lnTo>
                    <a:pt x="41010" y="60023"/>
                  </a:lnTo>
                  <a:lnTo>
                    <a:pt x="35095" y="61045"/>
                  </a:lnTo>
                  <a:lnTo>
                    <a:pt x="26683" y="68917"/>
                  </a:lnTo>
                  <a:lnTo>
                    <a:pt x="24995" y="69828"/>
                  </a:lnTo>
                  <a:lnTo>
                    <a:pt x="19963" y="74885"/>
                  </a:lnTo>
                  <a:lnTo>
                    <a:pt x="14139" y="79262"/>
                  </a:lnTo>
                  <a:lnTo>
                    <a:pt x="10408" y="85076"/>
                  </a:lnTo>
                  <a:lnTo>
                    <a:pt x="9887" y="91126"/>
                  </a:lnTo>
                  <a:cubicBezTo>
                    <a:pt x="9887" y="91126"/>
                    <a:pt x="8460" y="96954"/>
                    <a:pt x="5616" y="97716"/>
                  </a:cubicBezTo>
                  <a:cubicBezTo>
                    <a:pt x="4160" y="98135"/>
                    <a:pt x="1866" y="98829"/>
                    <a:pt x="0" y="99437"/>
                  </a:cubicBezTo>
                  <a:cubicBezTo>
                    <a:pt x="4122" y="113239"/>
                    <a:pt x="1687" y="120277"/>
                    <a:pt x="5573" y="133645"/>
                  </a:cubicBezTo>
                  <a:lnTo>
                    <a:pt x="7308" y="139946"/>
                  </a:lnTo>
                  <a:lnTo>
                    <a:pt x="11324" y="146237"/>
                  </a:lnTo>
                  <a:lnTo>
                    <a:pt x="13705" y="149789"/>
                  </a:lnTo>
                  <a:lnTo>
                    <a:pt x="13821" y="149982"/>
                  </a:lnTo>
                  <a:lnTo>
                    <a:pt x="16771" y="155902"/>
                  </a:lnTo>
                  <a:lnTo>
                    <a:pt x="20329" y="162429"/>
                  </a:lnTo>
                  <a:lnTo>
                    <a:pt x="20512" y="162940"/>
                  </a:lnTo>
                  <a:lnTo>
                    <a:pt x="21645" y="168585"/>
                  </a:lnTo>
                  <a:lnTo>
                    <a:pt x="25077" y="174915"/>
                  </a:lnTo>
                  <a:lnTo>
                    <a:pt x="25179" y="175127"/>
                  </a:lnTo>
                  <a:lnTo>
                    <a:pt x="27555" y="181052"/>
                  </a:lnTo>
                  <a:lnTo>
                    <a:pt x="27671" y="181910"/>
                  </a:lnTo>
                  <a:lnTo>
                    <a:pt x="27126" y="187854"/>
                  </a:lnTo>
                  <a:lnTo>
                    <a:pt x="30356" y="193248"/>
                  </a:lnTo>
                  <a:lnTo>
                    <a:pt x="32087" y="195528"/>
                  </a:lnTo>
                  <a:lnTo>
                    <a:pt x="32410" y="196261"/>
                  </a:lnTo>
                  <a:lnTo>
                    <a:pt x="33605" y="202219"/>
                  </a:lnTo>
                  <a:lnTo>
                    <a:pt x="33620" y="202822"/>
                  </a:lnTo>
                  <a:lnTo>
                    <a:pt x="33191" y="205840"/>
                  </a:lnTo>
                  <a:cubicBezTo>
                    <a:pt x="35182" y="204688"/>
                    <a:pt x="36724" y="203015"/>
                    <a:pt x="37539" y="20068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11" name="Freihandform: Form 610">
              <a:extLst>
                <a:ext uri="{FF2B5EF4-FFF2-40B4-BE49-F238E27FC236}">
                  <a16:creationId xmlns:a16="http://schemas.microsoft.com/office/drawing/2014/main" id="{221D8DDC-40CB-C97C-F86D-18750EAE1AA1}"/>
                </a:ext>
              </a:extLst>
            </p:cNvPr>
            <p:cNvSpPr/>
            <p:nvPr/>
          </p:nvSpPr>
          <p:spPr>
            <a:xfrm>
              <a:off x="6402390" y="2782856"/>
              <a:ext cx="676199" cy="404827"/>
            </a:xfrm>
            <a:custGeom>
              <a:avLst/>
              <a:gdLst>
                <a:gd name="connsiteX0" fmla="*/ 24986 w 530480"/>
                <a:gd name="connsiteY0" fmla="*/ 308685 h 316985"/>
                <a:gd name="connsiteX1" fmla="*/ 25506 w 530480"/>
                <a:gd name="connsiteY1" fmla="*/ 302635 h 316985"/>
                <a:gd name="connsiteX2" fmla="*/ 29238 w 530480"/>
                <a:gd name="connsiteY2" fmla="*/ 296821 h 316985"/>
                <a:gd name="connsiteX3" fmla="*/ 35061 w 530480"/>
                <a:gd name="connsiteY3" fmla="*/ 292443 h 316985"/>
                <a:gd name="connsiteX4" fmla="*/ 40094 w 530480"/>
                <a:gd name="connsiteY4" fmla="*/ 287387 h 316985"/>
                <a:gd name="connsiteX5" fmla="*/ 41781 w 530480"/>
                <a:gd name="connsiteY5" fmla="*/ 286476 h 316985"/>
                <a:gd name="connsiteX6" fmla="*/ 50193 w 530480"/>
                <a:gd name="connsiteY6" fmla="*/ 278603 h 316985"/>
                <a:gd name="connsiteX7" fmla="*/ 56108 w 530480"/>
                <a:gd name="connsiteY7" fmla="*/ 277581 h 316985"/>
                <a:gd name="connsiteX8" fmla="*/ 62457 w 530480"/>
                <a:gd name="connsiteY8" fmla="*/ 273175 h 316985"/>
                <a:gd name="connsiteX9" fmla="*/ 70199 w 530480"/>
                <a:gd name="connsiteY9" fmla="*/ 268403 h 316985"/>
                <a:gd name="connsiteX10" fmla="*/ 79850 w 530480"/>
                <a:gd name="connsiteY10" fmla="*/ 259880 h 316985"/>
                <a:gd name="connsiteX11" fmla="*/ 86715 w 530480"/>
                <a:gd name="connsiteY11" fmla="*/ 258197 h 316985"/>
                <a:gd name="connsiteX12" fmla="*/ 92654 w 530480"/>
                <a:gd name="connsiteY12" fmla="*/ 260651 h 316985"/>
                <a:gd name="connsiteX13" fmla="*/ 123651 w 530480"/>
                <a:gd name="connsiteY13" fmla="*/ 258718 h 316985"/>
                <a:gd name="connsiteX14" fmla="*/ 129981 w 530480"/>
                <a:gd name="connsiteY14" fmla="*/ 258718 h 316985"/>
                <a:gd name="connsiteX15" fmla="*/ 133837 w 530480"/>
                <a:gd name="connsiteY15" fmla="*/ 255883 h 316985"/>
                <a:gd name="connsiteX16" fmla="*/ 139555 w 530480"/>
                <a:gd name="connsiteY16" fmla="*/ 250214 h 316985"/>
                <a:gd name="connsiteX17" fmla="*/ 146285 w 530480"/>
                <a:gd name="connsiteY17" fmla="*/ 249920 h 316985"/>
                <a:gd name="connsiteX18" fmla="*/ 149852 w 530480"/>
                <a:gd name="connsiteY18" fmla="*/ 256148 h 316985"/>
                <a:gd name="connsiteX19" fmla="*/ 156466 w 530480"/>
                <a:gd name="connsiteY19" fmla="*/ 260892 h 316985"/>
                <a:gd name="connsiteX20" fmla="*/ 168918 w 530480"/>
                <a:gd name="connsiteY20" fmla="*/ 249327 h 316985"/>
                <a:gd name="connsiteX21" fmla="*/ 175836 w 530480"/>
                <a:gd name="connsiteY21" fmla="*/ 249930 h 316985"/>
                <a:gd name="connsiteX22" fmla="*/ 182025 w 530480"/>
                <a:gd name="connsiteY22" fmla="*/ 252012 h 316985"/>
                <a:gd name="connsiteX23" fmla="*/ 188745 w 530480"/>
                <a:gd name="connsiteY23" fmla="*/ 251472 h 316985"/>
                <a:gd name="connsiteX24" fmla="*/ 195673 w 530480"/>
                <a:gd name="connsiteY24" fmla="*/ 246348 h 316985"/>
                <a:gd name="connsiteX25" fmla="*/ 204900 w 530480"/>
                <a:gd name="connsiteY25" fmla="*/ 245938 h 316985"/>
                <a:gd name="connsiteX26" fmla="*/ 213948 w 530480"/>
                <a:gd name="connsiteY26" fmla="*/ 246054 h 316985"/>
                <a:gd name="connsiteX27" fmla="*/ 223368 w 530480"/>
                <a:gd name="connsiteY27" fmla="*/ 246955 h 316985"/>
                <a:gd name="connsiteX28" fmla="*/ 234441 w 530480"/>
                <a:gd name="connsiteY28" fmla="*/ 251863 h 316985"/>
                <a:gd name="connsiteX29" fmla="*/ 245432 w 530480"/>
                <a:gd name="connsiteY29" fmla="*/ 244906 h 316985"/>
                <a:gd name="connsiteX30" fmla="*/ 258795 w 530480"/>
                <a:gd name="connsiteY30" fmla="*/ 246353 h 316985"/>
                <a:gd name="connsiteX31" fmla="*/ 265067 w 530480"/>
                <a:gd name="connsiteY31" fmla="*/ 241657 h 316985"/>
                <a:gd name="connsiteX32" fmla="*/ 271126 w 530480"/>
                <a:gd name="connsiteY32" fmla="*/ 228993 h 316985"/>
                <a:gd name="connsiteX33" fmla="*/ 281708 w 530480"/>
                <a:gd name="connsiteY33" fmla="*/ 221256 h 316985"/>
                <a:gd name="connsiteX34" fmla="*/ 285964 w 530480"/>
                <a:gd name="connsiteY34" fmla="*/ 218171 h 316985"/>
                <a:gd name="connsiteX35" fmla="*/ 289725 w 530480"/>
                <a:gd name="connsiteY35" fmla="*/ 222432 h 316985"/>
                <a:gd name="connsiteX36" fmla="*/ 295823 w 530480"/>
                <a:gd name="connsiteY36" fmla="*/ 235212 h 316985"/>
                <a:gd name="connsiteX37" fmla="*/ 303796 w 530480"/>
                <a:gd name="connsiteY37" fmla="*/ 244150 h 316985"/>
                <a:gd name="connsiteX38" fmla="*/ 308212 w 530480"/>
                <a:gd name="connsiteY38" fmla="*/ 246960 h 316985"/>
                <a:gd name="connsiteX39" fmla="*/ 330783 w 530480"/>
                <a:gd name="connsiteY39" fmla="*/ 245678 h 316985"/>
                <a:gd name="connsiteX40" fmla="*/ 340877 w 530480"/>
                <a:gd name="connsiteY40" fmla="*/ 242062 h 316985"/>
                <a:gd name="connsiteX41" fmla="*/ 352490 w 530480"/>
                <a:gd name="connsiteY41" fmla="*/ 246203 h 316985"/>
                <a:gd name="connsiteX42" fmla="*/ 357412 w 530480"/>
                <a:gd name="connsiteY42" fmla="*/ 251617 h 316985"/>
                <a:gd name="connsiteX43" fmla="*/ 376011 w 530480"/>
                <a:gd name="connsiteY43" fmla="*/ 261678 h 316985"/>
                <a:gd name="connsiteX44" fmla="*/ 384133 w 530480"/>
                <a:gd name="connsiteY44" fmla="*/ 265038 h 316985"/>
                <a:gd name="connsiteX45" fmla="*/ 389697 w 530480"/>
                <a:gd name="connsiteY45" fmla="*/ 269969 h 316985"/>
                <a:gd name="connsiteX46" fmla="*/ 396412 w 530480"/>
                <a:gd name="connsiteY46" fmla="*/ 272949 h 316985"/>
                <a:gd name="connsiteX47" fmla="*/ 403633 w 530480"/>
                <a:gd name="connsiteY47" fmla="*/ 282204 h 316985"/>
                <a:gd name="connsiteX48" fmla="*/ 418524 w 530480"/>
                <a:gd name="connsiteY48" fmla="*/ 287907 h 316985"/>
                <a:gd name="connsiteX49" fmla="*/ 424680 w 530480"/>
                <a:gd name="connsiteY49" fmla="*/ 289459 h 316985"/>
                <a:gd name="connsiteX50" fmla="*/ 432022 w 530480"/>
                <a:gd name="connsiteY50" fmla="*/ 288919 h 316985"/>
                <a:gd name="connsiteX51" fmla="*/ 429742 w 530480"/>
                <a:gd name="connsiteY51" fmla="*/ 285164 h 316985"/>
                <a:gd name="connsiteX52" fmla="*/ 432022 w 530480"/>
                <a:gd name="connsiteY52" fmla="*/ 288919 h 316985"/>
                <a:gd name="connsiteX53" fmla="*/ 436424 w 530480"/>
                <a:gd name="connsiteY53" fmla="*/ 285179 h 316985"/>
                <a:gd name="connsiteX54" fmla="*/ 443423 w 530480"/>
                <a:gd name="connsiteY54" fmla="*/ 284036 h 316985"/>
                <a:gd name="connsiteX55" fmla="*/ 449227 w 530480"/>
                <a:gd name="connsiteY55" fmla="*/ 277085 h 316985"/>
                <a:gd name="connsiteX56" fmla="*/ 467546 w 530480"/>
                <a:gd name="connsiteY56" fmla="*/ 258342 h 316985"/>
                <a:gd name="connsiteX57" fmla="*/ 477149 w 530480"/>
                <a:gd name="connsiteY57" fmla="*/ 262840 h 316985"/>
                <a:gd name="connsiteX58" fmla="*/ 480856 w 530480"/>
                <a:gd name="connsiteY58" fmla="*/ 257026 h 316985"/>
                <a:gd name="connsiteX59" fmla="*/ 488887 w 530480"/>
                <a:gd name="connsiteY59" fmla="*/ 258462 h 316985"/>
                <a:gd name="connsiteX60" fmla="*/ 500409 w 530480"/>
                <a:gd name="connsiteY60" fmla="*/ 253993 h 316985"/>
                <a:gd name="connsiteX61" fmla="*/ 500259 w 530480"/>
                <a:gd name="connsiteY61" fmla="*/ 246574 h 316985"/>
                <a:gd name="connsiteX62" fmla="*/ 501551 w 530480"/>
                <a:gd name="connsiteY62" fmla="*/ 235217 h 316985"/>
                <a:gd name="connsiteX63" fmla="*/ 508127 w 530480"/>
                <a:gd name="connsiteY63" fmla="*/ 223324 h 316985"/>
                <a:gd name="connsiteX64" fmla="*/ 529266 w 530480"/>
                <a:gd name="connsiteY64" fmla="*/ 200363 h 316985"/>
                <a:gd name="connsiteX65" fmla="*/ 530480 w 530480"/>
                <a:gd name="connsiteY65" fmla="*/ 193373 h 316985"/>
                <a:gd name="connsiteX66" fmla="*/ 529724 w 530480"/>
                <a:gd name="connsiteY66" fmla="*/ 186909 h 316985"/>
                <a:gd name="connsiteX67" fmla="*/ 530076 w 530480"/>
                <a:gd name="connsiteY67" fmla="*/ 181104 h 316985"/>
                <a:gd name="connsiteX68" fmla="*/ 522608 w 530480"/>
                <a:gd name="connsiteY68" fmla="*/ 168450 h 316985"/>
                <a:gd name="connsiteX69" fmla="*/ 521316 w 530480"/>
                <a:gd name="connsiteY69" fmla="*/ 163793 h 316985"/>
                <a:gd name="connsiteX70" fmla="*/ 513801 w 530480"/>
                <a:gd name="connsiteY70" fmla="*/ 152788 h 316985"/>
                <a:gd name="connsiteX71" fmla="*/ 510436 w 530480"/>
                <a:gd name="connsiteY71" fmla="*/ 146487 h 316985"/>
                <a:gd name="connsiteX72" fmla="*/ 504121 w 530480"/>
                <a:gd name="connsiteY72" fmla="*/ 143807 h 316985"/>
                <a:gd name="connsiteX73" fmla="*/ 501147 w 530480"/>
                <a:gd name="connsiteY73" fmla="*/ 136426 h 316985"/>
                <a:gd name="connsiteX74" fmla="*/ 495853 w 530480"/>
                <a:gd name="connsiteY74" fmla="*/ 130362 h 316985"/>
                <a:gd name="connsiteX75" fmla="*/ 489553 w 530480"/>
                <a:gd name="connsiteY75" fmla="*/ 127778 h 316985"/>
                <a:gd name="connsiteX76" fmla="*/ 490314 w 530480"/>
                <a:gd name="connsiteY76" fmla="*/ 121058 h 316985"/>
                <a:gd name="connsiteX77" fmla="*/ 485783 w 530480"/>
                <a:gd name="connsiteY77" fmla="*/ 113581 h 316985"/>
                <a:gd name="connsiteX78" fmla="*/ 478407 w 530480"/>
                <a:gd name="connsiteY78" fmla="*/ 112930 h 316985"/>
                <a:gd name="connsiteX79" fmla="*/ 468448 w 530480"/>
                <a:gd name="connsiteY79" fmla="*/ 114983 h 316985"/>
                <a:gd name="connsiteX80" fmla="*/ 471032 w 530480"/>
                <a:gd name="connsiteY80" fmla="*/ 98077 h 316985"/>
                <a:gd name="connsiteX81" fmla="*/ 471032 w 530480"/>
                <a:gd name="connsiteY81" fmla="*/ 90957 h 316985"/>
                <a:gd name="connsiteX82" fmla="*/ 468096 w 530480"/>
                <a:gd name="connsiteY82" fmla="*/ 85944 h 316985"/>
                <a:gd name="connsiteX83" fmla="*/ 469633 w 530480"/>
                <a:gd name="connsiteY83" fmla="*/ 77396 h 316985"/>
                <a:gd name="connsiteX84" fmla="*/ 470665 w 530480"/>
                <a:gd name="connsiteY84" fmla="*/ 59324 h 316985"/>
                <a:gd name="connsiteX85" fmla="*/ 466138 w 530480"/>
                <a:gd name="connsiteY85" fmla="*/ 52763 h 316985"/>
                <a:gd name="connsiteX86" fmla="*/ 460084 w 530480"/>
                <a:gd name="connsiteY86" fmla="*/ 51683 h 316985"/>
                <a:gd name="connsiteX87" fmla="*/ 453870 w 530480"/>
                <a:gd name="connsiteY87" fmla="*/ 48077 h 316985"/>
                <a:gd name="connsiteX88" fmla="*/ 447140 w 530480"/>
                <a:gd name="connsiteY88" fmla="*/ 46525 h 316985"/>
                <a:gd name="connsiteX89" fmla="*/ 440449 w 530480"/>
                <a:gd name="connsiteY89" fmla="*/ 41497 h 316985"/>
                <a:gd name="connsiteX90" fmla="*/ 439808 w 530480"/>
                <a:gd name="connsiteY90" fmla="*/ 35562 h 316985"/>
                <a:gd name="connsiteX91" fmla="*/ 435165 w 530480"/>
                <a:gd name="connsiteY91" fmla="*/ 32848 h 316985"/>
                <a:gd name="connsiteX92" fmla="*/ 426652 w 530480"/>
                <a:gd name="connsiteY92" fmla="*/ 34550 h 316985"/>
                <a:gd name="connsiteX93" fmla="*/ 429525 w 530480"/>
                <a:gd name="connsiteY93" fmla="*/ 37717 h 316985"/>
                <a:gd name="connsiteX94" fmla="*/ 426652 w 530480"/>
                <a:gd name="connsiteY94" fmla="*/ 34550 h 316985"/>
                <a:gd name="connsiteX95" fmla="*/ 422882 w 530480"/>
                <a:gd name="connsiteY95" fmla="*/ 35943 h 316985"/>
                <a:gd name="connsiteX96" fmla="*/ 417179 w 530480"/>
                <a:gd name="connsiteY96" fmla="*/ 34140 h 316985"/>
                <a:gd name="connsiteX97" fmla="*/ 410363 w 530480"/>
                <a:gd name="connsiteY97" fmla="*/ 35037 h 316985"/>
                <a:gd name="connsiteX98" fmla="*/ 404419 w 530480"/>
                <a:gd name="connsiteY98" fmla="*/ 34140 h 316985"/>
                <a:gd name="connsiteX99" fmla="*/ 401840 w 530480"/>
                <a:gd name="connsiteY99" fmla="*/ 30776 h 316985"/>
                <a:gd name="connsiteX100" fmla="*/ 395650 w 530480"/>
                <a:gd name="connsiteY100" fmla="*/ 29768 h 316985"/>
                <a:gd name="connsiteX101" fmla="*/ 390473 w 530480"/>
                <a:gd name="connsiteY101" fmla="*/ 30920 h 316985"/>
                <a:gd name="connsiteX102" fmla="*/ 386336 w 530480"/>
                <a:gd name="connsiteY102" fmla="*/ 38021 h 316985"/>
                <a:gd name="connsiteX103" fmla="*/ 380397 w 530480"/>
                <a:gd name="connsiteY103" fmla="*/ 39443 h 316985"/>
                <a:gd name="connsiteX104" fmla="*/ 376136 w 530480"/>
                <a:gd name="connsiteY104" fmla="*/ 43430 h 316985"/>
                <a:gd name="connsiteX105" fmla="*/ 374333 w 530480"/>
                <a:gd name="connsiteY105" fmla="*/ 46529 h 316985"/>
                <a:gd name="connsiteX106" fmla="*/ 370341 w 530480"/>
                <a:gd name="connsiteY106" fmla="*/ 50020 h 316985"/>
                <a:gd name="connsiteX107" fmla="*/ 366085 w 530480"/>
                <a:gd name="connsiteY107" fmla="*/ 48853 h 316985"/>
                <a:gd name="connsiteX108" fmla="*/ 361664 w 530480"/>
                <a:gd name="connsiteY108" fmla="*/ 44717 h 316985"/>
                <a:gd name="connsiteX109" fmla="*/ 351863 w 530480"/>
                <a:gd name="connsiteY109" fmla="*/ 43198 h 316985"/>
                <a:gd name="connsiteX110" fmla="*/ 340501 w 530480"/>
                <a:gd name="connsiteY110" fmla="*/ 31957 h 316985"/>
                <a:gd name="connsiteX111" fmla="*/ 328845 w 530480"/>
                <a:gd name="connsiteY111" fmla="*/ 25087 h 316985"/>
                <a:gd name="connsiteX112" fmla="*/ 322158 w 530480"/>
                <a:gd name="connsiteY112" fmla="*/ 15012 h 316985"/>
                <a:gd name="connsiteX113" fmla="*/ 307036 w 530480"/>
                <a:gd name="connsiteY113" fmla="*/ 15301 h 316985"/>
                <a:gd name="connsiteX114" fmla="*/ 291942 w 530480"/>
                <a:gd name="connsiteY114" fmla="*/ 11801 h 316985"/>
                <a:gd name="connsiteX115" fmla="*/ 286109 w 530480"/>
                <a:gd name="connsiteY115" fmla="*/ 7289 h 316985"/>
                <a:gd name="connsiteX116" fmla="*/ 279529 w 530480"/>
                <a:gd name="connsiteY116" fmla="*/ 4956 h 316985"/>
                <a:gd name="connsiteX117" fmla="*/ 274115 w 530480"/>
                <a:gd name="connsiteY117" fmla="*/ 1056 h 316985"/>
                <a:gd name="connsiteX118" fmla="*/ 269063 w 530480"/>
                <a:gd name="connsiteY118" fmla="*/ 1345 h 316985"/>
                <a:gd name="connsiteX119" fmla="*/ 267019 w 530480"/>
                <a:gd name="connsiteY119" fmla="*/ 7390 h 316985"/>
                <a:gd name="connsiteX120" fmla="*/ 255811 w 530480"/>
                <a:gd name="connsiteY120" fmla="*/ 0 h 316985"/>
                <a:gd name="connsiteX121" fmla="*/ 249067 w 530480"/>
                <a:gd name="connsiteY121" fmla="*/ 4064 h 316985"/>
                <a:gd name="connsiteX122" fmla="*/ 247138 w 530480"/>
                <a:gd name="connsiteY122" fmla="*/ 7911 h 316985"/>
                <a:gd name="connsiteX123" fmla="*/ 228931 w 530480"/>
                <a:gd name="connsiteY123" fmla="*/ 22122 h 316985"/>
                <a:gd name="connsiteX124" fmla="*/ 216652 w 530480"/>
                <a:gd name="connsiteY124" fmla="*/ 26504 h 316985"/>
                <a:gd name="connsiteX125" fmla="*/ 208529 w 530480"/>
                <a:gd name="connsiteY125" fmla="*/ 38542 h 316985"/>
                <a:gd name="connsiteX126" fmla="*/ 205849 w 530480"/>
                <a:gd name="connsiteY126" fmla="*/ 38696 h 316985"/>
                <a:gd name="connsiteX127" fmla="*/ 205825 w 530480"/>
                <a:gd name="connsiteY127" fmla="*/ 38956 h 316985"/>
                <a:gd name="connsiteX128" fmla="*/ 205300 w 530480"/>
                <a:gd name="connsiteY128" fmla="*/ 42808 h 316985"/>
                <a:gd name="connsiteX129" fmla="*/ 206404 w 530480"/>
                <a:gd name="connsiteY129" fmla="*/ 48983 h 316985"/>
                <a:gd name="connsiteX130" fmla="*/ 208047 w 530480"/>
                <a:gd name="connsiteY130" fmla="*/ 55024 h 316985"/>
                <a:gd name="connsiteX131" fmla="*/ 213726 w 530480"/>
                <a:gd name="connsiteY131" fmla="*/ 61242 h 316985"/>
                <a:gd name="connsiteX132" fmla="*/ 214117 w 530480"/>
                <a:gd name="connsiteY132" fmla="*/ 62004 h 316985"/>
                <a:gd name="connsiteX133" fmla="*/ 215915 w 530480"/>
                <a:gd name="connsiteY133" fmla="*/ 68536 h 316985"/>
                <a:gd name="connsiteX134" fmla="*/ 215944 w 530480"/>
                <a:gd name="connsiteY134" fmla="*/ 68661 h 316985"/>
                <a:gd name="connsiteX135" fmla="*/ 217130 w 530480"/>
                <a:gd name="connsiteY135" fmla="*/ 74615 h 316985"/>
                <a:gd name="connsiteX136" fmla="*/ 217149 w 530480"/>
                <a:gd name="connsiteY136" fmla="*/ 74793 h 316985"/>
                <a:gd name="connsiteX137" fmla="*/ 217718 w 530480"/>
                <a:gd name="connsiteY137" fmla="*/ 81017 h 316985"/>
                <a:gd name="connsiteX138" fmla="*/ 220562 w 530480"/>
                <a:gd name="connsiteY138" fmla="*/ 86681 h 316985"/>
                <a:gd name="connsiteX139" fmla="*/ 226646 w 530480"/>
                <a:gd name="connsiteY139" fmla="*/ 106142 h 316985"/>
                <a:gd name="connsiteX140" fmla="*/ 227846 w 530480"/>
                <a:gd name="connsiteY140" fmla="*/ 112110 h 316985"/>
                <a:gd name="connsiteX141" fmla="*/ 227846 w 530480"/>
                <a:gd name="connsiteY141" fmla="*/ 112139 h 316985"/>
                <a:gd name="connsiteX142" fmla="*/ 229042 w 530480"/>
                <a:gd name="connsiteY142" fmla="*/ 118691 h 316985"/>
                <a:gd name="connsiteX143" fmla="*/ 228907 w 530480"/>
                <a:gd name="connsiteY143" fmla="*/ 119766 h 316985"/>
                <a:gd name="connsiteX144" fmla="*/ 225913 w 530480"/>
                <a:gd name="connsiteY144" fmla="*/ 126303 h 316985"/>
                <a:gd name="connsiteX145" fmla="*/ 225749 w 530480"/>
                <a:gd name="connsiteY145" fmla="*/ 126592 h 316985"/>
                <a:gd name="connsiteX146" fmla="*/ 221714 w 530480"/>
                <a:gd name="connsiteY146" fmla="*/ 132377 h 316985"/>
                <a:gd name="connsiteX147" fmla="*/ 219419 w 530480"/>
                <a:gd name="connsiteY147" fmla="*/ 138138 h 316985"/>
                <a:gd name="connsiteX148" fmla="*/ 219067 w 530480"/>
                <a:gd name="connsiteY148" fmla="*/ 138658 h 316985"/>
                <a:gd name="connsiteX149" fmla="*/ 213750 w 530480"/>
                <a:gd name="connsiteY149" fmla="*/ 144621 h 316985"/>
                <a:gd name="connsiteX150" fmla="*/ 213432 w 530480"/>
                <a:gd name="connsiteY150" fmla="*/ 144896 h 316985"/>
                <a:gd name="connsiteX151" fmla="*/ 207907 w 530480"/>
                <a:gd name="connsiteY151" fmla="*/ 148738 h 316985"/>
                <a:gd name="connsiteX152" fmla="*/ 195914 w 530480"/>
                <a:gd name="connsiteY152" fmla="*/ 163485 h 316985"/>
                <a:gd name="connsiteX153" fmla="*/ 189970 w 530480"/>
                <a:gd name="connsiteY153" fmla="*/ 166478 h 316985"/>
                <a:gd name="connsiteX154" fmla="*/ 189652 w 530480"/>
                <a:gd name="connsiteY154" fmla="*/ 166580 h 316985"/>
                <a:gd name="connsiteX155" fmla="*/ 183095 w 530480"/>
                <a:gd name="connsiteY155" fmla="*/ 168363 h 316985"/>
                <a:gd name="connsiteX156" fmla="*/ 182633 w 530480"/>
                <a:gd name="connsiteY156" fmla="*/ 168450 h 316985"/>
                <a:gd name="connsiteX157" fmla="*/ 176679 w 530480"/>
                <a:gd name="connsiteY157" fmla="*/ 168450 h 316985"/>
                <a:gd name="connsiteX158" fmla="*/ 175599 w 530480"/>
                <a:gd name="connsiteY158" fmla="*/ 168098 h 316985"/>
                <a:gd name="connsiteX159" fmla="*/ 169371 w 530480"/>
                <a:gd name="connsiteY159" fmla="*/ 163576 h 316985"/>
                <a:gd name="connsiteX160" fmla="*/ 163890 w 530480"/>
                <a:gd name="connsiteY160" fmla="*/ 162468 h 316985"/>
                <a:gd name="connsiteX161" fmla="*/ 157464 w 530480"/>
                <a:gd name="connsiteY161" fmla="*/ 161879 h 316985"/>
                <a:gd name="connsiteX162" fmla="*/ 156567 w 530480"/>
                <a:gd name="connsiteY162" fmla="*/ 161556 h 316985"/>
                <a:gd name="connsiteX163" fmla="*/ 150628 w 530480"/>
                <a:gd name="connsiteY163" fmla="*/ 157401 h 316985"/>
                <a:gd name="connsiteX164" fmla="*/ 150266 w 530480"/>
                <a:gd name="connsiteY164" fmla="*/ 157054 h 316985"/>
                <a:gd name="connsiteX165" fmla="*/ 145489 w 530480"/>
                <a:gd name="connsiteY165" fmla="*/ 151110 h 316985"/>
                <a:gd name="connsiteX166" fmla="*/ 145209 w 530480"/>
                <a:gd name="connsiteY166" fmla="*/ 150594 h 316985"/>
                <a:gd name="connsiteX167" fmla="*/ 142871 w 530480"/>
                <a:gd name="connsiteY167" fmla="*/ 144192 h 316985"/>
                <a:gd name="connsiteX168" fmla="*/ 139415 w 530480"/>
                <a:gd name="connsiteY168" fmla="*/ 138407 h 316985"/>
                <a:gd name="connsiteX169" fmla="*/ 139246 w 530480"/>
                <a:gd name="connsiteY169" fmla="*/ 138094 h 316985"/>
                <a:gd name="connsiteX170" fmla="*/ 136927 w 530480"/>
                <a:gd name="connsiteY170" fmla="*/ 131682 h 316985"/>
                <a:gd name="connsiteX171" fmla="*/ 133659 w 530480"/>
                <a:gd name="connsiteY171" fmla="*/ 126259 h 316985"/>
                <a:gd name="connsiteX172" fmla="*/ 128096 w 530480"/>
                <a:gd name="connsiteY172" fmla="*/ 122340 h 316985"/>
                <a:gd name="connsiteX173" fmla="*/ 121646 w 530480"/>
                <a:gd name="connsiteY173" fmla="*/ 118831 h 316985"/>
                <a:gd name="connsiteX174" fmla="*/ 121573 w 530480"/>
                <a:gd name="connsiteY174" fmla="*/ 118777 h 316985"/>
                <a:gd name="connsiteX175" fmla="*/ 115649 w 530480"/>
                <a:gd name="connsiteY175" fmla="*/ 115224 h 316985"/>
                <a:gd name="connsiteX176" fmla="*/ 115278 w 530480"/>
                <a:gd name="connsiteY176" fmla="*/ 114950 h 316985"/>
                <a:gd name="connsiteX177" fmla="*/ 109006 w 530480"/>
                <a:gd name="connsiteY177" fmla="*/ 108678 h 316985"/>
                <a:gd name="connsiteX178" fmla="*/ 103395 w 530480"/>
                <a:gd name="connsiteY178" fmla="*/ 106422 h 316985"/>
                <a:gd name="connsiteX179" fmla="*/ 103134 w 530480"/>
                <a:gd name="connsiteY179" fmla="*/ 106287 h 316985"/>
                <a:gd name="connsiteX180" fmla="*/ 97195 w 530480"/>
                <a:gd name="connsiteY180" fmla="*/ 102705 h 316985"/>
                <a:gd name="connsiteX181" fmla="*/ 96983 w 530480"/>
                <a:gd name="connsiteY181" fmla="*/ 102570 h 316985"/>
                <a:gd name="connsiteX182" fmla="*/ 90432 w 530480"/>
                <a:gd name="connsiteY182" fmla="*/ 97209 h 316985"/>
                <a:gd name="connsiteX183" fmla="*/ 90051 w 530480"/>
                <a:gd name="connsiteY183" fmla="*/ 96728 h 316985"/>
                <a:gd name="connsiteX184" fmla="*/ 86445 w 530480"/>
                <a:gd name="connsiteY184" fmla="*/ 90803 h 316985"/>
                <a:gd name="connsiteX185" fmla="*/ 86175 w 530480"/>
                <a:gd name="connsiteY185" fmla="*/ 90003 h 316985"/>
                <a:gd name="connsiteX186" fmla="*/ 85621 w 530480"/>
                <a:gd name="connsiteY186" fmla="*/ 83659 h 316985"/>
                <a:gd name="connsiteX187" fmla="*/ 84517 w 530480"/>
                <a:gd name="connsiteY187" fmla="*/ 79942 h 316985"/>
                <a:gd name="connsiteX188" fmla="*/ 80776 w 530480"/>
                <a:gd name="connsiteY188" fmla="*/ 81836 h 316985"/>
                <a:gd name="connsiteX189" fmla="*/ 75006 w 530480"/>
                <a:gd name="connsiteY189" fmla="*/ 87568 h 316985"/>
                <a:gd name="connsiteX190" fmla="*/ 74605 w 530480"/>
                <a:gd name="connsiteY190" fmla="*/ 87881 h 316985"/>
                <a:gd name="connsiteX191" fmla="*/ 68189 w 530480"/>
                <a:gd name="connsiteY191" fmla="*/ 91381 h 316985"/>
                <a:gd name="connsiteX192" fmla="*/ 62370 w 530480"/>
                <a:gd name="connsiteY192" fmla="*/ 96028 h 316985"/>
                <a:gd name="connsiteX193" fmla="*/ 56436 w 530480"/>
                <a:gd name="connsiteY193" fmla="*/ 100786 h 316985"/>
                <a:gd name="connsiteX194" fmla="*/ 31638 w 530480"/>
                <a:gd name="connsiteY194" fmla="*/ 112134 h 316985"/>
                <a:gd name="connsiteX195" fmla="*/ 22445 w 530480"/>
                <a:gd name="connsiteY195" fmla="*/ 136339 h 316985"/>
                <a:gd name="connsiteX196" fmla="*/ 17764 w 530480"/>
                <a:gd name="connsiteY196" fmla="*/ 166098 h 316985"/>
                <a:gd name="connsiteX197" fmla="*/ 17817 w 530480"/>
                <a:gd name="connsiteY197" fmla="*/ 166618 h 316985"/>
                <a:gd name="connsiteX198" fmla="*/ 17817 w 530480"/>
                <a:gd name="connsiteY198" fmla="*/ 172331 h 316985"/>
                <a:gd name="connsiteX199" fmla="*/ 19529 w 530480"/>
                <a:gd name="connsiteY199" fmla="*/ 178651 h 316985"/>
                <a:gd name="connsiteX200" fmla="*/ 19586 w 530480"/>
                <a:gd name="connsiteY200" fmla="*/ 178945 h 316985"/>
                <a:gd name="connsiteX201" fmla="*/ 20170 w 530480"/>
                <a:gd name="connsiteY201" fmla="*/ 184884 h 316985"/>
                <a:gd name="connsiteX202" fmla="*/ 20131 w 530480"/>
                <a:gd name="connsiteY202" fmla="*/ 185593 h 316985"/>
                <a:gd name="connsiteX203" fmla="*/ 18309 w 530480"/>
                <a:gd name="connsiteY203" fmla="*/ 191522 h 316985"/>
                <a:gd name="connsiteX204" fmla="*/ 18208 w 530480"/>
                <a:gd name="connsiteY204" fmla="*/ 191816 h 316985"/>
                <a:gd name="connsiteX205" fmla="*/ 15248 w 530480"/>
                <a:gd name="connsiteY205" fmla="*/ 197799 h 316985"/>
                <a:gd name="connsiteX206" fmla="*/ 12274 w 530480"/>
                <a:gd name="connsiteY206" fmla="*/ 203723 h 316985"/>
                <a:gd name="connsiteX207" fmla="*/ 11984 w 530480"/>
                <a:gd name="connsiteY207" fmla="*/ 204133 h 316985"/>
                <a:gd name="connsiteX208" fmla="*/ 6036 w 530480"/>
                <a:gd name="connsiteY208" fmla="*/ 210689 h 316985"/>
                <a:gd name="connsiteX209" fmla="*/ 482 w 530480"/>
                <a:gd name="connsiteY209" fmla="*/ 216233 h 316985"/>
                <a:gd name="connsiteX210" fmla="*/ 0 w 530480"/>
                <a:gd name="connsiteY210" fmla="*/ 221217 h 316985"/>
                <a:gd name="connsiteX211" fmla="*/ 1702 w 530480"/>
                <a:gd name="connsiteY211" fmla="*/ 227431 h 316985"/>
                <a:gd name="connsiteX212" fmla="*/ 1745 w 530480"/>
                <a:gd name="connsiteY212" fmla="*/ 227730 h 316985"/>
                <a:gd name="connsiteX213" fmla="*/ 2333 w 530480"/>
                <a:gd name="connsiteY213" fmla="*/ 233665 h 316985"/>
                <a:gd name="connsiteX214" fmla="*/ 2343 w 530480"/>
                <a:gd name="connsiteY214" fmla="*/ 233853 h 316985"/>
                <a:gd name="connsiteX215" fmla="*/ 2343 w 530480"/>
                <a:gd name="connsiteY215" fmla="*/ 240385 h 316985"/>
                <a:gd name="connsiteX216" fmla="*/ 2333 w 530480"/>
                <a:gd name="connsiteY216" fmla="*/ 240578 h 316985"/>
                <a:gd name="connsiteX217" fmla="*/ 1745 w 530480"/>
                <a:gd name="connsiteY217" fmla="*/ 246507 h 316985"/>
                <a:gd name="connsiteX218" fmla="*/ 1191 w 530480"/>
                <a:gd name="connsiteY218" fmla="*/ 252798 h 316985"/>
                <a:gd name="connsiteX219" fmla="*/ 2111 w 530480"/>
                <a:gd name="connsiteY219" fmla="*/ 257556 h 316985"/>
                <a:gd name="connsiteX220" fmla="*/ 5414 w 530480"/>
                <a:gd name="connsiteY220" fmla="*/ 258959 h 316985"/>
                <a:gd name="connsiteX221" fmla="*/ 6426 w 530480"/>
                <a:gd name="connsiteY221" fmla="*/ 260111 h 316985"/>
                <a:gd name="connsiteX222" fmla="*/ 8205 w 530480"/>
                <a:gd name="connsiteY222" fmla="*/ 266065 h 316985"/>
                <a:gd name="connsiteX223" fmla="*/ 8272 w 530480"/>
                <a:gd name="connsiteY223" fmla="*/ 266908 h 316985"/>
                <a:gd name="connsiteX224" fmla="*/ 7082 w 530480"/>
                <a:gd name="connsiteY224" fmla="*/ 273450 h 316985"/>
                <a:gd name="connsiteX225" fmla="*/ 5279 w 530480"/>
                <a:gd name="connsiteY225" fmla="*/ 274944 h 316985"/>
                <a:gd name="connsiteX226" fmla="*/ 3495 w 530480"/>
                <a:gd name="connsiteY226" fmla="*/ 273450 h 316985"/>
                <a:gd name="connsiteX227" fmla="*/ 3187 w 530480"/>
                <a:gd name="connsiteY227" fmla="*/ 271729 h 316985"/>
                <a:gd name="connsiteX228" fmla="*/ 2936 w 530480"/>
                <a:gd name="connsiteY228" fmla="*/ 274414 h 316985"/>
                <a:gd name="connsiteX229" fmla="*/ 2936 w 530480"/>
                <a:gd name="connsiteY229" fmla="*/ 280676 h 316985"/>
                <a:gd name="connsiteX230" fmla="*/ 4083 w 530480"/>
                <a:gd name="connsiteY230" fmla="*/ 286384 h 316985"/>
                <a:gd name="connsiteX231" fmla="*/ 12785 w 530480"/>
                <a:gd name="connsiteY231" fmla="*/ 310285 h 316985"/>
                <a:gd name="connsiteX232" fmla="*/ 15123 w 530480"/>
                <a:gd name="connsiteY232" fmla="*/ 316986 h 316985"/>
                <a:gd name="connsiteX233" fmla="*/ 20739 w 530480"/>
                <a:gd name="connsiteY233" fmla="*/ 315265 h 316985"/>
                <a:gd name="connsiteX234" fmla="*/ 24986 w 530480"/>
                <a:gd name="connsiteY234" fmla="*/ 308685 h 31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Lst>
              <a:rect l="l" t="t" r="r" b="b"/>
              <a:pathLst>
                <a:path w="530480" h="316985">
                  <a:moveTo>
                    <a:pt x="24986" y="308685"/>
                  </a:moveTo>
                  <a:lnTo>
                    <a:pt x="25506" y="302635"/>
                  </a:lnTo>
                  <a:lnTo>
                    <a:pt x="29238" y="296821"/>
                  </a:lnTo>
                  <a:lnTo>
                    <a:pt x="35061" y="292443"/>
                  </a:lnTo>
                  <a:lnTo>
                    <a:pt x="40094" y="287387"/>
                  </a:lnTo>
                  <a:lnTo>
                    <a:pt x="41781" y="286476"/>
                  </a:lnTo>
                  <a:lnTo>
                    <a:pt x="50193" y="278603"/>
                  </a:lnTo>
                  <a:lnTo>
                    <a:pt x="56108" y="277581"/>
                  </a:lnTo>
                  <a:lnTo>
                    <a:pt x="62457" y="273175"/>
                  </a:lnTo>
                  <a:lnTo>
                    <a:pt x="70199" y="268403"/>
                  </a:lnTo>
                  <a:lnTo>
                    <a:pt x="79850" y="259880"/>
                  </a:lnTo>
                  <a:lnTo>
                    <a:pt x="86715" y="258197"/>
                  </a:lnTo>
                  <a:lnTo>
                    <a:pt x="92654" y="260651"/>
                  </a:lnTo>
                  <a:cubicBezTo>
                    <a:pt x="92654" y="260651"/>
                    <a:pt x="113706" y="253164"/>
                    <a:pt x="123651" y="258718"/>
                  </a:cubicBezTo>
                  <a:cubicBezTo>
                    <a:pt x="126365" y="260145"/>
                    <a:pt x="128438" y="260005"/>
                    <a:pt x="129981" y="258718"/>
                  </a:cubicBezTo>
                  <a:cubicBezTo>
                    <a:pt x="131543" y="257407"/>
                    <a:pt x="133837" y="255883"/>
                    <a:pt x="133837" y="255883"/>
                  </a:cubicBezTo>
                  <a:lnTo>
                    <a:pt x="139555" y="250214"/>
                  </a:lnTo>
                  <a:lnTo>
                    <a:pt x="146285" y="249920"/>
                  </a:lnTo>
                  <a:lnTo>
                    <a:pt x="149852" y="256148"/>
                  </a:lnTo>
                  <a:lnTo>
                    <a:pt x="156466" y="260892"/>
                  </a:lnTo>
                  <a:lnTo>
                    <a:pt x="168918" y="249327"/>
                  </a:lnTo>
                  <a:lnTo>
                    <a:pt x="175836" y="249930"/>
                  </a:lnTo>
                  <a:lnTo>
                    <a:pt x="182025" y="252012"/>
                  </a:lnTo>
                  <a:lnTo>
                    <a:pt x="188745" y="251472"/>
                  </a:lnTo>
                  <a:lnTo>
                    <a:pt x="195673" y="246348"/>
                  </a:lnTo>
                  <a:cubicBezTo>
                    <a:pt x="195673" y="246348"/>
                    <a:pt x="201925" y="244902"/>
                    <a:pt x="204900" y="245938"/>
                  </a:cubicBezTo>
                  <a:cubicBezTo>
                    <a:pt x="207855" y="246955"/>
                    <a:pt x="211099" y="246811"/>
                    <a:pt x="213948" y="246054"/>
                  </a:cubicBezTo>
                  <a:cubicBezTo>
                    <a:pt x="216758" y="245287"/>
                    <a:pt x="221304" y="244747"/>
                    <a:pt x="223368" y="246955"/>
                  </a:cubicBezTo>
                  <a:cubicBezTo>
                    <a:pt x="225426" y="249154"/>
                    <a:pt x="232517" y="252759"/>
                    <a:pt x="234441" y="251863"/>
                  </a:cubicBezTo>
                  <a:cubicBezTo>
                    <a:pt x="236403" y="250952"/>
                    <a:pt x="243383" y="246811"/>
                    <a:pt x="245432" y="244906"/>
                  </a:cubicBezTo>
                  <a:cubicBezTo>
                    <a:pt x="247519" y="242964"/>
                    <a:pt x="258795" y="246353"/>
                    <a:pt x="258795" y="246353"/>
                  </a:cubicBezTo>
                  <a:lnTo>
                    <a:pt x="265067" y="241657"/>
                  </a:lnTo>
                  <a:cubicBezTo>
                    <a:pt x="265067" y="241657"/>
                    <a:pt x="267284" y="231616"/>
                    <a:pt x="271126" y="228993"/>
                  </a:cubicBezTo>
                  <a:cubicBezTo>
                    <a:pt x="275002" y="226453"/>
                    <a:pt x="281708" y="222567"/>
                    <a:pt x="281708" y="221256"/>
                  </a:cubicBezTo>
                  <a:cubicBezTo>
                    <a:pt x="281708" y="219964"/>
                    <a:pt x="283646" y="216064"/>
                    <a:pt x="285964" y="218171"/>
                  </a:cubicBezTo>
                  <a:cubicBezTo>
                    <a:pt x="288288" y="220210"/>
                    <a:pt x="289725" y="222432"/>
                    <a:pt x="289725" y="222432"/>
                  </a:cubicBezTo>
                  <a:cubicBezTo>
                    <a:pt x="289725" y="222432"/>
                    <a:pt x="295534" y="229533"/>
                    <a:pt x="295823" y="235212"/>
                  </a:cubicBezTo>
                  <a:cubicBezTo>
                    <a:pt x="300441" y="239517"/>
                    <a:pt x="303300" y="242443"/>
                    <a:pt x="303796" y="244150"/>
                  </a:cubicBezTo>
                  <a:cubicBezTo>
                    <a:pt x="304322" y="245813"/>
                    <a:pt x="306525" y="247495"/>
                    <a:pt x="308212" y="246960"/>
                  </a:cubicBezTo>
                  <a:cubicBezTo>
                    <a:pt x="309870" y="246478"/>
                    <a:pt x="328097" y="247105"/>
                    <a:pt x="330783" y="245678"/>
                  </a:cubicBezTo>
                  <a:cubicBezTo>
                    <a:pt x="333526" y="244246"/>
                    <a:pt x="338679" y="241306"/>
                    <a:pt x="340877" y="242062"/>
                  </a:cubicBezTo>
                  <a:cubicBezTo>
                    <a:pt x="343085" y="242824"/>
                    <a:pt x="351194" y="244145"/>
                    <a:pt x="352490" y="246203"/>
                  </a:cubicBezTo>
                  <a:cubicBezTo>
                    <a:pt x="353787" y="248272"/>
                    <a:pt x="357412" y="251617"/>
                    <a:pt x="357412" y="251617"/>
                  </a:cubicBezTo>
                  <a:cubicBezTo>
                    <a:pt x="357412" y="251617"/>
                    <a:pt x="369657" y="261046"/>
                    <a:pt x="376011" y="261678"/>
                  </a:cubicBezTo>
                  <a:cubicBezTo>
                    <a:pt x="378725" y="262333"/>
                    <a:pt x="382981" y="263240"/>
                    <a:pt x="384133" y="265038"/>
                  </a:cubicBezTo>
                  <a:cubicBezTo>
                    <a:pt x="385271" y="266870"/>
                    <a:pt x="387469" y="269550"/>
                    <a:pt x="389697" y="269969"/>
                  </a:cubicBezTo>
                  <a:cubicBezTo>
                    <a:pt x="391880" y="270331"/>
                    <a:pt x="394604" y="270582"/>
                    <a:pt x="396412" y="272949"/>
                  </a:cubicBezTo>
                  <a:cubicBezTo>
                    <a:pt x="398248" y="275258"/>
                    <a:pt x="401845" y="279389"/>
                    <a:pt x="403633" y="282204"/>
                  </a:cubicBezTo>
                  <a:cubicBezTo>
                    <a:pt x="405475" y="285082"/>
                    <a:pt x="410088" y="289209"/>
                    <a:pt x="418524" y="287907"/>
                  </a:cubicBezTo>
                  <a:cubicBezTo>
                    <a:pt x="419802" y="287522"/>
                    <a:pt x="422352" y="288288"/>
                    <a:pt x="424680" y="289459"/>
                  </a:cubicBezTo>
                  <a:cubicBezTo>
                    <a:pt x="426213" y="290226"/>
                    <a:pt x="429072" y="290385"/>
                    <a:pt x="432022" y="288919"/>
                  </a:cubicBezTo>
                  <a:cubicBezTo>
                    <a:pt x="431323" y="287580"/>
                    <a:pt x="430552" y="286288"/>
                    <a:pt x="429742" y="285164"/>
                  </a:cubicBezTo>
                  <a:cubicBezTo>
                    <a:pt x="430552" y="286288"/>
                    <a:pt x="431323" y="287575"/>
                    <a:pt x="432022" y="288919"/>
                  </a:cubicBezTo>
                  <a:cubicBezTo>
                    <a:pt x="433526" y="288148"/>
                    <a:pt x="435050" y="286967"/>
                    <a:pt x="436424" y="285179"/>
                  </a:cubicBezTo>
                  <a:cubicBezTo>
                    <a:pt x="437465" y="284152"/>
                    <a:pt x="440449" y="286476"/>
                    <a:pt x="443423" y="284036"/>
                  </a:cubicBezTo>
                  <a:cubicBezTo>
                    <a:pt x="446364" y="281578"/>
                    <a:pt x="448692" y="280922"/>
                    <a:pt x="449227" y="277085"/>
                  </a:cubicBezTo>
                  <a:cubicBezTo>
                    <a:pt x="449729" y="273175"/>
                    <a:pt x="452592" y="258993"/>
                    <a:pt x="467546" y="258342"/>
                  </a:cubicBezTo>
                  <a:cubicBezTo>
                    <a:pt x="470140" y="258993"/>
                    <a:pt x="476604" y="261543"/>
                    <a:pt x="477149" y="262840"/>
                  </a:cubicBezTo>
                  <a:cubicBezTo>
                    <a:pt x="479188" y="258853"/>
                    <a:pt x="480856" y="257026"/>
                    <a:pt x="480856" y="257026"/>
                  </a:cubicBezTo>
                  <a:cubicBezTo>
                    <a:pt x="480856" y="257026"/>
                    <a:pt x="483454" y="259118"/>
                    <a:pt x="488887" y="258462"/>
                  </a:cubicBezTo>
                  <a:cubicBezTo>
                    <a:pt x="494330" y="257788"/>
                    <a:pt x="499392" y="257137"/>
                    <a:pt x="500409" y="253993"/>
                  </a:cubicBezTo>
                  <a:cubicBezTo>
                    <a:pt x="501421" y="250855"/>
                    <a:pt x="501547" y="249939"/>
                    <a:pt x="500259" y="246574"/>
                  </a:cubicBezTo>
                  <a:cubicBezTo>
                    <a:pt x="498953" y="243210"/>
                    <a:pt x="498182" y="237815"/>
                    <a:pt x="501551" y="235217"/>
                  </a:cubicBezTo>
                  <a:cubicBezTo>
                    <a:pt x="504897" y="232628"/>
                    <a:pt x="507355" y="226810"/>
                    <a:pt x="508127" y="223324"/>
                  </a:cubicBezTo>
                  <a:cubicBezTo>
                    <a:pt x="508835" y="220032"/>
                    <a:pt x="517561" y="197982"/>
                    <a:pt x="529266" y="200363"/>
                  </a:cubicBezTo>
                  <a:lnTo>
                    <a:pt x="530480" y="193373"/>
                  </a:lnTo>
                  <a:lnTo>
                    <a:pt x="529724" y="186909"/>
                  </a:lnTo>
                  <a:lnTo>
                    <a:pt x="530076" y="181104"/>
                  </a:lnTo>
                  <a:lnTo>
                    <a:pt x="522608" y="168450"/>
                  </a:lnTo>
                  <a:lnTo>
                    <a:pt x="521316" y="163793"/>
                  </a:lnTo>
                  <a:lnTo>
                    <a:pt x="513801" y="152788"/>
                  </a:lnTo>
                  <a:lnTo>
                    <a:pt x="510436" y="146487"/>
                  </a:lnTo>
                  <a:lnTo>
                    <a:pt x="504121" y="143807"/>
                  </a:lnTo>
                  <a:lnTo>
                    <a:pt x="501147" y="136426"/>
                  </a:lnTo>
                  <a:lnTo>
                    <a:pt x="495853" y="130362"/>
                  </a:lnTo>
                  <a:lnTo>
                    <a:pt x="489553" y="127778"/>
                  </a:lnTo>
                  <a:cubicBezTo>
                    <a:pt x="489553" y="127778"/>
                    <a:pt x="489900" y="123097"/>
                    <a:pt x="490314" y="121058"/>
                  </a:cubicBezTo>
                  <a:cubicBezTo>
                    <a:pt x="490666" y="118975"/>
                    <a:pt x="488468" y="115350"/>
                    <a:pt x="485783" y="113581"/>
                  </a:cubicBezTo>
                  <a:cubicBezTo>
                    <a:pt x="483069" y="111768"/>
                    <a:pt x="480740" y="111272"/>
                    <a:pt x="478407" y="112930"/>
                  </a:cubicBezTo>
                  <a:cubicBezTo>
                    <a:pt x="476098" y="114598"/>
                    <a:pt x="472213" y="115355"/>
                    <a:pt x="468448" y="114983"/>
                  </a:cubicBezTo>
                  <a:cubicBezTo>
                    <a:pt x="471822" y="111609"/>
                    <a:pt x="471967" y="100382"/>
                    <a:pt x="471032" y="98077"/>
                  </a:cubicBezTo>
                  <a:cubicBezTo>
                    <a:pt x="470140" y="95754"/>
                    <a:pt x="471032" y="90957"/>
                    <a:pt x="471032" y="90957"/>
                  </a:cubicBezTo>
                  <a:cubicBezTo>
                    <a:pt x="471032" y="90957"/>
                    <a:pt x="470014" y="88378"/>
                    <a:pt x="468096" y="85944"/>
                  </a:cubicBezTo>
                  <a:cubicBezTo>
                    <a:pt x="466138" y="83466"/>
                    <a:pt x="465743" y="78688"/>
                    <a:pt x="469633" y="77396"/>
                  </a:cubicBezTo>
                  <a:cubicBezTo>
                    <a:pt x="475307" y="75111"/>
                    <a:pt x="470665" y="59324"/>
                    <a:pt x="470665" y="59324"/>
                  </a:cubicBezTo>
                  <a:lnTo>
                    <a:pt x="466138" y="52763"/>
                  </a:lnTo>
                  <a:lnTo>
                    <a:pt x="460084" y="51683"/>
                  </a:lnTo>
                  <a:lnTo>
                    <a:pt x="453870" y="48077"/>
                  </a:lnTo>
                  <a:lnTo>
                    <a:pt x="447140" y="46525"/>
                  </a:lnTo>
                  <a:lnTo>
                    <a:pt x="440449" y="41497"/>
                  </a:lnTo>
                  <a:lnTo>
                    <a:pt x="439808" y="35562"/>
                  </a:lnTo>
                  <a:cubicBezTo>
                    <a:pt x="439808" y="35562"/>
                    <a:pt x="437224" y="33890"/>
                    <a:pt x="435165" y="32848"/>
                  </a:cubicBezTo>
                  <a:cubicBezTo>
                    <a:pt x="433893" y="32255"/>
                    <a:pt x="429776" y="33446"/>
                    <a:pt x="426652" y="34550"/>
                  </a:cubicBezTo>
                  <a:cubicBezTo>
                    <a:pt x="427269" y="35808"/>
                    <a:pt x="428113" y="36956"/>
                    <a:pt x="429525" y="37717"/>
                  </a:cubicBezTo>
                  <a:cubicBezTo>
                    <a:pt x="428113" y="36951"/>
                    <a:pt x="427269" y="35808"/>
                    <a:pt x="426652" y="34550"/>
                  </a:cubicBezTo>
                  <a:cubicBezTo>
                    <a:pt x="424541" y="35278"/>
                    <a:pt x="422882" y="35943"/>
                    <a:pt x="422882" y="35943"/>
                  </a:cubicBezTo>
                  <a:lnTo>
                    <a:pt x="417179" y="34140"/>
                  </a:lnTo>
                  <a:lnTo>
                    <a:pt x="410363" y="35037"/>
                  </a:lnTo>
                  <a:lnTo>
                    <a:pt x="404419" y="34140"/>
                  </a:lnTo>
                  <a:lnTo>
                    <a:pt x="401840" y="30776"/>
                  </a:lnTo>
                  <a:lnTo>
                    <a:pt x="395650" y="29768"/>
                  </a:lnTo>
                  <a:cubicBezTo>
                    <a:pt x="395650" y="29768"/>
                    <a:pt x="392767" y="29623"/>
                    <a:pt x="390473" y="30920"/>
                  </a:cubicBezTo>
                  <a:cubicBezTo>
                    <a:pt x="388154" y="32202"/>
                    <a:pt x="386336" y="38021"/>
                    <a:pt x="386336" y="38021"/>
                  </a:cubicBezTo>
                  <a:lnTo>
                    <a:pt x="380397" y="39443"/>
                  </a:lnTo>
                  <a:lnTo>
                    <a:pt x="376136" y="43430"/>
                  </a:lnTo>
                  <a:cubicBezTo>
                    <a:pt x="376136" y="43430"/>
                    <a:pt x="374458" y="44336"/>
                    <a:pt x="374333" y="46529"/>
                  </a:cubicBezTo>
                  <a:cubicBezTo>
                    <a:pt x="374183" y="48752"/>
                    <a:pt x="371995" y="49885"/>
                    <a:pt x="370341" y="50020"/>
                  </a:cubicBezTo>
                  <a:cubicBezTo>
                    <a:pt x="368654" y="50169"/>
                    <a:pt x="367367" y="50791"/>
                    <a:pt x="366085" y="48853"/>
                  </a:cubicBezTo>
                  <a:cubicBezTo>
                    <a:pt x="364764" y="46896"/>
                    <a:pt x="362450" y="44471"/>
                    <a:pt x="361664" y="44717"/>
                  </a:cubicBezTo>
                  <a:cubicBezTo>
                    <a:pt x="360893" y="45011"/>
                    <a:pt x="354954" y="43676"/>
                    <a:pt x="351863" y="43198"/>
                  </a:cubicBezTo>
                  <a:cubicBezTo>
                    <a:pt x="348749" y="42663"/>
                    <a:pt x="342969" y="35567"/>
                    <a:pt x="340501" y="31957"/>
                  </a:cubicBezTo>
                  <a:cubicBezTo>
                    <a:pt x="338018" y="28312"/>
                    <a:pt x="332981" y="26133"/>
                    <a:pt x="328845" y="25087"/>
                  </a:cubicBezTo>
                  <a:cubicBezTo>
                    <a:pt x="324747" y="24075"/>
                    <a:pt x="324362" y="19288"/>
                    <a:pt x="322158" y="15012"/>
                  </a:cubicBezTo>
                  <a:cubicBezTo>
                    <a:pt x="315048" y="18907"/>
                    <a:pt x="309639" y="17615"/>
                    <a:pt x="307036" y="15301"/>
                  </a:cubicBezTo>
                  <a:cubicBezTo>
                    <a:pt x="302133" y="10750"/>
                    <a:pt x="291942" y="11801"/>
                    <a:pt x="291942" y="11801"/>
                  </a:cubicBezTo>
                  <a:lnTo>
                    <a:pt x="286109" y="7289"/>
                  </a:lnTo>
                  <a:lnTo>
                    <a:pt x="279529" y="4956"/>
                  </a:lnTo>
                  <a:lnTo>
                    <a:pt x="274115" y="1056"/>
                  </a:lnTo>
                  <a:cubicBezTo>
                    <a:pt x="274115" y="1056"/>
                    <a:pt x="272192" y="1056"/>
                    <a:pt x="269063" y="1345"/>
                  </a:cubicBezTo>
                  <a:cubicBezTo>
                    <a:pt x="265973" y="1581"/>
                    <a:pt x="268677" y="6768"/>
                    <a:pt x="267019" y="7390"/>
                  </a:cubicBezTo>
                  <a:cubicBezTo>
                    <a:pt x="265327" y="8041"/>
                    <a:pt x="255811" y="0"/>
                    <a:pt x="255811" y="0"/>
                  </a:cubicBezTo>
                  <a:lnTo>
                    <a:pt x="249067" y="4064"/>
                  </a:lnTo>
                  <a:lnTo>
                    <a:pt x="247138" y="7911"/>
                  </a:lnTo>
                  <a:lnTo>
                    <a:pt x="228931" y="22122"/>
                  </a:lnTo>
                  <a:lnTo>
                    <a:pt x="216652" y="26504"/>
                  </a:lnTo>
                  <a:lnTo>
                    <a:pt x="208529" y="38542"/>
                  </a:lnTo>
                  <a:lnTo>
                    <a:pt x="205849" y="38696"/>
                  </a:lnTo>
                  <a:lnTo>
                    <a:pt x="205825" y="38956"/>
                  </a:lnTo>
                  <a:lnTo>
                    <a:pt x="205300" y="42808"/>
                  </a:lnTo>
                  <a:lnTo>
                    <a:pt x="206404" y="48983"/>
                  </a:lnTo>
                  <a:lnTo>
                    <a:pt x="208047" y="55024"/>
                  </a:lnTo>
                  <a:lnTo>
                    <a:pt x="213726" y="61242"/>
                  </a:lnTo>
                  <a:lnTo>
                    <a:pt x="214117" y="62004"/>
                  </a:lnTo>
                  <a:lnTo>
                    <a:pt x="215915" y="68536"/>
                  </a:lnTo>
                  <a:lnTo>
                    <a:pt x="215944" y="68661"/>
                  </a:lnTo>
                  <a:lnTo>
                    <a:pt x="217130" y="74615"/>
                  </a:lnTo>
                  <a:lnTo>
                    <a:pt x="217149" y="74793"/>
                  </a:lnTo>
                  <a:lnTo>
                    <a:pt x="217718" y="81017"/>
                  </a:lnTo>
                  <a:lnTo>
                    <a:pt x="220562" y="86681"/>
                  </a:lnTo>
                  <a:cubicBezTo>
                    <a:pt x="222866" y="93179"/>
                    <a:pt x="223768" y="99740"/>
                    <a:pt x="226646" y="106142"/>
                  </a:cubicBezTo>
                  <a:lnTo>
                    <a:pt x="227846" y="112110"/>
                  </a:lnTo>
                  <a:lnTo>
                    <a:pt x="227846" y="112139"/>
                  </a:lnTo>
                  <a:lnTo>
                    <a:pt x="229042" y="118691"/>
                  </a:lnTo>
                  <a:lnTo>
                    <a:pt x="228907" y="119766"/>
                  </a:lnTo>
                  <a:lnTo>
                    <a:pt x="225913" y="126303"/>
                  </a:lnTo>
                  <a:lnTo>
                    <a:pt x="225749" y="126592"/>
                  </a:lnTo>
                  <a:lnTo>
                    <a:pt x="221714" y="132377"/>
                  </a:lnTo>
                  <a:lnTo>
                    <a:pt x="219419" y="138138"/>
                  </a:lnTo>
                  <a:lnTo>
                    <a:pt x="219067" y="138658"/>
                  </a:lnTo>
                  <a:lnTo>
                    <a:pt x="213750" y="144621"/>
                  </a:lnTo>
                  <a:lnTo>
                    <a:pt x="213432" y="144896"/>
                  </a:lnTo>
                  <a:lnTo>
                    <a:pt x="207907" y="148738"/>
                  </a:lnTo>
                  <a:cubicBezTo>
                    <a:pt x="205656" y="155058"/>
                    <a:pt x="201853" y="160091"/>
                    <a:pt x="195914" y="163485"/>
                  </a:cubicBezTo>
                  <a:lnTo>
                    <a:pt x="189970" y="166478"/>
                  </a:lnTo>
                  <a:lnTo>
                    <a:pt x="189652" y="166580"/>
                  </a:lnTo>
                  <a:lnTo>
                    <a:pt x="183095" y="168363"/>
                  </a:lnTo>
                  <a:lnTo>
                    <a:pt x="182633" y="168450"/>
                  </a:lnTo>
                  <a:lnTo>
                    <a:pt x="176679" y="168450"/>
                  </a:lnTo>
                  <a:lnTo>
                    <a:pt x="175599" y="168098"/>
                  </a:lnTo>
                  <a:lnTo>
                    <a:pt x="169371" y="163576"/>
                  </a:lnTo>
                  <a:lnTo>
                    <a:pt x="163890" y="162468"/>
                  </a:lnTo>
                  <a:lnTo>
                    <a:pt x="157464" y="161879"/>
                  </a:lnTo>
                  <a:lnTo>
                    <a:pt x="156567" y="161556"/>
                  </a:lnTo>
                  <a:lnTo>
                    <a:pt x="150628" y="157401"/>
                  </a:lnTo>
                  <a:lnTo>
                    <a:pt x="150266" y="157054"/>
                  </a:lnTo>
                  <a:lnTo>
                    <a:pt x="145489" y="151110"/>
                  </a:lnTo>
                  <a:lnTo>
                    <a:pt x="145209" y="150594"/>
                  </a:lnTo>
                  <a:lnTo>
                    <a:pt x="142871" y="144192"/>
                  </a:lnTo>
                  <a:lnTo>
                    <a:pt x="139415" y="138407"/>
                  </a:lnTo>
                  <a:lnTo>
                    <a:pt x="139246" y="138094"/>
                  </a:lnTo>
                  <a:lnTo>
                    <a:pt x="136927" y="131682"/>
                  </a:lnTo>
                  <a:lnTo>
                    <a:pt x="133659" y="126259"/>
                  </a:lnTo>
                  <a:lnTo>
                    <a:pt x="128096" y="122340"/>
                  </a:lnTo>
                  <a:lnTo>
                    <a:pt x="121646" y="118831"/>
                  </a:lnTo>
                  <a:lnTo>
                    <a:pt x="121573" y="118777"/>
                  </a:lnTo>
                  <a:lnTo>
                    <a:pt x="115649" y="115224"/>
                  </a:lnTo>
                  <a:lnTo>
                    <a:pt x="115278" y="114950"/>
                  </a:lnTo>
                  <a:lnTo>
                    <a:pt x="109006" y="108678"/>
                  </a:lnTo>
                  <a:lnTo>
                    <a:pt x="103395" y="106422"/>
                  </a:lnTo>
                  <a:lnTo>
                    <a:pt x="103134" y="106287"/>
                  </a:lnTo>
                  <a:lnTo>
                    <a:pt x="97195" y="102705"/>
                  </a:lnTo>
                  <a:lnTo>
                    <a:pt x="96983" y="102570"/>
                  </a:lnTo>
                  <a:lnTo>
                    <a:pt x="90432" y="97209"/>
                  </a:lnTo>
                  <a:lnTo>
                    <a:pt x="90051" y="96728"/>
                  </a:lnTo>
                  <a:lnTo>
                    <a:pt x="86445" y="90803"/>
                  </a:lnTo>
                  <a:lnTo>
                    <a:pt x="86175" y="90003"/>
                  </a:lnTo>
                  <a:lnTo>
                    <a:pt x="85621" y="83659"/>
                  </a:lnTo>
                  <a:lnTo>
                    <a:pt x="84517" y="79942"/>
                  </a:lnTo>
                  <a:lnTo>
                    <a:pt x="80776" y="81836"/>
                  </a:lnTo>
                  <a:lnTo>
                    <a:pt x="75006" y="87568"/>
                  </a:lnTo>
                  <a:lnTo>
                    <a:pt x="74605" y="87881"/>
                  </a:lnTo>
                  <a:lnTo>
                    <a:pt x="68189" y="91381"/>
                  </a:lnTo>
                  <a:lnTo>
                    <a:pt x="62370" y="96028"/>
                  </a:lnTo>
                  <a:lnTo>
                    <a:pt x="56436" y="100786"/>
                  </a:lnTo>
                  <a:cubicBezTo>
                    <a:pt x="47195" y="110549"/>
                    <a:pt x="41983" y="107690"/>
                    <a:pt x="31638" y="112134"/>
                  </a:cubicBezTo>
                  <a:cubicBezTo>
                    <a:pt x="28206" y="119158"/>
                    <a:pt x="25796" y="128776"/>
                    <a:pt x="22445" y="136339"/>
                  </a:cubicBezTo>
                  <a:cubicBezTo>
                    <a:pt x="19673" y="148656"/>
                    <a:pt x="11941" y="154253"/>
                    <a:pt x="17764" y="166098"/>
                  </a:cubicBezTo>
                  <a:lnTo>
                    <a:pt x="17817" y="166618"/>
                  </a:lnTo>
                  <a:lnTo>
                    <a:pt x="17817" y="172331"/>
                  </a:lnTo>
                  <a:lnTo>
                    <a:pt x="19529" y="178651"/>
                  </a:lnTo>
                  <a:lnTo>
                    <a:pt x="19586" y="178945"/>
                  </a:lnTo>
                  <a:lnTo>
                    <a:pt x="20170" y="184884"/>
                  </a:lnTo>
                  <a:lnTo>
                    <a:pt x="20131" y="185593"/>
                  </a:lnTo>
                  <a:lnTo>
                    <a:pt x="18309" y="191522"/>
                  </a:lnTo>
                  <a:lnTo>
                    <a:pt x="18208" y="191816"/>
                  </a:lnTo>
                  <a:lnTo>
                    <a:pt x="15248" y="197799"/>
                  </a:lnTo>
                  <a:lnTo>
                    <a:pt x="12274" y="203723"/>
                  </a:lnTo>
                  <a:lnTo>
                    <a:pt x="11984" y="204133"/>
                  </a:lnTo>
                  <a:lnTo>
                    <a:pt x="6036" y="210689"/>
                  </a:lnTo>
                  <a:lnTo>
                    <a:pt x="482" y="216233"/>
                  </a:lnTo>
                  <a:lnTo>
                    <a:pt x="0" y="221217"/>
                  </a:lnTo>
                  <a:lnTo>
                    <a:pt x="1702" y="227431"/>
                  </a:lnTo>
                  <a:lnTo>
                    <a:pt x="1745" y="227730"/>
                  </a:lnTo>
                  <a:lnTo>
                    <a:pt x="2333" y="233665"/>
                  </a:lnTo>
                  <a:lnTo>
                    <a:pt x="2343" y="233853"/>
                  </a:lnTo>
                  <a:lnTo>
                    <a:pt x="2343" y="240385"/>
                  </a:lnTo>
                  <a:lnTo>
                    <a:pt x="2333" y="240578"/>
                  </a:lnTo>
                  <a:lnTo>
                    <a:pt x="1745" y="246507"/>
                  </a:lnTo>
                  <a:lnTo>
                    <a:pt x="1191" y="252798"/>
                  </a:lnTo>
                  <a:lnTo>
                    <a:pt x="2111" y="257556"/>
                  </a:lnTo>
                  <a:lnTo>
                    <a:pt x="5414" y="258959"/>
                  </a:lnTo>
                  <a:lnTo>
                    <a:pt x="6426" y="260111"/>
                  </a:lnTo>
                  <a:lnTo>
                    <a:pt x="8205" y="266065"/>
                  </a:lnTo>
                  <a:lnTo>
                    <a:pt x="8272" y="266908"/>
                  </a:lnTo>
                  <a:lnTo>
                    <a:pt x="7082" y="273450"/>
                  </a:lnTo>
                  <a:cubicBezTo>
                    <a:pt x="6927" y="274318"/>
                    <a:pt x="6171" y="274944"/>
                    <a:pt x="5279" y="274944"/>
                  </a:cubicBezTo>
                  <a:cubicBezTo>
                    <a:pt x="4406" y="274944"/>
                    <a:pt x="3668" y="274318"/>
                    <a:pt x="3495" y="273450"/>
                  </a:cubicBezTo>
                  <a:lnTo>
                    <a:pt x="3187" y="271729"/>
                  </a:lnTo>
                  <a:lnTo>
                    <a:pt x="2936" y="274414"/>
                  </a:lnTo>
                  <a:lnTo>
                    <a:pt x="2936" y="280676"/>
                  </a:lnTo>
                  <a:lnTo>
                    <a:pt x="4083" y="286384"/>
                  </a:lnTo>
                  <a:cubicBezTo>
                    <a:pt x="8827" y="300282"/>
                    <a:pt x="2266" y="293928"/>
                    <a:pt x="12785" y="310285"/>
                  </a:cubicBezTo>
                  <a:cubicBezTo>
                    <a:pt x="13754" y="312691"/>
                    <a:pt x="14491" y="314923"/>
                    <a:pt x="15123" y="316986"/>
                  </a:cubicBezTo>
                  <a:cubicBezTo>
                    <a:pt x="16988" y="316378"/>
                    <a:pt x="19283" y="315679"/>
                    <a:pt x="20739" y="315265"/>
                  </a:cubicBezTo>
                  <a:cubicBezTo>
                    <a:pt x="23564" y="314513"/>
                    <a:pt x="24986" y="308685"/>
                    <a:pt x="24986" y="30868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12" name="Freihandform: Form 611">
              <a:extLst>
                <a:ext uri="{FF2B5EF4-FFF2-40B4-BE49-F238E27FC236}">
                  <a16:creationId xmlns:a16="http://schemas.microsoft.com/office/drawing/2014/main" id="{E09E69DA-5342-94CE-7509-25FA3F4D5930}"/>
                </a:ext>
              </a:extLst>
            </p:cNvPr>
            <p:cNvSpPr/>
            <p:nvPr/>
          </p:nvSpPr>
          <p:spPr>
            <a:xfrm>
              <a:off x="6546836" y="2490745"/>
              <a:ext cx="423815" cy="355613"/>
            </a:xfrm>
            <a:custGeom>
              <a:avLst/>
              <a:gdLst>
                <a:gd name="connsiteX0" fmla="*/ 102922 w 332508"/>
                <a:gd name="connsiteY0" fmla="*/ 255512 h 279239"/>
                <a:gd name="connsiteX1" fmla="*/ 115201 w 332508"/>
                <a:gd name="connsiteY1" fmla="*/ 251130 h 279239"/>
                <a:gd name="connsiteX2" fmla="*/ 133408 w 332508"/>
                <a:gd name="connsiteY2" fmla="*/ 236918 h 279239"/>
                <a:gd name="connsiteX3" fmla="*/ 135337 w 332508"/>
                <a:gd name="connsiteY3" fmla="*/ 233072 h 279239"/>
                <a:gd name="connsiteX4" fmla="*/ 142081 w 332508"/>
                <a:gd name="connsiteY4" fmla="*/ 229008 h 279239"/>
                <a:gd name="connsiteX5" fmla="*/ 153289 w 332508"/>
                <a:gd name="connsiteY5" fmla="*/ 236398 h 279239"/>
                <a:gd name="connsiteX6" fmla="*/ 155333 w 332508"/>
                <a:gd name="connsiteY6" fmla="*/ 230353 h 279239"/>
                <a:gd name="connsiteX7" fmla="*/ 160385 w 332508"/>
                <a:gd name="connsiteY7" fmla="*/ 230063 h 279239"/>
                <a:gd name="connsiteX8" fmla="*/ 165799 w 332508"/>
                <a:gd name="connsiteY8" fmla="*/ 233963 h 279239"/>
                <a:gd name="connsiteX9" fmla="*/ 172379 w 332508"/>
                <a:gd name="connsiteY9" fmla="*/ 236297 h 279239"/>
                <a:gd name="connsiteX10" fmla="*/ 178212 w 332508"/>
                <a:gd name="connsiteY10" fmla="*/ 240809 h 279239"/>
                <a:gd name="connsiteX11" fmla="*/ 193306 w 332508"/>
                <a:gd name="connsiteY11" fmla="*/ 244309 h 279239"/>
                <a:gd name="connsiteX12" fmla="*/ 208428 w 332508"/>
                <a:gd name="connsiteY12" fmla="*/ 244019 h 279239"/>
                <a:gd name="connsiteX13" fmla="*/ 215114 w 332508"/>
                <a:gd name="connsiteY13" fmla="*/ 254095 h 279239"/>
                <a:gd name="connsiteX14" fmla="*/ 226771 w 332508"/>
                <a:gd name="connsiteY14" fmla="*/ 260964 h 279239"/>
                <a:gd name="connsiteX15" fmla="*/ 238133 w 332508"/>
                <a:gd name="connsiteY15" fmla="*/ 272206 h 279239"/>
                <a:gd name="connsiteX16" fmla="*/ 247934 w 332508"/>
                <a:gd name="connsiteY16" fmla="*/ 273725 h 279239"/>
                <a:gd name="connsiteX17" fmla="*/ 252355 w 332508"/>
                <a:gd name="connsiteY17" fmla="*/ 277861 h 279239"/>
                <a:gd name="connsiteX18" fmla="*/ 256611 w 332508"/>
                <a:gd name="connsiteY18" fmla="*/ 279028 h 279239"/>
                <a:gd name="connsiteX19" fmla="*/ 260603 w 332508"/>
                <a:gd name="connsiteY19" fmla="*/ 275537 h 279239"/>
                <a:gd name="connsiteX20" fmla="*/ 262406 w 332508"/>
                <a:gd name="connsiteY20" fmla="*/ 272438 h 279239"/>
                <a:gd name="connsiteX21" fmla="*/ 266667 w 332508"/>
                <a:gd name="connsiteY21" fmla="*/ 268451 h 279239"/>
                <a:gd name="connsiteX22" fmla="*/ 272606 w 332508"/>
                <a:gd name="connsiteY22" fmla="*/ 267029 h 279239"/>
                <a:gd name="connsiteX23" fmla="*/ 276742 w 332508"/>
                <a:gd name="connsiteY23" fmla="*/ 259928 h 279239"/>
                <a:gd name="connsiteX24" fmla="*/ 281920 w 332508"/>
                <a:gd name="connsiteY24" fmla="*/ 258776 h 279239"/>
                <a:gd name="connsiteX25" fmla="*/ 288110 w 332508"/>
                <a:gd name="connsiteY25" fmla="*/ 259783 h 279239"/>
                <a:gd name="connsiteX26" fmla="*/ 290689 w 332508"/>
                <a:gd name="connsiteY26" fmla="*/ 263148 h 279239"/>
                <a:gd name="connsiteX27" fmla="*/ 296633 w 332508"/>
                <a:gd name="connsiteY27" fmla="*/ 264045 h 279239"/>
                <a:gd name="connsiteX28" fmla="*/ 303449 w 332508"/>
                <a:gd name="connsiteY28" fmla="*/ 263148 h 279239"/>
                <a:gd name="connsiteX29" fmla="*/ 309152 w 332508"/>
                <a:gd name="connsiteY29" fmla="*/ 264951 h 279239"/>
                <a:gd name="connsiteX30" fmla="*/ 312922 w 332508"/>
                <a:gd name="connsiteY30" fmla="*/ 263558 h 279239"/>
                <a:gd name="connsiteX31" fmla="*/ 312531 w 332508"/>
                <a:gd name="connsiteY31" fmla="*/ 255873 h 279239"/>
                <a:gd name="connsiteX32" fmla="*/ 312030 w 332508"/>
                <a:gd name="connsiteY32" fmla="*/ 246420 h 279239"/>
                <a:gd name="connsiteX33" fmla="*/ 317005 w 332508"/>
                <a:gd name="connsiteY33" fmla="*/ 233828 h 279239"/>
                <a:gd name="connsiteX34" fmla="*/ 316865 w 332508"/>
                <a:gd name="connsiteY34" fmla="*/ 227292 h 279239"/>
                <a:gd name="connsiteX35" fmla="*/ 319444 w 332508"/>
                <a:gd name="connsiteY35" fmla="*/ 221796 h 279239"/>
                <a:gd name="connsiteX36" fmla="*/ 330990 w 332508"/>
                <a:gd name="connsiteY36" fmla="*/ 215780 h 279239"/>
                <a:gd name="connsiteX37" fmla="*/ 332509 w 332508"/>
                <a:gd name="connsiteY37" fmla="*/ 209903 h 279239"/>
                <a:gd name="connsiteX38" fmla="*/ 317376 w 332508"/>
                <a:gd name="connsiteY38" fmla="*/ 194072 h 279239"/>
                <a:gd name="connsiteX39" fmla="*/ 309123 w 332508"/>
                <a:gd name="connsiteY39" fmla="*/ 183047 h 279239"/>
                <a:gd name="connsiteX40" fmla="*/ 295992 w 332508"/>
                <a:gd name="connsiteY40" fmla="*/ 163244 h 279239"/>
                <a:gd name="connsiteX41" fmla="*/ 297578 w 332508"/>
                <a:gd name="connsiteY41" fmla="*/ 151023 h 279239"/>
                <a:gd name="connsiteX42" fmla="*/ 277765 w 332508"/>
                <a:gd name="connsiteY42" fmla="*/ 102112 h 279239"/>
                <a:gd name="connsiteX43" fmla="*/ 288799 w 332508"/>
                <a:gd name="connsiteY43" fmla="*/ 69052 h 279239"/>
                <a:gd name="connsiteX44" fmla="*/ 292217 w 332508"/>
                <a:gd name="connsiteY44" fmla="*/ 30631 h 279239"/>
                <a:gd name="connsiteX45" fmla="*/ 299795 w 332508"/>
                <a:gd name="connsiteY45" fmla="*/ 21881 h 279239"/>
                <a:gd name="connsiteX46" fmla="*/ 302403 w 332508"/>
                <a:gd name="connsiteY46" fmla="*/ 18083 h 279239"/>
                <a:gd name="connsiteX47" fmla="*/ 305132 w 332508"/>
                <a:gd name="connsiteY47" fmla="*/ 13946 h 279239"/>
                <a:gd name="connsiteX48" fmla="*/ 307692 w 332508"/>
                <a:gd name="connsiteY48" fmla="*/ 8971 h 279239"/>
                <a:gd name="connsiteX49" fmla="*/ 294931 w 332508"/>
                <a:gd name="connsiteY49" fmla="*/ 0 h 279239"/>
                <a:gd name="connsiteX50" fmla="*/ 293798 w 332508"/>
                <a:gd name="connsiteY50" fmla="*/ 5052 h 279239"/>
                <a:gd name="connsiteX51" fmla="*/ 293287 w 332508"/>
                <a:gd name="connsiteY51" fmla="*/ 5963 h 279239"/>
                <a:gd name="connsiteX52" fmla="*/ 286765 w 332508"/>
                <a:gd name="connsiteY52" fmla="*/ 12495 h 279239"/>
                <a:gd name="connsiteX53" fmla="*/ 285323 w 332508"/>
                <a:gd name="connsiteY53" fmla="*/ 13011 h 279239"/>
                <a:gd name="connsiteX54" fmla="*/ 279100 w 332508"/>
                <a:gd name="connsiteY54" fmla="*/ 12442 h 279239"/>
                <a:gd name="connsiteX55" fmla="*/ 272274 w 332508"/>
                <a:gd name="connsiteY55" fmla="*/ 14163 h 279239"/>
                <a:gd name="connsiteX56" fmla="*/ 272139 w 332508"/>
                <a:gd name="connsiteY56" fmla="*/ 14163 h 279239"/>
                <a:gd name="connsiteX57" fmla="*/ 265607 w 332508"/>
                <a:gd name="connsiteY57" fmla="*/ 15378 h 279239"/>
                <a:gd name="connsiteX58" fmla="*/ 265264 w 332508"/>
                <a:gd name="connsiteY58" fmla="*/ 15421 h 279239"/>
                <a:gd name="connsiteX59" fmla="*/ 233800 w 332508"/>
                <a:gd name="connsiteY59" fmla="*/ 21216 h 279239"/>
                <a:gd name="connsiteX60" fmla="*/ 233424 w 332508"/>
                <a:gd name="connsiteY60" fmla="*/ 21332 h 279239"/>
                <a:gd name="connsiteX61" fmla="*/ 226294 w 332508"/>
                <a:gd name="connsiteY61" fmla="*/ 22493 h 279239"/>
                <a:gd name="connsiteX62" fmla="*/ 225990 w 332508"/>
                <a:gd name="connsiteY62" fmla="*/ 22527 h 279239"/>
                <a:gd name="connsiteX63" fmla="*/ 218841 w 332508"/>
                <a:gd name="connsiteY63" fmla="*/ 22527 h 279239"/>
                <a:gd name="connsiteX64" fmla="*/ 218108 w 332508"/>
                <a:gd name="connsiteY64" fmla="*/ 22358 h 279239"/>
                <a:gd name="connsiteX65" fmla="*/ 211576 w 332508"/>
                <a:gd name="connsiteY65" fmla="*/ 19384 h 279239"/>
                <a:gd name="connsiteX66" fmla="*/ 211364 w 332508"/>
                <a:gd name="connsiteY66" fmla="*/ 19297 h 279239"/>
                <a:gd name="connsiteX67" fmla="*/ 205589 w 332508"/>
                <a:gd name="connsiteY67" fmla="*/ 15821 h 279239"/>
                <a:gd name="connsiteX68" fmla="*/ 199433 w 332508"/>
                <a:gd name="connsiteY68" fmla="*/ 13778 h 279239"/>
                <a:gd name="connsiteX69" fmla="*/ 194193 w 332508"/>
                <a:gd name="connsiteY69" fmla="*/ 16925 h 279239"/>
                <a:gd name="connsiteX70" fmla="*/ 193441 w 332508"/>
                <a:gd name="connsiteY70" fmla="*/ 17171 h 279239"/>
                <a:gd name="connsiteX71" fmla="*/ 187511 w 332508"/>
                <a:gd name="connsiteY71" fmla="*/ 17774 h 279239"/>
                <a:gd name="connsiteX72" fmla="*/ 187145 w 332508"/>
                <a:gd name="connsiteY72" fmla="*/ 17774 h 279239"/>
                <a:gd name="connsiteX73" fmla="*/ 180598 w 332508"/>
                <a:gd name="connsiteY73" fmla="*/ 17171 h 279239"/>
                <a:gd name="connsiteX74" fmla="*/ 180410 w 332508"/>
                <a:gd name="connsiteY74" fmla="*/ 17142 h 279239"/>
                <a:gd name="connsiteX75" fmla="*/ 174789 w 332508"/>
                <a:gd name="connsiteY75" fmla="*/ 16019 h 279239"/>
                <a:gd name="connsiteX76" fmla="*/ 167982 w 332508"/>
                <a:gd name="connsiteY76" fmla="*/ 17171 h 279239"/>
                <a:gd name="connsiteX77" fmla="*/ 167529 w 332508"/>
                <a:gd name="connsiteY77" fmla="*/ 17171 h 279239"/>
                <a:gd name="connsiteX78" fmla="*/ 160983 w 332508"/>
                <a:gd name="connsiteY78" fmla="*/ 16574 h 279239"/>
                <a:gd name="connsiteX79" fmla="*/ 160520 w 332508"/>
                <a:gd name="connsiteY79" fmla="*/ 16482 h 279239"/>
                <a:gd name="connsiteX80" fmla="*/ 154528 w 332508"/>
                <a:gd name="connsiteY80" fmla="*/ 14298 h 279239"/>
                <a:gd name="connsiteX81" fmla="*/ 149538 w 332508"/>
                <a:gd name="connsiteY81" fmla="*/ 15798 h 279239"/>
                <a:gd name="connsiteX82" fmla="*/ 142683 w 332508"/>
                <a:gd name="connsiteY82" fmla="*/ 21520 h 279239"/>
                <a:gd name="connsiteX83" fmla="*/ 141068 w 332508"/>
                <a:gd name="connsiteY83" fmla="*/ 21881 h 279239"/>
                <a:gd name="connsiteX84" fmla="*/ 139801 w 332508"/>
                <a:gd name="connsiteY84" fmla="*/ 20816 h 279239"/>
                <a:gd name="connsiteX85" fmla="*/ 137786 w 332508"/>
                <a:gd name="connsiteY85" fmla="*/ 15773 h 279239"/>
                <a:gd name="connsiteX86" fmla="*/ 135655 w 332508"/>
                <a:gd name="connsiteY86" fmla="*/ 15397 h 279239"/>
                <a:gd name="connsiteX87" fmla="*/ 137202 w 332508"/>
                <a:gd name="connsiteY87" fmla="*/ 18781 h 279239"/>
                <a:gd name="connsiteX88" fmla="*/ 137106 w 332508"/>
                <a:gd name="connsiteY88" fmla="*/ 20464 h 279239"/>
                <a:gd name="connsiteX89" fmla="*/ 133519 w 332508"/>
                <a:gd name="connsiteY89" fmla="*/ 26422 h 279239"/>
                <a:gd name="connsiteX90" fmla="*/ 132314 w 332508"/>
                <a:gd name="connsiteY90" fmla="*/ 27271 h 279239"/>
                <a:gd name="connsiteX91" fmla="*/ 130877 w 332508"/>
                <a:gd name="connsiteY91" fmla="*/ 26909 h 279239"/>
                <a:gd name="connsiteX92" fmla="*/ 125233 w 332508"/>
                <a:gd name="connsiteY92" fmla="*/ 22431 h 279239"/>
                <a:gd name="connsiteX93" fmla="*/ 123020 w 332508"/>
                <a:gd name="connsiteY93" fmla="*/ 21968 h 279239"/>
                <a:gd name="connsiteX94" fmla="*/ 124027 w 332508"/>
                <a:gd name="connsiteY94" fmla="*/ 24504 h 279239"/>
                <a:gd name="connsiteX95" fmla="*/ 129152 w 332508"/>
                <a:gd name="connsiteY95" fmla="*/ 30216 h 279239"/>
                <a:gd name="connsiteX96" fmla="*/ 129562 w 332508"/>
                <a:gd name="connsiteY96" fmla="*/ 31889 h 279239"/>
                <a:gd name="connsiteX97" fmla="*/ 128472 w 332508"/>
                <a:gd name="connsiteY97" fmla="*/ 33152 h 279239"/>
                <a:gd name="connsiteX98" fmla="*/ 122504 w 332508"/>
                <a:gd name="connsiteY98" fmla="*/ 35316 h 279239"/>
                <a:gd name="connsiteX99" fmla="*/ 119250 w 332508"/>
                <a:gd name="connsiteY99" fmla="*/ 40687 h 279239"/>
                <a:gd name="connsiteX100" fmla="*/ 117408 w 332508"/>
                <a:gd name="connsiteY100" fmla="*/ 41545 h 279239"/>
                <a:gd name="connsiteX101" fmla="*/ 110481 w 332508"/>
                <a:gd name="connsiteY101" fmla="*/ 40426 h 279239"/>
                <a:gd name="connsiteX102" fmla="*/ 105198 w 332508"/>
                <a:gd name="connsiteY102" fmla="*/ 40933 h 279239"/>
                <a:gd name="connsiteX103" fmla="*/ 99037 w 332508"/>
                <a:gd name="connsiteY103" fmla="*/ 44876 h 279239"/>
                <a:gd name="connsiteX104" fmla="*/ 97735 w 332508"/>
                <a:gd name="connsiteY104" fmla="*/ 45117 h 279239"/>
                <a:gd name="connsiteX105" fmla="*/ 91777 w 332508"/>
                <a:gd name="connsiteY105" fmla="*/ 44052 h 279239"/>
                <a:gd name="connsiteX106" fmla="*/ 88764 w 332508"/>
                <a:gd name="connsiteY106" fmla="*/ 45560 h 279239"/>
                <a:gd name="connsiteX107" fmla="*/ 86961 w 332508"/>
                <a:gd name="connsiteY107" fmla="*/ 45469 h 279239"/>
                <a:gd name="connsiteX108" fmla="*/ 80694 w 332508"/>
                <a:gd name="connsiteY108" fmla="*/ 41477 h 279239"/>
                <a:gd name="connsiteX109" fmla="*/ 77980 w 332508"/>
                <a:gd name="connsiteY109" fmla="*/ 40923 h 279239"/>
                <a:gd name="connsiteX110" fmla="*/ 78843 w 332508"/>
                <a:gd name="connsiteY110" fmla="*/ 44158 h 279239"/>
                <a:gd name="connsiteX111" fmla="*/ 81494 w 332508"/>
                <a:gd name="connsiteY111" fmla="*/ 46785 h 279239"/>
                <a:gd name="connsiteX112" fmla="*/ 81798 w 332508"/>
                <a:gd name="connsiteY112" fmla="*/ 48935 h 279239"/>
                <a:gd name="connsiteX113" fmla="*/ 78231 w 332508"/>
                <a:gd name="connsiteY113" fmla="*/ 55496 h 279239"/>
                <a:gd name="connsiteX114" fmla="*/ 77078 w 332508"/>
                <a:gd name="connsiteY114" fmla="*/ 56383 h 279239"/>
                <a:gd name="connsiteX115" fmla="*/ 75656 w 332508"/>
                <a:gd name="connsiteY115" fmla="*/ 56156 h 279239"/>
                <a:gd name="connsiteX116" fmla="*/ 70802 w 332508"/>
                <a:gd name="connsiteY116" fmla="*/ 53071 h 279239"/>
                <a:gd name="connsiteX117" fmla="*/ 68729 w 332508"/>
                <a:gd name="connsiteY117" fmla="*/ 57227 h 279239"/>
                <a:gd name="connsiteX118" fmla="*/ 67639 w 332508"/>
                <a:gd name="connsiteY118" fmla="*/ 58152 h 279239"/>
                <a:gd name="connsiteX119" fmla="*/ 61691 w 332508"/>
                <a:gd name="connsiteY119" fmla="*/ 59955 h 279239"/>
                <a:gd name="connsiteX120" fmla="*/ 60543 w 332508"/>
                <a:gd name="connsiteY120" fmla="*/ 59907 h 279239"/>
                <a:gd name="connsiteX121" fmla="*/ 54681 w 332508"/>
                <a:gd name="connsiteY121" fmla="*/ 57776 h 279239"/>
                <a:gd name="connsiteX122" fmla="*/ 49610 w 332508"/>
                <a:gd name="connsiteY122" fmla="*/ 60100 h 279239"/>
                <a:gd name="connsiteX123" fmla="*/ 48033 w 332508"/>
                <a:gd name="connsiteY123" fmla="*/ 66381 h 279239"/>
                <a:gd name="connsiteX124" fmla="*/ 47219 w 332508"/>
                <a:gd name="connsiteY124" fmla="*/ 67476 h 279239"/>
                <a:gd name="connsiteX125" fmla="*/ 42533 w 332508"/>
                <a:gd name="connsiteY125" fmla="*/ 70296 h 279239"/>
                <a:gd name="connsiteX126" fmla="*/ 44418 w 332508"/>
                <a:gd name="connsiteY126" fmla="*/ 75435 h 279239"/>
                <a:gd name="connsiteX127" fmla="*/ 43859 w 332508"/>
                <a:gd name="connsiteY127" fmla="*/ 77469 h 279239"/>
                <a:gd name="connsiteX128" fmla="*/ 41781 w 332508"/>
                <a:gd name="connsiteY128" fmla="*/ 77594 h 279239"/>
                <a:gd name="connsiteX129" fmla="*/ 36252 w 332508"/>
                <a:gd name="connsiteY129" fmla="*/ 74277 h 279239"/>
                <a:gd name="connsiteX130" fmla="*/ 33258 w 332508"/>
                <a:gd name="connsiteY130" fmla="*/ 74277 h 279239"/>
                <a:gd name="connsiteX131" fmla="*/ 35374 w 332508"/>
                <a:gd name="connsiteY131" fmla="*/ 78177 h 279239"/>
                <a:gd name="connsiteX132" fmla="*/ 35587 w 332508"/>
                <a:gd name="connsiteY132" fmla="*/ 79016 h 279239"/>
                <a:gd name="connsiteX133" fmla="*/ 35587 w 332508"/>
                <a:gd name="connsiteY133" fmla="*/ 85558 h 279239"/>
                <a:gd name="connsiteX134" fmla="*/ 34550 w 332508"/>
                <a:gd name="connsiteY134" fmla="*/ 87221 h 279239"/>
                <a:gd name="connsiteX135" fmla="*/ 27994 w 332508"/>
                <a:gd name="connsiteY135" fmla="*/ 90215 h 279239"/>
                <a:gd name="connsiteX136" fmla="*/ 27068 w 332508"/>
                <a:gd name="connsiteY136" fmla="*/ 90374 h 279239"/>
                <a:gd name="connsiteX137" fmla="*/ 20917 w 332508"/>
                <a:gd name="connsiteY137" fmla="*/ 89810 h 279239"/>
                <a:gd name="connsiteX138" fmla="*/ 15161 w 332508"/>
                <a:gd name="connsiteY138" fmla="*/ 91733 h 279239"/>
                <a:gd name="connsiteX139" fmla="*/ 14168 w 332508"/>
                <a:gd name="connsiteY139" fmla="*/ 97214 h 279239"/>
                <a:gd name="connsiteX140" fmla="*/ 12707 w 332508"/>
                <a:gd name="connsiteY140" fmla="*/ 98685 h 279239"/>
                <a:gd name="connsiteX141" fmla="*/ 6257 w 332508"/>
                <a:gd name="connsiteY141" fmla="*/ 99842 h 279239"/>
                <a:gd name="connsiteX142" fmla="*/ 849 w 332508"/>
                <a:gd name="connsiteY142" fmla="*/ 101322 h 279239"/>
                <a:gd name="connsiteX143" fmla="*/ 0 w 332508"/>
                <a:gd name="connsiteY143" fmla="*/ 105959 h 279239"/>
                <a:gd name="connsiteX144" fmla="*/ 4324 w 332508"/>
                <a:gd name="connsiteY144" fmla="*/ 111874 h 279239"/>
                <a:gd name="connsiteX145" fmla="*/ 4623 w 332508"/>
                <a:gd name="connsiteY145" fmla="*/ 113407 h 279239"/>
                <a:gd name="connsiteX146" fmla="*/ 2825 w 332508"/>
                <a:gd name="connsiteY146" fmla="*/ 120537 h 279239"/>
                <a:gd name="connsiteX147" fmla="*/ 2748 w 332508"/>
                <a:gd name="connsiteY147" fmla="*/ 120754 h 279239"/>
                <a:gd name="connsiteX148" fmla="*/ 689 w 332508"/>
                <a:gd name="connsiteY148" fmla="*/ 125907 h 279239"/>
                <a:gd name="connsiteX149" fmla="*/ 3866 w 332508"/>
                <a:gd name="connsiteY149" fmla="*/ 131379 h 279239"/>
                <a:gd name="connsiteX150" fmla="*/ 8210 w 332508"/>
                <a:gd name="connsiteY150" fmla="*/ 131379 h 279239"/>
                <a:gd name="connsiteX151" fmla="*/ 10687 w 332508"/>
                <a:gd name="connsiteY151" fmla="*/ 125907 h 279239"/>
                <a:gd name="connsiteX152" fmla="*/ 12495 w 332508"/>
                <a:gd name="connsiteY152" fmla="*/ 124837 h 279239"/>
                <a:gd name="connsiteX153" fmla="*/ 14106 w 332508"/>
                <a:gd name="connsiteY153" fmla="*/ 126158 h 279239"/>
                <a:gd name="connsiteX154" fmla="*/ 15908 w 332508"/>
                <a:gd name="connsiteY154" fmla="*/ 132714 h 279239"/>
                <a:gd name="connsiteX155" fmla="*/ 15219 w 332508"/>
                <a:gd name="connsiteY155" fmla="*/ 134657 h 279239"/>
                <a:gd name="connsiteX156" fmla="*/ 8682 w 332508"/>
                <a:gd name="connsiteY156" fmla="*/ 139420 h 279239"/>
                <a:gd name="connsiteX157" fmla="*/ 8470 w 332508"/>
                <a:gd name="connsiteY157" fmla="*/ 139540 h 279239"/>
                <a:gd name="connsiteX158" fmla="*/ 3635 w 332508"/>
                <a:gd name="connsiteY158" fmla="*/ 142168 h 279239"/>
                <a:gd name="connsiteX159" fmla="*/ 6681 w 332508"/>
                <a:gd name="connsiteY159" fmla="*/ 146955 h 279239"/>
                <a:gd name="connsiteX160" fmla="*/ 12495 w 332508"/>
                <a:gd name="connsiteY160" fmla="*/ 153385 h 279239"/>
                <a:gd name="connsiteX161" fmla="*/ 12838 w 332508"/>
                <a:gd name="connsiteY161" fmla="*/ 155347 h 279239"/>
                <a:gd name="connsiteX162" fmla="*/ 11845 w 332508"/>
                <a:gd name="connsiteY162" fmla="*/ 157492 h 279239"/>
                <a:gd name="connsiteX163" fmla="*/ 13980 w 332508"/>
                <a:gd name="connsiteY163" fmla="*/ 156519 h 279239"/>
                <a:gd name="connsiteX164" fmla="*/ 14366 w 332508"/>
                <a:gd name="connsiteY164" fmla="*/ 156393 h 279239"/>
                <a:gd name="connsiteX165" fmla="*/ 20271 w 332508"/>
                <a:gd name="connsiteY165" fmla="*/ 155217 h 279239"/>
                <a:gd name="connsiteX166" fmla="*/ 26745 w 332508"/>
                <a:gd name="connsiteY166" fmla="*/ 153448 h 279239"/>
                <a:gd name="connsiteX167" fmla="*/ 27401 w 332508"/>
                <a:gd name="connsiteY167" fmla="*/ 153380 h 279239"/>
                <a:gd name="connsiteX168" fmla="*/ 33943 w 332508"/>
                <a:gd name="connsiteY168" fmla="*/ 153983 h 279239"/>
                <a:gd name="connsiteX169" fmla="*/ 35519 w 332508"/>
                <a:gd name="connsiteY169" fmla="*/ 155261 h 279239"/>
                <a:gd name="connsiteX170" fmla="*/ 34945 w 332508"/>
                <a:gd name="connsiteY170" fmla="*/ 157199 h 279239"/>
                <a:gd name="connsiteX171" fmla="*/ 28380 w 332508"/>
                <a:gd name="connsiteY171" fmla="*/ 162564 h 279239"/>
                <a:gd name="connsiteX172" fmla="*/ 27401 w 332508"/>
                <a:gd name="connsiteY172" fmla="*/ 162940 h 279239"/>
                <a:gd name="connsiteX173" fmla="*/ 21505 w 332508"/>
                <a:gd name="connsiteY173" fmla="*/ 163490 h 279239"/>
                <a:gd name="connsiteX174" fmla="*/ 16366 w 332508"/>
                <a:gd name="connsiteY174" fmla="*/ 168628 h 279239"/>
                <a:gd name="connsiteX175" fmla="*/ 14858 w 332508"/>
                <a:gd name="connsiteY175" fmla="*/ 174129 h 279239"/>
                <a:gd name="connsiteX176" fmla="*/ 17022 w 332508"/>
                <a:gd name="connsiteY176" fmla="*/ 179523 h 279239"/>
                <a:gd name="connsiteX177" fmla="*/ 17167 w 332508"/>
                <a:gd name="connsiteY177" fmla="*/ 180169 h 279239"/>
                <a:gd name="connsiteX178" fmla="*/ 17167 w 332508"/>
                <a:gd name="connsiteY178" fmla="*/ 186576 h 279239"/>
                <a:gd name="connsiteX179" fmla="*/ 18001 w 332508"/>
                <a:gd name="connsiteY179" fmla="*/ 187424 h 279239"/>
                <a:gd name="connsiteX180" fmla="*/ 23429 w 332508"/>
                <a:gd name="connsiteY180" fmla="*/ 188524 h 279239"/>
                <a:gd name="connsiteX181" fmla="*/ 23703 w 332508"/>
                <a:gd name="connsiteY181" fmla="*/ 188596 h 279239"/>
                <a:gd name="connsiteX182" fmla="*/ 30245 w 332508"/>
                <a:gd name="connsiteY182" fmla="*/ 190982 h 279239"/>
                <a:gd name="connsiteX183" fmla="*/ 31431 w 332508"/>
                <a:gd name="connsiteY183" fmla="*/ 192380 h 279239"/>
                <a:gd name="connsiteX184" fmla="*/ 32564 w 332508"/>
                <a:gd name="connsiteY184" fmla="*/ 199216 h 279239"/>
                <a:gd name="connsiteX185" fmla="*/ 35837 w 332508"/>
                <a:gd name="connsiteY185" fmla="*/ 205232 h 279239"/>
                <a:gd name="connsiteX186" fmla="*/ 41892 w 332508"/>
                <a:gd name="connsiteY186" fmla="*/ 210733 h 279239"/>
                <a:gd name="connsiteX187" fmla="*/ 47715 w 332508"/>
                <a:gd name="connsiteY187" fmla="*/ 212868 h 279239"/>
                <a:gd name="connsiteX188" fmla="*/ 53838 w 332508"/>
                <a:gd name="connsiteY188" fmla="*/ 212280 h 279239"/>
                <a:gd name="connsiteX189" fmla="*/ 54956 w 332508"/>
                <a:gd name="connsiteY189" fmla="*/ 212555 h 279239"/>
                <a:gd name="connsiteX190" fmla="*/ 60881 w 332508"/>
                <a:gd name="connsiteY190" fmla="*/ 216122 h 279239"/>
                <a:gd name="connsiteX191" fmla="*/ 61122 w 332508"/>
                <a:gd name="connsiteY191" fmla="*/ 216281 h 279239"/>
                <a:gd name="connsiteX192" fmla="*/ 66048 w 332508"/>
                <a:gd name="connsiteY192" fmla="*/ 220302 h 279239"/>
                <a:gd name="connsiteX193" fmla="*/ 68497 w 332508"/>
                <a:gd name="connsiteY193" fmla="*/ 216151 h 279239"/>
                <a:gd name="connsiteX194" fmla="*/ 68796 w 332508"/>
                <a:gd name="connsiteY194" fmla="*/ 215794 h 279239"/>
                <a:gd name="connsiteX195" fmla="*/ 74229 w 332508"/>
                <a:gd name="connsiteY195" fmla="*/ 210381 h 279239"/>
                <a:gd name="connsiteX196" fmla="*/ 74229 w 332508"/>
                <a:gd name="connsiteY196" fmla="*/ 204600 h 279239"/>
                <a:gd name="connsiteX197" fmla="*/ 74547 w 332508"/>
                <a:gd name="connsiteY197" fmla="*/ 203559 h 279239"/>
                <a:gd name="connsiteX198" fmla="*/ 78693 w 332508"/>
                <a:gd name="connsiteY198" fmla="*/ 197601 h 279239"/>
                <a:gd name="connsiteX199" fmla="*/ 80332 w 332508"/>
                <a:gd name="connsiteY199" fmla="*/ 196796 h 279239"/>
                <a:gd name="connsiteX200" fmla="*/ 87486 w 332508"/>
                <a:gd name="connsiteY200" fmla="*/ 197446 h 279239"/>
                <a:gd name="connsiteX201" fmla="*/ 88393 w 332508"/>
                <a:gd name="connsiteY201" fmla="*/ 197750 h 279239"/>
                <a:gd name="connsiteX202" fmla="*/ 94327 w 332508"/>
                <a:gd name="connsiteY202" fmla="*/ 201901 h 279239"/>
                <a:gd name="connsiteX203" fmla="*/ 95031 w 332508"/>
                <a:gd name="connsiteY203" fmla="*/ 202884 h 279239"/>
                <a:gd name="connsiteX204" fmla="*/ 96824 w 332508"/>
                <a:gd name="connsiteY204" fmla="*/ 208824 h 279239"/>
                <a:gd name="connsiteX205" fmla="*/ 96612 w 332508"/>
                <a:gd name="connsiteY205" fmla="*/ 210366 h 279239"/>
                <a:gd name="connsiteX206" fmla="*/ 92775 w 332508"/>
                <a:gd name="connsiteY206" fmla="*/ 216373 h 279239"/>
                <a:gd name="connsiteX207" fmla="*/ 93305 w 332508"/>
                <a:gd name="connsiteY207" fmla="*/ 222051 h 279239"/>
                <a:gd name="connsiteX208" fmla="*/ 95590 w 332508"/>
                <a:gd name="connsiteY208" fmla="*/ 228367 h 279239"/>
                <a:gd name="connsiteX209" fmla="*/ 95706 w 332508"/>
                <a:gd name="connsiteY209" fmla="*/ 228998 h 279239"/>
                <a:gd name="connsiteX210" fmla="*/ 95706 w 332508"/>
                <a:gd name="connsiteY210" fmla="*/ 235424 h 279239"/>
                <a:gd name="connsiteX211" fmla="*/ 96294 w 332508"/>
                <a:gd name="connsiteY211" fmla="*/ 241932 h 279239"/>
                <a:gd name="connsiteX212" fmla="*/ 96192 w 332508"/>
                <a:gd name="connsiteY212" fmla="*/ 242694 h 279239"/>
                <a:gd name="connsiteX213" fmla="*/ 93854 w 332508"/>
                <a:gd name="connsiteY213" fmla="*/ 249101 h 279239"/>
                <a:gd name="connsiteX214" fmla="*/ 92731 w 332508"/>
                <a:gd name="connsiteY214" fmla="*/ 255425 h 279239"/>
                <a:gd name="connsiteX215" fmla="*/ 92129 w 332508"/>
                <a:gd name="connsiteY215" fmla="*/ 261837 h 279239"/>
                <a:gd name="connsiteX216" fmla="*/ 92129 w 332508"/>
                <a:gd name="connsiteY216" fmla="*/ 267680 h 279239"/>
                <a:gd name="connsiteX217" fmla="*/ 92129 w 332508"/>
                <a:gd name="connsiteY217" fmla="*/ 267699 h 279239"/>
                <a:gd name="connsiteX218" fmla="*/ 94809 w 332508"/>
                <a:gd name="connsiteY218" fmla="*/ 267544 h 279239"/>
                <a:gd name="connsiteX219" fmla="*/ 102922 w 332508"/>
                <a:gd name="connsiteY219" fmla="*/ 255512 h 279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332508" h="279239">
                  <a:moveTo>
                    <a:pt x="102922" y="255512"/>
                  </a:moveTo>
                  <a:lnTo>
                    <a:pt x="115201" y="251130"/>
                  </a:lnTo>
                  <a:lnTo>
                    <a:pt x="133408" y="236918"/>
                  </a:lnTo>
                  <a:lnTo>
                    <a:pt x="135337" y="233072"/>
                  </a:lnTo>
                  <a:lnTo>
                    <a:pt x="142081" y="229008"/>
                  </a:lnTo>
                  <a:cubicBezTo>
                    <a:pt x="142081" y="229008"/>
                    <a:pt x="151602" y="237049"/>
                    <a:pt x="153289" y="236398"/>
                  </a:cubicBezTo>
                  <a:cubicBezTo>
                    <a:pt x="154947" y="235776"/>
                    <a:pt x="152243" y="230589"/>
                    <a:pt x="155333" y="230353"/>
                  </a:cubicBezTo>
                  <a:cubicBezTo>
                    <a:pt x="158457" y="230063"/>
                    <a:pt x="160385" y="230063"/>
                    <a:pt x="160385" y="230063"/>
                  </a:cubicBezTo>
                  <a:lnTo>
                    <a:pt x="165799" y="233963"/>
                  </a:lnTo>
                  <a:lnTo>
                    <a:pt x="172379" y="236297"/>
                  </a:lnTo>
                  <a:lnTo>
                    <a:pt x="178212" y="240809"/>
                  </a:lnTo>
                  <a:cubicBezTo>
                    <a:pt x="178212" y="240809"/>
                    <a:pt x="188403" y="239758"/>
                    <a:pt x="193306" y="244309"/>
                  </a:cubicBezTo>
                  <a:cubicBezTo>
                    <a:pt x="195909" y="246622"/>
                    <a:pt x="201318" y="247919"/>
                    <a:pt x="208428" y="244019"/>
                  </a:cubicBezTo>
                  <a:cubicBezTo>
                    <a:pt x="210631" y="248300"/>
                    <a:pt x="211017" y="253082"/>
                    <a:pt x="215114" y="254095"/>
                  </a:cubicBezTo>
                  <a:cubicBezTo>
                    <a:pt x="219251" y="255141"/>
                    <a:pt x="224288" y="257320"/>
                    <a:pt x="226771" y="260964"/>
                  </a:cubicBezTo>
                  <a:cubicBezTo>
                    <a:pt x="229244" y="264575"/>
                    <a:pt x="235024" y="271671"/>
                    <a:pt x="238133" y="272206"/>
                  </a:cubicBezTo>
                  <a:cubicBezTo>
                    <a:pt x="241228" y="272683"/>
                    <a:pt x="247163" y="274019"/>
                    <a:pt x="247934" y="273725"/>
                  </a:cubicBezTo>
                  <a:cubicBezTo>
                    <a:pt x="248720" y="273479"/>
                    <a:pt x="251034" y="275908"/>
                    <a:pt x="252355" y="277861"/>
                  </a:cubicBezTo>
                  <a:cubicBezTo>
                    <a:pt x="253637" y="279799"/>
                    <a:pt x="254924" y="279172"/>
                    <a:pt x="256611" y="279028"/>
                  </a:cubicBezTo>
                  <a:cubicBezTo>
                    <a:pt x="258265" y="278892"/>
                    <a:pt x="260453" y="277760"/>
                    <a:pt x="260603" y="275537"/>
                  </a:cubicBezTo>
                  <a:cubicBezTo>
                    <a:pt x="260728" y="273349"/>
                    <a:pt x="262406" y="272438"/>
                    <a:pt x="262406" y="272438"/>
                  </a:cubicBezTo>
                  <a:lnTo>
                    <a:pt x="266667" y="268451"/>
                  </a:lnTo>
                  <a:lnTo>
                    <a:pt x="272606" y="267029"/>
                  </a:lnTo>
                  <a:cubicBezTo>
                    <a:pt x="272606" y="267029"/>
                    <a:pt x="274424" y="261205"/>
                    <a:pt x="276742" y="259928"/>
                  </a:cubicBezTo>
                  <a:cubicBezTo>
                    <a:pt x="279042" y="258626"/>
                    <a:pt x="281920" y="258776"/>
                    <a:pt x="281920" y="258776"/>
                  </a:cubicBezTo>
                  <a:lnTo>
                    <a:pt x="288110" y="259783"/>
                  </a:lnTo>
                  <a:lnTo>
                    <a:pt x="290689" y="263148"/>
                  </a:lnTo>
                  <a:lnTo>
                    <a:pt x="296633" y="264045"/>
                  </a:lnTo>
                  <a:lnTo>
                    <a:pt x="303449" y="263148"/>
                  </a:lnTo>
                  <a:lnTo>
                    <a:pt x="309152" y="264951"/>
                  </a:lnTo>
                  <a:cubicBezTo>
                    <a:pt x="309152" y="264951"/>
                    <a:pt x="310815" y="264291"/>
                    <a:pt x="312922" y="263558"/>
                  </a:cubicBezTo>
                  <a:cubicBezTo>
                    <a:pt x="311577" y="260795"/>
                    <a:pt x="311808" y="257431"/>
                    <a:pt x="312531" y="255873"/>
                  </a:cubicBezTo>
                  <a:cubicBezTo>
                    <a:pt x="313568" y="253627"/>
                    <a:pt x="313052" y="250026"/>
                    <a:pt x="312030" y="246420"/>
                  </a:cubicBezTo>
                  <a:cubicBezTo>
                    <a:pt x="311008" y="242805"/>
                    <a:pt x="317005" y="233828"/>
                    <a:pt x="317005" y="233828"/>
                  </a:cubicBezTo>
                  <a:lnTo>
                    <a:pt x="316865" y="227292"/>
                  </a:lnTo>
                  <a:lnTo>
                    <a:pt x="319444" y="221796"/>
                  </a:lnTo>
                  <a:lnTo>
                    <a:pt x="330990" y="215780"/>
                  </a:lnTo>
                  <a:cubicBezTo>
                    <a:pt x="330990" y="215780"/>
                    <a:pt x="332017" y="213504"/>
                    <a:pt x="332509" y="209903"/>
                  </a:cubicBezTo>
                  <a:cubicBezTo>
                    <a:pt x="325461" y="209383"/>
                    <a:pt x="318080" y="199568"/>
                    <a:pt x="317376" y="194072"/>
                  </a:cubicBezTo>
                  <a:cubicBezTo>
                    <a:pt x="316687" y="188572"/>
                    <a:pt x="314113" y="184922"/>
                    <a:pt x="309123" y="183047"/>
                  </a:cubicBezTo>
                  <a:cubicBezTo>
                    <a:pt x="304143" y="181153"/>
                    <a:pt x="297578" y="168402"/>
                    <a:pt x="295992" y="163244"/>
                  </a:cubicBezTo>
                  <a:cubicBezTo>
                    <a:pt x="294478" y="158076"/>
                    <a:pt x="296348" y="155834"/>
                    <a:pt x="297578" y="151023"/>
                  </a:cubicBezTo>
                  <a:cubicBezTo>
                    <a:pt x="298773" y="146178"/>
                    <a:pt x="283289" y="113990"/>
                    <a:pt x="277765" y="102112"/>
                  </a:cubicBezTo>
                  <a:cubicBezTo>
                    <a:pt x="272274" y="90229"/>
                    <a:pt x="284142" y="75748"/>
                    <a:pt x="288799" y="69052"/>
                  </a:cubicBezTo>
                  <a:cubicBezTo>
                    <a:pt x="293456" y="62322"/>
                    <a:pt x="292391" y="36512"/>
                    <a:pt x="292217" y="30631"/>
                  </a:cubicBezTo>
                  <a:cubicBezTo>
                    <a:pt x="292053" y="24798"/>
                    <a:pt x="296715" y="22204"/>
                    <a:pt x="299795" y="21881"/>
                  </a:cubicBezTo>
                  <a:cubicBezTo>
                    <a:pt x="302900" y="21520"/>
                    <a:pt x="302567" y="19963"/>
                    <a:pt x="302403" y="18083"/>
                  </a:cubicBezTo>
                  <a:cubicBezTo>
                    <a:pt x="302220" y="16198"/>
                    <a:pt x="302567" y="14303"/>
                    <a:pt x="305132" y="13946"/>
                  </a:cubicBezTo>
                  <a:cubicBezTo>
                    <a:pt x="307692" y="13623"/>
                    <a:pt x="307913" y="12216"/>
                    <a:pt x="307692" y="8971"/>
                  </a:cubicBezTo>
                  <a:cubicBezTo>
                    <a:pt x="307609" y="6566"/>
                    <a:pt x="299385" y="2217"/>
                    <a:pt x="294931" y="0"/>
                  </a:cubicBezTo>
                  <a:lnTo>
                    <a:pt x="293798" y="5052"/>
                  </a:lnTo>
                  <a:lnTo>
                    <a:pt x="293287" y="5963"/>
                  </a:lnTo>
                  <a:lnTo>
                    <a:pt x="286765" y="12495"/>
                  </a:lnTo>
                  <a:lnTo>
                    <a:pt x="285323" y="13011"/>
                  </a:lnTo>
                  <a:lnTo>
                    <a:pt x="279100" y="12442"/>
                  </a:lnTo>
                  <a:lnTo>
                    <a:pt x="272274" y="14163"/>
                  </a:lnTo>
                  <a:lnTo>
                    <a:pt x="272139" y="14163"/>
                  </a:lnTo>
                  <a:lnTo>
                    <a:pt x="265607" y="15378"/>
                  </a:lnTo>
                  <a:lnTo>
                    <a:pt x="265264" y="15421"/>
                  </a:lnTo>
                  <a:cubicBezTo>
                    <a:pt x="254399" y="14250"/>
                    <a:pt x="244005" y="18078"/>
                    <a:pt x="233800" y="21216"/>
                  </a:cubicBezTo>
                  <a:lnTo>
                    <a:pt x="233424" y="21332"/>
                  </a:lnTo>
                  <a:lnTo>
                    <a:pt x="226294" y="22493"/>
                  </a:lnTo>
                  <a:lnTo>
                    <a:pt x="225990" y="22527"/>
                  </a:lnTo>
                  <a:lnTo>
                    <a:pt x="218841" y="22527"/>
                  </a:lnTo>
                  <a:lnTo>
                    <a:pt x="218108" y="22358"/>
                  </a:lnTo>
                  <a:lnTo>
                    <a:pt x="211576" y="19384"/>
                  </a:lnTo>
                  <a:lnTo>
                    <a:pt x="211364" y="19297"/>
                  </a:lnTo>
                  <a:lnTo>
                    <a:pt x="205589" y="15821"/>
                  </a:lnTo>
                  <a:lnTo>
                    <a:pt x="199433" y="13778"/>
                  </a:lnTo>
                  <a:lnTo>
                    <a:pt x="194193" y="16925"/>
                  </a:lnTo>
                  <a:lnTo>
                    <a:pt x="193441" y="17171"/>
                  </a:lnTo>
                  <a:lnTo>
                    <a:pt x="187511" y="17774"/>
                  </a:lnTo>
                  <a:lnTo>
                    <a:pt x="187145" y="17774"/>
                  </a:lnTo>
                  <a:lnTo>
                    <a:pt x="180598" y="17171"/>
                  </a:lnTo>
                  <a:lnTo>
                    <a:pt x="180410" y="17142"/>
                  </a:lnTo>
                  <a:lnTo>
                    <a:pt x="174789" y="16019"/>
                  </a:lnTo>
                  <a:lnTo>
                    <a:pt x="167982" y="17171"/>
                  </a:lnTo>
                  <a:lnTo>
                    <a:pt x="167529" y="17171"/>
                  </a:lnTo>
                  <a:lnTo>
                    <a:pt x="160983" y="16574"/>
                  </a:lnTo>
                  <a:lnTo>
                    <a:pt x="160520" y="16482"/>
                  </a:lnTo>
                  <a:lnTo>
                    <a:pt x="154528" y="14298"/>
                  </a:lnTo>
                  <a:lnTo>
                    <a:pt x="149538" y="15798"/>
                  </a:lnTo>
                  <a:lnTo>
                    <a:pt x="142683" y="21520"/>
                  </a:lnTo>
                  <a:lnTo>
                    <a:pt x="141068" y="21881"/>
                  </a:lnTo>
                  <a:lnTo>
                    <a:pt x="139801" y="20816"/>
                  </a:lnTo>
                  <a:lnTo>
                    <a:pt x="137786" y="15773"/>
                  </a:lnTo>
                  <a:lnTo>
                    <a:pt x="135655" y="15397"/>
                  </a:lnTo>
                  <a:lnTo>
                    <a:pt x="137202" y="18781"/>
                  </a:lnTo>
                  <a:lnTo>
                    <a:pt x="137106" y="20464"/>
                  </a:lnTo>
                  <a:lnTo>
                    <a:pt x="133519" y="26422"/>
                  </a:lnTo>
                  <a:lnTo>
                    <a:pt x="132314" y="27271"/>
                  </a:lnTo>
                  <a:lnTo>
                    <a:pt x="130877" y="26909"/>
                  </a:lnTo>
                  <a:lnTo>
                    <a:pt x="125233" y="22431"/>
                  </a:lnTo>
                  <a:lnTo>
                    <a:pt x="123020" y="21968"/>
                  </a:lnTo>
                  <a:lnTo>
                    <a:pt x="124027" y="24504"/>
                  </a:lnTo>
                  <a:lnTo>
                    <a:pt x="129152" y="30216"/>
                  </a:lnTo>
                  <a:lnTo>
                    <a:pt x="129562" y="31889"/>
                  </a:lnTo>
                  <a:lnTo>
                    <a:pt x="128472" y="33152"/>
                  </a:lnTo>
                  <a:lnTo>
                    <a:pt x="122504" y="35316"/>
                  </a:lnTo>
                  <a:lnTo>
                    <a:pt x="119250" y="40687"/>
                  </a:lnTo>
                  <a:lnTo>
                    <a:pt x="117408" y="41545"/>
                  </a:lnTo>
                  <a:lnTo>
                    <a:pt x="110481" y="40426"/>
                  </a:lnTo>
                  <a:lnTo>
                    <a:pt x="105198" y="40933"/>
                  </a:lnTo>
                  <a:lnTo>
                    <a:pt x="99037" y="44876"/>
                  </a:lnTo>
                  <a:lnTo>
                    <a:pt x="97735" y="45117"/>
                  </a:lnTo>
                  <a:lnTo>
                    <a:pt x="91777" y="44052"/>
                  </a:lnTo>
                  <a:lnTo>
                    <a:pt x="88764" y="45560"/>
                  </a:lnTo>
                  <a:lnTo>
                    <a:pt x="86961" y="45469"/>
                  </a:lnTo>
                  <a:lnTo>
                    <a:pt x="80694" y="41477"/>
                  </a:lnTo>
                  <a:lnTo>
                    <a:pt x="77980" y="40923"/>
                  </a:lnTo>
                  <a:lnTo>
                    <a:pt x="78843" y="44158"/>
                  </a:lnTo>
                  <a:lnTo>
                    <a:pt x="81494" y="46785"/>
                  </a:lnTo>
                  <a:lnTo>
                    <a:pt x="81798" y="48935"/>
                  </a:lnTo>
                  <a:lnTo>
                    <a:pt x="78231" y="55496"/>
                  </a:lnTo>
                  <a:lnTo>
                    <a:pt x="77078" y="56383"/>
                  </a:lnTo>
                  <a:lnTo>
                    <a:pt x="75656" y="56156"/>
                  </a:lnTo>
                  <a:lnTo>
                    <a:pt x="70802" y="53071"/>
                  </a:lnTo>
                  <a:lnTo>
                    <a:pt x="68729" y="57227"/>
                  </a:lnTo>
                  <a:lnTo>
                    <a:pt x="67639" y="58152"/>
                  </a:lnTo>
                  <a:lnTo>
                    <a:pt x="61691" y="59955"/>
                  </a:lnTo>
                  <a:lnTo>
                    <a:pt x="60543" y="59907"/>
                  </a:lnTo>
                  <a:lnTo>
                    <a:pt x="54681" y="57776"/>
                  </a:lnTo>
                  <a:lnTo>
                    <a:pt x="49610" y="60100"/>
                  </a:lnTo>
                  <a:lnTo>
                    <a:pt x="48033" y="66381"/>
                  </a:lnTo>
                  <a:lnTo>
                    <a:pt x="47219" y="67476"/>
                  </a:lnTo>
                  <a:lnTo>
                    <a:pt x="42533" y="70296"/>
                  </a:lnTo>
                  <a:lnTo>
                    <a:pt x="44418" y="75435"/>
                  </a:lnTo>
                  <a:lnTo>
                    <a:pt x="43859" y="77469"/>
                  </a:lnTo>
                  <a:lnTo>
                    <a:pt x="41781" y="77594"/>
                  </a:lnTo>
                  <a:lnTo>
                    <a:pt x="36252" y="74277"/>
                  </a:lnTo>
                  <a:lnTo>
                    <a:pt x="33258" y="74277"/>
                  </a:lnTo>
                  <a:lnTo>
                    <a:pt x="35374" y="78177"/>
                  </a:lnTo>
                  <a:lnTo>
                    <a:pt x="35587" y="79016"/>
                  </a:lnTo>
                  <a:lnTo>
                    <a:pt x="35587" y="85558"/>
                  </a:lnTo>
                  <a:lnTo>
                    <a:pt x="34550" y="87221"/>
                  </a:lnTo>
                  <a:lnTo>
                    <a:pt x="27994" y="90215"/>
                  </a:lnTo>
                  <a:lnTo>
                    <a:pt x="27068" y="90374"/>
                  </a:lnTo>
                  <a:lnTo>
                    <a:pt x="20917" y="89810"/>
                  </a:lnTo>
                  <a:lnTo>
                    <a:pt x="15161" y="91733"/>
                  </a:lnTo>
                  <a:lnTo>
                    <a:pt x="14168" y="97214"/>
                  </a:lnTo>
                  <a:cubicBezTo>
                    <a:pt x="14028" y="97947"/>
                    <a:pt x="13426" y="98521"/>
                    <a:pt x="12707" y="98685"/>
                  </a:cubicBezTo>
                  <a:lnTo>
                    <a:pt x="6257" y="99842"/>
                  </a:lnTo>
                  <a:lnTo>
                    <a:pt x="849" y="101322"/>
                  </a:lnTo>
                  <a:lnTo>
                    <a:pt x="0" y="105959"/>
                  </a:lnTo>
                  <a:lnTo>
                    <a:pt x="4324" y="111874"/>
                  </a:lnTo>
                  <a:lnTo>
                    <a:pt x="4623" y="113407"/>
                  </a:lnTo>
                  <a:lnTo>
                    <a:pt x="2825" y="120537"/>
                  </a:lnTo>
                  <a:lnTo>
                    <a:pt x="2748" y="120754"/>
                  </a:lnTo>
                  <a:lnTo>
                    <a:pt x="689" y="125907"/>
                  </a:lnTo>
                  <a:lnTo>
                    <a:pt x="3866" y="131379"/>
                  </a:lnTo>
                  <a:lnTo>
                    <a:pt x="8210" y="131379"/>
                  </a:lnTo>
                  <a:lnTo>
                    <a:pt x="10687" y="125907"/>
                  </a:lnTo>
                  <a:cubicBezTo>
                    <a:pt x="11020" y="125194"/>
                    <a:pt x="11753" y="124750"/>
                    <a:pt x="12495" y="124837"/>
                  </a:cubicBezTo>
                  <a:cubicBezTo>
                    <a:pt x="13262" y="124905"/>
                    <a:pt x="13927" y="125406"/>
                    <a:pt x="14106" y="126158"/>
                  </a:cubicBezTo>
                  <a:lnTo>
                    <a:pt x="15908" y="132714"/>
                  </a:lnTo>
                  <a:lnTo>
                    <a:pt x="15219" y="134657"/>
                  </a:lnTo>
                  <a:lnTo>
                    <a:pt x="8682" y="139420"/>
                  </a:lnTo>
                  <a:lnTo>
                    <a:pt x="8470" y="139540"/>
                  </a:lnTo>
                  <a:lnTo>
                    <a:pt x="3635" y="142168"/>
                  </a:lnTo>
                  <a:lnTo>
                    <a:pt x="6681" y="146955"/>
                  </a:lnTo>
                  <a:lnTo>
                    <a:pt x="12495" y="153385"/>
                  </a:lnTo>
                  <a:lnTo>
                    <a:pt x="12838" y="155347"/>
                  </a:lnTo>
                  <a:lnTo>
                    <a:pt x="11845" y="157492"/>
                  </a:lnTo>
                  <a:lnTo>
                    <a:pt x="13980" y="156519"/>
                  </a:lnTo>
                  <a:lnTo>
                    <a:pt x="14366" y="156393"/>
                  </a:lnTo>
                  <a:lnTo>
                    <a:pt x="20271" y="155217"/>
                  </a:lnTo>
                  <a:lnTo>
                    <a:pt x="26745" y="153448"/>
                  </a:lnTo>
                  <a:lnTo>
                    <a:pt x="27401" y="153380"/>
                  </a:lnTo>
                  <a:lnTo>
                    <a:pt x="33943" y="153983"/>
                  </a:lnTo>
                  <a:lnTo>
                    <a:pt x="35519" y="155261"/>
                  </a:lnTo>
                  <a:lnTo>
                    <a:pt x="34945" y="157199"/>
                  </a:lnTo>
                  <a:lnTo>
                    <a:pt x="28380" y="162564"/>
                  </a:lnTo>
                  <a:lnTo>
                    <a:pt x="27401" y="162940"/>
                  </a:lnTo>
                  <a:lnTo>
                    <a:pt x="21505" y="163490"/>
                  </a:lnTo>
                  <a:lnTo>
                    <a:pt x="16366" y="168628"/>
                  </a:lnTo>
                  <a:lnTo>
                    <a:pt x="14858" y="174129"/>
                  </a:lnTo>
                  <a:lnTo>
                    <a:pt x="17022" y="179523"/>
                  </a:lnTo>
                  <a:lnTo>
                    <a:pt x="17167" y="180169"/>
                  </a:lnTo>
                  <a:lnTo>
                    <a:pt x="17167" y="186576"/>
                  </a:lnTo>
                  <a:lnTo>
                    <a:pt x="18001" y="187424"/>
                  </a:lnTo>
                  <a:lnTo>
                    <a:pt x="23429" y="188524"/>
                  </a:lnTo>
                  <a:lnTo>
                    <a:pt x="23703" y="188596"/>
                  </a:lnTo>
                  <a:lnTo>
                    <a:pt x="30245" y="190982"/>
                  </a:lnTo>
                  <a:lnTo>
                    <a:pt x="31431" y="192380"/>
                  </a:lnTo>
                  <a:lnTo>
                    <a:pt x="32564" y="199216"/>
                  </a:lnTo>
                  <a:lnTo>
                    <a:pt x="35837" y="205232"/>
                  </a:lnTo>
                  <a:lnTo>
                    <a:pt x="41892" y="210733"/>
                  </a:lnTo>
                  <a:lnTo>
                    <a:pt x="47715" y="212868"/>
                  </a:lnTo>
                  <a:lnTo>
                    <a:pt x="53838" y="212280"/>
                  </a:lnTo>
                  <a:lnTo>
                    <a:pt x="54956" y="212555"/>
                  </a:lnTo>
                  <a:lnTo>
                    <a:pt x="60881" y="216122"/>
                  </a:lnTo>
                  <a:lnTo>
                    <a:pt x="61122" y="216281"/>
                  </a:lnTo>
                  <a:lnTo>
                    <a:pt x="66048" y="220302"/>
                  </a:lnTo>
                  <a:lnTo>
                    <a:pt x="68497" y="216151"/>
                  </a:lnTo>
                  <a:lnTo>
                    <a:pt x="68796" y="215794"/>
                  </a:lnTo>
                  <a:lnTo>
                    <a:pt x="74229" y="210381"/>
                  </a:lnTo>
                  <a:lnTo>
                    <a:pt x="74229" y="204600"/>
                  </a:lnTo>
                  <a:lnTo>
                    <a:pt x="74547" y="203559"/>
                  </a:lnTo>
                  <a:lnTo>
                    <a:pt x="78693" y="197601"/>
                  </a:lnTo>
                  <a:lnTo>
                    <a:pt x="80332" y="196796"/>
                  </a:lnTo>
                  <a:lnTo>
                    <a:pt x="87486" y="197446"/>
                  </a:lnTo>
                  <a:lnTo>
                    <a:pt x="88393" y="197750"/>
                  </a:lnTo>
                  <a:lnTo>
                    <a:pt x="94327" y="201901"/>
                  </a:lnTo>
                  <a:lnTo>
                    <a:pt x="95031" y="202884"/>
                  </a:lnTo>
                  <a:lnTo>
                    <a:pt x="96824" y="208824"/>
                  </a:lnTo>
                  <a:lnTo>
                    <a:pt x="96612" y="210366"/>
                  </a:lnTo>
                  <a:lnTo>
                    <a:pt x="92775" y="216373"/>
                  </a:lnTo>
                  <a:lnTo>
                    <a:pt x="93305" y="222051"/>
                  </a:lnTo>
                  <a:lnTo>
                    <a:pt x="95590" y="228367"/>
                  </a:lnTo>
                  <a:lnTo>
                    <a:pt x="95706" y="228998"/>
                  </a:lnTo>
                  <a:lnTo>
                    <a:pt x="95706" y="235424"/>
                  </a:lnTo>
                  <a:lnTo>
                    <a:pt x="96294" y="241932"/>
                  </a:lnTo>
                  <a:lnTo>
                    <a:pt x="96192" y="242694"/>
                  </a:lnTo>
                  <a:lnTo>
                    <a:pt x="93854" y="249101"/>
                  </a:lnTo>
                  <a:lnTo>
                    <a:pt x="92731" y="255425"/>
                  </a:lnTo>
                  <a:lnTo>
                    <a:pt x="92129" y="261837"/>
                  </a:lnTo>
                  <a:lnTo>
                    <a:pt x="92129" y="267680"/>
                  </a:lnTo>
                  <a:lnTo>
                    <a:pt x="92129" y="267699"/>
                  </a:lnTo>
                  <a:lnTo>
                    <a:pt x="94809" y="267544"/>
                  </a:lnTo>
                  <a:lnTo>
                    <a:pt x="102922" y="25551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13" name="Freihandform: Form 612">
              <a:extLst>
                <a:ext uri="{FF2B5EF4-FFF2-40B4-BE49-F238E27FC236}">
                  <a16:creationId xmlns:a16="http://schemas.microsoft.com/office/drawing/2014/main" id="{21678320-31C5-33D5-EA0A-446BA60EC056}"/>
                </a:ext>
              </a:extLst>
            </p:cNvPr>
            <p:cNvSpPr/>
            <p:nvPr/>
          </p:nvSpPr>
          <p:spPr>
            <a:xfrm>
              <a:off x="6037306" y="688864"/>
              <a:ext cx="1006361" cy="1835219"/>
            </a:xfrm>
            <a:custGeom>
              <a:avLst/>
              <a:gdLst>
                <a:gd name="connsiteX0" fmla="*/ 657414 w 789029"/>
                <a:gd name="connsiteY0" fmla="*/ 1244452 h 1437771"/>
                <a:gd name="connsiteX1" fmla="*/ 664935 w 789029"/>
                <a:gd name="connsiteY1" fmla="*/ 1233205 h 1437771"/>
                <a:gd name="connsiteX2" fmla="*/ 666921 w 789029"/>
                <a:gd name="connsiteY2" fmla="*/ 1224812 h 1437771"/>
                <a:gd name="connsiteX3" fmla="*/ 677329 w 789029"/>
                <a:gd name="connsiteY3" fmla="*/ 1208672 h 1437771"/>
                <a:gd name="connsiteX4" fmla="*/ 682482 w 789029"/>
                <a:gd name="connsiteY4" fmla="*/ 1201557 h 1437771"/>
                <a:gd name="connsiteX5" fmla="*/ 685437 w 789029"/>
                <a:gd name="connsiteY5" fmla="*/ 1193680 h 1437771"/>
                <a:gd name="connsiteX6" fmla="*/ 693213 w 789029"/>
                <a:gd name="connsiteY6" fmla="*/ 1179083 h 1437771"/>
                <a:gd name="connsiteX7" fmla="*/ 709724 w 789029"/>
                <a:gd name="connsiteY7" fmla="*/ 1155196 h 1437771"/>
                <a:gd name="connsiteX8" fmla="*/ 714251 w 789029"/>
                <a:gd name="connsiteY8" fmla="*/ 1141394 h 1437771"/>
                <a:gd name="connsiteX9" fmla="*/ 718257 w 789029"/>
                <a:gd name="connsiteY9" fmla="*/ 1130259 h 1437771"/>
                <a:gd name="connsiteX10" fmla="*/ 722267 w 789029"/>
                <a:gd name="connsiteY10" fmla="*/ 1120858 h 1437771"/>
                <a:gd name="connsiteX11" fmla="*/ 728983 w 789029"/>
                <a:gd name="connsiteY11" fmla="*/ 1108050 h 1437771"/>
                <a:gd name="connsiteX12" fmla="*/ 732078 w 789029"/>
                <a:gd name="connsiteY12" fmla="*/ 1102260 h 1437771"/>
                <a:gd name="connsiteX13" fmla="*/ 732078 w 789029"/>
                <a:gd name="connsiteY13" fmla="*/ 1095154 h 1437771"/>
                <a:gd name="connsiteX14" fmla="*/ 739714 w 789029"/>
                <a:gd name="connsiteY14" fmla="*/ 1082240 h 1437771"/>
                <a:gd name="connsiteX15" fmla="*/ 761113 w 789029"/>
                <a:gd name="connsiteY15" fmla="*/ 1017006 h 1437771"/>
                <a:gd name="connsiteX16" fmla="*/ 769289 w 789029"/>
                <a:gd name="connsiteY16" fmla="*/ 998788 h 1437771"/>
                <a:gd name="connsiteX17" fmla="*/ 775459 w 789029"/>
                <a:gd name="connsiteY17" fmla="*/ 984466 h 1437771"/>
                <a:gd name="connsiteX18" fmla="*/ 781779 w 789029"/>
                <a:gd name="connsiteY18" fmla="*/ 970896 h 1437771"/>
                <a:gd name="connsiteX19" fmla="*/ 785689 w 789029"/>
                <a:gd name="connsiteY19" fmla="*/ 956838 h 1437771"/>
                <a:gd name="connsiteX20" fmla="*/ 786045 w 789029"/>
                <a:gd name="connsiteY20" fmla="*/ 941952 h 1437771"/>
                <a:gd name="connsiteX21" fmla="*/ 786455 w 789029"/>
                <a:gd name="connsiteY21" fmla="*/ 932532 h 1437771"/>
                <a:gd name="connsiteX22" fmla="*/ 789029 w 789029"/>
                <a:gd name="connsiteY22" fmla="*/ 901429 h 1437771"/>
                <a:gd name="connsiteX23" fmla="*/ 784633 w 789029"/>
                <a:gd name="connsiteY23" fmla="*/ 897920 h 1437771"/>
                <a:gd name="connsiteX24" fmla="*/ 780772 w 789029"/>
                <a:gd name="connsiteY24" fmla="*/ 892260 h 1437771"/>
                <a:gd name="connsiteX25" fmla="*/ 761653 w 789029"/>
                <a:gd name="connsiteY25" fmla="*/ 879847 h 1437771"/>
                <a:gd name="connsiteX26" fmla="*/ 735688 w 789029"/>
                <a:gd name="connsiteY26" fmla="*/ 860868 h 1437771"/>
                <a:gd name="connsiteX27" fmla="*/ 705607 w 789029"/>
                <a:gd name="connsiteY27" fmla="*/ 847572 h 1437771"/>
                <a:gd name="connsiteX28" fmla="*/ 692553 w 789029"/>
                <a:gd name="connsiteY28" fmla="*/ 839170 h 1437771"/>
                <a:gd name="connsiteX29" fmla="*/ 685963 w 789029"/>
                <a:gd name="connsiteY29" fmla="*/ 837381 h 1437771"/>
                <a:gd name="connsiteX30" fmla="*/ 662862 w 789029"/>
                <a:gd name="connsiteY30" fmla="*/ 819921 h 1437771"/>
                <a:gd name="connsiteX31" fmla="*/ 676548 w 789029"/>
                <a:gd name="connsiteY31" fmla="*/ 797721 h 1437771"/>
                <a:gd name="connsiteX32" fmla="*/ 684430 w 789029"/>
                <a:gd name="connsiteY32" fmla="*/ 774717 h 1437771"/>
                <a:gd name="connsiteX33" fmla="*/ 680395 w 789029"/>
                <a:gd name="connsiteY33" fmla="*/ 757545 h 1437771"/>
                <a:gd name="connsiteX34" fmla="*/ 675849 w 789029"/>
                <a:gd name="connsiteY34" fmla="*/ 745151 h 1437771"/>
                <a:gd name="connsiteX35" fmla="*/ 670088 w 789029"/>
                <a:gd name="connsiteY35" fmla="*/ 745532 h 1437771"/>
                <a:gd name="connsiteX36" fmla="*/ 663378 w 789029"/>
                <a:gd name="connsiteY36" fmla="*/ 739323 h 1437771"/>
                <a:gd name="connsiteX37" fmla="*/ 650723 w 789029"/>
                <a:gd name="connsiteY37" fmla="*/ 737525 h 1437771"/>
                <a:gd name="connsiteX38" fmla="*/ 644389 w 789029"/>
                <a:gd name="connsiteY38" fmla="*/ 734570 h 1437771"/>
                <a:gd name="connsiteX39" fmla="*/ 641400 w 789029"/>
                <a:gd name="connsiteY39" fmla="*/ 728621 h 1437771"/>
                <a:gd name="connsiteX40" fmla="*/ 640774 w 789029"/>
                <a:gd name="connsiteY40" fmla="*/ 724090 h 1437771"/>
                <a:gd name="connsiteX41" fmla="*/ 636256 w 789029"/>
                <a:gd name="connsiteY41" fmla="*/ 719341 h 1437771"/>
                <a:gd name="connsiteX42" fmla="*/ 631860 w 789029"/>
                <a:gd name="connsiteY42" fmla="*/ 712751 h 1437771"/>
                <a:gd name="connsiteX43" fmla="*/ 632906 w 789029"/>
                <a:gd name="connsiteY43" fmla="*/ 707444 h 1437771"/>
                <a:gd name="connsiteX44" fmla="*/ 638594 w 789029"/>
                <a:gd name="connsiteY44" fmla="*/ 701119 h 1437771"/>
                <a:gd name="connsiteX45" fmla="*/ 639101 w 789029"/>
                <a:gd name="connsiteY45" fmla="*/ 694009 h 1437771"/>
                <a:gd name="connsiteX46" fmla="*/ 637009 w 789029"/>
                <a:gd name="connsiteY46" fmla="*/ 691429 h 1437771"/>
                <a:gd name="connsiteX47" fmla="*/ 630452 w 789029"/>
                <a:gd name="connsiteY47" fmla="*/ 683032 h 1437771"/>
                <a:gd name="connsiteX48" fmla="*/ 613753 w 789029"/>
                <a:gd name="connsiteY48" fmla="*/ 685481 h 1437771"/>
                <a:gd name="connsiteX49" fmla="*/ 606677 w 789029"/>
                <a:gd name="connsiteY49" fmla="*/ 681099 h 1437771"/>
                <a:gd name="connsiteX50" fmla="*/ 600993 w 789029"/>
                <a:gd name="connsiteY50" fmla="*/ 674514 h 1437771"/>
                <a:gd name="connsiteX51" fmla="*/ 593878 w 789029"/>
                <a:gd name="connsiteY51" fmla="*/ 661975 h 1437771"/>
                <a:gd name="connsiteX52" fmla="*/ 592586 w 789029"/>
                <a:gd name="connsiteY52" fmla="*/ 654103 h 1437771"/>
                <a:gd name="connsiteX53" fmla="*/ 595845 w 789029"/>
                <a:gd name="connsiteY53" fmla="*/ 647653 h 1437771"/>
                <a:gd name="connsiteX54" fmla="*/ 602140 w 789029"/>
                <a:gd name="connsiteY54" fmla="*/ 643516 h 1437771"/>
                <a:gd name="connsiteX55" fmla="*/ 600993 w 789029"/>
                <a:gd name="connsiteY55" fmla="*/ 636647 h 1437771"/>
                <a:gd name="connsiteX56" fmla="*/ 600477 w 789029"/>
                <a:gd name="connsiteY56" fmla="*/ 630611 h 1437771"/>
                <a:gd name="connsiteX57" fmla="*/ 594678 w 789029"/>
                <a:gd name="connsiteY57" fmla="*/ 628529 h 1437771"/>
                <a:gd name="connsiteX58" fmla="*/ 586406 w 789029"/>
                <a:gd name="connsiteY58" fmla="*/ 630226 h 1437771"/>
                <a:gd name="connsiteX59" fmla="*/ 585625 w 789029"/>
                <a:gd name="connsiteY59" fmla="*/ 620792 h 1437771"/>
                <a:gd name="connsiteX60" fmla="*/ 582641 w 789029"/>
                <a:gd name="connsiteY60" fmla="*/ 594692 h 1437771"/>
                <a:gd name="connsiteX61" fmla="*/ 584978 w 789029"/>
                <a:gd name="connsiteY61" fmla="*/ 585128 h 1437771"/>
                <a:gd name="connsiteX62" fmla="*/ 582925 w 789029"/>
                <a:gd name="connsiteY62" fmla="*/ 579324 h 1437771"/>
                <a:gd name="connsiteX63" fmla="*/ 577072 w 789029"/>
                <a:gd name="connsiteY63" fmla="*/ 573746 h 1437771"/>
                <a:gd name="connsiteX64" fmla="*/ 582255 w 789029"/>
                <a:gd name="connsiteY64" fmla="*/ 570406 h 1437771"/>
                <a:gd name="connsiteX65" fmla="*/ 589881 w 789029"/>
                <a:gd name="connsiteY65" fmla="*/ 563285 h 1437771"/>
                <a:gd name="connsiteX66" fmla="*/ 595194 w 789029"/>
                <a:gd name="connsiteY66" fmla="*/ 561376 h 1437771"/>
                <a:gd name="connsiteX67" fmla="*/ 576186 w 789029"/>
                <a:gd name="connsiteY67" fmla="*/ 522488 h 1437771"/>
                <a:gd name="connsiteX68" fmla="*/ 560427 w 789029"/>
                <a:gd name="connsiteY68" fmla="*/ 500149 h 1437771"/>
                <a:gd name="connsiteX69" fmla="*/ 537307 w 789029"/>
                <a:gd name="connsiteY69" fmla="*/ 470950 h 1437771"/>
                <a:gd name="connsiteX70" fmla="*/ 528533 w 789029"/>
                <a:gd name="connsiteY70" fmla="*/ 457664 h 1437771"/>
                <a:gd name="connsiteX71" fmla="*/ 519243 w 789029"/>
                <a:gd name="connsiteY71" fmla="*/ 445525 h 1437771"/>
                <a:gd name="connsiteX72" fmla="*/ 504005 w 789029"/>
                <a:gd name="connsiteY72" fmla="*/ 429530 h 1437771"/>
                <a:gd name="connsiteX73" fmla="*/ 492378 w 789029"/>
                <a:gd name="connsiteY73" fmla="*/ 407567 h 1437771"/>
                <a:gd name="connsiteX74" fmla="*/ 499763 w 789029"/>
                <a:gd name="connsiteY74" fmla="*/ 374227 h 1437771"/>
                <a:gd name="connsiteX75" fmla="*/ 512909 w 789029"/>
                <a:gd name="connsiteY75" fmla="*/ 330334 h 1437771"/>
                <a:gd name="connsiteX76" fmla="*/ 512909 w 789029"/>
                <a:gd name="connsiteY76" fmla="*/ 296893 h 1437771"/>
                <a:gd name="connsiteX77" fmla="*/ 494547 w 789029"/>
                <a:gd name="connsiteY77" fmla="*/ 285511 h 1437771"/>
                <a:gd name="connsiteX78" fmla="*/ 465796 w 789029"/>
                <a:gd name="connsiteY78" fmla="*/ 254514 h 1437771"/>
                <a:gd name="connsiteX79" fmla="*/ 438010 w 789029"/>
                <a:gd name="connsiteY79" fmla="*/ 250123 h 1437771"/>
                <a:gd name="connsiteX80" fmla="*/ 407919 w 789029"/>
                <a:gd name="connsiteY80" fmla="*/ 212926 h 1437771"/>
                <a:gd name="connsiteX81" fmla="*/ 409312 w 789029"/>
                <a:gd name="connsiteY81" fmla="*/ 177812 h 1437771"/>
                <a:gd name="connsiteX82" fmla="*/ 404800 w 789029"/>
                <a:gd name="connsiteY82" fmla="*/ 154938 h 1437771"/>
                <a:gd name="connsiteX83" fmla="*/ 391644 w 789029"/>
                <a:gd name="connsiteY83" fmla="*/ 157550 h 1437771"/>
                <a:gd name="connsiteX84" fmla="*/ 409842 w 789029"/>
                <a:gd name="connsiteY84" fmla="*/ 136349 h 1437771"/>
                <a:gd name="connsiteX85" fmla="*/ 415126 w 789029"/>
                <a:gd name="connsiteY85" fmla="*/ 131523 h 1437771"/>
                <a:gd name="connsiteX86" fmla="*/ 402240 w 789029"/>
                <a:gd name="connsiteY86" fmla="*/ 122933 h 1437771"/>
                <a:gd name="connsiteX87" fmla="*/ 398880 w 789029"/>
                <a:gd name="connsiteY87" fmla="*/ 105627 h 1437771"/>
                <a:gd name="connsiteX88" fmla="*/ 407408 w 789029"/>
                <a:gd name="connsiteY88" fmla="*/ 87298 h 1437771"/>
                <a:gd name="connsiteX89" fmla="*/ 410122 w 789029"/>
                <a:gd name="connsiteY89" fmla="*/ 61339 h 1437771"/>
                <a:gd name="connsiteX90" fmla="*/ 397612 w 789029"/>
                <a:gd name="connsiteY90" fmla="*/ 43261 h 1437771"/>
                <a:gd name="connsiteX91" fmla="*/ 391393 w 789029"/>
                <a:gd name="connsiteY91" fmla="*/ 37963 h 1437771"/>
                <a:gd name="connsiteX92" fmla="*/ 358318 w 789029"/>
                <a:gd name="connsiteY92" fmla="*/ 32270 h 1437771"/>
                <a:gd name="connsiteX93" fmla="*/ 352524 w 789029"/>
                <a:gd name="connsiteY93" fmla="*/ 23732 h 1437771"/>
                <a:gd name="connsiteX94" fmla="*/ 341914 w 789029"/>
                <a:gd name="connsiteY94" fmla="*/ 21679 h 1437771"/>
                <a:gd name="connsiteX95" fmla="*/ 321512 w 789029"/>
                <a:gd name="connsiteY95" fmla="*/ 0 h 1437771"/>
                <a:gd name="connsiteX96" fmla="*/ 309249 w 789029"/>
                <a:gd name="connsiteY96" fmla="*/ 5655 h 1437771"/>
                <a:gd name="connsiteX97" fmla="*/ 308082 w 789029"/>
                <a:gd name="connsiteY97" fmla="*/ 12370 h 1437771"/>
                <a:gd name="connsiteX98" fmla="*/ 299573 w 789029"/>
                <a:gd name="connsiteY98" fmla="*/ 21158 h 1437771"/>
                <a:gd name="connsiteX99" fmla="*/ 298677 w 789029"/>
                <a:gd name="connsiteY99" fmla="*/ 26581 h 1437771"/>
                <a:gd name="connsiteX100" fmla="*/ 280435 w 789029"/>
                <a:gd name="connsiteY100" fmla="*/ 30597 h 1437771"/>
                <a:gd name="connsiteX101" fmla="*/ 273874 w 789029"/>
                <a:gd name="connsiteY101" fmla="*/ 34348 h 1437771"/>
                <a:gd name="connsiteX102" fmla="*/ 268200 w 789029"/>
                <a:gd name="connsiteY102" fmla="*/ 34608 h 1437771"/>
                <a:gd name="connsiteX103" fmla="*/ 263023 w 789029"/>
                <a:gd name="connsiteY103" fmla="*/ 36917 h 1437771"/>
                <a:gd name="connsiteX104" fmla="*/ 260439 w 789029"/>
                <a:gd name="connsiteY104" fmla="*/ 51750 h 1437771"/>
                <a:gd name="connsiteX105" fmla="*/ 256428 w 789029"/>
                <a:gd name="connsiteY105" fmla="*/ 58104 h 1437771"/>
                <a:gd name="connsiteX106" fmla="*/ 246888 w 789029"/>
                <a:gd name="connsiteY106" fmla="*/ 74384 h 1437771"/>
                <a:gd name="connsiteX107" fmla="*/ 247649 w 789029"/>
                <a:gd name="connsiteY107" fmla="*/ 86223 h 1437771"/>
                <a:gd name="connsiteX108" fmla="*/ 246888 w 789029"/>
                <a:gd name="connsiteY108" fmla="*/ 100198 h 1437771"/>
                <a:gd name="connsiteX109" fmla="*/ 245736 w 789029"/>
                <a:gd name="connsiteY109" fmla="*/ 114391 h 1437771"/>
                <a:gd name="connsiteX110" fmla="*/ 248440 w 789029"/>
                <a:gd name="connsiteY110" fmla="*/ 119033 h 1437771"/>
                <a:gd name="connsiteX111" fmla="*/ 247143 w 789029"/>
                <a:gd name="connsiteY111" fmla="*/ 132748 h 1437771"/>
                <a:gd name="connsiteX112" fmla="*/ 247399 w 789029"/>
                <a:gd name="connsiteY112" fmla="*/ 147065 h 1437771"/>
                <a:gd name="connsiteX113" fmla="*/ 250744 w 789029"/>
                <a:gd name="connsiteY113" fmla="*/ 153414 h 1437771"/>
                <a:gd name="connsiteX114" fmla="*/ 253844 w 789029"/>
                <a:gd name="connsiteY114" fmla="*/ 164767 h 1437771"/>
                <a:gd name="connsiteX115" fmla="*/ 257069 w 789029"/>
                <a:gd name="connsiteY115" fmla="*/ 172398 h 1437771"/>
                <a:gd name="connsiteX116" fmla="*/ 254095 w 789029"/>
                <a:gd name="connsiteY116" fmla="*/ 184542 h 1437771"/>
                <a:gd name="connsiteX117" fmla="*/ 253208 w 789029"/>
                <a:gd name="connsiteY117" fmla="*/ 189820 h 1437771"/>
                <a:gd name="connsiteX118" fmla="*/ 246194 w 789029"/>
                <a:gd name="connsiteY118" fmla="*/ 190505 h 1437771"/>
                <a:gd name="connsiteX119" fmla="*/ 234354 w 789029"/>
                <a:gd name="connsiteY119" fmla="*/ 226352 h 1437771"/>
                <a:gd name="connsiteX120" fmla="*/ 229075 w 789029"/>
                <a:gd name="connsiteY120" fmla="*/ 234127 h 1437771"/>
                <a:gd name="connsiteX121" fmla="*/ 226462 w 789029"/>
                <a:gd name="connsiteY121" fmla="*/ 240963 h 1437771"/>
                <a:gd name="connsiteX122" fmla="*/ 222210 w 789029"/>
                <a:gd name="connsiteY122" fmla="*/ 241865 h 1437771"/>
                <a:gd name="connsiteX123" fmla="*/ 199100 w 789029"/>
                <a:gd name="connsiteY123" fmla="*/ 228825 h 1437771"/>
                <a:gd name="connsiteX124" fmla="*/ 182565 w 789029"/>
                <a:gd name="connsiteY124" fmla="*/ 221608 h 1437771"/>
                <a:gd name="connsiteX125" fmla="*/ 167736 w 789029"/>
                <a:gd name="connsiteY125" fmla="*/ 217197 h 1437771"/>
                <a:gd name="connsiteX126" fmla="*/ 162670 w 789029"/>
                <a:gd name="connsiteY126" fmla="*/ 223262 h 1437771"/>
                <a:gd name="connsiteX127" fmla="*/ 163697 w 789029"/>
                <a:gd name="connsiteY127" fmla="*/ 229201 h 1437771"/>
                <a:gd name="connsiteX128" fmla="*/ 160467 w 789029"/>
                <a:gd name="connsiteY128" fmla="*/ 236060 h 1437771"/>
                <a:gd name="connsiteX129" fmla="*/ 151168 w 789029"/>
                <a:gd name="connsiteY129" fmla="*/ 239016 h 1437771"/>
                <a:gd name="connsiteX130" fmla="*/ 137732 w 789029"/>
                <a:gd name="connsiteY130" fmla="*/ 251815 h 1437771"/>
                <a:gd name="connsiteX131" fmla="*/ 126375 w 789029"/>
                <a:gd name="connsiteY131" fmla="*/ 245230 h 1437771"/>
                <a:gd name="connsiteX132" fmla="*/ 119925 w 789029"/>
                <a:gd name="connsiteY132" fmla="*/ 247418 h 1437771"/>
                <a:gd name="connsiteX133" fmla="*/ 105597 w 789029"/>
                <a:gd name="connsiteY133" fmla="*/ 241725 h 1437771"/>
                <a:gd name="connsiteX134" fmla="*/ 96833 w 789029"/>
                <a:gd name="connsiteY134" fmla="*/ 245851 h 1437771"/>
                <a:gd name="connsiteX135" fmla="*/ 86609 w 789029"/>
                <a:gd name="connsiteY135" fmla="*/ 226347 h 1437771"/>
                <a:gd name="connsiteX136" fmla="*/ 81942 w 789029"/>
                <a:gd name="connsiteY136" fmla="*/ 221603 h 1437771"/>
                <a:gd name="connsiteX137" fmla="*/ 78096 w 789029"/>
                <a:gd name="connsiteY137" fmla="*/ 214237 h 1437771"/>
                <a:gd name="connsiteX138" fmla="*/ 70074 w 789029"/>
                <a:gd name="connsiteY138" fmla="*/ 207001 h 1437771"/>
                <a:gd name="connsiteX139" fmla="*/ 45671 w 789029"/>
                <a:gd name="connsiteY139" fmla="*/ 175107 h 1437771"/>
                <a:gd name="connsiteX140" fmla="*/ 28495 w 789029"/>
                <a:gd name="connsiteY140" fmla="*/ 174061 h 1437771"/>
                <a:gd name="connsiteX141" fmla="*/ 18550 w 789029"/>
                <a:gd name="connsiteY141" fmla="*/ 183741 h 1437771"/>
                <a:gd name="connsiteX142" fmla="*/ 17528 w 789029"/>
                <a:gd name="connsiteY142" fmla="*/ 191623 h 1437771"/>
                <a:gd name="connsiteX143" fmla="*/ 24489 w 789029"/>
                <a:gd name="connsiteY143" fmla="*/ 203627 h 1437771"/>
                <a:gd name="connsiteX144" fmla="*/ 17779 w 789029"/>
                <a:gd name="connsiteY144" fmla="*/ 211248 h 1437771"/>
                <a:gd name="connsiteX145" fmla="*/ 4088 w 789029"/>
                <a:gd name="connsiteY145" fmla="*/ 204808 h 1437771"/>
                <a:gd name="connsiteX146" fmla="*/ 0 w 789029"/>
                <a:gd name="connsiteY146" fmla="*/ 215462 h 1437771"/>
                <a:gd name="connsiteX147" fmla="*/ 15855 w 789029"/>
                <a:gd name="connsiteY147" fmla="*/ 227311 h 1437771"/>
                <a:gd name="connsiteX148" fmla="*/ 29966 w 789029"/>
                <a:gd name="connsiteY148" fmla="*/ 238500 h 1437771"/>
                <a:gd name="connsiteX149" fmla="*/ 46674 w 789029"/>
                <a:gd name="connsiteY149" fmla="*/ 251752 h 1437771"/>
                <a:gd name="connsiteX150" fmla="*/ 50290 w 789029"/>
                <a:gd name="connsiteY150" fmla="*/ 256934 h 1437771"/>
                <a:gd name="connsiteX151" fmla="*/ 65875 w 789029"/>
                <a:gd name="connsiteY151" fmla="*/ 269029 h 1437771"/>
                <a:gd name="connsiteX152" fmla="*/ 79903 w 789029"/>
                <a:gd name="connsiteY152" fmla="*/ 275523 h 1437771"/>
                <a:gd name="connsiteX153" fmla="*/ 89877 w 789029"/>
                <a:gd name="connsiteY153" fmla="*/ 282739 h 1437771"/>
                <a:gd name="connsiteX154" fmla="*/ 96776 w 789029"/>
                <a:gd name="connsiteY154" fmla="*/ 279823 h 1437771"/>
                <a:gd name="connsiteX155" fmla="*/ 101085 w 789029"/>
                <a:gd name="connsiteY155" fmla="*/ 284306 h 1437771"/>
                <a:gd name="connsiteX156" fmla="*/ 124837 w 789029"/>
                <a:gd name="connsiteY156" fmla="*/ 288765 h 1437771"/>
                <a:gd name="connsiteX157" fmla="*/ 146014 w 789029"/>
                <a:gd name="connsiteY157" fmla="*/ 307715 h 1437771"/>
                <a:gd name="connsiteX158" fmla="*/ 153250 w 789029"/>
                <a:gd name="connsiteY158" fmla="*/ 317535 h 1437771"/>
                <a:gd name="connsiteX159" fmla="*/ 158929 w 789029"/>
                <a:gd name="connsiteY159" fmla="*/ 318577 h 1437771"/>
                <a:gd name="connsiteX160" fmla="*/ 178043 w 789029"/>
                <a:gd name="connsiteY160" fmla="*/ 338891 h 1437771"/>
                <a:gd name="connsiteX161" fmla="*/ 178925 w 789029"/>
                <a:gd name="connsiteY161" fmla="*/ 344551 h 1437771"/>
                <a:gd name="connsiteX162" fmla="*/ 175136 w 789029"/>
                <a:gd name="connsiteY162" fmla="*/ 364706 h 1437771"/>
                <a:gd name="connsiteX163" fmla="*/ 183042 w 789029"/>
                <a:gd name="connsiteY163" fmla="*/ 388149 h 1437771"/>
                <a:gd name="connsiteX164" fmla="*/ 180102 w 789029"/>
                <a:gd name="connsiteY164" fmla="*/ 394175 h 1437771"/>
                <a:gd name="connsiteX165" fmla="*/ 180145 w 789029"/>
                <a:gd name="connsiteY165" fmla="*/ 407707 h 1437771"/>
                <a:gd name="connsiteX166" fmla="*/ 202851 w 789029"/>
                <a:gd name="connsiteY166" fmla="*/ 418254 h 1437771"/>
                <a:gd name="connsiteX167" fmla="*/ 200088 w 789029"/>
                <a:gd name="connsiteY167" fmla="*/ 431714 h 1437771"/>
                <a:gd name="connsiteX168" fmla="*/ 195268 w 789029"/>
                <a:gd name="connsiteY168" fmla="*/ 437740 h 1437771"/>
                <a:gd name="connsiteX169" fmla="*/ 196309 w 789029"/>
                <a:gd name="connsiteY169" fmla="*/ 446677 h 1437771"/>
                <a:gd name="connsiteX170" fmla="*/ 228169 w 789029"/>
                <a:gd name="connsiteY170" fmla="*/ 490604 h 1437771"/>
                <a:gd name="connsiteX171" fmla="*/ 225749 w 789029"/>
                <a:gd name="connsiteY171" fmla="*/ 497666 h 1437771"/>
                <a:gd name="connsiteX172" fmla="*/ 226607 w 789029"/>
                <a:gd name="connsiteY172" fmla="*/ 505914 h 1437771"/>
                <a:gd name="connsiteX173" fmla="*/ 226270 w 789029"/>
                <a:gd name="connsiteY173" fmla="*/ 511603 h 1437771"/>
                <a:gd name="connsiteX174" fmla="*/ 219386 w 789029"/>
                <a:gd name="connsiteY174" fmla="*/ 545029 h 1437771"/>
                <a:gd name="connsiteX175" fmla="*/ 223170 w 789029"/>
                <a:gd name="connsiteY175" fmla="*/ 555698 h 1437771"/>
                <a:gd name="connsiteX176" fmla="*/ 244010 w 789029"/>
                <a:gd name="connsiteY176" fmla="*/ 583070 h 1437771"/>
                <a:gd name="connsiteX177" fmla="*/ 246247 w 789029"/>
                <a:gd name="connsiteY177" fmla="*/ 591014 h 1437771"/>
                <a:gd name="connsiteX178" fmla="*/ 264228 w 789029"/>
                <a:gd name="connsiteY178" fmla="*/ 623906 h 1437771"/>
                <a:gd name="connsiteX179" fmla="*/ 264753 w 789029"/>
                <a:gd name="connsiteY179" fmla="*/ 623771 h 1437771"/>
                <a:gd name="connsiteX180" fmla="*/ 265785 w 789029"/>
                <a:gd name="connsiteY180" fmla="*/ 623882 h 1437771"/>
                <a:gd name="connsiteX181" fmla="*/ 266026 w 789029"/>
                <a:gd name="connsiteY181" fmla="*/ 623380 h 1437771"/>
                <a:gd name="connsiteX182" fmla="*/ 267781 w 789029"/>
                <a:gd name="connsiteY182" fmla="*/ 623279 h 1437771"/>
                <a:gd name="connsiteX183" fmla="*/ 274173 w 789029"/>
                <a:gd name="connsiteY183" fmla="*/ 626200 h 1437771"/>
                <a:gd name="connsiteX184" fmla="*/ 279982 w 789029"/>
                <a:gd name="connsiteY184" fmla="*/ 627758 h 1437771"/>
                <a:gd name="connsiteX185" fmla="*/ 285328 w 789029"/>
                <a:gd name="connsiteY185" fmla="*/ 625328 h 1437771"/>
                <a:gd name="connsiteX186" fmla="*/ 286220 w 789029"/>
                <a:gd name="connsiteY186" fmla="*/ 623520 h 1437771"/>
                <a:gd name="connsiteX187" fmla="*/ 288095 w 789029"/>
                <a:gd name="connsiteY187" fmla="*/ 622532 h 1437771"/>
                <a:gd name="connsiteX188" fmla="*/ 289619 w 789029"/>
                <a:gd name="connsiteY188" fmla="*/ 623964 h 1437771"/>
                <a:gd name="connsiteX189" fmla="*/ 290211 w 789029"/>
                <a:gd name="connsiteY189" fmla="*/ 626933 h 1437771"/>
                <a:gd name="connsiteX190" fmla="*/ 290279 w 789029"/>
                <a:gd name="connsiteY190" fmla="*/ 627319 h 1437771"/>
                <a:gd name="connsiteX191" fmla="*/ 290279 w 789029"/>
                <a:gd name="connsiteY191" fmla="*/ 629131 h 1437771"/>
                <a:gd name="connsiteX192" fmla="*/ 293890 w 789029"/>
                <a:gd name="connsiteY192" fmla="*/ 634294 h 1437771"/>
                <a:gd name="connsiteX193" fmla="*/ 298320 w 789029"/>
                <a:gd name="connsiteY193" fmla="*/ 637090 h 1437771"/>
                <a:gd name="connsiteX194" fmla="*/ 299163 w 789029"/>
                <a:gd name="connsiteY194" fmla="*/ 638421 h 1437771"/>
                <a:gd name="connsiteX195" fmla="*/ 299520 w 789029"/>
                <a:gd name="connsiteY195" fmla="*/ 641844 h 1437771"/>
                <a:gd name="connsiteX196" fmla="*/ 303763 w 789029"/>
                <a:gd name="connsiteY196" fmla="*/ 639925 h 1437771"/>
                <a:gd name="connsiteX197" fmla="*/ 303849 w 789029"/>
                <a:gd name="connsiteY197" fmla="*/ 639901 h 1437771"/>
                <a:gd name="connsiteX198" fmla="*/ 309793 w 789029"/>
                <a:gd name="connsiteY198" fmla="*/ 637524 h 1437771"/>
                <a:gd name="connsiteX199" fmla="*/ 311408 w 789029"/>
                <a:gd name="connsiteY199" fmla="*/ 637645 h 1437771"/>
                <a:gd name="connsiteX200" fmla="*/ 316933 w 789029"/>
                <a:gd name="connsiteY200" fmla="*/ 640961 h 1437771"/>
                <a:gd name="connsiteX201" fmla="*/ 317010 w 789029"/>
                <a:gd name="connsiteY201" fmla="*/ 640961 h 1437771"/>
                <a:gd name="connsiteX202" fmla="*/ 318085 w 789029"/>
                <a:gd name="connsiteY202" fmla="*/ 641289 h 1437771"/>
                <a:gd name="connsiteX203" fmla="*/ 324641 w 789029"/>
                <a:gd name="connsiteY203" fmla="*/ 646076 h 1437771"/>
                <a:gd name="connsiteX204" fmla="*/ 325321 w 789029"/>
                <a:gd name="connsiteY204" fmla="*/ 647084 h 1437771"/>
                <a:gd name="connsiteX205" fmla="*/ 325581 w 789029"/>
                <a:gd name="connsiteY205" fmla="*/ 648096 h 1437771"/>
                <a:gd name="connsiteX206" fmla="*/ 330108 w 789029"/>
                <a:gd name="connsiteY206" fmla="*/ 648096 h 1437771"/>
                <a:gd name="connsiteX207" fmla="*/ 331192 w 789029"/>
                <a:gd name="connsiteY207" fmla="*/ 648453 h 1437771"/>
                <a:gd name="connsiteX208" fmla="*/ 337729 w 789029"/>
                <a:gd name="connsiteY208" fmla="*/ 653216 h 1437771"/>
                <a:gd name="connsiteX209" fmla="*/ 338086 w 789029"/>
                <a:gd name="connsiteY209" fmla="*/ 653510 h 1437771"/>
                <a:gd name="connsiteX210" fmla="*/ 343418 w 789029"/>
                <a:gd name="connsiteY210" fmla="*/ 660051 h 1437771"/>
                <a:gd name="connsiteX211" fmla="*/ 343832 w 789029"/>
                <a:gd name="connsiteY211" fmla="*/ 661382 h 1437771"/>
                <a:gd name="connsiteX212" fmla="*/ 343210 w 789029"/>
                <a:gd name="connsiteY212" fmla="*/ 667345 h 1437771"/>
                <a:gd name="connsiteX213" fmla="*/ 343210 w 789029"/>
                <a:gd name="connsiteY213" fmla="*/ 667485 h 1437771"/>
                <a:gd name="connsiteX214" fmla="*/ 342048 w 789029"/>
                <a:gd name="connsiteY214" fmla="*/ 673791 h 1437771"/>
                <a:gd name="connsiteX215" fmla="*/ 342613 w 789029"/>
                <a:gd name="connsiteY215" fmla="*/ 679358 h 1437771"/>
                <a:gd name="connsiteX216" fmla="*/ 344338 w 789029"/>
                <a:gd name="connsiteY216" fmla="*/ 686252 h 1437771"/>
                <a:gd name="connsiteX217" fmla="*/ 346672 w 789029"/>
                <a:gd name="connsiteY217" fmla="*/ 692080 h 1437771"/>
                <a:gd name="connsiteX218" fmla="*/ 346729 w 789029"/>
                <a:gd name="connsiteY218" fmla="*/ 693271 h 1437771"/>
                <a:gd name="connsiteX219" fmla="*/ 344618 w 789029"/>
                <a:gd name="connsiteY219" fmla="*/ 700627 h 1437771"/>
                <a:gd name="connsiteX220" fmla="*/ 349222 w 789029"/>
                <a:gd name="connsiteY220" fmla="*/ 705718 h 1437771"/>
                <a:gd name="connsiteX221" fmla="*/ 356255 w 789029"/>
                <a:gd name="connsiteY221" fmla="*/ 711599 h 1437771"/>
                <a:gd name="connsiteX222" fmla="*/ 356366 w 789029"/>
                <a:gd name="connsiteY222" fmla="*/ 711705 h 1437771"/>
                <a:gd name="connsiteX223" fmla="*/ 362324 w 789029"/>
                <a:gd name="connsiteY223" fmla="*/ 717640 h 1437771"/>
                <a:gd name="connsiteX224" fmla="*/ 362324 w 789029"/>
                <a:gd name="connsiteY224" fmla="*/ 720233 h 1437771"/>
                <a:gd name="connsiteX225" fmla="*/ 361211 w 789029"/>
                <a:gd name="connsiteY225" fmla="*/ 721337 h 1437771"/>
                <a:gd name="connsiteX226" fmla="*/ 362247 w 789029"/>
                <a:gd name="connsiteY226" fmla="*/ 726939 h 1437771"/>
                <a:gd name="connsiteX227" fmla="*/ 361490 w 789029"/>
                <a:gd name="connsiteY227" fmla="*/ 728751 h 1437771"/>
                <a:gd name="connsiteX228" fmla="*/ 359504 w 789029"/>
                <a:gd name="connsiteY228" fmla="*/ 728833 h 1437771"/>
                <a:gd name="connsiteX229" fmla="*/ 354139 w 789029"/>
                <a:gd name="connsiteY229" fmla="*/ 725632 h 1437771"/>
                <a:gd name="connsiteX230" fmla="*/ 350986 w 789029"/>
                <a:gd name="connsiteY230" fmla="*/ 726196 h 1437771"/>
                <a:gd name="connsiteX231" fmla="*/ 354004 w 789029"/>
                <a:gd name="connsiteY231" fmla="*/ 730660 h 1437771"/>
                <a:gd name="connsiteX232" fmla="*/ 361953 w 789029"/>
                <a:gd name="connsiteY232" fmla="*/ 735206 h 1437771"/>
                <a:gd name="connsiteX233" fmla="*/ 362860 w 789029"/>
                <a:gd name="connsiteY233" fmla="*/ 736614 h 1437771"/>
                <a:gd name="connsiteX234" fmla="*/ 363443 w 789029"/>
                <a:gd name="connsiteY234" fmla="*/ 743170 h 1437771"/>
                <a:gd name="connsiteX235" fmla="*/ 361997 w 789029"/>
                <a:gd name="connsiteY235" fmla="*/ 745123 h 1437771"/>
                <a:gd name="connsiteX236" fmla="*/ 356038 w 789029"/>
                <a:gd name="connsiteY236" fmla="*/ 746289 h 1437771"/>
                <a:gd name="connsiteX237" fmla="*/ 354346 w 789029"/>
                <a:gd name="connsiteY237" fmla="*/ 745716 h 1437771"/>
                <a:gd name="connsiteX238" fmla="*/ 348663 w 789029"/>
                <a:gd name="connsiteY238" fmla="*/ 739526 h 1437771"/>
                <a:gd name="connsiteX239" fmla="*/ 344035 w 789029"/>
                <a:gd name="connsiteY239" fmla="*/ 737660 h 1437771"/>
                <a:gd name="connsiteX240" fmla="*/ 319960 w 789029"/>
                <a:gd name="connsiteY240" fmla="*/ 759970 h 1437771"/>
                <a:gd name="connsiteX241" fmla="*/ 319435 w 789029"/>
                <a:gd name="connsiteY241" fmla="*/ 766676 h 1437771"/>
                <a:gd name="connsiteX242" fmla="*/ 319078 w 789029"/>
                <a:gd name="connsiteY242" fmla="*/ 767587 h 1437771"/>
                <a:gd name="connsiteX243" fmla="*/ 314002 w 789029"/>
                <a:gd name="connsiteY243" fmla="*/ 774943 h 1437771"/>
                <a:gd name="connsiteX244" fmla="*/ 313471 w 789029"/>
                <a:gd name="connsiteY244" fmla="*/ 780241 h 1437771"/>
                <a:gd name="connsiteX245" fmla="*/ 314040 w 789029"/>
                <a:gd name="connsiteY245" fmla="*/ 786007 h 1437771"/>
                <a:gd name="connsiteX246" fmla="*/ 314040 w 789029"/>
                <a:gd name="connsiteY246" fmla="*/ 786065 h 1437771"/>
                <a:gd name="connsiteX247" fmla="*/ 314662 w 789029"/>
                <a:gd name="connsiteY247" fmla="*/ 794395 h 1437771"/>
                <a:gd name="connsiteX248" fmla="*/ 314002 w 789029"/>
                <a:gd name="connsiteY248" fmla="*/ 795938 h 1437771"/>
                <a:gd name="connsiteX249" fmla="*/ 308005 w 789029"/>
                <a:gd name="connsiteY249" fmla="*/ 800806 h 1437771"/>
                <a:gd name="connsiteX250" fmla="*/ 307504 w 789029"/>
                <a:gd name="connsiteY250" fmla="*/ 806003 h 1437771"/>
                <a:gd name="connsiteX251" fmla="*/ 306732 w 789029"/>
                <a:gd name="connsiteY251" fmla="*/ 807310 h 1437771"/>
                <a:gd name="connsiteX252" fmla="*/ 305373 w 789029"/>
                <a:gd name="connsiteY252" fmla="*/ 808221 h 1437771"/>
                <a:gd name="connsiteX253" fmla="*/ 302615 w 789029"/>
                <a:gd name="connsiteY253" fmla="*/ 814869 h 1437771"/>
                <a:gd name="connsiteX254" fmla="*/ 302292 w 789029"/>
                <a:gd name="connsiteY254" fmla="*/ 815351 h 1437771"/>
                <a:gd name="connsiteX255" fmla="*/ 297433 w 789029"/>
                <a:gd name="connsiteY255" fmla="*/ 820798 h 1437771"/>
                <a:gd name="connsiteX256" fmla="*/ 297433 w 789029"/>
                <a:gd name="connsiteY256" fmla="*/ 826650 h 1437771"/>
                <a:gd name="connsiteX257" fmla="*/ 297332 w 789029"/>
                <a:gd name="connsiteY257" fmla="*/ 827166 h 1437771"/>
                <a:gd name="connsiteX258" fmla="*/ 295722 w 789029"/>
                <a:gd name="connsiteY258" fmla="*/ 832445 h 1437771"/>
                <a:gd name="connsiteX259" fmla="*/ 298426 w 789029"/>
                <a:gd name="connsiteY259" fmla="*/ 838379 h 1437771"/>
                <a:gd name="connsiteX260" fmla="*/ 298320 w 789029"/>
                <a:gd name="connsiteY260" fmla="*/ 840052 h 1437771"/>
                <a:gd name="connsiteX261" fmla="*/ 296936 w 789029"/>
                <a:gd name="connsiteY261" fmla="*/ 840953 h 1437771"/>
                <a:gd name="connsiteX262" fmla="*/ 291108 w 789029"/>
                <a:gd name="connsiteY262" fmla="*/ 841474 h 1437771"/>
                <a:gd name="connsiteX263" fmla="*/ 286687 w 789029"/>
                <a:gd name="connsiteY263" fmla="*/ 846386 h 1437771"/>
                <a:gd name="connsiteX264" fmla="*/ 286687 w 789029"/>
                <a:gd name="connsiteY264" fmla="*/ 852244 h 1437771"/>
                <a:gd name="connsiteX265" fmla="*/ 286350 w 789029"/>
                <a:gd name="connsiteY265" fmla="*/ 853290 h 1437771"/>
                <a:gd name="connsiteX266" fmla="*/ 283400 w 789029"/>
                <a:gd name="connsiteY266" fmla="*/ 857479 h 1437771"/>
                <a:gd name="connsiteX267" fmla="*/ 283318 w 789029"/>
                <a:gd name="connsiteY267" fmla="*/ 857527 h 1437771"/>
                <a:gd name="connsiteX268" fmla="*/ 279423 w 789029"/>
                <a:gd name="connsiteY268" fmla="*/ 862420 h 1437771"/>
                <a:gd name="connsiteX269" fmla="*/ 282792 w 789029"/>
                <a:gd name="connsiteY269" fmla="*/ 867255 h 1437771"/>
                <a:gd name="connsiteX270" fmla="*/ 283048 w 789029"/>
                <a:gd name="connsiteY270" fmla="*/ 868793 h 1437771"/>
                <a:gd name="connsiteX271" fmla="*/ 281867 w 789029"/>
                <a:gd name="connsiteY271" fmla="*/ 872973 h 1437771"/>
                <a:gd name="connsiteX272" fmla="*/ 280131 w 789029"/>
                <a:gd name="connsiteY272" fmla="*/ 874289 h 1437771"/>
                <a:gd name="connsiteX273" fmla="*/ 273667 w 789029"/>
                <a:gd name="connsiteY273" fmla="*/ 874289 h 1437771"/>
                <a:gd name="connsiteX274" fmla="*/ 269950 w 789029"/>
                <a:gd name="connsiteY274" fmla="*/ 874650 h 1437771"/>
                <a:gd name="connsiteX275" fmla="*/ 271150 w 789029"/>
                <a:gd name="connsiteY275" fmla="*/ 879109 h 1437771"/>
                <a:gd name="connsiteX276" fmla="*/ 272929 w 789029"/>
                <a:gd name="connsiteY276" fmla="*/ 885044 h 1437771"/>
                <a:gd name="connsiteX277" fmla="*/ 273006 w 789029"/>
                <a:gd name="connsiteY277" fmla="*/ 885723 h 1437771"/>
                <a:gd name="connsiteX278" fmla="*/ 272399 w 789029"/>
                <a:gd name="connsiteY278" fmla="*/ 892284 h 1437771"/>
                <a:gd name="connsiteX279" fmla="*/ 270746 w 789029"/>
                <a:gd name="connsiteY279" fmla="*/ 893904 h 1437771"/>
                <a:gd name="connsiteX280" fmla="*/ 264937 w 789029"/>
                <a:gd name="connsiteY280" fmla="*/ 894483 h 1437771"/>
                <a:gd name="connsiteX281" fmla="*/ 260048 w 789029"/>
                <a:gd name="connsiteY281" fmla="*/ 899858 h 1437771"/>
                <a:gd name="connsiteX282" fmla="*/ 257879 w 789029"/>
                <a:gd name="connsiteY282" fmla="*/ 900282 h 1437771"/>
                <a:gd name="connsiteX283" fmla="*/ 255252 w 789029"/>
                <a:gd name="connsiteY283" fmla="*/ 898985 h 1437771"/>
                <a:gd name="connsiteX284" fmla="*/ 254562 w 789029"/>
                <a:gd name="connsiteY284" fmla="*/ 902408 h 1437771"/>
                <a:gd name="connsiteX285" fmla="*/ 254562 w 789029"/>
                <a:gd name="connsiteY285" fmla="*/ 908173 h 1437771"/>
                <a:gd name="connsiteX286" fmla="*/ 254394 w 789029"/>
                <a:gd name="connsiteY286" fmla="*/ 908945 h 1437771"/>
                <a:gd name="connsiteX287" fmla="*/ 251482 w 789029"/>
                <a:gd name="connsiteY287" fmla="*/ 915342 h 1437771"/>
                <a:gd name="connsiteX288" fmla="*/ 249780 w 789029"/>
                <a:gd name="connsiteY288" fmla="*/ 921604 h 1437771"/>
                <a:gd name="connsiteX289" fmla="*/ 249211 w 789029"/>
                <a:gd name="connsiteY289" fmla="*/ 927287 h 1437771"/>
                <a:gd name="connsiteX290" fmla="*/ 249211 w 789029"/>
                <a:gd name="connsiteY290" fmla="*/ 933752 h 1437771"/>
                <a:gd name="connsiteX291" fmla="*/ 248667 w 789029"/>
                <a:gd name="connsiteY291" fmla="*/ 935058 h 1437771"/>
                <a:gd name="connsiteX292" fmla="*/ 247399 w 789029"/>
                <a:gd name="connsiteY292" fmla="*/ 935579 h 1437771"/>
                <a:gd name="connsiteX293" fmla="*/ 245601 w 789029"/>
                <a:gd name="connsiteY293" fmla="*/ 935579 h 1437771"/>
                <a:gd name="connsiteX294" fmla="*/ 244627 w 789029"/>
                <a:gd name="connsiteY294" fmla="*/ 935300 h 1437771"/>
                <a:gd name="connsiteX295" fmla="*/ 238543 w 789029"/>
                <a:gd name="connsiteY295" fmla="*/ 931419 h 1437771"/>
                <a:gd name="connsiteX296" fmla="*/ 234103 w 789029"/>
                <a:gd name="connsiteY296" fmla="*/ 931419 h 1437771"/>
                <a:gd name="connsiteX297" fmla="*/ 230652 w 789029"/>
                <a:gd name="connsiteY297" fmla="*/ 936837 h 1437771"/>
                <a:gd name="connsiteX298" fmla="*/ 229591 w 789029"/>
                <a:gd name="connsiteY298" fmla="*/ 942203 h 1437771"/>
                <a:gd name="connsiteX299" fmla="*/ 230150 w 789029"/>
                <a:gd name="connsiteY299" fmla="*/ 948455 h 1437771"/>
                <a:gd name="connsiteX300" fmla="*/ 230126 w 789029"/>
                <a:gd name="connsiteY300" fmla="*/ 948937 h 1437771"/>
                <a:gd name="connsiteX301" fmla="*/ 228945 w 789029"/>
                <a:gd name="connsiteY301" fmla="*/ 955513 h 1437771"/>
                <a:gd name="connsiteX302" fmla="*/ 228911 w 789029"/>
                <a:gd name="connsiteY302" fmla="*/ 955672 h 1437771"/>
                <a:gd name="connsiteX303" fmla="*/ 227113 w 789029"/>
                <a:gd name="connsiteY303" fmla="*/ 962209 h 1437771"/>
                <a:gd name="connsiteX304" fmla="*/ 225629 w 789029"/>
                <a:gd name="connsiteY304" fmla="*/ 963515 h 1437771"/>
                <a:gd name="connsiteX305" fmla="*/ 223840 w 789029"/>
                <a:gd name="connsiteY305" fmla="*/ 962710 h 1437771"/>
                <a:gd name="connsiteX306" fmla="*/ 222519 w 789029"/>
                <a:gd name="connsiteY306" fmla="*/ 960642 h 1437771"/>
                <a:gd name="connsiteX307" fmla="*/ 222423 w 789029"/>
                <a:gd name="connsiteY307" fmla="*/ 961886 h 1437771"/>
                <a:gd name="connsiteX308" fmla="*/ 220760 w 789029"/>
                <a:gd name="connsiteY308" fmla="*/ 963544 h 1437771"/>
                <a:gd name="connsiteX309" fmla="*/ 216580 w 789029"/>
                <a:gd name="connsiteY309" fmla="*/ 963939 h 1437771"/>
                <a:gd name="connsiteX310" fmla="*/ 217983 w 789029"/>
                <a:gd name="connsiteY310" fmla="*/ 967815 h 1437771"/>
                <a:gd name="connsiteX311" fmla="*/ 223609 w 789029"/>
                <a:gd name="connsiteY311" fmla="*/ 972882 h 1437771"/>
                <a:gd name="connsiteX312" fmla="*/ 223744 w 789029"/>
                <a:gd name="connsiteY312" fmla="*/ 973017 h 1437771"/>
                <a:gd name="connsiteX313" fmla="*/ 229104 w 789029"/>
                <a:gd name="connsiteY313" fmla="*/ 978951 h 1437771"/>
                <a:gd name="connsiteX314" fmla="*/ 229577 w 789029"/>
                <a:gd name="connsiteY314" fmla="*/ 980175 h 1437771"/>
                <a:gd name="connsiteX315" fmla="*/ 229577 w 789029"/>
                <a:gd name="connsiteY315" fmla="*/ 980759 h 1437771"/>
                <a:gd name="connsiteX316" fmla="*/ 229471 w 789029"/>
                <a:gd name="connsiteY316" fmla="*/ 981328 h 1437771"/>
                <a:gd name="connsiteX317" fmla="*/ 227682 w 789029"/>
                <a:gd name="connsiteY317" fmla="*/ 986703 h 1437771"/>
                <a:gd name="connsiteX318" fmla="*/ 226785 w 789029"/>
                <a:gd name="connsiteY318" fmla="*/ 987734 h 1437771"/>
                <a:gd name="connsiteX319" fmla="*/ 221299 w 789029"/>
                <a:gd name="connsiteY319" fmla="*/ 990501 h 1437771"/>
                <a:gd name="connsiteX320" fmla="*/ 217983 w 789029"/>
                <a:gd name="connsiteY320" fmla="*/ 996002 h 1437771"/>
                <a:gd name="connsiteX321" fmla="*/ 216088 w 789029"/>
                <a:gd name="connsiteY321" fmla="*/ 996846 h 1437771"/>
                <a:gd name="connsiteX322" fmla="*/ 211938 w 789029"/>
                <a:gd name="connsiteY322" fmla="*/ 996002 h 1437771"/>
                <a:gd name="connsiteX323" fmla="*/ 211055 w 789029"/>
                <a:gd name="connsiteY323" fmla="*/ 1000172 h 1437771"/>
                <a:gd name="connsiteX324" fmla="*/ 210882 w 789029"/>
                <a:gd name="connsiteY324" fmla="*/ 1000683 h 1437771"/>
                <a:gd name="connsiteX325" fmla="*/ 207329 w 789029"/>
                <a:gd name="connsiteY325" fmla="*/ 1007229 h 1437771"/>
                <a:gd name="connsiteX326" fmla="*/ 205618 w 789029"/>
                <a:gd name="connsiteY326" fmla="*/ 1008193 h 1437771"/>
                <a:gd name="connsiteX327" fmla="*/ 204017 w 789029"/>
                <a:gd name="connsiteY327" fmla="*/ 1007041 h 1437771"/>
                <a:gd name="connsiteX328" fmla="*/ 201641 w 789029"/>
                <a:gd name="connsiteY328" fmla="*/ 1001073 h 1437771"/>
                <a:gd name="connsiteX329" fmla="*/ 201752 w 789029"/>
                <a:gd name="connsiteY329" fmla="*/ 999507 h 1437771"/>
                <a:gd name="connsiteX330" fmla="*/ 203019 w 789029"/>
                <a:gd name="connsiteY330" fmla="*/ 998615 h 1437771"/>
                <a:gd name="connsiteX331" fmla="*/ 204769 w 789029"/>
                <a:gd name="connsiteY331" fmla="*/ 998321 h 1437771"/>
                <a:gd name="connsiteX332" fmla="*/ 204171 w 789029"/>
                <a:gd name="connsiteY332" fmla="*/ 995399 h 1437771"/>
                <a:gd name="connsiteX333" fmla="*/ 199370 w 789029"/>
                <a:gd name="connsiteY333" fmla="*/ 994560 h 1437771"/>
                <a:gd name="connsiteX334" fmla="*/ 195147 w 789029"/>
                <a:gd name="connsiteY334" fmla="*/ 996224 h 1437771"/>
                <a:gd name="connsiteX335" fmla="*/ 195639 w 789029"/>
                <a:gd name="connsiteY335" fmla="*/ 1001425 h 1437771"/>
                <a:gd name="connsiteX336" fmla="*/ 194202 w 789029"/>
                <a:gd name="connsiteY336" fmla="*/ 1003397 h 1437771"/>
                <a:gd name="connsiteX337" fmla="*/ 188210 w 789029"/>
                <a:gd name="connsiteY337" fmla="*/ 1004573 h 1437771"/>
                <a:gd name="connsiteX338" fmla="*/ 187217 w 789029"/>
                <a:gd name="connsiteY338" fmla="*/ 1004486 h 1437771"/>
                <a:gd name="connsiteX339" fmla="*/ 180694 w 789029"/>
                <a:gd name="connsiteY339" fmla="*/ 1002110 h 1437771"/>
                <a:gd name="connsiteX340" fmla="*/ 180694 w 789029"/>
                <a:gd name="connsiteY340" fmla="*/ 1002076 h 1437771"/>
                <a:gd name="connsiteX341" fmla="*/ 182445 w 789029"/>
                <a:gd name="connsiteY341" fmla="*/ 1006926 h 1437771"/>
                <a:gd name="connsiteX342" fmla="*/ 182551 w 789029"/>
                <a:gd name="connsiteY342" fmla="*/ 1007552 h 1437771"/>
                <a:gd name="connsiteX343" fmla="*/ 182551 w 789029"/>
                <a:gd name="connsiteY343" fmla="*/ 1012855 h 1437771"/>
                <a:gd name="connsiteX344" fmla="*/ 187497 w 789029"/>
                <a:gd name="connsiteY344" fmla="*/ 1018900 h 1437771"/>
                <a:gd name="connsiteX345" fmla="*/ 187776 w 789029"/>
                <a:gd name="connsiteY345" fmla="*/ 1019363 h 1437771"/>
                <a:gd name="connsiteX346" fmla="*/ 190153 w 789029"/>
                <a:gd name="connsiteY346" fmla="*/ 1025331 h 1437771"/>
                <a:gd name="connsiteX347" fmla="*/ 189704 w 789029"/>
                <a:gd name="connsiteY347" fmla="*/ 1027327 h 1437771"/>
                <a:gd name="connsiteX348" fmla="*/ 187641 w 789029"/>
                <a:gd name="connsiteY348" fmla="*/ 1027626 h 1437771"/>
                <a:gd name="connsiteX349" fmla="*/ 182122 w 789029"/>
                <a:gd name="connsiteY349" fmla="*/ 1024863 h 1437771"/>
                <a:gd name="connsiteX350" fmla="*/ 180227 w 789029"/>
                <a:gd name="connsiteY350" fmla="*/ 1028643 h 1437771"/>
                <a:gd name="connsiteX351" fmla="*/ 181302 w 789029"/>
                <a:gd name="connsiteY351" fmla="*/ 1033979 h 1437771"/>
                <a:gd name="connsiteX352" fmla="*/ 181302 w 789029"/>
                <a:gd name="connsiteY352" fmla="*/ 1034683 h 1437771"/>
                <a:gd name="connsiteX353" fmla="*/ 180164 w 789029"/>
                <a:gd name="connsiteY353" fmla="*/ 1040449 h 1437771"/>
                <a:gd name="connsiteX354" fmla="*/ 180164 w 789029"/>
                <a:gd name="connsiteY354" fmla="*/ 1046822 h 1437771"/>
                <a:gd name="connsiteX355" fmla="*/ 179967 w 789029"/>
                <a:gd name="connsiteY355" fmla="*/ 1047646 h 1437771"/>
                <a:gd name="connsiteX356" fmla="*/ 177007 w 789029"/>
                <a:gd name="connsiteY356" fmla="*/ 1053571 h 1437771"/>
                <a:gd name="connsiteX357" fmla="*/ 175527 w 789029"/>
                <a:gd name="connsiteY357" fmla="*/ 1054602 h 1437771"/>
                <a:gd name="connsiteX358" fmla="*/ 170489 w 789029"/>
                <a:gd name="connsiteY358" fmla="*/ 1055051 h 1437771"/>
                <a:gd name="connsiteX359" fmla="*/ 170036 w 789029"/>
                <a:gd name="connsiteY359" fmla="*/ 1059491 h 1437771"/>
                <a:gd name="connsiteX360" fmla="*/ 169771 w 789029"/>
                <a:gd name="connsiteY360" fmla="*/ 1060291 h 1437771"/>
                <a:gd name="connsiteX361" fmla="*/ 165606 w 789029"/>
                <a:gd name="connsiteY361" fmla="*/ 1067069 h 1437771"/>
                <a:gd name="connsiteX362" fmla="*/ 168595 w 789029"/>
                <a:gd name="connsiteY362" fmla="*/ 1072073 h 1437771"/>
                <a:gd name="connsiteX363" fmla="*/ 168566 w 789029"/>
                <a:gd name="connsiteY363" fmla="*/ 1073982 h 1437771"/>
                <a:gd name="connsiteX364" fmla="*/ 164733 w 789029"/>
                <a:gd name="connsiteY364" fmla="*/ 1080003 h 1437771"/>
                <a:gd name="connsiteX365" fmla="*/ 165153 w 789029"/>
                <a:gd name="connsiteY365" fmla="*/ 1084558 h 1437771"/>
                <a:gd name="connsiteX366" fmla="*/ 170354 w 789029"/>
                <a:gd name="connsiteY366" fmla="*/ 1085498 h 1437771"/>
                <a:gd name="connsiteX367" fmla="*/ 171849 w 789029"/>
                <a:gd name="connsiteY367" fmla="*/ 1087272 h 1437771"/>
                <a:gd name="connsiteX368" fmla="*/ 171849 w 789029"/>
                <a:gd name="connsiteY368" fmla="*/ 1099801 h 1437771"/>
                <a:gd name="connsiteX369" fmla="*/ 171767 w 789029"/>
                <a:gd name="connsiteY369" fmla="*/ 1100264 h 1437771"/>
                <a:gd name="connsiteX370" fmla="*/ 170754 w 789029"/>
                <a:gd name="connsiteY370" fmla="*/ 1103971 h 1437771"/>
                <a:gd name="connsiteX371" fmla="*/ 173835 w 789029"/>
                <a:gd name="connsiteY371" fmla="*/ 1103349 h 1437771"/>
                <a:gd name="connsiteX372" fmla="*/ 175464 w 789029"/>
                <a:gd name="connsiteY372" fmla="*/ 1103803 h 1437771"/>
                <a:gd name="connsiteX373" fmla="*/ 175990 w 789029"/>
                <a:gd name="connsiteY373" fmla="*/ 1105432 h 1437771"/>
                <a:gd name="connsiteX374" fmla="*/ 174886 w 789029"/>
                <a:gd name="connsiteY374" fmla="*/ 1111959 h 1437771"/>
                <a:gd name="connsiteX375" fmla="*/ 178038 w 789029"/>
                <a:gd name="connsiteY375" fmla="*/ 1117705 h 1437771"/>
                <a:gd name="connsiteX376" fmla="*/ 179046 w 789029"/>
                <a:gd name="connsiteY376" fmla="*/ 1115150 h 1437771"/>
                <a:gd name="connsiteX377" fmla="*/ 180743 w 789029"/>
                <a:gd name="connsiteY377" fmla="*/ 1114037 h 1437771"/>
                <a:gd name="connsiteX378" fmla="*/ 181312 w 789029"/>
                <a:gd name="connsiteY378" fmla="*/ 1114037 h 1437771"/>
                <a:gd name="connsiteX379" fmla="*/ 183100 w 789029"/>
                <a:gd name="connsiteY379" fmla="*/ 1115348 h 1437771"/>
                <a:gd name="connsiteX380" fmla="*/ 184792 w 789029"/>
                <a:gd name="connsiteY380" fmla="*/ 1121610 h 1437771"/>
                <a:gd name="connsiteX381" fmla="*/ 188779 w 789029"/>
                <a:gd name="connsiteY381" fmla="*/ 1127308 h 1437771"/>
                <a:gd name="connsiteX382" fmla="*/ 189121 w 789029"/>
                <a:gd name="connsiteY382" fmla="*/ 1128340 h 1437771"/>
                <a:gd name="connsiteX383" fmla="*/ 189121 w 789029"/>
                <a:gd name="connsiteY383" fmla="*/ 1131676 h 1437771"/>
                <a:gd name="connsiteX384" fmla="*/ 189328 w 789029"/>
                <a:gd name="connsiteY384" fmla="*/ 1131536 h 1437771"/>
                <a:gd name="connsiteX385" fmla="*/ 190924 w 789029"/>
                <a:gd name="connsiteY385" fmla="*/ 1131401 h 1437771"/>
                <a:gd name="connsiteX386" fmla="*/ 192014 w 789029"/>
                <a:gd name="connsiteY386" fmla="*/ 1132592 h 1437771"/>
                <a:gd name="connsiteX387" fmla="*/ 193788 w 789029"/>
                <a:gd name="connsiteY387" fmla="*/ 1139158 h 1437771"/>
                <a:gd name="connsiteX388" fmla="*/ 193788 w 789029"/>
                <a:gd name="connsiteY388" fmla="*/ 1140151 h 1437771"/>
                <a:gd name="connsiteX389" fmla="*/ 192091 w 789029"/>
                <a:gd name="connsiteY389" fmla="*/ 1145762 h 1437771"/>
                <a:gd name="connsiteX390" fmla="*/ 192669 w 789029"/>
                <a:gd name="connsiteY390" fmla="*/ 1151359 h 1437771"/>
                <a:gd name="connsiteX391" fmla="*/ 192669 w 789029"/>
                <a:gd name="connsiteY391" fmla="*/ 1151716 h 1437771"/>
                <a:gd name="connsiteX392" fmla="*/ 192062 w 789029"/>
                <a:gd name="connsiteY392" fmla="*/ 1157568 h 1437771"/>
                <a:gd name="connsiteX393" fmla="*/ 192062 w 789029"/>
                <a:gd name="connsiteY393" fmla="*/ 1164047 h 1437771"/>
                <a:gd name="connsiteX394" fmla="*/ 192057 w 789029"/>
                <a:gd name="connsiteY394" fmla="*/ 1164355 h 1437771"/>
                <a:gd name="connsiteX395" fmla="*/ 190943 w 789029"/>
                <a:gd name="connsiteY395" fmla="*/ 1170319 h 1437771"/>
                <a:gd name="connsiteX396" fmla="*/ 192520 w 789029"/>
                <a:gd name="connsiteY396" fmla="*/ 1173409 h 1437771"/>
                <a:gd name="connsiteX397" fmla="*/ 197827 w 789029"/>
                <a:gd name="connsiteY397" fmla="*/ 1172951 h 1437771"/>
                <a:gd name="connsiteX398" fmla="*/ 199741 w 789029"/>
                <a:gd name="connsiteY398" fmla="*/ 1174281 h 1437771"/>
                <a:gd name="connsiteX399" fmla="*/ 201443 w 789029"/>
                <a:gd name="connsiteY399" fmla="*/ 1180553 h 1437771"/>
                <a:gd name="connsiteX400" fmla="*/ 205391 w 789029"/>
                <a:gd name="connsiteY400" fmla="*/ 1186767 h 1437771"/>
                <a:gd name="connsiteX401" fmla="*/ 210655 w 789029"/>
                <a:gd name="connsiteY401" fmla="*/ 1192586 h 1437771"/>
                <a:gd name="connsiteX402" fmla="*/ 211104 w 789029"/>
                <a:gd name="connsiteY402" fmla="*/ 1193791 h 1437771"/>
                <a:gd name="connsiteX403" fmla="*/ 211104 w 789029"/>
                <a:gd name="connsiteY403" fmla="*/ 1198959 h 1437771"/>
                <a:gd name="connsiteX404" fmla="*/ 216469 w 789029"/>
                <a:gd name="connsiteY404" fmla="*/ 1203774 h 1437771"/>
                <a:gd name="connsiteX405" fmla="*/ 216927 w 789029"/>
                <a:gd name="connsiteY405" fmla="*/ 1205770 h 1437771"/>
                <a:gd name="connsiteX406" fmla="*/ 214965 w 789029"/>
                <a:gd name="connsiteY406" fmla="*/ 1210673 h 1437771"/>
                <a:gd name="connsiteX407" fmla="*/ 220760 w 789029"/>
                <a:gd name="connsiteY407" fmla="*/ 1216983 h 1437771"/>
                <a:gd name="connsiteX408" fmla="*/ 220803 w 789029"/>
                <a:gd name="connsiteY408" fmla="*/ 1217046 h 1437771"/>
                <a:gd name="connsiteX409" fmla="*/ 226173 w 789029"/>
                <a:gd name="connsiteY409" fmla="*/ 1223602 h 1437771"/>
                <a:gd name="connsiteX410" fmla="*/ 226274 w 789029"/>
                <a:gd name="connsiteY410" fmla="*/ 1223732 h 1437771"/>
                <a:gd name="connsiteX411" fmla="*/ 227465 w 789029"/>
                <a:gd name="connsiteY411" fmla="*/ 1225511 h 1437771"/>
                <a:gd name="connsiteX412" fmla="*/ 227451 w 789029"/>
                <a:gd name="connsiteY412" fmla="*/ 1227598 h 1437771"/>
                <a:gd name="connsiteX413" fmla="*/ 225508 w 789029"/>
                <a:gd name="connsiteY413" fmla="*/ 1228283 h 1437771"/>
                <a:gd name="connsiteX414" fmla="*/ 218990 w 789029"/>
                <a:gd name="connsiteY414" fmla="*/ 1226499 h 1437771"/>
                <a:gd name="connsiteX415" fmla="*/ 215736 w 789029"/>
                <a:gd name="connsiteY415" fmla="*/ 1225868 h 1437771"/>
                <a:gd name="connsiteX416" fmla="*/ 216257 w 789029"/>
                <a:gd name="connsiteY416" fmla="*/ 1228746 h 1437771"/>
                <a:gd name="connsiteX417" fmla="*/ 221811 w 789029"/>
                <a:gd name="connsiteY417" fmla="*/ 1230799 h 1437771"/>
                <a:gd name="connsiteX418" fmla="*/ 223025 w 789029"/>
                <a:gd name="connsiteY418" fmla="*/ 1232467 h 1437771"/>
                <a:gd name="connsiteX419" fmla="*/ 221892 w 789029"/>
                <a:gd name="connsiteY419" fmla="*/ 1234164 h 1437771"/>
                <a:gd name="connsiteX420" fmla="*/ 217833 w 789029"/>
                <a:gd name="connsiteY420" fmla="*/ 1235798 h 1437771"/>
                <a:gd name="connsiteX421" fmla="*/ 220412 w 789029"/>
                <a:gd name="connsiteY421" fmla="*/ 1240561 h 1437771"/>
                <a:gd name="connsiteX422" fmla="*/ 220562 w 789029"/>
                <a:gd name="connsiteY422" fmla="*/ 1241954 h 1437771"/>
                <a:gd name="connsiteX423" fmla="*/ 219641 w 789029"/>
                <a:gd name="connsiteY423" fmla="*/ 1243020 h 1437771"/>
                <a:gd name="connsiteX424" fmla="*/ 216238 w 789029"/>
                <a:gd name="connsiteY424" fmla="*/ 1244736 h 1437771"/>
                <a:gd name="connsiteX425" fmla="*/ 219959 w 789029"/>
                <a:gd name="connsiteY425" fmla="*/ 1247725 h 1437771"/>
                <a:gd name="connsiteX426" fmla="*/ 220528 w 789029"/>
                <a:gd name="connsiteY426" fmla="*/ 1248520 h 1437771"/>
                <a:gd name="connsiteX427" fmla="*/ 222924 w 789029"/>
                <a:gd name="connsiteY427" fmla="*/ 1255091 h 1437771"/>
                <a:gd name="connsiteX428" fmla="*/ 223025 w 789029"/>
                <a:gd name="connsiteY428" fmla="*/ 1255684 h 1437771"/>
                <a:gd name="connsiteX429" fmla="*/ 223025 w 789029"/>
                <a:gd name="connsiteY429" fmla="*/ 1261483 h 1437771"/>
                <a:gd name="connsiteX430" fmla="*/ 224177 w 789029"/>
                <a:gd name="connsiteY430" fmla="*/ 1267885 h 1437771"/>
                <a:gd name="connsiteX431" fmla="*/ 224177 w 789029"/>
                <a:gd name="connsiteY431" fmla="*/ 1268545 h 1437771"/>
                <a:gd name="connsiteX432" fmla="*/ 222967 w 789029"/>
                <a:gd name="connsiteY432" fmla="*/ 1274509 h 1437771"/>
                <a:gd name="connsiteX433" fmla="*/ 221208 w 789029"/>
                <a:gd name="connsiteY433" fmla="*/ 1275950 h 1437771"/>
                <a:gd name="connsiteX434" fmla="*/ 217612 w 789029"/>
                <a:gd name="connsiteY434" fmla="*/ 1275950 h 1437771"/>
                <a:gd name="connsiteX435" fmla="*/ 219251 w 789029"/>
                <a:gd name="connsiteY435" fmla="*/ 1279286 h 1437771"/>
                <a:gd name="connsiteX436" fmla="*/ 219328 w 789029"/>
                <a:gd name="connsiteY436" fmla="*/ 1279460 h 1437771"/>
                <a:gd name="connsiteX437" fmla="*/ 221724 w 789029"/>
                <a:gd name="connsiteY437" fmla="*/ 1286035 h 1437771"/>
                <a:gd name="connsiteX438" fmla="*/ 221733 w 789029"/>
                <a:gd name="connsiteY438" fmla="*/ 1287177 h 1437771"/>
                <a:gd name="connsiteX439" fmla="*/ 219988 w 789029"/>
                <a:gd name="connsiteY439" fmla="*/ 1293131 h 1437771"/>
                <a:gd name="connsiteX440" fmla="*/ 217886 w 789029"/>
                <a:gd name="connsiteY440" fmla="*/ 1294389 h 1437771"/>
                <a:gd name="connsiteX441" fmla="*/ 214603 w 789029"/>
                <a:gd name="connsiteY441" fmla="*/ 1293724 h 1437771"/>
                <a:gd name="connsiteX442" fmla="*/ 215187 w 789029"/>
                <a:gd name="connsiteY442" fmla="*/ 1296708 h 1437771"/>
                <a:gd name="connsiteX443" fmla="*/ 219106 w 789029"/>
                <a:gd name="connsiteY443" fmla="*/ 1303433 h 1437771"/>
                <a:gd name="connsiteX444" fmla="*/ 224337 w 789029"/>
                <a:gd name="connsiteY444" fmla="*/ 1309237 h 1437771"/>
                <a:gd name="connsiteX445" fmla="*/ 224804 w 789029"/>
                <a:gd name="connsiteY445" fmla="*/ 1310249 h 1437771"/>
                <a:gd name="connsiteX446" fmla="*/ 225407 w 789029"/>
                <a:gd name="connsiteY446" fmla="*/ 1316213 h 1437771"/>
                <a:gd name="connsiteX447" fmla="*/ 224259 w 789029"/>
                <a:gd name="connsiteY447" fmla="*/ 1318102 h 1437771"/>
                <a:gd name="connsiteX448" fmla="*/ 219848 w 789029"/>
                <a:gd name="connsiteY448" fmla="*/ 1319852 h 1437771"/>
                <a:gd name="connsiteX449" fmla="*/ 221063 w 789029"/>
                <a:gd name="connsiteY449" fmla="*/ 1323863 h 1437771"/>
                <a:gd name="connsiteX450" fmla="*/ 225599 w 789029"/>
                <a:gd name="connsiteY450" fmla="*/ 1329566 h 1437771"/>
                <a:gd name="connsiteX451" fmla="*/ 225778 w 789029"/>
                <a:gd name="connsiteY451" fmla="*/ 1329812 h 1437771"/>
                <a:gd name="connsiteX452" fmla="*/ 229350 w 789029"/>
                <a:gd name="connsiteY452" fmla="*/ 1336368 h 1437771"/>
                <a:gd name="connsiteX453" fmla="*/ 229244 w 789029"/>
                <a:gd name="connsiteY453" fmla="*/ 1338277 h 1437771"/>
                <a:gd name="connsiteX454" fmla="*/ 225932 w 789029"/>
                <a:gd name="connsiteY454" fmla="*/ 1342992 h 1437771"/>
                <a:gd name="connsiteX455" fmla="*/ 230820 w 789029"/>
                <a:gd name="connsiteY455" fmla="*/ 1347832 h 1437771"/>
                <a:gd name="connsiteX456" fmla="*/ 231346 w 789029"/>
                <a:gd name="connsiteY456" fmla="*/ 1349138 h 1437771"/>
                <a:gd name="connsiteX457" fmla="*/ 231346 w 789029"/>
                <a:gd name="connsiteY457" fmla="*/ 1353072 h 1437771"/>
                <a:gd name="connsiteX458" fmla="*/ 235303 w 789029"/>
                <a:gd name="connsiteY458" fmla="*/ 1352657 h 1437771"/>
                <a:gd name="connsiteX459" fmla="*/ 235492 w 789029"/>
                <a:gd name="connsiteY459" fmla="*/ 1352657 h 1437771"/>
                <a:gd name="connsiteX460" fmla="*/ 237873 w 789029"/>
                <a:gd name="connsiteY460" fmla="*/ 1352657 h 1437771"/>
                <a:gd name="connsiteX461" fmla="*/ 239377 w 789029"/>
                <a:gd name="connsiteY461" fmla="*/ 1353486 h 1437771"/>
                <a:gd name="connsiteX462" fmla="*/ 240587 w 789029"/>
                <a:gd name="connsiteY462" fmla="*/ 1355256 h 1437771"/>
                <a:gd name="connsiteX463" fmla="*/ 240587 w 789029"/>
                <a:gd name="connsiteY463" fmla="*/ 1357280 h 1437771"/>
                <a:gd name="connsiteX464" fmla="*/ 240129 w 789029"/>
                <a:gd name="connsiteY464" fmla="*/ 1357965 h 1437771"/>
                <a:gd name="connsiteX465" fmla="*/ 242448 w 789029"/>
                <a:gd name="connsiteY465" fmla="*/ 1360862 h 1437771"/>
                <a:gd name="connsiteX466" fmla="*/ 245022 w 789029"/>
                <a:gd name="connsiteY466" fmla="*/ 1356851 h 1437771"/>
                <a:gd name="connsiteX467" fmla="*/ 245437 w 789029"/>
                <a:gd name="connsiteY467" fmla="*/ 1352918 h 1437771"/>
                <a:gd name="connsiteX468" fmla="*/ 244569 w 789029"/>
                <a:gd name="connsiteY468" fmla="*/ 1352696 h 1437771"/>
                <a:gd name="connsiteX469" fmla="*/ 243253 w 789029"/>
                <a:gd name="connsiteY469" fmla="*/ 1351399 h 1437771"/>
                <a:gd name="connsiteX470" fmla="*/ 243725 w 789029"/>
                <a:gd name="connsiteY470" fmla="*/ 1349620 h 1437771"/>
                <a:gd name="connsiteX471" fmla="*/ 245528 w 789029"/>
                <a:gd name="connsiteY471" fmla="*/ 1347827 h 1437771"/>
                <a:gd name="connsiteX472" fmla="*/ 246815 w 789029"/>
                <a:gd name="connsiteY472" fmla="*/ 1347297 h 1437771"/>
                <a:gd name="connsiteX473" fmla="*/ 252754 w 789029"/>
                <a:gd name="connsiteY473" fmla="*/ 1347297 h 1437771"/>
                <a:gd name="connsiteX474" fmla="*/ 254461 w 789029"/>
                <a:gd name="connsiteY474" fmla="*/ 1348507 h 1437771"/>
                <a:gd name="connsiteX475" fmla="*/ 256852 w 789029"/>
                <a:gd name="connsiteY475" fmla="*/ 1355039 h 1437771"/>
                <a:gd name="connsiteX476" fmla="*/ 256949 w 789029"/>
                <a:gd name="connsiteY476" fmla="*/ 1355675 h 1437771"/>
                <a:gd name="connsiteX477" fmla="*/ 256949 w 789029"/>
                <a:gd name="connsiteY477" fmla="*/ 1361199 h 1437771"/>
                <a:gd name="connsiteX478" fmla="*/ 258925 w 789029"/>
                <a:gd name="connsiteY478" fmla="*/ 1362376 h 1437771"/>
                <a:gd name="connsiteX479" fmla="*/ 258694 w 789029"/>
                <a:gd name="connsiteY479" fmla="*/ 1360018 h 1437771"/>
                <a:gd name="connsiteX480" fmla="*/ 259277 w 789029"/>
                <a:gd name="connsiteY480" fmla="*/ 1358485 h 1437771"/>
                <a:gd name="connsiteX481" fmla="*/ 260834 w 789029"/>
                <a:gd name="connsiteY481" fmla="*/ 1358056 h 1437771"/>
                <a:gd name="connsiteX482" fmla="*/ 266788 w 789029"/>
                <a:gd name="connsiteY482" fmla="*/ 1359262 h 1437771"/>
                <a:gd name="connsiteX483" fmla="*/ 267733 w 789029"/>
                <a:gd name="connsiteY483" fmla="*/ 1359758 h 1437771"/>
                <a:gd name="connsiteX484" fmla="*/ 272534 w 789029"/>
                <a:gd name="connsiteY484" fmla="*/ 1364603 h 1437771"/>
                <a:gd name="connsiteX485" fmla="*/ 277740 w 789029"/>
                <a:gd name="connsiteY485" fmla="*/ 1364603 h 1437771"/>
                <a:gd name="connsiteX486" fmla="*/ 279519 w 789029"/>
                <a:gd name="connsiteY486" fmla="*/ 1366073 h 1437771"/>
                <a:gd name="connsiteX487" fmla="*/ 280218 w 789029"/>
                <a:gd name="connsiteY487" fmla="*/ 1369819 h 1437771"/>
                <a:gd name="connsiteX488" fmla="*/ 283829 w 789029"/>
                <a:gd name="connsiteY488" fmla="*/ 1367307 h 1437771"/>
                <a:gd name="connsiteX489" fmla="*/ 286167 w 789029"/>
                <a:gd name="connsiteY489" fmla="*/ 1367500 h 1437771"/>
                <a:gd name="connsiteX490" fmla="*/ 291152 w 789029"/>
                <a:gd name="connsiteY490" fmla="*/ 1372475 h 1437771"/>
                <a:gd name="connsiteX491" fmla="*/ 297708 w 789029"/>
                <a:gd name="connsiteY491" fmla="*/ 1368966 h 1437771"/>
                <a:gd name="connsiteX492" fmla="*/ 298889 w 789029"/>
                <a:gd name="connsiteY492" fmla="*/ 1368744 h 1437771"/>
                <a:gd name="connsiteX493" fmla="*/ 305098 w 789029"/>
                <a:gd name="connsiteY493" fmla="*/ 1369896 h 1437771"/>
                <a:gd name="connsiteX494" fmla="*/ 311336 w 789029"/>
                <a:gd name="connsiteY494" fmla="*/ 1368744 h 1437771"/>
                <a:gd name="connsiteX495" fmla="*/ 312989 w 789029"/>
                <a:gd name="connsiteY495" fmla="*/ 1369318 h 1437771"/>
                <a:gd name="connsiteX496" fmla="*/ 313389 w 789029"/>
                <a:gd name="connsiteY496" fmla="*/ 1370990 h 1437771"/>
                <a:gd name="connsiteX497" fmla="*/ 311659 w 789029"/>
                <a:gd name="connsiteY497" fmla="*/ 1378120 h 1437771"/>
                <a:gd name="connsiteX498" fmla="*/ 311418 w 789029"/>
                <a:gd name="connsiteY498" fmla="*/ 1378684 h 1437771"/>
                <a:gd name="connsiteX499" fmla="*/ 308217 w 789029"/>
                <a:gd name="connsiteY499" fmla="*/ 1383683 h 1437771"/>
                <a:gd name="connsiteX500" fmla="*/ 313221 w 789029"/>
                <a:gd name="connsiteY500" fmla="*/ 1386884 h 1437771"/>
                <a:gd name="connsiteX501" fmla="*/ 313520 w 789029"/>
                <a:gd name="connsiteY501" fmla="*/ 1387125 h 1437771"/>
                <a:gd name="connsiteX502" fmla="*/ 314117 w 789029"/>
                <a:gd name="connsiteY502" fmla="*/ 1387699 h 1437771"/>
                <a:gd name="connsiteX503" fmla="*/ 318885 w 789029"/>
                <a:gd name="connsiteY503" fmla="*/ 1387207 h 1437771"/>
                <a:gd name="connsiteX504" fmla="*/ 325224 w 789029"/>
                <a:gd name="connsiteY504" fmla="*/ 1384030 h 1437771"/>
                <a:gd name="connsiteX505" fmla="*/ 328551 w 789029"/>
                <a:gd name="connsiteY505" fmla="*/ 1378535 h 1437771"/>
                <a:gd name="connsiteX506" fmla="*/ 329071 w 789029"/>
                <a:gd name="connsiteY506" fmla="*/ 1377985 h 1437771"/>
                <a:gd name="connsiteX507" fmla="*/ 334769 w 789029"/>
                <a:gd name="connsiteY507" fmla="*/ 1373998 h 1437771"/>
                <a:gd name="connsiteX508" fmla="*/ 339320 w 789029"/>
                <a:gd name="connsiteY508" fmla="*/ 1367693 h 1437771"/>
                <a:gd name="connsiteX509" fmla="*/ 341301 w 789029"/>
                <a:gd name="connsiteY509" fmla="*/ 1367023 h 1437771"/>
                <a:gd name="connsiteX510" fmla="*/ 342608 w 789029"/>
                <a:gd name="connsiteY510" fmla="*/ 1368575 h 1437771"/>
                <a:gd name="connsiteX511" fmla="*/ 343205 w 789029"/>
                <a:gd name="connsiteY511" fmla="*/ 1374543 h 1437771"/>
                <a:gd name="connsiteX512" fmla="*/ 343017 w 789029"/>
                <a:gd name="connsiteY512" fmla="*/ 1375522 h 1437771"/>
                <a:gd name="connsiteX513" fmla="*/ 340087 w 789029"/>
                <a:gd name="connsiteY513" fmla="*/ 1381451 h 1437771"/>
                <a:gd name="connsiteX514" fmla="*/ 337209 w 789029"/>
                <a:gd name="connsiteY514" fmla="*/ 1387776 h 1437771"/>
                <a:gd name="connsiteX515" fmla="*/ 336177 w 789029"/>
                <a:gd name="connsiteY515" fmla="*/ 1392949 h 1437771"/>
                <a:gd name="connsiteX516" fmla="*/ 338520 w 789029"/>
                <a:gd name="connsiteY516" fmla="*/ 1398088 h 1437771"/>
                <a:gd name="connsiteX517" fmla="*/ 343553 w 789029"/>
                <a:gd name="connsiteY517" fmla="*/ 1399119 h 1437771"/>
                <a:gd name="connsiteX518" fmla="*/ 344917 w 789029"/>
                <a:gd name="connsiteY518" fmla="*/ 1400300 h 1437771"/>
                <a:gd name="connsiteX519" fmla="*/ 345977 w 789029"/>
                <a:gd name="connsiteY519" fmla="*/ 1403467 h 1437771"/>
                <a:gd name="connsiteX520" fmla="*/ 350567 w 789029"/>
                <a:gd name="connsiteY520" fmla="*/ 1408095 h 1437771"/>
                <a:gd name="connsiteX521" fmla="*/ 355889 w 789029"/>
                <a:gd name="connsiteY521" fmla="*/ 1404716 h 1437771"/>
                <a:gd name="connsiteX522" fmla="*/ 358102 w 789029"/>
                <a:gd name="connsiteY522" fmla="*/ 1404890 h 1437771"/>
                <a:gd name="connsiteX523" fmla="*/ 358506 w 789029"/>
                <a:gd name="connsiteY523" fmla="*/ 1407088 h 1437771"/>
                <a:gd name="connsiteX524" fmla="*/ 357359 w 789029"/>
                <a:gd name="connsiteY524" fmla="*/ 1409382 h 1437771"/>
                <a:gd name="connsiteX525" fmla="*/ 359958 w 789029"/>
                <a:gd name="connsiteY525" fmla="*/ 1408664 h 1437771"/>
                <a:gd name="connsiteX526" fmla="*/ 361539 w 789029"/>
                <a:gd name="connsiteY526" fmla="*/ 1408968 h 1437771"/>
                <a:gd name="connsiteX527" fmla="*/ 362262 w 789029"/>
                <a:gd name="connsiteY527" fmla="*/ 1410424 h 1437771"/>
                <a:gd name="connsiteX528" fmla="*/ 362262 w 789029"/>
                <a:gd name="connsiteY528" fmla="*/ 1413977 h 1437771"/>
                <a:gd name="connsiteX529" fmla="*/ 361023 w 789029"/>
                <a:gd name="connsiteY529" fmla="*/ 1415727 h 1437771"/>
                <a:gd name="connsiteX530" fmla="*/ 359205 w 789029"/>
                <a:gd name="connsiteY530" fmla="*/ 1416300 h 1437771"/>
                <a:gd name="connsiteX531" fmla="*/ 358651 w 789029"/>
                <a:gd name="connsiteY531" fmla="*/ 1416421 h 1437771"/>
                <a:gd name="connsiteX532" fmla="*/ 356892 w 789029"/>
                <a:gd name="connsiteY532" fmla="*/ 1416421 h 1437771"/>
                <a:gd name="connsiteX533" fmla="*/ 355715 w 789029"/>
                <a:gd name="connsiteY533" fmla="*/ 1417293 h 1437771"/>
                <a:gd name="connsiteX534" fmla="*/ 355715 w 789029"/>
                <a:gd name="connsiteY534" fmla="*/ 1420075 h 1437771"/>
                <a:gd name="connsiteX535" fmla="*/ 359697 w 789029"/>
                <a:gd name="connsiteY535" fmla="*/ 1418296 h 1437771"/>
                <a:gd name="connsiteX536" fmla="*/ 361423 w 789029"/>
                <a:gd name="connsiteY536" fmla="*/ 1418402 h 1437771"/>
                <a:gd name="connsiteX537" fmla="*/ 362262 w 789029"/>
                <a:gd name="connsiteY537" fmla="*/ 1419930 h 1437771"/>
                <a:gd name="connsiteX538" fmla="*/ 362262 w 789029"/>
                <a:gd name="connsiteY538" fmla="*/ 1420234 h 1437771"/>
                <a:gd name="connsiteX539" fmla="*/ 362884 w 789029"/>
                <a:gd name="connsiteY539" fmla="*/ 1419284 h 1437771"/>
                <a:gd name="connsiteX540" fmla="*/ 364026 w 789029"/>
                <a:gd name="connsiteY540" fmla="*/ 1412511 h 1437771"/>
                <a:gd name="connsiteX541" fmla="*/ 365815 w 789029"/>
                <a:gd name="connsiteY541" fmla="*/ 1410964 h 1437771"/>
                <a:gd name="connsiteX542" fmla="*/ 367015 w 789029"/>
                <a:gd name="connsiteY542" fmla="*/ 1410964 h 1437771"/>
                <a:gd name="connsiteX543" fmla="*/ 368466 w 789029"/>
                <a:gd name="connsiteY543" fmla="*/ 1411706 h 1437771"/>
                <a:gd name="connsiteX544" fmla="*/ 368736 w 789029"/>
                <a:gd name="connsiteY544" fmla="*/ 1413278 h 1437771"/>
                <a:gd name="connsiteX545" fmla="*/ 367550 w 789029"/>
                <a:gd name="connsiteY545" fmla="*/ 1417486 h 1437771"/>
                <a:gd name="connsiteX546" fmla="*/ 367507 w 789029"/>
                <a:gd name="connsiteY546" fmla="*/ 1417578 h 1437771"/>
                <a:gd name="connsiteX547" fmla="*/ 365130 w 789029"/>
                <a:gd name="connsiteY547" fmla="*/ 1424115 h 1437771"/>
                <a:gd name="connsiteX548" fmla="*/ 364706 w 789029"/>
                <a:gd name="connsiteY548" fmla="*/ 1424804 h 1437771"/>
                <a:gd name="connsiteX549" fmla="*/ 356371 w 789029"/>
                <a:gd name="connsiteY549" fmla="*/ 1433120 h 1437771"/>
                <a:gd name="connsiteX550" fmla="*/ 356226 w 789029"/>
                <a:gd name="connsiteY550" fmla="*/ 1433250 h 1437771"/>
                <a:gd name="connsiteX551" fmla="*/ 350711 w 789029"/>
                <a:gd name="connsiteY551" fmla="*/ 1437772 h 1437771"/>
                <a:gd name="connsiteX552" fmla="*/ 357793 w 789029"/>
                <a:gd name="connsiteY552" fmla="*/ 1436673 h 1437771"/>
                <a:gd name="connsiteX553" fmla="*/ 362990 w 789029"/>
                <a:gd name="connsiteY553" fmla="*/ 1431481 h 1437771"/>
                <a:gd name="connsiteX554" fmla="*/ 364663 w 789029"/>
                <a:gd name="connsiteY554" fmla="*/ 1425951 h 1437771"/>
                <a:gd name="connsiteX555" fmla="*/ 364981 w 789029"/>
                <a:gd name="connsiteY555" fmla="*/ 1425349 h 1437771"/>
                <a:gd name="connsiteX556" fmla="*/ 369676 w 789029"/>
                <a:gd name="connsiteY556" fmla="*/ 1419467 h 1437771"/>
                <a:gd name="connsiteX557" fmla="*/ 373480 w 789029"/>
                <a:gd name="connsiteY557" fmla="*/ 1413456 h 1437771"/>
                <a:gd name="connsiteX558" fmla="*/ 379182 w 789029"/>
                <a:gd name="connsiteY558" fmla="*/ 1402836 h 1437771"/>
                <a:gd name="connsiteX559" fmla="*/ 381472 w 789029"/>
                <a:gd name="connsiteY559" fmla="*/ 1402214 h 1437771"/>
                <a:gd name="connsiteX560" fmla="*/ 382446 w 789029"/>
                <a:gd name="connsiteY560" fmla="*/ 1404354 h 1437771"/>
                <a:gd name="connsiteX561" fmla="*/ 380667 w 789029"/>
                <a:gd name="connsiteY561" fmla="*/ 1410882 h 1437771"/>
                <a:gd name="connsiteX562" fmla="*/ 380098 w 789029"/>
                <a:gd name="connsiteY562" fmla="*/ 1413210 h 1437771"/>
                <a:gd name="connsiteX563" fmla="*/ 378922 w 789029"/>
                <a:gd name="connsiteY563" fmla="*/ 1419125 h 1437771"/>
                <a:gd name="connsiteX564" fmla="*/ 378695 w 789029"/>
                <a:gd name="connsiteY564" fmla="*/ 1419390 h 1437771"/>
                <a:gd name="connsiteX565" fmla="*/ 382788 w 789029"/>
                <a:gd name="connsiteY565" fmla="*/ 1417158 h 1437771"/>
                <a:gd name="connsiteX566" fmla="*/ 383338 w 789029"/>
                <a:gd name="connsiteY566" fmla="*/ 1416951 h 1437771"/>
                <a:gd name="connsiteX567" fmla="*/ 389185 w 789029"/>
                <a:gd name="connsiteY567" fmla="*/ 1415784 h 1437771"/>
                <a:gd name="connsiteX568" fmla="*/ 393601 w 789029"/>
                <a:gd name="connsiteY568" fmla="*/ 1414459 h 1437771"/>
                <a:gd name="connsiteX569" fmla="*/ 393153 w 789029"/>
                <a:gd name="connsiteY569" fmla="*/ 1410009 h 1437771"/>
                <a:gd name="connsiteX570" fmla="*/ 393669 w 789029"/>
                <a:gd name="connsiteY570" fmla="*/ 1408534 h 1437771"/>
                <a:gd name="connsiteX571" fmla="*/ 395144 w 789029"/>
                <a:gd name="connsiteY571" fmla="*/ 1408018 h 1437771"/>
                <a:gd name="connsiteX572" fmla="*/ 399849 w 789029"/>
                <a:gd name="connsiteY572" fmla="*/ 1408481 h 1437771"/>
                <a:gd name="connsiteX573" fmla="*/ 401690 w 789029"/>
                <a:gd name="connsiteY573" fmla="*/ 1404846 h 1437771"/>
                <a:gd name="connsiteX574" fmla="*/ 403320 w 789029"/>
                <a:gd name="connsiteY574" fmla="*/ 1403863 h 1437771"/>
                <a:gd name="connsiteX575" fmla="*/ 403730 w 789029"/>
                <a:gd name="connsiteY575" fmla="*/ 1403863 h 1437771"/>
                <a:gd name="connsiteX576" fmla="*/ 405624 w 789029"/>
                <a:gd name="connsiteY576" fmla="*/ 1403472 h 1437771"/>
                <a:gd name="connsiteX577" fmla="*/ 408232 w 789029"/>
                <a:gd name="connsiteY577" fmla="*/ 1397769 h 1437771"/>
                <a:gd name="connsiteX578" fmla="*/ 410343 w 789029"/>
                <a:gd name="connsiteY578" fmla="*/ 1396781 h 1437771"/>
                <a:gd name="connsiteX579" fmla="*/ 415964 w 789029"/>
                <a:gd name="connsiteY579" fmla="*/ 1398309 h 1437771"/>
                <a:gd name="connsiteX580" fmla="*/ 421793 w 789029"/>
                <a:gd name="connsiteY580" fmla="*/ 1393542 h 1437771"/>
                <a:gd name="connsiteX581" fmla="*/ 422448 w 789029"/>
                <a:gd name="connsiteY581" fmla="*/ 1393223 h 1437771"/>
                <a:gd name="connsiteX582" fmla="*/ 428373 w 789029"/>
                <a:gd name="connsiteY582" fmla="*/ 1391416 h 1437771"/>
                <a:gd name="connsiteX583" fmla="*/ 430542 w 789029"/>
                <a:gd name="connsiteY583" fmla="*/ 1392404 h 1437771"/>
                <a:gd name="connsiteX584" fmla="*/ 433039 w 789029"/>
                <a:gd name="connsiteY584" fmla="*/ 1397900 h 1437771"/>
                <a:gd name="connsiteX585" fmla="*/ 433329 w 789029"/>
                <a:gd name="connsiteY585" fmla="*/ 1397900 h 1437771"/>
                <a:gd name="connsiteX586" fmla="*/ 437528 w 789029"/>
                <a:gd name="connsiteY586" fmla="*/ 1392095 h 1437771"/>
                <a:gd name="connsiteX587" fmla="*/ 439480 w 789029"/>
                <a:gd name="connsiteY587" fmla="*/ 1391416 h 1437771"/>
                <a:gd name="connsiteX588" fmla="*/ 440825 w 789029"/>
                <a:gd name="connsiteY588" fmla="*/ 1392973 h 1437771"/>
                <a:gd name="connsiteX589" fmla="*/ 441191 w 789029"/>
                <a:gd name="connsiteY589" fmla="*/ 1396338 h 1437771"/>
                <a:gd name="connsiteX590" fmla="*/ 443303 w 789029"/>
                <a:gd name="connsiteY590" fmla="*/ 1395937 h 1437771"/>
                <a:gd name="connsiteX591" fmla="*/ 443269 w 789029"/>
                <a:gd name="connsiteY591" fmla="*/ 1395465 h 1437771"/>
                <a:gd name="connsiteX592" fmla="*/ 445578 w 789029"/>
                <a:gd name="connsiteY592" fmla="*/ 1389661 h 1437771"/>
                <a:gd name="connsiteX593" fmla="*/ 446687 w 789029"/>
                <a:gd name="connsiteY593" fmla="*/ 1383553 h 1437771"/>
                <a:gd name="connsiteX594" fmla="*/ 446104 w 789029"/>
                <a:gd name="connsiteY594" fmla="*/ 1377870 h 1437771"/>
                <a:gd name="connsiteX595" fmla="*/ 446648 w 789029"/>
                <a:gd name="connsiteY595" fmla="*/ 1376385 h 1437771"/>
                <a:gd name="connsiteX596" fmla="*/ 447839 w 789029"/>
                <a:gd name="connsiteY596" fmla="*/ 1375218 h 1437771"/>
                <a:gd name="connsiteX597" fmla="*/ 450124 w 789029"/>
                <a:gd name="connsiteY597" fmla="*/ 1374982 h 1437771"/>
                <a:gd name="connsiteX598" fmla="*/ 451787 w 789029"/>
                <a:gd name="connsiteY598" fmla="*/ 1376062 h 1437771"/>
                <a:gd name="connsiteX599" fmla="*/ 455523 w 789029"/>
                <a:gd name="connsiteY599" fmla="*/ 1377571 h 1437771"/>
                <a:gd name="connsiteX600" fmla="*/ 456270 w 789029"/>
                <a:gd name="connsiteY600" fmla="*/ 1373762 h 1437771"/>
                <a:gd name="connsiteX601" fmla="*/ 456849 w 789029"/>
                <a:gd name="connsiteY601" fmla="*/ 1372750 h 1437771"/>
                <a:gd name="connsiteX602" fmla="*/ 463386 w 789029"/>
                <a:gd name="connsiteY602" fmla="*/ 1366796 h 1437771"/>
                <a:gd name="connsiteX603" fmla="*/ 464952 w 789029"/>
                <a:gd name="connsiteY603" fmla="*/ 1366396 h 1437771"/>
                <a:gd name="connsiteX604" fmla="*/ 468935 w 789029"/>
                <a:gd name="connsiteY604" fmla="*/ 1367172 h 1437771"/>
                <a:gd name="connsiteX605" fmla="*/ 469325 w 789029"/>
                <a:gd name="connsiteY605" fmla="*/ 1363219 h 1437771"/>
                <a:gd name="connsiteX606" fmla="*/ 471311 w 789029"/>
                <a:gd name="connsiteY606" fmla="*/ 1361571 h 1437771"/>
                <a:gd name="connsiteX607" fmla="*/ 477597 w 789029"/>
                <a:gd name="connsiteY607" fmla="*/ 1362149 h 1437771"/>
                <a:gd name="connsiteX608" fmla="*/ 482572 w 789029"/>
                <a:gd name="connsiteY608" fmla="*/ 1361243 h 1437771"/>
                <a:gd name="connsiteX609" fmla="*/ 483025 w 789029"/>
                <a:gd name="connsiteY609" fmla="*/ 1356678 h 1437771"/>
                <a:gd name="connsiteX610" fmla="*/ 483970 w 789029"/>
                <a:gd name="connsiteY610" fmla="*/ 1355260 h 1437771"/>
                <a:gd name="connsiteX611" fmla="*/ 490497 w 789029"/>
                <a:gd name="connsiteY611" fmla="*/ 1351712 h 1437771"/>
                <a:gd name="connsiteX612" fmla="*/ 490845 w 789029"/>
                <a:gd name="connsiteY612" fmla="*/ 1351544 h 1437771"/>
                <a:gd name="connsiteX613" fmla="*/ 496808 w 789029"/>
                <a:gd name="connsiteY613" fmla="*/ 1349774 h 1437771"/>
                <a:gd name="connsiteX614" fmla="*/ 496842 w 789029"/>
                <a:gd name="connsiteY614" fmla="*/ 1349774 h 1437771"/>
                <a:gd name="connsiteX615" fmla="*/ 502390 w 789029"/>
                <a:gd name="connsiteY615" fmla="*/ 1348237 h 1437771"/>
                <a:gd name="connsiteX616" fmla="*/ 503894 w 789029"/>
                <a:gd name="connsiteY616" fmla="*/ 1342707 h 1437771"/>
                <a:gd name="connsiteX617" fmla="*/ 503894 w 789029"/>
                <a:gd name="connsiteY617" fmla="*/ 1342649 h 1437771"/>
                <a:gd name="connsiteX618" fmla="*/ 505673 w 789029"/>
                <a:gd name="connsiteY618" fmla="*/ 1336691 h 1437771"/>
                <a:gd name="connsiteX619" fmla="*/ 505827 w 789029"/>
                <a:gd name="connsiteY619" fmla="*/ 1336363 h 1437771"/>
                <a:gd name="connsiteX620" fmla="*/ 509380 w 789029"/>
                <a:gd name="connsiteY620" fmla="*/ 1329807 h 1437771"/>
                <a:gd name="connsiteX621" fmla="*/ 511019 w 789029"/>
                <a:gd name="connsiteY621" fmla="*/ 1328872 h 1437771"/>
                <a:gd name="connsiteX622" fmla="*/ 512620 w 789029"/>
                <a:gd name="connsiteY622" fmla="*/ 1329850 h 1437771"/>
                <a:gd name="connsiteX623" fmla="*/ 515585 w 789029"/>
                <a:gd name="connsiteY623" fmla="*/ 1335814 h 1437771"/>
                <a:gd name="connsiteX624" fmla="*/ 515806 w 789029"/>
                <a:gd name="connsiteY624" fmla="*/ 1336633 h 1437771"/>
                <a:gd name="connsiteX625" fmla="*/ 515806 w 789029"/>
                <a:gd name="connsiteY625" fmla="*/ 1341999 h 1437771"/>
                <a:gd name="connsiteX626" fmla="*/ 518443 w 789029"/>
                <a:gd name="connsiteY626" fmla="*/ 1343204 h 1437771"/>
                <a:gd name="connsiteX627" fmla="*/ 518115 w 789029"/>
                <a:gd name="connsiteY627" fmla="*/ 1339762 h 1437771"/>
                <a:gd name="connsiteX628" fmla="*/ 518583 w 789029"/>
                <a:gd name="connsiteY628" fmla="*/ 1338374 h 1437771"/>
                <a:gd name="connsiteX629" fmla="*/ 519923 w 789029"/>
                <a:gd name="connsiteY629" fmla="*/ 1337771 h 1437771"/>
                <a:gd name="connsiteX630" fmla="*/ 525896 w 789029"/>
                <a:gd name="connsiteY630" fmla="*/ 1337771 h 1437771"/>
                <a:gd name="connsiteX631" fmla="*/ 526648 w 789029"/>
                <a:gd name="connsiteY631" fmla="*/ 1338002 h 1437771"/>
                <a:gd name="connsiteX632" fmla="*/ 526441 w 789029"/>
                <a:gd name="connsiteY632" fmla="*/ 1337400 h 1437771"/>
                <a:gd name="connsiteX633" fmla="*/ 525910 w 789029"/>
                <a:gd name="connsiteY633" fmla="*/ 1332015 h 1437771"/>
                <a:gd name="connsiteX634" fmla="*/ 520883 w 789029"/>
                <a:gd name="connsiteY634" fmla="*/ 1325873 h 1437771"/>
                <a:gd name="connsiteX635" fmla="*/ 520955 w 789029"/>
                <a:gd name="connsiteY635" fmla="*/ 1323530 h 1437771"/>
                <a:gd name="connsiteX636" fmla="*/ 523288 w 789029"/>
                <a:gd name="connsiteY636" fmla="*/ 1323169 h 1437771"/>
                <a:gd name="connsiteX637" fmla="*/ 529651 w 789029"/>
                <a:gd name="connsiteY637" fmla="*/ 1327247 h 1437771"/>
                <a:gd name="connsiteX638" fmla="*/ 535807 w 789029"/>
                <a:gd name="connsiteY638" fmla="*/ 1329465 h 1437771"/>
                <a:gd name="connsiteX639" fmla="*/ 537181 w 789029"/>
                <a:gd name="connsiteY639" fmla="*/ 1329629 h 1437771"/>
                <a:gd name="connsiteX640" fmla="*/ 526614 w 789029"/>
                <a:gd name="connsiteY640" fmla="*/ 1313624 h 1437771"/>
                <a:gd name="connsiteX641" fmla="*/ 527193 w 789029"/>
                <a:gd name="connsiteY641" fmla="*/ 1311334 h 1437771"/>
                <a:gd name="connsiteX642" fmla="*/ 529550 w 789029"/>
                <a:gd name="connsiteY642" fmla="*/ 1311532 h 1437771"/>
                <a:gd name="connsiteX643" fmla="*/ 535200 w 789029"/>
                <a:gd name="connsiteY643" fmla="*/ 1317220 h 1437771"/>
                <a:gd name="connsiteX644" fmla="*/ 540908 w 789029"/>
                <a:gd name="connsiteY644" fmla="*/ 1319255 h 1437771"/>
                <a:gd name="connsiteX645" fmla="*/ 544750 w 789029"/>
                <a:gd name="connsiteY645" fmla="*/ 1318493 h 1437771"/>
                <a:gd name="connsiteX646" fmla="*/ 544297 w 789029"/>
                <a:gd name="connsiteY646" fmla="*/ 1313566 h 1437771"/>
                <a:gd name="connsiteX647" fmla="*/ 545347 w 789029"/>
                <a:gd name="connsiteY647" fmla="*/ 1311768 h 1437771"/>
                <a:gd name="connsiteX648" fmla="*/ 547406 w 789029"/>
                <a:gd name="connsiteY648" fmla="*/ 1312125 h 1437771"/>
                <a:gd name="connsiteX649" fmla="*/ 553027 w 789029"/>
                <a:gd name="connsiteY649" fmla="*/ 1317736 h 1437771"/>
                <a:gd name="connsiteX650" fmla="*/ 557168 w 789029"/>
                <a:gd name="connsiteY650" fmla="*/ 1315682 h 1437771"/>
                <a:gd name="connsiteX651" fmla="*/ 559120 w 789029"/>
                <a:gd name="connsiteY651" fmla="*/ 1310211 h 1437771"/>
                <a:gd name="connsiteX652" fmla="*/ 558585 w 789029"/>
                <a:gd name="connsiteY652" fmla="*/ 1305294 h 1437771"/>
                <a:gd name="connsiteX653" fmla="*/ 559487 w 789029"/>
                <a:gd name="connsiteY653" fmla="*/ 1303505 h 1437771"/>
                <a:gd name="connsiteX654" fmla="*/ 561487 w 789029"/>
                <a:gd name="connsiteY654" fmla="*/ 1303616 h 1437771"/>
                <a:gd name="connsiteX655" fmla="*/ 565368 w 789029"/>
                <a:gd name="connsiteY655" fmla="*/ 1306518 h 1437771"/>
                <a:gd name="connsiteX656" fmla="*/ 570295 w 789029"/>
                <a:gd name="connsiteY656" fmla="*/ 1304060 h 1437771"/>
                <a:gd name="connsiteX657" fmla="*/ 571948 w 789029"/>
                <a:gd name="connsiteY657" fmla="*/ 1304060 h 1437771"/>
                <a:gd name="connsiteX658" fmla="*/ 576547 w 789029"/>
                <a:gd name="connsiteY658" fmla="*/ 1306350 h 1437771"/>
                <a:gd name="connsiteX659" fmla="*/ 580408 w 789029"/>
                <a:gd name="connsiteY659" fmla="*/ 1301572 h 1437771"/>
                <a:gd name="connsiteX660" fmla="*/ 580784 w 789029"/>
                <a:gd name="connsiteY660" fmla="*/ 1301215 h 1437771"/>
                <a:gd name="connsiteX661" fmla="*/ 586729 w 789029"/>
                <a:gd name="connsiteY661" fmla="*/ 1297060 h 1437771"/>
                <a:gd name="connsiteX662" fmla="*/ 587095 w 789029"/>
                <a:gd name="connsiteY662" fmla="*/ 1296838 h 1437771"/>
                <a:gd name="connsiteX663" fmla="*/ 592489 w 789029"/>
                <a:gd name="connsiteY663" fmla="*/ 1294678 h 1437771"/>
                <a:gd name="connsiteX664" fmla="*/ 596375 w 789029"/>
                <a:gd name="connsiteY664" fmla="*/ 1288633 h 1437771"/>
                <a:gd name="connsiteX665" fmla="*/ 597874 w 789029"/>
                <a:gd name="connsiteY665" fmla="*/ 1287785 h 1437771"/>
                <a:gd name="connsiteX666" fmla="*/ 602005 w 789029"/>
                <a:gd name="connsiteY666" fmla="*/ 1287785 h 1437771"/>
                <a:gd name="connsiteX667" fmla="*/ 600901 w 789029"/>
                <a:gd name="connsiteY667" fmla="*/ 1284179 h 1437771"/>
                <a:gd name="connsiteX668" fmla="*/ 602039 w 789029"/>
                <a:gd name="connsiteY668" fmla="*/ 1281942 h 1437771"/>
                <a:gd name="connsiteX669" fmla="*/ 603842 w 789029"/>
                <a:gd name="connsiteY669" fmla="*/ 1281340 h 1437771"/>
                <a:gd name="connsiteX670" fmla="*/ 605505 w 789029"/>
                <a:gd name="connsiteY670" fmla="*/ 1281605 h 1437771"/>
                <a:gd name="connsiteX671" fmla="*/ 605992 w 789029"/>
                <a:gd name="connsiteY671" fmla="*/ 1282569 h 1437771"/>
                <a:gd name="connsiteX672" fmla="*/ 612182 w 789029"/>
                <a:gd name="connsiteY672" fmla="*/ 1287192 h 1437771"/>
                <a:gd name="connsiteX673" fmla="*/ 617528 w 789029"/>
                <a:gd name="connsiteY673" fmla="*/ 1287192 h 1437771"/>
                <a:gd name="connsiteX674" fmla="*/ 618473 w 789029"/>
                <a:gd name="connsiteY674" fmla="*/ 1287472 h 1437771"/>
                <a:gd name="connsiteX675" fmla="*/ 623192 w 789029"/>
                <a:gd name="connsiteY675" fmla="*/ 1290311 h 1437771"/>
                <a:gd name="connsiteX676" fmla="*/ 628129 w 789029"/>
                <a:gd name="connsiteY676" fmla="*/ 1285360 h 1437771"/>
                <a:gd name="connsiteX677" fmla="*/ 629430 w 789029"/>
                <a:gd name="connsiteY677" fmla="*/ 1284801 h 1437771"/>
                <a:gd name="connsiteX678" fmla="*/ 635577 w 789029"/>
                <a:gd name="connsiteY678" fmla="*/ 1284801 h 1437771"/>
                <a:gd name="connsiteX679" fmla="*/ 639424 w 789029"/>
                <a:gd name="connsiteY679" fmla="*/ 1283061 h 1437771"/>
                <a:gd name="connsiteX680" fmla="*/ 639033 w 789029"/>
                <a:gd name="connsiteY680" fmla="*/ 1281210 h 1437771"/>
                <a:gd name="connsiteX681" fmla="*/ 641405 w 789029"/>
                <a:gd name="connsiteY681" fmla="*/ 1275241 h 1437771"/>
                <a:gd name="connsiteX682" fmla="*/ 642519 w 789029"/>
                <a:gd name="connsiteY682" fmla="*/ 1274229 h 1437771"/>
                <a:gd name="connsiteX683" fmla="*/ 643632 w 789029"/>
                <a:gd name="connsiteY683" fmla="*/ 1274340 h 1437771"/>
                <a:gd name="connsiteX684" fmla="*/ 648376 w 789029"/>
                <a:gd name="connsiteY684" fmla="*/ 1262476 h 1437771"/>
                <a:gd name="connsiteX685" fmla="*/ 657414 w 789029"/>
                <a:gd name="connsiteY685" fmla="*/ 1244452 h 1437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Lst>
              <a:rect l="l" t="t" r="r" b="b"/>
              <a:pathLst>
                <a:path w="789029" h="1437771">
                  <a:moveTo>
                    <a:pt x="657414" y="1244452"/>
                  </a:moveTo>
                  <a:cubicBezTo>
                    <a:pt x="660485" y="1235292"/>
                    <a:pt x="664935" y="1233205"/>
                    <a:pt x="664935" y="1233205"/>
                  </a:cubicBezTo>
                  <a:cubicBezTo>
                    <a:pt x="664935" y="1233205"/>
                    <a:pt x="665711" y="1230741"/>
                    <a:pt x="666921" y="1224812"/>
                  </a:cubicBezTo>
                  <a:cubicBezTo>
                    <a:pt x="668189" y="1218878"/>
                    <a:pt x="675420" y="1209448"/>
                    <a:pt x="677329" y="1208672"/>
                  </a:cubicBezTo>
                  <a:cubicBezTo>
                    <a:pt x="679262" y="1207911"/>
                    <a:pt x="682222" y="1205688"/>
                    <a:pt x="682482" y="1201557"/>
                  </a:cubicBezTo>
                  <a:cubicBezTo>
                    <a:pt x="682723" y="1197426"/>
                    <a:pt x="685076" y="1195733"/>
                    <a:pt x="685437" y="1193680"/>
                  </a:cubicBezTo>
                  <a:cubicBezTo>
                    <a:pt x="685842" y="1191607"/>
                    <a:pt x="685963" y="1187090"/>
                    <a:pt x="693213" y="1179083"/>
                  </a:cubicBezTo>
                  <a:cubicBezTo>
                    <a:pt x="700430" y="1171085"/>
                    <a:pt x="708813" y="1158947"/>
                    <a:pt x="709724" y="1155196"/>
                  </a:cubicBezTo>
                  <a:cubicBezTo>
                    <a:pt x="710630" y="1151455"/>
                    <a:pt x="710775" y="1146668"/>
                    <a:pt x="714251" y="1141394"/>
                  </a:cubicBezTo>
                  <a:cubicBezTo>
                    <a:pt x="717741" y="1136087"/>
                    <a:pt x="718372" y="1133908"/>
                    <a:pt x="718257" y="1130259"/>
                  </a:cubicBezTo>
                  <a:cubicBezTo>
                    <a:pt x="718117" y="1126653"/>
                    <a:pt x="717741" y="1125375"/>
                    <a:pt x="722267" y="1120858"/>
                  </a:cubicBezTo>
                  <a:cubicBezTo>
                    <a:pt x="726789" y="1116317"/>
                    <a:pt x="728983" y="1108050"/>
                    <a:pt x="728983" y="1108050"/>
                  </a:cubicBezTo>
                  <a:lnTo>
                    <a:pt x="732078" y="1102260"/>
                  </a:lnTo>
                  <a:lnTo>
                    <a:pt x="732078" y="1095154"/>
                  </a:lnTo>
                  <a:cubicBezTo>
                    <a:pt x="732078" y="1095154"/>
                    <a:pt x="734127" y="1091114"/>
                    <a:pt x="739714" y="1082240"/>
                  </a:cubicBezTo>
                  <a:cubicBezTo>
                    <a:pt x="743720" y="1058994"/>
                    <a:pt x="757381" y="1026821"/>
                    <a:pt x="761113" y="1017006"/>
                  </a:cubicBezTo>
                  <a:cubicBezTo>
                    <a:pt x="761392" y="1011848"/>
                    <a:pt x="764748" y="1004101"/>
                    <a:pt x="769289" y="998788"/>
                  </a:cubicBezTo>
                  <a:cubicBezTo>
                    <a:pt x="773796" y="993519"/>
                    <a:pt x="775344" y="988723"/>
                    <a:pt x="775459" y="984466"/>
                  </a:cubicBezTo>
                  <a:cubicBezTo>
                    <a:pt x="775570" y="980195"/>
                    <a:pt x="776226" y="976719"/>
                    <a:pt x="781779" y="970896"/>
                  </a:cubicBezTo>
                  <a:cubicBezTo>
                    <a:pt x="782454" y="968051"/>
                    <a:pt x="782946" y="963674"/>
                    <a:pt x="785689" y="956838"/>
                  </a:cubicBezTo>
                  <a:cubicBezTo>
                    <a:pt x="784382" y="950634"/>
                    <a:pt x="784898" y="944314"/>
                    <a:pt x="786045" y="941952"/>
                  </a:cubicBezTo>
                  <a:cubicBezTo>
                    <a:pt x="787227" y="939638"/>
                    <a:pt x="787501" y="937585"/>
                    <a:pt x="786455" y="932532"/>
                  </a:cubicBezTo>
                  <a:cubicBezTo>
                    <a:pt x="784238" y="919883"/>
                    <a:pt x="789029" y="901429"/>
                    <a:pt x="789029" y="901429"/>
                  </a:cubicBezTo>
                  <a:lnTo>
                    <a:pt x="784633" y="897920"/>
                  </a:lnTo>
                  <a:lnTo>
                    <a:pt x="780772" y="892260"/>
                  </a:lnTo>
                  <a:cubicBezTo>
                    <a:pt x="780772" y="892260"/>
                    <a:pt x="772755" y="886331"/>
                    <a:pt x="761653" y="879847"/>
                  </a:cubicBezTo>
                  <a:cubicBezTo>
                    <a:pt x="759189" y="865896"/>
                    <a:pt x="746019" y="863707"/>
                    <a:pt x="735688" y="860868"/>
                  </a:cubicBezTo>
                  <a:cubicBezTo>
                    <a:pt x="727170" y="849240"/>
                    <a:pt x="709343" y="847572"/>
                    <a:pt x="705607" y="847572"/>
                  </a:cubicBezTo>
                  <a:cubicBezTo>
                    <a:pt x="701862" y="847572"/>
                    <a:pt x="692553" y="839170"/>
                    <a:pt x="692553" y="839170"/>
                  </a:cubicBezTo>
                  <a:lnTo>
                    <a:pt x="685963" y="837381"/>
                  </a:lnTo>
                  <a:cubicBezTo>
                    <a:pt x="685963" y="837381"/>
                    <a:pt x="666598" y="823666"/>
                    <a:pt x="662862" y="819921"/>
                  </a:cubicBezTo>
                  <a:cubicBezTo>
                    <a:pt x="675251" y="810626"/>
                    <a:pt x="676027" y="804451"/>
                    <a:pt x="676548" y="797721"/>
                  </a:cubicBezTo>
                  <a:cubicBezTo>
                    <a:pt x="677054" y="791020"/>
                    <a:pt x="680289" y="786479"/>
                    <a:pt x="684430" y="774717"/>
                  </a:cubicBezTo>
                  <a:cubicBezTo>
                    <a:pt x="688556" y="762978"/>
                    <a:pt x="680395" y="757545"/>
                    <a:pt x="680395" y="757545"/>
                  </a:cubicBezTo>
                  <a:lnTo>
                    <a:pt x="675849" y="745151"/>
                  </a:lnTo>
                  <a:lnTo>
                    <a:pt x="670088" y="745532"/>
                  </a:lnTo>
                  <a:lnTo>
                    <a:pt x="663378" y="739323"/>
                  </a:lnTo>
                  <a:lnTo>
                    <a:pt x="650723" y="737525"/>
                  </a:lnTo>
                  <a:lnTo>
                    <a:pt x="644389" y="734570"/>
                  </a:lnTo>
                  <a:lnTo>
                    <a:pt x="641400" y="728621"/>
                  </a:lnTo>
                  <a:cubicBezTo>
                    <a:pt x="641400" y="728621"/>
                    <a:pt x="640918" y="726688"/>
                    <a:pt x="640774" y="724090"/>
                  </a:cubicBezTo>
                  <a:cubicBezTo>
                    <a:pt x="640633" y="721515"/>
                    <a:pt x="639747" y="720874"/>
                    <a:pt x="636256" y="719341"/>
                  </a:cubicBezTo>
                  <a:cubicBezTo>
                    <a:pt x="632752" y="717770"/>
                    <a:pt x="632641" y="715200"/>
                    <a:pt x="631860" y="712751"/>
                  </a:cubicBezTo>
                  <a:cubicBezTo>
                    <a:pt x="631089" y="710278"/>
                    <a:pt x="631243" y="708095"/>
                    <a:pt x="632906" y="707444"/>
                  </a:cubicBezTo>
                  <a:cubicBezTo>
                    <a:pt x="634569" y="706808"/>
                    <a:pt x="636507" y="703448"/>
                    <a:pt x="638594" y="701119"/>
                  </a:cubicBezTo>
                  <a:cubicBezTo>
                    <a:pt x="640633" y="698791"/>
                    <a:pt x="639101" y="694009"/>
                    <a:pt x="639101" y="694009"/>
                  </a:cubicBezTo>
                  <a:cubicBezTo>
                    <a:pt x="639101" y="694009"/>
                    <a:pt x="638170" y="691815"/>
                    <a:pt x="637009" y="691429"/>
                  </a:cubicBezTo>
                  <a:cubicBezTo>
                    <a:pt x="633653" y="689607"/>
                    <a:pt x="631489" y="687033"/>
                    <a:pt x="630452" y="683032"/>
                  </a:cubicBezTo>
                  <a:cubicBezTo>
                    <a:pt x="629416" y="679016"/>
                    <a:pt x="613753" y="685481"/>
                    <a:pt x="613753" y="685481"/>
                  </a:cubicBezTo>
                  <a:lnTo>
                    <a:pt x="606677" y="681099"/>
                  </a:lnTo>
                  <a:lnTo>
                    <a:pt x="600993" y="674514"/>
                  </a:lnTo>
                  <a:lnTo>
                    <a:pt x="593878" y="661975"/>
                  </a:lnTo>
                  <a:lnTo>
                    <a:pt x="592586" y="654103"/>
                  </a:lnTo>
                  <a:lnTo>
                    <a:pt x="595845" y="647653"/>
                  </a:lnTo>
                  <a:cubicBezTo>
                    <a:pt x="595845" y="647653"/>
                    <a:pt x="600718" y="644032"/>
                    <a:pt x="602140" y="643516"/>
                  </a:cubicBezTo>
                  <a:cubicBezTo>
                    <a:pt x="603591" y="643001"/>
                    <a:pt x="600993" y="636647"/>
                    <a:pt x="600993" y="636647"/>
                  </a:cubicBezTo>
                  <a:lnTo>
                    <a:pt x="600477" y="630611"/>
                  </a:lnTo>
                  <a:cubicBezTo>
                    <a:pt x="600477" y="630611"/>
                    <a:pt x="595950" y="628003"/>
                    <a:pt x="594678" y="628529"/>
                  </a:cubicBezTo>
                  <a:cubicBezTo>
                    <a:pt x="588859" y="631759"/>
                    <a:pt x="588069" y="630987"/>
                    <a:pt x="586406" y="630226"/>
                  </a:cubicBezTo>
                  <a:cubicBezTo>
                    <a:pt x="584723" y="629426"/>
                    <a:pt x="582024" y="624918"/>
                    <a:pt x="585625" y="620792"/>
                  </a:cubicBezTo>
                  <a:cubicBezTo>
                    <a:pt x="591173" y="613295"/>
                    <a:pt x="584472" y="598963"/>
                    <a:pt x="582641" y="594692"/>
                  </a:cubicBezTo>
                  <a:cubicBezTo>
                    <a:pt x="580842" y="590440"/>
                    <a:pt x="584978" y="585128"/>
                    <a:pt x="584978" y="585128"/>
                  </a:cubicBezTo>
                  <a:lnTo>
                    <a:pt x="582925" y="579324"/>
                  </a:lnTo>
                  <a:lnTo>
                    <a:pt x="577072" y="573746"/>
                  </a:lnTo>
                  <a:cubicBezTo>
                    <a:pt x="577072" y="573746"/>
                    <a:pt x="580582" y="571076"/>
                    <a:pt x="582255" y="570406"/>
                  </a:cubicBezTo>
                  <a:cubicBezTo>
                    <a:pt x="583932" y="569769"/>
                    <a:pt x="589881" y="563285"/>
                    <a:pt x="589881" y="563285"/>
                  </a:cubicBezTo>
                  <a:cubicBezTo>
                    <a:pt x="589881" y="563285"/>
                    <a:pt x="591660" y="562529"/>
                    <a:pt x="595194" y="561376"/>
                  </a:cubicBezTo>
                  <a:cubicBezTo>
                    <a:pt x="597098" y="551277"/>
                    <a:pt x="579194" y="527921"/>
                    <a:pt x="576186" y="522488"/>
                  </a:cubicBezTo>
                  <a:cubicBezTo>
                    <a:pt x="573216" y="517069"/>
                    <a:pt x="569731" y="506343"/>
                    <a:pt x="560427" y="500149"/>
                  </a:cubicBezTo>
                  <a:cubicBezTo>
                    <a:pt x="551118" y="493964"/>
                    <a:pt x="538893" y="476787"/>
                    <a:pt x="537307" y="470950"/>
                  </a:cubicBezTo>
                  <a:cubicBezTo>
                    <a:pt x="535774" y="465165"/>
                    <a:pt x="531522" y="459616"/>
                    <a:pt x="528533" y="457664"/>
                  </a:cubicBezTo>
                  <a:cubicBezTo>
                    <a:pt x="525573" y="455731"/>
                    <a:pt x="520916" y="450703"/>
                    <a:pt x="519243" y="445525"/>
                  </a:cubicBezTo>
                  <a:cubicBezTo>
                    <a:pt x="517580" y="440362"/>
                    <a:pt x="512909" y="435464"/>
                    <a:pt x="504005" y="429530"/>
                  </a:cubicBezTo>
                  <a:cubicBezTo>
                    <a:pt x="495092" y="423572"/>
                    <a:pt x="492749" y="410011"/>
                    <a:pt x="492378" y="407567"/>
                  </a:cubicBezTo>
                  <a:cubicBezTo>
                    <a:pt x="492006" y="405108"/>
                    <a:pt x="493534" y="398788"/>
                    <a:pt x="499763" y="374227"/>
                  </a:cubicBezTo>
                  <a:cubicBezTo>
                    <a:pt x="505953" y="349694"/>
                    <a:pt x="506589" y="340911"/>
                    <a:pt x="512909" y="330334"/>
                  </a:cubicBezTo>
                  <a:cubicBezTo>
                    <a:pt x="519243" y="319743"/>
                    <a:pt x="513830" y="300364"/>
                    <a:pt x="512909" y="296893"/>
                  </a:cubicBezTo>
                  <a:cubicBezTo>
                    <a:pt x="512003" y="293388"/>
                    <a:pt x="500515" y="288881"/>
                    <a:pt x="494547" y="285511"/>
                  </a:cubicBezTo>
                  <a:cubicBezTo>
                    <a:pt x="488622" y="282171"/>
                    <a:pt x="468505" y="257614"/>
                    <a:pt x="465796" y="254514"/>
                  </a:cubicBezTo>
                  <a:cubicBezTo>
                    <a:pt x="463077" y="251434"/>
                    <a:pt x="450008" y="250918"/>
                    <a:pt x="438010" y="250123"/>
                  </a:cubicBezTo>
                  <a:cubicBezTo>
                    <a:pt x="426011" y="249361"/>
                    <a:pt x="419397" y="233221"/>
                    <a:pt x="407919" y="212926"/>
                  </a:cubicBezTo>
                  <a:cubicBezTo>
                    <a:pt x="402751" y="204278"/>
                    <a:pt x="404703" y="195890"/>
                    <a:pt x="409312" y="177812"/>
                  </a:cubicBezTo>
                  <a:cubicBezTo>
                    <a:pt x="413997" y="159729"/>
                    <a:pt x="404800" y="154938"/>
                    <a:pt x="404800" y="154938"/>
                  </a:cubicBezTo>
                  <a:cubicBezTo>
                    <a:pt x="404800" y="154938"/>
                    <a:pt x="395380" y="158553"/>
                    <a:pt x="391644" y="157550"/>
                  </a:cubicBezTo>
                  <a:cubicBezTo>
                    <a:pt x="387913" y="156504"/>
                    <a:pt x="401459" y="143218"/>
                    <a:pt x="409842" y="136349"/>
                  </a:cubicBezTo>
                  <a:cubicBezTo>
                    <a:pt x="411944" y="134676"/>
                    <a:pt x="413612" y="133071"/>
                    <a:pt x="415126" y="131523"/>
                  </a:cubicBezTo>
                  <a:lnTo>
                    <a:pt x="402240" y="122933"/>
                  </a:lnTo>
                  <a:lnTo>
                    <a:pt x="398880" y="105627"/>
                  </a:lnTo>
                  <a:cubicBezTo>
                    <a:pt x="398880" y="105627"/>
                    <a:pt x="401724" y="98786"/>
                    <a:pt x="407408" y="87298"/>
                  </a:cubicBezTo>
                  <a:cubicBezTo>
                    <a:pt x="413087" y="75811"/>
                    <a:pt x="411650" y="62115"/>
                    <a:pt x="410122" y="61339"/>
                  </a:cubicBezTo>
                  <a:cubicBezTo>
                    <a:pt x="404935" y="58234"/>
                    <a:pt x="398374" y="45835"/>
                    <a:pt x="397612" y="43261"/>
                  </a:cubicBezTo>
                  <a:cubicBezTo>
                    <a:pt x="396821" y="40663"/>
                    <a:pt x="396306" y="39515"/>
                    <a:pt x="391393" y="37963"/>
                  </a:cubicBezTo>
                  <a:cubicBezTo>
                    <a:pt x="386500" y="36406"/>
                    <a:pt x="358318" y="32270"/>
                    <a:pt x="358318" y="32270"/>
                  </a:cubicBezTo>
                  <a:lnTo>
                    <a:pt x="352524" y="23732"/>
                  </a:lnTo>
                  <a:lnTo>
                    <a:pt x="341914" y="21679"/>
                  </a:lnTo>
                  <a:lnTo>
                    <a:pt x="321512" y="0"/>
                  </a:lnTo>
                  <a:lnTo>
                    <a:pt x="309249" y="5655"/>
                  </a:lnTo>
                  <a:lnTo>
                    <a:pt x="308082" y="12370"/>
                  </a:lnTo>
                  <a:lnTo>
                    <a:pt x="299573" y="21158"/>
                  </a:lnTo>
                  <a:cubicBezTo>
                    <a:pt x="299573" y="21158"/>
                    <a:pt x="299337" y="24002"/>
                    <a:pt x="298677" y="26581"/>
                  </a:cubicBezTo>
                  <a:cubicBezTo>
                    <a:pt x="294131" y="34483"/>
                    <a:pt x="282267" y="31224"/>
                    <a:pt x="280435" y="30597"/>
                  </a:cubicBezTo>
                  <a:cubicBezTo>
                    <a:pt x="278656" y="29946"/>
                    <a:pt x="273874" y="34348"/>
                    <a:pt x="273874" y="34348"/>
                  </a:cubicBezTo>
                  <a:lnTo>
                    <a:pt x="268200" y="34608"/>
                  </a:lnTo>
                  <a:cubicBezTo>
                    <a:pt x="268200" y="34608"/>
                    <a:pt x="265091" y="35750"/>
                    <a:pt x="263023" y="36917"/>
                  </a:cubicBezTo>
                  <a:cubicBezTo>
                    <a:pt x="260945" y="38084"/>
                    <a:pt x="260439" y="51750"/>
                    <a:pt x="260439" y="51750"/>
                  </a:cubicBezTo>
                  <a:cubicBezTo>
                    <a:pt x="260439" y="51750"/>
                    <a:pt x="257190" y="54614"/>
                    <a:pt x="256428" y="58104"/>
                  </a:cubicBezTo>
                  <a:cubicBezTo>
                    <a:pt x="254760" y="68550"/>
                    <a:pt x="249578" y="72542"/>
                    <a:pt x="246888" y="74384"/>
                  </a:cubicBezTo>
                  <a:cubicBezTo>
                    <a:pt x="244174" y="76186"/>
                    <a:pt x="245355" y="83148"/>
                    <a:pt x="247649" y="86223"/>
                  </a:cubicBezTo>
                  <a:cubicBezTo>
                    <a:pt x="249973" y="89337"/>
                    <a:pt x="247143" y="98005"/>
                    <a:pt x="246888" y="100198"/>
                  </a:cubicBezTo>
                  <a:cubicBezTo>
                    <a:pt x="246632" y="102382"/>
                    <a:pt x="245736" y="114391"/>
                    <a:pt x="245736" y="114391"/>
                  </a:cubicBezTo>
                  <a:lnTo>
                    <a:pt x="248440" y="119033"/>
                  </a:lnTo>
                  <a:lnTo>
                    <a:pt x="247143" y="132748"/>
                  </a:lnTo>
                  <a:lnTo>
                    <a:pt x="247399" y="147065"/>
                  </a:lnTo>
                  <a:cubicBezTo>
                    <a:pt x="247399" y="147065"/>
                    <a:pt x="248435" y="149529"/>
                    <a:pt x="250744" y="153414"/>
                  </a:cubicBezTo>
                  <a:lnTo>
                    <a:pt x="253844" y="164767"/>
                  </a:lnTo>
                  <a:lnTo>
                    <a:pt x="257069" y="172398"/>
                  </a:lnTo>
                  <a:lnTo>
                    <a:pt x="254095" y="184542"/>
                  </a:lnTo>
                  <a:cubicBezTo>
                    <a:pt x="254095" y="184542"/>
                    <a:pt x="253208" y="187497"/>
                    <a:pt x="253208" y="189820"/>
                  </a:cubicBezTo>
                  <a:cubicBezTo>
                    <a:pt x="253208" y="192149"/>
                    <a:pt x="248180" y="189820"/>
                    <a:pt x="246194" y="190505"/>
                  </a:cubicBezTo>
                  <a:cubicBezTo>
                    <a:pt x="226130" y="200349"/>
                    <a:pt x="233568" y="223792"/>
                    <a:pt x="234354" y="226352"/>
                  </a:cubicBezTo>
                  <a:cubicBezTo>
                    <a:pt x="235115" y="228960"/>
                    <a:pt x="231640" y="234267"/>
                    <a:pt x="229075" y="234127"/>
                  </a:cubicBezTo>
                  <a:cubicBezTo>
                    <a:pt x="226462" y="233992"/>
                    <a:pt x="226202" y="236446"/>
                    <a:pt x="226462" y="240963"/>
                  </a:cubicBezTo>
                  <a:cubicBezTo>
                    <a:pt x="226718" y="245480"/>
                    <a:pt x="222596" y="243807"/>
                    <a:pt x="222210" y="241865"/>
                  </a:cubicBezTo>
                  <a:cubicBezTo>
                    <a:pt x="220143" y="233612"/>
                    <a:pt x="206842" y="228825"/>
                    <a:pt x="199100" y="228825"/>
                  </a:cubicBezTo>
                  <a:cubicBezTo>
                    <a:pt x="191353" y="228825"/>
                    <a:pt x="184382" y="223927"/>
                    <a:pt x="182565" y="221608"/>
                  </a:cubicBezTo>
                  <a:cubicBezTo>
                    <a:pt x="180757" y="219280"/>
                    <a:pt x="167736" y="217197"/>
                    <a:pt x="167736" y="217197"/>
                  </a:cubicBezTo>
                  <a:lnTo>
                    <a:pt x="162670" y="223262"/>
                  </a:lnTo>
                  <a:lnTo>
                    <a:pt x="163697" y="229201"/>
                  </a:lnTo>
                  <a:lnTo>
                    <a:pt x="160467" y="236060"/>
                  </a:lnTo>
                  <a:lnTo>
                    <a:pt x="151168" y="239016"/>
                  </a:lnTo>
                  <a:lnTo>
                    <a:pt x="137732" y="251815"/>
                  </a:lnTo>
                  <a:lnTo>
                    <a:pt x="126375" y="245230"/>
                  </a:lnTo>
                  <a:lnTo>
                    <a:pt x="119925" y="247418"/>
                  </a:lnTo>
                  <a:lnTo>
                    <a:pt x="105597" y="241725"/>
                  </a:lnTo>
                  <a:lnTo>
                    <a:pt x="96833" y="245851"/>
                  </a:lnTo>
                  <a:lnTo>
                    <a:pt x="86609" y="226347"/>
                  </a:lnTo>
                  <a:cubicBezTo>
                    <a:pt x="86609" y="226347"/>
                    <a:pt x="83249" y="223527"/>
                    <a:pt x="81942" y="221603"/>
                  </a:cubicBezTo>
                  <a:cubicBezTo>
                    <a:pt x="80655" y="219660"/>
                    <a:pt x="78096" y="214237"/>
                    <a:pt x="78096" y="214237"/>
                  </a:cubicBezTo>
                  <a:cubicBezTo>
                    <a:pt x="78096" y="214237"/>
                    <a:pt x="74200" y="210752"/>
                    <a:pt x="70074" y="207001"/>
                  </a:cubicBezTo>
                  <a:cubicBezTo>
                    <a:pt x="65943" y="203251"/>
                    <a:pt x="45671" y="175107"/>
                    <a:pt x="45671" y="175107"/>
                  </a:cubicBezTo>
                  <a:lnTo>
                    <a:pt x="28495" y="174061"/>
                  </a:lnTo>
                  <a:lnTo>
                    <a:pt x="18550" y="183741"/>
                  </a:lnTo>
                  <a:lnTo>
                    <a:pt x="17528" y="191623"/>
                  </a:lnTo>
                  <a:lnTo>
                    <a:pt x="24489" y="203627"/>
                  </a:lnTo>
                  <a:lnTo>
                    <a:pt x="17779" y="211248"/>
                  </a:lnTo>
                  <a:lnTo>
                    <a:pt x="4088" y="204808"/>
                  </a:lnTo>
                  <a:lnTo>
                    <a:pt x="0" y="215462"/>
                  </a:lnTo>
                  <a:cubicBezTo>
                    <a:pt x="1822" y="215741"/>
                    <a:pt x="23424" y="219212"/>
                    <a:pt x="15855" y="227311"/>
                  </a:cubicBezTo>
                  <a:cubicBezTo>
                    <a:pt x="13826" y="231192"/>
                    <a:pt x="25487" y="235762"/>
                    <a:pt x="29966" y="238500"/>
                  </a:cubicBezTo>
                  <a:cubicBezTo>
                    <a:pt x="34444" y="241248"/>
                    <a:pt x="46337" y="249872"/>
                    <a:pt x="46674" y="251752"/>
                  </a:cubicBezTo>
                  <a:cubicBezTo>
                    <a:pt x="47012" y="253642"/>
                    <a:pt x="47518" y="256573"/>
                    <a:pt x="50290" y="256934"/>
                  </a:cubicBezTo>
                  <a:cubicBezTo>
                    <a:pt x="53042" y="257243"/>
                    <a:pt x="66690" y="261875"/>
                    <a:pt x="65875" y="269029"/>
                  </a:cubicBezTo>
                  <a:cubicBezTo>
                    <a:pt x="70937" y="267781"/>
                    <a:pt x="76953" y="268986"/>
                    <a:pt x="79903" y="275523"/>
                  </a:cubicBezTo>
                  <a:cubicBezTo>
                    <a:pt x="82829" y="282065"/>
                    <a:pt x="89877" y="282739"/>
                    <a:pt x="89877" y="282739"/>
                  </a:cubicBezTo>
                  <a:lnTo>
                    <a:pt x="96776" y="279823"/>
                  </a:lnTo>
                  <a:lnTo>
                    <a:pt x="101085" y="284306"/>
                  </a:lnTo>
                  <a:cubicBezTo>
                    <a:pt x="101085" y="284306"/>
                    <a:pt x="111600" y="280671"/>
                    <a:pt x="124837" y="288765"/>
                  </a:cubicBezTo>
                  <a:cubicBezTo>
                    <a:pt x="138104" y="296888"/>
                    <a:pt x="145147" y="301694"/>
                    <a:pt x="146014" y="307715"/>
                  </a:cubicBezTo>
                  <a:cubicBezTo>
                    <a:pt x="146887" y="313766"/>
                    <a:pt x="150314" y="319444"/>
                    <a:pt x="153250" y="317535"/>
                  </a:cubicBezTo>
                  <a:cubicBezTo>
                    <a:pt x="156172" y="315655"/>
                    <a:pt x="157912" y="315130"/>
                    <a:pt x="158929" y="318577"/>
                  </a:cubicBezTo>
                  <a:cubicBezTo>
                    <a:pt x="159971" y="322019"/>
                    <a:pt x="171154" y="336813"/>
                    <a:pt x="178043" y="338891"/>
                  </a:cubicBezTo>
                  <a:cubicBezTo>
                    <a:pt x="180969" y="339416"/>
                    <a:pt x="182189" y="342140"/>
                    <a:pt x="178925" y="344551"/>
                  </a:cubicBezTo>
                  <a:cubicBezTo>
                    <a:pt x="175647" y="346990"/>
                    <a:pt x="171858" y="354216"/>
                    <a:pt x="175136" y="364706"/>
                  </a:cubicBezTo>
                  <a:cubicBezTo>
                    <a:pt x="178395" y="375210"/>
                    <a:pt x="183042" y="388149"/>
                    <a:pt x="183042" y="388149"/>
                  </a:cubicBezTo>
                  <a:lnTo>
                    <a:pt x="180102" y="394175"/>
                  </a:lnTo>
                  <a:lnTo>
                    <a:pt x="180145" y="407707"/>
                  </a:lnTo>
                  <a:cubicBezTo>
                    <a:pt x="180145" y="407707"/>
                    <a:pt x="201819" y="406752"/>
                    <a:pt x="202851" y="418254"/>
                  </a:cubicBezTo>
                  <a:cubicBezTo>
                    <a:pt x="203709" y="427746"/>
                    <a:pt x="201993" y="430480"/>
                    <a:pt x="200088" y="431714"/>
                  </a:cubicBezTo>
                  <a:cubicBezTo>
                    <a:pt x="198203" y="432905"/>
                    <a:pt x="195427" y="434447"/>
                    <a:pt x="195268" y="437740"/>
                  </a:cubicBezTo>
                  <a:cubicBezTo>
                    <a:pt x="195094" y="441013"/>
                    <a:pt x="196309" y="446677"/>
                    <a:pt x="196309" y="446677"/>
                  </a:cubicBezTo>
                  <a:lnTo>
                    <a:pt x="228169" y="490604"/>
                  </a:lnTo>
                  <a:lnTo>
                    <a:pt x="225749" y="497666"/>
                  </a:lnTo>
                  <a:lnTo>
                    <a:pt x="226607" y="505914"/>
                  </a:lnTo>
                  <a:lnTo>
                    <a:pt x="226270" y="511603"/>
                  </a:lnTo>
                  <a:cubicBezTo>
                    <a:pt x="226270" y="511603"/>
                    <a:pt x="235217" y="520743"/>
                    <a:pt x="219386" y="545029"/>
                  </a:cubicBezTo>
                  <a:cubicBezTo>
                    <a:pt x="217144" y="547763"/>
                    <a:pt x="223334" y="546210"/>
                    <a:pt x="223170" y="555698"/>
                  </a:cubicBezTo>
                  <a:cubicBezTo>
                    <a:pt x="223011" y="565161"/>
                    <a:pt x="228834" y="579280"/>
                    <a:pt x="244010" y="583070"/>
                  </a:cubicBezTo>
                  <a:cubicBezTo>
                    <a:pt x="245553" y="589274"/>
                    <a:pt x="246430" y="590286"/>
                    <a:pt x="246247" y="591014"/>
                  </a:cubicBezTo>
                  <a:cubicBezTo>
                    <a:pt x="246097" y="591525"/>
                    <a:pt x="260829" y="611102"/>
                    <a:pt x="264228" y="623906"/>
                  </a:cubicBezTo>
                  <a:lnTo>
                    <a:pt x="264753" y="623771"/>
                  </a:lnTo>
                  <a:cubicBezTo>
                    <a:pt x="265125" y="623694"/>
                    <a:pt x="265462" y="623771"/>
                    <a:pt x="265785" y="623882"/>
                  </a:cubicBezTo>
                  <a:lnTo>
                    <a:pt x="266026" y="623380"/>
                  </a:lnTo>
                  <a:lnTo>
                    <a:pt x="267781" y="623279"/>
                  </a:lnTo>
                  <a:lnTo>
                    <a:pt x="274173" y="626200"/>
                  </a:lnTo>
                  <a:lnTo>
                    <a:pt x="279982" y="627758"/>
                  </a:lnTo>
                  <a:lnTo>
                    <a:pt x="285328" y="625328"/>
                  </a:lnTo>
                  <a:lnTo>
                    <a:pt x="286220" y="623520"/>
                  </a:lnTo>
                  <a:cubicBezTo>
                    <a:pt x="286577" y="622840"/>
                    <a:pt x="287324" y="622436"/>
                    <a:pt x="288095" y="622532"/>
                  </a:cubicBezTo>
                  <a:cubicBezTo>
                    <a:pt x="288842" y="622643"/>
                    <a:pt x="289459" y="623192"/>
                    <a:pt x="289619" y="623964"/>
                  </a:cubicBezTo>
                  <a:lnTo>
                    <a:pt x="290211" y="626933"/>
                  </a:lnTo>
                  <a:lnTo>
                    <a:pt x="290279" y="627319"/>
                  </a:lnTo>
                  <a:lnTo>
                    <a:pt x="290279" y="629131"/>
                  </a:lnTo>
                  <a:lnTo>
                    <a:pt x="293890" y="634294"/>
                  </a:lnTo>
                  <a:lnTo>
                    <a:pt x="298320" y="637090"/>
                  </a:lnTo>
                  <a:lnTo>
                    <a:pt x="299163" y="638421"/>
                  </a:lnTo>
                  <a:lnTo>
                    <a:pt x="299520" y="641844"/>
                  </a:lnTo>
                  <a:lnTo>
                    <a:pt x="303763" y="639925"/>
                  </a:lnTo>
                  <a:lnTo>
                    <a:pt x="303849" y="639901"/>
                  </a:lnTo>
                  <a:lnTo>
                    <a:pt x="309793" y="637524"/>
                  </a:lnTo>
                  <a:lnTo>
                    <a:pt x="311408" y="637645"/>
                  </a:lnTo>
                  <a:lnTo>
                    <a:pt x="316933" y="640961"/>
                  </a:lnTo>
                  <a:lnTo>
                    <a:pt x="317010" y="640961"/>
                  </a:lnTo>
                  <a:lnTo>
                    <a:pt x="318085" y="641289"/>
                  </a:lnTo>
                  <a:lnTo>
                    <a:pt x="324641" y="646076"/>
                  </a:lnTo>
                  <a:lnTo>
                    <a:pt x="325321" y="647084"/>
                  </a:lnTo>
                  <a:lnTo>
                    <a:pt x="325581" y="648096"/>
                  </a:lnTo>
                  <a:lnTo>
                    <a:pt x="330108" y="648096"/>
                  </a:lnTo>
                  <a:lnTo>
                    <a:pt x="331192" y="648453"/>
                  </a:lnTo>
                  <a:lnTo>
                    <a:pt x="337729" y="653216"/>
                  </a:lnTo>
                  <a:lnTo>
                    <a:pt x="338086" y="653510"/>
                  </a:lnTo>
                  <a:lnTo>
                    <a:pt x="343418" y="660051"/>
                  </a:lnTo>
                  <a:lnTo>
                    <a:pt x="343832" y="661382"/>
                  </a:lnTo>
                  <a:lnTo>
                    <a:pt x="343210" y="667345"/>
                  </a:lnTo>
                  <a:lnTo>
                    <a:pt x="343210" y="667485"/>
                  </a:lnTo>
                  <a:lnTo>
                    <a:pt x="342048" y="673791"/>
                  </a:lnTo>
                  <a:lnTo>
                    <a:pt x="342613" y="679358"/>
                  </a:lnTo>
                  <a:lnTo>
                    <a:pt x="344338" y="686252"/>
                  </a:lnTo>
                  <a:lnTo>
                    <a:pt x="346672" y="692080"/>
                  </a:lnTo>
                  <a:lnTo>
                    <a:pt x="346729" y="693271"/>
                  </a:lnTo>
                  <a:lnTo>
                    <a:pt x="344618" y="700627"/>
                  </a:lnTo>
                  <a:lnTo>
                    <a:pt x="349222" y="705718"/>
                  </a:lnTo>
                  <a:lnTo>
                    <a:pt x="356255" y="711599"/>
                  </a:lnTo>
                  <a:lnTo>
                    <a:pt x="356366" y="711705"/>
                  </a:lnTo>
                  <a:lnTo>
                    <a:pt x="362324" y="717640"/>
                  </a:lnTo>
                  <a:lnTo>
                    <a:pt x="362324" y="720233"/>
                  </a:lnTo>
                  <a:lnTo>
                    <a:pt x="361211" y="721337"/>
                  </a:lnTo>
                  <a:lnTo>
                    <a:pt x="362247" y="726939"/>
                  </a:lnTo>
                  <a:lnTo>
                    <a:pt x="361490" y="728751"/>
                  </a:lnTo>
                  <a:lnTo>
                    <a:pt x="359504" y="728833"/>
                  </a:lnTo>
                  <a:lnTo>
                    <a:pt x="354139" y="725632"/>
                  </a:lnTo>
                  <a:lnTo>
                    <a:pt x="350986" y="726196"/>
                  </a:lnTo>
                  <a:lnTo>
                    <a:pt x="354004" y="730660"/>
                  </a:lnTo>
                  <a:lnTo>
                    <a:pt x="361953" y="735206"/>
                  </a:lnTo>
                  <a:lnTo>
                    <a:pt x="362860" y="736614"/>
                  </a:lnTo>
                  <a:lnTo>
                    <a:pt x="363443" y="743170"/>
                  </a:lnTo>
                  <a:cubicBezTo>
                    <a:pt x="363539" y="744086"/>
                    <a:pt x="362884" y="744930"/>
                    <a:pt x="361997" y="745123"/>
                  </a:cubicBezTo>
                  <a:lnTo>
                    <a:pt x="356038" y="746289"/>
                  </a:lnTo>
                  <a:lnTo>
                    <a:pt x="354346" y="745716"/>
                  </a:lnTo>
                  <a:lnTo>
                    <a:pt x="348663" y="739526"/>
                  </a:lnTo>
                  <a:lnTo>
                    <a:pt x="344035" y="737660"/>
                  </a:lnTo>
                  <a:cubicBezTo>
                    <a:pt x="332875" y="747118"/>
                    <a:pt x="327273" y="745503"/>
                    <a:pt x="319960" y="759970"/>
                  </a:cubicBezTo>
                  <a:lnTo>
                    <a:pt x="319435" y="766676"/>
                  </a:lnTo>
                  <a:lnTo>
                    <a:pt x="319078" y="767587"/>
                  </a:lnTo>
                  <a:lnTo>
                    <a:pt x="314002" y="774943"/>
                  </a:lnTo>
                  <a:lnTo>
                    <a:pt x="313471" y="780241"/>
                  </a:lnTo>
                  <a:lnTo>
                    <a:pt x="314040" y="786007"/>
                  </a:lnTo>
                  <a:lnTo>
                    <a:pt x="314040" y="786065"/>
                  </a:lnTo>
                  <a:lnTo>
                    <a:pt x="314662" y="794395"/>
                  </a:lnTo>
                  <a:lnTo>
                    <a:pt x="314002" y="795938"/>
                  </a:lnTo>
                  <a:lnTo>
                    <a:pt x="308005" y="800806"/>
                  </a:lnTo>
                  <a:lnTo>
                    <a:pt x="307504" y="806003"/>
                  </a:lnTo>
                  <a:lnTo>
                    <a:pt x="306732" y="807310"/>
                  </a:lnTo>
                  <a:lnTo>
                    <a:pt x="305373" y="808221"/>
                  </a:lnTo>
                  <a:lnTo>
                    <a:pt x="302615" y="814869"/>
                  </a:lnTo>
                  <a:lnTo>
                    <a:pt x="302292" y="815351"/>
                  </a:lnTo>
                  <a:lnTo>
                    <a:pt x="297433" y="820798"/>
                  </a:lnTo>
                  <a:lnTo>
                    <a:pt x="297433" y="826650"/>
                  </a:lnTo>
                  <a:lnTo>
                    <a:pt x="297332" y="827166"/>
                  </a:lnTo>
                  <a:lnTo>
                    <a:pt x="295722" y="832445"/>
                  </a:lnTo>
                  <a:lnTo>
                    <a:pt x="298426" y="838379"/>
                  </a:lnTo>
                  <a:lnTo>
                    <a:pt x="298320" y="840052"/>
                  </a:lnTo>
                  <a:lnTo>
                    <a:pt x="296936" y="840953"/>
                  </a:lnTo>
                  <a:lnTo>
                    <a:pt x="291108" y="841474"/>
                  </a:lnTo>
                  <a:lnTo>
                    <a:pt x="286687" y="846386"/>
                  </a:lnTo>
                  <a:lnTo>
                    <a:pt x="286687" y="852244"/>
                  </a:lnTo>
                  <a:lnTo>
                    <a:pt x="286350" y="853290"/>
                  </a:lnTo>
                  <a:lnTo>
                    <a:pt x="283400" y="857479"/>
                  </a:lnTo>
                  <a:lnTo>
                    <a:pt x="283318" y="857527"/>
                  </a:lnTo>
                  <a:lnTo>
                    <a:pt x="279423" y="862420"/>
                  </a:lnTo>
                  <a:lnTo>
                    <a:pt x="282792" y="867255"/>
                  </a:lnTo>
                  <a:lnTo>
                    <a:pt x="283048" y="868793"/>
                  </a:lnTo>
                  <a:lnTo>
                    <a:pt x="281867" y="872973"/>
                  </a:lnTo>
                  <a:cubicBezTo>
                    <a:pt x="281635" y="873734"/>
                    <a:pt x="280922" y="874289"/>
                    <a:pt x="280131" y="874289"/>
                  </a:cubicBezTo>
                  <a:lnTo>
                    <a:pt x="273667" y="874289"/>
                  </a:lnTo>
                  <a:lnTo>
                    <a:pt x="269950" y="874650"/>
                  </a:lnTo>
                  <a:lnTo>
                    <a:pt x="271150" y="879109"/>
                  </a:lnTo>
                  <a:lnTo>
                    <a:pt x="272929" y="885044"/>
                  </a:lnTo>
                  <a:lnTo>
                    <a:pt x="273006" y="885723"/>
                  </a:lnTo>
                  <a:lnTo>
                    <a:pt x="272399" y="892284"/>
                  </a:lnTo>
                  <a:cubicBezTo>
                    <a:pt x="272351" y="893133"/>
                    <a:pt x="271628" y="893846"/>
                    <a:pt x="270746" y="893904"/>
                  </a:cubicBezTo>
                  <a:lnTo>
                    <a:pt x="264937" y="894483"/>
                  </a:lnTo>
                  <a:lnTo>
                    <a:pt x="260048" y="899858"/>
                  </a:lnTo>
                  <a:lnTo>
                    <a:pt x="257879" y="900282"/>
                  </a:lnTo>
                  <a:lnTo>
                    <a:pt x="255252" y="898985"/>
                  </a:lnTo>
                  <a:lnTo>
                    <a:pt x="254562" y="902408"/>
                  </a:lnTo>
                  <a:lnTo>
                    <a:pt x="254562" y="908173"/>
                  </a:lnTo>
                  <a:lnTo>
                    <a:pt x="254394" y="908945"/>
                  </a:lnTo>
                  <a:lnTo>
                    <a:pt x="251482" y="915342"/>
                  </a:lnTo>
                  <a:lnTo>
                    <a:pt x="249780" y="921604"/>
                  </a:lnTo>
                  <a:lnTo>
                    <a:pt x="249211" y="927287"/>
                  </a:lnTo>
                  <a:lnTo>
                    <a:pt x="249211" y="933752"/>
                  </a:lnTo>
                  <a:lnTo>
                    <a:pt x="248667" y="935058"/>
                  </a:lnTo>
                  <a:lnTo>
                    <a:pt x="247399" y="935579"/>
                  </a:lnTo>
                  <a:lnTo>
                    <a:pt x="245601" y="935579"/>
                  </a:lnTo>
                  <a:lnTo>
                    <a:pt x="244627" y="935300"/>
                  </a:lnTo>
                  <a:lnTo>
                    <a:pt x="238543" y="931419"/>
                  </a:lnTo>
                  <a:lnTo>
                    <a:pt x="234103" y="931419"/>
                  </a:lnTo>
                  <a:lnTo>
                    <a:pt x="230652" y="936837"/>
                  </a:lnTo>
                  <a:lnTo>
                    <a:pt x="229591" y="942203"/>
                  </a:lnTo>
                  <a:lnTo>
                    <a:pt x="230150" y="948455"/>
                  </a:lnTo>
                  <a:lnTo>
                    <a:pt x="230126" y="948937"/>
                  </a:lnTo>
                  <a:lnTo>
                    <a:pt x="228945" y="955513"/>
                  </a:lnTo>
                  <a:lnTo>
                    <a:pt x="228911" y="955672"/>
                  </a:lnTo>
                  <a:lnTo>
                    <a:pt x="227113" y="962209"/>
                  </a:lnTo>
                  <a:lnTo>
                    <a:pt x="225629" y="963515"/>
                  </a:lnTo>
                  <a:lnTo>
                    <a:pt x="223840" y="962710"/>
                  </a:lnTo>
                  <a:lnTo>
                    <a:pt x="222519" y="960642"/>
                  </a:lnTo>
                  <a:lnTo>
                    <a:pt x="222423" y="961886"/>
                  </a:lnTo>
                  <a:cubicBezTo>
                    <a:pt x="222345" y="962758"/>
                    <a:pt x="221646" y="963467"/>
                    <a:pt x="220760" y="963544"/>
                  </a:cubicBezTo>
                  <a:lnTo>
                    <a:pt x="216580" y="963939"/>
                  </a:lnTo>
                  <a:lnTo>
                    <a:pt x="217983" y="967815"/>
                  </a:lnTo>
                  <a:lnTo>
                    <a:pt x="223609" y="972882"/>
                  </a:lnTo>
                  <a:lnTo>
                    <a:pt x="223744" y="973017"/>
                  </a:lnTo>
                  <a:lnTo>
                    <a:pt x="229104" y="978951"/>
                  </a:lnTo>
                  <a:lnTo>
                    <a:pt x="229577" y="980175"/>
                  </a:lnTo>
                  <a:lnTo>
                    <a:pt x="229577" y="980759"/>
                  </a:lnTo>
                  <a:lnTo>
                    <a:pt x="229471" y="981328"/>
                  </a:lnTo>
                  <a:lnTo>
                    <a:pt x="227682" y="986703"/>
                  </a:lnTo>
                  <a:lnTo>
                    <a:pt x="226785" y="987734"/>
                  </a:lnTo>
                  <a:lnTo>
                    <a:pt x="221299" y="990501"/>
                  </a:lnTo>
                  <a:lnTo>
                    <a:pt x="217983" y="996002"/>
                  </a:lnTo>
                  <a:cubicBezTo>
                    <a:pt x="217607" y="996657"/>
                    <a:pt x="216835" y="997005"/>
                    <a:pt x="216088" y="996846"/>
                  </a:cubicBezTo>
                  <a:lnTo>
                    <a:pt x="211938" y="996002"/>
                  </a:lnTo>
                  <a:lnTo>
                    <a:pt x="211055" y="1000172"/>
                  </a:lnTo>
                  <a:lnTo>
                    <a:pt x="210882" y="1000683"/>
                  </a:lnTo>
                  <a:lnTo>
                    <a:pt x="207329" y="1007229"/>
                  </a:lnTo>
                  <a:lnTo>
                    <a:pt x="205618" y="1008193"/>
                  </a:lnTo>
                  <a:lnTo>
                    <a:pt x="204017" y="1007041"/>
                  </a:lnTo>
                  <a:lnTo>
                    <a:pt x="201641" y="1001073"/>
                  </a:lnTo>
                  <a:lnTo>
                    <a:pt x="201752" y="999507"/>
                  </a:lnTo>
                  <a:lnTo>
                    <a:pt x="203019" y="998615"/>
                  </a:lnTo>
                  <a:lnTo>
                    <a:pt x="204769" y="998321"/>
                  </a:lnTo>
                  <a:lnTo>
                    <a:pt x="204171" y="995399"/>
                  </a:lnTo>
                  <a:lnTo>
                    <a:pt x="199370" y="994560"/>
                  </a:lnTo>
                  <a:lnTo>
                    <a:pt x="195147" y="996224"/>
                  </a:lnTo>
                  <a:lnTo>
                    <a:pt x="195639" y="1001425"/>
                  </a:lnTo>
                  <a:cubicBezTo>
                    <a:pt x="195726" y="1002351"/>
                    <a:pt x="195080" y="1003204"/>
                    <a:pt x="194202" y="1003397"/>
                  </a:cubicBezTo>
                  <a:lnTo>
                    <a:pt x="188210" y="1004573"/>
                  </a:lnTo>
                  <a:lnTo>
                    <a:pt x="187217" y="1004486"/>
                  </a:lnTo>
                  <a:lnTo>
                    <a:pt x="180694" y="1002110"/>
                  </a:lnTo>
                  <a:lnTo>
                    <a:pt x="180694" y="1002076"/>
                  </a:lnTo>
                  <a:lnTo>
                    <a:pt x="182445" y="1006926"/>
                  </a:lnTo>
                  <a:lnTo>
                    <a:pt x="182551" y="1007552"/>
                  </a:lnTo>
                  <a:lnTo>
                    <a:pt x="182551" y="1012855"/>
                  </a:lnTo>
                  <a:lnTo>
                    <a:pt x="187497" y="1018900"/>
                  </a:lnTo>
                  <a:lnTo>
                    <a:pt x="187776" y="1019363"/>
                  </a:lnTo>
                  <a:lnTo>
                    <a:pt x="190153" y="1025331"/>
                  </a:lnTo>
                  <a:lnTo>
                    <a:pt x="189704" y="1027327"/>
                  </a:lnTo>
                  <a:lnTo>
                    <a:pt x="187641" y="1027626"/>
                  </a:lnTo>
                  <a:lnTo>
                    <a:pt x="182122" y="1024863"/>
                  </a:lnTo>
                  <a:lnTo>
                    <a:pt x="180227" y="1028643"/>
                  </a:lnTo>
                  <a:lnTo>
                    <a:pt x="181302" y="1033979"/>
                  </a:lnTo>
                  <a:lnTo>
                    <a:pt x="181302" y="1034683"/>
                  </a:lnTo>
                  <a:lnTo>
                    <a:pt x="180164" y="1040449"/>
                  </a:lnTo>
                  <a:lnTo>
                    <a:pt x="180164" y="1046822"/>
                  </a:lnTo>
                  <a:lnTo>
                    <a:pt x="179967" y="1047646"/>
                  </a:lnTo>
                  <a:lnTo>
                    <a:pt x="177007" y="1053571"/>
                  </a:lnTo>
                  <a:lnTo>
                    <a:pt x="175527" y="1054602"/>
                  </a:lnTo>
                  <a:lnTo>
                    <a:pt x="170489" y="1055051"/>
                  </a:lnTo>
                  <a:lnTo>
                    <a:pt x="170036" y="1059491"/>
                  </a:lnTo>
                  <a:lnTo>
                    <a:pt x="169771" y="1060291"/>
                  </a:lnTo>
                  <a:lnTo>
                    <a:pt x="165606" y="1067069"/>
                  </a:lnTo>
                  <a:lnTo>
                    <a:pt x="168595" y="1072073"/>
                  </a:lnTo>
                  <a:lnTo>
                    <a:pt x="168566" y="1073982"/>
                  </a:lnTo>
                  <a:lnTo>
                    <a:pt x="164733" y="1080003"/>
                  </a:lnTo>
                  <a:lnTo>
                    <a:pt x="165153" y="1084558"/>
                  </a:lnTo>
                  <a:lnTo>
                    <a:pt x="170354" y="1085498"/>
                  </a:lnTo>
                  <a:cubicBezTo>
                    <a:pt x="171193" y="1085662"/>
                    <a:pt x="171849" y="1086424"/>
                    <a:pt x="171849" y="1087272"/>
                  </a:cubicBezTo>
                  <a:lnTo>
                    <a:pt x="171849" y="1099801"/>
                  </a:lnTo>
                  <a:lnTo>
                    <a:pt x="171767" y="1100264"/>
                  </a:lnTo>
                  <a:lnTo>
                    <a:pt x="170754" y="1103971"/>
                  </a:lnTo>
                  <a:lnTo>
                    <a:pt x="173835" y="1103349"/>
                  </a:lnTo>
                  <a:lnTo>
                    <a:pt x="175464" y="1103803"/>
                  </a:lnTo>
                  <a:lnTo>
                    <a:pt x="175990" y="1105432"/>
                  </a:lnTo>
                  <a:lnTo>
                    <a:pt x="174886" y="1111959"/>
                  </a:lnTo>
                  <a:lnTo>
                    <a:pt x="178038" y="1117705"/>
                  </a:lnTo>
                  <a:lnTo>
                    <a:pt x="179046" y="1115150"/>
                  </a:lnTo>
                  <a:lnTo>
                    <a:pt x="180743" y="1114037"/>
                  </a:lnTo>
                  <a:lnTo>
                    <a:pt x="181312" y="1114037"/>
                  </a:lnTo>
                  <a:cubicBezTo>
                    <a:pt x="182131" y="1114037"/>
                    <a:pt x="182859" y="1114596"/>
                    <a:pt x="183100" y="1115348"/>
                  </a:cubicBezTo>
                  <a:lnTo>
                    <a:pt x="184792" y="1121610"/>
                  </a:lnTo>
                  <a:lnTo>
                    <a:pt x="188779" y="1127308"/>
                  </a:lnTo>
                  <a:lnTo>
                    <a:pt x="189121" y="1128340"/>
                  </a:lnTo>
                  <a:lnTo>
                    <a:pt x="189121" y="1131676"/>
                  </a:lnTo>
                  <a:lnTo>
                    <a:pt x="189328" y="1131536"/>
                  </a:lnTo>
                  <a:lnTo>
                    <a:pt x="190924" y="1131401"/>
                  </a:lnTo>
                  <a:lnTo>
                    <a:pt x="192014" y="1132592"/>
                  </a:lnTo>
                  <a:lnTo>
                    <a:pt x="193788" y="1139158"/>
                  </a:lnTo>
                  <a:lnTo>
                    <a:pt x="193788" y="1140151"/>
                  </a:lnTo>
                  <a:lnTo>
                    <a:pt x="192091" y="1145762"/>
                  </a:lnTo>
                  <a:lnTo>
                    <a:pt x="192669" y="1151359"/>
                  </a:lnTo>
                  <a:lnTo>
                    <a:pt x="192669" y="1151716"/>
                  </a:lnTo>
                  <a:lnTo>
                    <a:pt x="192062" y="1157568"/>
                  </a:lnTo>
                  <a:lnTo>
                    <a:pt x="192062" y="1164047"/>
                  </a:lnTo>
                  <a:lnTo>
                    <a:pt x="192057" y="1164355"/>
                  </a:lnTo>
                  <a:lnTo>
                    <a:pt x="190943" y="1170319"/>
                  </a:lnTo>
                  <a:lnTo>
                    <a:pt x="192520" y="1173409"/>
                  </a:lnTo>
                  <a:lnTo>
                    <a:pt x="197827" y="1172951"/>
                  </a:lnTo>
                  <a:cubicBezTo>
                    <a:pt x="198724" y="1172859"/>
                    <a:pt x="199524" y="1173409"/>
                    <a:pt x="199741" y="1174281"/>
                  </a:cubicBezTo>
                  <a:lnTo>
                    <a:pt x="201443" y="1180553"/>
                  </a:lnTo>
                  <a:lnTo>
                    <a:pt x="205391" y="1186767"/>
                  </a:lnTo>
                  <a:lnTo>
                    <a:pt x="210655" y="1192586"/>
                  </a:lnTo>
                  <a:lnTo>
                    <a:pt x="211104" y="1193791"/>
                  </a:lnTo>
                  <a:lnTo>
                    <a:pt x="211104" y="1198959"/>
                  </a:lnTo>
                  <a:lnTo>
                    <a:pt x="216469" y="1203774"/>
                  </a:lnTo>
                  <a:lnTo>
                    <a:pt x="216927" y="1205770"/>
                  </a:lnTo>
                  <a:lnTo>
                    <a:pt x="214965" y="1210673"/>
                  </a:lnTo>
                  <a:lnTo>
                    <a:pt x="220760" y="1216983"/>
                  </a:lnTo>
                  <a:lnTo>
                    <a:pt x="220803" y="1217046"/>
                  </a:lnTo>
                  <a:lnTo>
                    <a:pt x="226173" y="1223602"/>
                  </a:lnTo>
                  <a:lnTo>
                    <a:pt x="226274" y="1223732"/>
                  </a:lnTo>
                  <a:lnTo>
                    <a:pt x="227465" y="1225511"/>
                  </a:lnTo>
                  <a:lnTo>
                    <a:pt x="227451" y="1227598"/>
                  </a:lnTo>
                  <a:lnTo>
                    <a:pt x="225508" y="1228283"/>
                  </a:lnTo>
                  <a:lnTo>
                    <a:pt x="218990" y="1226499"/>
                  </a:lnTo>
                  <a:lnTo>
                    <a:pt x="215736" y="1225868"/>
                  </a:lnTo>
                  <a:lnTo>
                    <a:pt x="216257" y="1228746"/>
                  </a:lnTo>
                  <a:lnTo>
                    <a:pt x="221811" y="1230799"/>
                  </a:lnTo>
                  <a:cubicBezTo>
                    <a:pt x="222514" y="1231016"/>
                    <a:pt x="223016" y="1231701"/>
                    <a:pt x="223025" y="1232467"/>
                  </a:cubicBezTo>
                  <a:cubicBezTo>
                    <a:pt x="223025" y="1233190"/>
                    <a:pt x="222586" y="1233909"/>
                    <a:pt x="221892" y="1234164"/>
                  </a:cubicBezTo>
                  <a:lnTo>
                    <a:pt x="217833" y="1235798"/>
                  </a:lnTo>
                  <a:lnTo>
                    <a:pt x="220412" y="1240561"/>
                  </a:lnTo>
                  <a:lnTo>
                    <a:pt x="220562" y="1241954"/>
                  </a:lnTo>
                  <a:lnTo>
                    <a:pt x="219641" y="1243020"/>
                  </a:lnTo>
                  <a:lnTo>
                    <a:pt x="216238" y="1244736"/>
                  </a:lnTo>
                  <a:lnTo>
                    <a:pt x="219959" y="1247725"/>
                  </a:lnTo>
                  <a:lnTo>
                    <a:pt x="220528" y="1248520"/>
                  </a:lnTo>
                  <a:lnTo>
                    <a:pt x="222924" y="1255091"/>
                  </a:lnTo>
                  <a:lnTo>
                    <a:pt x="223025" y="1255684"/>
                  </a:lnTo>
                  <a:lnTo>
                    <a:pt x="223025" y="1261483"/>
                  </a:lnTo>
                  <a:lnTo>
                    <a:pt x="224177" y="1267885"/>
                  </a:lnTo>
                  <a:lnTo>
                    <a:pt x="224177" y="1268545"/>
                  </a:lnTo>
                  <a:lnTo>
                    <a:pt x="222967" y="1274509"/>
                  </a:lnTo>
                  <a:cubicBezTo>
                    <a:pt x="222832" y="1275348"/>
                    <a:pt x="222066" y="1275950"/>
                    <a:pt x="221208" y="1275950"/>
                  </a:cubicBezTo>
                  <a:lnTo>
                    <a:pt x="217612" y="1275950"/>
                  </a:lnTo>
                  <a:lnTo>
                    <a:pt x="219251" y="1279286"/>
                  </a:lnTo>
                  <a:lnTo>
                    <a:pt x="219328" y="1279460"/>
                  </a:lnTo>
                  <a:lnTo>
                    <a:pt x="221724" y="1286035"/>
                  </a:lnTo>
                  <a:lnTo>
                    <a:pt x="221733" y="1287177"/>
                  </a:lnTo>
                  <a:lnTo>
                    <a:pt x="219988" y="1293131"/>
                  </a:lnTo>
                  <a:cubicBezTo>
                    <a:pt x="219714" y="1294028"/>
                    <a:pt x="218798" y="1294577"/>
                    <a:pt x="217886" y="1294389"/>
                  </a:cubicBezTo>
                  <a:lnTo>
                    <a:pt x="214603" y="1293724"/>
                  </a:lnTo>
                  <a:lnTo>
                    <a:pt x="215187" y="1296708"/>
                  </a:lnTo>
                  <a:lnTo>
                    <a:pt x="219106" y="1303433"/>
                  </a:lnTo>
                  <a:lnTo>
                    <a:pt x="224337" y="1309237"/>
                  </a:lnTo>
                  <a:lnTo>
                    <a:pt x="224804" y="1310249"/>
                  </a:lnTo>
                  <a:lnTo>
                    <a:pt x="225407" y="1316213"/>
                  </a:lnTo>
                  <a:cubicBezTo>
                    <a:pt x="225498" y="1317027"/>
                    <a:pt x="225035" y="1317803"/>
                    <a:pt x="224259" y="1318102"/>
                  </a:cubicBezTo>
                  <a:lnTo>
                    <a:pt x="219848" y="1319852"/>
                  </a:lnTo>
                  <a:lnTo>
                    <a:pt x="221063" y="1323863"/>
                  </a:lnTo>
                  <a:lnTo>
                    <a:pt x="225599" y="1329566"/>
                  </a:lnTo>
                  <a:lnTo>
                    <a:pt x="225778" y="1329812"/>
                  </a:lnTo>
                  <a:lnTo>
                    <a:pt x="229350" y="1336368"/>
                  </a:lnTo>
                  <a:lnTo>
                    <a:pt x="229244" y="1338277"/>
                  </a:lnTo>
                  <a:lnTo>
                    <a:pt x="225932" y="1342992"/>
                  </a:lnTo>
                  <a:lnTo>
                    <a:pt x="230820" y="1347832"/>
                  </a:lnTo>
                  <a:lnTo>
                    <a:pt x="231346" y="1349138"/>
                  </a:lnTo>
                  <a:lnTo>
                    <a:pt x="231346" y="1353072"/>
                  </a:lnTo>
                  <a:lnTo>
                    <a:pt x="235303" y="1352657"/>
                  </a:lnTo>
                  <a:lnTo>
                    <a:pt x="235492" y="1352657"/>
                  </a:lnTo>
                  <a:lnTo>
                    <a:pt x="237873" y="1352657"/>
                  </a:lnTo>
                  <a:lnTo>
                    <a:pt x="239377" y="1353486"/>
                  </a:lnTo>
                  <a:lnTo>
                    <a:pt x="240587" y="1355256"/>
                  </a:lnTo>
                  <a:lnTo>
                    <a:pt x="240587" y="1357280"/>
                  </a:lnTo>
                  <a:lnTo>
                    <a:pt x="240129" y="1357965"/>
                  </a:lnTo>
                  <a:lnTo>
                    <a:pt x="242448" y="1360862"/>
                  </a:lnTo>
                  <a:lnTo>
                    <a:pt x="245022" y="1356851"/>
                  </a:lnTo>
                  <a:lnTo>
                    <a:pt x="245437" y="1352918"/>
                  </a:lnTo>
                  <a:lnTo>
                    <a:pt x="244569" y="1352696"/>
                  </a:lnTo>
                  <a:lnTo>
                    <a:pt x="243253" y="1351399"/>
                  </a:lnTo>
                  <a:lnTo>
                    <a:pt x="243725" y="1349620"/>
                  </a:lnTo>
                  <a:lnTo>
                    <a:pt x="245528" y="1347827"/>
                  </a:lnTo>
                  <a:lnTo>
                    <a:pt x="246815" y="1347297"/>
                  </a:lnTo>
                  <a:lnTo>
                    <a:pt x="252754" y="1347297"/>
                  </a:lnTo>
                  <a:cubicBezTo>
                    <a:pt x="253536" y="1347297"/>
                    <a:pt x="254196" y="1347793"/>
                    <a:pt x="254461" y="1348507"/>
                  </a:cubicBezTo>
                  <a:lnTo>
                    <a:pt x="256852" y="1355039"/>
                  </a:lnTo>
                  <a:lnTo>
                    <a:pt x="256949" y="1355675"/>
                  </a:lnTo>
                  <a:lnTo>
                    <a:pt x="256949" y="1361199"/>
                  </a:lnTo>
                  <a:lnTo>
                    <a:pt x="258925" y="1362376"/>
                  </a:lnTo>
                  <a:lnTo>
                    <a:pt x="258694" y="1360018"/>
                  </a:lnTo>
                  <a:lnTo>
                    <a:pt x="259277" y="1358485"/>
                  </a:lnTo>
                  <a:lnTo>
                    <a:pt x="260834" y="1358056"/>
                  </a:lnTo>
                  <a:lnTo>
                    <a:pt x="266788" y="1359262"/>
                  </a:lnTo>
                  <a:lnTo>
                    <a:pt x="267733" y="1359758"/>
                  </a:lnTo>
                  <a:lnTo>
                    <a:pt x="272534" y="1364603"/>
                  </a:lnTo>
                  <a:lnTo>
                    <a:pt x="277740" y="1364603"/>
                  </a:lnTo>
                  <a:cubicBezTo>
                    <a:pt x="278637" y="1364603"/>
                    <a:pt x="279389" y="1365196"/>
                    <a:pt x="279519" y="1366073"/>
                  </a:cubicBezTo>
                  <a:lnTo>
                    <a:pt x="280218" y="1369819"/>
                  </a:lnTo>
                  <a:lnTo>
                    <a:pt x="283829" y="1367307"/>
                  </a:lnTo>
                  <a:lnTo>
                    <a:pt x="286167" y="1367500"/>
                  </a:lnTo>
                  <a:lnTo>
                    <a:pt x="291152" y="1372475"/>
                  </a:lnTo>
                  <a:lnTo>
                    <a:pt x="297708" y="1368966"/>
                  </a:lnTo>
                  <a:lnTo>
                    <a:pt x="298889" y="1368744"/>
                  </a:lnTo>
                  <a:lnTo>
                    <a:pt x="305098" y="1369896"/>
                  </a:lnTo>
                  <a:lnTo>
                    <a:pt x="311336" y="1368744"/>
                  </a:lnTo>
                  <a:lnTo>
                    <a:pt x="312989" y="1369318"/>
                  </a:lnTo>
                  <a:lnTo>
                    <a:pt x="313389" y="1370990"/>
                  </a:lnTo>
                  <a:lnTo>
                    <a:pt x="311659" y="1378120"/>
                  </a:lnTo>
                  <a:lnTo>
                    <a:pt x="311418" y="1378684"/>
                  </a:lnTo>
                  <a:lnTo>
                    <a:pt x="308217" y="1383683"/>
                  </a:lnTo>
                  <a:lnTo>
                    <a:pt x="313221" y="1386884"/>
                  </a:lnTo>
                  <a:lnTo>
                    <a:pt x="313520" y="1387125"/>
                  </a:lnTo>
                  <a:lnTo>
                    <a:pt x="314117" y="1387699"/>
                  </a:lnTo>
                  <a:lnTo>
                    <a:pt x="318885" y="1387207"/>
                  </a:lnTo>
                  <a:lnTo>
                    <a:pt x="325224" y="1384030"/>
                  </a:lnTo>
                  <a:lnTo>
                    <a:pt x="328551" y="1378535"/>
                  </a:lnTo>
                  <a:lnTo>
                    <a:pt x="329071" y="1377985"/>
                  </a:lnTo>
                  <a:lnTo>
                    <a:pt x="334769" y="1373998"/>
                  </a:lnTo>
                  <a:lnTo>
                    <a:pt x="339320" y="1367693"/>
                  </a:lnTo>
                  <a:lnTo>
                    <a:pt x="341301" y="1367023"/>
                  </a:lnTo>
                  <a:cubicBezTo>
                    <a:pt x="342020" y="1367211"/>
                    <a:pt x="342555" y="1367828"/>
                    <a:pt x="342608" y="1368575"/>
                  </a:cubicBezTo>
                  <a:lnTo>
                    <a:pt x="343205" y="1374543"/>
                  </a:lnTo>
                  <a:lnTo>
                    <a:pt x="343017" y="1375522"/>
                  </a:lnTo>
                  <a:lnTo>
                    <a:pt x="340087" y="1381451"/>
                  </a:lnTo>
                  <a:lnTo>
                    <a:pt x="337209" y="1387776"/>
                  </a:lnTo>
                  <a:lnTo>
                    <a:pt x="336177" y="1392949"/>
                  </a:lnTo>
                  <a:lnTo>
                    <a:pt x="338520" y="1398088"/>
                  </a:lnTo>
                  <a:lnTo>
                    <a:pt x="343553" y="1399119"/>
                  </a:lnTo>
                  <a:lnTo>
                    <a:pt x="344917" y="1400300"/>
                  </a:lnTo>
                  <a:lnTo>
                    <a:pt x="345977" y="1403467"/>
                  </a:lnTo>
                  <a:lnTo>
                    <a:pt x="350567" y="1408095"/>
                  </a:lnTo>
                  <a:lnTo>
                    <a:pt x="355889" y="1404716"/>
                  </a:lnTo>
                  <a:lnTo>
                    <a:pt x="358102" y="1404890"/>
                  </a:lnTo>
                  <a:lnTo>
                    <a:pt x="358506" y="1407088"/>
                  </a:lnTo>
                  <a:lnTo>
                    <a:pt x="357359" y="1409382"/>
                  </a:lnTo>
                  <a:lnTo>
                    <a:pt x="359958" y="1408664"/>
                  </a:lnTo>
                  <a:lnTo>
                    <a:pt x="361539" y="1408968"/>
                  </a:lnTo>
                  <a:lnTo>
                    <a:pt x="362262" y="1410424"/>
                  </a:lnTo>
                  <a:lnTo>
                    <a:pt x="362262" y="1413977"/>
                  </a:lnTo>
                  <a:cubicBezTo>
                    <a:pt x="362262" y="1414777"/>
                    <a:pt x="361751" y="1415490"/>
                    <a:pt x="361023" y="1415727"/>
                  </a:cubicBezTo>
                  <a:lnTo>
                    <a:pt x="359205" y="1416300"/>
                  </a:lnTo>
                  <a:lnTo>
                    <a:pt x="358651" y="1416421"/>
                  </a:lnTo>
                  <a:lnTo>
                    <a:pt x="356892" y="1416421"/>
                  </a:lnTo>
                  <a:lnTo>
                    <a:pt x="355715" y="1417293"/>
                  </a:lnTo>
                  <a:lnTo>
                    <a:pt x="355715" y="1420075"/>
                  </a:lnTo>
                  <a:lnTo>
                    <a:pt x="359697" y="1418296"/>
                  </a:lnTo>
                  <a:lnTo>
                    <a:pt x="361423" y="1418402"/>
                  </a:lnTo>
                  <a:lnTo>
                    <a:pt x="362262" y="1419930"/>
                  </a:lnTo>
                  <a:lnTo>
                    <a:pt x="362262" y="1420234"/>
                  </a:lnTo>
                  <a:lnTo>
                    <a:pt x="362884" y="1419284"/>
                  </a:lnTo>
                  <a:lnTo>
                    <a:pt x="364026" y="1412511"/>
                  </a:lnTo>
                  <a:cubicBezTo>
                    <a:pt x="364156" y="1411624"/>
                    <a:pt x="364908" y="1410964"/>
                    <a:pt x="365815" y="1410964"/>
                  </a:cubicBezTo>
                  <a:lnTo>
                    <a:pt x="367015" y="1410964"/>
                  </a:lnTo>
                  <a:lnTo>
                    <a:pt x="368466" y="1411706"/>
                  </a:lnTo>
                  <a:lnTo>
                    <a:pt x="368736" y="1413278"/>
                  </a:lnTo>
                  <a:lnTo>
                    <a:pt x="367550" y="1417486"/>
                  </a:lnTo>
                  <a:lnTo>
                    <a:pt x="367507" y="1417578"/>
                  </a:lnTo>
                  <a:lnTo>
                    <a:pt x="365130" y="1424115"/>
                  </a:lnTo>
                  <a:lnTo>
                    <a:pt x="364706" y="1424804"/>
                  </a:lnTo>
                  <a:lnTo>
                    <a:pt x="356371" y="1433120"/>
                  </a:lnTo>
                  <a:lnTo>
                    <a:pt x="356226" y="1433250"/>
                  </a:lnTo>
                  <a:lnTo>
                    <a:pt x="350711" y="1437772"/>
                  </a:lnTo>
                  <a:lnTo>
                    <a:pt x="357793" y="1436673"/>
                  </a:lnTo>
                  <a:lnTo>
                    <a:pt x="362990" y="1431481"/>
                  </a:lnTo>
                  <a:lnTo>
                    <a:pt x="364663" y="1425951"/>
                  </a:lnTo>
                  <a:lnTo>
                    <a:pt x="364981" y="1425349"/>
                  </a:lnTo>
                  <a:lnTo>
                    <a:pt x="369676" y="1419467"/>
                  </a:lnTo>
                  <a:lnTo>
                    <a:pt x="373480" y="1413456"/>
                  </a:lnTo>
                  <a:cubicBezTo>
                    <a:pt x="373870" y="1408963"/>
                    <a:pt x="376796" y="1406620"/>
                    <a:pt x="379182" y="1402836"/>
                  </a:cubicBezTo>
                  <a:cubicBezTo>
                    <a:pt x="379713" y="1402108"/>
                    <a:pt x="380667" y="1401867"/>
                    <a:pt x="381472" y="1402214"/>
                  </a:cubicBezTo>
                  <a:cubicBezTo>
                    <a:pt x="382268" y="1402600"/>
                    <a:pt x="382678" y="1403501"/>
                    <a:pt x="382446" y="1404354"/>
                  </a:cubicBezTo>
                  <a:lnTo>
                    <a:pt x="380667" y="1410882"/>
                  </a:lnTo>
                  <a:lnTo>
                    <a:pt x="380098" y="1413210"/>
                  </a:lnTo>
                  <a:lnTo>
                    <a:pt x="378922" y="1419125"/>
                  </a:lnTo>
                  <a:lnTo>
                    <a:pt x="378695" y="1419390"/>
                  </a:lnTo>
                  <a:lnTo>
                    <a:pt x="382788" y="1417158"/>
                  </a:lnTo>
                  <a:lnTo>
                    <a:pt x="383338" y="1416951"/>
                  </a:lnTo>
                  <a:lnTo>
                    <a:pt x="389185" y="1415784"/>
                  </a:lnTo>
                  <a:lnTo>
                    <a:pt x="393601" y="1414459"/>
                  </a:lnTo>
                  <a:lnTo>
                    <a:pt x="393153" y="1410009"/>
                  </a:lnTo>
                  <a:lnTo>
                    <a:pt x="393669" y="1408534"/>
                  </a:lnTo>
                  <a:lnTo>
                    <a:pt x="395144" y="1408018"/>
                  </a:lnTo>
                  <a:lnTo>
                    <a:pt x="399849" y="1408481"/>
                  </a:lnTo>
                  <a:lnTo>
                    <a:pt x="401690" y="1404846"/>
                  </a:lnTo>
                  <a:lnTo>
                    <a:pt x="403320" y="1403863"/>
                  </a:lnTo>
                  <a:lnTo>
                    <a:pt x="403730" y="1403863"/>
                  </a:lnTo>
                  <a:lnTo>
                    <a:pt x="405624" y="1403472"/>
                  </a:lnTo>
                  <a:lnTo>
                    <a:pt x="408232" y="1397769"/>
                  </a:lnTo>
                  <a:cubicBezTo>
                    <a:pt x="408555" y="1396974"/>
                    <a:pt x="409490" y="1396540"/>
                    <a:pt x="410343" y="1396781"/>
                  </a:cubicBezTo>
                  <a:lnTo>
                    <a:pt x="415964" y="1398309"/>
                  </a:lnTo>
                  <a:lnTo>
                    <a:pt x="421793" y="1393542"/>
                  </a:lnTo>
                  <a:lnTo>
                    <a:pt x="422448" y="1393223"/>
                  </a:lnTo>
                  <a:lnTo>
                    <a:pt x="428373" y="1391416"/>
                  </a:lnTo>
                  <a:cubicBezTo>
                    <a:pt x="429265" y="1391175"/>
                    <a:pt x="430176" y="1391584"/>
                    <a:pt x="430542" y="1392404"/>
                  </a:cubicBezTo>
                  <a:lnTo>
                    <a:pt x="433039" y="1397900"/>
                  </a:lnTo>
                  <a:lnTo>
                    <a:pt x="433329" y="1397900"/>
                  </a:lnTo>
                  <a:lnTo>
                    <a:pt x="437528" y="1392095"/>
                  </a:lnTo>
                  <a:lnTo>
                    <a:pt x="439480" y="1391416"/>
                  </a:lnTo>
                  <a:cubicBezTo>
                    <a:pt x="440193" y="1391609"/>
                    <a:pt x="440733" y="1392211"/>
                    <a:pt x="440825" y="1392973"/>
                  </a:cubicBezTo>
                  <a:lnTo>
                    <a:pt x="441191" y="1396338"/>
                  </a:lnTo>
                  <a:lnTo>
                    <a:pt x="443303" y="1395937"/>
                  </a:lnTo>
                  <a:lnTo>
                    <a:pt x="443269" y="1395465"/>
                  </a:lnTo>
                  <a:lnTo>
                    <a:pt x="445578" y="1389661"/>
                  </a:lnTo>
                  <a:lnTo>
                    <a:pt x="446687" y="1383553"/>
                  </a:lnTo>
                  <a:lnTo>
                    <a:pt x="446104" y="1377870"/>
                  </a:lnTo>
                  <a:lnTo>
                    <a:pt x="446648" y="1376385"/>
                  </a:lnTo>
                  <a:lnTo>
                    <a:pt x="447839" y="1375218"/>
                  </a:lnTo>
                  <a:lnTo>
                    <a:pt x="450124" y="1374982"/>
                  </a:lnTo>
                  <a:lnTo>
                    <a:pt x="451787" y="1376062"/>
                  </a:lnTo>
                  <a:lnTo>
                    <a:pt x="455523" y="1377571"/>
                  </a:lnTo>
                  <a:lnTo>
                    <a:pt x="456270" y="1373762"/>
                  </a:lnTo>
                  <a:lnTo>
                    <a:pt x="456849" y="1372750"/>
                  </a:lnTo>
                  <a:lnTo>
                    <a:pt x="463386" y="1366796"/>
                  </a:lnTo>
                  <a:lnTo>
                    <a:pt x="464952" y="1366396"/>
                  </a:lnTo>
                  <a:lnTo>
                    <a:pt x="468935" y="1367172"/>
                  </a:lnTo>
                  <a:lnTo>
                    <a:pt x="469325" y="1363219"/>
                  </a:lnTo>
                  <a:cubicBezTo>
                    <a:pt x="469421" y="1362231"/>
                    <a:pt x="470318" y="1361513"/>
                    <a:pt x="471311" y="1361571"/>
                  </a:cubicBezTo>
                  <a:lnTo>
                    <a:pt x="477597" y="1362149"/>
                  </a:lnTo>
                  <a:lnTo>
                    <a:pt x="482572" y="1361243"/>
                  </a:lnTo>
                  <a:lnTo>
                    <a:pt x="483025" y="1356678"/>
                  </a:lnTo>
                  <a:lnTo>
                    <a:pt x="483970" y="1355260"/>
                  </a:lnTo>
                  <a:lnTo>
                    <a:pt x="490497" y="1351712"/>
                  </a:lnTo>
                  <a:lnTo>
                    <a:pt x="490845" y="1351544"/>
                  </a:lnTo>
                  <a:lnTo>
                    <a:pt x="496808" y="1349774"/>
                  </a:lnTo>
                  <a:lnTo>
                    <a:pt x="496842" y="1349774"/>
                  </a:lnTo>
                  <a:lnTo>
                    <a:pt x="502390" y="1348237"/>
                  </a:lnTo>
                  <a:lnTo>
                    <a:pt x="503894" y="1342707"/>
                  </a:lnTo>
                  <a:lnTo>
                    <a:pt x="503894" y="1342649"/>
                  </a:lnTo>
                  <a:lnTo>
                    <a:pt x="505673" y="1336691"/>
                  </a:lnTo>
                  <a:lnTo>
                    <a:pt x="505827" y="1336363"/>
                  </a:lnTo>
                  <a:lnTo>
                    <a:pt x="509380" y="1329807"/>
                  </a:lnTo>
                  <a:lnTo>
                    <a:pt x="511019" y="1328872"/>
                  </a:lnTo>
                  <a:lnTo>
                    <a:pt x="512620" y="1329850"/>
                  </a:lnTo>
                  <a:lnTo>
                    <a:pt x="515585" y="1335814"/>
                  </a:lnTo>
                  <a:lnTo>
                    <a:pt x="515806" y="1336633"/>
                  </a:lnTo>
                  <a:lnTo>
                    <a:pt x="515806" y="1341999"/>
                  </a:lnTo>
                  <a:lnTo>
                    <a:pt x="518443" y="1343204"/>
                  </a:lnTo>
                  <a:lnTo>
                    <a:pt x="518115" y="1339762"/>
                  </a:lnTo>
                  <a:lnTo>
                    <a:pt x="518583" y="1338374"/>
                  </a:lnTo>
                  <a:lnTo>
                    <a:pt x="519923" y="1337771"/>
                  </a:lnTo>
                  <a:lnTo>
                    <a:pt x="525896" y="1337771"/>
                  </a:lnTo>
                  <a:lnTo>
                    <a:pt x="526648" y="1338002"/>
                  </a:lnTo>
                  <a:lnTo>
                    <a:pt x="526441" y="1337400"/>
                  </a:lnTo>
                  <a:lnTo>
                    <a:pt x="525910" y="1332015"/>
                  </a:lnTo>
                  <a:lnTo>
                    <a:pt x="520883" y="1325873"/>
                  </a:lnTo>
                  <a:lnTo>
                    <a:pt x="520955" y="1323530"/>
                  </a:lnTo>
                  <a:cubicBezTo>
                    <a:pt x="521538" y="1322851"/>
                    <a:pt x="522531" y="1322725"/>
                    <a:pt x="523288" y="1323169"/>
                  </a:cubicBezTo>
                  <a:lnTo>
                    <a:pt x="529651" y="1327247"/>
                  </a:lnTo>
                  <a:lnTo>
                    <a:pt x="535807" y="1329465"/>
                  </a:lnTo>
                  <a:lnTo>
                    <a:pt x="537181" y="1329629"/>
                  </a:lnTo>
                  <a:cubicBezTo>
                    <a:pt x="533113" y="1324678"/>
                    <a:pt x="528914" y="1319698"/>
                    <a:pt x="526614" y="1313624"/>
                  </a:cubicBezTo>
                  <a:cubicBezTo>
                    <a:pt x="526238" y="1312838"/>
                    <a:pt x="526474" y="1311840"/>
                    <a:pt x="527193" y="1311334"/>
                  </a:cubicBezTo>
                  <a:lnTo>
                    <a:pt x="529550" y="1311532"/>
                  </a:lnTo>
                  <a:lnTo>
                    <a:pt x="535200" y="1317220"/>
                  </a:lnTo>
                  <a:lnTo>
                    <a:pt x="540908" y="1319255"/>
                  </a:lnTo>
                  <a:lnTo>
                    <a:pt x="544750" y="1318493"/>
                  </a:lnTo>
                  <a:lnTo>
                    <a:pt x="544297" y="1313566"/>
                  </a:lnTo>
                  <a:cubicBezTo>
                    <a:pt x="544234" y="1312809"/>
                    <a:pt x="544673" y="1312096"/>
                    <a:pt x="545347" y="1311768"/>
                  </a:cubicBezTo>
                  <a:lnTo>
                    <a:pt x="547406" y="1312125"/>
                  </a:lnTo>
                  <a:lnTo>
                    <a:pt x="553027" y="1317736"/>
                  </a:lnTo>
                  <a:lnTo>
                    <a:pt x="557168" y="1315682"/>
                  </a:lnTo>
                  <a:lnTo>
                    <a:pt x="559120" y="1310211"/>
                  </a:lnTo>
                  <a:lnTo>
                    <a:pt x="558585" y="1305294"/>
                  </a:lnTo>
                  <a:lnTo>
                    <a:pt x="559487" y="1303505"/>
                  </a:lnTo>
                  <a:lnTo>
                    <a:pt x="561487" y="1303616"/>
                  </a:lnTo>
                  <a:lnTo>
                    <a:pt x="565368" y="1306518"/>
                  </a:lnTo>
                  <a:lnTo>
                    <a:pt x="570295" y="1304060"/>
                  </a:lnTo>
                  <a:lnTo>
                    <a:pt x="571948" y="1304060"/>
                  </a:lnTo>
                  <a:lnTo>
                    <a:pt x="576547" y="1306350"/>
                  </a:lnTo>
                  <a:lnTo>
                    <a:pt x="580408" y="1301572"/>
                  </a:lnTo>
                  <a:lnTo>
                    <a:pt x="580784" y="1301215"/>
                  </a:lnTo>
                  <a:lnTo>
                    <a:pt x="586729" y="1297060"/>
                  </a:lnTo>
                  <a:lnTo>
                    <a:pt x="587095" y="1296838"/>
                  </a:lnTo>
                  <a:lnTo>
                    <a:pt x="592489" y="1294678"/>
                  </a:lnTo>
                  <a:lnTo>
                    <a:pt x="596375" y="1288633"/>
                  </a:lnTo>
                  <a:lnTo>
                    <a:pt x="597874" y="1287785"/>
                  </a:lnTo>
                  <a:lnTo>
                    <a:pt x="602005" y="1287785"/>
                  </a:lnTo>
                  <a:lnTo>
                    <a:pt x="600901" y="1284179"/>
                  </a:lnTo>
                  <a:cubicBezTo>
                    <a:pt x="600631" y="1283258"/>
                    <a:pt x="601157" y="1282270"/>
                    <a:pt x="602039" y="1281942"/>
                  </a:cubicBezTo>
                  <a:lnTo>
                    <a:pt x="603842" y="1281340"/>
                  </a:lnTo>
                  <a:lnTo>
                    <a:pt x="605505" y="1281605"/>
                  </a:lnTo>
                  <a:lnTo>
                    <a:pt x="605992" y="1282569"/>
                  </a:lnTo>
                  <a:lnTo>
                    <a:pt x="612182" y="1287192"/>
                  </a:lnTo>
                  <a:lnTo>
                    <a:pt x="617528" y="1287192"/>
                  </a:lnTo>
                  <a:lnTo>
                    <a:pt x="618473" y="1287472"/>
                  </a:lnTo>
                  <a:lnTo>
                    <a:pt x="623192" y="1290311"/>
                  </a:lnTo>
                  <a:lnTo>
                    <a:pt x="628129" y="1285360"/>
                  </a:lnTo>
                  <a:lnTo>
                    <a:pt x="629430" y="1284801"/>
                  </a:lnTo>
                  <a:lnTo>
                    <a:pt x="635577" y="1284801"/>
                  </a:lnTo>
                  <a:lnTo>
                    <a:pt x="639424" y="1283061"/>
                  </a:lnTo>
                  <a:lnTo>
                    <a:pt x="639033" y="1281210"/>
                  </a:lnTo>
                  <a:lnTo>
                    <a:pt x="641405" y="1275241"/>
                  </a:lnTo>
                  <a:lnTo>
                    <a:pt x="642519" y="1274229"/>
                  </a:lnTo>
                  <a:lnTo>
                    <a:pt x="643632" y="1274340"/>
                  </a:lnTo>
                  <a:cubicBezTo>
                    <a:pt x="645011" y="1269090"/>
                    <a:pt x="646934" y="1264385"/>
                    <a:pt x="648376" y="1262476"/>
                  </a:cubicBezTo>
                  <a:cubicBezTo>
                    <a:pt x="650569" y="1259545"/>
                    <a:pt x="654334" y="1253611"/>
                    <a:pt x="657414" y="124445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14" name="Freihandform: Form 613">
              <a:extLst>
                <a:ext uri="{FF2B5EF4-FFF2-40B4-BE49-F238E27FC236}">
                  <a16:creationId xmlns:a16="http://schemas.microsoft.com/office/drawing/2014/main" id="{C215EE7E-5A92-1E64-40B9-C15F3FEDB436}"/>
                </a:ext>
              </a:extLst>
            </p:cNvPr>
            <p:cNvSpPr/>
            <p:nvPr/>
          </p:nvSpPr>
          <p:spPr>
            <a:xfrm>
              <a:off x="5472220" y="963512"/>
              <a:ext cx="901598" cy="2424204"/>
            </a:xfrm>
            <a:custGeom>
              <a:avLst/>
              <a:gdLst>
                <a:gd name="connsiteX0" fmla="*/ 687424 w 707627"/>
                <a:gd name="connsiteY0" fmla="*/ 367661 h 1900164"/>
                <a:gd name="connsiteX1" fmla="*/ 666584 w 707627"/>
                <a:gd name="connsiteY1" fmla="*/ 340289 h 1900164"/>
                <a:gd name="connsiteX2" fmla="*/ 662800 w 707627"/>
                <a:gd name="connsiteY2" fmla="*/ 329621 h 1900164"/>
                <a:gd name="connsiteX3" fmla="*/ 669683 w 707627"/>
                <a:gd name="connsiteY3" fmla="*/ 296194 h 1900164"/>
                <a:gd name="connsiteX4" fmla="*/ 670021 w 707627"/>
                <a:gd name="connsiteY4" fmla="*/ 290506 h 1900164"/>
                <a:gd name="connsiteX5" fmla="*/ 669163 w 707627"/>
                <a:gd name="connsiteY5" fmla="*/ 282257 h 1900164"/>
                <a:gd name="connsiteX6" fmla="*/ 671583 w 707627"/>
                <a:gd name="connsiteY6" fmla="*/ 275195 h 1900164"/>
                <a:gd name="connsiteX7" fmla="*/ 639723 w 707627"/>
                <a:gd name="connsiteY7" fmla="*/ 231269 h 1900164"/>
                <a:gd name="connsiteX8" fmla="*/ 638681 w 707627"/>
                <a:gd name="connsiteY8" fmla="*/ 222331 h 1900164"/>
                <a:gd name="connsiteX9" fmla="*/ 643502 w 707627"/>
                <a:gd name="connsiteY9" fmla="*/ 216305 h 1900164"/>
                <a:gd name="connsiteX10" fmla="*/ 646265 w 707627"/>
                <a:gd name="connsiteY10" fmla="*/ 202846 h 1900164"/>
                <a:gd name="connsiteX11" fmla="*/ 623559 w 707627"/>
                <a:gd name="connsiteY11" fmla="*/ 192298 h 1900164"/>
                <a:gd name="connsiteX12" fmla="*/ 623515 w 707627"/>
                <a:gd name="connsiteY12" fmla="*/ 178766 h 1900164"/>
                <a:gd name="connsiteX13" fmla="*/ 626456 w 707627"/>
                <a:gd name="connsiteY13" fmla="*/ 172740 h 1900164"/>
                <a:gd name="connsiteX14" fmla="*/ 618550 w 707627"/>
                <a:gd name="connsiteY14" fmla="*/ 149297 h 1900164"/>
                <a:gd name="connsiteX15" fmla="*/ 622339 w 707627"/>
                <a:gd name="connsiteY15" fmla="*/ 129142 h 1900164"/>
                <a:gd name="connsiteX16" fmla="*/ 621457 w 707627"/>
                <a:gd name="connsiteY16" fmla="*/ 123482 h 1900164"/>
                <a:gd name="connsiteX17" fmla="*/ 602343 w 707627"/>
                <a:gd name="connsiteY17" fmla="*/ 103168 h 1900164"/>
                <a:gd name="connsiteX18" fmla="*/ 596664 w 707627"/>
                <a:gd name="connsiteY18" fmla="*/ 102127 h 1900164"/>
                <a:gd name="connsiteX19" fmla="*/ 589428 w 707627"/>
                <a:gd name="connsiteY19" fmla="*/ 92307 h 1900164"/>
                <a:gd name="connsiteX20" fmla="*/ 568251 w 707627"/>
                <a:gd name="connsiteY20" fmla="*/ 73357 h 1900164"/>
                <a:gd name="connsiteX21" fmla="*/ 544499 w 707627"/>
                <a:gd name="connsiteY21" fmla="*/ 68898 h 1900164"/>
                <a:gd name="connsiteX22" fmla="*/ 540190 w 707627"/>
                <a:gd name="connsiteY22" fmla="*/ 64414 h 1900164"/>
                <a:gd name="connsiteX23" fmla="*/ 533291 w 707627"/>
                <a:gd name="connsiteY23" fmla="*/ 67331 h 1900164"/>
                <a:gd name="connsiteX24" fmla="*/ 523317 w 707627"/>
                <a:gd name="connsiteY24" fmla="*/ 60114 h 1900164"/>
                <a:gd name="connsiteX25" fmla="*/ 509289 w 707627"/>
                <a:gd name="connsiteY25" fmla="*/ 53621 h 1900164"/>
                <a:gd name="connsiteX26" fmla="*/ 493703 w 707627"/>
                <a:gd name="connsiteY26" fmla="*/ 41526 h 1900164"/>
                <a:gd name="connsiteX27" fmla="*/ 490088 w 707627"/>
                <a:gd name="connsiteY27" fmla="*/ 36343 h 1900164"/>
                <a:gd name="connsiteX28" fmla="*/ 473379 w 707627"/>
                <a:gd name="connsiteY28" fmla="*/ 23091 h 1900164"/>
                <a:gd name="connsiteX29" fmla="*/ 459269 w 707627"/>
                <a:gd name="connsiteY29" fmla="*/ 11902 h 1900164"/>
                <a:gd name="connsiteX30" fmla="*/ 443414 w 707627"/>
                <a:gd name="connsiteY30" fmla="*/ 53 h 1900164"/>
                <a:gd name="connsiteX31" fmla="*/ 442209 w 707627"/>
                <a:gd name="connsiteY31" fmla="*/ 3206 h 1900164"/>
                <a:gd name="connsiteX32" fmla="*/ 443414 w 707627"/>
                <a:gd name="connsiteY32" fmla="*/ 53 h 1900164"/>
                <a:gd name="connsiteX33" fmla="*/ 443221 w 707627"/>
                <a:gd name="connsiteY33" fmla="*/ 0 h 1900164"/>
                <a:gd name="connsiteX34" fmla="*/ 418438 w 707627"/>
                <a:gd name="connsiteY34" fmla="*/ 6040 h 1900164"/>
                <a:gd name="connsiteX35" fmla="*/ 431873 w 707627"/>
                <a:gd name="connsiteY35" fmla="*/ 19803 h 1900164"/>
                <a:gd name="connsiteX36" fmla="*/ 434968 w 707627"/>
                <a:gd name="connsiteY36" fmla="*/ 36676 h 1900164"/>
                <a:gd name="connsiteX37" fmla="*/ 421566 w 707627"/>
                <a:gd name="connsiteY37" fmla="*/ 73872 h 1900164"/>
                <a:gd name="connsiteX38" fmla="*/ 435479 w 707627"/>
                <a:gd name="connsiteY38" fmla="*/ 81118 h 1900164"/>
                <a:gd name="connsiteX39" fmla="*/ 423765 w 707627"/>
                <a:gd name="connsiteY39" fmla="*/ 101119 h 1900164"/>
                <a:gd name="connsiteX40" fmla="*/ 371262 w 707627"/>
                <a:gd name="connsiteY40" fmla="*/ 85601 h 1900164"/>
                <a:gd name="connsiteX41" fmla="*/ 355417 w 707627"/>
                <a:gd name="connsiteY41" fmla="*/ 89564 h 1900164"/>
                <a:gd name="connsiteX42" fmla="*/ 343553 w 707627"/>
                <a:gd name="connsiteY42" fmla="*/ 80434 h 1900164"/>
                <a:gd name="connsiteX43" fmla="*/ 329071 w 707627"/>
                <a:gd name="connsiteY43" fmla="*/ 87650 h 1900164"/>
                <a:gd name="connsiteX44" fmla="*/ 328917 w 707627"/>
                <a:gd name="connsiteY44" fmla="*/ 101119 h 1900164"/>
                <a:gd name="connsiteX45" fmla="*/ 336317 w 707627"/>
                <a:gd name="connsiteY45" fmla="*/ 135713 h 1900164"/>
                <a:gd name="connsiteX46" fmla="*/ 327018 w 707627"/>
                <a:gd name="connsiteY46" fmla="*/ 163244 h 1900164"/>
                <a:gd name="connsiteX47" fmla="*/ 319955 w 707627"/>
                <a:gd name="connsiteY47" fmla="*/ 165302 h 1900164"/>
                <a:gd name="connsiteX48" fmla="*/ 312030 w 707627"/>
                <a:gd name="connsiteY48" fmla="*/ 159479 h 1900164"/>
                <a:gd name="connsiteX49" fmla="*/ 300663 w 707627"/>
                <a:gd name="connsiteY49" fmla="*/ 154658 h 1900164"/>
                <a:gd name="connsiteX50" fmla="*/ 290670 w 707627"/>
                <a:gd name="connsiteY50" fmla="*/ 155159 h 1900164"/>
                <a:gd name="connsiteX51" fmla="*/ 281983 w 707627"/>
                <a:gd name="connsiteY51" fmla="*/ 167891 h 1900164"/>
                <a:gd name="connsiteX52" fmla="*/ 267092 w 707627"/>
                <a:gd name="connsiteY52" fmla="*/ 182208 h 1900164"/>
                <a:gd name="connsiteX53" fmla="*/ 261254 w 707627"/>
                <a:gd name="connsiteY53" fmla="*/ 221285 h 1900164"/>
                <a:gd name="connsiteX54" fmla="*/ 253492 w 707627"/>
                <a:gd name="connsiteY54" fmla="*/ 236957 h 1900164"/>
                <a:gd name="connsiteX55" fmla="*/ 240742 w 707627"/>
                <a:gd name="connsiteY55" fmla="*/ 242457 h 1900164"/>
                <a:gd name="connsiteX56" fmla="*/ 239204 w 707627"/>
                <a:gd name="connsiteY56" fmla="*/ 253502 h 1900164"/>
                <a:gd name="connsiteX57" fmla="*/ 258993 w 707627"/>
                <a:gd name="connsiteY57" fmla="*/ 283289 h 1900164"/>
                <a:gd name="connsiteX58" fmla="*/ 259489 w 707627"/>
                <a:gd name="connsiteY58" fmla="*/ 304813 h 1900164"/>
                <a:gd name="connsiteX59" fmla="*/ 238331 w 707627"/>
                <a:gd name="connsiteY59" fmla="*/ 333559 h 1900164"/>
                <a:gd name="connsiteX60" fmla="*/ 217660 w 707627"/>
                <a:gd name="connsiteY60" fmla="*/ 378676 h 1900164"/>
                <a:gd name="connsiteX61" fmla="*/ 211967 w 707627"/>
                <a:gd name="connsiteY61" fmla="*/ 385546 h 1900164"/>
                <a:gd name="connsiteX62" fmla="*/ 217342 w 707627"/>
                <a:gd name="connsiteY62" fmla="*/ 404853 h 1900164"/>
                <a:gd name="connsiteX63" fmla="*/ 217159 w 707627"/>
                <a:gd name="connsiteY63" fmla="*/ 415000 h 1900164"/>
                <a:gd name="connsiteX64" fmla="*/ 193875 w 707627"/>
                <a:gd name="connsiteY64" fmla="*/ 434505 h 1900164"/>
                <a:gd name="connsiteX65" fmla="*/ 166874 w 707627"/>
                <a:gd name="connsiteY65" fmla="*/ 439615 h 1900164"/>
                <a:gd name="connsiteX66" fmla="*/ 176332 w 707627"/>
                <a:gd name="connsiteY66" fmla="*/ 482336 h 1900164"/>
                <a:gd name="connsiteX67" fmla="*/ 172379 w 707627"/>
                <a:gd name="connsiteY67" fmla="*/ 495443 h 1900164"/>
                <a:gd name="connsiteX68" fmla="*/ 172379 w 707627"/>
                <a:gd name="connsiteY68" fmla="*/ 540021 h 1900164"/>
                <a:gd name="connsiteX69" fmla="*/ 171680 w 707627"/>
                <a:gd name="connsiteY69" fmla="*/ 555003 h 1900164"/>
                <a:gd name="connsiteX70" fmla="*/ 166011 w 707627"/>
                <a:gd name="connsiteY70" fmla="*/ 562225 h 1900164"/>
                <a:gd name="connsiteX71" fmla="*/ 164285 w 707627"/>
                <a:gd name="connsiteY71" fmla="*/ 580495 h 1900164"/>
                <a:gd name="connsiteX72" fmla="*/ 129157 w 707627"/>
                <a:gd name="connsiteY72" fmla="*/ 654175 h 1900164"/>
                <a:gd name="connsiteX73" fmla="*/ 143783 w 707627"/>
                <a:gd name="connsiteY73" fmla="*/ 665537 h 1900164"/>
                <a:gd name="connsiteX74" fmla="*/ 157218 w 707627"/>
                <a:gd name="connsiteY74" fmla="*/ 670001 h 1900164"/>
                <a:gd name="connsiteX75" fmla="*/ 163422 w 707627"/>
                <a:gd name="connsiteY75" fmla="*/ 705834 h 1900164"/>
                <a:gd name="connsiteX76" fmla="*/ 154128 w 707627"/>
                <a:gd name="connsiteY76" fmla="*/ 728746 h 1900164"/>
                <a:gd name="connsiteX77" fmla="*/ 108485 w 707627"/>
                <a:gd name="connsiteY77" fmla="*/ 723420 h 1900164"/>
                <a:gd name="connsiteX78" fmla="*/ 57868 w 707627"/>
                <a:gd name="connsiteY78" fmla="*/ 776968 h 1900164"/>
                <a:gd name="connsiteX79" fmla="*/ 56827 w 707627"/>
                <a:gd name="connsiteY79" fmla="*/ 781085 h 1900164"/>
                <a:gd name="connsiteX80" fmla="*/ 48390 w 707627"/>
                <a:gd name="connsiteY80" fmla="*/ 792982 h 1900164"/>
                <a:gd name="connsiteX81" fmla="*/ 51148 w 707627"/>
                <a:gd name="connsiteY81" fmla="*/ 807951 h 1900164"/>
                <a:gd name="connsiteX82" fmla="*/ 38392 w 707627"/>
                <a:gd name="connsiteY82" fmla="*/ 835000 h 1900164"/>
                <a:gd name="connsiteX83" fmla="*/ 53216 w 707627"/>
                <a:gd name="connsiteY83" fmla="*/ 873720 h 1900164"/>
                <a:gd name="connsiteX84" fmla="*/ 45802 w 707627"/>
                <a:gd name="connsiteY84" fmla="*/ 886302 h 1900164"/>
                <a:gd name="connsiteX85" fmla="*/ 50969 w 707627"/>
                <a:gd name="connsiteY85" fmla="*/ 912970 h 1900164"/>
                <a:gd name="connsiteX86" fmla="*/ 47884 w 707627"/>
                <a:gd name="connsiteY86" fmla="*/ 924366 h 1900164"/>
                <a:gd name="connsiteX87" fmla="*/ 55809 w 707627"/>
                <a:gd name="connsiteY87" fmla="*/ 953970 h 1900164"/>
                <a:gd name="connsiteX88" fmla="*/ 62877 w 707627"/>
                <a:gd name="connsiteY88" fmla="*/ 978575 h 1900164"/>
                <a:gd name="connsiteX89" fmla="*/ 55631 w 707627"/>
                <a:gd name="connsiteY89" fmla="*/ 1047472 h 1900164"/>
                <a:gd name="connsiteX90" fmla="*/ 73371 w 707627"/>
                <a:gd name="connsiteY90" fmla="*/ 1067951 h 1900164"/>
                <a:gd name="connsiteX91" fmla="*/ 84734 w 707627"/>
                <a:gd name="connsiteY91" fmla="*/ 1068674 h 1900164"/>
                <a:gd name="connsiteX92" fmla="*/ 104692 w 707627"/>
                <a:gd name="connsiteY92" fmla="*/ 1095337 h 1900164"/>
                <a:gd name="connsiteX93" fmla="*/ 98670 w 707627"/>
                <a:gd name="connsiteY93" fmla="*/ 1121152 h 1900164"/>
                <a:gd name="connsiteX94" fmla="*/ 95744 w 707627"/>
                <a:gd name="connsiteY94" fmla="*/ 1135663 h 1900164"/>
                <a:gd name="connsiteX95" fmla="*/ 88354 w 707627"/>
                <a:gd name="connsiteY95" fmla="*/ 1138218 h 1900164"/>
                <a:gd name="connsiteX96" fmla="*/ 86445 w 707627"/>
                <a:gd name="connsiteY96" fmla="*/ 1137543 h 1900164"/>
                <a:gd name="connsiteX97" fmla="*/ 69076 w 707627"/>
                <a:gd name="connsiteY97" fmla="*/ 1142551 h 1900164"/>
                <a:gd name="connsiteX98" fmla="*/ 68045 w 707627"/>
                <a:gd name="connsiteY98" fmla="*/ 1154246 h 1900164"/>
                <a:gd name="connsiteX99" fmla="*/ 70267 w 707627"/>
                <a:gd name="connsiteY99" fmla="*/ 1162152 h 1900164"/>
                <a:gd name="connsiteX100" fmla="*/ 78370 w 707627"/>
                <a:gd name="connsiteY100" fmla="*/ 1184554 h 1900164"/>
                <a:gd name="connsiteX101" fmla="*/ 84044 w 707627"/>
                <a:gd name="connsiteY101" fmla="*/ 1196264 h 1900164"/>
                <a:gd name="connsiteX102" fmla="*/ 90576 w 707627"/>
                <a:gd name="connsiteY102" fmla="*/ 1210210 h 1900164"/>
                <a:gd name="connsiteX103" fmla="*/ 84734 w 707627"/>
                <a:gd name="connsiteY103" fmla="*/ 1240156 h 1900164"/>
                <a:gd name="connsiteX104" fmla="*/ 86445 w 707627"/>
                <a:gd name="connsiteY104" fmla="*/ 1246727 h 1900164"/>
                <a:gd name="connsiteX105" fmla="*/ 62163 w 707627"/>
                <a:gd name="connsiteY105" fmla="*/ 1294741 h 1900164"/>
                <a:gd name="connsiteX106" fmla="*/ 50801 w 707627"/>
                <a:gd name="connsiteY106" fmla="*/ 1294741 h 1900164"/>
                <a:gd name="connsiteX107" fmla="*/ 44090 w 707627"/>
                <a:gd name="connsiteY107" fmla="*/ 1297855 h 1900164"/>
                <a:gd name="connsiteX108" fmla="*/ 44090 w 707627"/>
                <a:gd name="connsiteY108" fmla="*/ 1304050 h 1900164"/>
                <a:gd name="connsiteX109" fmla="*/ 47369 w 707627"/>
                <a:gd name="connsiteY109" fmla="*/ 1309560 h 1900164"/>
                <a:gd name="connsiteX110" fmla="*/ 47706 w 707627"/>
                <a:gd name="connsiteY110" fmla="*/ 1320758 h 1900164"/>
                <a:gd name="connsiteX111" fmla="*/ 43232 w 707627"/>
                <a:gd name="connsiteY111" fmla="*/ 1327970 h 1900164"/>
                <a:gd name="connsiteX112" fmla="*/ 37891 w 707627"/>
                <a:gd name="connsiteY112" fmla="*/ 1329706 h 1900164"/>
                <a:gd name="connsiteX113" fmla="*/ 33427 w 707627"/>
                <a:gd name="connsiteY113" fmla="*/ 1337462 h 1900164"/>
                <a:gd name="connsiteX114" fmla="*/ 40484 w 707627"/>
                <a:gd name="connsiteY114" fmla="*/ 1363475 h 1900164"/>
                <a:gd name="connsiteX115" fmla="*/ 42027 w 707627"/>
                <a:gd name="connsiteY115" fmla="*/ 1389299 h 1900164"/>
                <a:gd name="connsiteX116" fmla="*/ 41685 w 707627"/>
                <a:gd name="connsiteY116" fmla="*/ 1404277 h 1900164"/>
                <a:gd name="connsiteX117" fmla="*/ 38407 w 707627"/>
                <a:gd name="connsiteY117" fmla="*/ 1411142 h 1900164"/>
                <a:gd name="connsiteX118" fmla="*/ 37028 w 707627"/>
                <a:gd name="connsiteY118" fmla="*/ 1424409 h 1900164"/>
                <a:gd name="connsiteX119" fmla="*/ 28794 w 707627"/>
                <a:gd name="connsiteY119" fmla="*/ 1431129 h 1900164"/>
                <a:gd name="connsiteX120" fmla="*/ 22749 w 707627"/>
                <a:gd name="connsiteY120" fmla="*/ 1431129 h 1900164"/>
                <a:gd name="connsiteX121" fmla="*/ 19992 w 707627"/>
                <a:gd name="connsiteY121" fmla="*/ 1417877 h 1900164"/>
                <a:gd name="connsiteX122" fmla="*/ 14144 w 707627"/>
                <a:gd name="connsiteY122" fmla="*/ 1406162 h 1900164"/>
                <a:gd name="connsiteX123" fmla="*/ 5920 w 707627"/>
                <a:gd name="connsiteY123" fmla="*/ 1404272 h 1900164"/>
                <a:gd name="connsiteX124" fmla="*/ 5877 w 707627"/>
                <a:gd name="connsiteY124" fmla="*/ 1404726 h 1900164"/>
                <a:gd name="connsiteX125" fmla="*/ 5766 w 707627"/>
                <a:gd name="connsiteY125" fmla="*/ 1405155 h 1900164"/>
                <a:gd name="connsiteX126" fmla="*/ 3370 w 707627"/>
                <a:gd name="connsiteY126" fmla="*/ 1411696 h 1900164"/>
                <a:gd name="connsiteX127" fmla="*/ 3288 w 707627"/>
                <a:gd name="connsiteY127" fmla="*/ 1411899 h 1900164"/>
                <a:gd name="connsiteX128" fmla="*/ 487 w 707627"/>
                <a:gd name="connsiteY128" fmla="*/ 1417525 h 1900164"/>
                <a:gd name="connsiteX129" fmla="*/ 0 w 707627"/>
                <a:gd name="connsiteY129" fmla="*/ 1422895 h 1900164"/>
                <a:gd name="connsiteX130" fmla="*/ 5356 w 707627"/>
                <a:gd name="connsiteY130" fmla="*/ 1428236 h 1900164"/>
                <a:gd name="connsiteX131" fmla="*/ 5906 w 707627"/>
                <a:gd name="connsiteY131" fmla="*/ 1429523 h 1900164"/>
                <a:gd name="connsiteX132" fmla="*/ 5906 w 707627"/>
                <a:gd name="connsiteY132" fmla="*/ 1435033 h 1900164"/>
                <a:gd name="connsiteX133" fmla="*/ 8668 w 707627"/>
                <a:gd name="connsiteY133" fmla="*/ 1440616 h 1900164"/>
                <a:gd name="connsiteX134" fmla="*/ 8841 w 707627"/>
                <a:gd name="connsiteY134" fmla="*/ 1441614 h 1900164"/>
                <a:gd name="connsiteX135" fmla="*/ 8296 w 707627"/>
                <a:gd name="connsiteY135" fmla="*/ 1447789 h 1900164"/>
                <a:gd name="connsiteX136" fmla="*/ 9964 w 707627"/>
                <a:gd name="connsiteY136" fmla="*/ 1453386 h 1900164"/>
                <a:gd name="connsiteX137" fmla="*/ 9964 w 707627"/>
                <a:gd name="connsiteY137" fmla="*/ 1454422 h 1900164"/>
                <a:gd name="connsiteX138" fmla="*/ 8398 w 707627"/>
                <a:gd name="connsiteY138" fmla="*/ 1459744 h 1900164"/>
                <a:gd name="connsiteX139" fmla="*/ 11661 w 707627"/>
                <a:gd name="connsiteY139" fmla="*/ 1466836 h 1900164"/>
                <a:gd name="connsiteX140" fmla="*/ 11835 w 707627"/>
                <a:gd name="connsiteY140" fmla="*/ 1467424 h 1900164"/>
                <a:gd name="connsiteX141" fmla="*/ 12418 w 707627"/>
                <a:gd name="connsiteY141" fmla="*/ 1473382 h 1900164"/>
                <a:gd name="connsiteX142" fmla="*/ 12418 w 707627"/>
                <a:gd name="connsiteY142" fmla="*/ 1473382 h 1900164"/>
                <a:gd name="connsiteX143" fmla="*/ 13021 w 707627"/>
                <a:gd name="connsiteY143" fmla="*/ 1479933 h 1900164"/>
                <a:gd name="connsiteX144" fmla="*/ 13021 w 707627"/>
                <a:gd name="connsiteY144" fmla="*/ 1480107 h 1900164"/>
                <a:gd name="connsiteX145" fmla="*/ 13021 w 707627"/>
                <a:gd name="connsiteY145" fmla="*/ 1485964 h 1900164"/>
                <a:gd name="connsiteX146" fmla="*/ 13599 w 707627"/>
                <a:gd name="connsiteY146" fmla="*/ 1492443 h 1900164"/>
                <a:gd name="connsiteX147" fmla="*/ 13498 w 707627"/>
                <a:gd name="connsiteY147" fmla="*/ 1493273 h 1900164"/>
                <a:gd name="connsiteX148" fmla="*/ 11242 w 707627"/>
                <a:gd name="connsiteY148" fmla="*/ 1498898 h 1900164"/>
                <a:gd name="connsiteX149" fmla="*/ 11242 w 707627"/>
                <a:gd name="connsiteY149" fmla="*/ 1502340 h 1900164"/>
                <a:gd name="connsiteX150" fmla="*/ 15393 w 707627"/>
                <a:gd name="connsiteY150" fmla="*/ 1501665 h 1900164"/>
                <a:gd name="connsiteX151" fmla="*/ 18512 w 707627"/>
                <a:gd name="connsiteY151" fmla="*/ 1495919 h 1900164"/>
                <a:gd name="connsiteX152" fmla="*/ 21486 w 707627"/>
                <a:gd name="connsiteY152" fmla="*/ 1489975 h 1900164"/>
                <a:gd name="connsiteX153" fmla="*/ 23737 w 707627"/>
                <a:gd name="connsiteY153" fmla="*/ 1489098 h 1900164"/>
                <a:gd name="connsiteX154" fmla="*/ 24865 w 707627"/>
                <a:gd name="connsiteY154" fmla="*/ 1491248 h 1900164"/>
                <a:gd name="connsiteX155" fmla="*/ 23077 w 707627"/>
                <a:gd name="connsiteY155" fmla="*/ 1498382 h 1900164"/>
                <a:gd name="connsiteX156" fmla="*/ 22942 w 707627"/>
                <a:gd name="connsiteY156" fmla="*/ 1498744 h 1900164"/>
                <a:gd name="connsiteX157" fmla="*/ 21288 w 707627"/>
                <a:gd name="connsiteY157" fmla="*/ 1502099 h 1900164"/>
                <a:gd name="connsiteX158" fmla="*/ 24297 w 707627"/>
                <a:gd name="connsiteY158" fmla="*/ 1502099 h 1900164"/>
                <a:gd name="connsiteX159" fmla="*/ 25882 w 707627"/>
                <a:gd name="connsiteY159" fmla="*/ 1503005 h 1900164"/>
                <a:gd name="connsiteX160" fmla="*/ 25858 w 707627"/>
                <a:gd name="connsiteY160" fmla="*/ 1504837 h 1900164"/>
                <a:gd name="connsiteX161" fmla="*/ 23675 w 707627"/>
                <a:gd name="connsiteY161" fmla="*/ 1508491 h 1900164"/>
                <a:gd name="connsiteX162" fmla="*/ 26851 w 707627"/>
                <a:gd name="connsiteY162" fmla="*/ 1509007 h 1900164"/>
                <a:gd name="connsiteX163" fmla="*/ 29083 w 707627"/>
                <a:gd name="connsiteY163" fmla="*/ 1504577 h 1900164"/>
                <a:gd name="connsiteX164" fmla="*/ 29619 w 707627"/>
                <a:gd name="connsiteY164" fmla="*/ 1498455 h 1900164"/>
                <a:gd name="connsiteX165" fmla="*/ 29619 w 707627"/>
                <a:gd name="connsiteY165" fmla="*/ 1492000 h 1900164"/>
                <a:gd name="connsiteX166" fmla="*/ 30510 w 707627"/>
                <a:gd name="connsiteY166" fmla="*/ 1490443 h 1900164"/>
                <a:gd name="connsiteX167" fmla="*/ 32260 w 707627"/>
                <a:gd name="connsiteY167" fmla="*/ 1490356 h 1900164"/>
                <a:gd name="connsiteX168" fmla="*/ 38195 w 707627"/>
                <a:gd name="connsiteY168" fmla="*/ 1493354 h 1900164"/>
                <a:gd name="connsiteX169" fmla="*/ 39144 w 707627"/>
                <a:gd name="connsiteY169" fmla="*/ 1495495 h 1900164"/>
                <a:gd name="connsiteX170" fmla="*/ 37360 w 707627"/>
                <a:gd name="connsiteY170" fmla="*/ 1501434 h 1900164"/>
                <a:gd name="connsiteX171" fmla="*/ 37216 w 707627"/>
                <a:gd name="connsiteY171" fmla="*/ 1501791 h 1900164"/>
                <a:gd name="connsiteX172" fmla="*/ 33625 w 707627"/>
                <a:gd name="connsiteY172" fmla="*/ 1508318 h 1900164"/>
                <a:gd name="connsiteX173" fmla="*/ 30978 w 707627"/>
                <a:gd name="connsiteY173" fmla="*/ 1513163 h 1900164"/>
                <a:gd name="connsiteX174" fmla="*/ 34324 w 707627"/>
                <a:gd name="connsiteY174" fmla="*/ 1514667 h 1900164"/>
                <a:gd name="connsiteX175" fmla="*/ 37640 w 707627"/>
                <a:gd name="connsiteY175" fmla="*/ 1509475 h 1900164"/>
                <a:gd name="connsiteX176" fmla="*/ 38204 w 707627"/>
                <a:gd name="connsiteY176" fmla="*/ 1508896 h 1900164"/>
                <a:gd name="connsiteX177" fmla="*/ 44736 w 707627"/>
                <a:gd name="connsiteY177" fmla="*/ 1504746 h 1900164"/>
                <a:gd name="connsiteX178" fmla="*/ 45898 w 707627"/>
                <a:gd name="connsiteY178" fmla="*/ 1504466 h 1900164"/>
                <a:gd name="connsiteX179" fmla="*/ 52425 w 707627"/>
                <a:gd name="connsiteY179" fmla="*/ 1505069 h 1900164"/>
                <a:gd name="connsiteX180" fmla="*/ 53857 w 707627"/>
                <a:gd name="connsiteY180" fmla="*/ 1505990 h 1900164"/>
                <a:gd name="connsiteX181" fmla="*/ 53881 w 707627"/>
                <a:gd name="connsiteY181" fmla="*/ 1507706 h 1900164"/>
                <a:gd name="connsiteX182" fmla="*/ 51365 w 707627"/>
                <a:gd name="connsiteY182" fmla="*/ 1512695 h 1900164"/>
                <a:gd name="connsiteX183" fmla="*/ 55000 w 707627"/>
                <a:gd name="connsiteY183" fmla="*/ 1518388 h 1900164"/>
                <a:gd name="connsiteX184" fmla="*/ 55236 w 707627"/>
                <a:gd name="connsiteY184" fmla="*/ 1519728 h 1900164"/>
                <a:gd name="connsiteX185" fmla="*/ 54103 w 707627"/>
                <a:gd name="connsiteY185" fmla="*/ 1525427 h 1900164"/>
                <a:gd name="connsiteX186" fmla="*/ 54672 w 707627"/>
                <a:gd name="connsiteY186" fmla="*/ 1531713 h 1900164"/>
                <a:gd name="connsiteX187" fmla="*/ 54546 w 707627"/>
                <a:gd name="connsiteY187" fmla="*/ 1532561 h 1900164"/>
                <a:gd name="connsiteX188" fmla="*/ 52305 w 707627"/>
                <a:gd name="connsiteY188" fmla="*/ 1538163 h 1900164"/>
                <a:gd name="connsiteX189" fmla="*/ 52305 w 707627"/>
                <a:gd name="connsiteY189" fmla="*/ 1543769 h 1900164"/>
                <a:gd name="connsiteX190" fmla="*/ 52285 w 707627"/>
                <a:gd name="connsiteY190" fmla="*/ 1543943 h 1900164"/>
                <a:gd name="connsiteX191" fmla="*/ 51693 w 707627"/>
                <a:gd name="connsiteY191" fmla="*/ 1550465 h 1900164"/>
                <a:gd name="connsiteX192" fmla="*/ 51432 w 707627"/>
                <a:gd name="connsiteY192" fmla="*/ 1551299 h 1900164"/>
                <a:gd name="connsiteX193" fmla="*/ 48651 w 707627"/>
                <a:gd name="connsiteY193" fmla="*/ 1555691 h 1900164"/>
                <a:gd name="connsiteX194" fmla="*/ 48149 w 707627"/>
                <a:gd name="connsiteY194" fmla="*/ 1561196 h 1900164"/>
                <a:gd name="connsiteX195" fmla="*/ 47976 w 707627"/>
                <a:gd name="connsiteY195" fmla="*/ 1561765 h 1900164"/>
                <a:gd name="connsiteX196" fmla="*/ 45170 w 707627"/>
                <a:gd name="connsiteY196" fmla="*/ 1567989 h 1900164"/>
                <a:gd name="connsiteX197" fmla="*/ 45170 w 707627"/>
                <a:gd name="connsiteY197" fmla="*/ 1573181 h 1900164"/>
                <a:gd name="connsiteX198" fmla="*/ 46799 w 707627"/>
                <a:gd name="connsiteY198" fmla="*/ 1577254 h 1900164"/>
                <a:gd name="connsiteX199" fmla="*/ 51129 w 707627"/>
                <a:gd name="connsiteY199" fmla="*/ 1575967 h 1900164"/>
                <a:gd name="connsiteX200" fmla="*/ 51230 w 707627"/>
                <a:gd name="connsiteY200" fmla="*/ 1575933 h 1900164"/>
                <a:gd name="connsiteX201" fmla="*/ 53616 w 707627"/>
                <a:gd name="connsiteY201" fmla="*/ 1575340 h 1900164"/>
                <a:gd name="connsiteX202" fmla="*/ 55511 w 707627"/>
                <a:gd name="connsiteY202" fmla="*/ 1576010 h 1900164"/>
                <a:gd name="connsiteX203" fmla="*/ 55583 w 707627"/>
                <a:gd name="connsiteY203" fmla="*/ 1578050 h 1900164"/>
                <a:gd name="connsiteX204" fmla="*/ 52049 w 707627"/>
                <a:gd name="connsiteY204" fmla="*/ 1583979 h 1900164"/>
                <a:gd name="connsiteX205" fmla="*/ 51432 w 707627"/>
                <a:gd name="connsiteY205" fmla="*/ 1584610 h 1900164"/>
                <a:gd name="connsiteX206" fmla="*/ 48622 w 707627"/>
                <a:gd name="connsiteY206" fmla="*/ 1586307 h 1900164"/>
                <a:gd name="connsiteX207" fmla="*/ 51066 w 707627"/>
                <a:gd name="connsiteY207" fmla="*/ 1587286 h 1900164"/>
                <a:gd name="connsiteX208" fmla="*/ 56947 w 707627"/>
                <a:gd name="connsiteY208" fmla="*/ 1589036 h 1900164"/>
                <a:gd name="connsiteX209" fmla="*/ 58172 w 707627"/>
                <a:gd name="connsiteY209" fmla="*/ 1591253 h 1900164"/>
                <a:gd name="connsiteX210" fmla="*/ 56619 w 707627"/>
                <a:gd name="connsiteY210" fmla="*/ 1596961 h 1900164"/>
                <a:gd name="connsiteX211" fmla="*/ 60866 w 707627"/>
                <a:gd name="connsiteY211" fmla="*/ 1602823 h 1900164"/>
                <a:gd name="connsiteX212" fmla="*/ 61030 w 707627"/>
                <a:gd name="connsiteY212" fmla="*/ 1603054 h 1900164"/>
                <a:gd name="connsiteX213" fmla="*/ 62207 w 707627"/>
                <a:gd name="connsiteY213" fmla="*/ 1605441 h 1900164"/>
                <a:gd name="connsiteX214" fmla="*/ 62380 w 707627"/>
                <a:gd name="connsiteY214" fmla="*/ 1606593 h 1900164"/>
                <a:gd name="connsiteX215" fmla="*/ 61209 w 707627"/>
                <a:gd name="connsiteY215" fmla="*/ 1612966 h 1900164"/>
                <a:gd name="connsiteX216" fmla="*/ 61209 w 707627"/>
                <a:gd name="connsiteY216" fmla="*/ 1625210 h 1900164"/>
                <a:gd name="connsiteX217" fmla="*/ 61715 w 707627"/>
                <a:gd name="connsiteY217" fmla="*/ 1630335 h 1900164"/>
                <a:gd name="connsiteX218" fmla="*/ 65369 w 707627"/>
                <a:gd name="connsiteY218" fmla="*/ 1633285 h 1900164"/>
                <a:gd name="connsiteX219" fmla="*/ 65952 w 707627"/>
                <a:gd name="connsiteY219" fmla="*/ 1630306 h 1900164"/>
                <a:gd name="connsiteX220" fmla="*/ 65957 w 707627"/>
                <a:gd name="connsiteY220" fmla="*/ 1630205 h 1900164"/>
                <a:gd name="connsiteX221" fmla="*/ 67755 w 707627"/>
                <a:gd name="connsiteY221" fmla="*/ 1623634 h 1900164"/>
                <a:gd name="connsiteX222" fmla="*/ 69438 w 707627"/>
                <a:gd name="connsiteY222" fmla="*/ 1622304 h 1900164"/>
                <a:gd name="connsiteX223" fmla="*/ 71221 w 707627"/>
                <a:gd name="connsiteY223" fmla="*/ 1623494 h 1900164"/>
                <a:gd name="connsiteX224" fmla="*/ 73593 w 707627"/>
                <a:gd name="connsiteY224" fmla="*/ 1630036 h 1900164"/>
                <a:gd name="connsiteX225" fmla="*/ 73719 w 707627"/>
                <a:gd name="connsiteY225" fmla="*/ 1630817 h 1900164"/>
                <a:gd name="connsiteX226" fmla="*/ 73241 w 707627"/>
                <a:gd name="connsiteY226" fmla="*/ 1635990 h 1900164"/>
                <a:gd name="connsiteX227" fmla="*/ 77927 w 707627"/>
                <a:gd name="connsiteY227" fmla="*/ 1637884 h 1900164"/>
                <a:gd name="connsiteX228" fmla="*/ 79055 w 707627"/>
                <a:gd name="connsiteY228" fmla="*/ 1639378 h 1900164"/>
                <a:gd name="connsiteX229" fmla="*/ 79667 w 707627"/>
                <a:gd name="connsiteY229" fmla="*/ 1645380 h 1900164"/>
                <a:gd name="connsiteX230" fmla="*/ 79667 w 707627"/>
                <a:gd name="connsiteY230" fmla="*/ 1645530 h 1900164"/>
                <a:gd name="connsiteX231" fmla="*/ 79667 w 707627"/>
                <a:gd name="connsiteY231" fmla="*/ 1651994 h 1900164"/>
                <a:gd name="connsiteX232" fmla="*/ 80217 w 707627"/>
                <a:gd name="connsiteY232" fmla="*/ 1657384 h 1900164"/>
                <a:gd name="connsiteX233" fmla="*/ 84107 w 707627"/>
                <a:gd name="connsiteY233" fmla="*/ 1662923 h 1900164"/>
                <a:gd name="connsiteX234" fmla="*/ 84276 w 707627"/>
                <a:gd name="connsiteY234" fmla="*/ 1663226 h 1900164"/>
                <a:gd name="connsiteX235" fmla="*/ 87241 w 707627"/>
                <a:gd name="connsiteY235" fmla="*/ 1669778 h 1900164"/>
                <a:gd name="connsiteX236" fmla="*/ 87289 w 707627"/>
                <a:gd name="connsiteY236" fmla="*/ 1669908 h 1900164"/>
                <a:gd name="connsiteX237" fmla="*/ 89554 w 707627"/>
                <a:gd name="connsiteY237" fmla="*/ 1676088 h 1900164"/>
                <a:gd name="connsiteX238" fmla="*/ 95802 w 707627"/>
                <a:gd name="connsiteY238" fmla="*/ 1682316 h 1900164"/>
                <a:gd name="connsiteX239" fmla="*/ 96328 w 707627"/>
                <a:gd name="connsiteY239" fmla="*/ 1683772 h 1900164"/>
                <a:gd name="connsiteX240" fmla="*/ 95821 w 707627"/>
                <a:gd name="connsiteY240" fmla="*/ 1689442 h 1900164"/>
                <a:gd name="connsiteX241" fmla="*/ 102633 w 707627"/>
                <a:gd name="connsiteY241" fmla="*/ 1695757 h 1900164"/>
                <a:gd name="connsiteX242" fmla="*/ 105313 w 707627"/>
                <a:gd name="connsiteY242" fmla="*/ 1696817 h 1900164"/>
                <a:gd name="connsiteX243" fmla="*/ 105988 w 707627"/>
                <a:gd name="connsiteY243" fmla="*/ 1697285 h 1900164"/>
                <a:gd name="connsiteX244" fmla="*/ 111339 w 707627"/>
                <a:gd name="connsiteY244" fmla="*/ 1703214 h 1900164"/>
                <a:gd name="connsiteX245" fmla="*/ 111575 w 707627"/>
                <a:gd name="connsiteY245" fmla="*/ 1703571 h 1900164"/>
                <a:gd name="connsiteX246" fmla="*/ 115157 w 707627"/>
                <a:gd name="connsiteY246" fmla="*/ 1710103 h 1900164"/>
                <a:gd name="connsiteX247" fmla="*/ 115345 w 707627"/>
                <a:gd name="connsiteY247" fmla="*/ 1710653 h 1900164"/>
                <a:gd name="connsiteX248" fmla="*/ 116449 w 707627"/>
                <a:gd name="connsiteY248" fmla="*/ 1716100 h 1900164"/>
                <a:gd name="connsiteX249" fmla="*/ 121448 w 707627"/>
                <a:gd name="connsiteY249" fmla="*/ 1721668 h 1900164"/>
                <a:gd name="connsiteX250" fmla="*/ 121747 w 707627"/>
                <a:gd name="connsiteY250" fmla="*/ 1722078 h 1900164"/>
                <a:gd name="connsiteX251" fmla="*/ 124220 w 707627"/>
                <a:gd name="connsiteY251" fmla="*/ 1727014 h 1900164"/>
                <a:gd name="connsiteX252" fmla="*/ 128742 w 707627"/>
                <a:gd name="connsiteY252" fmla="*/ 1727014 h 1900164"/>
                <a:gd name="connsiteX253" fmla="*/ 132025 w 707627"/>
                <a:gd name="connsiteY253" fmla="*/ 1725915 h 1900164"/>
                <a:gd name="connsiteX254" fmla="*/ 134141 w 707627"/>
                <a:gd name="connsiteY254" fmla="*/ 1726677 h 1900164"/>
                <a:gd name="connsiteX255" fmla="*/ 140857 w 707627"/>
                <a:gd name="connsiteY255" fmla="*/ 1749050 h 1900164"/>
                <a:gd name="connsiteX256" fmla="*/ 139087 w 707627"/>
                <a:gd name="connsiteY256" fmla="*/ 1754401 h 1900164"/>
                <a:gd name="connsiteX257" fmla="*/ 138181 w 707627"/>
                <a:gd name="connsiteY257" fmla="*/ 1755471 h 1900164"/>
                <a:gd name="connsiteX258" fmla="*/ 132227 w 707627"/>
                <a:gd name="connsiteY258" fmla="*/ 1758426 h 1900164"/>
                <a:gd name="connsiteX259" fmla="*/ 130420 w 707627"/>
                <a:gd name="connsiteY259" fmla="*/ 1758344 h 1900164"/>
                <a:gd name="connsiteX260" fmla="*/ 124644 w 707627"/>
                <a:gd name="connsiteY260" fmla="*/ 1754661 h 1900164"/>
                <a:gd name="connsiteX261" fmla="*/ 119809 w 707627"/>
                <a:gd name="connsiteY261" fmla="*/ 1756420 h 1900164"/>
                <a:gd name="connsiteX262" fmla="*/ 118618 w 707627"/>
                <a:gd name="connsiteY262" fmla="*/ 1760402 h 1900164"/>
                <a:gd name="connsiteX263" fmla="*/ 124312 w 707627"/>
                <a:gd name="connsiteY263" fmla="*/ 1765599 h 1900164"/>
                <a:gd name="connsiteX264" fmla="*/ 124572 w 707627"/>
                <a:gd name="connsiteY264" fmla="*/ 1765912 h 1900164"/>
                <a:gd name="connsiteX265" fmla="*/ 129335 w 707627"/>
                <a:gd name="connsiteY265" fmla="*/ 1773004 h 1900164"/>
                <a:gd name="connsiteX266" fmla="*/ 134667 w 707627"/>
                <a:gd name="connsiteY266" fmla="*/ 1780129 h 1900164"/>
                <a:gd name="connsiteX267" fmla="*/ 134787 w 707627"/>
                <a:gd name="connsiteY267" fmla="*/ 1782086 h 1900164"/>
                <a:gd name="connsiteX268" fmla="*/ 131803 w 707627"/>
                <a:gd name="connsiteY268" fmla="*/ 1787437 h 1900164"/>
                <a:gd name="connsiteX269" fmla="*/ 130212 w 707627"/>
                <a:gd name="connsiteY269" fmla="*/ 1788367 h 1900164"/>
                <a:gd name="connsiteX270" fmla="*/ 124278 w 707627"/>
                <a:gd name="connsiteY270" fmla="*/ 1788367 h 1900164"/>
                <a:gd name="connsiteX271" fmla="*/ 123126 w 707627"/>
                <a:gd name="connsiteY271" fmla="*/ 1787982 h 1900164"/>
                <a:gd name="connsiteX272" fmla="*/ 117351 w 707627"/>
                <a:gd name="connsiteY272" fmla="*/ 1783344 h 1900164"/>
                <a:gd name="connsiteX273" fmla="*/ 110510 w 707627"/>
                <a:gd name="connsiteY273" fmla="*/ 1779926 h 1900164"/>
                <a:gd name="connsiteX274" fmla="*/ 109676 w 707627"/>
                <a:gd name="connsiteY274" fmla="*/ 1779680 h 1900164"/>
                <a:gd name="connsiteX275" fmla="*/ 112077 w 707627"/>
                <a:gd name="connsiteY275" fmla="*/ 1783156 h 1900164"/>
                <a:gd name="connsiteX276" fmla="*/ 112395 w 707627"/>
                <a:gd name="connsiteY276" fmla="*/ 1783995 h 1900164"/>
                <a:gd name="connsiteX277" fmla="*/ 112959 w 707627"/>
                <a:gd name="connsiteY277" fmla="*/ 1789727 h 1900164"/>
                <a:gd name="connsiteX278" fmla="*/ 115152 w 707627"/>
                <a:gd name="connsiteY278" fmla="*/ 1795753 h 1900164"/>
                <a:gd name="connsiteX279" fmla="*/ 121492 w 707627"/>
                <a:gd name="connsiteY279" fmla="*/ 1803225 h 1900164"/>
                <a:gd name="connsiteX280" fmla="*/ 121742 w 707627"/>
                <a:gd name="connsiteY280" fmla="*/ 1803596 h 1900164"/>
                <a:gd name="connsiteX281" fmla="*/ 124572 w 707627"/>
                <a:gd name="connsiteY281" fmla="*/ 1809294 h 1900164"/>
                <a:gd name="connsiteX282" fmla="*/ 125575 w 707627"/>
                <a:gd name="connsiteY282" fmla="*/ 1810277 h 1900164"/>
                <a:gd name="connsiteX283" fmla="*/ 125763 w 707627"/>
                <a:gd name="connsiteY283" fmla="*/ 1810499 h 1900164"/>
                <a:gd name="connsiteX284" fmla="*/ 130492 w 707627"/>
                <a:gd name="connsiteY284" fmla="*/ 1817026 h 1900164"/>
                <a:gd name="connsiteX285" fmla="*/ 130690 w 707627"/>
                <a:gd name="connsiteY285" fmla="*/ 1817340 h 1900164"/>
                <a:gd name="connsiteX286" fmla="*/ 133669 w 707627"/>
                <a:gd name="connsiteY286" fmla="*/ 1823882 h 1900164"/>
                <a:gd name="connsiteX287" fmla="*/ 133760 w 707627"/>
                <a:gd name="connsiteY287" fmla="*/ 1824118 h 1900164"/>
                <a:gd name="connsiteX288" fmla="*/ 135371 w 707627"/>
                <a:gd name="connsiteY288" fmla="*/ 1829454 h 1900164"/>
                <a:gd name="connsiteX289" fmla="*/ 140789 w 707627"/>
                <a:gd name="connsiteY289" fmla="*/ 1833272 h 1900164"/>
                <a:gd name="connsiteX290" fmla="*/ 141329 w 707627"/>
                <a:gd name="connsiteY290" fmla="*/ 1833908 h 1900164"/>
                <a:gd name="connsiteX291" fmla="*/ 144887 w 707627"/>
                <a:gd name="connsiteY291" fmla="*/ 1840445 h 1900164"/>
                <a:gd name="connsiteX292" fmla="*/ 145012 w 707627"/>
                <a:gd name="connsiteY292" fmla="*/ 1841978 h 1900164"/>
                <a:gd name="connsiteX293" fmla="*/ 143223 w 707627"/>
                <a:gd name="connsiteY293" fmla="*/ 1846428 h 1900164"/>
                <a:gd name="connsiteX294" fmla="*/ 148353 w 707627"/>
                <a:gd name="connsiteY294" fmla="*/ 1849219 h 1900164"/>
                <a:gd name="connsiteX295" fmla="*/ 148603 w 707627"/>
                <a:gd name="connsiteY295" fmla="*/ 1849393 h 1900164"/>
                <a:gd name="connsiteX296" fmla="*/ 154552 w 707627"/>
                <a:gd name="connsiteY296" fmla="*/ 1854165 h 1900164"/>
                <a:gd name="connsiteX297" fmla="*/ 155251 w 707627"/>
                <a:gd name="connsiteY297" fmla="*/ 1855573 h 1900164"/>
                <a:gd name="connsiteX298" fmla="*/ 155251 w 707627"/>
                <a:gd name="connsiteY298" fmla="*/ 1861546 h 1900164"/>
                <a:gd name="connsiteX299" fmla="*/ 154711 w 707627"/>
                <a:gd name="connsiteY299" fmla="*/ 1862809 h 1900164"/>
                <a:gd name="connsiteX300" fmla="*/ 148786 w 707627"/>
                <a:gd name="connsiteY300" fmla="*/ 1868743 h 1900164"/>
                <a:gd name="connsiteX301" fmla="*/ 143990 w 707627"/>
                <a:gd name="connsiteY301" fmla="*/ 1874055 h 1900164"/>
                <a:gd name="connsiteX302" fmla="*/ 144467 w 707627"/>
                <a:gd name="connsiteY302" fmla="*/ 1878722 h 1900164"/>
                <a:gd name="connsiteX303" fmla="*/ 148946 w 707627"/>
                <a:gd name="connsiteY303" fmla="*/ 1884854 h 1900164"/>
                <a:gd name="connsiteX304" fmla="*/ 149293 w 707627"/>
                <a:gd name="connsiteY304" fmla="*/ 1885948 h 1900164"/>
                <a:gd name="connsiteX305" fmla="*/ 149293 w 707627"/>
                <a:gd name="connsiteY305" fmla="*/ 1892485 h 1900164"/>
                <a:gd name="connsiteX306" fmla="*/ 148700 w 707627"/>
                <a:gd name="connsiteY306" fmla="*/ 1893825 h 1900164"/>
                <a:gd name="connsiteX307" fmla="*/ 147461 w 707627"/>
                <a:gd name="connsiteY307" fmla="*/ 1894216 h 1900164"/>
                <a:gd name="connsiteX308" fmla="*/ 150445 w 707627"/>
                <a:gd name="connsiteY308" fmla="*/ 1894216 h 1900164"/>
                <a:gd name="connsiteX309" fmla="*/ 151081 w 707627"/>
                <a:gd name="connsiteY309" fmla="*/ 1894326 h 1900164"/>
                <a:gd name="connsiteX310" fmla="*/ 159267 w 707627"/>
                <a:gd name="connsiteY310" fmla="*/ 1897257 h 1900164"/>
                <a:gd name="connsiteX311" fmla="*/ 165644 w 707627"/>
                <a:gd name="connsiteY311" fmla="*/ 1898400 h 1900164"/>
                <a:gd name="connsiteX312" fmla="*/ 165847 w 707627"/>
                <a:gd name="connsiteY312" fmla="*/ 1898462 h 1900164"/>
                <a:gd name="connsiteX313" fmla="*/ 171564 w 707627"/>
                <a:gd name="connsiteY313" fmla="*/ 1900164 h 1900164"/>
                <a:gd name="connsiteX314" fmla="*/ 177426 w 707627"/>
                <a:gd name="connsiteY314" fmla="*/ 1900164 h 1900164"/>
                <a:gd name="connsiteX315" fmla="*/ 183626 w 707627"/>
                <a:gd name="connsiteY315" fmla="*/ 1897378 h 1900164"/>
                <a:gd name="connsiteX316" fmla="*/ 191286 w 707627"/>
                <a:gd name="connsiteY316" fmla="*/ 1893820 h 1900164"/>
                <a:gd name="connsiteX317" fmla="*/ 197770 w 707627"/>
                <a:gd name="connsiteY317" fmla="*/ 1890292 h 1900164"/>
                <a:gd name="connsiteX318" fmla="*/ 198180 w 707627"/>
                <a:gd name="connsiteY318" fmla="*/ 1890132 h 1900164"/>
                <a:gd name="connsiteX319" fmla="*/ 204731 w 707627"/>
                <a:gd name="connsiteY319" fmla="*/ 1888310 h 1900164"/>
                <a:gd name="connsiteX320" fmla="*/ 205035 w 707627"/>
                <a:gd name="connsiteY320" fmla="*/ 1888305 h 1900164"/>
                <a:gd name="connsiteX321" fmla="*/ 211364 w 707627"/>
                <a:gd name="connsiteY321" fmla="*/ 1887732 h 1900164"/>
                <a:gd name="connsiteX322" fmla="*/ 212964 w 707627"/>
                <a:gd name="connsiteY322" fmla="*/ 1887182 h 1900164"/>
                <a:gd name="connsiteX323" fmla="*/ 212974 w 707627"/>
                <a:gd name="connsiteY323" fmla="*/ 1887182 h 1900164"/>
                <a:gd name="connsiteX324" fmla="*/ 218947 w 707627"/>
                <a:gd name="connsiteY324" fmla="*/ 1885370 h 1900164"/>
                <a:gd name="connsiteX325" fmla="*/ 219800 w 707627"/>
                <a:gd name="connsiteY325" fmla="*/ 1885346 h 1900164"/>
                <a:gd name="connsiteX326" fmla="*/ 226347 w 707627"/>
                <a:gd name="connsiteY326" fmla="*/ 1886517 h 1900164"/>
                <a:gd name="connsiteX327" fmla="*/ 227224 w 707627"/>
                <a:gd name="connsiteY327" fmla="*/ 1886970 h 1900164"/>
                <a:gd name="connsiteX328" fmla="*/ 232657 w 707627"/>
                <a:gd name="connsiteY328" fmla="*/ 1891863 h 1900164"/>
                <a:gd name="connsiteX329" fmla="*/ 237830 w 707627"/>
                <a:gd name="connsiteY329" fmla="*/ 1891863 h 1900164"/>
                <a:gd name="connsiteX330" fmla="*/ 242029 w 707627"/>
                <a:gd name="connsiteY330" fmla="*/ 1888156 h 1900164"/>
                <a:gd name="connsiteX331" fmla="*/ 242357 w 707627"/>
                <a:gd name="connsiteY331" fmla="*/ 1887857 h 1900164"/>
                <a:gd name="connsiteX332" fmla="*/ 239025 w 707627"/>
                <a:gd name="connsiteY332" fmla="*/ 1852121 h 1900164"/>
                <a:gd name="connsiteX333" fmla="*/ 238519 w 707627"/>
                <a:gd name="connsiteY333" fmla="*/ 1851152 h 1900164"/>
                <a:gd name="connsiteX334" fmla="*/ 236726 w 707627"/>
                <a:gd name="connsiteY334" fmla="*/ 1841636 h 1900164"/>
                <a:gd name="connsiteX335" fmla="*/ 236707 w 707627"/>
                <a:gd name="connsiteY335" fmla="*/ 1841149 h 1900164"/>
                <a:gd name="connsiteX336" fmla="*/ 237304 w 707627"/>
                <a:gd name="connsiteY336" fmla="*/ 1834010 h 1900164"/>
                <a:gd name="connsiteX337" fmla="*/ 237381 w 707627"/>
                <a:gd name="connsiteY337" fmla="*/ 1833581 h 1900164"/>
                <a:gd name="connsiteX338" fmla="*/ 239782 w 707627"/>
                <a:gd name="connsiteY338" fmla="*/ 1826427 h 1900164"/>
                <a:gd name="connsiteX339" fmla="*/ 240168 w 707627"/>
                <a:gd name="connsiteY339" fmla="*/ 1825795 h 1900164"/>
                <a:gd name="connsiteX340" fmla="*/ 245046 w 707627"/>
                <a:gd name="connsiteY340" fmla="*/ 1820362 h 1900164"/>
                <a:gd name="connsiteX341" fmla="*/ 245046 w 707627"/>
                <a:gd name="connsiteY341" fmla="*/ 1818097 h 1900164"/>
                <a:gd name="connsiteX342" fmla="*/ 245432 w 707627"/>
                <a:gd name="connsiteY342" fmla="*/ 1816930 h 1900164"/>
                <a:gd name="connsiteX343" fmla="*/ 250180 w 707627"/>
                <a:gd name="connsiteY343" fmla="*/ 1810976 h 1900164"/>
                <a:gd name="connsiteX344" fmla="*/ 255570 w 707627"/>
                <a:gd name="connsiteY344" fmla="*/ 1804440 h 1900164"/>
                <a:gd name="connsiteX345" fmla="*/ 255768 w 707627"/>
                <a:gd name="connsiteY345" fmla="*/ 1804203 h 1900164"/>
                <a:gd name="connsiteX346" fmla="*/ 259957 w 707627"/>
                <a:gd name="connsiteY346" fmla="*/ 1800636 h 1900164"/>
                <a:gd name="connsiteX347" fmla="*/ 260791 w 707627"/>
                <a:gd name="connsiteY347" fmla="*/ 1800270 h 1900164"/>
                <a:gd name="connsiteX348" fmla="*/ 266735 w 707627"/>
                <a:gd name="connsiteY348" fmla="*/ 1799055 h 1900164"/>
                <a:gd name="connsiteX349" fmla="*/ 268181 w 707627"/>
                <a:gd name="connsiteY349" fmla="*/ 1799392 h 1900164"/>
                <a:gd name="connsiteX350" fmla="*/ 268904 w 707627"/>
                <a:gd name="connsiteY350" fmla="*/ 1800660 h 1900164"/>
                <a:gd name="connsiteX351" fmla="*/ 269280 w 707627"/>
                <a:gd name="connsiteY351" fmla="*/ 1805052 h 1900164"/>
                <a:gd name="connsiteX352" fmla="*/ 273122 w 707627"/>
                <a:gd name="connsiteY352" fmla="*/ 1804025 h 1900164"/>
                <a:gd name="connsiteX353" fmla="*/ 276265 w 707627"/>
                <a:gd name="connsiteY353" fmla="*/ 1799518 h 1900164"/>
                <a:gd name="connsiteX354" fmla="*/ 273233 w 707627"/>
                <a:gd name="connsiteY354" fmla="*/ 1793974 h 1900164"/>
                <a:gd name="connsiteX355" fmla="*/ 273180 w 707627"/>
                <a:gd name="connsiteY355" fmla="*/ 1793863 h 1900164"/>
                <a:gd name="connsiteX356" fmla="*/ 270191 w 707627"/>
                <a:gd name="connsiteY356" fmla="*/ 1787297 h 1900164"/>
                <a:gd name="connsiteX357" fmla="*/ 270264 w 707627"/>
                <a:gd name="connsiteY357" fmla="*/ 1785668 h 1900164"/>
                <a:gd name="connsiteX358" fmla="*/ 292752 w 707627"/>
                <a:gd name="connsiteY358" fmla="*/ 1781816 h 1900164"/>
                <a:gd name="connsiteX359" fmla="*/ 298402 w 707627"/>
                <a:gd name="connsiteY359" fmla="*/ 1778991 h 1900164"/>
                <a:gd name="connsiteX360" fmla="*/ 299761 w 707627"/>
                <a:gd name="connsiteY360" fmla="*/ 1778842 h 1900164"/>
                <a:gd name="connsiteX361" fmla="*/ 305623 w 707627"/>
                <a:gd name="connsiteY361" fmla="*/ 1780625 h 1900164"/>
                <a:gd name="connsiteX362" fmla="*/ 310840 w 707627"/>
                <a:gd name="connsiteY362" fmla="*/ 1781671 h 1900164"/>
                <a:gd name="connsiteX363" fmla="*/ 316798 w 707627"/>
                <a:gd name="connsiteY363" fmla="*/ 1778417 h 1900164"/>
                <a:gd name="connsiteX364" fmla="*/ 318596 w 707627"/>
                <a:gd name="connsiteY364" fmla="*/ 1778427 h 1900164"/>
                <a:gd name="connsiteX365" fmla="*/ 319488 w 707627"/>
                <a:gd name="connsiteY365" fmla="*/ 1780003 h 1900164"/>
                <a:gd name="connsiteX366" fmla="*/ 319488 w 707627"/>
                <a:gd name="connsiteY366" fmla="*/ 1783508 h 1900164"/>
                <a:gd name="connsiteX367" fmla="*/ 323369 w 707627"/>
                <a:gd name="connsiteY367" fmla="*/ 1781396 h 1900164"/>
                <a:gd name="connsiteX368" fmla="*/ 324072 w 707627"/>
                <a:gd name="connsiteY368" fmla="*/ 1781189 h 1900164"/>
                <a:gd name="connsiteX369" fmla="*/ 329968 w 707627"/>
                <a:gd name="connsiteY369" fmla="*/ 1780668 h 1900164"/>
                <a:gd name="connsiteX370" fmla="*/ 335425 w 707627"/>
                <a:gd name="connsiteY370" fmla="*/ 1775168 h 1900164"/>
                <a:gd name="connsiteX371" fmla="*/ 336558 w 707627"/>
                <a:gd name="connsiteY371" fmla="*/ 1774633 h 1900164"/>
                <a:gd name="connsiteX372" fmla="*/ 342487 w 707627"/>
                <a:gd name="connsiteY372" fmla="*/ 1774035 h 1900164"/>
                <a:gd name="connsiteX373" fmla="*/ 343336 w 707627"/>
                <a:gd name="connsiteY373" fmla="*/ 1774165 h 1900164"/>
                <a:gd name="connsiteX374" fmla="*/ 349058 w 707627"/>
                <a:gd name="connsiteY374" fmla="*/ 1776455 h 1900164"/>
                <a:gd name="connsiteX375" fmla="*/ 354771 w 707627"/>
                <a:gd name="connsiteY375" fmla="*/ 1777024 h 1900164"/>
                <a:gd name="connsiteX376" fmla="*/ 356053 w 707627"/>
                <a:gd name="connsiteY376" fmla="*/ 1777728 h 1900164"/>
                <a:gd name="connsiteX377" fmla="*/ 356347 w 707627"/>
                <a:gd name="connsiteY377" fmla="*/ 1779174 h 1900164"/>
                <a:gd name="connsiteX378" fmla="*/ 355320 w 707627"/>
                <a:gd name="connsiteY378" fmla="*/ 1784289 h 1900164"/>
                <a:gd name="connsiteX379" fmla="*/ 357933 w 707627"/>
                <a:gd name="connsiteY379" fmla="*/ 1787557 h 1900164"/>
                <a:gd name="connsiteX380" fmla="*/ 371272 w 707627"/>
                <a:gd name="connsiteY380" fmla="*/ 1742026 h 1900164"/>
                <a:gd name="connsiteX381" fmla="*/ 378937 w 707627"/>
                <a:gd name="connsiteY381" fmla="*/ 1725284 h 1900164"/>
                <a:gd name="connsiteX382" fmla="*/ 378937 w 707627"/>
                <a:gd name="connsiteY382" fmla="*/ 1719918 h 1900164"/>
                <a:gd name="connsiteX383" fmla="*/ 379139 w 707627"/>
                <a:gd name="connsiteY383" fmla="*/ 1719108 h 1900164"/>
                <a:gd name="connsiteX384" fmla="*/ 382104 w 707627"/>
                <a:gd name="connsiteY384" fmla="*/ 1713140 h 1900164"/>
                <a:gd name="connsiteX385" fmla="*/ 382919 w 707627"/>
                <a:gd name="connsiteY385" fmla="*/ 1712345 h 1900164"/>
                <a:gd name="connsiteX386" fmla="*/ 387865 w 707627"/>
                <a:gd name="connsiteY386" fmla="*/ 1709872 h 1900164"/>
                <a:gd name="connsiteX387" fmla="*/ 387865 w 707627"/>
                <a:gd name="connsiteY387" fmla="*/ 1705118 h 1900164"/>
                <a:gd name="connsiteX388" fmla="*/ 387262 w 707627"/>
                <a:gd name="connsiteY388" fmla="*/ 1698644 h 1900164"/>
                <a:gd name="connsiteX389" fmla="*/ 388352 w 707627"/>
                <a:gd name="connsiteY389" fmla="*/ 1696837 h 1900164"/>
                <a:gd name="connsiteX390" fmla="*/ 392984 w 707627"/>
                <a:gd name="connsiteY390" fmla="*/ 1694740 h 1900164"/>
                <a:gd name="connsiteX391" fmla="*/ 389938 w 707627"/>
                <a:gd name="connsiteY391" fmla="*/ 1689957 h 1900164"/>
                <a:gd name="connsiteX392" fmla="*/ 389716 w 707627"/>
                <a:gd name="connsiteY392" fmla="*/ 1688487 h 1900164"/>
                <a:gd name="connsiteX393" fmla="*/ 391413 w 707627"/>
                <a:gd name="connsiteY393" fmla="*/ 1682249 h 1900164"/>
                <a:gd name="connsiteX394" fmla="*/ 390844 w 707627"/>
                <a:gd name="connsiteY394" fmla="*/ 1676642 h 1900164"/>
                <a:gd name="connsiteX395" fmla="*/ 390844 w 707627"/>
                <a:gd name="connsiteY395" fmla="*/ 1676107 h 1900164"/>
                <a:gd name="connsiteX396" fmla="*/ 391948 w 707627"/>
                <a:gd name="connsiteY396" fmla="*/ 1670785 h 1900164"/>
                <a:gd name="connsiteX397" fmla="*/ 389258 w 707627"/>
                <a:gd name="connsiteY397" fmla="*/ 1665391 h 1900164"/>
                <a:gd name="connsiteX398" fmla="*/ 389065 w 707627"/>
                <a:gd name="connsiteY398" fmla="*/ 1664364 h 1900164"/>
                <a:gd name="connsiteX399" fmla="*/ 389668 w 707627"/>
                <a:gd name="connsiteY399" fmla="*/ 1658425 h 1900164"/>
                <a:gd name="connsiteX400" fmla="*/ 391133 w 707627"/>
                <a:gd name="connsiteY400" fmla="*/ 1656815 h 1900164"/>
                <a:gd name="connsiteX401" fmla="*/ 396185 w 707627"/>
                <a:gd name="connsiteY401" fmla="*/ 1655822 h 1900164"/>
                <a:gd name="connsiteX402" fmla="*/ 398109 w 707627"/>
                <a:gd name="connsiteY402" fmla="*/ 1651980 h 1900164"/>
                <a:gd name="connsiteX403" fmla="*/ 391099 w 707627"/>
                <a:gd name="connsiteY403" fmla="*/ 1644064 h 1900164"/>
                <a:gd name="connsiteX404" fmla="*/ 390960 w 707627"/>
                <a:gd name="connsiteY404" fmla="*/ 1643794 h 1900164"/>
                <a:gd name="connsiteX405" fmla="*/ 388578 w 707627"/>
                <a:gd name="connsiteY405" fmla="*/ 1637870 h 1900164"/>
                <a:gd name="connsiteX406" fmla="*/ 388520 w 707627"/>
                <a:gd name="connsiteY406" fmla="*/ 1636722 h 1900164"/>
                <a:gd name="connsiteX407" fmla="*/ 389938 w 707627"/>
                <a:gd name="connsiteY407" fmla="*/ 1631487 h 1900164"/>
                <a:gd name="connsiteX408" fmla="*/ 388149 w 707627"/>
                <a:gd name="connsiteY408" fmla="*/ 1630393 h 1900164"/>
                <a:gd name="connsiteX409" fmla="*/ 387537 w 707627"/>
                <a:gd name="connsiteY409" fmla="*/ 1627920 h 1900164"/>
                <a:gd name="connsiteX410" fmla="*/ 391017 w 707627"/>
                <a:gd name="connsiteY410" fmla="*/ 1622101 h 1900164"/>
                <a:gd name="connsiteX411" fmla="*/ 393346 w 707627"/>
                <a:gd name="connsiteY411" fmla="*/ 1616249 h 1900164"/>
                <a:gd name="connsiteX412" fmla="*/ 393510 w 707627"/>
                <a:gd name="connsiteY412" fmla="*/ 1615931 h 1900164"/>
                <a:gd name="connsiteX413" fmla="*/ 397926 w 707627"/>
                <a:gd name="connsiteY413" fmla="*/ 1609341 h 1900164"/>
                <a:gd name="connsiteX414" fmla="*/ 397400 w 707627"/>
                <a:gd name="connsiteY414" fmla="*/ 1604033 h 1900164"/>
                <a:gd name="connsiteX415" fmla="*/ 397598 w 707627"/>
                <a:gd name="connsiteY415" fmla="*/ 1602992 h 1900164"/>
                <a:gd name="connsiteX416" fmla="*/ 400832 w 707627"/>
                <a:gd name="connsiteY416" fmla="*/ 1597077 h 1900164"/>
                <a:gd name="connsiteX417" fmla="*/ 399531 w 707627"/>
                <a:gd name="connsiteY417" fmla="*/ 1592319 h 1900164"/>
                <a:gd name="connsiteX418" fmla="*/ 394681 w 707627"/>
                <a:gd name="connsiteY418" fmla="*/ 1591369 h 1900164"/>
                <a:gd name="connsiteX419" fmla="*/ 393587 w 707627"/>
                <a:gd name="connsiteY419" fmla="*/ 1590704 h 1900164"/>
                <a:gd name="connsiteX420" fmla="*/ 388863 w 707627"/>
                <a:gd name="connsiteY420" fmla="*/ 1584774 h 1900164"/>
                <a:gd name="connsiteX421" fmla="*/ 388578 w 707627"/>
                <a:gd name="connsiteY421" fmla="*/ 1582971 h 1900164"/>
                <a:gd name="connsiteX422" fmla="*/ 389991 w 707627"/>
                <a:gd name="connsiteY422" fmla="*/ 1581819 h 1900164"/>
                <a:gd name="connsiteX423" fmla="*/ 394406 w 707627"/>
                <a:gd name="connsiteY423" fmla="*/ 1581110 h 1900164"/>
                <a:gd name="connsiteX424" fmla="*/ 391702 w 707627"/>
                <a:gd name="connsiteY424" fmla="*/ 1576854 h 1900164"/>
                <a:gd name="connsiteX425" fmla="*/ 391451 w 707627"/>
                <a:gd name="connsiteY425" fmla="*/ 1576246 h 1900164"/>
                <a:gd name="connsiteX426" fmla="*/ 390280 w 707627"/>
                <a:gd name="connsiteY426" fmla="*/ 1570279 h 1900164"/>
                <a:gd name="connsiteX427" fmla="*/ 390800 w 707627"/>
                <a:gd name="connsiteY427" fmla="*/ 1568639 h 1900164"/>
                <a:gd name="connsiteX428" fmla="*/ 392488 w 707627"/>
                <a:gd name="connsiteY428" fmla="*/ 1568167 h 1900164"/>
                <a:gd name="connsiteX429" fmla="*/ 396624 w 707627"/>
                <a:gd name="connsiteY429" fmla="*/ 1569179 h 1900164"/>
                <a:gd name="connsiteX430" fmla="*/ 395660 w 707627"/>
                <a:gd name="connsiteY430" fmla="*/ 1565631 h 1900164"/>
                <a:gd name="connsiteX431" fmla="*/ 395597 w 707627"/>
                <a:gd name="connsiteY431" fmla="*/ 1565004 h 1900164"/>
                <a:gd name="connsiteX432" fmla="*/ 396098 w 707627"/>
                <a:gd name="connsiteY432" fmla="*/ 1560054 h 1900164"/>
                <a:gd name="connsiteX433" fmla="*/ 394541 w 707627"/>
                <a:gd name="connsiteY433" fmla="*/ 1558901 h 1900164"/>
                <a:gd name="connsiteX434" fmla="*/ 394411 w 707627"/>
                <a:gd name="connsiteY434" fmla="*/ 1558771 h 1900164"/>
                <a:gd name="connsiteX435" fmla="*/ 387855 w 707627"/>
                <a:gd name="connsiteY435" fmla="*/ 1552837 h 1900164"/>
                <a:gd name="connsiteX436" fmla="*/ 381309 w 707627"/>
                <a:gd name="connsiteY436" fmla="*/ 1546879 h 1900164"/>
                <a:gd name="connsiteX437" fmla="*/ 380725 w 707627"/>
                <a:gd name="connsiteY437" fmla="*/ 1545514 h 1900164"/>
                <a:gd name="connsiteX438" fmla="*/ 380725 w 707627"/>
                <a:gd name="connsiteY438" fmla="*/ 1542545 h 1900164"/>
                <a:gd name="connsiteX439" fmla="*/ 381516 w 707627"/>
                <a:gd name="connsiteY439" fmla="*/ 1541089 h 1900164"/>
                <a:gd name="connsiteX440" fmla="*/ 383198 w 707627"/>
                <a:gd name="connsiteY440" fmla="*/ 1540877 h 1900164"/>
                <a:gd name="connsiteX441" fmla="*/ 388737 w 707627"/>
                <a:gd name="connsiteY441" fmla="*/ 1543094 h 1900164"/>
                <a:gd name="connsiteX442" fmla="*/ 394262 w 707627"/>
                <a:gd name="connsiteY442" fmla="*/ 1542545 h 1900164"/>
                <a:gd name="connsiteX443" fmla="*/ 394450 w 707627"/>
                <a:gd name="connsiteY443" fmla="*/ 1542545 h 1900164"/>
                <a:gd name="connsiteX444" fmla="*/ 398571 w 707627"/>
                <a:gd name="connsiteY444" fmla="*/ 1542545 h 1900164"/>
                <a:gd name="connsiteX445" fmla="*/ 398571 w 707627"/>
                <a:gd name="connsiteY445" fmla="*/ 1538500 h 1900164"/>
                <a:gd name="connsiteX446" fmla="*/ 398157 w 707627"/>
                <a:gd name="connsiteY446" fmla="*/ 1534272 h 1900164"/>
                <a:gd name="connsiteX447" fmla="*/ 393249 w 707627"/>
                <a:gd name="connsiteY447" fmla="*/ 1534272 h 1900164"/>
                <a:gd name="connsiteX448" fmla="*/ 391630 w 707627"/>
                <a:gd name="connsiteY448" fmla="*/ 1533299 h 1900164"/>
                <a:gd name="connsiteX449" fmla="*/ 391731 w 707627"/>
                <a:gd name="connsiteY449" fmla="*/ 1531447 h 1900164"/>
                <a:gd name="connsiteX450" fmla="*/ 392560 w 707627"/>
                <a:gd name="connsiteY450" fmla="*/ 1530204 h 1900164"/>
                <a:gd name="connsiteX451" fmla="*/ 392020 w 707627"/>
                <a:gd name="connsiteY451" fmla="*/ 1524294 h 1900164"/>
                <a:gd name="connsiteX452" fmla="*/ 392811 w 707627"/>
                <a:gd name="connsiteY452" fmla="*/ 1522606 h 1900164"/>
                <a:gd name="connsiteX453" fmla="*/ 394648 w 707627"/>
                <a:gd name="connsiteY453" fmla="*/ 1522481 h 1900164"/>
                <a:gd name="connsiteX454" fmla="*/ 399083 w 707627"/>
                <a:gd name="connsiteY454" fmla="*/ 1524713 h 1900164"/>
                <a:gd name="connsiteX455" fmla="*/ 401194 w 707627"/>
                <a:gd name="connsiteY455" fmla="*/ 1521203 h 1900164"/>
                <a:gd name="connsiteX456" fmla="*/ 397708 w 707627"/>
                <a:gd name="connsiteY456" fmla="*/ 1516214 h 1900164"/>
                <a:gd name="connsiteX457" fmla="*/ 397656 w 707627"/>
                <a:gd name="connsiteY457" fmla="*/ 1514214 h 1900164"/>
                <a:gd name="connsiteX458" fmla="*/ 401647 w 707627"/>
                <a:gd name="connsiteY458" fmla="*/ 1507956 h 1900164"/>
                <a:gd name="connsiteX459" fmla="*/ 402645 w 707627"/>
                <a:gd name="connsiteY459" fmla="*/ 1502499 h 1900164"/>
                <a:gd name="connsiteX460" fmla="*/ 399203 w 707627"/>
                <a:gd name="connsiteY460" fmla="*/ 1497616 h 1900164"/>
                <a:gd name="connsiteX461" fmla="*/ 393756 w 707627"/>
                <a:gd name="connsiteY461" fmla="*/ 1495466 h 1900164"/>
                <a:gd name="connsiteX462" fmla="*/ 392647 w 707627"/>
                <a:gd name="connsiteY462" fmla="*/ 1494126 h 1900164"/>
                <a:gd name="connsiteX463" fmla="*/ 393153 w 707627"/>
                <a:gd name="connsiteY463" fmla="*/ 1492472 h 1900164"/>
                <a:gd name="connsiteX464" fmla="*/ 396942 w 707627"/>
                <a:gd name="connsiteY464" fmla="*/ 1488669 h 1900164"/>
                <a:gd name="connsiteX465" fmla="*/ 393905 w 707627"/>
                <a:gd name="connsiteY465" fmla="*/ 1487777 h 1900164"/>
                <a:gd name="connsiteX466" fmla="*/ 393756 w 707627"/>
                <a:gd name="connsiteY466" fmla="*/ 1487724 h 1900164"/>
                <a:gd name="connsiteX467" fmla="*/ 387812 w 707627"/>
                <a:gd name="connsiteY467" fmla="*/ 1485337 h 1900164"/>
                <a:gd name="connsiteX468" fmla="*/ 386727 w 707627"/>
                <a:gd name="connsiteY468" fmla="*/ 1483217 h 1900164"/>
                <a:gd name="connsiteX469" fmla="*/ 388655 w 707627"/>
                <a:gd name="connsiteY469" fmla="*/ 1481838 h 1900164"/>
                <a:gd name="connsiteX470" fmla="*/ 392396 w 707627"/>
                <a:gd name="connsiteY470" fmla="*/ 1482233 h 1900164"/>
                <a:gd name="connsiteX471" fmla="*/ 392102 w 707627"/>
                <a:gd name="connsiteY471" fmla="*/ 1479316 h 1900164"/>
                <a:gd name="connsiteX472" fmla="*/ 385840 w 707627"/>
                <a:gd name="connsiteY472" fmla="*/ 1475132 h 1900164"/>
                <a:gd name="connsiteX473" fmla="*/ 380113 w 707627"/>
                <a:gd name="connsiteY473" fmla="*/ 1472823 h 1900164"/>
                <a:gd name="connsiteX474" fmla="*/ 372921 w 707627"/>
                <a:gd name="connsiteY474" fmla="*/ 1470437 h 1900164"/>
                <a:gd name="connsiteX475" fmla="*/ 369951 w 707627"/>
                <a:gd name="connsiteY475" fmla="*/ 1469246 h 1900164"/>
                <a:gd name="connsiteX476" fmla="*/ 368799 w 707627"/>
                <a:gd name="connsiteY476" fmla="*/ 1467313 h 1900164"/>
                <a:gd name="connsiteX477" fmla="*/ 370443 w 707627"/>
                <a:gd name="connsiteY477" fmla="*/ 1465770 h 1900164"/>
                <a:gd name="connsiteX478" fmla="*/ 377013 w 707627"/>
                <a:gd name="connsiteY478" fmla="*/ 1465158 h 1900164"/>
                <a:gd name="connsiteX479" fmla="*/ 377982 w 707627"/>
                <a:gd name="connsiteY479" fmla="*/ 1465356 h 1900164"/>
                <a:gd name="connsiteX480" fmla="*/ 383695 w 707627"/>
                <a:gd name="connsiteY480" fmla="*/ 1468209 h 1900164"/>
                <a:gd name="connsiteX481" fmla="*/ 389754 w 707627"/>
                <a:gd name="connsiteY481" fmla="*/ 1469304 h 1900164"/>
                <a:gd name="connsiteX482" fmla="*/ 395703 w 707627"/>
                <a:gd name="connsiteY482" fmla="*/ 1468783 h 1900164"/>
                <a:gd name="connsiteX483" fmla="*/ 401238 w 707627"/>
                <a:gd name="connsiteY483" fmla="*/ 1466002 h 1900164"/>
                <a:gd name="connsiteX484" fmla="*/ 404834 w 707627"/>
                <a:gd name="connsiteY484" fmla="*/ 1463476 h 1900164"/>
                <a:gd name="connsiteX485" fmla="*/ 400596 w 707627"/>
                <a:gd name="connsiteY485" fmla="*/ 1460771 h 1900164"/>
                <a:gd name="connsiteX486" fmla="*/ 400302 w 707627"/>
                <a:gd name="connsiteY486" fmla="*/ 1460521 h 1900164"/>
                <a:gd name="connsiteX487" fmla="*/ 394532 w 707627"/>
                <a:gd name="connsiteY487" fmla="*/ 1454755 h 1900164"/>
                <a:gd name="connsiteX488" fmla="*/ 387113 w 707627"/>
                <a:gd name="connsiteY488" fmla="*/ 1450763 h 1900164"/>
                <a:gd name="connsiteX489" fmla="*/ 381853 w 707627"/>
                <a:gd name="connsiteY489" fmla="*/ 1448686 h 1900164"/>
                <a:gd name="connsiteX490" fmla="*/ 376493 w 707627"/>
                <a:gd name="connsiteY490" fmla="*/ 1450262 h 1900164"/>
                <a:gd name="connsiteX491" fmla="*/ 375803 w 707627"/>
                <a:gd name="connsiteY491" fmla="*/ 1450354 h 1900164"/>
                <a:gd name="connsiteX492" fmla="*/ 369932 w 707627"/>
                <a:gd name="connsiteY492" fmla="*/ 1449751 h 1900164"/>
                <a:gd name="connsiteX493" fmla="*/ 363814 w 707627"/>
                <a:gd name="connsiteY493" fmla="*/ 1449751 h 1900164"/>
                <a:gd name="connsiteX494" fmla="*/ 358193 w 707627"/>
                <a:gd name="connsiteY494" fmla="*/ 1452036 h 1900164"/>
                <a:gd name="connsiteX495" fmla="*/ 356742 w 707627"/>
                <a:gd name="connsiteY495" fmla="*/ 1451964 h 1900164"/>
                <a:gd name="connsiteX496" fmla="*/ 355797 w 707627"/>
                <a:gd name="connsiteY496" fmla="*/ 1450845 h 1900164"/>
                <a:gd name="connsiteX497" fmla="*/ 353985 w 707627"/>
                <a:gd name="connsiteY497" fmla="*/ 1444887 h 1900164"/>
                <a:gd name="connsiteX498" fmla="*/ 354206 w 707627"/>
                <a:gd name="connsiteY498" fmla="*/ 1443407 h 1900164"/>
                <a:gd name="connsiteX499" fmla="*/ 355441 w 707627"/>
                <a:gd name="connsiteY499" fmla="*/ 1442554 h 1900164"/>
                <a:gd name="connsiteX500" fmla="*/ 362570 w 707627"/>
                <a:gd name="connsiteY500" fmla="*/ 1441382 h 1900164"/>
                <a:gd name="connsiteX501" fmla="*/ 363053 w 707627"/>
                <a:gd name="connsiteY501" fmla="*/ 1441382 h 1900164"/>
                <a:gd name="connsiteX502" fmla="*/ 368924 w 707627"/>
                <a:gd name="connsiteY502" fmla="*/ 1441956 h 1900164"/>
                <a:gd name="connsiteX503" fmla="*/ 375374 w 707627"/>
                <a:gd name="connsiteY503" fmla="*/ 1441956 h 1900164"/>
                <a:gd name="connsiteX504" fmla="*/ 375702 w 707627"/>
                <a:gd name="connsiteY504" fmla="*/ 1441980 h 1900164"/>
                <a:gd name="connsiteX505" fmla="*/ 382167 w 707627"/>
                <a:gd name="connsiteY505" fmla="*/ 1443161 h 1900164"/>
                <a:gd name="connsiteX506" fmla="*/ 388554 w 707627"/>
                <a:gd name="connsiteY506" fmla="*/ 1443749 h 1900164"/>
                <a:gd name="connsiteX507" fmla="*/ 393823 w 707627"/>
                <a:gd name="connsiteY507" fmla="*/ 1443749 h 1900164"/>
                <a:gd name="connsiteX508" fmla="*/ 394011 w 707627"/>
                <a:gd name="connsiteY508" fmla="*/ 1443749 h 1900164"/>
                <a:gd name="connsiteX509" fmla="*/ 399762 w 707627"/>
                <a:gd name="connsiteY509" fmla="*/ 1444333 h 1900164"/>
                <a:gd name="connsiteX510" fmla="*/ 405590 w 707627"/>
                <a:gd name="connsiteY510" fmla="*/ 1443802 h 1900164"/>
                <a:gd name="connsiteX511" fmla="*/ 408589 w 707627"/>
                <a:gd name="connsiteY511" fmla="*/ 1441378 h 1900164"/>
                <a:gd name="connsiteX512" fmla="*/ 405113 w 707627"/>
                <a:gd name="connsiteY512" fmla="*/ 1440114 h 1900164"/>
                <a:gd name="connsiteX513" fmla="*/ 403922 w 707627"/>
                <a:gd name="connsiteY513" fmla="*/ 1438167 h 1900164"/>
                <a:gd name="connsiteX514" fmla="*/ 405533 w 707627"/>
                <a:gd name="connsiteY514" fmla="*/ 1436595 h 1900164"/>
                <a:gd name="connsiteX515" fmla="*/ 411501 w 707627"/>
                <a:gd name="connsiteY515" fmla="*/ 1436007 h 1900164"/>
                <a:gd name="connsiteX516" fmla="*/ 411665 w 707627"/>
                <a:gd name="connsiteY516" fmla="*/ 1436007 h 1900164"/>
                <a:gd name="connsiteX517" fmla="*/ 411337 w 707627"/>
                <a:gd name="connsiteY517" fmla="*/ 1435781 h 1900164"/>
                <a:gd name="connsiteX518" fmla="*/ 410628 w 707627"/>
                <a:gd name="connsiteY518" fmla="*/ 1435057 h 1900164"/>
                <a:gd name="connsiteX519" fmla="*/ 407634 w 707627"/>
                <a:gd name="connsiteY519" fmla="*/ 1429123 h 1900164"/>
                <a:gd name="connsiteX520" fmla="*/ 407562 w 707627"/>
                <a:gd name="connsiteY520" fmla="*/ 1427706 h 1900164"/>
                <a:gd name="connsiteX521" fmla="*/ 408526 w 707627"/>
                <a:gd name="connsiteY521" fmla="*/ 1426621 h 1900164"/>
                <a:gd name="connsiteX522" fmla="*/ 415097 w 707627"/>
                <a:gd name="connsiteY522" fmla="*/ 1423642 h 1900164"/>
                <a:gd name="connsiteX523" fmla="*/ 416712 w 707627"/>
                <a:gd name="connsiteY523" fmla="*/ 1423739 h 1900164"/>
                <a:gd name="connsiteX524" fmla="*/ 422309 w 707627"/>
                <a:gd name="connsiteY524" fmla="*/ 1426771 h 1900164"/>
                <a:gd name="connsiteX525" fmla="*/ 427959 w 707627"/>
                <a:gd name="connsiteY525" fmla="*/ 1423179 h 1900164"/>
                <a:gd name="connsiteX526" fmla="*/ 429289 w 707627"/>
                <a:gd name="connsiteY526" fmla="*/ 1422943 h 1900164"/>
                <a:gd name="connsiteX527" fmla="*/ 431222 w 707627"/>
                <a:gd name="connsiteY527" fmla="*/ 1423319 h 1900164"/>
                <a:gd name="connsiteX528" fmla="*/ 429757 w 707627"/>
                <a:gd name="connsiteY528" fmla="*/ 1420894 h 1900164"/>
                <a:gd name="connsiteX529" fmla="*/ 429574 w 707627"/>
                <a:gd name="connsiteY529" fmla="*/ 1419443 h 1900164"/>
                <a:gd name="connsiteX530" fmla="*/ 431357 w 707627"/>
                <a:gd name="connsiteY530" fmla="*/ 1413495 h 1900164"/>
                <a:gd name="connsiteX531" fmla="*/ 432702 w 707627"/>
                <a:gd name="connsiteY531" fmla="*/ 1412246 h 1900164"/>
                <a:gd name="connsiteX532" fmla="*/ 434438 w 707627"/>
                <a:gd name="connsiteY532" fmla="*/ 1412781 h 1900164"/>
                <a:gd name="connsiteX533" fmla="*/ 437388 w 707627"/>
                <a:gd name="connsiteY533" fmla="*/ 1416054 h 1900164"/>
                <a:gd name="connsiteX534" fmla="*/ 437807 w 707627"/>
                <a:gd name="connsiteY534" fmla="*/ 1413904 h 1900164"/>
                <a:gd name="connsiteX535" fmla="*/ 437229 w 707627"/>
                <a:gd name="connsiteY535" fmla="*/ 1408235 h 1900164"/>
                <a:gd name="connsiteX536" fmla="*/ 437952 w 707627"/>
                <a:gd name="connsiteY536" fmla="*/ 1406582 h 1900164"/>
                <a:gd name="connsiteX537" fmla="*/ 439721 w 707627"/>
                <a:gd name="connsiteY537" fmla="*/ 1406365 h 1900164"/>
                <a:gd name="connsiteX538" fmla="*/ 441741 w 707627"/>
                <a:gd name="connsiteY538" fmla="*/ 1407170 h 1900164"/>
                <a:gd name="connsiteX539" fmla="*/ 440907 w 707627"/>
                <a:gd name="connsiteY539" fmla="*/ 1405160 h 1900164"/>
                <a:gd name="connsiteX540" fmla="*/ 441196 w 707627"/>
                <a:gd name="connsiteY540" fmla="*/ 1403337 h 1900164"/>
                <a:gd name="connsiteX541" fmla="*/ 445116 w 707627"/>
                <a:gd name="connsiteY541" fmla="*/ 1398430 h 1900164"/>
                <a:gd name="connsiteX542" fmla="*/ 443462 w 707627"/>
                <a:gd name="connsiteY542" fmla="*/ 1395966 h 1900164"/>
                <a:gd name="connsiteX543" fmla="*/ 443799 w 707627"/>
                <a:gd name="connsiteY543" fmla="*/ 1393595 h 1900164"/>
                <a:gd name="connsiteX544" fmla="*/ 446181 w 707627"/>
                <a:gd name="connsiteY544" fmla="*/ 1393595 h 1900164"/>
                <a:gd name="connsiteX545" fmla="*/ 450004 w 707627"/>
                <a:gd name="connsiteY545" fmla="*/ 1397032 h 1900164"/>
                <a:gd name="connsiteX546" fmla="*/ 450910 w 707627"/>
                <a:gd name="connsiteY546" fmla="*/ 1394115 h 1900164"/>
                <a:gd name="connsiteX547" fmla="*/ 450910 w 707627"/>
                <a:gd name="connsiteY547" fmla="*/ 1388171 h 1900164"/>
                <a:gd name="connsiteX548" fmla="*/ 450683 w 707627"/>
                <a:gd name="connsiteY548" fmla="*/ 1387588 h 1900164"/>
                <a:gd name="connsiteX549" fmla="*/ 450307 w 707627"/>
                <a:gd name="connsiteY549" fmla="*/ 1388894 h 1900164"/>
                <a:gd name="connsiteX550" fmla="*/ 448562 w 707627"/>
                <a:gd name="connsiteY550" fmla="*/ 1390235 h 1900164"/>
                <a:gd name="connsiteX551" fmla="*/ 446798 w 707627"/>
                <a:gd name="connsiteY551" fmla="*/ 1388894 h 1900164"/>
                <a:gd name="connsiteX552" fmla="*/ 445029 w 707627"/>
                <a:gd name="connsiteY552" fmla="*/ 1382358 h 1900164"/>
                <a:gd name="connsiteX553" fmla="*/ 445029 w 707627"/>
                <a:gd name="connsiteY553" fmla="*/ 1381369 h 1900164"/>
                <a:gd name="connsiteX554" fmla="*/ 446716 w 707627"/>
                <a:gd name="connsiteY554" fmla="*/ 1375739 h 1900164"/>
                <a:gd name="connsiteX555" fmla="*/ 446133 w 707627"/>
                <a:gd name="connsiteY555" fmla="*/ 1369549 h 1900164"/>
                <a:gd name="connsiteX556" fmla="*/ 447579 w 707627"/>
                <a:gd name="connsiteY556" fmla="*/ 1367587 h 1900164"/>
                <a:gd name="connsiteX557" fmla="*/ 449671 w 707627"/>
                <a:gd name="connsiteY557" fmla="*/ 1368768 h 1900164"/>
                <a:gd name="connsiteX558" fmla="*/ 451508 w 707627"/>
                <a:gd name="connsiteY558" fmla="*/ 1373825 h 1900164"/>
                <a:gd name="connsiteX559" fmla="*/ 455924 w 707627"/>
                <a:gd name="connsiteY559" fmla="*/ 1372952 h 1900164"/>
                <a:gd name="connsiteX560" fmla="*/ 457630 w 707627"/>
                <a:gd name="connsiteY560" fmla="*/ 1373487 h 1900164"/>
                <a:gd name="connsiteX561" fmla="*/ 458059 w 707627"/>
                <a:gd name="connsiteY561" fmla="*/ 1375213 h 1900164"/>
                <a:gd name="connsiteX562" fmla="*/ 456357 w 707627"/>
                <a:gd name="connsiteY562" fmla="*/ 1381451 h 1900164"/>
                <a:gd name="connsiteX563" fmla="*/ 456912 w 707627"/>
                <a:gd name="connsiteY563" fmla="*/ 1387062 h 1900164"/>
                <a:gd name="connsiteX564" fmla="*/ 456912 w 707627"/>
                <a:gd name="connsiteY564" fmla="*/ 1387222 h 1900164"/>
                <a:gd name="connsiteX565" fmla="*/ 456912 w 707627"/>
                <a:gd name="connsiteY565" fmla="*/ 1392158 h 1900164"/>
                <a:gd name="connsiteX566" fmla="*/ 457052 w 707627"/>
                <a:gd name="connsiteY566" fmla="*/ 1392009 h 1900164"/>
                <a:gd name="connsiteX567" fmla="*/ 458912 w 707627"/>
                <a:gd name="connsiteY567" fmla="*/ 1392640 h 1900164"/>
                <a:gd name="connsiteX568" fmla="*/ 463246 w 707627"/>
                <a:gd name="connsiteY568" fmla="*/ 1398054 h 1900164"/>
                <a:gd name="connsiteX569" fmla="*/ 464538 w 707627"/>
                <a:gd name="connsiteY569" fmla="*/ 1399066 h 1900164"/>
                <a:gd name="connsiteX570" fmla="*/ 465897 w 707627"/>
                <a:gd name="connsiteY570" fmla="*/ 1402465 h 1900164"/>
                <a:gd name="connsiteX571" fmla="*/ 469359 w 707627"/>
                <a:gd name="connsiteY571" fmla="*/ 1398955 h 1900164"/>
                <a:gd name="connsiteX572" fmla="*/ 469359 w 707627"/>
                <a:gd name="connsiteY572" fmla="*/ 1393195 h 1900164"/>
                <a:gd name="connsiteX573" fmla="*/ 469759 w 707627"/>
                <a:gd name="connsiteY573" fmla="*/ 1392042 h 1900164"/>
                <a:gd name="connsiteX574" fmla="*/ 474054 w 707627"/>
                <a:gd name="connsiteY574" fmla="*/ 1386677 h 1900164"/>
                <a:gd name="connsiteX575" fmla="*/ 473538 w 707627"/>
                <a:gd name="connsiteY575" fmla="*/ 1380849 h 1900164"/>
                <a:gd name="connsiteX576" fmla="*/ 473992 w 707627"/>
                <a:gd name="connsiteY576" fmla="*/ 1379465 h 1900164"/>
                <a:gd name="connsiteX577" fmla="*/ 479338 w 707627"/>
                <a:gd name="connsiteY577" fmla="*/ 1373526 h 1900164"/>
                <a:gd name="connsiteX578" fmla="*/ 479429 w 707627"/>
                <a:gd name="connsiteY578" fmla="*/ 1373439 h 1900164"/>
                <a:gd name="connsiteX579" fmla="*/ 484766 w 707627"/>
                <a:gd name="connsiteY579" fmla="*/ 1368112 h 1900164"/>
                <a:gd name="connsiteX580" fmla="*/ 486901 w 707627"/>
                <a:gd name="connsiteY580" fmla="*/ 1367751 h 1900164"/>
                <a:gd name="connsiteX581" fmla="*/ 487837 w 707627"/>
                <a:gd name="connsiteY581" fmla="*/ 1369718 h 1900164"/>
                <a:gd name="connsiteX582" fmla="*/ 487268 w 707627"/>
                <a:gd name="connsiteY582" fmla="*/ 1372832 h 1900164"/>
                <a:gd name="connsiteX583" fmla="*/ 489813 w 707627"/>
                <a:gd name="connsiteY583" fmla="*/ 1371685 h 1900164"/>
                <a:gd name="connsiteX584" fmla="*/ 490835 w 707627"/>
                <a:gd name="connsiteY584" fmla="*/ 1366054 h 1900164"/>
                <a:gd name="connsiteX585" fmla="*/ 491809 w 707627"/>
                <a:gd name="connsiteY585" fmla="*/ 1364772 h 1900164"/>
                <a:gd name="connsiteX586" fmla="*/ 496109 w 707627"/>
                <a:gd name="connsiteY586" fmla="*/ 1362612 h 1900164"/>
                <a:gd name="connsiteX587" fmla="*/ 493997 w 707627"/>
                <a:gd name="connsiteY587" fmla="*/ 1358374 h 1900164"/>
                <a:gd name="connsiteX588" fmla="*/ 489876 w 707627"/>
                <a:gd name="connsiteY588" fmla="*/ 1351895 h 1900164"/>
                <a:gd name="connsiteX589" fmla="*/ 489717 w 707627"/>
                <a:gd name="connsiteY589" fmla="*/ 1351592 h 1900164"/>
                <a:gd name="connsiteX590" fmla="*/ 487326 w 707627"/>
                <a:gd name="connsiteY590" fmla="*/ 1345662 h 1900164"/>
                <a:gd name="connsiteX591" fmla="*/ 487605 w 707627"/>
                <a:gd name="connsiteY591" fmla="*/ 1343826 h 1900164"/>
                <a:gd name="connsiteX592" fmla="*/ 489341 w 707627"/>
                <a:gd name="connsiteY592" fmla="*/ 1343204 h 1900164"/>
                <a:gd name="connsiteX593" fmla="*/ 495636 w 707627"/>
                <a:gd name="connsiteY593" fmla="*/ 1344332 h 1900164"/>
                <a:gd name="connsiteX594" fmla="*/ 494373 w 707627"/>
                <a:gd name="connsiteY594" fmla="*/ 1342259 h 1900164"/>
                <a:gd name="connsiteX595" fmla="*/ 496331 w 707627"/>
                <a:gd name="connsiteY595" fmla="*/ 1340774 h 1900164"/>
                <a:gd name="connsiteX596" fmla="*/ 503465 w 707627"/>
                <a:gd name="connsiteY596" fmla="*/ 1341386 h 1900164"/>
                <a:gd name="connsiteX597" fmla="*/ 504246 w 707627"/>
                <a:gd name="connsiteY597" fmla="*/ 1341632 h 1900164"/>
                <a:gd name="connsiteX598" fmla="*/ 509164 w 707627"/>
                <a:gd name="connsiteY598" fmla="*/ 1344587 h 1900164"/>
                <a:gd name="connsiteX599" fmla="*/ 513208 w 707627"/>
                <a:gd name="connsiteY599" fmla="*/ 1341656 h 1900164"/>
                <a:gd name="connsiteX600" fmla="*/ 509790 w 707627"/>
                <a:gd name="connsiteY600" fmla="*/ 1337404 h 1900164"/>
                <a:gd name="connsiteX601" fmla="*/ 503436 w 707627"/>
                <a:gd name="connsiteY601" fmla="*/ 1332777 h 1900164"/>
                <a:gd name="connsiteX602" fmla="*/ 503224 w 707627"/>
                <a:gd name="connsiteY602" fmla="*/ 1332593 h 1900164"/>
                <a:gd name="connsiteX603" fmla="*/ 499421 w 707627"/>
                <a:gd name="connsiteY603" fmla="*/ 1328780 h 1900164"/>
                <a:gd name="connsiteX604" fmla="*/ 498736 w 707627"/>
                <a:gd name="connsiteY604" fmla="*/ 1331109 h 1900164"/>
                <a:gd name="connsiteX605" fmla="*/ 501363 w 707627"/>
                <a:gd name="connsiteY605" fmla="*/ 1336440 h 1900164"/>
                <a:gd name="connsiteX606" fmla="*/ 501108 w 707627"/>
                <a:gd name="connsiteY606" fmla="*/ 1338475 h 1900164"/>
                <a:gd name="connsiteX607" fmla="*/ 499117 w 707627"/>
                <a:gd name="connsiteY607" fmla="*/ 1338942 h 1900164"/>
                <a:gd name="connsiteX608" fmla="*/ 492951 w 707627"/>
                <a:gd name="connsiteY608" fmla="*/ 1336710 h 1900164"/>
                <a:gd name="connsiteX609" fmla="*/ 487369 w 707627"/>
                <a:gd name="connsiteY609" fmla="*/ 1337212 h 1900164"/>
                <a:gd name="connsiteX610" fmla="*/ 481840 w 707627"/>
                <a:gd name="connsiteY610" fmla="*/ 1341661 h 1900164"/>
                <a:gd name="connsiteX611" fmla="*/ 480172 w 707627"/>
                <a:gd name="connsiteY611" fmla="*/ 1341970 h 1900164"/>
                <a:gd name="connsiteX612" fmla="*/ 474223 w 707627"/>
                <a:gd name="connsiteY612" fmla="*/ 1340181 h 1900164"/>
                <a:gd name="connsiteX613" fmla="*/ 473027 w 707627"/>
                <a:gd name="connsiteY613" fmla="*/ 1339039 h 1900164"/>
                <a:gd name="connsiteX614" fmla="*/ 470661 w 707627"/>
                <a:gd name="connsiteY614" fmla="*/ 1332507 h 1900164"/>
                <a:gd name="connsiteX615" fmla="*/ 470583 w 707627"/>
                <a:gd name="connsiteY615" fmla="*/ 1331542 h 1900164"/>
                <a:gd name="connsiteX616" fmla="*/ 471755 w 707627"/>
                <a:gd name="connsiteY616" fmla="*/ 1325589 h 1900164"/>
                <a:gd name="connsiteX617" fmla="*/ 472680 w 707627"/>
                <a:gd name="connsiteY617" fmla="*/ 1324331 h 1900164"/>
                <a:gd name="connsiteX618" fmla="*/ 474213 w 707627"/>
                <a:gd name="connsiteY618" fmla="*/ 1324244 h 1900164"/>
                <a:gd name="connsiteX619" fmla="*/ 480172 w 707627"/>
                <a:gd name="connsiteY619" fmla="*/ 1326620 h 1900164"/>
                <a:gd name="connsiteX620" fmla="*/ 480529 w 707627"/>
                <a:gd name="connsiteY620" fmla="*/ 1326842 h 1900164"/>
                <a:gd name="connsiteX621" fmla="*/ 482770 w 707627"/>
                <a:gd name="connsiteY621" fmla="*/ 1328409 h 1900164"/>
                <a:gd name="connsiteX622" fmla="*/ 482476 w 707627"/>
                <a:gd name="connsiteY622" fmla="*/ 1326900 h 1900164"/>
                <a:gd name="connsiteX623" fmla="*/ 483213 w 707627"/>
                <a:gd name="connsiteY623" fmla="*/ 1325044 h 1900164"/>
                <a:gd name="connsiteX624" fmla="*/ 488926 w 707627"/>
                <a:gd name="connsiteY624" fmla="*/ 1321077 h 1900164"/>
                <a:gd name="connsiteX625" fmla="*/ 493496 w 707627"/>
                <a:gd name="connsiteY625" fmla="*/ 1314771 h 1900164"/>
                <a:gd name="connsiteX626" fmla="*/ 493814 w 707627"/>
                <a:gd name="connsiteY626" fmla="*/ 1314419 h 1900164"/>
                <a:gd name="connsiteX627" fmla="*/ 500269 w 707627"/>
                <a:gd name="connsiteY627" fmla="*/ 1309150 h 1900164"/>
                <a:gd name="connsiteX628" fmla="*/ 506695 w 707627"/>
                <a:gd name="connsiteY628" fmla="*/ 1302180 h 1900164"/>
                <a:gd name="connsiteX629" fmla="*/ 505697 w 707627"/>
                <a:gd name="connsiteY629" fmla="*/ 1297142 h 1900164"/>
                <a:gd name="connsiteX630" fmla="*/ 506006 w 707627"/>
                <a:gd name="connsiteY630" fmla="*/ 1295729 h 1900164"/>
                <a:gd name="connsiteX631" fmla="*/ 510547 w 707627"/>
                <a:gd name="connsiteY631" fmla="*/ 1289472 h 1900164"/>
                <a:gd name="connsiteX632" fmla="*/ 511063 w 707627"/>
                <a:gd name="connsiteY632" fmla="*/ 1287419 h 1900164"/>
                <a:gd name="connsiteX633" fmla="*/ 512017 w 707627"/>
                <a:gd name="connsiteY633" fmla="*/ 1286237 h 1900164"/>
                <a:gd name="connsiteX634" fmla="*/ 517923 w 707627"/>
                <a:gd name="connsiteY634" fmla="*/ 1283277 h 1900164"/>
                <a:gd name="connsiteX635" fmla="*/ 522020 w 707627"/>
                <a:gd name="connsiteY635" fmla="*/ 1280930 h 1900164"/>
                <a:gd name="connsiteX636" fmla="*/ 522363 w 707627"/>
                <a:gd name="connsiteY636" fmla="*/ 1280790 h 1900164"/>
                <a:gd name="connsiteX637" fmla="*/ 524151 w 707627"/>
                <a:gd name="connsiteY637" fmla="*/ 1280197 h 1900164"/>
                <a:gd name="connsiteX638" fmla="*/ 524715 w 707627"/>
                <a:gd name="connsiteY638" fmla="*/ 1280081 h 1900164"/>
                <a:gd name="connsiteX639" fmla="*/ 529888 w 707627"/>
                <a:gd name="connsiteY639" fmla="*/ 1280081 h 1900164"/>
                <a:gd name="connsiteX640" fmla="*/ 530717 w 707627"/>
                <a:gd name="connsiteY640" fmla="*/ 1276967 h 1900164"/>
                <a:gd name="connsiteX641" fmla="*/ 526937 w 707627"/>
                <a:gd name="connsiteY641" fmla="*/ 1276577 h 1900164"/>
                <a:gd name="connsiteX642" fmla="*/ 525308 w 707627"/>
                <a:gd name="connsiteY642" fmla="*/ 1274914 h 1900164"/>
                <a:gd name="connsiteX643" fmla="*/ 524720 w 707627"/>
                <a:gd name="connsiteY643" fmla="*/ 1268271 h 1900164"/>
                <a:gd name="connsiteX644" fmla="*/ 520328 w 707627"/>
                <a:gd name="connsiteY644" fmla="*/ 1262225 h 1900164"/>
                <a:gd name="connsiteX645" fmla="*/ 515021 w 707627"/>
                <a:gd name="connsiteY645" fmla="*/ 1256339 h 1900164"/>
                <a:gd name="connsiteX646" fmla="*/ 515021 w 707627"/>
                <a:gd name="connsiteY646" fmla="*/ 1253881 h 1900164"/>
                <a:gd name="connsiteX647" fmla="*/ 516192 w 707627"/>
                <a:gd name="connsiteY647" fmla="*/ 1253331 h 1900164"/>
                <a:gd name="connsiteX648" fmla="*/ 514129 w 707627"/>
                <a:gd name="connsiteY648" fmla="*/ 1248144 h 1900164"/>
                <a:gd name="connsiteX649" fmla="*/ 512952 w 707627"/>
                <a:gd name="connsiteY649" fmla="*/ 1245811 h 1900164"/>
                <a:gd name="connsiteX650" fmla="*/ 512943 w 707627"/>
                <a:gd name="connsiteY650" fmla="*/ 1245787 h 1900164"/>
                <a:gd name="connsiteX651" fmla="*/ 509969 w 707627"/>
                <a:gd name="connsiteY651" fmla="*/ 1239221 h 1900164"/>
                <a:gd name="connsiteX652" fmla="*/ 509867 w 707627"/>
                <a:gd name="connsiteY652" fmla="*/ 1238946 h 1900164"/>
                <a:gd name="connsiteX653" fmla="*/ 508334 w 707627"/>
                <a:gd name="connsiteY653" fmla="*/ 1233311 h 1900164"/>
                <a:gd name="connsiteX654" fmla="*/ 502728 w 707627"/>
                <a:gd name="connsiteY654" fmla="*/ 1231262 h 1900164"/>
                <a:gd name="connsiteX655" fmla="*/ 497878 w 707627"/>
                <a:gd name="connsiteY655" fmla="*/ 1229951 h 1900164"/>
                <a:gd name="connsiteX656" fmla="*/ 496070 w 707627"/>
                <a:gd name="connsiteY656" fmla="*/ 1234931 h 1900164"/>
                <a:gd name="connsiteX657" fmla="*/ 494499 w 707627"/>
                <a:gd name="connsiteY657" fmla="*/ 1236107 h 1900164"/>
                <a:gd name="connsiteX658" fmla="*/ 492778 w 707627"/>
                <a:gd name="connsiteY658" fmla="*/ 1235205 h 1900164"/>
                <a:gd name="connsiteX659" fmla="*/ 489823 w 707627"/>
                <a:gd name="connsiteY659" fmla="*/ 1229883 h 1900164"/>
                <a:gd name="connsiteX660" fmla="*/ 488974 w 707627"/>
                <a:gd name="connsiteY660" fmla="*/ 1228611 h 1900164"/>
                <a:gd name="connsiteX661" fmla="*/ 482905 w 707627"/>
                <a:gd name="connsiteY661" fmla="*/ 1225844 h 1900164"/>
                <a:gd name="connsiteX662" fmla="*/ 481902 w 707627"/>
                <a:gd name="connsiteY662" fmla="*/ 1224667 h 1900164"/>
                <a:gd name="connsiteX663" fmla="*/ 480234 w 707627"/>
                <a:gd name="connsiteY663" fmla="*/ 1218569 h 1900164"/>
                <a:gd name="connsiteX664" fmla="*/ 474633 w 707627"/>
                <a:gd name="connsiteY664" fmla="*/ 1212958 h 1900164"/>
                <a:gd name="connsiteX665" fmla="*/ 474454 w 707627"/>
                <a:gd name="connsiteY665" fmla="*/ 1210557 h 1900164"/>
                <a:gd name="connsiteX666" fmla="*/ 476826 w 707627"/>
                <a:gd name="connsiteY666" fmla="*/ 1210114 h 1900164"/>
                <a:gd name="connsiteX667" fmla="*/ 483156 w 707627"/>
                <a:gd name="connsiteY667" fmla="*/ 1213792 h 1900164"/>
                <a:gd name="connsiteX668" fmla="*/ 487085 w 707627"/>
                <a:gd name="connsiteY668" fmla="*/ 1211979 h 1900164"/>
                <a:gd name="connsiteX669" fmla="*/ 482630 w 707627"/>
                <a:gd name="connsiteY669" fmla="*/ 1209024 h 1900164"/>
                <a:gd name="connsiteX670" fmla="*/ 482596 w 707627"/>
                <a:gd name="connsiteY670" fmla="*/ 1208995 h 1900164"/>
                <a:gd name="connsiteX671" fmla="*/ 476778 w 707627"/>
                <a:gd name="connsiteY671" fmla="*/ 1204931 h 1900164"/>
                <a:gd name="connsiteX672" fmla="*/ 471731 w 707627"/>
                <a:gd name="connsiteY672" fmla="*/ 1202410 h 1900164"/>
                <a:gd name="connsiteX673" fmla="*/ 466606 w 707627"/>
                <a:gd name="connsiteY673" fmla="*/ 1204984 h 1900164"/>
                <a:gd name="connsiteX674" fmla="*/ 465054 w 707627"/>
                <a:gd name="connsiteY674" fmla="*/ 1205018 h 1900164"/>
                <a:gd name="connsiteX675" fmla="*/ 464051 w 707627"/>
                <a:gd name="connsiteY675" fmla="*/ 1203847 h 1900164"/>
                <a:gd name="connsiteX676" fmla="*/ 462465 w 707627"/>
                <a:gd name="connsiteY676" fmla="*/ 1198086 h 1900164"/>
                <a:gd name="connsiteX677" fmla="*/ 457230 w 707627"/>
                <a:gd name="connsiteY677" fmla="*/ 1195468 h 1900164"/>
                <a:gd name="connsiteX678" fmla="*/ 456483 w 707627"/>
                <a:gd name="connsiteY678" fmla="*/ 1194760 h 1900164"/>
                <a:gd name="connsiteX679" fmla="*/ 452583 w 707627"/>
                <a:gd name="connsiteY679" fmla="*/ 1188054 h 1900164"/>
                <a:gd name="connsiteX680" fmla="*/ 446485 w 707627"/>
                <a:gd name="connsiteY680" fmla="*/ 1184728 h 1900164"/>
                <a:gd name="connsiteX681" fmla="*/ 445569 w 707627"/>
                <a:gd name="connsiteY681" fmla="*/ 1182785 h 1900164"/>
                <a:gd name="connsiteX682" fmla="*/ 446615 w 707627"/>
                <a:gd name="connsiteY682" fmla="*/ 1177482 h 1900164"/>
                <a:gd name="connsiteX683" fmla="*/ 444214 w 707627"/>
                <a:gd name="connsiteY683" fmla="*/ 1173052 h 1900164"/>
                <a:gd name="connsiteX684" fmla="*/ 440107 w 707627"/>
                <a:gd name="connsiteY684" fmla="*/ 1175110 h 1900164"/>
                <a:gd name="connsiteX685" fmla="*/ 433801 w 707627"/>
                <a:gd name="connsiteY685" fmla="*/ 1181363 h 1900164"/>
                <a:gd name="connsiteX686" fmla="*/ 429120 w 707627"/>
                <a:gd name="connsiteY686" fmla="*/ 1187239 h 1900164"/>
                <a:gd name="connsiteX687" fmla="*/ 427525 w 707627"/>
                <a:gd name="connsiteY687" fmla="*/ 1187938 h 1900164"/>
                <a:gd name="connsiteX688" fmla="*/ 426108 w 707627"/>
                <a:gd name="connsiteY688" fmla="*/ 1186969 h 1900164"/>
                <a:gd name="connsiteX689" fmla="*/ 422555 w 707627"/>
                <a:gd name="connsiteY689" fmla="*/ 1180437 h 1900164"/>
                <a:gd name="connsiteX690" fmla="*/ 422323 w 707627"/>
                <a:gd name="connsiteY690" fmla="*/ 1179762 h 1900164"/>
                <a:gd name="connsiteX691" fmla="*/ 421807 w 707627"/>
                <a:gd name="connsiteY691" fmla="*/ 1174334 h 1900164"/>
                <a:gd name="connsiteX692" fmla="*/ 417565 w 707627"/>
                <a:gd name="connsiteY692" fmla="*/ 1169167 h 1900164"/>
                <a:gd name="connsiteX693" fmla="*/ 410985 w 707627"/>
                <a:gd name="connsiteY693" fmla="*/ 1171182 h 1900164"/>
                <a:gd name="connsiteX694" fmla="*/ 409891 w 707627"/>
                <a:gd name="connsiteY694" fmla="*/ 1171162 h 1900164"/>
                <a:gd name="connsiteX695" fmla="*/ 405190 w 707627"/>
                <a:gd name="connsiteY695" fmla="*/ 1169625 h 1900164"/>
                <a:gd name="connsiteX696" fmla="*/ 403566 w 707627"/>
                <a:gd name="connsiteY696" fmla="*/ 1169822 h 1900164"/>
                <a:gd name="connsiteX697" fmla="*/ 397906 w 707627"/>
                <a:gd name="connsiteY697" fmla="*/ 1166409 h 1900164"/>
                <a:gd name="connsiteX698" fmla="*/ 391683 w 707627"/>
                <a:gd name="connsiteY698" fmla="*/ 1165281 h 1900164"/>
                <a:gd name="connsiteX699" fmla="*/ 390261 w 707627"/>
                <a:gd name="connsiteY699" fmla="*/ 1163999 h 1900164"/>
                <a:gd name="connsiteX700" fmla="*/ 390762 w 707627"/>
                <a:gd name="connsiteY700" fmla="*/ 1162133 h 1900164"/>
                <a:gd name="connsiteX701" fmla="*/ 396894 w 707627"/>
                <a:gd name="connsiteY701" fmla="*/ 1156584 h 1900164"/>
                <a:gd name="connsiteX702" fmla="*/ 397723 w 707627"/>
                <a:gd name="connsiteY702" fmla="*/ 1152400 h 1900164"/>
                <a:gd name="connsiteX703" fmla="*/ 392753 w 707627"/>
                <a:gd name="connsiteY703" fmla="*/ 1148891 h 1900164"/>
                <a:gd name="connsiteX704" fmla="*/ 392001 w 707627"/>
                <a:gd name="connsiteY704" fmla="*/ 1147088 h 1900164"/>
                <a:gd name="connsiteX705" fmla="*/ 393042 w 707627"/>
                <a:gd name="connsiteY705" fmla="*/ 1141380 h 1900164"/>
                <a:gd name="connsiteX706" fmla="*/ 388197 w 707627"/>
                <a:gd name="connsiteY706" fmla="*/ 1135455 h 1900164"/>
                <a:gd name="connsiteX707" fmla="*/ 388115 w 707627"/>
                <a:gd name="connsiteY707" fmla="*/ 1135383 h 1900164"/>
                <a:gd name="connsiteX708" fmla="*/ 383989 w 707627"/>
                <a:gd name="connsiteY708" fmla="*/ 1129420 h 1900164"/>
                <a:gd name="connsiteX709" fmla="*/ 383637 w 707627"/>
                <a:gd name="connsiteY709" fmla="*/ 1128383 h 1900164"/>
                <a:gd name="connsiteX710" fmla="*/ 383637 w 707627"/>
                <a:gd name="connsiteY710" fmla="*/ 1121933 h 1900164"/>
                <a:gd name="connsiteX711" fmla="*/ 383073 w 707627"/>
                <a:gd name="connsiteY711" fmla="*/ 1116100 h 1900164"/>
                <a:gd name="connsiteX712" fmla="*/ 381868 w 707627"/>
                <a:gd name="connsiteY712" fmla="*/ 1107177 h 1900164"/>
                <a:gd name="connsiteX713" fmla="*/ 381848 w 707627"/>
                <a:gd name="connsiteY713" fmla="*/ 1106787 h 1900164"/>
                <a:gd name="connsiteX714" fmla="*/ 382417 w 707627"/>
                <a:gd name="connsiteY714" fmla="*/ 1101180 h 1900164"/>
                <a:gd name="connsiteX715" fmla="*/ 380740 w 707627"/>
                <a:gd name="connsiteY715" fmla="*/ 1095569 h 1900164"/>
                <a:gd name="connsiteX716" fmla="*/ 380971 w 707627"/>
                <a:gd name="connsiteY716" fmla="*/ 1094070 h 1900164"/>
                <a:gd name="connsiteX717" fmla="*/ 381800 w 707627"/>
                <a:gd name="connsiteY717" fmla="*/ 1092797 h 1900164"/>
                <a:gd name="connsiteX718" fmla="*/ 381328 w 707627"/>
                <a:gd name="connsiteY718" fmla="*/ 1088015 h 1900164"/>
                <a:gd name="connsiteX719" fmla="*/ 377462 w 707627"/>
                <a:gd name="connsiteY719" fmla="*/ 1083083 h 1900164"/>
                <a:gd name="connsiteX720" fmla="*/ 377312 w 707627"/>
                <a:gd name="connsiteY720" fmla="*/ 1081092 h 1900164"/>
                <a:gd name="connsiteX721" fmla="*/ 379067 w 707627"/>
                <a:gd name="connsiteY721" fmla="*/ 1080171 h 1900164"/>
                <a:gd name="connsiteX722" fmla="*/ 384047 w 707627"/>
                <a:gd name="connsiteY722" fmla="*/ 1080576 h 1900164"/>
                <a:gd name="connsiteX723" fmla="*/ 383762 w 707627"/>
                <a:gd name="connsiteY723" fmla="*/ 1077399 h 1900164"/>
                <a:gd name="connsiteX724" fmla="*/ 378999 w 707627"/>
                <a:gd name="connsiteY724" fmla="*/ 1075977 h 1900164"/>
                <a:gd name="connsiteX725" fmla="*/ 377760 w 707627"/>
                <a:gd name="connsiteY725" fmla="*/ 1074690 h 1900164"/>
                <a:gd name="connsiteX726" fmla="*/ 375972 w 707627"/>
                <a:gd name="connsiteY726" fmla="*/ 1068158 h 1900164"/>
                <a:gd name="connsiteX727" fmla="*/ 377037 w 707627"/>
                <a:gd name="connsiteY727" fmla="*/ 1066003 h 1900164"/>
                <a:gd name="connsiteX728" fmla="*/ 381000 w 707627"/>
                <a:gd name="connsiteY728" fmla="*/ 1064403 h 1900164"/>
                <a:gd name="connsiteX729" fmla="*/ 375606 w 707627"/>
                <a:gd name="connsiteY729" fmla="*/ 1049006 h 1900164"/>
                <a:gd name="connsiteX730" fmla="*/ 370250 w 707627"/>
                <a:gd name="connsiteY730" fmla="*/ 1048027 h 1900164"/>
                <a:gd name="connsiteX731" fmla="*/ 368832 w 707627"/>
                <a:gd name="connsiteY731" fmla="*/ 1046701 h 1900164"/>
                <a:gd name="connsiteX732" fmla="*/ 369426 w 707627"/>
                <a:gd name="connsiteY732" fmla="*/ 1044855 h 1900164"/>
                <a:gd name="connsiteX733" fmla="*/ 375982 w 707627"/>
                <a:gd name="connsiteY733" fmla="*/ 1039499 h 1900164"/>
                <a:gd name="connsiteX734" fmla="*/ 376960 w 707627"/>
                <a:gd name="connsiteY734" fmla="*/ 1039080 h 1900164"/>
                <a:gd name="connsiteX735" fmla="*/ 378455 w 707627"/>
                <a:gd name="connsiteY735" fmla="*/ 1038940 h 1900164"/>
                <a:gd name="connsiteX736" fmla="*/ 376001 w 707627"/>
                <a:gd name="connsiteY736" fmla="*/ 1036978 h 1900164"/>
                <a:gd name="connsiteX737" fmla="*/ 375311 w 707627"/>
                <a:gd name="connsiteY737" fmla="*/ 1035435 h 1900164"/>
                <a:gd name="connsiteX738" fmla="*/ 376165 w 707627"/>
                <a:gd name="connsiteY738" fmla="*/ 1033994 h 1900164"/>
                <a:gd name="connsiteX739" fmla="*/ 380398 w 707627"/>
                <a:gd name="connsiteY739" fmla="*/ 1031285 h 1900164"/>
                <a:gd name="connsiteX740" fmla="*/ 374892 w 707627"/>
                <a:gd name="connsiteY740" fmla="*/ 1027505 h 1900164"/>
                <a:gd name="connsiteX741" fmla="*/ 374203 w 707627"/>
                <a:gd name="connsiteY741" fmla="*/ 1025485 h 1900164"/>
                <a:gd name="connsiteX742" fmla="*/ 375943 w 707627"/>
                <a:gd name="connsiteY742" fmla="*/ 1024203 h 1900164"/>
                <a:gd name="connsiteX743" fmla="*/ 382504 w 707627"/>
                <a:gd name="connsiteY743" fmla="*/ 1024203 h 1900164"/>
                <a:gd name="connsiteX744" fmla="*/ 382841 w 707627"/>
                <a:gd name="connsiteY744" fmla="*/ 1024237 h 1900164"/>
                <a:gd name="connsiteX745" fmla="*/ 388814 w 707627"/>
                <a:gd name="connsiteY745" fmla="*/ 1025403 h 1900164"/>
                <a:gd name="connsiteX746" fmla="*/ 389986 w 707627"/>
                <a:gd name="connsiteY746" fmla="*/ 1026281 h 1900164"/>
                <a:gd name="connsiteX747" fmla="*/ 393317 w 707627"/>
                <a:gd name="connsiteY747" fmla="*/ 1031771 h 1900164"/>
                <a:gd name="connsiteX748" fmla="*/ 396745 w 707627"/>
                <a:gd name="connsiteY748" fmla="*/ 1033656 h 1900164"/>
                <a:gd name="connsiteX749" fmla="*/ 396745 w 707627"/>
                <a:gd name="connsiteY749" fmla="*/ 1031145 h 1900164"/>
                <a:gd name="connsiteX750" fmla="*/ 394214 w 707627"/>
                <a:gd name="connsiteY750" fmla="*/ 1025071 h 1900164"/>
                <a:gd name="connsiteX751" fmla="*/ 388400 w 707627"/>
                <a:gd name="connsiteY751" fmla="*/ 1022969 h 1900164"/>
                <a:gd name="connsiteX752" fmla="*/ 387204 w 707627"/>
                <a:gd name="connsiteY752" fmla="*/ 1021407 h 1900164"/>
                <a:gd name="connsiteX753" fmla="*/ 386664 w 707627"/>
                <a:gd name="connsiteY753" fmla="*/ 1015222 h 1900164"/>
                <a:gd name="connsiteX754" fmla="*/ 383270 w 707627"/>
                <a:gd name="connsiteY754" fmla="*/ 1009013 h 1900164"/>
                <a:gd name="connsiteX755" fmla="*/ 383073 w 707627"/>
                <a:gd name="connsiteY755" fmla="*/ 1007972 h 1900164"/>
                <a:gd name="connsiteX756" fmla="*/ 383652 w 707627"/>
                <a:gd name="connsiteY756" fmla="*/ 1002013 h 1900164"/>
                <a:gd name="connsiteX757" fmla="*/ 383652 w 707627"/>
                <a:gd name="connsiteY757" fmla="*/ 1001955 h 1900164"/>
                <a:gd name="connsiteX758" fmla="*/ 384857 w 707627"/>
                <a:gd name="connsiteY758" fmla="*/ 993611 h 1900164"/>
                <a:gd name="connsiteX759" fmla="*/ 385102 w 707627"/>
                <a:gd name="connsiteY759" fmla="*/ 992941 h 1900164"/>
                <a:gd name="connsiteX760" fmla="*/ 388501 w 707627"/>
                <a:gd name="connsiteY760" fmla="*/ 987243 h 1900164"/>
                <a:gd name="connsiteX761" fmla="*/ 389591 w 707627"/>
                <a:gd name="connsiteY761" fmla="*/ 981896 h 1900164"/>
                <a:gd name="connsiteX762" fmla="*/ 389002 w 707627"/>
                <a:gd name="connsiteY762" fmla="*/ 975601 h 1900164"/>
                <a:gd name="connsiteX763" fmla="*/ 389012 w 707627"/>
                <a:gd name="connsiteY763" fmla="*/ 975162 h 1900164"/>
                <a:gd name="connsiteX764" fmla="*/ 397217 w 707627"/>
                <a:gd name="connsiteY764" fmla="*/ 954375 h 1900164"/>
                <a:gd name="connsiteX765" fmla="*/ 381545 w 707627"/>
                <a:gd name="connsiteY765" fmla="*/ 946633 h 1900164"/>
                <a:gd name="connsiteX766" fmla="*/ 380773 w 707627"/>
                <a:gd name="connsiteY766" fmla="*/ 945727 h 1900164"/>
                <a:gd name="connsiteX767" fmla="*/ 378995 w 707627"/>
                <a:gd name="connsiteY767" fmla="*/ 940969 h 1900164"/>
                <a:gd name="connsiteX768" fmla="*/ 376628 w 707627"/>
                <a:gd name="connsiteY768" fmla="*/ 935025 h 1900164"/>
                <a:gd name="connsiteX769" fmla="*/ 376584 w 707627"/>
                <a:gd name="connsiteY769" fmla="*/ 933824 h 1900164"/>
                <a:gd name="connsiteX770" fmla="*/ 378141 w 707627"/>
                <a:gd name="connsiteY770" fmla="*/ 928603 h 1900164"/>
                <a:gd name="connsiteX771" fmla="*/ 374921 w 707627"/>
                <a:gd name="connsiteY771" fmla="*/ 922727 h 1900164"/>
                <a:gd name="connsiteX772" fmla="*/ 375008 w 707627"/>
                <a:gd name="connsiteY772" fmla="*/ 920866 h 1900164"/>
                <a:gd name="connsiteX773" fmla="*/ 379780 w 707627"/>
                <a:gd name="connsiteY773" fmla="*/ 913703 h 1900164"/>
                <a:gd name="connsiteX774" fmla="*/ 381294 w 707627"/>
                <a:gd name="connsiteY774" fmla="*/ 912907 h 1900164"/>
                <a:gd name="connsiteX775" fmla="*/ 381873 w 707627"/>
                <a:gd name="connsiteY775" fmla="*/ 912907 h 1900164"/>
                <a:gd name="connsiteX776" fmla="*/ 383285 w 707627"/>
                <a:gd name="connsiteY776" fmla="*/ 913573 h 1900164"/>
                <a:gd name="connsiteX777" fmla="*/ 388515 w 707627"/>
                <a:gd name="connsiteY777" fmla="*/ 919970 h 1900164"/>
                <a:gd name="connsiteX778" fmla="*/ 393818 w 707627"/>
                <a:gd name="connsiteY778" fmla="*/ 924202 h 1900164"/>
                <a:gd name="connsiteX779" fmla="*/ 396903 w 707627"/>
                <a:gd name="connsiteY779" fmla="*/ 924202 h 1900164"/>
                <a:gd name="connsiteX780" fmla="*/ 395115 w 707627"/>
                <a:gd name="connsiteY780" fmla="*/ 920249 h 1900164"/>
                <a:gd name="connsiteX781" fmla="*/ 396021 w 707627"/>
                <a:gd name="connsiteY781" fmla="*/ 917834 h 1900164"/>
                <a:gd name="connsiteX782" fmla="*/ 402505 w 707627"/>
                <a:gd name="connsiteY782" fmla="*/ 914893 h 1900164"/>
                <a:gd name="connsiteX783" fmla="*/ 408160 w 707627"/>
                <a:gd name="connsiteY783" fmla="*/ 911813 h 1900164"/>
                <a:gd name="connsiteX784" fmla="*/ 408637 w 707627"/>
                <a:gd name="connsiteY784" fmla="*/ 906231 h 1900164"/>
                <a:gd name="connsiteX785" fmla="*/ 409211 w 707627"/>
                <a:gd name="connsiteY785" fmla="*/ 899703 h 1900164"/>
                <a:gd name="connsiteX786" fmla="*/ 405904 w 707627"/>
                <a:gd name="connsiteY786" fmla="*/ 894227 h 1900164"/>
                <a:gd name="connsiteX787" fmla="*/ 406550 w 707627"/>
                <a:gd name="connsiteY787" fmla="*/ 891744 h 1900164"/>
                <a:gd name="connsiteX788" fmla="*/ 411308 w 707627"/>
                <a:gd name="connsiteY788" fmla="*/ 888871 h 1900164"/>
                <a:gd name="connsiteX789" fmla="*/ 409915 w 707627"/>
                <a:gd name="connsiteY789" fmla="*/ 883752 h 1900164"/>
                <a:gd name="connsiteX790" fmla="*/ 407606 w 707627"/>
                <a:gd name="connsiteY790" fmla="*/ 878068 h 1900164"/>
                <a:gd name="connsiteX791" fmla="*/ 403537 w 707627"/>
                <a:gd name="connsiteY791" fmla="*/ 871671 h 1900164"/>
                <a:gd name="connsiteX792" fmla="*/ 403272 w 707627"/>
                <a:gd name="connsiteY792" fmla="*/ 870683 h 1900164"/>
                <a:gd name="connsiteX793" fmla="*/ 403272 w 707627"/>
                <a:gd name="connsiteY793" fmla="*/ 870321 h 1900164"/>
                <a:gd name="connsiteX794" fmla="*/ 401575 w 707627"/>
                <a:gd name="connsiteY794" fmla="*/ 864054 h 1900164"/>
                <a:gd name="connsiteX795" fmla="*/ 401151 w 707627"/>
                <a:gd name="connsiteY795" fmla="*/ 862830 h 1900164"/>
                <a:gd name="connsiteX796" fmla="*/ 395033 w 707627"/>
                <a:gd name="connsiteY796" fmla="*/ 857802 h 1900164"/>
                <a:gd name="connsiteX797" fmla="*/ 394373 w 707627"/>
                <a:gd name="connsiteY797" fmla="*/ 856741 h 1900164"/>
                <a:gd name="connsiteX798" fmla="*/ 393196 w 707627"/>
                <a:gd name="connsiteY798" fmla="*/ 850171 h 1900164"/>
                <a:gd name="connsiteX799" fmla="*/ 393163 w 707627"/>
                <a:gd name="connsiteY799" fmla="*/ 850040 h 1900164"/>
                <a:gd name="connsiteX800" fmla="*/ 392570 w 707627"/>
                <a:gd name="connsiteY800" fmla="*/ 844077 h 1900164"/>
                <a:gd name="connsiteX801" fmla="*/ 391967 w 707627"/>
                <a:gd name="connsiteY801" fmla="*/ 838148 h 1900164"/>
                <a:gd name="connsiteX802" fmla="*/ 393326 w 707627"/>
                <a:gd name="connsiteY802" fmla="*/ 836171 h 1900164"/>
                <a:gd name="connsiteX803" fmla="*/ 395453 w 707627"/>
                <a:gd name="connsiteY803" fmla="*/ 837232 h 1900164"/>
                <a:gd name="connsiteX804" fmla="*/ 397231 w 707627"/>
                <a:gd name="connsiteY804" fmla="*/ 841397 h 1900164"/>
                <a:gd name="connsiteX805" fmla="*/ 397270 w 707627"/>
                <a:gd name="connsiteY805" fmla="*/ 841503 h 1900164"/>
                <a:gd name="connsiteX806" fmla="*/ 399647 w 707627"/>
                <a:gd name="connsiteY806" fmla="*/ 848016 h 1900164"/>
                <a:gd name="connsiteX807" fmla="*/ 401917 w 707627"/>
                <a:gd name="connsiteY807" fmla="*/ 853685 h 1900164"/>
                <a:gd name="connsiteX808" fmla="*/ 407080 w 707627"/>
                <a:gd name="connsiteY808" fmla="*/ 860000 h 1900164"/>
                <a:gd name="connsiteX809" fmla="*/ 407495 w 707627"/>
                <a:gd name="connsiteY809" fmla="*/ 861003 h 1900164"/>
                <a:gd name="connsiteX810" fmla="*/ 408054 w 707627"/>
                <a:gd name="connsiteY810" fmla="*/ 867115 h 1900164"/>
                <a:gd name="connsiteX811" fmla="*/ 410445 w 707627"/>
                <a:gd name="connsiteY811" fmla="*/ 870885 h 1900164"/>
                <a:gd name="connsiteX812" fmla="*/ 413077 w 707627"/>
                <a:gd name="connsiteY812" fmla="*/ 866759 h 1900164"/>
                <a:gd name="connsiteX813" fmla="*/ 415521 w 707627"/>
                <a:gd name="connsiteY813" fmla="*/ 866146 h 1900164"/>
                <a:gd name="connsiteX814" fmla="*/ 421687 w 707627"/>
                <a:gd name="connsiteY814" fmla="*/ 869738 h 1900164"/>
                <a:gd name="connsiteX815" fmla="*/ 422318 w 707627"/>
                <a:gd name="connsiteY815" fmla="*/ 868966 h 1900164"/>
                <a:gd name="connsiteX816" fmla="*/ 427785 w 707627"/>
                <a:gd name="connsiteY816" fmla="*/ 866995 h 1900164"/>
                <a:gd name="connsiteX817" fmla="*/ 428286 w 707627"/>
                <a:gd name="connsiteY817" fmla="*/ 862193 h 1900164"/>
                <a:gd name="connsiteX818" fmla="*/ 429077 w 707627"/>
                <a:gd name="connsiteY818" fmla="*/ 860848 h 1900164"/>
                <a:gd name="connsiteX819" fmla="*/ 430595 w 707627"/>
                <a:gd name="connsiteY819" fmla="*/ 860627 h 1900164"/>
                <a:gd name="connsiteX820" fmla="*/ 434780 w 707627"/>
                <a:gd name="connsiteY820" fmla="*/ 861851 h 1900164"/>
                <a:gd name="connsiteX821" fmla="*/ 436077 w 707627"/>
                <a:gd name="connsiteY821" fmla="*/ 857127 h 1900164"/>
                <a:gd name="connsiteX822" fmla="*/ 436241 w 707627"/>
                <a:gd name="connsiteY822" fmla="*/ 856664 h 1900164"/>
                <a:gd name="connsiteX823" fmla="*/ 438487 w 707627"/>
                <a:gd name="connsiteY823" fmla="*/ 852971 h 1900164"/>
                <a:gd name="connsiteX824" fmla="*/ 434529 w 707627"/>
                <a:gd name="connsiteY824" fmla="*/ 852239 h 1900164"/>
                <a:gd name="connsiteX825" fmla="*/ 433126 w 707627"/>
                <a:gd name="connsiteY825" fmla="*/ 851005 h 1900164"/>
                <a:gd name="connsiteX826" fmla="*/ 433560 w 707627"/>
                <a:gd name="connsiteY826" fmla="*/ 849168 h 1900164"/>
                <a:gd name="connsiteX827" fmla="*/ 436404 w 707627"/>
                <a:gd name="connsiteY827" fmla="*/ 846324 h 1900164"/>
                <a:gd name="connsiteX828" fmla="*/ 434838 w 707627"/>
                <a:gd name="connsiteY828" fmla="*/ 846324 h 1900164"/>
                <a:gd name="connsiteX829" fmla="*/ 434524 w 707627"/>
                <a:gd name="connsiteY829" fmla="*/ 846295 h 1900164"/>
                <a:gd name="connsiteX830" fmla="*/ 427968 w 707627"/>
                <a:gd name="connsiteY830" fmla="*/ 845118 h 1900164"/>
                <a:gd name="connsiteX831" fmla="*/ 426599 w 707627"/>
                <a:gd name="connsiteY831" fmla="*/ 843995 h 1900164"/>
                <a:gd name="connsiteX832" fmla="*/ 426835 w 707627"/>
                <a:gd name="connsiteY832" fmla="*/ 842245 h 1900164"/>
                <a:gd name="connsiteX833" fmla="*/ 431579 w 707627"/>
                <a:gd name="connsiteY833" fmla="*/ 835718 h 1900164"/>
                <a:gd name="connsiteX834" fmla="*/ 433247 w 707627"/>
                <a:gd name="connsiteY834" fmla="*/ 834981 h 1900164"/>
                <a:gd name="connsiteX835" fmla="*/ 437691 w 707627"/>
                <a:gd name="connsiteY835" fmla="*/ 835419 h 1900164"/>
                <a:gd name="connsiteX836" fmla="*/ 439070 w 707627"/>
                <a:gd name="connsiteY836" fmla="*/ 830912 h 1900164"/>
                <a:gd name="connsiteX837" fmla="*/ 439307 w 707627"/>
                <a:gd name="connsiteY837" fmla="*/ 830386 h 1900164"/>
                <a:gd name="connsiteX838" fmla="*/ 443014 w 707627"/>
                <a:gd name="connsiteY838" fmla="*/ 825069 h 1900164"/>
                <a:gd name="connsiteX839" fmla="*/ 441987 w 707627"/>
                <a:gd name="connsiteY839" fmla="*/ 819887 h 1900164"/>
                <a:gd name="connsiteX840" fmla="*/ 442961 w 707627"/>
                <a:gd name="connsiteY840" fmla="*/ 817881 h 1900164"/>
                <a:gd name="connsiteX841" fmla="*/ 447719 w 707627"/>
                <a:gd name="connsiteY841" fmla="*/ 815495 h 1900164"/>
                <a:gd name="connsiteX842" fmla="*/ 446740 w 707627"/>
                <a:gd name="connsiteY842" fmla="*/ 809705 h 1900164"/>
                <a:gd name="connsiteX843" fmla="*/ 447613 w 707627"/>
                <a:gd name="connsiteY843" fmla="*/ 807830 h 1900164"/>
                <a:gd name="connsiteX844" fmla="*/ 449681 w 707627"/>
                <a:gd name="connsiteY844" fmla="*/ 808009 h 1900164"/>
                <a:gd name="connsiteX845" fmla="*/ 455152 w 707627"/>
                <a:gd name="connsiteY845" fmla="*/ 812468 h 1900164"/>
                <a:gd name="connsiteX846" fmla="*/ 458001 w 707627"/>
                <a:gd name="connsiteY846" fmla="*/ 810390 h 1900164"/>
                <a:gd name="connsiteX847" fmla="*/ 453817 w 707627"/>
                <a:gd name="connsiteY847" fmla="*/ 808698 h 1900164"/>
                <a:gd name="connsiteX848" fmla="*/ 452669 w 707627"/>
                <a:gd name="connsiteY848" fmla="*/ 807030 h 1900164"/>
                <a:gd name="connsiteX849" fmla="*/ 453817 w 707627"/>
                <a:gd name="connsiteY849" fmla="*/ 805323 h 1900164"/>
                <a:gd name="connsiteX850" fmla="*/ 459775 w 707627"/>
                <a:gd name="connsiteY850" fmla="*/ 802937 h 1900164"/>
                <a:gd name="connsiteX851" fmla="*/ 461983 w 707627"/>
                <a:gd name="connsiteY851" fmla="*/ 803655 h 1900164"/>
                <a:gd name="connsiteX852" fmla="*/ 465840 w 707627"/>
                <a:gd name="connsiteY852" fmla="*/ 809705 h 1900164"/>
                <a:gd name="connsiteX853" fmla="*/ 466539 w 707627"/>
                <a:gd name="connsiteY853" fmla="*/ 810004 h 1900164"/>
                <a:gd name="connsiteX854" fmla="*/ 465391 w 707627"/>
                <a:gd name="connsiteY854" fmla="*/ 807893 h 1900164"/>
                <a:gd name="connsiteX855" fmla="*/ 465464 w 707627"/>
                <a:gd name="connsiteY855" fmla="*/ 806003 h 1900164"/>
                <a:gd name="connsiteX856" fmla="*/ 467151 w 707627"/>
                <a:gd name="connsiteY856" fmla="*/ 805213 h 1900164"/>
                <a:gd name="connsiteX857" fmla="*/ 471523 w 707627"/>
                <a:gd name="connsiteY857" fmla="*/ 805593 h 1900164"/>
                <a:gd name="connsiteX858" fmla="*/ 471138 w 707627"/>
                <a:gd name="connsiteY858" fmla="*/ 801231 h 1900164"/>
                <a:gd name="connsiteX859" fmla="*/ 471138 w 707627"/>
                <a:gd name="connsiteY859" fmla="*/ 800889 h 1900164"/>
                <a:gd name="connsiteX860" fmla="*/ 471707 w 707627"/>
                <a:gd name="connsiteY860" fmla="*/ 794356 h 1900164"/>
                <a:gd name="connsiteX861" fmla="*/ 473365 w 707627"/>
                <a:gd name="connsiteY861" fmla="*/ 792684 h 1900164"/>
                <a:gd name="connsiteX862" fmla="*/ 478407 w 707627"/>
                <a:gd name="connsiteY862" fmla="*/ 792245 h 1900164"/>
                <a:gd name="connsiteX863" fmla="*/ 478841 w 707627"/>
                <a:gd name="connsiteY863" fmla="*/ 787983 h 1900164"/>
                <a:gd name="connsiteX864" fmla="*/ 478277 w 707627"/>
                <a:gd name="connsiteY864" fmla="*/ 782184 h 1900164"/>
                <a:gd name="connsiteX865" fmla="*/ 478277 w 707627"/>
                <a:gd name="connsiteY865" fmla="*/ 781852 h 1900164"/>
                <a:gd name="connsiteX866" fmla="*/ 478851 w 707627"/>
                <a:gd name="connsiteY866" fmla="*/ 775315 h 1900164"/>
                <a:gd name="connsiteX867" fmla="*/ 479063 w 707627"/>
                <a:gd name="connsiteY867" fmla="*/ 774664 h 1900164"/>
                <a:gd name="connsiteX868" fmla="*/ 479641 w 707627"/>
                <a:gd name="connsiteY868" fmla="*/ 773459 h 1900164"/>
                <a:gd name="connsiteX869" fmla="*/ 481449 w 707627"/>
                <a:gd name="connsiteY869" fmla="*/ 772475 h 1900164"/>
                <a:gd name="connsiteX870" fmla="*/ 487991 w 707627"/>
                <a:gd name="connsiteY870" fmla="*/ 773078 h 1900164"/>
                <a:gd name="connsiteX871" fmla="*/ 488603 w 707627"/>
                <a:gd name="connsiteY871" fmla="*/ 773237 h 1900164"/>
                <a:gd name="connsiteX872" fmla="*/ 493139 w 707627"/>
                <a:gd name="connsiteY872" fmla="*/ 775507 h 1900164"/>
                <a:gd name="connsiteX873" fmla="*/ 493139 w 707627"/>
                <a:gd name="connsiteY873" fmla="*/ 773290 h 1900164"/>
                <a:gd name="connsiteX874" fmla="*/ 487196 w 707627"/>
                <a:gd name="connsiteY874" fmla="*/ 767871 h 1900164"/>
                <a:gd name="connsiteX875" fmla="*/ 486660 w 707627"/>
                <a:gd name="connsiteY875" fmla="*/ 766054 h 1900164"/>
                <a:gd name="connsiteX876" fmla="*/ 488454 w 707627"/>
                <a:gd name="connsiteY876" fmla="*/ 759517 h 1900164"/>
                <a:gd name="connsiteX877" fmla="*/ 489509 w 707627"/>
                <a:gd name="connsiteY877" fmla="*/ 758297 h 1900164"/>
                <a:gd name="connsiteX878" fmla="*/ 491177 w 707627"/>
                <a:gd name="connsiteY878" fmla="*/ 758471 h 1900164"/>
                <a:gd name="connsiteX879" fmla="*/ 497719 w 707627"/>
                <a:gd name="connsiteY879" fmla="*/ 762636 h 1900164"/>
                <a:gd name="connsiteX880" fmla="*/ 498457 w 707627"/>
                <a:gd name="connsiteY880" fmla="*/ 763533 h 1900164"/>
                <a:gd name="connsiteX881" fmla="*/ 500761 w 707627"/>
                <a:gd name="connsiteY881" fmla="*/ 769848 h 1900164"/>
                <a:gd name="connsiteX882" fmla="*/ 503552 w 707627"/>
                <a:gd name="connsiteY882" fmla="*/ 773844 h 1900164"/>
                <a:gd name="connsiteX883" fmla="*/ 506984 w 707627"/>
                <a:gd name="connsiteY883" fmla="*/ 770397 h 1900164"/>
                <a:gd name="connsiteX884" fmla="*/ 504068 w 707627"/>
                <a:gd name="connsiteY884" fmla="*/ 765037 h 1900164"/>
                <a:gd name="connsiteX885" fmla="*/ 504314 w 707627"/>
                <a:gd name="connsiteY885" fmla="*/ 762959 h 1900164"/>
                <a:gd name="connsiteX886" fmla="*/ 509385 w 707627"/>
                <a:gd name="connsiteY886" fmla="*/ 757300 h 1900164"/>
                <a:gd name="connsiteX887" fmla="*/ 511073 w 707627"/>
                <a:gd name="connsiteY887" fmla="*/ 751756 h 1900164"/>
                <a:gd name="connsiteX888" fmla="*/ 512335 w 707627"/>
                <a:gd name="connsiteY888" fmla="*/ 750517 h 1900164"/>
                <a:gd name="connsiteX889" fmla="*/ 518419 w 707627"/>
                <a:gd name="connsiteY889" fmla="*/ 748854 h 1900164"/>
                <a:gd name="connsiteX890" fmla="*/ 519166 w 707627"/>
                <a:gd name="connsiteY890" fmla="*/ 748092 h 1900164"/>
                <a:gd name="connsiteX891" fmla="*/ 518173 w 707627"/>
                <a:gd name="connsiteY891" fmla="*/ 743112 h 1900164"/>
                <a:gd name="connsiteX892" fmla="*/ 518655 w 707627"/>
                <a:gd name="connsiteY892" fmla="*/ 741459 h 1900164"/>
                <a:gd name="connsiteX893" fmla="*/ 520290 w 707627"/>
                <a:gd name="connsiteY893" fmla="*/ 740982 h 1900164"/>
                <a:gd name="connsiteX894" fmla="*/ 525477 w 707627"/>
                <a:gd name="connsiteY894" fmla="*/ 742013 h 1900164"/>
                <a:gd name="connsiteX895" fmla="*/ 530678 w 707627"/>
                <a:gd name="connsiteY895" fmla="*/ 738214 h 1900164"/>
                <a:gd name="connsiteX896" fmla="*/ 531213 w 707627"/>
                <a:gd name="connsiteY896" fmla="*/ 731287 h 1900164"/>
                <a:gd name="connsiteX897" fmla="*/ 531459 w 707627"/>
                <a:gd name="connsiteY897" fmla="*/ 730569 h 1900164"/>
                <a:gd name="connsiteX898" fmla="*/ 534997 w 707627"/>
                <a:gd name="connsiteY898" fmla="*/ 724008 h 1900164"/>
                <a:gd name="connsiteX899" fmla="*/ 536550 w 707627"/>
                <a:gd name="connsiteY899" fmla="*/ 723087 h 1900164"/>
                <a:gd name="connsiteX900" fmla="*/ 538150 w 707627"/>
                <a:gd name="connsiteY900" fmla="*/ 723926 h 1900164"/>
                <a:gd name="connsiteX901" fmla="*/ 541125 w 707627"/>
                <a:gd name="connsiteY901" fmla="*/ 728694 h 1900164"/>
                <a:gd name="connsiteX902" fmla="*/ 541125 w 707627"/>
                <a:gd name="connsiteY902" fmla="*/ 728665 h 1900164"/>
                <a:gd name="connsiteX903" fmla="*/ 541559 w 707627"/>
                <a:gd name="connsiteY903" fmla="*/ 729344 h 1900164"/>
                <a:gd name="connsiteX904" fmla="*/ 543853 w 707627"/>
                <a:gd name="connsiteY904" fmla="*/ 723092 h 1900164"/>
                <a:gd name="connsiteX905" fmla="*/ 544523 w 707627"/>
                <a:gd name="connsiteY905" fmla="*/ 722205 h 1900164"/>
                <a:gd name="connsiteX906" fmla="*/ 550458 w 707627"/>
                <a:gd name="connsiteY906" fmla="*/ 718054 h 1900164"/>
                <a:gd name="connsiteX907" fmla="*/ 551137 w 707627"/>
                <a:gd name="connsiteY907" fmla="*/ 717751 h 1900164"/>
                <a:gd name="connsiteX908" fmla="*/ 556180 w 707627"/>
                <a:gd name="connsiteY908" fmla="*/ 716738 h 1900164"/>
                <a:gd name="connsiteX909" fmla="*/ 558744 w 707627"/>
                <a:gd name="connsiteY909" fmla="*/ 711156 h 1900164"/>
                <a:gd name="connsiteX910" fmla="*/ 560422 w 707627"/>
                <a:gd name="connsiteY910" fmla="*/ 705578 h 1900164"/>
                <a:gd name="connsiteX911" fmla="*/ 560422 w 707627"/>
                <a:gd name="connsiteY911" fmla="*/ 699326 h 1900164"/>
                <a:gd name="connsiteX912" fmla="*/ 560562 w 707627"/>
                <a:gd name="connsiteY912" fmla="*/ 698564 h 1900164"/>
                <a:gd name="connsiteX913" fmla="*/ 563512 w 707627"/>
                <a:gd name="connsiteY913" fmla="*/ 692095 h 1900164"/>
                <a:gd name="connsiteX914" fmla="*/ 565161 w 707627"/>
                <a:gd name="connsiteY914" fmla="*/ 686551 h 1900164"/>
                <a:gd name="connsiteX915" fmla="*/ 569991 w 707627"/>
                <a:gd name="connsiteY915" fmla="*/ 659555 h 1900164"/>
                <a:gd name="connsiteX916" fmla="*/ 570391 w 707627"/>
                <a:gd name="connsiteY916" fmla="*/ 658817 h 1900164"/>
                <a:gd name="connsiteX917" fmla="*/ 575530 w 707627"/>
                <a:gd name="connsiteY917" fmla="*/ 653119 h 1900164"/>
                <a:gd name="connsiteX918" fmla="*/ 577757 w 707627"/>
                <a:gd name="connsiteY918" fmla="*/ 646920 h 1900164"/>
                <a:gd name="connsiteX919" fmla="*/ 578789 w 707627"/>
                <a:gd name="connsiteY919" fmla="*/ 645826 h 1900164"/>
                <a:gd name="connsiteX920" fmla="*/ 584116 w 707627"/>
                <a:gd name="connsiteY920" fmla="*/ 643714 h 1900164"/>
                <a:gd name="connsiteX921" fmla="*/ 586762 w 707627"/>
                <a:gd name="connsiteY921" fmla="*/ 638382 h 1900164"/>
                <a:gd name="connsiteX922" fmla="*/ 589713 w 707627"/>
                <a:gd name="connsiteY922" fmla="*/ 631870 h 1900164"/>
                <a:gd name="connsiteX923" fmla="*/ 589905 w 707627"/>
                <a:gd name="connsiteY923" fmla="*/ 631600 h 1900164"/>
                <a:gd name="connsiteX924" fmla="*/ 593868 w 707627"/>
                <a:gd name="connsiteY924" fmla="*/ 625906 h 1900164"/>
                <a:gd name="connsiteX925" fmla="*/ 594519 w 707627"/>
                <a:gd name="connsiteY925" fmla="*/ 623578 h 1900164"/>
                <a:gd name="connsiteX926" fmla="*/ 592195 w 707627"/>
                <a:gd name="connsiteY926" fmla="*/ 624759 h 1900164"/>
                <a:gd name="connsiteX927" fmla="*/ 590662 w 707627"/>
                <a:gd name="connsiteY927" fmla="*/ 624783 h 1900164"/>
                <a:gd name="connsiteX928" fmla="*/ 589655 w 707627"/>
                <a:gd name="connsiteY928" fmla="*/ 623636 h 1900164"/>
                <a:gd name="connsiteX929" fmla="*/ 587891 w 707627"/>
                <a:gd name="connsiteY929" fmla="*/ 617759 h 1900164"/>
                <a:gd name="connsiteX930" fmla="*/ 585514 w 707627"/>
                <a:gd name="connsiteY930" fmla="*/ 611247 h 1900164"/>
                <a:gd name="connsiteX931" fmla="*/ 585996 w 707627"/>
                <a:gd name="connsiteY931" fmla="*/ 609280 h 1900164"/>
                <a:gd name="connsiteX932" fmla="*/ 587577 w 707627"/>
                <a:gd name="connsiteY932" fmla="*/ 609029 h 1900164"/>
                <a:gd name="connsiteX933" fmla="*/ 582539 w 707627"/>
                <a:gd name="connsiteY933" fmla="*/ 607009 h 1900164"/>
                <a:gd name="connsiteX934" fmla="*/ 576186 w 707627"/>
                <a:gd name="connsiteY934" fmla="*/ 605896 h 1900164"/>
                <a:gd name="connsiteX935" fmla="*/ 575005 w 707627"/>
                <a:gd name="connsiteY935" fmla="*/ 605129 h 1900164"/>
                <a:gd name="connsiteX936" fmla="*/ 570926 w 707627"/>
                <a:gd name="connsiteY936" fmla="*/ 599301 h 1900164"/>
                <a:gd name="connsiteX937" fmla="*/ 565117 w 707627"/>
                <a:gd name="connsiteY937" fmla="*/ 593453 h 1900164"/>
                <a:gd name="connsiteX938" fmla="*/ 564698 w 707627"/>
                <a:gd name="connsiteY938" fmla="*/ 591482 h 1900164"/>
                <a:gd name="connsiteX939" fmla="*/ 566400 w 707627"/>
                <a:gd name="connsiteY939" fmla="*/ 590368 h 1900164"/>
                <a:gd name="connsiteX940" fmla="*/ 568772 w 707627"/>
                <a:gd name="connsiteY940" fmla="*/ 590368 h 1900164"/>
                <a:gd name="connsiteX941" fmla="*/ 568964 w 707627"/>
                <a:gd name="connsiteY941" fmla="*/ 590397 h 1900164"/>
                <a:gd name="connsiteX942" fmla="*/ 570869 w 707627"/>
                <a:gd name="connsiteY942" fmla="*/ 590561 h 1900164"/>
                <a:gd name="connsiteX943" fmla="*/ 568622 w 707627"/>
                <a:gd name="connsiteY943" fmla="*/ 588069 h 1900164"/>
                <a:gd name="connsiteX944" fmla="*/ 568212 w 707627"/>
                <a:gd name="connsiteY944" fmla="*/ 587292 h 1900164"/>
                <a:gd name="connsiteX945" fmla="*/ 566732 w 707627"/>
                <a:gd name="connsiteY945" fmla="*/ 581821 h 1900164"/>
                <a:gd name="connsiteX946" fmla="*/ 561854 w 707627"/>
                <a:gd name="connsiteY946" fmla="*/ 580866 h 1900164"/>
                <a:gd name="connsiteX947" fmla="*/ 560702 w 707627"/>
                <a:gd name="connsiteY947" fmla="*/ 580066 h 1900164"/>
                <a:gd name="connsiteX948" fmla="*/ 556536 w 707627"/>
                <a:gd name="connsiteY948" fmla="*/ 573520 h 1900164"/>
                <a:gd name="connsiteX949" fmla="*/ 556662 w 707627"/>
                <a:gd name="connsiteY949" fmla="*/ 571379 h 1900164"/>
                <a:gd name="connsiteX950" fmla="*/ 558764 w 707627"/>
                <a:gd name="connsiteY950" fmla="*/ 570854 h 1900164"/>
                <a:gd name="connsiteX951" fmla="*/ 563098 w 707627"/>
                <a:gd name="connsiteY951" fmla="*/ 572575 h 1900164"/>
                <a:gd name="connsiteX952" fmla="*/ 565165 w 707627"/>
                <a:gd name="connsiteY952" fmla="*/ 568039 h 1900164"/>
                <a:gd name="connsiteX953" fmla="*/ 564578 w 707627"/>
                <a:gd name="connsiteY953" fmla="*/ 561396 h 1900164"/>
                <a:gd name="connsiteX954" fmla="*/ 564929 w 707627"/>
                <a:gd name="connsiteY954" fmla="*/ 560195 h 1900164"/>
                <a:gd name="connsiteX955" fmla="*/ 569003 w 707627"/>
                <a:gd name="connsiteY955" fmla="*/ 554338 h 1900164"/>
                <a:gd name="connsiteX956" fmla="*/ 571929 w 707627"/>
                <a:gd name="connsiteY956" fmla="*/ 548515 h 1900164"/>
                <a:gd name="connsiteX957" fmla="*/ 572421 w 707627"/>
                <a:gd name="connsiteY957" fmla="*/ 547912 h 1900164"/>
                <a:gd name="connsiteX958" fmla="*/ 574629 w 707627"/>
                <a:gd name="connsiteY958" fmla="*/ 546167 h 1900164"/>
                <a:gd name="connsiteX959" fmla="*/ 574127 w 707627"/>
                <a:gd name="connsiteY959" fmla="*/ 541178 h 1900164"/>
                <a:gd name="connsiteX960" fmla="*/ 575246 w 707627"/>
                <a:gd name="connsiteY960" fmla="*/ 539326 h 1900164"/>
                <a:gd name="connsiteX961" fmla="*/ 578938 w 707627"/>
                <a:gd name="connsiteY961" fmla="*/ 537851 h 1900164"/>
                <a:gd name="connsiteX962" fmla="*/ 578061 w 707627"/>
                <a:gd name="connsiteY962" fmla="*/ 536781 h 1900164"/>
                <a:gd name="connsiteX963" fmla="*/ 577675 w 707627"/>
                <a:gd name="connsiteY963" fmla="*/ 535663 h 1900164"/>
                <a:gd name="connsiteX964" fmla="*/ 577675 w 707627"/>
                <a:gd name="connsiteY964" fmla="*/ 529102 h 1900164"/>
                <a:gd name="connsiteX965" fmla="*/ 577704 w 707627"/>
                <a:gd name="connsiteY965" fmla="*/ 528899 h 1900164"/>
                <a:gd name="connsiteX966" fmla="*/ 578244 w 707627"/>
                <a:gd name="connsiteY966" fmla="*/ 523437 h 1900164"/>
                <a:gd name="connsiteX967" fmla="*/ 575424 w 707627"/>
                <a:gd name="connsiteY967" fmla="*/ 516708 h 1900164"/>
                <a:gd name="connsiteX968" fmla="*/ 575916 w 707627"/>
                <a:gd name="connsiteY968" fmla="*/ 514649 h 1900164"/>
                <a:gd name="connsiteX969" fmla="*/ 581966 w 707627"/>
                <a:gd name="connsiteY969" fmla="*/ 509105 h 1900164"/>
                <a:gd name="connsiteX970" fmla="*/ 582756 w 707627"/>
                <a:gd name="connsiteY970" fmla="*/ 505273 h 1900164"/>
                <a:gd name="connsiteX971" fmla="*/ 578418 w 707627"/>
                <a:gd name="connsiteY971" fmla="*/ 503687 h 1900164"/>
                <a:gd name="connsiteX972" fmla="*/ 573173 w 707627"/>
                <a:gd name="connsiteY972" fmla="*/ 506324 h 1900164"/>
                <a:gd name="connsiteX973" fmla="*/ 570936 w 707627"/>
                <a:gd name="connsiteY973" fmla="*/ 505885 h 1900164"/>
                <a:gd name="connsiteX974" fmla="*/ 567990 w 707627"/>
                <a:gd name="connsiteY974" fmla="*/ 502303 h 1900164"/>
                <a:gd name="connsiteX975" fmla="*/ 567851 w 707627"/>
                <a:gd name="connsiteY975" fmla="*/ 500163 h 1900164"/>
                <a:gd name="connsiteX976" fmla="*/ 572030 w 707627"/>
                <a:gd name="connsiteY976" fmla="*/ 493631 h 1900164"/>
                <a:gd name="connsiteX977" fmla="*/ 573221 w 707627"/>
                <a:gd name="connsiteY977" fmla="*/ 492816 h 1900164"/>
                <a:gd name="connsiteX978" fmla="*/ 574634 w 707627"/>
                <a:gd name="connsiteY978" fmla="*/ 493110 h 1900164"/>
                <a:gd name="connsiteX979" fmla="*/ 575535 w 707627"/>
                <a:gd name="connsiteY979" fmla="*/ 493766 h 1900164"/>
                <a:gd name="connsiteX980" fmla="*/ 574879 w 707627"/>
                <a:gd name="connsiteY980" fmla="*/ 492373 h 1900164"/>
                <a:gd name="connsiteX981" fmla="*/ 574995 w 707627"/>
                <a:gd name="connsiteY981" fmla="*/ 490628 h 1900164"/>
                <a:gd name="connsiteX982" fmla="*/ 576538 w 707627"/>
                <a:gd name="connsiteY982" fmla="*/ 489794 h 1900164"/>
                <a:gd name="connsiteX983" fmla="*/ 582997 w 707627"/>
                <a:gd name="connsiteY983" fmla="*/ 489794 h 1900164"/>
                <a:gd name="connsiteX984" fmla="*/ 588527 w 707627"/>
                <a:gd name="connsiteY984" fmla="*/ 489288 h 1900164"/>
                <a:gd name="connsiteX985" fmla="*/ 591631 w 707627"/>
                <a:gd name="connsiteY985" fmla="*/ 484149 h 1900164"/>
                <a:gd name="connsiteX986" fmla="*/ 593555 w 707627"/>
                <a:gd name="connsiteY986" fmla="*/ 483286 h 1900164"/>
                <a:gd name="connsiteX987" fmla="*/ 597517 w 707627"/>
                <a:gd name="connsiteY987" fmla="*/ 484086 h 1900164"/>
                <a:gd name="connsiteX988" fmla="*/ 597787 w 707627"/>
                <a:gd name="connsiteY988" fmla="*/ 481030 h 1900164"/>
                <a:gd name="connsiteX989" fmla="*/ 593266 w 707627"/>
                <a:gd name="connsiteY989" fmla="*/ 479675 h 1900164"/>
                <a:gd name="connsiteX990" fmla="*/ 592807 w 707627"/>
                <a:gd name="connsiteY990" fmla="*/ 479463 h 1900164"/>
                <a:gd name="connsiteX991" fmla="*/ 586280 w 707627"/>
                <a:gd name="connsiteY991" fmla="*/ 475303 h 1900164"/>
                <a:gd name="connsiteX992" fmla="*/ 585480 w 707627"/>
                <a:gd name="connsiteY992" fmla="*/ 473331 h 1900164"/>
                <a:gd name="connsiteX993" fmla="*/ 587071 w 707627"/>
                <a:gd name="connsiteY993" fmla="*/ 471943 h 1900164"/>
                <a:gd name="connsiteX994" fmla="*/ 593627 w 707627"/>
                <a:gd name="connsiteY994" fmla="*/ 471345 h 1900164"/>
                <a:gd name="connsiteX995" fmla="*/ 593931 w 707627"/>
                <a:gd name="connsiteY995" fmla="*/ 471345 h 1900164"/>
                <a:gd name="connsiteX996" fmla="*/ 599359 w 707627"/>
                <a:gd name="connsiteY996" fmla="*/ 471865 h 1900164"/>
                <a:gd name="connsiteX997" fmla="*/ 601514 w 707627"/>
                <a:gd name="connsiteY997" fmla="*/ 468221 h 1900164"/>
                <a:gd name="connsiteX998" fmla="*/ 596818 w 707627"/>
                <a:gd name="connsiteY998" fmla="*/ 464446 h 1900164"/>
                <a:gd name="connsiteX999" fmla="*/ 596273 w 707627"/>
                <a:gd name="connsiteY999" fmla="*/ 462364 h 1900164"/>
                <a:gd name="connsiteX1000" fmla="*/ 597450 w 707627"/>
                <a:gd name="connsiteY1000" fmla="*/ 459389 h 1900164"/>
                <a:gd name="connsiteX1001" fmla="*/ 598689 w 707627"/>
                <a:gd name="connsiteY1001" fmla="*/ 458319 h 1900164"/>
                <a:gd name="connsiteX1002" fmla="*/ 600304 w 707627"/>
                <a:gd name="connsiteY1002" fmla="*/ 458676 h 1900164"/>
                <a:gd name="connsiteX1003" fmla="*/ 606262 w 707627"/>
                <a:gd name="connsiteY1003" fmla="*/ 463545 h 1900164"/>
                <a:gd name="connsiteX1004" fmla="*/ 612678 w 707627"/>
                <a:gd name="connsiteY1004" fmla="*/ 463029 h 1900164"/>
                <a:gd name="connsiteX1005" fmla="*/ 613180 w 707627"/>
                <a:gd name="connsiteY1005" fmla="*/ 463029 h 1900164"/>
                <a:gd name="connsiteX1006" fmla="*/ 613782 w 707627"/>
                <a:gd name="connsiteY1006" fmla="*/ 463164 h 1900164"/>
                <a:gd name="connsiteX1007" fmla="*/ 612066 w 707627"/>
                <a:gd name="connsiteY1007" fmla="*/ 461265 h 1900164"/>
                <a:gd name="connsiteX1008" fmla="*/ 611681 w 707627"/>
                <a:gd name="connsiteY1008" fmla="*/ 459544 h 1900164"/>
                <a:gd name="connsiteX1009" fmla="*/ 613021 w 707627"/>
                <a:gd name="connsiteY1009" fmla="*/ 455065 h 1900164"/>
                <a:gd name="connsiteX1010" fmla="*/ 612399 w 707627"/>
                <a:gd name="connsiteY1010" fmla="*/ 454737 h 1900164"/>
                <a:gd name="connsiteX1011" fmla="*/ 606257 w 707627"/>
                <a:gd name="connsiteY1011" fmla="*/ 454737 h 1900164"/>
                <a:gd name="connsiteX1012" fmla="*/ 604936 w 707627"/>
                <a:gd name="connsiteY1012" fmla="*/ 454149 h 1900164"/>
                <a:gd name="connsiteX1013" fmla="*/ 604464 w 707627"/>
                <a:gd name="connsiteY1013" fmla="*/ 452761 h 1900164"/>
                <a:gd name="connsiteX1014" fmla="*/ 605052 w 707627"/>
                <a:gd name="connsiteY1014" fmla="*/ 446205 h 1900164"/>
                <a:gd name="connsiteX1015" fmla="*/ 605804 w 707627"/>
                <a:gd name="connsiteY1015" fmla="*/ 444918 h 1900164"/>
                <a:gd name="connsiteX1016" fmla="*/ 607236 w 707627"/>
                <a:gd name="connsiteY1016" fmla="*/ 444590 h 1900164"/>
                <a:gd name="connsiteX1017" fmla="*/ 609145 w 707627"/>
                <a:gd name="connsiteY1017" fmla="*/ 444966 h 1900164"/>
                <a:gd name="connsiteX1018" fmla="*/ 607699 w 707627"/>
                <a:gd name="connsiteY1018" fmla="*/ 442556 h 1900164"/>
                <a:gd name="connsiteX1019" fmla="*/ 607463 w 707627"/>
                <a:gd name="connsiteY1019" fmla="*/ 441967 h 1900164"/>
                <a:gd name="connsiteX1020" fmla="*/ 606286 w 707627"/>
                <a:gd name="connsiteY1020" fmla="*/ 436023 h 1900164"/>
                <a:gd name="connsiteX1021" fmla="*/ 606262 w 707627"/>
                <a:gd name="connsiteY1021" fmla="*/ 435339 h 1900164"/>
                <a:gd name="connsiteX1022" fmla="*/ 607443 w 707627"/>
                <a:gd name="connsiteY1022" fmla="*/ 428841 h 1900164"/>
                <a:gd name="connsiteX1023" fmla="*/ 608658 w 707627"/>
                <a:gd name="connsiteY1023" fmla="*/ 421667 h 1900164"/>
                <a:gd name="connsiteX1024" fmla="*/ 609718 w 707627"/>
                <a:gd name="connsiteY1024" fmla="*/ 420327 h 1900164"/>
                <a:gd name="connsiteX1025" fmla="*/ 611435 w 707627"/>
                <a:gd name="connsiteY1025" fmla="*/ 420438 h 1900164"/>
                <a:gd name="connsiteX1026" fmla="*/ 617981 w 707627"/>
                <a:gd name="connsiteY1026" fmla="*/ 424598 h 1900164"/>
                <a:gd name="connsiteX1027" fmla="*/ 618815 w 707627"/>
                <a:gd name="connsiteY1027" fmla="*/ 425996 h 1900164"/>
                <a:gd name="connsiteX1028" fmla="*/ 619109 w 707627"/>
                <a:gd name="connsiteY1028" fmla="*/ 429559 h 1900164"/>
                <a:gd name="connsiteX1029" fmla="*/ 623144 w 707627"/>
                <a:gd name="connsiteY1029" fmla="*/ 427004 h 1900164"/>
                <a:gd name="connsiteX1030" fmla="*/ 624523 w 707627"/>
                <a:gd name="connsiteY1030" fmla="*/ 426758 h 1900164"/>
                <a:gd name="connsiteX1031" fmla="*/ 625680 w 707627"/>
                <a:gd name="connsiteY1031" fmla="*/ 427558 h 1900164"/>
                <a:gd name="connsiteX1032" fmla="*/ 627348 w 707627"/>
                <a:gd name="connsiteY1032" fmla="*/ 430186 h 1900164"/>
                <a:gd name="connsiteX1033" fmla="*/ 627632 w 707627"/>
                <a:gd name="connsiteY1033" fmla="*/ 428667 h 1900164"/>
                <a:gd name="connsiteX1034" fmla="*/ 625439 w 707627"/>
                <a:gd name="connsiteY1034" fmla="*/ 422627 h 1900164"/>
                <a:gd name="connsiteX1035" fmla="*/ 623033 w 707627"/>
                <a:gd name="connsiteY1035" fmla="*/ 416702 h 1900164"/>
                <a:gd name="connsiteX1036" fmla="*/ 623496 w 707627"/>
                <a:gd name="connsiteY1036" fmla="*/ 414711 h 1900164"/>
                <a:gd name="connsiteX1037" fmla="*/ 625535 w 707627"/>
                <a:gd name="connsiteY1037" fmla="*/ 414407 h 1900164"/>
                <a:gd name="connsiteX1038" fmla="*/ 631503 w 707627"/>
                <a:gd name="connsiteY1038" fmla="*/ 417377 h 1900164"/>
                <a:gd name="connsiteX1039" fmla="*/ 632231 w 707627"/>
                <a:gd name="connsiteY1039" fmla="*/ 418052 h 1900164"/>
                <a:gd name="connsiteX1040" fmla="*/ 636131 w 707627"/>
                <a:gd name="connsiteY1040" fmla="*/ 424174 h 1900164"/>
                <a:gd name="connsiteX1041" fmla="*/ 642649 w 707627"/>
                <a:gd name="connsiteY1041" fmla="*/ 427428 h 1900164"/>
                <a:gd name="connsiteX1042" fmla="*/ 649031 w 707627"/>
                <a:gd name="connsiteY1042" fmla="*/ 429188 h 1900164"/>
                <a:gd name="connsiteX1043" fmla="*/ 649591 w 707627"/>
                <a:gd name="connsiteY1043" fmla="*/ 429429 h 1900164"/>
                <a:gd name="connsiteX1044" fmla="*/ 652975 w 707627"/>
                <a:gd name="connsiteY1044" fmla="*/ 431805 h 1900164"/>
                <a:gd name="connsiteX1045" fmla="*/ 653269 w 707627"/>
                <a:gd name="connsiteY1045" fmla="*/ 428368 h 1900164"/>
                <a:gd name="connsiteX1046" fmla="*/ 654011 w 707627"/>
                <a:gd name="connsiteY1046" fmla="*/ 427081 h 1900164"/>
                <a:gd name="connsiteX1047" fmla="*/ 655433 w 707627"/>
                <a:gd name="connsiteY1047" fmla="*/ 426753 h 1900164"/>
                <a:gd name="connsiteX1048" fmla="*/ 658089 w 707627"/>
                <a:gd name="connsiteY1048" fmla="*/ 427298 h 1900164"/>
                <a:gd name="connsiteX1049" fmla="*/ 657092 w 707627"/>
                <a:gd name="connsiteY1049" fmla="*/ 424753 h 1900164"/>
                <a:gd name="connsiteX1050" fmla="*/ 651929 w 707627"/>
                <a:gd name="connsiteY1050" fmla="*/ 419045 h 1900164"/>
                <a:gd name="connsiteX1051" fmla="*/ 652025 w 707627"/>
                <a:gd name="connsiteY1051" fmla="*/ 416553 h 1900164"/>
                <a:gd name="connsiteX1052" fmla="*/ 654489 w 707627"/>
                <a:gd name="connsiteY1052" fmla="*/ 416461 h 1900164"/>
                <a:gd name="connsiteX1053" fmla="*/ 658297 w 707627"/>
                <a:gd name="connsiteY1053" fmla="*/ 419773 h 1900164"/>
                <a:gd name="connsiteX1054" fmla="*/ 663720 w 707627"/>
                <a:gd name="connsiteY1054" fmla="*/ 416852 h 1900164"/>
                <a:gd name="connsiteX1055" fmla="*/ 666092 w 707627"/>
                <a:gd name="connsiteY1055" fmla="*/ 417387 h 1900164"/>
                <a:gd name="connsiteX1056" fmla="*/ 666545 w 707627"/>
                <a:gd name="connsiteY1056" fmla="*/ 418028 h 1900164"/>
                <a:gd name="connsiteX1057" fmla="*/ 666786 w 707627"/>
                <a:gd name="connsiteY1057" fmla="*/ 417256 h 1900164"/>
                <a:gd name="connsiteX1058" fmla="*/ 668001 w 707627"/>
                <a:gd name="connsiteY1058" fmla="*/ 416639 h 1900164"/>
                <a:gd name="connsiteX1059" fmla="*/ 674552 w 707627"/>
                <a:gd name="connsiteY1059" fmla="*/ 416027 h 1900164"/>
                <a:gd name="connsiteX1060" fmla="*/ 675237 w 707627"/>
                <a:gd name="connsiteY1060" fmla="*/ 416090 h 1900164"/>
                <a:gd name="connsiteX1061" fmla="*/ 680014 w 707627"/>
                <a:gd name="connsiteY1061" fmla="*/ 417536 h 1900164"/>
                <a:gd name="connsiteX1062" fmla="*/ 684001 w 707627"/>
                <a:gd name="connsiteY1062" fmla="*/ 412532 h 1900164"/>
                <a:gd name="connsiteX1063" fmla="*/ 686291 w 707627"/>
                <a:gd name="connsiteY1063" fmla="*/ 412069 h 1900164"/>
                <a:gd name="connsiteX1064" fmla="*/ 692524 w 707627"/>
                <a:gd name="connsiteY1064" fmla="*/ 415463 h 1900164"/>
                <a:gd name="connsiteX1065" fmla="*/ 697046 w 707627"/>
                <a:gd name="connsiteY1065" fmla="*/ 415916 h 1900164"/>
                <a:gd name="connsiteX1066" fmla="*/ 700594 w 707627"/>
                <a:gd name="connsiteY1066" fmla="*/ 410840 h 1900164"/>
                <a:gd name="connsiteX1067" fmla="*/ 701640 w 707627"/>
                <a:gd name="connsiteY1067" fmla="*/ 410127 h 1900164"/>
                <a:gd name="connsiteX1068" fmla="*/ 707627 w 707627"/>
                <a:gd name="connsiteY1068" fmla="*/ 408483 h 1900164"/>
                <a:gd name="connsiteX1069" fmla="*/ 689646 w 707627"/>
                <a:gd name="connsiteY1069" fmla="*/ 375591 h 1900164"/>
                <a:gd name="connsiteX1070" fmla="*/ 687424 w 707627"/>
                <a:gd name="connsiteY1070" fmla="*/ 367661 h 190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Lst>
              <a:rect l="l" t="t" r="r" b="b"/>
              <a:pathLst>
                <a:path w="707627" h="1900164">
                  <a:moveTo>
                    <a:pt x="687424" y="367661"/>
                  </a:moveTo>
                  <a:cubicBezTo>
                    <a:pt x="672248" y="363872"/>
                    <a:pt x="666424" y="349752"/>
                    <a:pt x="666584" y="340289"/>
                  </a:cubicBezTo>
                  <a:cubicBezTo>
                    <a:pt x="666748" y="330802"/>
                    <a:pt x="660558" y="332354"/>
                    <a:pt x="662800" y="329621"/>
                  </a:cubicBezTo>
                  <a:cubicBezTo>
                    <a:pt x="678635" y="305334"/>
                    <a:pt x="669683" y="296194"/>
                    <a:pt x="669683" y="296194"/>
                  </a:cubicBezTo>
                  <a:lnTo>
                    <a:pt x="670021" y="290506"/>
                  </a:lnTo>
                  <a:lnTo>
                    <a:pt x="669163" y="282257"/>
                  </a:lnTo>
                  <a:lnTo>
                    <a:pt x="671583" y="275195"/>
                  </a:lnTo>
                  <a:lnTo>
                    <a:pt x="639723" y="231269"/>
                  </a:lnTo>
                  <a:cubicBezTo>
                    <a:pt x="639723" y="231269"/>
                    <a:pt x="638508" y="225604"/>
                    <a:pt x="638681" y="222331"/>
                  </a:cubicBezTo>
                  <a:cubicBezTo>
                    <a:pt x="638845" y="219038"/>
                    <a:pt x="641617" y="217496"/>
                    <a:pt x="643502" y="216305"/>
                  </a:cubicBezTo>
                  <a:cubicBezTo>
                    <a:pt x="645406" y="215076"/>
                    <a:pt x="647123" y="212338"/>
                    <a:pt x="646265" y="202846"/>
                  </a:cubicBezTo>
                  <a:cubicBezTo>
                    <a:pt x="645228" y="191344"/>
                    <a:pt x="623559" y="192298"/>
                    <a:pt x="623559" y="192298"/>
                  </a:cubicBezTo>
                  <a:lnTo>
                    <a:pt x="623515" y="178766"/>
                  </a:lnTo>
                  <a:lnTo>
                    <a:pt x="626456" y="172740"/>
                  </a:lnTo>
                  <a:cubicBezTo>
                    <a:pt x="626456" y="172740"/>
                    <a:pt x="621809" y="159797"/>
                    <a:pt x="618550" y="149297"/>
                  </a:cubicBezTo>
                  <a:cubicBezTo>
                    <a:pt x="615272" y="138807"/>
                    <a:pt x="619056" y="131581"/>
                    <a:pt x="622339" y="129142"/>
                  </a:cubicBezTo>
                  <a:cubicBezTo>
                    <a:pt x="625608" y="126732"/>
                    <a:pt x="624388" y="124008"/>
                    <a:pt x="621457" y="123482"/>
                  </a:cubicBezTo>
                  <a:cubicBezTo>
                    <a:pt x="614568" y="121400"/>
                    <a:pt x="603379" y="106610"/>
                    <a:pt x="602343" y="103168"/>
                  </a:cubicBezTo>
                  <a:cubicBezTo>
                    <a:pt x="601326" y="99726"/>
                    <a:pt x="599585" y="100251"/>
                    <a:pt x="596664" y="102127"/>
                  </a:cubicBezTo>
                  <a:cubicBezTo>
                    <a:pt x="593723" y="104036"/>
                    <a:pt x="590301" y="98357"/>
                    <a:pt x="589428" y="92307"/>
                  </a:cubicBezTo>
                  <a:cubicBezTo>
                    <a:pt x="588565" y="86286"/>
                    <a:pt x="581522" y="81480"/>
                    <a:pt x="568251" y="73357"/>
                  </a:cubicBezTo>
                  <a:cubicBezTo>
                    <a:pt x="555008" y="65263"/>
                    <a:pt x="544499" y="68898"/>
                    <a:pt x="544499" y="68898"/>
                  </a:cubicBezTo>
                  <a:lnTo>
                    <a:pt x="540190" y="64414"/>
                  </a:lnTo>
                  <a:lnTo>
                    <a:pt x="533291" y="67331"/>
                  </a:lnTo>
                  <a:cubicBezTo>
                    <a:pt x="533291" y="67331"/>
                    <a:pt x="526248" y="66656"/>
                    <a:pt x="523317" y="60114"/>
                  </a:cubicBezTo>
                  <a:cubicBezTo>
                    <a:pt x="520371" y="53577"/>
                    <a:pt x="514355" y="52377"/>
                    <a:pt x="509289" y="53621"/>
                  </a:cubicBezTo>
                  <a:cubicBezTo>
                    <a:pt x="510103" y="46467"/>
                    <a:pt x="496456" y="41834"/>
                    <a:pt x="493703" y="41526"/>
                  </a:cubicBezTo>
                  <a:cubicBezTo>
                    <a:pt x="490931" y="41159"/>
                    <a:pt x="490425" y="38228"/>
                    <a:pt x="490088" y="36343"/>
                  </a:cubicBezTo>
                  <a:cubicBezTo>
                    <a:pt x="489750" y="34463"/>
                    <a:pt x="477858" y="25839"/>
                    <a:pt x="473379" y="23091"/>
                  </a:cubicBezTo>
                  <a:cubicBezTo>
                    <a:pt x="468896" y="20353"/>
                    <a:pt x="457239" y="15783"/>
                    <a:pt x="459269" y="11902"/>
                  </a:cubicBezTo>
                  <a:cubicBezTo>
                    <a:pt x="466838" y="3804"/>
                    <a:pt x="445236" y="333"/>
                    <a:pt x="443414" y="53"/>
                  </a:cubicBezTo>
                  <a:lnTo>
                    <a:pt x="442209" y="3206"/>
                  </a:lnTo>
                  <a:lnTo>
                    <a:pt x="443414" y="53"/>
                  </a:lnTo>
                  <a:cubicBezTo>
                    <a:pt x="443341" y="29"/>
                    <a:pt x="443221" y="0"/>
                    <a:pt x="443221" y="0"/>
                  </a:cubicBezTo>
                  <a:lnTo>
                    <a:pt x="418438" y="6040"/>
                  </a:lnTo>
                  <a:lnTo>
                    <a:pt x="431873" y="19803"/>
                  </a:lnTo>
                  <a:cubicBezTo>
                    <a:pt x="431873" y="19803"/>
                    <a:pt x="434968" y="29464"/>
                    <a:pt x="434968" y="36676"/>
                  </a:cubicBezTo>
                  <a:cubicBezTo>
                    <a:pt x="433763" y="62872"/>
                    <a:pt x="421566" y="73872"/>
                    <a:pt x="421566" y="73872"/>
                  </a:cubicBezTo>
                  <a:lnTo>
                    <a:pt x="435479" y="81118"/>
                  </a:lnTo>
                  <a:lnTo>
                    <a:pt x="423765" y="101119"/>
                  </a:lnTo>
                  <a:lnTo>
                    <a:pt x="371262" y="85601"/>
                  </a:lnTo>
                  <a:lnTo>
                    <a:pt x="355417" y="89564"/>
                  </a:lnTo>
                  <a:lnTo>
                    <a:pt x="343553" y="80434"/>
                  </a:lnTo>
                  <a:lnTo>
                    <a:pt x="329071" y="87650"/>
                  </a:lnTo>
                  <a:lnTo>
                    <a:pt x="328917" y="101119"/>
                  </a:lnTo>
                  <a:lnTo>
                    <a:pt x="336317" y="135713"/>
                  </a:lnTo>
                  <a:lnTo>
                    <a:pt x="327018" y="163244"/>
                  </a:lnTo>
                  <a:lnTo>
                    <a:pt x="319955" y="165302"/>
                  </a:lnTo>
                  <a:lnTo>
                    <a:pt x="312030" y="159479"/>
                  </a:lnTo>
                  <a:lnTo>
                    <a:pt x="300663" y="154658"/>
                  </a:lnTo>
                  <a:lnTo>
                    <a:pt x="290670" y="155159"/>
                  </a:lnTo>
                  <a:lnTo>
                    <a:pt x="281983" y="167891"/>
                  </a:lnTo>
                  <a:lnTo>
                    <a:pt x="267092" y="182208"/>
                  </a:lnTo>
                  <a:lnTo>
                    <a:pt x="261254" y="221285"/>
                  </a:lnTo>
                  <a:lnTo>
                    <a:pt x="253492" y="236957"/>
                  </a:lnTo>
                  <a:lnTo>
                    <a:pt x="240742" y="242457"/>
                  </a:lnTo>
                  <a:lnTo>
                    <a:pt x="239204" y="253502"/>
                  </a:lnTo>
                  <a:lnTo>
                    <a:pt x="258993" y="283289"/>
                  </a:lnTo>
                  <a:cubicBezTo>
                    <a:pt x="258993" y="283289"/>
                    <a:pt x="259345" y="294637"/>
                    <a:pt x="259489" y="304813"/>
                  </a:cubicBezTo>
                  <a:cubicBezTo>
                    <a:pt x="250730" y="311018"/>
                    <a:pt x="242641" y="320654"/>
                    <a:pt x="238331" y="333559"/>
                  </a:cubicBezTo>
                  <a:cubicBezTo>
                    <a:pt x="228174" y="364368"/>
                    <a:pt x="217660" y="378676"/>
                    <a:pt x="217660" y="378676"/>
                  </a:cubicBezTo>
                  <a:lnTo>
                    <a:pt x="211967" y="385546"/>
                  </a:lnTo>
                  <a:lnTo>
                    <a:pt x="217342" y="404853"/>
                  </a:lnTo>
                  <a:lnTo>
                    <a:pt x="217159" y="415000"/>
                  </a:lnTo>
                  <a:lnTo>
                    <a:pt x="193875" y="434505"/>
                  </a:lnTo>
                  <a:lnTo>
                    <a:pt x="166874" y="439615"/>
                  </a:lnTo>
                  <a:lnTo>
                    <a:pt x="176332" y="482336"/>
                  </a:lnTo>
                  <a:lnTo>
                    <a:pt x="172379" y="495443"/>
                  </a:lnTo>
                  <a:lnTo>
                    <a:pt x="172379" y="540021"/>
                  </a:lnTo>
                  <a:lnTo>
                    <a:pt x="171680" y="555003"/>
                  </a:lnTo>
                  <a:lnTo>
                    <a:pt x="166011" y="562225"/>
                  </a:lnTo>
                  <a:lnTo>
                    <a:pt x="164285" y="580495"/>
                  </a:lnTo>
                  <a:lnTo>
                    <a:pt x="129157" y="654175"/>
                  </a:lnTo>
                  <a:lnTo>
                    <a:pt x="143783" y="665537"/>
                  </a:lnTo>
                  <a:lnTo>
                    <a:pt x="157218" y="670001"/>
                  </a:lnTo>
                  <a:lnTo>
                    <a:pt x="163422" y="705834"/>
                  </a:lnTo>
                  <a:cubicBezTo>
                    <a:pt x="163422" y="705834"/>
                    <a:pt x="156017" y="724948"/>
                    <a:pt x="154128" y="728746"/>
                  </a:cubicBezTo>
                  <a:cubicBezTo>
                    <a:pt x="152224" y="732555"/>
                    <a:pt x="136744" y="728746"/>
                    <a:pt x="108485" y="723420"/>
                  </a:cubicBezTo>
                  <a:cubicBezTo>
                    <a:pt x="80236" y="718078"/>
                    <a:pt x="57868" y="776968"/>
                    <a:pt x="57868" y="776968"/>
                  </a:cubicBezTo>
                  <a:lnTo>
                    <a:pt x="56827" y="781085"/>
                  </a:lnTo>
                  <a:lnTo>
                    <a:pt x="48390" y="792982"/>
                  </a:lnTo>
                  <a:lnTo>
                    <a:pt x="51148" y="807951"/>
                  </a:lnTo>
                  <a:lnTo>
                    <a:pt x="38392" y="835000"/>
                  </a:lnTo>
                  <a:lnTo>
                    <a:pt x="53216" y="873720"/>
                  </a:lnTo>
                  <a:lnTo>
                    <a:pt x="45802" y="886302"/>
                  </a:lnTo>
                  <a:lnTo>
                    <a:pt x="50969" y="912970"/>
                  </a:lnTo>
                  <a:lnTo>
                    <a:pt x="47884" y="924366"/>
                  </a:lnTo>
                  <a:cubicBezTo>
                    <a:pt x="47884" y="924366"/>
                    <a:pt x="48222" y="939860"/>
                    <a:pt x="55809" y="953970"/>
                  </a:cubicBezTo>
                  <a:cubicBezTo>
                    <a:pt x="63373" y="968071"/>
                    <a:pt x="62877" y="975321"/>
                    <a:pt x="62877" y="978575"/>
                  </a:cubicBezTo>
                  <a:cubicBezTo>
                    <a:pt x="62877" y="981863"/>
                    <a:pt x="55631" y="1047472"/>
                    <a:pt x="55631" y="1047472"/>
                  </a:cubicBezTo>
                  <a:lnTo>
                    <a:pt x="73371" y="1067951"/>
                  </a:lnTo>
                  <a:lnTo>
                    <a:pt x="84734" y="1068674"/>
                  </a:lnTo>
                  <a:cubicBezTo>
                    <a:pt x="84734" y="1068674"/>
                    <a:pt x="96776" y="1085358"/>
                    <a:pt x="104692" y="1095337"/>
                  </a:cubicBezTo>
                  <a:cubicBezTo>
                    <a:pt x="106591" y="1110315"/>
                    <a:pt x="98670" y="1121152"/>
                    <a:pt x="98670" y="1121152"/>
                  </a:cubicBezTo>
                  <a:cubicBezTo>
                    <a:pt x="98670" y="1121152"/>
                    <a:pt x="96949" y="1131160"/>
                    <a:pt x="95744" y="1135663"/>
                  </a:cubicBezTo>
                  <a:cubicBezTo>
                    <a:pt x="94534" y="1140112"/>
                    <a:pt x="88354" y="1138218"/>
                    <a:pt x="88354" y="1138218"/>
                  </a:cubicBezTo>
                  <a:lnTo>
                    <a:pt x="86445" y="1137543"/>
                  </a:lnTo>
                  <a:cubicBezTo>
                    <a:pt x="86445" y="1137543"/>
                    <a:pt x="73371" y="1141332"/>
                    <a:pt x="69076" y="1142551"/>
                  </a:cubicBezTo>
                  <a:cubicBezTo>
                    <a:pt x="64762" y="1143747"/>
                    <a:pt x="65629" y="1150964"/>
                    <a:pt x="68045" y="1154246"/>
                  </a:cubicBezTo>
                  <a:cubicBezTo>
                    <a:pt x="70445" y="1157486"/>
                    <a:pt x="70267" y="1158894"/>
                    <a:pt x="70267" y="1162152"/>
                  </a:cubicBezTo>
                  <a:cubicBezTo>
                    <a:pt x="70079" y="1170603"/>
                    <a:pt x="75083" y="1180423"/>
                    <a:pt x="78370" y="1184554"/>
                  </a:cubicBezTo>
                  <a:cubicBezTo>
                    <a:pt x="81634" y="1188671"/>
                    <a:pt x="83712" y="1194012"/>
                    <a:pt x="84044" y="1196264"/>
                  </a:cubicBezTo>
                  <a:cubicBezTo>
                    <a:pt x="84401" y="1198515"/>
                    <a:pt x="85934" y="1201923"/>
                    <a:pt x="90576" y="1210210"/>
                  </a:cubicBezTo>
                  <a:cubicBezTo>
                    <a:pt x="97489" y="1225188"/>
                    <a:pt x="84734" y="1240156"/>
                    <a:pt x="84734" y="1240156"/>
                  </a:cubicBezTo>
                  <a:cubicBezTo>
                    <a:pt x="84734" y="1240156"/>
                    <a:pt x="85592" y="1243106"/>
                    <a:pt x="86445" y="1246727"/>
                  </a:cubicBezTo>
                  <a:cubicBezTo>
                    <a:pt x="96949" y="1273217"/>
                    <a:pt x="62163" y="1294741"/>
                    <a:pt x="62163" y="1294741"/>
                  </a:cubicBezTo>
                  <a:lnTo>
                    <a:pt x="50801" y="1294741"/>
                  </a:lnTo>
                  <a:lnTo>
                    <a:pt x="44090" y="1297855"/>
                  </a:lnTo>
                  <a:lnTo>
                    <a:pt x="44090" y="1304050"/>
                  </a:lnTo>
                  <a:lnTo>
                    <a:pt x="47369" y="1309560"/>
                  </a:lnTo>
                  <a:lnTo>
                    <a:pt x="47706" y="1320758"/>
                  </a:lnTo>
                  <a:lnTo>
                    <a:pt x="43232" y="1327970"/>
                  </a:lnTo>
                  <a:lnTo>
                    <a:pt x="37891" y="1329706"/>
                  </a:lnTo>
                  <a:lnTo>
                    <a:pt x="33427" y="1337462"/>
                  </a:lnTo>
                  <a:cubicBezTo>
                    <a:pt x="33427" y="1337462"/>
                    <a:pt x="36016" y="1352782"/>
                    <a:pt x="40484" y="1363475"/>
                  </a:cubicBezTo>
                  <a:cubicBezTo>
                    <a:pt x="44958" y="1374143"/>
                    <a:pt x="45127" y="1383972"/>
                    <a:pt x="42027" y="1389299"/>
                  </a:cubicBezTo>
                  <a:cubicBezTo>
                    <a:pt x="38918" y="1394626"/>
                    <a:pt x="41685" y="1404277"/>
                    <a:pt x="41685" y="1404277"/>
                  </a:cubicBezTo>
                  <a:lnTo>
                    <a:pt x="38407" y="1411142"/>
                  </a:lnTo>
                  <a:cubicBezTo>
                    <a:pt x="38407" y="1411142"/>
                    <a:pt x="37380" y="1419424"/>
                    <a:pt x="37028" y="1424409"/>
                  </a:cubicBezTo>
                  <a:cubicBezTo>
                    <a:pt x="36700" y="1429422"/>
                    <a:pt x="28794" y="1431129"/>
                    <a:pt x="28794" y="1431129"/>
                  </a:cubicBezTo>
                  <a:lnTo>
                    <a:pt x="22749" y="1431129"/>
                  </a:lnTo>
                  <a:lnTo>
                    <a:pt x="19992" y="1417877"/>
                  </a:lnTo>
                  <a:cubicBezTo>
                    <a:pt x="19992" y="1417877"/>
                    <a:pt x="14993" y="1409431"/>
                    <a:pt x="14144" y="1406162"/>
                  </a:cubicBezTo>
                  <a:cubicBezTo>
                    <a:pt x="13522" y="1403815"/>
                    <a:pt x="8634" y="1404003"/>
                    <a:pt x="5920" y="1404272"/>
                  </a:cubicBezTo>
                  <a:lnTo>
                    <a:pt x="5877" y="1404726"/>
                  </a:lnTo>
                  <a:lnTo>
                    <a:pt x="5766" y="1405155"/>
                  </a:lnTo>
                  <a:lnTo>
                    <a:pt x="3370" y="1411696"/>
                  </a:lnTo>
                  <a:lnTo>
                    <a:pt x="3288" y="1411899"/>
                  </a:lnTo>
                  <a:lnTo>
                    <a:pt x="487" y="1417525"/>
                  </a:lnTo>
                  <a:lnTo>
                    <a:pt x="0" y="1422895"/>
                  </a:lnTo>
                  <a:lnTo>
                    <a:pt x="5356" y="1428236"/>
                  </a:lnTo>
                  <a:lnTo>
                    <a:pt x="5906" y="1429523"/>
                  </a:lnTo>
                  <a:lnTo>
                    <a:pt x="5906" y="1435033"/>
                  </a:lnTo>
                  <a:lnTo>
                    <a:pt x="8668" y="1440616"/>
                  </a:lnTo>
                  <a:lnTo>
                    <a:pt x="8841" y="1441614"/>
                  </a:lnTo>
                  <a:lnTo>
                    <a:pt x="8296" y="1447789"/>
                  </a:lnTo>
                  <a:lnTo>
                    <a:pt x="9964" y="1453386"/>
                  </a:lnTo>
                  <a:lnTo>
                    <a:pt x="9964" y="1454422"/>
                  </a:lnTo>
                  <a:lnTo>
                    <a:pt x="8398" y="1459744"/>
                  </a:lnTo>
                  <a:lnTo>
                    <a:pt x="11661" y="1466836"/>
                  </a:lnTo>
                  <a:lnTo>
                    <a:pt x="11835" y="1467424"/>
                  </a:lnTo>
                  <a:lnTo>
                    <a:pt x="12418" y="1473382"/>
                  </a:lnTo>
                  <a:lnTo>
                    <a:pt x="12418" y="1473382"/>
                  </a:lnTo>
                  <a:lnTo>
                    <a:pt x="13021" y="1479933"/>
                  </a:lnTo>
                  <a:lnTo>
                    <a:pt x="13021" y="1480107"/>
                  </a:lnTo>
                  <a:lnTo>
                    <a:pt x="13021" y="1485964"/>
                  </a:lnTo>
                  <a:lnTo>
                    <a:pt x="13599" y="1492443"/>
                  </a:lnTo>
                  <a:lnTo>
                    <a:pt x="13498" y="1493273"/>
                  </a:lnTo>
                  <a:lnTo>
                    <a:pt x="11242" y="1498898"/>
                  </a:lnTo>
                  <a:lnTo>
                    <a:pt x="11242" y="1502340"/>
                  </a:lnTo>
                  <a:lnTo>
                    <a:pt x="15393" y="1501665"/>
                  </a:lnTo>
                  <a:lnTo>
                    <a:pt x="18512" y="1495919"/>
                  </a:lnTo>
                  <a:lnTo>
                    <a:pt x="21486" y="1489975"/>
                  </a:lnTo>
                  <a:cubicBezTo>
                    <a:pt x="21901" y="1489170"/>
                    <a:pt x="22865" y="1488789"/>
                    <a:pt x="23737" y="1489098"/>
                  </a:cubicBezTo>
                  <a:cubicBezTo>
                    <a:pt x="24600" y="1489425"/>
                    <a:pt x="25087" y="1490361"/>
                    <a:pt x="24865" y="1491248"/>
                  </a:cubicBezTo>
                  <a:lnTo>
                    <a:pt x="23077" y="1498382"/>
                  </a:lnTo>
                  <a:lnTo>
                    <a:pt x="22942" y="1498744"/>
                  </a:lnTo>
                  <a:lnTo>
                    <a:pt x="21288" y="1502099"/>
                  </a:lnTo>
                  <a:lnTo>
                    <a:pt x="24297" y="1502099"/>
                  </a:lnTo>
                  <a:lnTo>
                    <a:pt x="25882" y="1503005"/>
                  </a:lnTo>
                  <a:lnTo>
                    <a:pt x="25858" y="1504837"/>
                  </a:lnTo>
                  <a:lnTo>
                    <a:pt x="23675" y="1508491"/>
                  </a:lnTo>
                  <a:lnTo>
                    <a:pt x="26851" y="1509007"/>
                  </a:lnTo>
                  <a:lnTo>
                    <a:pt x="29083" y="1504577"/>
                  </a:lnTo>
                  <a:lnTo>
                    <a:pt x="29619" y="1498455"/>
                  </a:lnTo>
                  <a:lnTo>
                    <a:pt x="29619" y="1492000"/>
                  </a:lnTo>
                  <a:lnTo>
                    <a:pt x="30510" y="1490443"/>
                  </a:lnTo>
                  <a:lnTo>
                    <a:pt x="32260" y="1490356"/>
                  </a:lnTo>
                  <a:lnTo>
                    <a:pt x="38195" y="1493354"/>
                  </a:lnTo>
                  <a:cubicBezTo>
                    <a:pt x="38995" y="1493716"/>
                    <a:pt x="39385" y="1494608"/>
                    <a:pt x="39144" y="1495495"/>
                  </a:cubicBezTo>
                  <a:lnTo>
                    <a:pt x="37360" y="1501434"/>
                  </a:lnTo>
                  <a:lnTo>
                    <a:pt x="37216" y="1501791"/>
                  </a:lnTo>
                  <a:lnTo>
                    <a:pt x="33625" y="1508318"/>
                  </a:lnTo>
                  <a:lnTo>
                    <a:pt x="30978" y="1513163"/>
                  </a:lnTo>
                  <a:lnTo>
                    <a:pt x="34324" y="1514667"/>
                  </a:lnTo>
                  <a:lnTo>
                    <a:pt x="37640" y="1509475"/>
                  </a:lnTo>
                  <a:lnTo>
                    <a:pt x="38204" y="1508896"/>
                  </a:lnTo>
                  <a:lnTo>
                    <a:pt x="44736" y="1504746"/>
                  </a:lnTo>
                  <a:lnTo>
                    <a:pt x="45898" y="1504466"/>
                  </a:lnTo>
                  <a:lnTo>
                    <a:pt x="52425" y="1505069"/>
                  </a:lnTo>
                  <a:lnTo>
                    <a:pt x="53857" y="1505990"/>
                  </a:lnTo>
                  <a:lnTo>
                    <a:pt x="53881" y="1507706"/>
                  </a:lnTo>
                  <a:lnTo>
                    <a:pt x="51365" y="1512695"/>
                  </a:lnTo>
                  <a:lnTo>
                    <a:pt x="55000" y="1518388"/>
                  </a:lnTo>
                  <a:lnTo>
                    <a:pt x="55236" y="1519728"/>
                  </a:lnTo>
                  <a:lnTo>
                    <a:pt x="54103" y="1525427"/>
                  </a:lnTo>
                  <a:lnTo>
                    <a:pt x="54672" y="1531713"/>
                  </a:lnTo>
                  <a:lnTo>
                    <a:pt x="54546" y="1532561"/>
                  </a:lnTo>
                  <a:lnTo>
                    <a:pt x="52305" y="1538163"/>
                  </a:lnTo>
                  <a:lnTo>
                    <a:pt x="52305" y="1543769"/>
                  </a:lnTo>
                  <a:lnTo>
                    <a:pt x="52285" y="1543943"/>
                  </a:lnTo>
                  <a:lnTo>
                    <a:pt x="51693" y="1550465"/>
                  </a:lnTo>
                  <a:lnTo>
                    <a:pt x="51432" y="1551299"/>
                  </a:lnTo>
                  <a:lnTo>
                    <a:pt x="48651" y="1555691"/>
                  </a:lnTo>
                  <a:lnTo>
                    <a:pt x="48149" y="1561196"/>
                  </a:lnTo>
                  <a:lnTo>
                    <a:pt x="47976" y="1561765"/>
                  </a:lnTo>
                  <a:lnTo>
                    <a:pt x="45170" y="1567989"/>
                  </a:lnTo>
                  <a:lnTo>
                    <a:pt x="45170" y="1573181"/>
                  </a:lnTo>
                  <a:lnTo>
                    <a:pt x="46799" y="1577254"/>
                  </a:lnTo>
                  <a:lnTo>
                    <a:pt x="51129" y="1575967"/>
                  </a:lnTo>
                  <a:lnTo>
                    <a:pt x="51230" y="1575933"/>
                  </a:lnTo>
                  <a:lnTo>
                    <a:pt x="53616" y="1575340"/>
                  </a:lnTo>
                  <a:lnTo>
                    <a:pt x="55511" y="1576010"/>
                  </a:lnTo>
                  <a:lnTo>
                    <a:pt x="55583" y="1578050"/>
                  </a:lnTo>
                  <a:lnTo>
                    <a:pt x="52049" y="1583979"/>
                  </a:lnTo>
                  <a:lnTo>
                    <a:pt x="51432" y="1584610"/>
                  </a:lnTo>
                  <a:lnTo>
                    <a:pt x="48622" y="1586307"/>
                  </a:lnTo>
                  <a:lnTo>
                    <a:pt x="51066" y="1587286"/>
                  </a:lnTo>
                  <a:lnTo>
                    <a:pt x="56947" y="1589036"/>
                  </a:lnTo>
                  <a:cubicBezTo>
                    <a:pt x="57916" y="1589330"/>
                    <a:pt x="58442" y="1590323"/>
                    <a:pt x="58172" y="1591253"/>
                  </a:cubicBezTo>
                  <a:lnTo>
                    <a:pt x="56619" y="1596961"/>
                  </a:lnTo>
                  <a:lnTo>
                    <a:pt x="60866" y="1602823"/>
                  </a:lnTo>
                  <a:lnTo>
                    <a:pt x="61030" y="1603054"/>
                  </a:lnTo>
                  <a:lnTo>
                    <a:pt x="62207" y="1605441"/>
                  </a:lnTo>
                  <a:lnTo>
                    <a:pt x="62380" y="1606593"/>
                  </a:lnTo>
                  <a:lnTo>
                    <a:pt x="61209" y="1612966"/>
                  </a:lnTo>
                  <a:lnTo>
                    <a:pt x="61209" y="1625210"/>
                  </a:lnTo>
                  <a:lnTo>
                    <a:pt x="61715" y="1630335"/>
                  </a:lnTo>
                  <a:lnTo>
                    <a:pt x="65369" y="1633285"/>
                  </a:lnTo>
                  <a:lnTo>
                    <a:pt x="65952" y="1630306"/>
                  </a:lnTo>
                  <a:lnTo>
                    <a:pt x="65957" y="1630205"/>
                  </a:lnTo>
                  <a:lnTo>
                    <a:pt x="67755" y="1623634"/>
                  </a:lnTo>
                  <a:cubicBezTo>
                    <a:pt x="67972" y="1622848"/>
                    <a:pt x="68657" y="1622323"/>
                    <a:pt x="69438" y="1622304"/>
                  </a:cubicBezTo>
                  <a:cubicBezTo>
                    <a:pt x="70233" y="1622270"/>
                    <a:pt x="70951" y="1622742"/>
                    <a:pt x="71221" y="1623494"/>
                  </a:cubicBezTo>
                  <a:lnTo>
                    <a:pt x="73593" y="1630036"/>
                  </a:lnTo>
                  <a:lnTo>
                    <a:pt x="73719" y="1630817"/>
                  </a:lnTo>
                  <a:lnTo>
                    <a:pt x="73241" y="1635990"/>
                  </a:lnTo>
                  <a:lnTo>
                    <a:pt x="77927" y="1637884"/>
                  </a:lnTo>
                  <a:lnTo>
                    <a:pt x="79055" y="1639378"/>
                  </a:lnTo>
                  <a:lnTo>
                    <a:pt x="79667" y="1645380"/>
                  </a:lnTo>
                  <a:lnTo>
                    <a:pt x="79667" y="1645530"/>
                  </a:lnTo>
                  <a:lnTo>
                    <a:pt x="79667" y="1651994"/>
                  </a:lnTo>
                  <a:lnTo>
                    <a:pt x="80217" y="1657384"/>
                  </a:lnTo>
                  <a:lnTo>
                    <a:pt x="84107" y="1662923"/>
                  </a:lnTo>
                  <a:lnTo>
                    <a:pt x="84276" y="1663226"/>
                  </a:lnTo>
                  <a:lnTo>
                    <a:pt x="87241" y="1669778"/>
                  </a:lnTo>
                  <a:lnTo>
                    <a:pt x="87289" y="1669908"/>
                  </a:lnTo>
                  <a:lnTo>
                    <a:pt x="89554" y="1676088"/>
                  </a:lnTo>
                  <a:lnTo>
                    <a:pt x="95802" y="1682316"/>
                  </a:lnTo>
                  <a:lnTo>
                    <a:pt x="96328" y="1683772"/>
                  </a:lnTo>
                  <a:lnTo>
                    <a:pt x="95821" y="1689442"/>
                  </a:lnTo>
                  <a:lnTo>
                    <a:pt x="102633" y="1695757"/>
                  </a:lnTo>
                  <a:lnTo>
                    <a:pt x="105313" y="1696817"/>
                  </a:lnTo>
                  <a:lnTo>
                    <a:pt x="105988" y="1697285"/>
                  </a:lnTo>
                  <a:lnTo>
                    <a:pt x="111339" y="1703214"/>
                  </a:lnTo>
                  <a:lnTo>
                    <a:pt x="111575" y="1703571"/>
                  </a:lnTo>
                  <a:lnTo>
                    <a:pt x="115157" y="1710103"/>
                  </a:lnTo>
                  <a:lnTo>
                    <a:pt x="115345" y="1710653"/>
                  </a:lnTo>
                  <a:lnTo>
                    <a:pt x="116449" y="1716100"/>
                  </a:lnTo>
                  <a:lnTo>
                    <a:pt x="121448" y="1721668"/>
                  </a:lnTo>
                  <a:lnTo>
                    <a:pt x="121747" y="1722078"/>
                  </a:lnTo>
                  <a:lnTo>
                    <a:pt x="124220" y="1727014"/>
                  </a:lnTo>
                  <a:lnTo>
                    <a:pt x="128742" y="1727014"/>
                  </a:lnTo>
                  <a:lnTo>
                    <a:pt x="132025" y="1725915"/>
                  </a:lnTo>
                  <a:cubicBezTo>
                    <a:pt x="132830" y="1725660"/>
                    <a:pt x="133688" y="1725958"/>
                    <a:pt x="134141" y="1726677"/>
                  </a:cubicBezTo>
                  <a:cubicBezTo>
                    <a:pt x="139049" y="1732939"/>
                    <a:pt x="142515" y="1740922"/>
                    <a:pt x="140857" y="1749050"/>
                  </a:cubicBezTo>
                  <a:lnTo>
                    <a:pt x="139087" y="1754401"/>
                  </a:lnTo>
                  <a:lnTo>
                    <a:pt x="138181" y="1755471"/>
                  </a:lnTo>
                  <a:lnTo>
                    <a:pt x="132227" y="1758426"/>
                  </a:lnTo>
                  <a:lnTo>
                    <a:pt x="130420" y="1758344"/>
                  </a:lnTo>
                  <a:lnTo>
                    <a:pt x="124644" y="1754661"/>
                  </a:lnTo>
                  <a:lnTo>
                    <a:pt x="119809" y="1756420"/>
                  </a:lnTo>
                  <a:lnTo>
                    <a:pt x="118618" y="1760402"/>
                  </a:lnTo>
                  <a:lnTo>
                    <a:pt x="124312" y="1765599"/>
                  </a:lnTo>
                  <a:lnTo>
                    <a:pt x="124572" y="1765912"/>
                  </a:lnTo>
                  <a:lnTo>
                    <a:pt x="129335" y="1773004"/>
                  </a:lnTo>
                  <a:lnTo>
                    <a:pt x="134667" y="1780129"/>
                  </a:lnTo>
                  <a:lnTo>
                    <a:pt x="134787" y="1782086"/>
                  </a:lnTo>
                  <a:lnTo>
                    <a:pt x="131803" y="1787437"/>
                  </a:lnTo>
                  <a:lnTo>
                    <a:pt x="130212" y="1788367"/>
                  </a:lnTo>
                  <a:lnTo>
                    <a:pt x="124278" y="1788367"/>
                  </a:lnTo>
                  <a:lnTo>
                    <a:pt x="123126" y="1787982"/>
                  </a:lnTo>
                  <a:lnTo>
                    <a:pt x="117351" y="1783344"/>
                  </a:lnTo>
                  <a:lnTo>
                    <a:pt x="110510" y="1779926"/>
                  </a:lnTo>
                  <a:lnTo>
                    <a:pt x="109676" y="1779680"/>
                  </a:lnTo>
                  <a:lnTo>
                    <a:pt x="112077" y="1783156"/>
                  </a:lnTo>
                  <a:lnTo>
                    <a:pt x="112395" y="1783995"/>
                  </a:lnTo>
                  <a:lnTo>
                    <a:pt x="112959" y="1789727"/>
                  </a:lnTo>
                  <a:lnTo>
                    <a:pt x="115152" y="1795753"/>
                  </a:lnTo>
                  <a:lnTo>
                    <a:pt x="121492" y="1803225"/>
                  </a:lnTo>
                  <a:lnTo>
                    <a:pt x="121742" y="1803596"/>
                  </a:lnTo>
                  <a:lnTo>
                    <a:pt x="124572" y="1809294"/>
                  </a:lnTo>
                  <a:lnTo>
                    <a:pt x="125575" y="1810277"/>
                  </a:lnTo>
                  <a:lnTo>
                    <a:pt x="125763" y="1810499"/>
                  </a:lnTo>
                  <a:lnTo>
                    <a:pt x="130492" y="1817026"/>
                  </a:lnTo>
                  <a:lnTo>
                    <a:pt x="130690" y="1817340"/>
                  </a:lnTo>
                  <a:lnTo>
                    <a:pt x="133669" y="1823882"/>
                  </a:lnTo>
                  <a:lnTo>
                    <a:pt x="133760" y="1824118"/>
                  </a:lnTo>
                  <a:lnTo>
                    <a:pt x="135371" y="1829454"/>
                  </a:lnTo>
                  <a:lnTo>
                    <a:pt x="140789" y="1833272"/>
                  </a:lnTo>
                  <a:lnTo>
                    <a:pt x="141329" y="1833908"/>
                  </a:lnTo>
                  <a:lnTo>
                    <a:pt x="144887" y="1840445"/>
                  </a:lnTo>
                  <a:lnTo>
                    <a:pt x="145012" y="1841978"/>
                  </a:lnTo>
                  <a:lnTo>
                    <a:pt x="143223" y="1846428"/>
                  </a:lnTo>
                  <a:lnTo>
                    <a:pt x="148353" y="1849219"/>
                  </a:lnTo>
                  <a:lnTo>
                    <a:pt x="148603" y="1849393"/>
                  </a:lnTo>
                  <a:lnTo>
                    <a:pt x="154552" y="1854165"/>
                  </a:lnTo>
                  <a:lnTo>
                    <a:pt x="155251" y="1855573"/>
                  </a:lnTo>
                  <a:lnTo>
                    <a:pt x="155251" y="1861546"/>
                  </a:lnTo>
                  <a:lnTo>
                    <a:pt x="154711" y="1862809"/>
                  </a:lnTo>
                  <a:lnTo>
                    <a:pt x="148786" y="1868743"/>
                  </a:lnTo>
                  <a:lnTo>
                    <a:pt x="143990" y="1874055"/>
                  </a:lnTo>
                  <a:lnTo>
                    <a:pt x="144467" y="1878722"/>
                  </a:lnTo>
                  <a:lnTo>
                    <a:pt x="148946" y="1884854"/>
                  </a:lnTo>
                  <a:lnTo>
                    <a:pt x="149293" y="1885948"/>
                  </a:lnTo>
                  <a:lnTo>
                    <a:pt x="149293" y="1892485"/>
                  </a:lnTo>
                  <a:lnTo>
                    <a:pt x="148700" y="1893825"/>
                  </a:lnTo>
                  <a:lnTo>
                    <a:pt x="147461" y="1894216"/>
                  </a:lnTo>
                  <a:lnTo>
                    <a:pt x="150445" y="1894216"/>
                  </a:lnTo>
                  <a:lnTo>
                    <a:pt x="151081" y="1894326"/>
                  </a:lnTo>
                  <a:lnTo>
                    <a:pt x="159267" y="1897257"/>
                  </a:lnTo>
                  <a:lnTo>
                    <a:pt x="165644" y="1898400"/>
                  </a:lnTo>
                  <a:lnTo>
                    <a:pt x="165847" y="1898462"/>
                  </a:lnTo>
                  <a:lnTo>
                    <a:pt x="171564" y="1900164"/>
                  </a:lnTo>
                  <a:lnTo>
                    <a:pt x="177426" y="1900164"/>
                  </a:lnTo>
                  <a:lnTo>
                    <a:pt x="183626" y="1897378"/>
                  </a:lnTo>
                  <a:lnTo>
                    <a:pt x="191286" y="1893820"/>
                  </a:lnTo>
                  <a:lnTo>
                    <a:pt x="197770" y="1890292"/>
                  </a:lnTo>
                  <a:lnTo>
                    <a:pt x="198180" y="1890132"/>
                  </a:lnTo>
                  <a:lnTo>
                    <a:pt x="204731" y="1888310"/>
                  </a:lnTo>
                  <a:lnTo>
                    <a:pt x="205035" y="1888305"/>
                  </a:lnTo>
                  <a:lnTo>
                    <a:pt x="211364" y="1887732"/>
                  </a:lnTo>
                  <a:lnTo>
                    <a:pt x="212964" y="1887182"/>
                  </a:lnTo>
                  <a:lnTo>
                    <a:pt x="212974" y="1887182"/>
                  </a:lnTo>
                  <a:lnTo>
                    <a:pt x="218947" y="1885370"/>
                  </a:lnTo>
                  <a:lnTo>
                    <a:pt x="219800" y="1885346"/>
                  </a:lnTo>
                  <a:lnTo>
                    <a:pt x="226347" y="1886517"/>
                  </a:lnTo>
                  <a:lnTo>
                    <a:pt x="227224" y="1886970"/>
                  </a:lnTo>
                  <a:lnTo>
                    <a:pt x="232657" y="1891863"/>
                  </a:lnTo>
                  <a:lnTo>
                    <a:pt x="237830" y="1891863"/>
                  </a:lnTo>
                  <a:lnTo>
                    <a:pt x="242029" y="1888156"/>
                  </a:lnTo>
                  <a:lnTo>
                    <a:pt x="242357" y="1887857"/>
                  </a:lnTo>
                  <a:cubicBezTo>
                    <a:pt x="251400" y="1867673"/>
                    <a:pt x="257956" y="1873776"/>
                    <a:pt x="239025" y="1852121"/>
                  </a:cubicBezTo>
                  <a:lnTo>
                    <a:pt x="238519" y="1851152"/>
                  </a:lnTo>
                  <a:lnTo>
                    <a:pt x="236726" y="1841636"/>
                  </a:lnTo>
                  <a:lnTo>
                    <a:pt x="236707" y="1841149"/>
                  </a:lnTo>
                  <a:lnTo>
                    <a:pt x="237304" y="1834010"/>
                  </a:lnTo>
                  <a:lnTo>
                    <a:pt x="237381" y="1833581"/>
                  </a:lnTo>
                  <a:lnTo>
                    <a:pt x="239782" y="1826427"/>
                  </a:lnTo>
                  <a:lnTo>
                    <a:pt x="240168" y="1825795"/>
                  </a:lnTo>
                  <a:lnTo>
                    <a:pt x="245046" y="1820362"/>
                  </a:lnTo>
                  <a:lnTo>
                    <a:pt x="245046" y="1818097"/>
                  </a:lnTo>
                  <a:lnTo>
                    <a:pt x="245432" y="1816930"/>
                  </a:lnTo>
                  <a:lnTo>
                    <a:pt x="250180" y="1810976"/>
                  </a:lnTo>
                  <a:lnTo>
                    <a:pt x="255570" y="1804440"/>
                  </a:lnTo>
                  <a:lnTo>
                    <a:pt x="255768" y="1804203"/>
                  </a:lnTo>
                  <a:lnTo>
                    <a:pt x="259957" y="1800636"/>
                  </a:lnTo>
                  <a:lnTo>
                    <a:pt x="260791" y="1800270"/>
                  </a:lnTo>
                  <a:lnTo>
                    <a:pt x="266735" y="1799055"/>
                  </a:lnTo>
                  <a:lnTo>
                    <a:pt x="268181" y="1799392"/>
                  </a:lnTo>
                  <a:lnTo>
                    <a:pt x="268904" y="1800660"/>
                  </a:lnTo>
                  <a:lnTo>
                    <a:pt x="269280" y="1805052"/>
                  </a:lnTo>
                  <a:lnTo>
                    <a:pt x="273122" y="1804025"/>
                  </a:lnTo>
                  <a:lnTo>
                    <a:pt x="276265" y="1799518"/>
                  </a:lnTo>
                  <a:lnTo>
                    <a:pt x="273233" y="1793974"/>
                  </a:lnTo>
                  <a:lnTo>
                    <a:pt x="273180" y="1793863"/>
                  </a:lnTo>
                  <a:lnTo>
                    <a:pt x="270191" y="1787297"/>
                  </a:lnTo>
                  <a:lnTo>
                    <a:pt x="270264" y="1785668"/>
                  </a:lnTo>
                  <a:cubicBezTo>
                    <a:pt x="273079" y="1783937"/>
                    <a:pt x="288023" y="1782857"/>
                    <a:pt x="292752" y="1781816"/>
                  </a:cubicBezTo>
                  <a:lnTo>
                    <a:pt x="298402" y="1778991"/>
                  </a:lnTo>
                  <a:lnTo>
                    <a:pt x="299761" y="1778842"/>
                  </a:lnTo>
                  <a:lnTo>
                    <a:pt x="305623" y="1780625"/>
                  </a:lnTo>
                  <a:lnTo>
                    <a:pt x="310840" y="1781671"/>
                  </a:lnTo>
                  <a:lnTo>
                    <a:pt x="316798" y="1778417"/>
                  </a:lnTo>
                  <a:lnTo>
                    <a:pt x="318596" y="1778427"/>
                  </a:lnTo>
                  <a:lnTo>
                    <a:pt x="319488" y="1780003"/>
                  </a:lnTo>
                  <a:lnTo>
                    <a:pt x="319488" y="1783508"/>
                  </a:lnTo>
                  <a:lnTo>
                    <a:pt x="323369" y="1781396"/>
                  </a:lnTo>
                  <a:lnTo>
                    <a:pt x="324072" y="1781189"/>
                  </a:lnTo>
                  <a:lnTo>
                    <a:pt x="329968" y="1780668"/>
                  </a:lnTo>
                  <a:lnTo>
                    <a:pt x="335425" y="1775168"/>
                  </a:lnTo>
                  <a:lnTo>
                    <a:pt x="336558" y="1774633"/>
                  </a:lnTo>
                  <a:lnTo>
                    <a:pt x="342487" y="1774035"/>
                  </a:lnTo>
                  <a:lnTo>
                    <a:pt x="343336" y="1774165"/>
                  </a:lnTo>
                  <a:lnTo>
                    <a:pt x="349058" y="1776455"/>
                  </a:lnTo>
                  <a:lnTo>
                    <a:pt x="354771" y="1777024"/>
                  </a:lnTo>
                  <a:lnTo>
                    <a:pt x="356053" y="1777728"/>
                  </a:lnTo>
                  <a:lnTo>
                    <a:pt x="356347" y="1779174"/>
                  </a:lnTo>
                  <a:lnTo>
                    <a:pt x="355320" y="1784289"/>
                  </a:lnTo>
                  <a:lnTo>
                    <a:pt x="357933" y="1787557"/>
                  </a:lnTo>
                  <a:cubicBezTo>
                    <a:pt x="371759" y="1756044"/>
                    <a:pt x="368664" y="1779266"/>
                    <a:pt x="371272" y="1742026"/>
                  </a:cubicBezTo>
                  <a:cubicBezTo>
                    <a:pt x="372824" y="1736096"/>
                    <a:pt x="374897" y="1730012"/>
                    <a:pt x="378937" y="1725284"/>
                  </a:cubicBezTo>
                  <a:lnTo>
                    <a:pt x="378937" y="1719918"/>
                  </a:lnTo>
                  <a:lnTo>
                    <a:pt x="379139" y="1719108"/>
                  </a:lnTo>
                  <a:lnTo>
                    <a:pt x="382104" y="1713140"/>
                  </a:lnTo>
                  <a:lnTo>
                    <a:pt x="382919" y="1712345"/>
                  </a:lnTo>
                  <a:lnTo>
                    <a:pt x="387865" y="1709872"/>
                  </a:lnTo>
                  <a:lnTo>
                    <a:pt x="387865" y="1705118"/>
                  </a:lnTo>
                  <a:lnTo>
                    <a:pt x="387262" y="1698644"/>
                  </a:lnTo>
                  <a:cubicBezTo>
                    <a:pt x="387214" y="1697883"/>
                    <a:pt x="387633" y="1697140"/>
                    <a:pt x="388352" y="1696837"/>
                  </a:cubicBezTo>
                  <a:lnTo>
                    <a:pt x="392984" y="1694740"/>
                  </a:lnTo>
                  <a:lnTo>
                    <a:pt x="389938" y="1689957"/>
                  </a:lnTo>
                  <a:lnTo>
                    <a:pt x="389716" y="1688487"/>
                  </a:lnTo>
                  <a:lnTo>
                    <a:pt x="391413" y="1682249"/>
                  </a:lnTo>
                  <a:lnTo>
                    <a:pt x="390844" y="1676642"/>
                  </a:lnTo>
                  <a:lnTo>
                    <a:pt x="390844" y="1676107"/>
                  </a:lnTo>
                  <a:lnTo>
                    <a:pt x="391948" y="1670785"/>
                  </a:lnTo>
                  <a:lnTo>
                    <a:pt x="389258" y="1665391"/>
                  </a:lnTo>
                  <a:lnTo>
                    <a:pt x="389065" y="1664364"/>
                  </a:lnTo>
                  <a:lnTo>
                    <a:pt x="389668" y="1658425"/>
                  </a:lnTo>
                  <a:cubicBezTo>
                    <a:pt x="389754" y="1657634"/>
                    <a:pt x="390343" y="1656984"/>
                    <a:pt x="391133" y="1656815"/>
                  </a:cubicBezTo>
                  <a:lnTo>
                    <a:pt x="396185" y="1655822"/>
                  </a:lnTo>
                  <a:lnTo>
                    <a:pt x="398109" y="1651980"/>
                  </a:lnTo>
                  <a:cubicBezTo>
                    <a:pt x="395298" y="1649815"/>
                    <a:pt x="392546" y="1647386"/>
                    <a:pt x="391099" y="1644064"/>
                  </a:cubicBezTo>
                  <a:lnTo>
                    <a:pt x="390960" y="1643794"/>
                  </a:lnTo>
                  <a:lnTo>
                    <a:pt x="388578" y="1637870"/>
                  </a:lnTo>
                  <a:lnTo>
                    <a:pt x="388520" y="1636722"/>
                  </a:lnTo>
                  <a:lnTo>
                    <a:pt x="389938" y="1631487"/>
                  </a:lnTo>
                  <a:lnTo>
                    <a:pt x="388149" y="1630393"/>
                  </a:lnTo>
                  <a:cubicBezTo>
                    <a:pt x="387276" y="1629882"/>
                    <a:pt x="387007" y="1628787"/>
                    <a:pt x="387537" y="1627920"/>
                  </a:cubicBezTo>
                  <a:lnTo>
                    <a:pt x="391017" y="1622101"/>
                  </a:lnTo>
                  <a:lnTo>
                    <a:pt x="393346" y="1616249"/>
                  </a:lnTo>
                  <a:lnTo>
                    <a:pt x="393510" y="1615931"/>
                  </a:lnTo>
                  <a:lnTo>
                    <a:pt x="397926" y="1609341"/>
                  </a:lnTo>
                  <a:lnTo>
                    <a:pt x="397400" y="1604033"/>
                  </a:lnTo>
                  <a:lnTo>
                    <a:pt x="397598" y="1602992"/>
                  </a:lnTo>
                  <a:lnTo>
                    <a:pt x="400832" y="1597077"/>
                  </a:lnTo>
                  <a:lnTo>
                    <a:pt x="399531" y="1592319"/>
                  </a:lnTo>
                  <a:lnTo>
                    <a:pt x="394681" y="1591369"/>
                  </a:lnTo>
                  <a:lnTo>
                    <a:pt x="393587" y="1590704"/>
                  </a:lnTo>
                  <a:lnTo>
                    <a:pt x="388863" y="1584774"/>
                  </a:lnTo>
                  <a:lnTo>
                    <a:pt x="388578" y="1582971"/>
                  </a:lnTo>
                  <a:lnTo>
                    <a:pt x="389991" y="1581819"/>
                  </a:lnTo>
                  <a:lnTo>
                    <a:pt x="394406" y="1581110"/>
                  </a:lnTo>
                  <a:lnTo>
                    <a:pt x="391702" y="1576854"/>
                  </a:lnTo>
                  <a:lnTo>
                    <a:pt x="391451" y="1576246"/>
                  </a:lnTo>
                  <a:lnTo>
                    <a:pt x="390280" y="1570279"/>
                  </a:lnTo>
                  <a:lnTo>
                    <a:pt x="390800" y="1568639"/>
                  </a:lnTo>
                  <a:lnTo>
                    <a:pt x="392488" y="1568167"/>
                  </a:lnTo>
                  <a:lnTo>
                    <a:pt x="396624" y="1569179"/>
                  </a:lnTo>
                  <a:lnTo>
                    <a:pt x="395660" y="1565631"/>
                  </a:lnTo>
                  <a:lnTo>
                    <a:pt x="395597" y="1565004"/>
                  </a:lnTo>
                  <a:lnTo>
                    <a:pt x="396098" y="1560054"/>
                  </a:lnTo>
                  <a:lnTo>
                    <a:pt x="394541" y="1558901"/>
                  </a:lnTo>
                  <a:lnTo>
                    <a:pt x="394411" y="1558771"/>
                  </a:lnTo>
                  <a:lnTo>
                    <a:pt x="387855" y="1552837"/>
                  </a:lnTo>
                  <a:lnTo>
                    <a:pt x="381309" y="1546879"/>
                  </a:lnTo>
                  <a:lnTo>
                    <a:pt x="380725" y="1545514"/>
                  </a:lnTo>
                  <a:lnTo>
                    <a:pt x="380725" y="1542545"/>
                  </a:lnTo>
                  <a:lnTo>
                    <a:pt x="381516" y="1541089"/>
                  </a:lnTo>
                  <a:lnTo>
                    <a:pt x="383198" y="1540877"/>
                  </a:lnTo>
                  <a:lnTo>
                    <a:pt x="388737" y="1543094"/>
                  </a:lnTo>
                  <a:lnTo>
                    <a:pt x="394262" y="1542545"/>
                  </a:lnTo>
                  <a:lnTo>
                    <a:pt x="394450" y="1542545"/>
                  </a:lnTo>
                  <a:lnTo>
                    <a:pt x="398571" y="1542545"/>
                  </a:lnTo>
                  <a:lnTo>
                    <a:pt x="398571" y="1538500"/>
                  </a:lnTo>
                  <a:lnTo>
                    <a:pt x="398157" y="1534272"/>
                  </a:lnTo>
                  <a:lnTo>
                    <a:pt x="393249" y="1534272"/>
                  </a:lnTo>
                  <a:lnTo>
                    <a:pt x="391630" y="1533299"/>
                  </a:lnTo>
                  <a:lnTo>
                    <a:pt x="391731" y="1531447"/>
                  </a:lnTo>
                  <a:lnTo>
                    <a:pt x="392560" y="1530204"/>
                  </a:lnTo>
                  <a:lnTo>
                    <a:pt x="392020" y="1524294"/>
                  </a:lnTo>
                  <a:lnTo>
                    <a:pt x="392811" y="1522606"/>
                  </a:lnTo>
                  <a:lnTo>
                    <a:pt x="394648" y="1522481"/>
                  </a:lnTo>
                  <a:lnTo>
                    <a:pt x="399083" y="1524713"/>
                  </a:lnTo>
                  <a:lnTo>
                    <a:pt x="401194" y="1521203"/>
                  </a:lnTo>
                  <a:lnTo>
                    <a:pt x="397708" y="1516214"/>
                  </a:lnTo>
                  <a:lnTo>
                    <a:pt x="397656" y="1514214"/>
                  </a:lnTo>
                  <a:lnTo>
                    <a:pt x="401647" y="1507956"/>
                  </a:lnTo>
                  <a:lnTo>
                    <a:pt x="402645" y="1502499"/>
                  </a:lnTo>
                  <a:lnTo>
                    <a:pt x="399203" y="1497616"/>
                  </a:lnTo>
                  <a:lnTo>
                    <a:pt x="393756" y="1495466"/>
                  </a:lnTo>
                  <a:lnTo>
                    <a:pt x="392647" y="1494126"/>
                  </a:lnTo>
                  <a:lnTo>
                    <a:pt x="393153" y="1492472"/>
                  </a:lnTo>
                  <a:lnTo>
                    <a:pt x="396942" y="1488669"/>
                  </a:lnTo>
                  <a:lnTo>
                    <a:pt x="393905" y="1487777"/>
                  </a:lnTo>
                  <a:lnTo>
                    <a:pt x="393756" y="1487724"/>
                  </a:lnTo>
                  <a:lnTo>
                    <a:pt x="387812" y="1485337"/>
                  </a:lnTo>
                  <a:cubicBezTo>
                    <a:pt x="386954" y="1484990"/>
                    <a:pt x="386501" y="1484094"/>
                    <a:pt x="386727" y="1483217"/>
                  </a:cubicBezTo>
                  <a:cubicBezTo>
                    <a:pt x="386939" y="1482320"/>
                    <a:pt x="387744" y="1481756"/>
                    <a:pt x="388655" y="1481838"/>
                  </a:cubicBezTo>
                  <a:lnTo>
                    <a:pt x="392396" y="1482233"/>
                  </a:lnTo>
                  <a:lnTo>
                    <a:pt x="392102" y="1479316"/>
                  </a:lnTo>
                  <a:lnTo>
                    <a:pt x="385840" y="1475132"/>
                  </a:lnTo>
                  <a:lnTo>
                    <a:pt x="380113" y="1472823"/>
                  </a:lnTo>
                  <a:lnTo>
                    <a:pt x="372921" y="1470437"/>
                  </a:lnTo>
                  <a:lnTo>
                    <a:pt x="369951" y="1469246"/>
                  </a:lnTo>
                  <a:cubicBezTo>
                    <a:pt x="369156" y="1468928"/>
                    <a:pt x="368698" y="1468137"/>
                    <a:pt x="368799" y="1467313"/>
                  </a:cubicBezTo>
                  <a:cubicBezTo>
                    <a:pt x="368948" y="1466474"/>
                    <a:pt x="369604" y="1465823"/>
                    <a:pt x="370443" y="1465770"/>
                  </a:cubicBezTo>
                  <a:lnTo>
                    <a:pt x="377013" y="1465158"/>
                  </a:lnTo>
                  <a:lnTo>
                    <a:pt x="377982" y="1465356"/>
                  </a:lnTo>
                  <a:lnTo>
                    <a:pt x="383695" y="1468209"/>
                  </a:lnTo>
                  <a:lnTo>
                    <a:pt x="389754" y="1469304"/>
                  </a:lnTo>
                  <a:lnTo>
                    <a:pt x="395703" y="1468783"/>
                  </a:lnTo>
                  <a:lnTo>
                    <a:pt x="401238" y="1466002"/>
                  </a:lnTo>
                  <a:lnTo>
                    <a:pt x="404834" y="1463476"/>
                  </a:lnTo>
                  <a:lnTo>
                    <a:pt x="400596" y="1460771"/>
                  </a:lnTo>
                  <a:lnTo>
                    <a:pt x="400302" y="1460521"/>
                  </a:lnTo>
                  <a:lnTo>
                    <a:pt x="394532" y="1454755"/>
                  </a:lnTo>
                  <a:lnTo>
                    <a:pt x="387113" y="1450763"/>
                  </a:lnTo>
                  <a:lnTo>
                    <a:pt x="381853" y="1448686"/>
                  </a:lnTo>
                  <a:lnTo>
                    <a:pt x="376493" y="1450262"/>
                  </a:lnTo>
                  <a:lnTo>
                    <a:pt x="375803" y="1450354"/>
                  </a:lnTo>
                  <a:lnTo>
                    <a:pt x="369932" y="1449751"/>
                  </a:lnTo>
                  <a:lnTo>
                    <a:pt x="363814" y="1449751"/>
                  </a:lnTo>
                  <a:lnTo>
                    <a:pt x="358193" y="1452036"/>
                  </a:lnTo>
                  <a:lnTo>
                    <a:pt x="356742" y="1451964"/>
                  </a:lnTo>
                  <a:lnTo>
                    <a:pt x="355797" y="1450845"/>
                  </a:lnTo>
                  <a:lnTo>
                    <a:pt x="353985" y="1444887"/>
                  </a:lnTo>
                  <a:lnTo>
                    <a:pt x="354206" y="1443407"/>
                  </a:lnTo>
                  <a:lnTo>
                    <a:pt x="355441" y="1442554"/>
                  </a:lnTo>
                  <a:lnTo>
                    <a:pt x="362570" y="1441382"/>
                  </a:lnTo>
                  <a:lnTo>
                    <a:pt x="363053" y="1441382"/>
                  </a:lnTo>
                  <a:lnTo>
                    <a:pt x="368924" y="1441956"/>
                  </a:lnTo>
                  <a:lnTo>
                    <a:pt x="375374" y="1441956"/>
                  </a:lnTo>
                  <a:lnTo>
                    <a:pt x="375702" y="1441980"/>
                  </a:lnTo>
                  <a:lnTo>
                    <a:pt x="382167" y="1443161"/>
                  </a:lnTo>
                  <a:lnTo>
                    <a:pt x="388554" y="1443749"/>
                  </a:lnTo>
                  <a:lnTo>
                    <a:pt x="393823" y="1443749"/>
                  </a:lnTo>
                  <a:lnTo>
                    <a:pt x="394011" y="1443749"/>
                  </a:lnTo>
                  <a:lnTo>
                    <a:pt x="399762" y="1444333"/>
                  </a:lnTo>
                  <a:lnTo>
                    <a:pt x="405590" y="1443802"/>
                  </a:lnTo>
                  <a:lnTo>
                    <a:pt x="408589" y="1441378"/>
                  </a:lnTo>
                  <a:lnTo>
                    <a:pt x="405113" y="1440114"/>
                  </a:lnTo>
                  <a:cubicBezTo>
                    <a:pt x="404308" y="1439825"/>
                    <a:pt x="403807" y="1439015"/>
                    <a:pt x="403922" y="1438167"/>
                  </a:cubicBezTo>
                  <a:cubicBezTo>
                    <a:pt x="404029" y="1437362"/>
                    <a:pt x="404694" y="1436668"/>
                    <a:pt x="405533" y="1436595"/>
                  </a:cubicBezTo>
                  <a:lnTo>
                    <a:pt x="411501" y="1436007"/>
                  </a:lnTo>
                  <a:lnTo>
                    <a:pt x="411665" y="1436007"/>
                  </a:lnTo>
                  <a:lnTo>
                    <a:pt x="411337" y="1435781"/>
                  </a:lnTo>
                  <a:lnTo>
                    <a:pt x="410628" y="1435057"/>
                  </a:lnTo>
                  <a:lnTo>
                    <a:pt x="407634" y="1429123"/>
                  </a:lnTo>
                  <a:lnTo>
                    <a:pt x="407562" y="1427706"/>
                  </a:lnTo>
                  <a:lnTo>
                    <a:pt x="408526" y="1426621"/>
                  </a:lnTo>
                  <a:lnTo>
                    <a:pt x="415097" y="1423642"/>
                  </a:lnTo>
                  <a:lnTo>
                    <a:pt x="416712" y="1423739"/>
                  </a:lnTo>
                  <a:lnTo>
                    <a:pt x="422309" y="1426771"/>
                  </a:lnTo>
                  <a:lnTo>
                    <a:pt x="427959" y="1423179"/>
                  </a:lnTo>
                  <a:lnTo>
                    <a:pt x="429289" y="1422943"/>
                  </a:lnTo>
                  <a:lnTo>
                    <a:pt x="431222" y="1423319"/>
                  </a:lnTo>
                  <a:lnTo>
                    <a:pt x="429757" y="1420894"/>
                  </a:lnTo>
                  <a:lnTo>
                    <a:pt x="429574" y="1419443"/>
                  </a:lnTo>
                  <a:lnTo>
                    <a:pt x="431357" y="1413495"/>
                  </a:lnTo>
                  <a:lnTo>
                    <a:pt x="432702" y="1412246"/>
                  </a:lnTo>
                  <a:lnTo>
                    <a:pt x="434438" y="1412781"/>
                  </a:lnTo>
                  <a:lnTo>
                    <a:pt x="437388" y="1416054"/>
                  </a:lnTo>
                  <a:lnTo>
                    <a:pt x="437807" y="1413904"/>
                  </a:lnTo>
                  <a:lnTo>
                    <a:pt x="437229" y="1408235"/>
                  </a:lnTo>
                  <a:lnTo>
                    <a:pt x="437952" y="1406582"/>
                  </a:lnTo>
                  <a:lnTo>
                    <a:pt x="439721" y="1406365"/>
                  </a:lnTo>
                  <a:lnTo>
                    <a:pt x="441741" y="1407170"/>
                  </a:lnTo>
                  <a:lnTo>
                    <a:pt x="440907" y="1405160"/>
                  </a:lnTo>
                  <a:lnTo>
                    <a:pt x="441196" y="1403337"/>
                  </a:lnTo>
                  <a:lnTo>
                    <a:pt x="445116" y="1398430"/>
                  </a:lnTo>
                  <a:lnTo>
                    <a:pt x="443462" y="1395966"/>
                  </a:lnTo>
                  <a:cubicBezTo>
                    <a:pt x="442961" y="1395209"/>
                    <a:pt x="443115" y="1394197"/>
                    <a:pt x="443799" y="1393595"/>
                  </a:cubicBezTo>
                  <a:lnTo>
                    <a:pt x="446181" y="1393595"/>
                  </a:lnTo>
                  <a:lnTo>
                    <a:pt x="450004" y="1397032"/>
                  </a:lnTo>
                  <a:lnTo>
                    <a:pt x="450910" y="1394115"/>
                  </a:lnTo>
                  <a:lnTo>
                    <a:pt x="450910" y="1388171"/>
                  </a:lnTo>
                  <a:lnTo>
                    <a:pt x="450683" y="1387588"/>
                  </a:lnTo>
                  <a:lnTo>
                    <a:pt x="450307" y="1388894"/>
                  </a:lnTo>
                  <a:cubicBezTo>
                    <a:pt x="450095" y="1389699"/>
                    <a:pt x="449358" y="1390235"/>
                    <a:pt x="448562" y="1390235"/>
                  </a:cubicBezTo>
                  <a:cubicBezTo>
                    <a:pt x="447743" y="1390235"/>
                    <a:pt x="447029" y="1389699"/>
                    <a:pt x="446798" y="1388894"/>
                  </a:cubicBezTo>
                  <a:lnTo>
                    <a:pt x="445029" y="1382358"/>
                  </a:lnTo>
                  <a:lnTo>
                    <a:pt x="445029" y="1381369"/>
                  </a:lnTo>
                  <a:lnTo>
                    <a:pt x="446716" y="1375739"/>
                  </a:lnTo>
                  <a:lnTo>
                    <a:pt x="446133" y="1369549"/>
                  </a:lnTo>
                  <a:cubicBezTo>
                    <a:pt x="446065" y="1368652"/>
                    <a:pt x="446677" y="1367784"/>
                    <a:pt x="447579" y="1367587"/>
                  </a:cubicBezTo>
                  <a:cubicBezTo>
                    <a:pt x="448451" y="1367389"/>
                    <a:pt x="449358" y="1367891"/>
                    <a:pt x="449671" y="1368768"/>
                  </a:cubicBezTo>
                  <a:lnTo>
                    <a:pt x="451508" y="1373825"/>
                  </a:lnTo>
                  <a:lnTo>
                    <a:pt x="455924" y="1372952"/>
                  </a:lnTo>
                  <a:lnTo>
                    <a:pt x="457630" y="1373487"/>
                  </a:lnTo>
                  <a:lnTo>
                    <a:pt x="458059" y="1375213"/>
                  </a:lnTo>
                  <a:lnTo>
                    <a:pt x="456357" y="1381451"/>
                  </a:lnTo>
                  <a:lnTo>
                    <a:pt x="456912" y="1387062"/>
                  </a:lnTo>
                  <a:lnTo>
                    <a:pt x="456912" y="1387222"/>
                  </a:lnTo>
                  <a:lnTo>
                    <a:pt x="456912" y="1392158"/>
                  </a:lnTo>
                  <a:lnTo>
                    <a:pt x="457052" y="1392009"/>
                  </a:lnTo>
                  <a:lnTo>
                    <a:pt x="458912" y="1392640"/>
                  </a:lnTo>
                  <a:lnTo>
                    <a:pt x="463246" y="1398054"/>
                  </a:lnTo>
                  <a:cubicBezTo>
                    <a:pt x="463810" y="1398203"/>
                    <a:pt x="464321" y="1398497"/>
                    <a:pt x="464538" y="1399066"/>
                  </a:cubicBezTo>
                  <a:lnTo>
                    <a:pt x="465897" y="1402465"/>
                  </a:lnTo>
                  <a:lnTo>
                    <a:pt x="469359" y="1398955"/>
                  </a:lnTo>
                  <a:lnTo>
                    <a:pt x="469359" y="1393195"/>
                  </a:lnTo>
                  <a:lnTo>
                    <a:pt x="469759" y="1392042"/>
                  </a:lnTo>
                  <a:lnTo>
                    <a:pt x="474054" y="1386677"/>
                  </a:lnTo>
                  <a:lnTo>
                    <a:pt x="473538" y="1380849"/>
                  </a:lnTo>
                  <a:lnTo>
                    <a:pt x="473992" y="1379465"/>
                  </a:lnTo>
                  <a:lnTo>
                    <a:pt x="479338" y="1373526"/>
                  </a:lnTo>
                  <a:lnTo>
                    <a:pt x="479429" y="1373439"/>
                  </a:lnTo>
                  <a:lnTo>
                    <a:pt x="484766" y="1368112"/>
                  </a:lnTo>
                  <a:lnTo>
                    <a:pt x="486901" y="1367751"/>
                  </a:lnTo>
                  <a:cubicBezTo>
                    <a:pt x="487605" y="1368146"/>
                    <a:pt x="488001" y="1368927"/>
                    <a:pt x="487837" y="1369718"/>
                  </a:cubicBezTo>
                  <a:lnTo>
                    <a:pt x="487268" y="1372832"/>
                  </a:lnTo>
                  <a:lnTo>
                    <a:pt x="489813" y="1371685"/>
                  </a:lnTo>
                  <a:lnTo>
                    <a:pt x="490835" y="1366054"/>
                  </a:lnTo>
                  <a:lnTo>
                    <a:pt x="491809" y="1364772"/>
                  </a:lnTo>
                  <a:lnTo>
                    <a:pt x="496109" y="1362612"/>
                  </a:lnTo>
                  <a:lnTo>
                    <a:pt x="493997" y="1358374"/>
                  </a:lnTo>
                  <a:lnTo>
                    <a:pt x="489876" y="1351895"/>
                  </a:lnTo>
                  <a:lnTo>
                    <a:pt x="489717" y="1351592"/>
                  </a:lnTo>
                  <a:lnTo>
                    <a:pt x="487326" y="1345662"/>
                  </a:lnTo>
                  <a:lnTo>
                    <a:pt x="487605" y="1343826"/>
                  </a:lnTo>
                  <a:lnTo>
                    <a:pt x="489341" y="1343204"/>
                  </a:lnTo>
                  <a:lnTo>
                    <a:pt x="495636" y="1344332"/>
                  </a:lnTo>
                  <a:cubicBezTo>
                    <a:pt x="494730" y="1344062"/>
                    <a:pt x="494219" y="1343165"/>
                    <a:pt x="494373" y="1342259"/>
                  </a:cubicBezTo>
                  <a:cubicBezTo>
                    <a:pt x="494561" y="1341353"/>
                    <a:pt x="495396" y="1340697"/>
                    <a:pt x="496331" y="1340774"/>
                  </a:cubicBezTo>
                  <a:lnTo>
                    <a:pt x="503465" y="1341386"/>
                  </a:lnTo>
                  <a:lnTo>
                    <a:pt x="504246" y="1341632"/>
                  </a:lnTo>
                  <a:lnTo>
                    <a:pt x="509164" y="1344587"/>
                  </a:lnTo>
                  <a:lnTo>
                    <a:pt x="513208" y="1341656"/>
                  </a:lnTo>
                  <a:lnTo>
                    <a:pt x="509790" y="1337404"/>
                  </a:lnTo>
                  <a:lnTo>
                    <a:pt x="503436" y="1332777"/>
                  </a:lnTo>
                  <a:lnTo>
                    <a:pt x="503224" y="1332593"/>
                  </a:lnTo>
                  <a:lnTo>
                    <a:pt x="499421" y="1328780"/>
                  </a:lnTo>
                  <a:lnTo>
                    <a:pt x="498736" y="1331109"/>
                  </a:lnTo>
                  <a:lnTo>
                    <a:pt x="501363" y="1336440"/>
                  </a:lnTo>
                  <a:lnTo>
                    <a:pt x="501108" y="1338475"/>
                  </a:lnTo>
                  <a:lnTo>
                    <a:pt x="499117" y="1338942"/>
                  </a:lnTo>
                  <a:lnTo>
                    <a:pt x="492951" y="1336710"/>
                  </a:lnTo>
                  <a:lnTo>
                    <a:pt x="487369" y="1337212"/>
                  </a:lnTo>
                  <a:lnTo>
                    <a:pt x="481840" y="1341661"/>
                  </a:lnTo>
                  <a:lnTo>
                    <a:pt x="480172" y="1341970"/>
                  </a:lnTo>
                  <a:lnTo>
                    <a:pt x="474223" y="1340181"/>
                  </a:lnTo>
                  <a:lnTo>
                    <a:pt x="473027" y="1339039"/>
                  </a:lnTo>
                  <a:lnTo>
                    <a:pt x="470661" y="1332507"/>
                  </a:lnTo>
                  <a:lnTo>
                    <a:pt x="470583" y="1331542"/>
                  </a:lnTo>
                  <a:lnTo>
                    <a:pt x="471755" y="1325589"/>
                  </a:lnTo>
                  <a:lnTo>
                    <a:pt x="472680" y="1324331"/>
                  </a:lnTo>
                  <a:lnTo>
                    <a:pt x="474213" y="1324244"/>
                  </a:lnTo>
                  <a:lnTo>
                    <a:pt x="480172" y="1326620"/>
                  </a:lnTo>
                  <a:lnTo>
                    <a:pt x="480529" y="1326842"/>
                  </a:lnTo>
                  <a:lnTo>
                    <a:pt x="482770" y="1328409"/>
                  </a:lnTo>
                  <a:lnTo>
                    <a:pt x="482476" y="1326900"/>
                  </a:lnTo>
                  <a:lnTo>
                    <a:pt x="483213" y="1325044"/>
                  </a:lnTo>
                  <a:lnTo>
                    <a:pt x="488926" y="1321077"/>
                  </a:lnTo>
                  <a:lnTo>
                    <a:pt x="493496" y="1314771"/>
                  </a:lnTo>
                  <a:lnTo>
                    <a:pt x="493814" y="1314419"/>
                  </a:lnTo>
                  <a:lnTo>
                    <a:pt x="500269" y="1309150"/>
                  </a:lnTo>
                  <a:lnTo>
                    <a:pt x="506695" y="1302180"/>
                  </a:lnTo>
                  <a:lnTo>
                    <a:pt x="505697" y="1297142"/>
                  </a:lnTo>
                  <a:lnTo>
                    <a:pt x="506006" y="1295729"/>
                  </a:lnTo>
                  <a:lnTo>
                    <a:pt x="510547" y="1289472"/>
                  </a:lnTo>
                  <a:lnTo>
                    <a:pt x="511063" y="1287419"/>
                  </a:lnTo>
                  <a:lnTo>
                    <a:pt x="512017" y="1286237"/>
                  </a:lnTo>
                  <a:lnTo>
                    <a:pt x="517923" y="1283277"/>
                  </a:lnTo>
                  <a:lnTo>
                    <a:pt x="522020" y="1280930"/>
                  </a:lnTo>
                  <a:lnTo>
                    <a:pt x="522363" y="1280790"/>
                  </a:lnTo>
                  <a:lnTo>
                    <a:pt x="524151" y="1280197"/>
                  </a:lnTo>
                  <a:lnTo>
                    <a:pt x="524715" y="1280081"/>
                  </a:lnTo>
                  <a:lnTo>
                    <a:pt x="529888" y="1280081"/>
                  </a:lnTo>
                  <a:lnTo>
                    <a:pt x="530717" y="1276967"/>
                  </a:lnTo>
                  <a:lnTo>
                    <a:pt x="526937" y="1276577"/>
                  </a:lnTo>
                  <a:cubicBezTo>
                    <a:pt x="526041" y="1276500"/>
                    <a:pt x="525351" y="1275781"/>
                    <a:pt x="525308" y="1274914"/>
                  </a:cubicBezTo>
                  <a:lnTo>
                    <a:pt x="524720" y="1268271"/>
                  </a:lnTo>
                  <a:lnTo>
                    <a:pt x="520328" y="1262225"/>
                  </a:lnTo>
                  <a:lnTo>
                    <a:pt x="515021" y="1256339"/>
                  </a:lnTo>
                  <a:lnTo>
                    <a:pt x="515021" y="1253881"/>
                  </a:lnTo>
                  <a:cubicBezTo>
                    <a:pt x="515344" y="1253553"/>
                    <a:pt x="515768" y="1253360"/>
                    <a:pt x="516192" y="1253331"/>
                  </a:cubicBezTo>
                  <a:lnTo>
                    <a:pt x="514129" y="1248144"/>
                  </a:lnTo>
                  <a:lnTo>
                    <a:pt x="512952" y="1245811"/>
                  </a:lnTo>
                  <a:lnTo>
                    <a:pt x="512943" y="1245787"/>
                  </a:lnTo>
                  <a:lnTo>
                    <a:pt x="509969" y="1239221"/>
                  </a:lnTo>
                  <a:lnTo>
                    <a:pt x="509867" y="1238946"/>
                  </a:lnTo>
                  <a:lnTo>
                    <a:pt x="508334" y="1233311"/>
                  </a:lnTo>
                  <a:lnTo>
                    <a:pt x="502728" y="1231262"/>
                  </a:lnTo>
                  <a:lnTo>
                    <a:pt x="497878" y="1229951"/>
                  </a:lnTo>
                  <a:lnTo>
                    <a:pt x="496070" y="1234931"/>
                  </a:lnTo>
                  <a:lnTo>
                    <a:pt x="494499" y="1236107"/>
                  </a:lnTo>
                  <a:lnTo>
                    <a:pt x="492778" y="1235205"/>
                  </a:lnTo>
                  <a:lnTo>
                    <a:pt x="489823" y="1229883"/>
                  </a:lnTo>
                  <a:lnTo>
                    <a:pt x="488974" y="1228611"/>
                  </a:lnTo>
                  <a:lnTo>
                    <a:pt x="482905" y="1225844"/>
                  </a:lnTo>
                  <a:lnTo>
                    <a:pt x="481902" y="1224667"/>
                  </a:lnTo>
                  <a:lnTo>
                    <a:pt x="480234" y="1218569"/>
                  </a:lnTo>
                  <a:lnTo>
                    <a:pt x="474633" y="1212958"/>
                  </a:lnTo>
                  <a:lnTo>
                    <a:pt x="474454" y="1210557"/>
                  </a:lnTo>
                  <a:cubicBezTo>
                    <a:pt x="475047" y="1209853"/>
                    <a:pt x="476040" y="1209656"/>
                    <a:pt x="476826" y="1210114"/>
                  </a:cubicBezTo>
                  <a:lnTo>
                    <a:pt x="483156" y="1213792"/>
                  </a:lnTo>
                  <a:lnTo>
                    <a:pt x="487085" y="1211979"/>
                  </a:lnTo>
                  <a:lnTo>
                    <a:pt x="482630" y="1209024"/>
                  </a:lnTo>
                  <a:lnTo>
                    <a:pt x="482596" y="1208995"/>
                  </a:lnTo>
                  <a:lnTo>
                    <a:pt x="476778" y="1204931"/>
                  </a:lnTo>
                  <a:lnTo>
                    <a:pt x="471731" y="1202410"/>
                  </a:lnTo>
                  <a:lnTo>
                    <a:pt x="466606" y="1204984"/>
                  </a:lnTo>
                  <a:lnTo>
                    <a:pt x="465054" y="1205018"/>
                  </a:lnTo>
                  <a:lnTo>
                    <a:pt x="464051" y="1203847"/>
                  </a:lnTo>
                  <a:lnTo>
                    <a:pt x="462465" y="1198086"/>
                  </a:lnTo>
                  <a:lnTo>
                    <a:pt x="457230" y="1195468"/>
                  </a:lnTo>
                  <a:lnTo>
                    <a:pt x="456483" y="1194760"/>
                  </a:lnTo>
                  <a:lnTo>
                    <a:pt x="452583" y="1188054"/>
                  </a:lnTo>
                  <a:lnTo>
                    <a:pt x="446485" y="1184728"/>
                  </a:lnTo>
                  <a:cubicBezTo>
                    <a:pt x="445771" y="1184342"/>
                    <a:pt x="445390" y="1183556"/>
                    <a:pt x="445569" y="1182785"/>
                  </a:cubicBezTo>
                  <a:lnTo>
                    <a:pt x="446615" y="1177482"/>
                  </a:lnTo>
                  <a:lnTo>
                    <a:pt x="444214" y="1173052"/>
                  </a:lnTo>
                  <a:lnTo>
                    <a:pt x="440107" y="1175110"/>
                  </a:lnTo>
                  <a:lnTo>
                    <a:pt x="433801" y="1181363"/>
                  </a:lnTo>
                  <a:lnTo>
                    <a:pt x="429120" y="1187239"/>
                  </a:lnTo>
                  <a:lnTo>
                    <a:pt x="427525" y="1187938"/>
                  </a:lnTo>
                  <a:lnTo>
                    <a:pt x="426108" y="1186969"/>
                  </a:lnTo>
                  <a:lnTo>
                    <a:pt x="422555" y="1180437"/>
                  </a:lnTo>
                  <a:lnTo>
                    <a:pt x="422323" y="1179762"/>
                  </a:lnTo>
                  <a:lnTo>
                    <a:pt x="421807" y="1174334"/>
                  </a:lnTo>
                  <a:lnTo>
                    <a:pt x="417565" y="1169167"/>
                  </a:lnTo>
                  <a:lnTo>
                    <a:pt x="410985" y="1171182"/>
                  </a:lnTo>
                  <a:lnTo>
                    <a:pt x="409891" y="1171162"/>
                  </a:lnTo>
                  <a:lnTo>
                    <a:pt x="405190" y="1169625"/>
                  </a:lnTo>
                  <a:lnTo>
                    <a:pt x="403566" y="1169822"/>
                  </a:lnTo>
                  <a:lnTo>
                    <a:pt x="397906" y="1166409"/>
                  </a:lnTo>
                  <a:lnTo>
                    <a:pt x="391683" y="1165281"/>
                  </a:lnTo>
                  <a:lnTo>
                    <a:pt x="390261" y="1163999"/>
                  </a:lnTo>
                  <a:lnTo>
                    <a:pt x="390762" y="1162133"/>
                  </a:lnTo>
                  <a:lnTo>
                    <a:pt x="396894" y="1156584"/>
                  </a:lnTo>
                  <a:lnTo>
                    <a:pt x="397723" y="1152400"/>
                  </a:lnTo>
                  <a:lnTo>
                    <a:pt x="392753" y="1148891"/>
                  </a:lnTo>
                  <a:lnTo>
                    <a:pt x="392001" y="1147088"/>
                  </a:lnTo>
                  <a:lnTo>
                    <a:pt x="393042" y="1141380"/>
                  </a:lnTo>
                  <a:lnTo>
                    <a:pt x="388197" y="1135455"/>
                  </a:lnTo>
                  <a:lnTo>
                    <a:pt x="388115" y="1135383"/>
                  </a:lnTo>
                  <a:lnTo>
                    <a:pt x="383989" y="1129420"/>
                  </a:lnTo>
                  <a:lnTo>
                    <a:pt x="383637" y="1128383"/>
                  </a:lnTo>
                  <a:lnTo>
                    <a:pt x="383637" y="1121933"/>
                  </a:lnTo>
                  <a:lnTo>
                    <a:pt x="383073" y="1116100"/>
                  </a:lnTo>
                  <a:lnTo>
                    <a:pt x="381868" y="1107177"/>
                  </a:lnTo>
                  <a:lnTo>
                    <a:pt x="381848" y="1106787"/>
                  </a:lnTo>
                  <a:lnTo>
                    <a:pt x="382417" y="1101180"/>
                  </a:lnTo>
                  <a:lnTo>
                    <a:pt x="380740" y="1095569"/>
                  </a:lnTo>
                  <a:lnTo>
                    <a:pt x="380971" y="1094070"/>
                  </a:lnTo>
                  <a:lnTo>
                    <a:pt x="381800" y="1092797"/>
                  </a:lnTo>
                  <a:lnTo>
                    <a:pt x="381328" y="1088015"/>
                  </a:lnTo>
                  <a:lnTo>
                    <a:pt x="377462" y="1083083"/>
                  </a:lnTo>
                  <a:lnTo>
                    <a:pt x="377312" y="1081092"/>
                  </a:lnTo>
                  <a:lnTo>
                    <a:pt x="379067" y="1080171"/>
                  </a:lnTo>
                  <a:lnTo>
                    <a:pt x="384047" y="1080576"/>
                  </a:lnTo>
                  <a:lnTo>
                    <a:pt x="383762" y="1077399"/>
                  </a:lnTo>
                  <a:lnTo>
                    <a:pt x="378999" y="1075977"/>
                  </a:lnTo>
                  <a:lnTo>
                    <a:pt x="377760" y="1074690"/>
                  </a:lnTo>
                  <a:lnTo>
                    <a:pt x="375972" y="1068158"/>
                  </a:lnTo>
                  <a:cubicBezTo>
                    <a:pt x="375726" y="1067252"/>
                    <a:pt x="376179" y="1066321"/>
                    <a:pt x="377037" y="1066003"/>
                  </a:cubicBezTo>
                  <a:lnTo>
                    <a:pt x="381000" y="1064403"/>
                  </a:lnTo>
                  <a:cubicBezTo>
                    <a:pt x="377495" y="1060030"/>
                    <a:pt x="376642" y="1054342"/>
                    <a:pt x="375606" y="1049006"/>
                  </a:cubicBezTo>
                  <a:lnTo>
                    <a:pt x="370250" y="1048027"/>
                  </a:lnTo>
                  <a:lnTo>
                    <a:pt x="368832" y="1046701"/>
                  </a:lnTo>
                  <a:lnTo>
                    <a:pt x="369426" y="1044855"/>
                  </a:lnTo>
                  <a:lnTo>
                    <a:pt x="375982" y="1039499"/>
                  </a:lnTo>
                  <a:lnTo>
                    <a:pt x="376960" y="1039080"/>
                  </a:lnTo>
                  <a:lnTo>
                    <a:pt x="378455" y="1038940"/>
                  </a:lnTo>
                  <a:lnTo>
                    <a:pt x="376001" y="1036978"/>
                  </a:lnTo>
                  <a:lnTo>
                    <a:pt x="375311" y="1035435"/>
                  </a:lnTo>
                  <a:lnTo>
                    <a:pt x="376165" y="1033994"/>
                  </a:lnTo>
                  <a:lnTo>
                    <a:pt x="380398" y="1031285"/>
                  </a:lnTo>
                  <a:lnTo>
                    <a:pt x="374892" y="1027505"/>
                  </a:lnTo>
                  <a:cubicBezTo>
                    <a:pt x="374251" y="1027047"/>
                    <a:pt x="373967" y="1026257"/>
                    <a:pt x="374203" y="1025485"/>
                  </a:cubicBezTo>
                  <a:cubicBezTo>
                    <a:pt x="374434" y="1024724"/>
                    <a:pt x="375148" y="1024203"/>
                    <a:pt x="375943" y="1024203"/>
                  </a:cubicBezTo>
                  <a:lnTo>
                    <a:pt x="382504" y="1024203"/>
                  </a:lnTo>
                  <a:lnTo>
                    <a:pt x="382841" y="1024237"/>
                  </a:lnTo>
                  <a:lnTo>
                    <a:pt x="388814" y="1025403"/>
                  </a:lnTo>
                  <a:lnTo>
                    <a:pt x="389986" y="1026281"/>
                  </a:lnTo>
                  <a:lnTo>
                    <a:pt x="393317" y="1031771"/>
                  </a:lnTo>
                  <a:lnTo>
                    <a:pt x="396745" y="1033656"/>
                  </a:lnTo>
                  <a:lnTo>
                    <a:pt x="396745" y="1031145"/>
                  </a:lnTo>
                  <a:lnTo>
                    <a:pt x="394214" y="1025071"/>
                  </a:lnTo>
                  <a:lnTo>
                    <a:pt x="388400" y="1022969"/>
                  </a:lnTo>
                  <a:lnTo>
                    <a:pt x="387204" y="1021407"/>
                  </a:lnTo>
                  <a:lnTo>
                    <a:pt x="386664" y="1015222"/>
                  </a:lnTo>
                  <a:lnTo>
                    <a:pt x="383270" y="1009013"/>
                  </a:lnTo>
                  <a:lnTo>
                    <a:pt x="383073" y="1007972"/>
                  </a:lnTo>
                  <a:lnTo>
                    <a:pt x="383652" y="1002013"/>
                  </a:lnTo>
                  <a:lnTo>
                    <a:pt x="383652" y="1001955"/>
                  </a:lnTo>
                  <a:lnTo>
                    <a:pt x="384857" y="993611"/>
                  </a:lnTo>
                  <a:lnTo>
                    <a:pt x="385102" y="992941"/>
                  </a:lnTo>
                  <a:lnTo>
                    <a:pt x="388501" y="987243"/>
                  </a:lnTo>
                  <a:lnTo>
                    <a:pt x="389591" y="981896"/>
                  </a:lnTo>
                  <a:lnTo>
                    <a:pt x="389002" y="975601"/>
                  </a:lnTo>
                  <a:lnTo>
                    <a:pt x="389012" y="975162"/>
                  </a:lnTo>
                  <a:cubicBezTo>
                    <a:pt x="389022" y="967560"/>
                    <a:pt x="391987" y="959871"/>
                    <a:pt x="397217" y="954375"/>
                  </a:cubicBezTo>
                  <a:cubicBezTo>
                    <a:pt x="391475" y="953131"/>
                    <a:pt x="386549" y="949540"/>
                    <a:pt x="381545" y="946633"/>
                  </a:cubicBezTo>
                  <a:lnTo>
                    <a:pt x="380773" y="945727"/>
                  </a:lnTo>
                  <a:lnTo>
                    <a:pt x="378995" y="940969"/>
                  </a:lnTo>
                  <a:lnTo>
                    <a:pt x="376628" y="935025"/>
                  </a:lnTo>
                  <a:lnTo>
                    <a:pt x="376584" y="933824"/>
                  </a:lnTo>
                  <a:lnTo>
                    <a:pt x="378141" y="928603"/>
                  </a:lnTo>
                  <a:lnTo>
                    <a:pt x="374921" y="922727"/>
                  </a:lnTo>
                  <a:lnTo>
                    <a:pt x="375008" y="920866"/>
                  </a:lnTo>
                  <a:lnTo>
                    <a:pt x="379780" y="913703"/>
                  </a:lnTo>
                  <a:lnTo>
                    <a:pt x="381294" y="912907"/>
                  </a:lnTo>
                  <a:lnTo>
                    <a:pt x="381873" y="912907"/>
                  </a:lnTo>
                  <a:lnTo>
                    <a:pt x="383285" y="913573"/>
                  </a:lnTo>
                  <a:lnTo>
                    <a:pt x="388515" y="919970"/>
                  </a:lnTo>
                  <a:lnTo>
                    <a:pt x="393818" y="924202"/>
                  </a:lnTo>
                  <a:lnTo>
                    <a:pt x="396903" y="924202"/>
                  </a:lnTo>
                  <a:lnTo>
                    <a:pt x="395115" y="920249"/>
                  </a:lnTo>
                  <a:cubicBezTo>
                    <a:pt x="394715" y="919304"/>
                    <a:pt x="395115" y="918244"/>
                    <a:pt x="396021" y="917834"/>
                  </a:cubicBezTo>
                  <a:lnTo>
                    <a:pt x="402505" y="914893"/>
                  </a:lnTo>
                  <a:lnTo>
                    <a:pt x="408160" y="911813"/>
                  </a:lnTo>
                  <a:lnTo>
                    <a:pt x="408637" y="906231"/>
                  </a:lnTo>
                  <a:lnTo>
                    <a:pt x="409211" y="899703"/>
                  </a:lnTo>
                  <a:lnTo>
                    <a:pt x="405904" y="894227"/>
                  </a:lnTo>
                  <a:cubicBezTo>
                    <a:pt x="405412" y="893383"/>
                    <a:pt x="405701" y="892260"/>
                    <a:pt x="406550" y="891744"/>
                  </a:cubicBezTo>
                  <a:lnTo>
                    <a:pt x="411308" y="888871"/>
                  </a:lnTo>
                  <a:lnTo>
                    <a:pt x="409915" y="883752"/>
                  </a:lnTo>
                  <a:lnTo>
                    <a:pt x="407606" y="878068"/>
                  </a:lnTo>
                  <a:lnTo>
                    <a:pt x="403537" y="871671"/>
                  </a:lnTo>
                  <a:lnTo>
                    <a:pt x="403272" y="870683"/>
                  </a:lnTo>
                  <a:lnTo>
                    <a:pt x="403272" y="870321"/>
                  </a:lnTo>
                  <a:lnTo>
                    <a:pt x="401575" y="864054"/>
                  </a:lnTo>
                  <a:lnTo>
                    <a:pt x="401151" y="862830"/>
                  </a:lnTo>
                  <a:lnTo>
                    <a:pt x="395033" y="857802"/>
                  </a:lnTo>
                  <a:lnTo>
                    <a:pt x="394373" y="856741"/>
                  </a:lnTo>
                  <a:lnTo>
                    <a:pt x="393196" y="850171"/>
                  </a:lnTo>
                  <a:lnTo>
                    <a:pt x="393163" y="850040"/>
                  </a:lnTo>
                  <a:lnTo>
                    <a:pt x="392570" y="844077"/>
                  </a:lnTo>
                  <a:lnTo>
                    <a:pt x="391967" y="838148"/>
                  </a:lnTo>
                  <a:cubicBezTo>
                    <a:pt x="391876" y="837232"/>
                    <a:pt x="392435" y="836417"/>
                    <a:pt x="393326" y="836171"/>
                  </a:cubicBezTo>
                  <a:cubicBezTo>
                    <a:pt x="394199" y="835983"/>
                    <a:pt x="395077" y="836417"/>
                    <a:pt x="395453" y="837232"/>
                  </a:cubicBezTo>
                  <a:lnTo>
                    <a:pt x="397231" y="841397"/>
                  </a:lnTo>
                  <a:lnTo>
                    <a:pt x="397270" y="841503"/>
                  </a:lnTo>
                  <a:lnTo>
                    <a:pt x="399647" y="848016"/>
                  </a:lnTo>
                  <a:lnTo>
                    <a:pt x="401917" y="853685"/>
                  </a:lnTo>
                  <a:lnTo>
                    <a:pt x="407080" y="860000"/>
                  </a:lnTo>
                  <a:lnTo>
                    <a:pt x="407495" y="861003"/>
                  </a:lnTo>
                  <a:lnTo>
                    <a:pt x="408054" y="867115"/>
                  </a:lnTo>
                  <a:lnTo>
                    <a:pt x="410445" y="870885"/>
                  </a:lnTo>
                  <a:lnTo>
                    <a:pt x="413077" y="866759"/>
                  </a:lnTo>
                  <a:cubicBezTo>
                    <a:pt x="413612" y="865901"/>
                    <a:pt x="414682" y="865659"/>
                    <a:pt x="415521" y="866146"/>
                  </a:cubicBezTo>
                  <a:lnTo>
                    <a:pt x="421687" y="869738"/>
                  </a:lnTo>
                  <a:lnTo>
                    <a:pt x="422318" y="868966"/>
                  </a:lnTo>
                  <a:lnTo>
                    <a:pt x="427785" y="866995"/>
                  </a:lnTo>
                  <a:lnTo>
                    <a:pt x="428286" y="862193"/>
                  </a:lnTo>
                  <a:lnTo>
                    <a:pt x="429077" y="860848"/>
                  </a:lnTo>
                  <a:lnTo>
                    <a:pt x="430595" y="860627"/>
                  </a:lnTo>
                  <a:lnTo>
                    <a:pt x="434780" y="861851"/>
                  </a:lnTo>
                  <a:lnTo>
                    <a:pt x="436077" y="857127"/>
                  </a:lnTo>
                  <a:lnTo>
                    <a:pt x="436241" y="856664"/>
                  </a:lnTo>
                  <a:lnTo>
                    <a:pt x="438487" y="852971"/>
                  </a:lnTo>
                  <a:lnTo>
                    <a:pt x="434529" y="852239"/>
                  </a:lnTo>
                  <a:lnTo>
                    <a:pt x="433126" y="851005"/>
                  </a:lnTo>
                  <a:lnTo>
                    <a:pt x="433560" y="849168"/>
                  </a:lnTo>
                  <a:lnTo>
                    <a:pt x="436404" y="846324"/>
                  </a:lnTo>
                  <a:lnTo>
                    <a:pt x="434838" y="846324"/>
                  </a:lnTo>
                  <a:lnTo>
                    <a:pt x="434524" y="846295"/>
                  </a:lnTo>
                  <a:lnTo>
                    <a:pt x="427968" y="845118"/>
                  </a:lnTo>
                  <a:lnTo>
                    <a:pt x="426599" y="843995"/>
                  </a:lnTo>
                  <a:lnTo>
                    <a:pt x="426835" y="842245"/>
                  </a:lnTo>
                  <a:lnTo>
                    <a:pt x="431579" y="835718"/>
                  </a:lnTo>
                  <a:lnTo>
                    <a:pt x="433247" y="834981"/>
                  </a:lnTo>
                  <a:lnTo>
                    <a:pt x="437691" y="835419"/>
                  </a:lnTo>
                  <a:lnTo>
                    <a:pt x="439070" y="830912"/>
                  </a:lnTo>
                  <a:lnTo>
                    <a:pt x="439307" y="830386"/>
                  </a:lnTo>
                  <a:lnTo>
                    <a:pt x="443014" y="825069"/>
                  </a:lnTo>
                  <a:lnTo>
                    <a:pt x="441987" y="819887"/>
                  </a:lnTo>
                  <a:cubicBezTo>
                    <a:pt x="441842" y="819058"/>
                    <a:pt x="442228" y="818267"/>
                    <a:pt x="442961" y="817881"/>
                  </a:cubicBezTo>
                  <a:lnTo>
                    <a:pt x="447719" y="815495"/>
                  </a:lnTo>
                  <a:lnTo>
                    <a:pt x="446740" y="809705"/>
                  </a:lnTo>
                  <a:cubicBezTo>
                    <a:pt x="446600" y="808963"/>
                    <a:pt x="446962" y="808197"/>
                    <a:pt x="447613" y="807830"/>
                  </a:cubicBezTo>
                  <a:lnTo>
                    <a:pt x="449681" y="808009"/>
                  </a:lnTo>
                  <a:lnTo>
                    <a:pt x="455152" y="812468"/>
                  </a:lnTo>
                  <a:lnTo>
                    <a:pt x="458001" y="810390"/>
                  </a:lnTo>
                  <a:lnTo>
                    <a:pt x="453817" y="808698"/>
                  </a:lnTo>
                  <a:lnTo>
                    <a:pt x="452669" y="807030"/>
                  </a:lnTo>
                  <a:lnTo>
                    <a:pt x="453817" y="805323"/>
                  </a:lnTo>
                  <a:lnTo>
                    <a:pt x="459775" y="802937"/>
                  </a:lnTo>
                  <a:cubicBezTo>
                    <a:pt x="460580" y="802629"/>
                    <a:pt x="461501" y="802928"/>
                    <a:pt x="461983" y="803655"/>
                  </a:cubicBezTo>
                  <a:lnTo>
                    <a:pt x="465840" y="809705"/>
                  </a:lnTo>
                  <a:lnTo>
                    <a:pt x="466539" y="810004"/>
                  </a:lnTo>
                  <a:lnTo>
                    <a:pt x="465391" y="807893"/>
                  </a:lnTo>
                  <a:lnTo>
                    <a:pt x="465464" y="806003"/>
                  </a:lnTo>
                  <a:lnTo>
                    <a:pt x="467151" y="805213"/>
                  </a:lnTo>
                  <a:lnTo>
                    <a:pt x="471523" y="805593"/>
                  </a:lnTo>
                  <a:lnTo>
                    <a:pt x="471138" y="801231"/>
                  </a:lnTo>
                  <a:lnTo>
                    <a:pt x="471138" y="800889"/>
                  </a:lnTo>
                  <a:lnTo>
                    <a:pt x="471707" y="794356"/>
                  </a:lnTo>
                  <a:cubicBezTo>
                    <a:pt x="471808" y="793474"/>
                    <a:pt x="472516" y="792775"/>
                    <a:pt x="473365" y="792684"/>
                  </a:cubicBezTo>
                  <a:lnTo>
                    <a:pt x="478407" y="792245"/>
                  </a:lnTo>
                  <a:lnTo>
                    <a:pt x="478841" y="787983"/>
                  </a:lnTo>
                  <a:lnTo>
                    <a:pt x="478277" y="782184"/>
                  </a:lnTo>
                  <a:lnTo>
                    <a:pt x="478277" y="781852"/>
                  </a:lnTo>
                  <a:lnTo>
                    <a:pt x="478851" y="775315"/>
                  </a:lnTo>
                  <a:lnTo>
                    <a:pt x="479063" y="774664"/>
                  </a:lnTo>
                  <a:lnTo>
                    <a:pt x="479641" y="773459"/>
                  </a:lnTo>
                  <a:lnTo>
                    <a:pt x="481449" y="772475"/>
                  </a:lnTo>
                  <a:lnTo>
                    <a:pt x="487991" y="773078"/>
                  </a:lnTo>
                  <a:lnTo>
                    <a:pt x="488603" y="773237"/>
                  </a:lnTo>
                  <a:lnTo>
                    <a:pt x="493139" y="775507"/>
                  </a:lnTo>
                  <a:lnTo>
                    <a:pt x="493139" y="773290"/>
                  </a:lnTo>
                  <a:lnTo>
                    <a:pt x="487196" y="767871"/>
                  </a:lnTo>
                  <a:lnTo>
                    <a:pt x="486660" y="766054"/>
                  </a:lnTo>
                  <a:lnTo>
                    <a:pt x="488454" y="759517"/>
                  </a:lnTo>
                  <a:lnTo>
                    <a:pt x="489509" y="758297"/>
                  </a:lnTo>
                  <a:lnTo>
                    <a:pt x="491177" y="758471"/>
                  </a:lnTo>
                  <a:lnTo>
                    <a:pt x="497719" y="762636"/>
                  </a:lnTo>
                  <a:lnTo>
                    <a:pt x="498457" y="763533"/>
                  </a:lnTo>
                  <a:lnTo>
                    <a:pt x="500761" y="769848"/>
                  </a:lnTo>
                  <a:lnTo>
                    <a:pt x="503552" y="773844"/>
                  </a:lnTo>
                  <a:lnTo>
                    <a:pt x="506984" y="770397"/>
                  </a:lnTo>
                  <a:lnTo>
                    <a:pt x="504068" y="765037"/>
                  </a:lnTo>
                  <a:lnTo>
                    <a:pt x="504314" y="762959"/>
                  </a:lnTo>
                  <a:lnTo>
                    <a:pt x="509385" y="757300"/>
                  </a:lnTo>
                  <a:lnTo>
                    <a:pt x="511073" y="751756"/>
                  </a:lnTo>
                  <a:lnTo>
                    <a:pt x="512335" y="750517"/>
                  </a:lnTo>
                  <a:lnTo>
                    <a:pt x="518419" y="748854"/>
                  </a:lnTo>
                  <a:lnTo>
                    <a:pt x="519166" y="748092"/>
                  </a:lnTo>
                  <a:lnTo>
                    <a:pt x="518173" y="743112"/>
                  </a:lnTo>
                  <a:lnTo>
                    <a:pt x="518655" y="741459"/>
                  </a:lnTo>
                  <a:lnTo>
                    <a:pt x="520290" y="740982"/>
                  </a:lnTo>
                  <a:lnTo>
                    <a:pt x="525477" y="742013"/>
                  </a:lnTo>
                  <a:lnTo>
                    <a:pt x="530678" y="738214"/>
                  </a:lnTo>
                  <a:lnTo>
                    <a:pt x="531213" y="731287"/>
                  </a:lnTo>
                  <a:lnTo>
                    <a:pt x="531459" y="730569"/>
                  </a:lnTo>
                  <a:lnTo>
                    <a:pt x="534997" y="724008"/>
                  </a:lnTo>
                  <a:lnTo>
                    <a:pt x="536550" y="723087"/>
                  </a:lnTo>
                  <a:lnTo>
                    <a:pt x="538150" y="723926"/>
                  </a:lnTo>
                  <a:lnTo>
                    <a:pt x="541125" y="728694"/>
                  </a:lnTo>
                  <a:lnTo>
                    <a:pt x="541125" y="728665"/>
                  </a:lnTo>
                  <a:lnTo>
                    <a:pt x="541559" y="729344"/>
                  </a:lnTo>
                  <a:lnTo>
                    <a:pt x="543853" y="723092"/>
                  </a:lnTo>
                  <a:lnTo>
                    <a:pt x="544523" y="722205"/>
                  </a:lnTo>
                  <a:lnTo>
                    <a:pt x="550458" y="718054"/>
                  </a:lnTo>
                  <a:lnTo>
                    <a:pt x="551137" y="717751"/>
                  </a:lnTo>
                  <a:lnTo>
                    <a:pt x="556180" y="716738"/>
                  </a:lnTo>
                  <a:lnTo>
                    <a:pt x="558744" y="711156"/>
                  </a:lnTo>
                  <a:lnTo>
                    <a:pt x="560422" y="705578"/>
                  </a:lnTo>
                  <a:lnTo>
                    <a:pt x="560422" y="699326"/>
                  </a:lnTo>
                  <a:lnTo>
                    <a:pt x="560562" y="698564"/>
                  </a:lnTo>
                  <a:lnTo>
                    <a:pt x="563512" y="692095"/>
                  </a:lnTo>
                  <a:lnTo>
                    <a:pt x="565161" y="686551"/>
                  </a:lnTo>
                  <a:cubicBezTo>
                    <a:pt x="564905" y="664535"/>
                    <a:pt x="564741" y="680154"/>
                    <a:pt x="569991" y="659555"/>
                  </a:cubicBezTo>
                  <a:lnTo>
                    <a:pt x="570391" y="658817"/>
                  </a:lnTo>
                  <a:lnTo>
                    <a:pt x="575530" y="653119"/>
                  </a:lnTo>
                  <a:lnTo>
                    <a:pt x="577757" y="646920"/>
                  </a:lnTo>
                  <a:lnTo>
                    <a:pt x="578789" y="645826"/>
                  </a:lnTo>
                  <a:lnTo>
                    <a:pt x="584116" y="643714"/>
                  </a:lnTo>
                  <a:lnTo>
                    <a:pt x="586762" y="638382"/>
                  </a:lnTo>
                  <a:lnTo>
                    <a:pt x="589713" y="631870"/>
                  </a:lnTo>
                  <a:lnTo>
                    <a:pt x="589905" y="631600"/>
                  </a:lnTo>
                  <a:lnTo>
                    <a:pt x="593868" y="625906"/>
                  </a:lnTo>
                  <a:lnTo>
                    <a:pt x="594519" y="623578"/>
                  </a:lnTo>
                  <a:lnTo>
                    <a:pt x="592195" y="624759"/>
                  </a:lnTo>
                  <a:lnTo>
                    <a:pt x="590662" y="624783"/>
                  </a:lnTo>
                  <a:lnTo>
                    <a:pt x="589655" y="623636"/>
                  </a:lnTo>
                  <a:lnTo>
                    <a:pt x="587891" y="617759"/>
                  </a:lnTo>
                  <a:lnTo>
                    <a:pt x="585514" y="611247"/>
                  </a:lnTo>
                  <a:lnTo>
                    <a:pt x="585996" y="609280"/>
                  </a:lnTo>
                  <a:lnTo>
                    <a:pt x="587577" y="609029"/>
                  </a:lnTo>
                  <a:lnTo>
                    <a:pt x="582539" y="607009"/>
                  </a:lnTo>
                  <a:lnTo>
                    <a:pt x="576186" y="605896"/>
                  </a:lnTo>
                  <a:lnTo>
                    <a:pt x="575005" y="605129"/>
                  </a:lnTo>
                  <a:lnTo>
                    <a:pt x="570926" y="599301"/>
                  </a:lnTo>
                  <a:lnTo>
                    <a:pt x="565117" y="593453"/>
                  </a:lnTo>
                  <a:lnTo>
                    <a:pt x="564698" y="591482"/>
                  </a:lnTo>
                  <a:lnTo>
                    <a:pt x="566400" y="590368"/>
                  </a:lnTo>
                  <a:lnTo>
                    <a:pt x="568772" y="590368"/>
                  </a:lnTo>
                  <a:lnTo>
                    <a:pt x="568964" y="590397"/>
                  </a:lnTo>
                  <a:lnTo>
                    <a:pt x="570869" y="590561"/>
                  </a:lnTo>
                  <a:lnTo>
                    <a:pt x="568622" y="588069"/>
                  </a:lnTo>
                  <a:lnTo>
                    <a:pt x="568212" y="587292"/>
                  </a:lnTo>
                  <a:lnTo>
                    <a:pt x="566732" y="581821"/>
                  </a:lnTo>
                  <a:lnTo>
                    <a:pt x="561854" y="580866"/>
                  </a:lnTo>
                  <a:lnTo>
                    <a:pt x="560702" y="580066"/>
                  </a:lnTo>
                  <a:lnTo>
                    <a:pt x="556536" y="573520"/>
                  </a:lnTo>
                  <a:lnTo>
                    <a:pt x="556662" y="571379"/>
                  </a:lnTo>
                  <a:lnTo>
                    <a:pt x="558764" y="570854"/>
                  </a:lnTo>
                  <a:lnTo>
                    <a:pt x="563098" y="572575"/>
                  </a:lnTo>
                  <a:lnTo>
                    <a:pt x="565165" y="568039"/>
                  </a:lnTo>
                  <a:lnTo>
                    <a:pt x="564578" y="561396"/>
                  </a:lnTo>
                  <a:lnTo>
                    <a:pt x="564929" y="560195"/>
                  </a:lnTo>
                  <a:lnTo>
                    <a:pt x="569003" y="554338"/>
                  </a:lnTo>
                  <a:lnTo>
                    <a:pt x="571929" y="548515"/>
                  </a:lnTo>
                  <a:lnTo>
                    <a:pt x="572421" y="547912"/>
                  </a:lnTo>
                  <a:lnTo>
                    <a:pt x="574629" y="546167"/>
                  </a:lnTo>
                  <a:lnTo>
                    <a:pt x="574127" y="541178"/>
                  </a:lnTo>
                  <a:cubicBezTo>
                    <a:pt x="574012" y="540363"/>
                    <a:pt x="574523" y="539606"/>
                    <a:pt x="575246" y="539326"/>
                  </a:cubicBezTo>
                  <a:lnTo>
                    <a:pt x="578938" y="537851"/>
                  </a:lnTo>
                  <a:lnTo>
                    <a:pt x="578061" y="536781"/>
                  </a:lnTo>
                  <a:lnTo>
                    <a:pt x="577675" y="535663"/>
                  </a:lnTo>
                  <a:lnTo>
                    <a:pt x="577675" y="529102"/>
                  </a:lnTo>
                  <a:lnTo>
                    <a:pt x="577704" y="528899"/>
                  </a:lnTo>
                  <a:lnTo>
                    <a:pt x="578244" y="523437"/>
                  </a:lnTo>
                  <a:lnTo>
                    <a:pt x="575424" y="516708"/>
                  </a:lnTo>
                  <a:lnTo>
                    <a:pt x="575916" y="514649"/>
                  </a:lnTo>
                  <a:lnTo>
                    <a:pt x="581966" y="509105"/>
                  </a:lnTo>
                  <a:lnTo>
                    <a:pt x="582756" y="505273"/>
                  </a:lnTo>
                  <a:lnTo>
                    <a:pt x="578418" y="503687"/>
                  </a:lnTo>
                  <a:lnTo>
                    <a:pt x="573173" y="506324"/>
                  </a:lnTo>
                  <a:cubicBezTo>
                    <a:pt x="572416" y="506709"/>
                    <a:pt x="571505" y="506507"/>
                    <a:pt x="570936" y="505885"/>
                  </a:cubicBezTo>
                  <a:lnTo>
                    <a:pt x="567990" y="502303"/>
                  </a:lnTo>
                  <a:lnTo>
                    <a:pt x="567851" y="500163"/>
                  </a:lnTo>
                  <a:lnTo>
                    <a:pt x="572030" y="493631"/>
                  </a:lnTo>
                  <a:lnTo>
                    <a:pt x="573221" y="492816"/>
                  </a:lnTo>
                  <a:lnTo>
                    <a:pt x="574634" y="493110"/>
                  </a:lnTo>
                  <a:lnTo>
                    <a:pt x="575535" y="493766"/>
                  </a:lnTo>
                  <a:lnTo>
                    <a:pt x="574879" y="492373"/>
                  </a:lnTo>
                  <a:lnTo>
                    <a:pt x="574995" y="490628"/>
                  </a:lnTo>
                  <a:lnTo>
                    <a:pt x="576538" y="489794"/>
                  </a:lnTo>
                  <a:lnTo>
                    <a:pt x="582997" y="489794"/>
                  </a:lnTo>
                  <a:lnTo>
                    <a:pt x="588527" y="489288"/>
                  </a:lnTo>
                  <a:lnTo>
                    <a:pt x="591631" y="484149"/>
                  </a:lnTo>
                  <a:cubicBezTo>
                    <a:pt x="592032" y="483483"/>
                    <a:pt x="592798" y="483122"/>
                    <a:pt x="593555" y="483286"/>
                  </a:cubicBezTo>
                  <a:lnTo>
                    <a:pt x="597517" y="484086"/>
                  </a:lnTo>
                  <a:lnTo>
                    <a:pt x="597787" y="481030"/>
                  </a:lnTo>
                  <a:lnTo>
                    <a:pt x="593266" y="479675"/>
                  </a:lnTo>
                  <a:lnTo>
                    <a:pt x="592807" y="479463"/>
                  </a:lnTo>
                  <a:lnTo>
                    <a:pt x="586280" y="475303"/>
                  </a:lnTo>
                  <a:cubicBezTo>
                    <a:pt x="585625" y="474869"/>
                    <a:pt x="585292" y="474107"/>
                    <a:pt x="585480" y="473331"/>
                  </a:cubicBezTo>
                  <a:cubicBezTo>
                    <a:pt x="585673" y="472584"/>
                    <a:pt x="586319" y="472029"/>
                    <a:pt x="587071" y="471943"/>
                  </a:cubicBezTo>
                  <a:lnTo>
                    <a:pt x="593627" y="471345"/>
                  </a:lnTo>
                  <a:lnTo>
                    <a:pt x="593931" y="471345"/>
                  </a:lnTo>
                  <a:lnTo>
                    <a:pt x="599359" y="471865"/>
                  </a:lnTo>
                  <a:lnTo>
                    <a:pt x="601514" y="468221"/>
                  </a:lnTo>
                  <a:lnTo>
                    <a:pt x="596818" y="464446"/>
                  </a:lnTo>
                  <a:cubicBezTo>
                    <a:pt x="596177" y="463969"/>
                    <a:pt x="595965" y="463140"/>
                    <a:pt x="596273" y="462364"/>
                  </a:cubicBezTo>
                  <a:lnTo>
                    <a:pt x="597450" y="459389"/>
                  </a:lnTo>
                  <a:lnTo>
                    <a:pt x="598689" y="458319"/>
                  </a:lnTo>
                  <a:lnTo>
                    <a:pt x="600304" y="458676"/>
                  </a:lnTo>
                  <a:lnTo>
                    <a:pt x="606262" y="463545"/>
                  </a:lnTo>
                  <a:lnTo>
                    <a:pt x="612678" y="463029"/>
                  </a:lnTo>
                  <a:lnTo>
                    <a:pt x="613180" y="463029"/>
                  </a:lnTo>
                  <a:lnTo>
                    <a:pt x="613782" y="463164"/>
                  </a:lnTo>
                  <a:lnTo>
                    <a:pt x="612066" y="461265"/>
                  </a:lnTo>
                  <a:lnTo>
                    <a:pt x="611681" y="459544"/>
                  </a:lnTo>
                  <a:lnTo>
                    <a:pt x="613021" y="455065"/>
                  </a:lnTo>
                  <a:lnTo>
                    <a:pt x="612399" y="454737"/>
                  </a:lnTo>
                  <a:lnTo>
                    <a:pt x="606257" y="454737"/>
                  </a:lnTo>
                  <a:lnTo>
                    <a:pt x="604936" y="454149"/>
                  </a:lnTo>
                  <a:lnTo>
                    <a:pt x="604464" y="452761"/>
                  </a:lnTo>
                  <a:lnTo>
                    <a:pt x="605052" y="446205"/>
                  </a:lnTo>
                  <a:lnTo>
                    <a:pt x="605804" y="444918"/>
                  </a:lnTo>
                  <a:lnTo>
                    <a:pt x="607236" y="444590"/>
                  </a:lnTo>
                  <a:lnTo>
                    <a:pt x="609145" y="444966"/>
                  </a:lnTo>
                  <a:lnTo>
                    <a:pt x="607699" y="442556"/>
                  </a:lnTo>
                  <a:lnTo>
                    <a:pt x="607463" y="441967"/>
                  </a:lnTo>
                  <a:lnTo>
                    <a:pt x="606286" y="436023"/>
                  </a:lnTo>
                  <a:lnTo>
                    <a:pt x="606262" y="435339"/>
                  </a:lnTo>
                  <a:lnTo>
                    <a:pt x="607443" y="428841"/>
                  </a:lnTo>
                  <a:lnTo>
                    <a:pt x="608658" y="421667"/>
                  </a:lnTo>
                  <a:lnTo>
                    <a:pt x="609718" y="420327"/>
                  </a:lnTo>
                  <a:lnTo>
                    <a:pt x="611435" y="420438"/>
                  </a:lnTo>
                  <a:lnTo>
                    <a:pt x="617981" y="424598"/>
                  </a:lnTo>
                  <a:lnTo>
                    <a:pt x="618815" y="425996"/>
                  </a:lnTo>
                  <a:lnTo>
                    <a:pt x="619109" y="429559"/>
                  </a:lnTo>
                  <a:lnTo>
                    <a:pt x="623144" y="427004"/>
                  </a:lnTo>
                  <a:lnTo>
                    <a:pt x="624523" y="426758"/>
                  </a:lnTo>
                  <a:lnTo>
                    <a:pt x="625680" y="427558"/>
                  </a:lnTo>
                  <a:lnTo>
                    <a:pt x="627348" y="430186"/>
                  </a:lnTo>
                  <a:lnTo>
                    <a:pt x="627632" y="428667"/>
                  </a:lnTo>
                  <a:lnTo>
                    <a:pt x="625439" y="422627"/>
                  </a:lnTo>
                  <a:lnTo>
                    <a:pt x="623033" y="416702"/>
                  </a:lnTo>
                  <a:lnTo>
                    <a:pt x="623496" y="414711"/>
                  </a:lnTo>
                  <a:lnTo>
                    <a:pt x="625535" y="414407"/>
                  </a:lnTo>
                  <a:lnTo>
                    <a:pt x="631503" y="417377"/>
                  </a:lnTo>
                  <a:lnTo>
                    <a:pt x="632231" y="418052"/>
                  </a:lnTo>
                  <a:lnTo>
                    <a:pt x="636131" y="424174"/>
                  </a:lnTo>
                  <a:lnTo>
                    <a:pt x="642649" y="427428"/>
                  </a:lnTo>
                  <a:lnTo>
                    <a:pt x="649031" y="429188"/>
                  </a:lnTo>
                  <a:lnTo>
                    <a:pt x="649591" y="429429"/>
                  </a:lnTo>
                  <a:lnTo>
                    <a:pt x="652975" y="431805"/>
                  </a:lnTo>
                  <a:lnTo>
                    <a:pt x="653269" y="428368"/>
                  </a:lnTo>
                  <a:lnTo>
                    <a:pt x="654011" y="427081"/>
                  </a:lnTo>
                  <a:lnTo>
                    <a:pt x="655433" y="426753"/>
                  </a:lnTo>
                  <a:lnTo>
                    <a:pt x="658089" y="427298"/>
                  </a:lnTo>
                  <a:lnTo>
                    <a:pt x="657092" y="424753"/>
                  </a:lnTo>
                  <a:lnTo>
                    <a:pt x="651929" y="419045"/>
                  </a:lnTo>
                  <a:lnTo>
                    <a:pt x="652025" y="416553"/>
                  </a:lnTo>
                  <a:lnTo>
                    <a:pt x="654489" y="416461"/>
                  </a:lnTo>
                  <a:lnTo>
                    <a:pt x="658297" y="419773"/>
                  </a:lnTo>
                  <a:lnTo>
                    <a:pt x="663720" y="416852"/>
                  </a:lnTo>
                  <a:cubicBezTo>
                    <a:pt x="664540" y="416394"/>
                    <a:pt x="665562" y="416639"/>
                    <a:pt x="666092" y="417387"/>
                  </a:cubicBezTo>
                  <a:lnTo>
                    <a:pt x="666545" y="418028"/>
                  </a:lnTo>
                  <a:lnTo>
                    <a:pt x="666786" y="417256"/>
                  </a:lnTo>
                  <a:lnTo>
                    <a:pt x="668001" y="416639"/>
                  </a:lnTo>
                  <a:lnTo>
                    <a:pt x="674552" y="416027"/>
                  </a:lnTo>
                  <a:lnTo>
                    <a:pt x="675237" y="416090"/>
                  </a:lnTo>
                  <a:lnTo>
                    <a:pt x="680014" y="417536"/>
                  </a:lnTo>
                  <a:lnTo>
                    <a:pt x="684001" y="412532"/>
                  </a:lnTo>
                  <a:cubicBezTo>
                    <a:pt x="684565" y="411852"/>
                    <a:pt x="685524" y="411650"/>
                    <a:pt x="686291" y="412069"/>
                  </a:cubicBezTo>
                  <a:lnTo>
                    <a:pt x="692524" y="415463"/>
                  </a:lnTo>
                  <a:lnTo>
                    <a:pt x="697046" y="415916"/>
                  </a:lnTo>
                  <a:lnTo>
                    <a:pt x="700594" y="410840"/>
                  </a:lnTo>
                  <a:lnTo>
                    <a:pt x="701640" y="410127"/>
                  </a:lnTo>
                  <a:lnTo>
                    <a:pt x="707627" y="408483"/>
                  </a:lnTo>
                  <a:cubicBezTo>
                    <a:pt x="704229" y="395679"/>
                    <a:pt x="689492" y="376102"/>
                    <a:pt x="689646" y="375591"/>
                  </a:cubicBezTo>
                  <a:cubicBezTo>
                    <a:pt x="689844" y="374878"/>
                    <a:pt x="688971" y="373865"/>
                    <a:pt x="687424" y="36766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15" name="Freihandform: Form 614">
              <a:extLst>
                <a:ext uri="{FF2B5EF4-FFF2-40B4-BE49-F238E27FC236}">
                  <a16:creationId xmlns:a16="http://schemas.microsoft.com/office/drawing/2014/main" id="{2BF77912-A1D1-4F70-947D-00F2C6DEAE40}"/>
                </a:ext>
              </a:extLst>
            </p:cNvPr>
            <p:cNvSpPr/>
            <p:nvPr/>
          </p:nvSpPr>
          <p:spPr>
            <a:xfrm>
              <a:off x="5761112" y="3613149"/>
              <a:ext cx="34921" cy="26989"/>
            </a:xfrm>
            <a:custGeom>
              <a:avLst/>
              <a:gdLst>
                <a:gd name="connsiteX0" fmla="*/ 15460 w 28061"/>
                <a:gd name="connsiteY0" fmla="*/ 0 h 20482"/>
                <a:gd name="connsiteX1" fmla="*/ 15682 w 28061"/>
                <a:gd name="connsiteY1" fmla="*/ 627 h 20482"/>
                <a:gd name="connsiteX2" fmla="*/ 15682 w 28061"/>
                <a:gd name="connsiteY2" fmla="*/ 6600 h 20482"/>
                <a:gd name="connsiteX3" fmla="*/ 14231 w 28061"/>
                <a:gd name="connsiteY3" fmla="*/ 8374 h 20482"/>
                <a:gd name="connsiteX4" fmla="*/ 9207 w 28061"/>
                <a:gd name="connsiteY4" fmla="*/ 9376 h 20482"/>
                <a:gd name="connsiteX5" fmla="*/ 7197 w 28061"/>
                <a:gd name="connsiteY5" fmla="*/ 14409 h 20482"/>
                <a:gd name="connsiteX6" fmla="*/ 6561 w 28061"/>
                <a:gd name="connsiteY6" fmla="*/ 15214 h 20482"/>
                <a:gd name="connsiteX7" fmla="*/ 728 w 28061"/>
                <a:gd name="connsiteY7" fmla="*/ 19273 h 20482"/>
                <a:gd name="connsiteX8" fmla="*/ 0 w 28061"/>
                <a:gd name="connsiteY8" fmla="*/ 20011 h 20482"/>
                <a:gd name="connsiteX9" fmla="*/ 18430 w 28061"/>
                <a:gd name="connsiteY9" fmla="*/ 15484 h 20482"/>
                <a:gd name="connsiteX10" fmla="*/ 24393 w 28061"/>
                <a:gd name="connsiteY10" fmla="*/ 14872 h 20482"/>
                <a:gd name="connsiteX11" fmla="*/ 24865 w 28061"/>
                <a:gd name="connsiteY11" fmla="*/ 14896 h 20482"/>
                <a:gd name="connsiteX12" fmla="*/ 28061 w 28061"/>
                <a:gd name="connsiteY12" fmla="*/ 15446 h 20482"/>
                <a:gd name="connsiteX13" fmla="*/ 28037 w 28061"/>
                <a:gd name="connsiteY13" fmla="*/ 10803 h 20482"/>
                <a:gd name="connsiteX14" fmla="*/ 15460 w 28061"/>
                <a:gd name="connsiteY14" fmla="*/ 0 h 2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061" h="20482">
                  <a:moveTo>
                    <a:pt x="15460" y="0"/>
                  </a:moveTo>
                  <a:lnTo>
                    <a:pt x="15682" y="627"/>
                  </a:lnTo>
                  <a:lnTo>
                    <a:pt x="15682" y="6600"/>
                  </a:lnTo>
                  <a:cubicBezTo>
                    <a:pt x="15682" y="7434"/>
                    <a:pt x="15060" y="8210"/>
                    <a:pt x="14231" y="8374"/>
                  </a:cubicBezTo>
                  <a:lnTo>
                    <a:pt x="9207" y="9376"/>
                  </a:lnTo>
                  <a:lnTo>
                    <a:pt x="7197" y="14409"/>
                  </a:lnTo>
                  <a:lnTo>
                    <a:pt x="6561" y="15214"/>
                  </a:lnTo>
                  <a:lnTo>
                    <a:pt x="728" y="19273"/>
                  </a:lnTo>
                  <a:lnTo>
                    <a:pt x="0" y="20011"/>
                  </a:lnTo>
                  <a:cubicBezTo>
                    <a:pt x="6653" y="22122"/>
                    <a:pt x="11844" y="16521"/>
                    <a:pt x="18430" y="15484"/>
                  </a:cubicBezTo>
                  <a:lnTo>
                    <a:pt x="24393" y="14872"/>
                  </a:lnTo>
                  <a:lnTo>
                    <a:pt x="24865" y="14896"/>
                  </a:lnTo>
                  <a:lnTo>
                    <a:pt x="28061" y="15446"/>
                  </a:lnTo>
                  <a:lnTo>
                    <a:pt x="28037" y="10803"/>
                  </a:lnTo>
                  <a:cubicBezTo>
                    <a:pt x="23028" y="8576"/>
                    <a:pt x="19476" y="3596"/>
                    <a:pt x="15460"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16" name="Freihandform: Form 615">
              <a:extLst>
                <a:ext uri="{FF2B5EF4-FFF2-40B4-BE49-F238E27FC236}">
                  <a16:creationId xmlns:a16="http://schemas.microsoft.com/office/drawing/2014/main" id="{0F0ABFB1-CE21-326F-D4FF-0FE07A59AE7E}"/>
                </a:ext>
              </a:extLst>
            </p:cNvPr>
            <p:cNvSpPr/>
            <p:nvPr/>
          </p:nvSpPr>
          <p:spPr>
            <a:xfrm>
              <a:off x="7246844" y="4313264"/>
              <a:ext cx="471434" cy="484205"/>
            </a:xfrm>
            <a:custGeom>
              <a:avLst/>
              <a:gdLst>
                <a:gd name="connsiteX0" fmla="*/ 38249 w 368945"/>
                <a:gd name="connsiteY0" fmla="*/ 60408 h 379669"/>
                <a:gd name="connsiteX1" fmla="*/ 44043 w 368945"/>
                <a:gd name="connsiteY1" fmla="*/ 68719 h 379669"/>
                <a:gd name="connsiteX2" fmla="*/ 56601 w 368945"/>
                <a:gd name="connsiteY2" fmla="*/ 84705 h 379669"/>
                <a:gd name="connsiteX3" fmla="*/ 63447 w 368945"/>
                <a:gd name="connsiteY3" fmla="*/ 90017 h 379669"/>
                <a:gd name="connsiteX4" fmla="*/ 65505 w 368945"/>
                <a:gd name="connsiteY4" fmla="*/ 96867 h 379669"/>
                <a:gd name="connsiteX5" fmla="*/ 72085 w 368945"/>
                <a:gd name="connsiteY5" fmla="*/ 102551 h 379669"/>
                <a:gd name="connsiteX6" fmla="*/ 72466 w 368945"/>
                <a:gd name="connsiteY6" fmla="*/ 107820 h 379669"/>
                <a:gd name="connsiteX7" fmla="*/ 76086 w 368945"/>
                <a:gd name="connsiteY7" fmla="*/ 113643 h 379669"/>
                <a:gd name="connsiteX8" fmla="*/ 93388 w 368945"/>
                <a:gd name="connsiteY8" fmla="*/ 126679 h 379669"/>
                <a:gd name="connsiteX9" fmla="*/ 107464 w 368945"/>
                <a:gd name="connsiteY9" fmla="*/ 133910 h 379669"/>
                <a:gd name="connsiteX10" fmla="*/ 119372 w 368945"/>
                <a:gd name="connsiteY10" fmla="*/ 153043 h 379669"/>
                <a:gd name="connsiteX11" fmla="*/ 134672 w 368945"/>
                <a:gd name="connsiteY11" fmla="*/ 162491 h 379669"/>
                <a:gd name="connsiteX12" fmla="*/ 138356 w 368945"/>
                <a:gd name="connsiteY12" fmla="*/ 171473 h 379669"/>
                <a:gd name="connsiteX13" fmla="*/ 150248 w 368945"/>
                <a:gd name="connsiteY13" fmla="*/ 177431 h 379669"/>
                <a:gd name="connsiteX14" fmla="*/ 163534 w 368945"/>
                <a:gd name="connsiteY14" fmla="*/ 182107 h 379669"/>
                <a:gd name="connsiteX15" fmla="*/ 169358 w 368945"/>
                <a:gd name="connsiteY15" fmla="*/ 187757 h 379669"/>
                <a:gd name="connsiteX16" fmla="*/ 175147 w 368945"/>
                <a:gd name="connsiteY16" fmla="*/ 199274 h 379669"/>
                <a:gd name="connsiteX17" fmla="*/ 175677 w 368945"/>
                <a:gd name="connsiteY17" fmla="*/ 202243 h 379669"/>
                <a:gd name="connsiteX18" fmla="*/ 181467 w 368945"/>
                <a:gd name="connsiteY18" fmla="*/ 208043 h 379669"/>
                <a:gd name="connsiteX19" fmla="*/ 183670 w 368945"/>
                <a:gd name="connsiteY19" fmla="*/ 212964 h 379669"/>
                <a:gd name="connsiteX20" fmla="*/ 193104 w 368945"/>
                <a:gd name="connsiteY20" fmla="*/ 225513 h 379669"/>
                <a:gd name="connsiteX21" fmla="*/ 200721 w 368945"/>
                <a:gd name="connsiteY21" fmla="*/ 268229 h 379669"/>
                <a:gd name="connsiteX22" fmla="*/ 197366 w 368945"/>
                <a:gd name="connsiteY22" fmla="*/ 282561 h 379669"/>
                <a:gd name="connsiteX23" fmla="*/ 199820 w 368945"/>
                <a:gd name="connsiteY23" fmla="*/ 294189 h 379669"/>
                <a:gd name="connsiteX24" fmla="*/ 202134 w 368945"/>
                <a:gd name="connsiteY24" fmla="*/ 311775 h 379669"/>
                <a:gd name="connsiteX25" fmla="*/ 207706 w 368945"/>
                <a:gd name="connsiteY25" fmla="*/ 325292 h 379669"/>
                <a:gd name="connsiteX26" fmla="*/ 212604 w 368945"/>
                <a:gd name="connsiteY26" fmla="*/ 338337 h 379669"/>
                <a:gd name="connsiteX27" fmla="*/ 218143 w 368945"/>
                <a:gd name="connsiteY27" fmla="*/ 356853 h 379669"/>
                <a:gd name="connsiteX28" fmla="*/ 217516 w 368945"/>
                <a:gd name="connsiteY28" fmla="*/ 366504 h 379669"/>
                <a:gd name="connsiteX29" fmla="*/ 223822 w 368945"/>
                <a:gd name="connsiteY29" fmla="*/ 370004 h 379669"/>
                <a:gd name="connsiteX30" fmla="*/ 231453 w 368945"/>
                <a:gd name="connsiteY30" fmla="*/ 379669 h 379669"/>
                <a:gd name="connsiteX31" fmla="*/ 234307 w 368945"/>
                <a:gd name="connsiteY31" fmla="*/ 369358 h 379669"/>
                <a:gd name="connsiteX32" fmla="*/ 249405 w 368945"/>
                <a:gd name="connsiteY32" fmla="*/ 366899 h 379669"/>
                <a:gd name="connsiteX33" fmla="*/ 257798 w 368945"/>
                <a:gd name="connsiteY33" fmla="*/ 362503 h 379669"/>
                <a:gd name="connsiteX34" fmla="*/ 254313 w 368945"/>
                <a:gd name="connsiteY34" fmla="*/ 356173 h 379669"/>
                <a:gd name="connsiteX35" fmla="*/ 253792 w 368945"/>
                <a:gd name="connsiteY35" fmla="*/ 349728 h 379669"/>
                <a:gd name="connsiteX36" fmla="*/ 249926 w 368945"/>
                <a:gd name="connsiteY36" fmla="*/ 344560 h 379669"/>
                <a:gd name="connsiteX37" fmla="*/ 249690 w 368945"/>
                <a:gd name="connsiteY37" fmla="*/ 340554 h 379669"/>
                <a:gd name="connsiteX38" fmla="*/ 253913 w 368945"/>
                <a:gd name="connsiteY38" fmla="*/ 336693 h 379669"/>
                <a:gd name="connsiteX39" fmla="*/ 256386 w 368945"/>
                <a:gd name="connsiteY39" fmla="*/ 329057 h 379669"/>
                <a:gd name="connsiteX40" fmla="*/ 266852 w 368945"/>
                <a:gd name="connsiteY40" fmla="*/ 311119 h 379669"/>
                <a:gd name="connsiteX41" fmla="*/ 263863 w 368945"/>
                <a:gd name="connsiteY41" fmla="*/ 305570 h 379669"/>
                <a:gd name="connsiteX42" fmla="*/ 265044 w 368945"/>
                <a:gd name="connsiteY42" fmla="*/ 300272 h 379669"/>
                <a:gd name="connsiteX43" fmla="*/ 274989 w 368945"/>
                <a:gd name="connsiteY43" fmla="*/ 293702 h 379669"/>
                <a:gd name="connsiteX44" fmla="*/ 280523 w 368945"/>
                <a:gd name="connsiteY44" fmla="*/ 286702 h 379669"/>
                <a:gd name="connsiteX45" fmla="*/ 276011 w 368945"/>
                <a:gd name="connsiteY45" fmla="*/ 278420 h 379669"/>
                <a:gd name="connsiteX46" fmla="*/ 279901 w 368945"/>
                <a:gd name="connsiteY46" fmla="*/ 267983 h 379669"/>
                <a:gd name="connsiteX47" fmla="*/ 268384 w 368945"/>
                <a:gd name="connsiteY47" fmla="*/ 254418 h 379669"/>
                <a:gd name="connsiteX48" fmla="*/ 263737 w 368945"/>
                <a:gd name="connsiteY48" fmla="*/ 240631 h 379669"/>
                <a:gd name="connsiteX49" fmla="*/ 263998 w 368945"/>
                <a:gd name="connsiteY49" fmla="*/ 232204 h 379669"/>
                <a:gd name="connsiteX50" fmla="*/ 280938 w 368945"/>
                <a:gd name="connsiteY50" fmla="*/ 215033 h 379669"/>
                <a:gd name="connsiteX51" fmla="*/ 286482 w 368945"/>
                <a:gd name="connsiteY51" fmla="*/ 220972 h 379669"/>
                <a:gd name="connsiteX52" fmla="*/ 287388 w 368945"/>
                <a:gd name="connsiteY52" fmla="*/ 227195 h 379669"/>
                <a:gd name="connsiteX53" fmla="*/ 292401 w 368945"/>
                <a:gd name="connsiteY53" fmla="*/ 232589 h 379669"/>
                <a:gd name="connsiteX54" fmla="*/ 297714 w 368945"/>
                <a:gd name="connsiteY54" fmla="*/ 220220 h 379669"/>
                <a:gd name="connsiteX55" fmla="*/ 303677 w 368945"/>
                <a:gd name="connsiteY55" fmla="*/ 224096 h 379669"/>
                <a:gd name="connsiteX56" fmla="*/ 305591 w 368945"/>
                <a:gd name="connsiteY56" fmla="*/ 217742 h 379669"/>
                <a:gd name="connsiteX57" fmla="*/ 311911 w 368945"/>
                <a:gd name="connsiteY57" fmla="*/ 215693 h 379669"/>
                <a:gd name="connsiteX58" fmla="*/ 317088 w 368945"/>
                <a:gd name="connsiteY58" fmla="*/ 222379 h 379669"/>
                <a:gd name="connsiteX59" fmla="*/ 322666 w 368945"/>
                <a:gd name="connsiteY59" fmla="*/ 226376 h 379669"/>
                <a:gd name="connsiteX60" fmla="*/ 329106 w 368945"/>
                <a:gd name="connsiteY60" fmla="*/ 222379 h 379669"/>
                <a:gd name="connsiteX61" fmla="*/ 329608 w 368945"/>
                <a:gd name="connsiteY61" fmla="*/ 217105 h 379669"/>
                <a:gd name="connsiteX62" fmla="*/ 334660 w 368945"/>
                <a:gd name="connsiteY62" fmla="*/ 212314 h 379669"/>
                <a:gd name="connsiteX63" fmla="*/ 341866 w 368945"/>
                <a:gd name="connsiteY63" fmla="*/ 217226 h 379669"/>
                <a:gd name="connsiteX64" fmla="*/ 344446 w 368945"/>
                <a:gd name="connsiteY64" fmla="*/ 222789 h 379669"/>
                <a:gd name="connsiteX65" fmla="*/ 351561 w 368945"/>
                <a:gd name="connsiteY65" fmla="*/ 218402 h 379669"/>
                <a:gd name="connsiteX66" fmla="*/ 364114 w 368945"/>
                <a:gd name="connsiteY66" fmla="*/ 214001 h 379669"/>
                <a:gd name="connsiteX67" fmla="*/ 368877 w 368945"/>
                <a:gd name="connsiteY67" fmla="*/ 209609 h 379669"/>
                <a:gd name="connsiteX68" fmla="*/ 363844 w 368945"/>
                <a:gd name="connsiteY68" fmla="*/ 208968 h 379669"/>
                <a:gd name="connsiteX69" fmla="*/ 357654 w 368945"/>
                <a:gd name="connsiteY69" fmla="*/ 205859 h 379669"/>
                <a:gd name="connsiteX70" fmla="*/ 354940 w 368945"/>
                <a:gd name="connsiteY70" fmla="*/ 200676 h 379669"/>
                <a:gd name="connsiteX71" fmla="*/ 348842 w 368945"/>
                <a:gd name="connsiteY71" fmla="*/ 200971 h 379669"/>
                <a:gd name="connsiteX72" fmla="*/ 343935 w 368945"/>
                <a:gd name="connsiteY72" fmla="*/ 195668 h 379669"/>
                <a:gd name="connsiteX73" fmla="*/ 348963 w 368945"/>
                <a:gd name="connsiteY73" fmla="*/ 190109 h 379669"/>
                <a:gd name="connsiteX74" fmla="*/ 344311 w 368945"/>
                <a:gd name="connsiteY74" fmla="*/ 183399 h 379669"/>
                <a:gd name="connsiteX75" fmla="*/ 343935 w 368945"/>
                <a:gd name="connsiteY75" fmla="*/ 178067 h 379669"/>
                <a:gd name="connsiteX76" fmla="*/ 343269 w 368945"/>
                <a:gd name="connsiteY76" fmla="*/ 170079 h 379669"/>
                <a:gd name="connsiteX77" fmla="*/ 340334 w 368945"/>
                <a:gd name="connsiteY77" fmla="*/ 165963 h 379669"/>
                <a:gd name="connsiteX78" fmla="*/ 337740 w 368945"/>
                <a:gd name="connsiteY78" fmla="*/ 160915 h 379669"/>
                <a:gd name="connsiteX79" fmla="*/ 330914 w 368945"/>
                <a:gd name="connsiteY79" fmla="*/ 157690 h 379669"/>
                <a:gd name="connsiteX80" fmla="*/ 325707 w 368945"/>
                <a:gd name="connsiteY80" fmla="*/ 157440 h 379669"/>
                <a:gd name="connsiteX81" fmla="*/ 319026 w 368945"/>
                <a:gd name="connsiteY81" fmla="*/ 159247 h 379669"/>
                <a:gd name="connsiteX82" fmla="*/ 312431 w 368945"/>
                <a:gd name="connsiteY82" fmla="*/ 154600 h 379669"/>
                <a:gd name="connsiteX83" fmla="*/ 306227 w 368945"/>
                <a:gd name="connsiteY83" fmla="*/ 153188 h 379669"/>
                <a:gd name="connsiteX84" fmla="*/ 300939 w 368945"/>
                <a:gd name="connsiteY84" fmla="*/ 148598 h 379669"/>
                <a:gd name="connsiteX85" fmla="*/ 300153 w 368945"/>
                <a:gd name="connsiteY85" fmla="*/ 143966 h 379669"/>
                <a:gd name="connsiteX86" fmla="*/ 301209 w 368945"/>
                <a:gd name="connsiteY86" fmla="*/ 138277 h 379669"/>
                <a:gd name="connsiteX87" fmla="*/ 294223 w 368945"/>
                <a:gd name="connsiteY87" fmla="*/ 134363 h 379669"/>
                <a:gd name="connsiteX88" fmla="*/ 288805 w 368945"/>
                <a:gd name="connsiteY88" fmla="*/ 133857 h 379669"/>
                <a:gd name="connsiteX89" fmla="*/ 292642 w 368945"/>
                <a:gd name="connsiteY89" fmla="*/ 115794 h 379669"/>
                <a:gd name="connsiteX90" fmla="*/ 285700 w 368945"/>
                <a:gd name="connsiteY90" fmla="*/ 103110 h 379669"/>
                <a:gd name="connsiteX91" fmla="*/ 277443 w 368945"/>
                <a:gd name="connsiteY91" fmla="*/ 107275 h 379669"/>
                <a:gd name="connsiteX92" fmla="*/ 276657 w 368945"/>
                <a:gd name="connsiteY92" fmla="*/ 112713 h 379669"/>
                <a:gd name="connsiteX93" fmla="*/ 270973 w 368945"/>
                <a:gd name="connsiteY93" fmla="*/ 110616 h 379669"/>
                <a:gd name="connsiteX94" fmla="*/ 268384 w 368945"/>
                <a:gd name="connsiteY94" fmla="*/ 105487 h 379669"/>
                <a:gd name="connsiteX95" fmla="*/ 261684 w 368945"/>
                <a:gd name="connsiteY95" fmla="*/ 102614 h 379669"/>
                <a:gd name="connsiteX96" fmla="*/ 256265 w 368945"/>
                <a:gd name="connsiteY96" fmla="*/ 96689 h 379669"/>
                <a:gd name="connsiteX97" fmla="*/ 248268 w 368945"/>
                <a:gd name="connsiteY97" fmla="*/ 98993 h 379669"/>
                <a:gd name="connsiteX98" fmla="*/ 242950 w 368945"/>
                <a:gd name="connsiteY98" fmla="*/ 91690 h 379669"/>
                <a:gd name="connsiteX99" fmla="*/ 241649 w 368945"/>
                <a:gd name="connsiteY99" fmla="*/ 82545 h 379669"/>
                <a:gd name="connsiteX100" fmla="*/ 243225 w 368945"/>
                <a:gd name="connsiteY100" fmla="*/ 72195 h 379669"/>
                <a:gd name="connsiteX101" fmla="*/ 242579 w 368945"/>
                <a:gd name="connsiteY101" fmla="*/ 54778 h 379669"/>
                <a:gd name="connsiteX102" fmla="*/ 237021 w 368945"/>
                <a:gd name="connsiteY102" fmla="*/ 53351 h 379669"/>
                <a:gd name="connsiteX103" fmla="*/ 235960 w 368945"/>
                <a:gd name="connsiteY103" fmla="*/ 40320 h 379669"/>
                <a:gd name="connsiteX104" fmla="*/ 226266 w 368945"/>
                <a:gd name="connsiteY104" fmla="*/ 30370 h 379669"/>
                <a:gd name="connsiteX105" fmla="*/ 220086 w 368945"/>
                <a:gd name="connsiteY105" fmla="*/ 34261 h 379669"/>
                <a:gd name="connsiteX106" fmla="*/ 214523 w 368945"/>
                <a:gd name="connsiteY106" fmla="*/ 41077 h 379669"/>
                <a:gd name="connsiteX107" fmla="*/ 199559 w 368945"/>
                <a:gd name="connsiteY107" fmla="*/ 31923 h 379669"/>
                <a:gd name="connsiteX108" fmla="*/ 191904 w 368945"/>
                <a:gd name="connsiteY108" fmla="*/ 19635 h 379669"/>
                <a:gd name="connsiteX109" fmla="*/ 181602 w 368945"/>
                <a:gd name="connsiteY109" fmla="*/ 21823 h 379669"/>
                <a:gd name="connsiteX110" fmla="*/ 173850 w 368945"/>
                <a:gd name="connsiteY110" fmla="*/ 20536 h 379669"/>
                <a:gd name="connsiteX111" fmla="*/ 168181 w 368945"/>
                <a:gd name="connsiteY111" fmla="*/ 22725 h 379669"/>
                <a:gd name="connsiteX112" fmla="*/ 163524 w 368945"/>
                <a:gd name="connsiteY112" fmla="*/ 28683 h 379669"/>
                <a:gd name="connsiteX113" fmla="*/ 164431 w 368945"/>
                <a:gd name="connsiteY113" fmla="*/ 35153 h 379669"/>
                <a:gd name="connsiteX114" fmla="*/ 155527 w 368945"/>
                <a:gd name="connsiteY114" fmla="*/ 25318 h 379669"/>
                <a:gd name="connsiteX115" fmla="*/ 149323 w 368945"/>
                <a:gd name="connsiteY115" fmla="*/ 28028 h 379669"/>
                <a:gd name="connsiteX116" fmla="*/ 151902 w 368945"/>
                <a:gd name="connsiteY116" fmla="*/ 22228 h 379669"/>
                <a:gd name="connsiteX117" fmla="*/ 150754 w 368945"/>
                <a:gd name="connsiteY117" fmla="*/ 16029 h 379669"/>
                <a:gd name="connsiteX118" fmla="*/ 144015 w 368945"/>
                <a:gd name="connsiteY118" fmla="*/ 17326 h 379669"/>
                <a:gd name="connsiteX119" fmla="*/ 138351 w 368945"/>
                <a:gd name="connsiteY119" fmla="*/ 23535 h 379669"/>
                <a:gd name="connsiteX120" fmla="*/ 131096 w 368945"/>
                <a:gd name="connsiteY120" fmla="*/ 18217 h 379669"/>
                <a:gd name="connsiteX121" fmla="*/ 126318 w 368945"/>
                <a:gd name="connsiteY121" fmla="*/ 20536 h 379669"/>
                <a:gd name="connsiteX122" fmla="*/ 124515 w 368945"/>
                <a:gd name="connsiteY122" fmla="*/ 14346 h 379669"/>
                <a:gd name="connsiteX123" fmla="*/ 119733 w 368945"/>
                <a:gd name="connsiteY123" fmla="*/ 13190 h 379669"/>
                <a:gd name="connsiteX124" fmla="*/ 112907 w 368945"/>
                <a:gd name="connsiteY124" fmla="*/ 14211 h 379669"/>
                <a:gd name="connsiteX125" fmla="*/ 106818 w 368945"/>
                <a:gd name="connsiteY125" fmla="*/ 11271 h 379669"/>
                <a:gd name="connsiteX126" fmla="*/ 102547 w 368945"/>
                <a:gd name="connsiteY126" fmla="*/ 5828 h 379669"/>
                <a:gd name="connsiteX127" fmla="*/ 95967 w 368945"/>
                <a:gd name="connsiteY127" fmla="*/ 4411 h 379669"/>
                <a:gd name="connsiteX128" fmla="*/ 91826 w 368945"/>
                <a:gd name="connsiteY128" fmla="*/ 1282 h 379669"/>
                <a:gd name="connsiteX129" fmla="*/ 82315 w 368945"/>
                <a:gd name="connsiteY129" fmla="*/ 5563 h 379669"/>
                <a:gd name="connsiteX130" fmla="*/ 76366 w 368945"/>
                <a:gd name="connsiteY130" fmla="*/ 0 h 379669"/>
                <a:gd name="connsiteX131" fmla="*/ 69526 w 368945"/>
                <a:gd name="connsiteY131" fmla="*/ 4797 h 379669"/>
                <a:gd name="connsiteX132" fmla="*/ 65254 w 368945"/>
                <a:gd name="connsiteY132" fmla="*/ 9955 h 379669"/>
                <a:gd name="connsiteX133" fmla="*/ 58534 w 368945"/>
                <a:gd name="connsiteY133" fmla="*/ 11271 h 379669"/>
                <a:gd name="connsiteX134" fmla="*/ 52865 w 368945"/>
                <a:gd name="connsiteY134" fmla="*/ 15257 h 379669"/>
                <a:gd name="connsiteX135" fmla="*/ 51559 w 368945"/>
                <a:gd name="connsiteY135" fmla="*/ 21823 h 379669"/>
                <a:gd name="connsiteX136" fmla="*/ 45104 w 368945"/>
                <a:gd name="connsiteY136" fmla="*/ 24663 h 379669"/>
                <a:gd name="connsiteX137" fmla="*/ 29460 w 368945"/>
                <a:gd name="connsiteY137" fmla="*/ 28568 h 379669"/>
                <a:gd name="connsiteX138" fmla="*/ 22090 w 368945"/>
                <a:gd name="connsiteY138" fmla="*/ 30110 h 379669"/>
                <a:gd name="connsiteX139" fmla="*/ 15273 w 368945"/>
                <a:gd name="connsiteY139" fmla="*/ 29078 h 379669"/>
                <a:gd name="connsiteX140" fmla="*/ 11127 w 368945"/>
                <a:gd name="connsiteY140" fmla="*/ 32053 h 379669"/>
                <a:gd name="connsiteX141" fmla="*/ 12294 w 368945"/>
                <a:gd name="connsiteY141" fmla="*/ 36700 h 379669"/>
                <a:gd name="connsiteX142" fmla="*/ 11016 w 368945"/>
                <a:gd name="connsiteY142" fmla="*/ 43555 h 379669"/>
                <a:gd name="connsiteX143" fmla="*/ 2749 w 368945"/>
                <a:gd name="connsiteY143" fmla="*/ 40586 h 379669"/>
                <a:gd name="connsiteX144" fmla="*/ 59 w 368945"/>
                <a:gd name="connsiteY144" fmla="*/ 51958 h 379669"/>
                <a:gd name="connsiteX145" fmla="*/ 1568 w 368945"/>
                <a:gd name="connsiteY145" fmla="*/ 50627 h 379669"/>
                <a:gd name="connsiteX146" fmla="*/ 38249 w 368945"/>
                <a:gd name="connsiteY146" fmla="*/ 60408 h 379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368945" h="379669">
                  <a:moveTo>
                    <a:pt x="38249" y="60408"/>
                  </a:moveTo>
                  <a:cubicBezTo>
                    <a:pt x="38649" y="61980"/>
                    <a:pt x="39690" y="67423"/>
                    <a:pt x="44043" y="68719"/>
                  </a:cubicBezTo>
                  <a:cubicBezTo>
                    <a:pt x="54914" y="72826"/>
                    <a:pt x="56601" y="84705"/>
                    <a:pt x="56601" y="84705"/>
                  </a:cubicBezTo>
                  <a:lnTo>
                    <a:pt x="63447" y="90017"/>
                  </a:lnTo>
                  <a:lnTo>
                    <a:pt x="65505" y="96867"/>
                  </a:lnTo>
                  <a:lnTo>
                    <a:pt x="72085" y="102551"/>
                  </a:lnTo>
                  <a:lnTo>
                    <a:pt x="72466" y="107820"/>
                  </a:lnTo>
                  <a:cubicBezTo>
                    <a:pt x="72466" y="107820"/>
                    <a:pt x="73237" y="110804"/>
                    <a:pt x="76086" y="113643"/>
                  </a:cubicBezTo>
                  <a:cubicBezTo>
                    <a:pt x="78931" y="116488"/>
                    <a:pt x="89912" y="121540"/>
                    <a:pt x="93388" y="126679"/>
                  </a:cubicBezTo>
                  <a:cubicBezTo>
                    <a:pt x="96893" y="131885"/>
                    <a:pt x="102446" y="134199"/>
                    <a:pt x="107464" y="133910"/>
                  </a:cubicBezTo>
                  <a:cubicBezTo>
                    <a:pt x="107464" y="141690"/>
                    <a:pt x="112656" y="151992"/>
                    <a:pt x="119372" y="153043"/>
                  </a:cubicBezTo>
                  <a:cubicBezTo>
                    <a:pt x="126058" y="154094"/>
                    <a:pt x="133540" y="158206"/>
                    <a:pt x="134672" y="162491"/>
                  </a:cubicBezTo>
                  <a:cubicBezTo>
                    <a:pt x="135757" y="166792"/>
                    <a:pt x="138356" y="171473"/>
                    <a:pt x="138356" y="171473"/>
                  </a:cubicBezTo>
                  <a:lnTo>
                    <a:pt x="150248" y="177431"/>
                  </a:lnTo>
                  <a:lnTo>
                    <a:pt x="163534" y="182107"/>
                  </a:lnTo>
                  <a:lnTo>
                    <a:pt x="169358" y="187757"/>
                  </a:lnTo>
                  <a:cubicBezTo>
                    <a:pt x="169358" y="187757"/>
                    <a:pt x="174381" y="197586"/>
                    <a:pt x="175147" y="199274"/>
                  </a:cubicBezTo>
                  <a:cubicBezTo>
                    <a:pt x="175919" y="200966"/>
                    <a:pt x="175677" y="202243"/>
                    <a:pt x="175677" y="202243"/>
                  </a:cubicBezTo>
                  <a:lnTo>
                    <a:pt x="181467" y="208043"/>
                  </a:lnTo>
                  <a:cubicBezTo>
                    <a:pt x="181467" y="208043"/>
                    <a:pt x="182643" y="210130"/>
                    <a:pt x="183670" y="212964"/>
                  </a:cubicBezTo>
                  <a:cubicBezTo>
                    <a:pt x="184851" y="213726"/>
                    <a:pt x="193104" y="225513"/>
                    <a:pt x="193104" y="225513"/>
                  </a:cubicBezTo>
                  <a:cubicBezTo>
                    <a:pt x="193104" y="225513"/>
                    <a:pt x="206043" y="245639"/>
                    <a:pt x="200721" y="268229"/>
                  </a:cubicBezTo>
                  <a:cubicBezTo>
                    <a:pt x="200721" y="268229"/>
                    <a:pt x="194816" y="277297"/>
                    <a:pt x="197366" y="282561"/>
                  </a:cubicBezTo>
                  <a:cubicBezTo>
                    <a:pt x="199935" y="287878"/>
                    <a:pt x="200470" y="289541"/>
                    <a:pt x="199820" y="294189"/>
                  </a:cubicBezTo>
                  <a:cubicBezTo>
                    <a:pt x="199169" y="298845"/>
                    <a:pt x="198267" y="305816"/>
                    <a:pt x="202134" y="311775"/>
                  </a:cubicBezTo>
                  <a:cubicBezTo>
                    <a:pt x="206043" y="317699"/>
                    <a:pt x="207586" y="321970"/>
                    <a:pt x="207706" y="325292"/>
                  </a:cubicBezTo>
                  <a:cubicBezTo>
                    <a:pt x="207822" y="328671"/>
                    <a:pt x="209750" y="335517"/>
                    <a:pt x="212604" y="338337"/>
                  </a:cubicBezTo>
                  <a:cubicBezTo>
                    <a:pt x="215443" y="341181"/>
                    <a:pt x="221127" y="352943"/>
                    <a:pt x="218143" y="356853"/>
                  </a:cubicBezTo>
                  <a:cubicBezTo>
                    <a:pt x="215198" y="360680"/>
                    <a:pt x="215579" y="363674"/>
                    <a:pt x="217516" y="366504"/>
                  </a:cubicBezTo>
                  <a:cubicBezTo>
                    <a:pt x="219440" y="369358"/>
                    <a:pt x="223822" y="370004"/>
                    <a:pt x="223822" y="370004"/>
                  </a:cubicBezTo>
                  <a:cubicBezTo>
                    <a:pt x="223822" y="370004"/>
                    <a:pt x="225591" y="377259"/>
                    <a:pt x="231453" y="379669"/>
                  </a:cubicBezTo>
                  <a:cubicBezTo>
                    <a:pt x="230860" y="375157"/>
                    <a:pt x="232731" y="371691"/>
                    <a:pt x="234307" y="369358"/>
                  </a:cubicBezTo>
                  <a:cubicBezTo>
                    <a:pt x="236505" y="366123"/>
                    <a:pt x="245269" y="367155"/>
                    <a:pt x="249405" y="366899"/>
                  </a:cubicBezTo>
                  <a:cubicBezTo>
                    <a:pt x="253542" y="366620"/>
                    <a:pt x="257798" y="362503"/>
                    <a:pt x="257798" y="362503"/>
                  </a:cubicBezTo>
                  <a:lnTo>
                    <a:pt x="254313" y="356173"/>
                  </a:lnTo>
                  <a:lnTo>
                    <a:pt x="253792" y="349728"/>
                  </a:lnTo>
                  <a:lnTo>
                    <a:pt x="249926" y="344560"/>
                  </a:lnTo>
                  <a:cubicBezTo>
                    <a:pt x="249926" y="344560"/>
                    <a:pt x="249526" y="343017"/>
                    <a:pt x="249690" y="340554"/>
                  </a:cubicBezTo>
                  <a:cubicBezTo>
                    <a:pt x="249801" y="338100"/>
                    <a:pt x="251633" y="337459"/>
                    <a:pt x="253913" y="336693"/>
                  </a:cubicBezTo>
                  <a:cubicBezTo>
                    <a:pt x="256265" y="335878"/>
                    <a:pt x="256796" y="332537"/>
                    <a:pt x="256386" y="329057"/>
                  </a:cubicBezTo>
                  <a:cubicBezTo>
                    <a:pt x="267382" y="323759"/>
                    <a:pt x="266852" y="311119"/>
                    <a:pt x="266852" y="311119"/>
                  </a:cubicBezTo>
                  <a:lnTo>
                    <a:pt x="263863" y="305570"/>
                  </a:lnTo>
                  <a:cubicBezTo>
                    <a:pt x="263863" y="305570"/>
                    <a:pt x="264104" y="303357"/>
                    <a:pt x="265044" y="300272"/>
                  </a:cubicBezTo>
                  <a:cubicBezTo>
                    <a:pt x="265940" y="297158"/>
                    <a:pt x="274989" y="293702"/>
                    <a:pt x="274989" y="293702"/>
                  </a:cubicBezTo>
                  <a:lnTo>
                    <a:pt x="280523" y="286702"/>
                  </a:lnTo>
                  <a:lnTo>
                    <a:pt x="276011" y="278420"/>
                  </a:lnTo>
                  <a:cubicBezTo>
                    <a:pt x="276011" y="278420"/>
                    <a:pt x="278841" y="270162"/>
                    <a:pt x="279901" y="267983"/>
                  </a:cubicBezTo>
                  <a:cubicBezTo>
                    <a:pt x="280938" y="265790"/>
                    <a:pt x="276657" y="260357"/>
                    <a:pt x="268384" y="254418"/>
                  </a:cubicBezTo>
                  <a:cubicBezTo>
                    <a:pt x="269435" y="247293"/>
                    <a:pt x="263737" y="240631"/>
                    <a:pt x="263737" y="240631"/>
                  </a:cubicBezTo>
                  <a:cubicBezTo>
                    <a:pt x="263737" y="240631"/>
                    <a:pt x="262831" y="238784"/>
                    <a:pt x="263998" y="232204"/>
                  </a:cubicBezTo>
                  <a:cubicBezTo>
                    <a:pt x="265140" y="225643"/>
                    <a:pt x="280938" y="215033"/>
                    <a:pt x="280938" y="215033"/>
                  </a:cubicBezTo>
                  <a:lnTo>
                    <a:pt x="286482" y="220972"/>
                  </a:lnTo>
                  <a:lnTo>
                    <a:pt x="287388" y="227195"/>
                  </a:lnTo>
                  <a:lnTo>
                    <a:pt x="292401" y="232589"/>
                  </a:lnTo>
                  <a:lnTo>
                    <a:pt x="297714" y="220220"/>
                  </a:lnTo>
                  <a:lnTo>
                    <a:pt x="303677" y="224096"/>
                  </a:lnTo>
                  <a:lnTo>
                    <a:pt x="305591" y="217742"/>
                  </a:lnTo>
                  <a:lnTo>
                    <a:pt x="311911" y="215693"/>
                  </a:lnTo>
                  <a:lnTo>
                    <a:pt x="317088" y="222379"/>
                  </a:lnTo>
                  <a:lnTo>
                    <a:pt x="322666" y="226376"/>
                  </a:lnTo>
                  <a:lnTo>
                    <a:pt x="329106" y="222379"/>
                  </a:lnTo>
                  <a:lnTo>
                    <a:pt x="329608" y="217105"/>
                  </a:lnTo>
                  <a:lnTo>
                    <a:pt x="334660" y="212314"/>
                  </a:lnTo>
                  <a:lnTo>
                    <a:pt x="341866" y="217226"/>
                  </a:lnTo>
                  <a:lnTo>
                    <a:pt x="344446" y="222789"/>
                  </a:lnTo>
                  <a:cubicBezTo>
                    <a:pt x="344446" y="222789"/>
                    <a:pt x="347290" y="221733"/>
                    <a:pt x="351561" y="218402"/>
                  </a:cubicBezTo>
                  <a:cubicBezTo>
                    <a:pt x="355842" y="215037"/>
                    <a:pt x="360995" y="214136"/>
                    <a:pt x="364114" y="214001"/>
                  </a:cubicBezTo>
                  <a:cubicBezTo>
                    <a:pt x="367209" y="213866"/>
                    <a:pt x="368101" y="212969"/>
                    <a:pt x="368877" y="209609"/>
                  </a:cubicBezTo>
                  <a:cubicBezTo>
                    <a:pt x="369634" y="206259"/>
                    <a:pt x="363844" y="208968"/>
                    <a:pt x="363844" y="208968"/>
                  </a:cubicBezTo>
                  <a:lnTo>
                    <a:pt x="357654" y="205859"/>
                  </a:lnTo>
                  <a:lnTo>
                    <a:pt x="354940" y="200676"/>
                  </a:lnTo>
                  <a:lnTo>
                    <a:pt x="348842" y="200971"/>
                  </a:lnTo>
                  <a:lnTo>
                    <a:pt x="343935" y="195668"/>
                  </a:lnTo>
                  <a:lnTo>
                    <a:pt x="348963" y="190109"/>
                  </a:lnTo>
                  <a:lnTo>
                    <a:pt x="344311" y="183399"/>
                  </a:lnTo>
                  <a:lnTo>
                    <a:pt x="343935" y="178067"/>
                  </a:lnTo>
                  <a:cubicBezTo>
                    <a:pt x="343935" y="178067"/>
                    <a:pt x="343819" y="173743"/>
                    <a:pt x="343269" y="170079"/>
                  </a:cubicBezTo>
                  <a:cubicBezTo>
                    <a:pt x="342773" y="166464"/>
                    <a:pt x="340334" y="165963"/>
                    <a:pt x="340334" y="165963"/>
                  </a:cubicBezTo>
                  <a:lnTo>
                    <a:pt x="337740" y="160915"/>
                  </a:lnTo>
                  <a:lnTo>
                    <a:pt x="330914" y="157690"/>
                  </a:lnTo>
                  <a:lnTo>
                    <a:pt x="325707" y="157440"/>
                  </a:lnTo>
                  <a:lnTo>
                    <a:pt x="319026" y="159247"/>
                  </a:lnTo>
                  <a:lnTo>
                    <a:pt x="312431" y="154600"/>
                  </a:lnTo>
                  <a:lnTo>
                    <a:pt x="306227" y="153188"/>
                  </a:lnTo>
                  <a:lnTo>
                    <a:pt x="300939" y="148598"/>
                  </a:lnTo>
                  <a:lnTo>
                    <a:pt x="300153" y="143966"/>
                  </a:lnTo>
                  <a:lnTo>
                    <a:pt x="301209" y="138277"/>
                  </a:lnTo>
                  <a:lnTo>
                    <a:pt x="294223" y="134363"/>
                  </a:lnTo>
                  <a:lnTo>
                    <a:pt x="288805" y="133857"/>
                  </a:lnTo>
                  <a:cubicBezTo>
                    <a:pt x="288805" y="133857"/>
                    <a:pt x="294725" y="122509"/>
                    <a:pt x="292642" y="115794"/>
                  </a:cubicBezTo>
                  <a:cubicBezTo>
                    <a:pt x="290608" y="109083"/>
                    <a:pt x="285700" y="103110"/>
                    <a:pt x="285700" y="103110"/>
                  </a:cubicBezTo>
                  <a:lnTo>
                    <a:pt x="277443" y="107275"/>
                  </a:lnTo>
                  <a:lnTo>
                    <a:pt x="276657" y="112713"/>
                  </a:lnTo>
                  <a:lnTo>
                    <a:pt x="270973" y="110616"/>
                  </a:lnTo>
                  <a:lnTo>
                    <a:pt x="268384" y="105487"/>
                  </a:lnTo>
                  <a:lnTo>
                    <a:pt x="261684" y="102614"/>
                  </a:lnTo>
                  <a:lnTo>
                    <a:pt x="256265" y="96689"/>
                  </a:lnTo>
                  <a:lnTo>
                    <a:pt x="248268" y="98993"/>
                  </a:lnTo>
                  <a:lnTo>
                    <a:pt x="242950" y="91690"/>
                  </a:lnTo>
                  <a:cubicBezTo>
                    <a:pt x="241017" y="89116"/>
                    <a:pt x="240106" y="86156"/>
                    <a:pt x="241649" y="82545"/>
                  </a:cubicBezTo>
                  <a:cubicBezTo>
                    <a:pt x="243225" y="78925"/>
                    <a:pt x="244223" y="74803"/>
                    <a:pt x="243225" y="72195"/>
                  </a:cubicBezTo>
                  <a:cubicBezTo>
                    <a:pt x="242198" y="69621"/>
                    <a:pt x="240617" y="59801"/>
                    <a:pt x="242579" y="54778"/>
                  </a:cubicBezTo>
                  <a:cubicBezTo>
                    <a:pt x="238675" y="54397"/>
                    <a:pt x="237021" y="53351"/>
                    <a:pt x="237021" y="53351"/>
                  </a:cubicBezTo>
                  <a:cubicBezTo>
                    <a:pt x="237021" y="53351"/>
                    <a:pt x="238544" y="41988"/>
                    <a:pt x="235960" y="40320"/>
                  </a:cubicBezTo>
                  <a:cubicBezTo>
                    <a:pt x="233381" y="38609"/>
                    <a:pt x="228729" y="35755"/>
                    <a:pt x="226266" y="30370"/>
                  </a:cubicBezTo>
                  <a:cubicBezTo>
                    <a:pt x="221633" y="33441"/>
                    <a:pt x="220086" y="34261"/>
                    <a:pt x="220086" y="34261"/>
                  </a:cubicBezTo>
                  <a:lnTo>
                    <a:pt x="214523" y="41077"/>
                  </a:lnTo>
                  <a:lnTo>
                    <a:pt x="199559" y="31923"/>
                  </a:lnTo>
                  <a:lnTo>
                    <a:pt x="191904" y="19635"/>
                  </a:lnTo>
                  <a:cubicBezTo>
                    <a:pt x="191904" y="19635"/>
                    <a:pt x="184041" y="20401"/>
                    <a:pt x="181602" y="21823"/>
                  </a:cubicBezTo>
                  <a:cubicBezTo>
                    <a:pt x="178237" y="20681"/>
                    <a:pt x="173850" y="20536"/>
                    <a:pt x="173850" y="20536"/>
                  </a:cubicBezTo>
                  <a:lnTo>
                    <a:pt x="168181" y="22725"/>
                  </a:lnTo>
                  <a:lnTo>
                    <a:pt x="163524" y="28683"/>
                  </a:lnTo>
                  <a:lnTo>
                    <a:pt x="164431" y="35153"/>
                  </a:lnTo>
                  <a:lnTo>
                    <a:pt x="155527" y="25318"/>
                  </a:lnTo>
                  <a:lnTo>
                    <a:pt x="149323" y="28028"/>
                  </a:lnTo>
                  <a:lnTo>
                    <a:pt x="151902" y="22228"/>
                  </a:lnTo>
                  <a:lnTo>
                    <a:pt x="150754" y="16029"/>
                  </a:lnTo>
                  <a:lnTo>
                    <a:pt x="144015" y="17326"/>
                  </a:lnTo>
                  <a:lnTo>
                    <a:pt x="138351" y="23535"/>
                  </a:lnTo>
                  <a:lnTo>
                    <a:pt x="131096" y="18217"/>
                  </a:lnTo>
                  <a:lnTo>
                    <a:pt x="126318" y="20536"/>
                  </a:lnTo>
                  <a:lnTo>
                    <a:pt x="124515" y="14346"/>
                  </a:lnTo>
                  <a:lnTo>
                    <a:pt x="119733" y="13190"/>
                  </a:lnTo>
                  <a:lnTo>
                    <a:pt x="112907" y="14211"/>
                  </a:lnTo>
                  <a:lnTo>
                    <a:pt x="106818" y="11271"/>
                  </a:lnTo>
                  <a:lnTo>
                    <a:pt x="102547" y="5828"/>
                  </a:lnTo>
                  <a:lnTo>
                    <a:pt x="95967" y="4411"/>
                  </a:lnTo>
                  <a:lnTo>
                    <a:pt x="91826" y="1282"/>
                  </a:lnTo>
                  <a:lnTo>
                    <a:pt x="82315" y="5563"/>
                  </a:lnTo>
                  <a:lnTo>
                    <a:pt x="76366" y="0"/>
                  </a:lnTo>
                  <a:lnTo>
                    <a:pt x="69526" y="4797"/>
                  </a:lnTo>
                  <a:lnTo>
                    <a:pt x="65254" y="9955"/>
                  </a:lnTo>
                  <a:lnTo>
                    <a:pt x="58534" y="11271"/>
                  </a:lnTo>
                  <a:lnTo>
                    <a:pt x="52865" y="15257"/>
                  </a:lnTo>
                  <a:lnTo>
                    <a:pt x="51559" y="21823"/>
                  </a:lnTo>
                  <a:lnTo>
                    <a:pt x="45104" y="24663"/>
                  </a:lnTo>
                  <a:cubicBezTo>
                    <a:pt x="45104" y="24663"/>
                    <a:pt x="35048" y="20681"/>
                    <a:pt x="29460" y="28568"/>
                  </a:cubicBezTo>
                  <a:cubicBezTo>
                    <a:pt x="28453" y="30756"/>
                    <a:pt x="24548" y="31807"/>
                    <a:pt x="22090" y="30110"/>
                  </a:cubicBezTo>
                  <a:cubicBezTo>
                    <a:pt x="19622" y="28418"/>
                    <a:pt x="17327" y="28028"/>
                    <a:pt x="15273" y="29078"/>
                  </a:cubicBezTo>
                  <a:cubicBezTo>
                    <a:pt x="13205" y="30110"/>
                    <a:pt x="10482" y="29705"/>
                    <a:pt x="11127" y="32053"/>
                  </a:cubicBezTo>
                  <a:cubicBezTo>
                    <a:pt x="11759" y="34362"/>
                    <a:pt x="12294" y="36700"/>
                    <a:pt x="12294" y="36700"/>
                  </a:cubicBezTo>
                  <a:lnTo>
                    <a:pt x="11016" y="43555"/>
                  </a:lnTo>
                  <a:lnTo>
                    <a:pt x="2749" y="40586"/>
                  </a:lnTo>
                  <a:cubicBezTo>
                    <a:pt x="2749" y="40586"/>
                    <a:pt x="-471" y="45845"/>
                    <a:pt x="59" y="51958"/>
                  </a:cubicBezTo>
                  <a:cubicBezTo>
                    <a:pt x="633" y="51331"/>
                    <a:pt x="1177" y="50849"/>
                    <a:pt x="1568" y="50627"/>
                  </a:cubicBezTo>
                  <a:cubicBezTo>
                    <a:pt x="14102" y="42871"/>
                    <a:pt x="37868" y="58890"/>
                    <a:pt x="38249" y="6040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17" name="Freihandform: Form 616">
              <a:extLst>
                <a:ext uri="{FF2B5EF4-FFF2-40B4-BE49-F238E27FC236}">
                  <a16:creationId xmlns:a16="http://schemas.microsoft.com/office/drawing/2014/main" id="{70B2EEAD-2948-6AD6-CE24-57D2B499A19C}"/>
                </a:ext>
              </a:extLst>
            </p:cNvPr>
            <p:cNvSpPr/>
            <p:nvPr/>
          </p:nvSpPr>
          <p:spPr>
            <a:xfrm>
              <a:off x="4951579" y="512645"/>
              <a:ext cx="1703194" cy="2427379"/>
            </a:xfrm>
            <a:custGeom>
              <a:avLst/>
              <a:gdLst>
                <a:gd name="connsiteX0" fmla="*/ 421470 w 1334724"/>
                <a:gd name="connsiteY0" fmla="*/ 1760036 h 1902921"/>
                <a:gd name="connsiteX1" fmla="*/ 427317 w 1334724"/>
                <a:gd name="connsiteY1" fmla="*/ 1771750 h 1902921"/>
                <a:gd name="connsiteX2" fmla="*/ 430075 w 1334724"/>
                <a:gd name="connsiteY2" fmla="*/ 1785002 h 1902921"/>
                <a:gd name="connsiteX3" fmla="*/ 436120 w 1334724"/>
                <a:gd name="connsiteY3" fmla="*/ 1785002 h 1902921"/>
                <a:gd name="connsiteX4" fmla="*/ 444354 w 1334724"/>
                <a:gd name="connsiteY4" fmla="*/ 1778282 h 1902921"/>
                <a:gd name="connsiteX5" fmla="*/ 445733 w 1334724"/>
                <a:gd name="connsiteY5" fmla="*/ 1765016 h 1902921"/>
                <a:gd name="connsiteX6" fmla="*/ 449011 w 1334724"/>
                <a:gd name="connsiteY6" fmla="*/ 1758151 h 1902921"/>
                <a:gd name="connsiteX7" fmla="*/ 449353 w 1334724"/>
                <a:gd name="connsiteY7" fmla="*/ 1743173 h 1902921"/>
                <a:gd name="connsiteX8" fmla="*/ 447810 w 1334724"/>
                <a:gd name="connsiteY8" fmla="*/ 1717349 h 1902921"/>
                <a:gd name="connsiteX9" fmla="*/ 440753 w 1334724"/>
                <a:gd name="connsiteY9" fmla="*/ 1691336 h 1902921"/>
                <a:gd name="connsiteX10" fmla="*/ 445217 w 1334724"/>
                <a:gd name="connsiteY10" fmla="*/ 1683580 h 1902921"/>
                <a:gd name="connsiteX11" fmla="*/ 450558 w 1334724"/>
                <a:gd name="connsiteY11" fmla="*/ 1681844 h 1902921"/>
                <a:gd name="connsiteX12" fmla="*/ 455032 w 1334724"/>
                <a:gd name="connsiteY12" fmla="*/ 1674632 h 1902921"/>
                <a:gd name="connsiteX13" fmla="*/ 454694 w 1334724"/>
                <a:gd name="connsiteY13" fmla="*/ 1663434 h 1902921"/>
                <a:gd name="connsiteX14" fmla="*/ 451416 w 1334724"/>
                <a:gd name="connsiteY14" fmla="*/ 1657924 h 1902921"/>
                <a:gd name="connsiteX15" fmla="*/ 451416 w 1334724"/>
                <a:gd name="connsiteY15" fmla="*/ 1651729 h 1902921"/>
                <a:gd name="connsiteX16" fmla="*/ 458127 w 1334724"/>
                <a:gd name="connsiteY16" fmla="*/ 1648615 h 1902921"/>
                <a:gd name="connsiteX17" fmla="*/ 469489 w 1334724"/>
                <a:gd name="connsiteY17" fmla="*/ 1648615 h 1902921"/>
                <a:gd name="connsiteX18" fmla="*/ 493771 w 1334724"/>
                <a:gd name="connsiteY18" fmla="*/ 1600601 h 1902921"/>
                <a:gd name="connsiteX19" fmla="*/ 492059 w 1334724"/>
                <a:gd name="connsiteY19" fmla="*/ 1594030 h 1902921"/>
                <a:gd name="connsiteX20" fmla="*/ 497902 w 1334724"/>
                <a:gd name="connsiteY20" fmla="*/ 1564084 h 1902921"/>
                <a:gd name="connsiteX21" fmla="*/ 491370 w 1334724"/>
                <a:gd name="connsiteY21" fmla="*/ 1550137 h 1902921"/>
                <a:gd name="connsiteX22" fmla="*/ 485696 w 1334724"/>
                <a:gd name="connsiteY22" fmla="*/ 1538428 h 1902921"/>
                <a:gd name="connsiteX23" fmla="*/ 477593 w 1334724"/>
                <a:gd name="connsiteY23" fmla="*/ 1516026 h 1902921"/>
                <a:gd name="connsiteX24" fmla="*/ 475370 w 1334724"/>
                <a:gd name="connsiteY24" fmla="*/ 1508120 h 1902921"/>
                <a:gd name="connsiteX25" fmla="*/ 476402 w 1334724"/>
                <a:gd name="connsiteY25" fmla="*/ 1496425 h 1902921"/>
                <a:gd name="connsiteX26" fmla="*/ 493771 w 1334724"/>
                <a:gd name="connsiteY26" fmla="*/ 1491416 h 1902921"/>
                <a:gd name="connsiteX27" fmla="*/ 495680 w 1334724"/>
                <a:gd name="connsiteY27" fmla="*/ 1492091 h 1902921"/>
                <a:gd name="connsiteX28" fmla="*/ 503070 w 1334724"/>
                <a:gd name="connsiteY28" fmla="*/ 1489536 h 1902921"/>
                <a:gd name="connsiteX29" fmla="*/ 505996 w 1334724"/>
                <a:gd name="connsiteY29" fmla="*/ 1475026 h 1902921"/>
                <a:gd name="connsiteX30" fmla="*/ 512017 w 1334724"/>
                <a:gd name="connsiteY30" fmla="*/ 1449211 h 1902921"/>
                <a:gd name="connsiteX31" fmla="*/ 492059 w 1334724"/>
                <a:gd name="connsiteY31" fmla="*/ 1422548 h 1902921"/>
                <a:gd name="connsiteX32" fmla="*/ 480697 w 1334724"/>
                <a:gd name="connsiteY32" fmla="*/ 1421825 h 1902921"/>
                <a:gd name="connsiteX33" fmla="*/ 462957 w 1334724"/>
                <a:gd name="connsiteY33" fmla="*/ 1401346 h 1902921"/>
                <a:gd name="connsiteX34" fmla="*/ 470202 w 1334724"/>
                <a:gd name="connsiteY34" fmla="*/ 1332449 h 1902921"/>
                <a:gd name="connsiteX35" fmla="*/ 463135 w 1334724"/>
                <a:gd name="connsiteY35" fmla="*/ 1307844 h 1902921"/>
                <a:gd name="connsiteX36" fmla="*/ 455210 w 1334724"/>
                <a:gd name="connsiteY36" fmla="*/ 1278240 h 1902921"/>
                <a:gd name="connsiteX37" fmla="*/ 458295 w 1334724"/>
                <a:gd name="connsiteY37" fmla="*/ 1266844 h 1902921"/>
                <a:gd name="connsiteX38" fmla="*/ 453128 w 1334724"/>
                <a:gd name="connsiteY38" fmla="*/ 1240176 h 1902921"/>
                <a:gd name="connsiteX39" fmla="*/ 460542 w 1334724"/>
                <a:gd name="connsiteY39" fmla="*/ 1227594 h 1902921"/>
                <a:gd name="connsiteX40" fmla="*/ 445718 w 1334724"/>
                <a:gd name="connsiteY40" fmla="*/ 1188874 h 1902921"/>
                <a:gd name="connsiteX41" fmla="*/ 458474 w 1334724"/>
                <a:gd name="connsiteY41" fmla="*/ 1161825 h 1902921"/>
                <a:gd name="connsiteX42" fmla="*/ 455716 w 1334724"/>
                <a:gd name="connsiteY42" fmla="*/ 1146856 h 1902921"/>
                <a:gd name="connsiteX43" fmla="*/ 464152 w 1334724"/>
                <a:gd name="connsiteY43" fmla="*/ 1134959 h 1902921"/>
                <a:gd name="connsiteX44" fmla="*/ 465194 w 1334724"/>
                <a:gd name="connsiteY44" fmla="*/ 1130842 h 1902921"/>
                <a:gd name="connsiteX45" fmla="*/ 515811 w 1334724"/>
                <a:gd name="connsiteY45" fmla="*/ 1077293 h 1902921"/>
                <a:gd name="connsiteX46" fmla="*/ 561454 w 1334724"/>
                <a:gd name="connsiteY46" fmla="*/ 1082620 h 1902921"/>
                <a:gd name="connsiteX47" fmla="*/ 570748 w 1334724"/>
                <a:gd name="connsiteY47" fmla="*/ 1059707 h 1902921"/>
                <a:gd name="connsiteX48" fmla="*/ 564544 w 1334724"/>
                <a:gd name="connsiteY48" fmla="*/ 1023875 h 1902921"/>
                <a:gd name="connsiteX49" fmla="*/ 551108 w 1334724"/>
                <a:gd name="connsiteY49" fmla="*/ 1019411 h 1902921"/>
                <a:gd name="connsiteX50" fmla="*/ 536482 w 1334724"/>
                <a:gd name="connsiteY50" fmla="*/ 1008049 h 1902921"/>
                <a:gd name="connsiteX51" fmla="*/ 571611 w 1334724"/>
                <a:gd name="connsiteY51" fmla="*/ 934369 h 1902921"/>
                <a:gd name="connsiteX52" fmla="*/ 573337 w 1334724"/>
                <a:gd name="connsiteY52" fmla="*/ 916099 h 1902921"/>
                <a:gd name="connsiteX53" fmla="*/ 579006 w 1334724"/>
                <a:gd name="connsiteY53" fmla="*/ 908877 h 1902921"/>
                <a:gd name="connsiteX54" fmla="*/ 579705 w 1334724"/>
                <a:gd name="connsiteY54" fmla="*/ 893894 h 1902921"/>
                <a:gd name="connsiteX55" fmla="*/ 579705 w 1334724"/>
                <a:gd name="connsiteY55" fmla="*/ 849317 h 1902921"/>
                <a:gd name="connsiteX56" fmla="*/ 583658 w 1334724"/>
                <a:gd name="connsiteY56" fmla="*/ 836210 h 1902921"/>
                <a:gd name="connsiteX57" fmla="*/ 574200 w 1334724"/>
                <a:gd name="connsiteY57" fmla="*/ 793489 h 1902921"/>
                <a:gd name="connsiteX58" fmla="*/ 601200 w 1334724"/>
                <a:gd name="connsiteY58" fmla="*/ 788379 h 1902921"/>
                <a:gd name="connsiteX59" fmla="*/ 624485 w 1334724"/>
                <a:gd name="connsiteY59" fmla="*/ 768874 h 1902921"/>
                <a:gd name="connsiteX60" fmla="*/ 624668 w 1334724"/>
                <a:gd name="connsiteY60" fmla="*/ 758727 h 1902921"/>
                <a:gd name="connsiteX61" fmla="*/ 619292 w 1334724"/>
                <a:gd name="connsiteY61" fmla="*/ 739420 h 1902921"/>
                <a:gd name="connsiteX62" fmla="*/ 624986 w 1334724"/>
                <a:gd name="connsiteY62" fmla="*/ 732550 h 1902921"/>
                <a:gd name="connsiteX63" fmla="*/ 645657 w 1334724"/>
                <a:gd name="connsiteY63" fmla="*/ 687433 h 1902921"/>
                <a:gd name="connsiteX64" fmla="*/ 666815 w 1334724"/>
                <a:gd name="connsiteY64" fmla="*/ 658687 h 1902921"/>
                <a:gd name="connsiteX65" fmla="*/ 666319 w 1334724"/>
                <a:gd name="connsiteY65" fmla="*/ 637163 h 1902921"/>
                <a:gd name="connsiteX66" fmla="*/ 646530 w 1334724"/>
                <a:gd name="connsiteY66" fmla="*/ 607376 h 1902921"/>
                <a:gd name="connsiteX67" fmla="*/ 648067 w 1334724"/>
                <a:gd name="connsiteY67" fmla="*/ 596331 h 1902921"/>
                <a:gd name="connsiteX68" fmla="*/ 660818 w 1334724"/>
                <a:gd name="connsiteY68" fmla="*/ 590831 h 1902921"/>
                <a:gd name="connsiteX69" fmla="*/ 668579 w 1334724"/>
                <a:gd name="connsiteY69" fmla="*/ 575159 h 1902921"/>
                <a:gd name="connsiteX70" fmla="*/ 674417 w 1334724"/>
                <a:gd name="connsiteY70" fmla="*/ 536082 h 1902921"/>
                <a:gd name="connsiteX71" fmla="*/ 689308 w 1334724"/>
                <a:gd name="connsiteY71" fmla="*/ 521765 h 1902921"/>
                <a:gd name="connsiteX72" fmla="*/ 697995 w 1334724"/>
                <a:gd name="connsiteY72" fmla="*/ 509033 h 1902921"/>
                <a:gd name="connsiteX73" fmla="*/ 707989 w 1334724"/>
                <a:gd name="connsiteY73" fmla="*/ 508532 h 1902921"/>
                <a:gd name="connsiteX74" fmla="*/ 719356 w 1334724"/>
                <a:gd name="connsiteY74" fmla="*/ 513352 h 1902921"/>
                <a:gd name="connsiteX75" fmla="*/ 727281 w 1334724"/>
                <a:gd name="connsiteY75" fmla="*/ 519176 h 1902921"/>
                <a:gd name="connsiteX76" fmla="*/ 734343 w 1334724"/>
                <a:gd name="connsiteY76" fmla="*/ 517117 h 1902921"/>
                <a:gd name="connsiteX77" fmla="*/ 743643 w 1334724"/>
                <a:gd name="connsiteY77" fmla="*/ 489586 h 1902921"/>
                <a:gd name="connsiteX78" fmla="*/ 736243 w 1334724"/>
                <a:gd name="connsiteY78" fmla="*/ 454993 h 1902921"/>
                <a:gd name="connsiteX79" fmla="*/ 736397 w 1334724"/>
                <a:gd name="connsiteY79" fmla="*/ 441524 h 1902921"/>
                <a:gd name="connsiteX80" fmla="*/ 750879 w 1334724"/>
                <a:gd name="connsiteY80" fmla="*/ 434307 h 1902921"/>
                <a:gd name="connsiteX81" fmla="*/ 762742 w 1334724"/>
                <a:gd name="connsiteY81" fmla="*/ 443438 h 1902921"/>
                <a:gd name="connsiteX82" fmla="*/ 778588 w 1334724"/>
                <a:gd name="connsiteY82" fmla="*/ 439475 h 1902921"/>
                <a:gd name="connsiteX83" fmla="*/ 831090 w 1334724"/>
                <a:gd name="connsiteY83" fmla="*/ 454993 h 1902921"/>
                <a:gd name="connsiteX84" fmla="*/ 842805 w 1334724"/>
                <a:gd name="connsiteY84" fmla="*/ 434992 h 1902921"/>
                <a:gd name="connsiteX85" fmla="*/ 828892 w 1334724"/>
                <a:gd name="connsiteY85" fmla="*/ 427746 h 1902921"/>
                <a:gd name="connsiteX86" fmla="*/ 842294 w 1334724"/>
                <a:gd name="connsiteY86" fmla="*/ 390550 h 1902921"/>
                <a:gd name="connsiteX87" fmla="*/ 839199 w 1334724"/>
                <a:gd name="connsiteY87" fmla="*/ 373677 h 1902921"/>
                <a:gd name="connsiteX88" fmla="*/ 825764 w 1334724"/>
                <a:gd name="connsiteY88" fmla="*/ 359914 h 1902921"/>
                <a:gd name="connsiteX89" fmla="*/ 850547 w 1334724"/>
                <a:gd name="connsiteY89" fmla="*/ 353874 h 1902921"/>
                <a:gd name="connsiteX90" fmla="*/ 850739 w 1334724"/>
                <a:gd name="connsiteY90" fmla="*/ 353927 h 1902921"/>
                <a:gd name="connsiteX91" fmla="*/ 854828 w 1334724"/>
                <a:gd name="connsiteY91" fmla="*/ 343273 h 1902921"/>
                <a:gd name="connsiteX92" fmla="*/ 868518 w 1334724"/>
                <a:gd name="connsiteY92" fmla="*/ 349714 h 1902921"/>
                <a:gd name="connsiteX93" fmla="*/ 875229 w 1334724"/>
                <a:gd name="connsiteY93" fmla="*/ 342092 h 1902921"/>
                <a:gd name="connsiteX94" fmla="*/ 868268 w 1334724"/>
                <a:gd name="connsiteY94" fmla="*/ 330088 h 1902921"/>
                <a:gd name="connsiteX95" fmla="*/ 869290 w 1334724"/>
                <a:gd name="connsiteY95" fmla="*/ 322207 h 1902921"/>
                <a:gd name="connsiteX96" fmla="*/ 879235 w 1334724"/>
                <a:gd name="connsiteY96" fmla="*/ 312527 h 1902921"/>
                <a:gd name="connsiteX97" fmla="*/ 896411 w 1334724"/>
                <a:gd name="connsiteY97" fmla="*/ 313573 h 1902921"/>
                <a:gd name="connsiteX98" fmla="*/ 920813 w 1334724"/>
                <a:gd name="connsiteY98" fmla="*/ 345466 h 1902921"/>
                <a:gd name="connsiteX99" fmla="*/ 928835 w 1334724"/>
                <a:gd name="connsiteY99" fmla="*/ 352702 h 1902921"/>
                <a:gd name="connsiteX100" fmla="*/ 932682 w 1334724"/>
                <a:gd name="connsiteY100" fmla="*/ 360068 h 1902921"/>
                <a:gd name="connsiteX101" fmla="*/ 937348 w 1334724"/>
                <a:gd name="connsiteY101" fmla="*/ 364812 h 1902921"/>
                <a:gd name="connsiteX102" fmla="*/ 947573 w 1334724"/>
                <a:gd name="connsiteY102" fmla="*/ 384317 h 1902921"/>
                <a:gd name="connsiteX103" fmla="*/ 956337 w 1334724"/>
                <a:gd name="connsiteY103" fmla="*/ 380190 h 1902921"/>
                <a:gd name="connsiteX104" fmla="*/ 970664 w 1334724"/>
                <a:gd name="connsiteY104" fmla="*/ 385883 h 1902921"/>
                <a:gd name="connsiteX105" fmla="*/ 977114 w 1334724"/>
                <a:gd name="connsiteY105" fmla="*/ 383695 h 1902921"/>
                <a:gd name="connsiteX106" fmla="*/ 988472 w 1334724"/>
                <a:gd name="connsiteY106" fmla="*/ 390280 h 1902921"/>
                <a:gd name="connsiteX107" fmla="*/ 1001907 w 1334724"/>
                <a:gd name="connsiteY107" fmla="*/ 377481 h 1902921"/>
                <a:gd name="connsiteX108" fmla="*/ 1011206 w 1334724"/>
                <a:gd name="connsiteY108" fmla="*/ 374526 h 1902921"/>
                <a:gd name="connsiteX109" fmla="*/ 1014436 w 1334724"/>
                <a:gd name="connsiteY109" fmla="*/ 367666 h 1902921"/>
                <a:gd name="connsiteX110" fmla="*/ 1013410 w 1334724"/>
                <a:gd name="connsiteY110" fmla="*/ 361727 h 1902921"/>
                <a:gd name="connsiteX111" fmla="*/ 1018476 w 1334724"/>
                <a:gd name="connsiteY111" fmla="*/ 355662 h 1902921"/>
                <a:gd name="connsiteX112" fmla="*/ 1033305 w 1334724"/>
                <a:gd name="connsiteY112" fmla="*/ 360073 h 1902921"/>
                <a:gd name="connsiteX113" fmla="*/ 1049840 w 1334724"/>
                <a:gd name="connsiteY113" fmla="*/ 367290 h 1902921"/>
                <a:gd name="connsiteX114" fmla="*/ 1072950 w 1334724"/>
                <a:gd name="connsiteY114" fmla="*/ 380330 h 1902921"/>
                <a:gd name="connsiteX115" fmla="*/ 1077202 w 1334724"/>
                <a:gd name="connsiteY115" fmla="*/ 379428 h 1902921"/>
                <a:gd name="connsiteX116" fmla="*/ 1079815 w 1334724"/>
                <a:gd name="connsiteY116" fmla="*/ 372593 h 1902921"/>
                <a:gd name="connsiteX117" fmla="*/ 1085094 w 1334724"/>
                <a:gd name="connsiteY117" fmla="*/ 364817 h 1902921"/>
                <a:gd name="connsiteX118" fmla="*/ 1096933 w 1334724"/>
                <a:gd name="connsiteY118" fmla="*/ 328970 h 1902921"/>
                <a:gd name="connsiteX119" fmla="*/ 1103947 w 1334724"/>
                <a:gd name="connsiteY119" fmla="*/ 328285 h 1902921"/>
                <a:gd name="connsiteX120" fmla="*/ 1104834 w 1334724"/>
                <a:gd name="connsiteY120" fmla="*/ 323007 h 1902921"/>
                <a:gd name="connsiteX121" fmla="*/ 1107809 w 1334724"/>
                <a:gd name="connsiteY121" fmla="*/ 310863 h 1902921"/>
                <a:gd name="connsiteX122" fmla="*/ 1104583 w 1334724"/>
                <a:gd name="connsiteY122" fmla="*/ 303232 h 1902921"/>
                <a:gd name="connsiteX123" fmla="*/ 1101484 w 1334724"/>
                <a:gd name="connsiteY123" fmla="*/ 291879 h 1902921"/>
                <a:gd name="connsiteX124" fmla="*/ 1098138 w 1334724"/>
                <a:gd name="connsiteY124" fmla="*/ 285531 h 1902921"/>
                <a:gd name="connsiteX125" fmla="*/ 1097883 w 1334724"/>
                <a:gd name="connsiteY125" fmla="*/ 271213 h 1902921"/>
                <a:gd name="connsiteX126" fmla="*/ 1099180 w 1334724"/>
                <a:gd name="connsiteY126" fmla="*/ 257498 h 1902921"/>
                <a:gd name="connsiteX127" fmla="*/ 1096475 w 1334724"/>
                <a:gd name="connsiteY127" fmla="*/ 252856 h 1902921"/>
                <a:gd name="connsiteX128" fmla="*/ 1097627 w 1334724"/>
                <a:gd name="connsiteY128" fmla="*/ 238664 h 1902921"/>
                <a:gd name="connsiteX129" fmla="*/ 1098389 w 1334724"/>
                <a:gd name="connsiteY129" fmla="*/ 224688 h 1902921"/>
                <a:gd name="connsiteX130" fmla="*/ 1097627 w 1334724"/>
                <a:gd name="connsiteY130" fmla="*/ 212849 h 1902921"/>
                <a:gd name="connsiteX131" fmla="*/ 1107167 w 1334724"/>
                <a:gd name="connsiteY131" fmla="*/ 196569 h 1902921"/>
                <a:gd name="connsiteX132" fmla="*/ 1111178 w 1334724"/>
                <a:gd name="connsiteY132" fmla="*/ 190215 h 1902921"/>
                <a:gd name="connsiteX133" fmla="*/ 1113762 w 1334724"/>
                <a:gd name="connsiteY133" fmla="*/ 175382 h 1902921"/>
                <a:gd name="connsiteX134" fmla="*/ 1118940 w 1334724"/>
                <a:gd name="connsiteY134" fmla="*/ 173073 h 1902921"/>
                <a:gd name="connsiteX135" fmla="*/ 1124614 w 1334724"/>
                <a:gd name="connsiteY135" fmla="*/ 172813 h 1902921"/>
                <a:gd name="connsiteX136" fmla="*/ 1131175 w 1334724"/>
                <a:gd name="connsiteY136" fmla="*/ 169062 h 1902921"/>
                <a:gd name="connsiteX137" fmla="*/ 1149416 w 1334724"/>
                <a:gd name="connsiteY137" fmla="*/ 165047 h 1902921"/>
                <a:gd name="connsiteX138" fmla="*/ 1150313 w 1334724"/>
                <a:gd name="connsiteY138" fmla="*/ 159623 h 1902921"/>
                <a:gd name="connsiteX139" fmla="*/ 1158821 w 1334724"/>
                <a:gd name="connsiteY139" fmla="*/ 150835 h 1902921"/>
                <a:gd name="connsiteX140" fmla="*/ 1159988 w 1334724"/>
                <a:gd name="connsiteY140" fmla="*/ 144120 h 1902921"/>
                <a:gd name="connsiteX141" fmla="*/ 1172252 w 1334724"/>
                <a:gd name="connsiteY141" fmla="*/ 138465 h 1902921"/>
                <a:gd name="connsiteX142" fmla="*/ 1192653 w 1334724"/>
                <a:gd name="connsiteY142" fmla="*/ 160144 h 1902921"/>
                <a:gd name="connsiteX143" fmla="*/ 1203264 w 1334724"/>
                <a:gd name="connsiteY143" fmla="*/ 162198 h 1902921"/>
                <a:gd name="connsiteX144" fmla="*/ 1209058 w 1334724"/>
                <a:gd name="connsiteY144" fmla="*/ 170735 h 1902921"/>
                <a:gd name="connsiteX145" fmla="*/ 1242133 w 1334724"/>
                <a:gd name="connsiteY145" fmla="*/ 176428 h 1902921"/>
                <a:gd name="connsiteX146" fmla="*/ 1248351 w 1334724"/>
                <a:gd name="connsiteY146" fmla="*/ 181726 h 1902921"/>
                <a:gd name="connsiteX147" fmla="*/ 1260861 w 1334724"/>
                <a:gd name="connsiteY147" fmla="*/ 199804 h 1902921"/>
                <a:gd name="connsiteX148" fmla="*/ 1258147 w 1334724"/>
                <a:gd name="connsiteY148" fmla="*/ 225763 h 1902921"/>
                <a:gd name="connsiteX149" fmla="*/ 1249619 w 1334724"/>
                <a:gd name="connsiteY149" fmla="*/ 244092 h 1902921"/>
                <a:gd name="connsiteX150" fmla="*/ 1252979 w 1334724"/>
                <a:gd name="connsiteY150" fmla="*/ 261398 h 1902921"/>
                <a:gd name="connsiteX151" fmla="*/ 1265865 w 1334724"/>
                <a:gd name="connsiteY151" fmla="*/ 269989 h 1902921"/>
                <a:gd name="connsiteX152" fmla="*/ 1274041 w 1334724"/>
                <a:gd name="connsiteY152" fmla="*/ 250045 h 1902921"/>
                <a:gd name="connsiteX153" fmla="*/ 1273347 w 1334724"/>
                <a:gd name="connsiteY153" fmla="*/ 236586 h 1902921"/>
                <a:gd name="connsiteX154" fmla="*/ 1270917 w 1334724"/>
                <a:gd name="connsiteY154" fmla="*/ 229755 h 1902921"/>
                <a:gd name="connsiteX155" fmla="*/ 1275950 w 1334724"/>
                <a:gd name="connsiteY155" fmla="*/ 222023 h 1902921"/>
                <a:gd name="connsiteX156" fmla="*/ 1283061 w 1334724"/>
                <a:gd name="connsiteY156" fmla="*/ 219554 h 1902921"/>
                <a:gd name="connsiteX157" fmla="*/ 1288744 w 1334724"/>
                <a:gd name="connsiteY157" fmla="*/ 212058 h 1902921"/>
                <a:gd name="connsiteX158" fmla="*/ 1296742 w 1334724"/>
                <a:gd name="connsiteY158" fmla="*/ 206644 h 1902921"/>
                <a:gd name="connsiteX159" fmla="*/ 1300632 w 1334724"/>
                <a:gd name="connsiteY159" fmla="*/ 197210 h 1902921"/>
                <a:gd name="connsiteX160" fmla="*/ 1300632 w 1334724"/>
                <a:gd name="connsiteY160" fmla="*/ 189083 h 1902921"/>
                <a:gd name="connsiteX161" fmla="*/ 1301649 w 1334724"/>
                <a:gd name="connsiteY161" fmla="*/ 183259 h 1902921"/>
                <a:gd name="connsiteX162" fmla="*/ 1298280 w 1334724"/>
                <a:gd name="connsiteY162" fmla="*/ 169829 h 1902921"/>
                <a:gd name="connsiteX163" fmla="*/ 1303467 w 1334724"/>
                <a:gd name="connsiteY163" fmla="*/ 169973 h 1902921"/>
                <a:gd name="connsiteX164" fmla="*/ 1315466 w 1334724"/>
                <a:gd name="connsiteY164" fmla="*/ 177981 h 1902921"/>
                <a:gd name="connsiteX165" fmla="*/ 1322195 w 1334724"/>
                <a:gd name="connsiteY165" fmla="*/ 176433 h 1902921"/>
                <a:gd name="connsiteX166" fmla="*/ 1327884 w 1334724"/>
                <a:gd name="connsiteY166" fmla="*/ 176669 h 1902921"/>
                <a:gd name="connsiteX167" fmla="*/ 1334348 w 1334724"/>
                <a:gd name="connsiteY167" fmla="*/ 171887 h 1902921"/>
                <a:gd name="connsiteX168" fmla="*/ 1334724 w 1334724"/>
                <a:gd name="connsiteY168" fmla="*/ 165567 h 1902921"/>
                <a:gd name="connsiteX169" fmla="*/ 1330593 w 1334724"/>
                <a:gd name="connsiteY169" fmla="*/ 152146 h 1902921"/>
                <a:gd name="connsiteX170" fmla="*/ 1322923 w 1334724"/>
                <a:gd name="connsiteY170" fmla="*/ 142105 h 1902921"/>
                <a:gd name="connsiteX171" fmla="*/ 1305800 w 1334724"/>
                <a:gd name="connsiteY171" fmla="*/ 142751 h 1902921"/>
                <a:gd name="connsiteX172" fmla="*/ 1307535 w 1334724"/>
                <a:gd name="connsiteY172" fmla="*/ 147465 h 1902921"/>
                <a:gd name="connsiteX173" fmla="*/ 1309902 w 1334724"/>
                <a:gd name="connsiteY173" fmla="*/ 154624 h 1902921"/>
                <a:gd name="connsiteX174" fmla="*/ 1309946 w 1334724"/>
                <a:gd name="connsiteY174" fmla="*/ 155694 h 1902921"/>
                <a:gd name="connsiteX175" fmla="*/ 1308167 w 1334724"/>
                <a:gd name="connsiteY175" fmla="*/ 162231 h 1902921"/>
                <a:gd name="connsiteX176" fmla="*/ 1306161 w 1334724"/>
                <a:gd name="connsiteY176" fmla="*/ 163547 h 1902921"/>
                <a:gd name="connsiteX177" fmla="*/ 1304628 w 1334724"/>
                <a:gd name="connsiteY177" fmla="*/ 161730 h 1902921"/>
                <a:gd name="connsiteX178" fmla="*/ 1304628 w 1334724"/>
                <a:gd name="connsiteY178" fmla="*/ 154875 h 1902921"/>
                <a:gd name="connsiteX179" fmla="*/ 1302908 w 1334724"/>
                <a:gd name="connsiteY179" fmla="*/ 148743 h 1902921"/>
                <a:gd name="connsiteX180" fmla="*/ 1299924 w 1334724"/>
                <a:gd name="connsiteY180" fmla="*/ 143247 h 1902921"/>
                <a:gd name="connsiteX181" fmla="*/ 1294958 w 1334724"/>
                <a:gd name="connsiteY181" fmla="*/ 142732 h 1902921"/>
                <a:gd name="connsiteX182" fmla="*/ 1293310 w 1334724"/>
                <a:gd name="connsiteY182" fmla="*/ 141117 h 1902921"/>
                <a:gd name="connsiteX183" fmla="*/ 1292934 w 1334724"/>
                <a:gd name="connsiteY183" fmla="*/ 137154 h 1902921"/>
                <a:gd name="connsiteX184" fmla="*/ 1290624 w 1334724"/>
                <a:gd name="connsiteY184" fmla="*/ 137626 h 1902921"/>
                <a:gd name="connsiteX185" fmla="*/ 1291502 w 1334724"/>
                <a:gd name="connsiteY185" fmla="*/ 143247 h 1902921"/>
                <a:gd name="connsiteX186" fmla="*/ 1295435 w 1334724"/>
                <a:gd name="connsiteY186" fmla="*/ 149461 h 1902921"/>
                <a:gd name="connsiteX187" fmla="*/ 1295667 w 1334724"/>
                <a:gd name="connsiteY187" fmla="*/ 150932 h 1902921"/>
                <a:gd name="connsiteX188" fmla="*/ 1294018 w 1334724"/>
                <a:gd name="connsiteY188" fmla="*/ 157015 h 1902921"/>
                <a:gd name="connsiteX189" fmla="*/ 1295667 w 1334724"/>
                <a:gd name="connsiteY189" fmla="*/ 163085 h 1902921"/>
                <a:gd name="connsiteX190" fmla="*/ 1295759 w 1334724"/>
                <a:gd name="connsiteY190" fmla="*/ 163552 h 1902921"/>
                <a:gd name="connsiteX191" fmla="*/ 1295759 w 1334724"/>
                <a:gd name="connsiteY191" fmla="*/ 164719 h 1902921"/>
                <a:gd name="connsiteX192" fmla="*/ 1294370 w 1334724"/>
                <a:gd name="connsiteY192" fmla="*/ 166507 h 1902921"/>
                <a:gd name="connsiteX193" fmla="*/ 1292321 w 1334724"/>
                <a:gd name="connsiteY193" fmla="*/ 165596 h 1902921"/>
                <a:gd name="connsiteX194" fmla="*/ 1289949 w 1334724"/>
                <a:gd name="connsiteY194" fmla="*/ 161200 h 1902921"/>
                <a:gd name="connsiteX195" fmla="*/ 1286281 w 1334724"/>
                <a:gd name="connsiteY195" fmla="*/ 164839 h 1902921"/>
                <a:gd name="connsiteX196" fmla="*/ 1284324 w 1334724"/>
                <a:gd name="connsiteY196" fmla="*/ 165206 h 1902921"/>
                <a:gd name="connsiteX197" fmla="*/ 1283177 w 1334724"/>
                <a:gd name="connsiteY197" fmla="*/ 163552 h 1902921"/>
                <a:gd name="connsiteX198" fmla="*/ 1283177 w 1334724"/>
                <a:gd name="connsiteY198" fmla="*/ 161735 h 1902921"/>
                <a:gd name="connsiteX199" fmla="*/ 1283287 w 1334724"/>
                <a:gd name="connsiteY199" fmla="*/ 161094 h 1902921"/>
                <a:gd name="connsiteX200" fmla="*/ 1284695 w 1334724"/>
                <a:gd name="connsiteY200" fmla="*/ 157613 h 1902921"/>
                <a:gd name="connsiteX201" fmla="*/ 1284194 w 1334724"/>
                <a:gd name="connsiteY201" fmla="*/ 157613 h 1902921"/>
                <a:gd name="connsiteX202" fmla="*/ 1282357 w 1334724"/>
                <a:gd name="connsiteY202" fmla="*/ 160371 h 1902921"/>
                <a:gd name="connsiteX203" fmla="*/ 1281205 w 1334724"/>
                <a:gd name="connsiteY203" fmla="*/ 161166 h 1902921"/>
                <a:gd name="connsiteX204" fmla="*/ 1275810 w 1334724"/>
                <a:gd name="connsiteY204" fmla="*/ 162231 h 1902921"/>
                <a:gd name="connsiteX205" fmla="*/ 1270937 w 1334724"/>
                <a:gd name="connsiteY205" fmla="*/ 167635 h 1902921"/>
                <a:gd name="connsiteX206" fmla="*/ 1266212 w 1334724"/>
                <a:gd name="connsiteY206" fmla="*/ 174134 h 1902921"/>
                <a:gd name="connsiteX207" fmla="*/ 1264004 w 1334724"/>
                <a:gd name="connsiteY207" fmla="*/ 174736 h 1902921"/>
                <a:gd name="connsiteX208" fmla="*/ 1262992 w 1334724"/>
                <a:gd name="connsiteY208" fmla="*/ 172654 h 1902921"/>
                <a:gd name="connsiteX209" fmla="*/ 1264747 w 1334724"/>
                <a:gd name="connsiteY209" fmla="*/ 165022 h 1902921"/>
                <a:gd name="connsiteX210" fmla="*/ 1265335 w 1334724"/>
                <a:gd name="connsiteY210" fmla="*/ 159194 h 1902921"/>
                <a:gd name="connsiteX211" fmla="*/ 1265552 w 1334724"/>
                <a:gd name="connsiteY211" fmla="*/ 158519 h 1902921"/>
                <a:gd name="connsiteX212" fmla="*/ 1268893 w 1334724"/>
                <a:gd name="connsiteY212" fmla="*/ 152358 h 1902921"/>
                <a:gd name="connsiteX213" fmla="*/ 1268893 w 1334724"/>
                <a:gd name="connsiteY213" fmla="*/ 147191 h 1902921"/>
                <a:gd name="connsiteX214" fmla="*/ 1267051 w 1334724"/>
                <a:gd name="connsiteY214" fmla="*/ 142158 h 1902921"/>
                <a:gd name="connsiteX215" fmla="*/ 1262742 w 1334724"/>
                <a:gd name="connsiteY215" fmla="*/ 142158 h 1902921"/>
                <a:gd name="connsiteX216" fmla="*/ 1256932 w 1334724"/>
                <a:gd name="connsiteY216" fmla="*/ 144819 h 1902921"/>
                <a:gd name="connsiteX217" fmla="*/ 1251837 w 1334724"/>
                <a:gd name="connsiteY217" fmla="*/ 150493 h 1902921"/>
                <a:gd name="connsiteX218" fmla="*/ 1249359 w 1334724"/>
                <a:gd name="connsiteY218" fmla="*/ 150710 h 1902921"/>
                <a:gd name="connsiteX219" fmla="*/ 1248945 w 1334724"/>
                <a:gd name="connsiteY219" fmla="*/ 148285 h 1902921"/>
                <a:gd name="connsiteX220" fmla="*/ 1253042 w 1334724"/>
                <a:gd name="connsiteY220" fmla="*/ 141830 h 1902921"/>
                <a:gd name="connsiteX221" fmla="*/ 1255833 w 1334724"/>
                <a:gd name="connsiteY221" fmla="*/ 136257 h 1902921"/>
                <a:gd name="connsiteX222" fmla="*/ 1256267 w 1334724"/>
                <a:gd name="connsiteY222" fmla="*/ 132290 h 1902921"/>
                <a:gd name="connsiteX223" fmla="*/ 1251933 w 1334724"/>
                <a:gd name="connsiteY223" fmla="*/ 131403 h 1902921"/>
                <a:gd name="connsiteX224" fmla="*/ 1245228 w 1334724"/>
                <a:gd name="connsiteY224" fmla="*/ 130284 h 1902921"/>
                <a:gd name="connsiteX225" fmla="*/ 1239689 w 1334724"/>
                <a:gd name="connsiteY225" fmla="*/ 131962 h 1902921"/>
                <a:gd name="connsiteX226" fmla="*/ 1238353 w 1334724"/>
                <a:gd name="connsiteY226" fmla="*/ 131846 h 1902921"/>
                <a:gd name="connsiteX227" fmla="*/ 1232708 w 1334724"/>
                <a:gd name="connsiteY227" fmla="*/ 129031 h 1902921"/>
                <a:gd name="connsiteX228" fmla="*/ 1226591 w 1334724"/>
                <a:gd name="connsiteY228" fmla="*/ 128457 h 1902921"/>
                <a:gd name="connsiteX229" fmla="*/ 1212996 w 1334724"/>
                <a:gd name="connsiteY229" fmla="*/ 128457 h 1902921"/>
                <a:gd name="connsiteX230" fmla="*/ 1212490 w 1334724"/>
                <a:gd name="connsiteY230" fmla="*/ 128395 h 1902921"/>
                <a:gd name="connsiteX231" fmla="*/ 1205953 w 1334724"/>
                <a:gd name="connsiteY231" fmla="*/ 126626 h 1902921"/>
                <a:gd name="connsiteX232" fmla="*/ 1204748 w 1334724"/>
                <a:gd name="connsiteY232" fmla="*/ 125498 h 1902921"/>
                <a:gd name="connsiteX233" fmla="*/ 1204951 w 1334724"/>
                <a:gd name="connsiteY233" fmla="*/ 123839 h 1902921"/>
                <a:gd name="connsiteX234" fmla="*/ 1207892 w 1334724"/>
                <a:gd name="connsiteY234" fmla="*/ 119573 h 1902921"/>
                <a:gd name="connsiteX235" fmla="*/ 1204353 w 1334724"/>
                <a:gd name="connsiteY235" fmla="*/ 120113 h 1902921"/>
                <a:gd name="connsiteX236" fmla="*/ 1202338 w 1334724"/>
                <a:gd name="connsiteY236" fmla="*/ 118912 h 1902921"/>
                <a:gd name="connsiteX237" fmla="*/ 1203186 w 1334724"/>
                <a:gd name="connsiteY237" fmla="*/ 116729 h 1902921"/>
                <a:gd name="connsiteX238" fmla="*/ 1209718 w 1334724"/>
                <a:gd name="connsiteY238" fmla="*/ 113137 h 1902921"/>
                <a:gd name="connsiteX239" fmla="*/ 1211227 w 1334724"/>
                <a:gd name="connsiteY239" fmla="*/ 113031 h 1902921"/>
                <a:gd name="connsiteX240" fmla="*/ 1217557 w 1334724"/>
                <a:gd name="connsiteY240" fmla="*/ 115331 h 1902921"/>
                <a:gd name="connsiteX241" fmla="*/ 1223636 w 1334724"/>
                <a:gd name="connsiteY241" fmla="*/ 115880 h 1902921"/>
                <a:gd name="connsiteX242" fmla="*/ 1230563 w 1334724"/>
                <a:gd name="connsiteY242" fmla="*/ 114733 h 1902921"/>
                <a:gd name="connsiteX243" fmla="*/ 1230689 w 1334724"/>
                <a:gd name="connsiteY243" fmla="*/ 114733 h 1902921"/>
                <a:gd name="connsiteX244" fmla="*/ 1237818 w 1334724"/>
                <a:gd name="connsiteY244" fmla="*/ 114130 h 1902921"/>
                <a:gd name="connsiteX245" fmla="*/ 1238320 w 1334724"/>
                <a:gd name="connsiteY245" fmla="*/ 114164 h 1902921"/>
                <a:gd name="connsiteX246" fmla="*/ 1243946 w 1334724"/>
                <a:gd name="connsiteY246" fmla="*/ 115282 h 1902921"/>
                <a:gd name="connsiteX247" fmla="*/ 1249513 w 1334724"/>
                <a:gd name="connsiteY247" fmla="*/ 114164 h 1902921"/>
                <a:gd name="connsiteX248" fmla="*/ 1249870 w 1334724"/>
                <a:gd name="connsiteY248" fmla="*/ 114130 h 1902921"/>
                <a:gd name="connsiteX249" fmla="*/ 1257024 w 1334724"/>
                <a:gd name="connsiteY249" fmla="*/ 114130 h 1902921"/>
                <a:gd name="connsiteX250" fmla="*/ 1257183 w 1334724"/>
                <a:gd name="connsiteY250" fmla="*/ 114130 h 1902921"/>
                <a:gd name="connsiteX251" fmla="*/ 1263556 w 1334724"/>
                <a:gd name="connsiteY251" fmla="*/ 114709 h 1902921"/>
                <a:gd name="connsiteX252" fmla="*/ 1269129 w 1334724"/>
                <a:gd name="connsiteY252" fmla="*/ 114169 h 1902921"/>
                <a:gd name="connsiteX253" fmla="*/ 1270512 w 1334724"/>
                <a:gd name="connsiteY253" fmla="*/ 113701 h 1902921"/>
                <a:gd name="connsiteX254" fmla="*/ 1276582 w 1334724"/>
                <a:gd name="connsiteY254" fmla="*/ 109845 h 1902921"/>
                <a:gd name="connsiteX255" fmla="*/ 1281133 w 1334724"/>
                <a:gd name="connsiteY255" fmla="*/ 103558 h 1902921"/>
                <a:gd name="connsiteX256" fmla="*/ 1285447 w 1334724"/>
                <a:gd name="connsiteY256" fmla="*/ 97668 h 1902921"/>
                <a:gd name="connsiteX257" fmla="*/ 1284396 w 1334724"/>
                <a:gd name="connsiteY257" fmla="*/ 91878 h 1902921"/>
                <a:gd name="connsiteX258" fmla="*/ 1284632 w 1334724"/>
                <a:gd name="connsiteY258" fmla="*/ 90576 h 1902921"/>
                <a:gd name="connsiteX259" fmla="*/ 1289390 w 1334724"/>
                <a:gd name="connsiteY259" fmla="*/ 82834 h 1902921"/>
                <a:gd name="connsiteX260" fmla="*/ 1289925 w 1334724"/>
                <a:gd name="connsiteY260" fmla="*/ 82328 h 1902921"/>
                <a:gd name="connsiteX261" fmla="*/ 1295869 w 1334724"/>
                <a:gd name="connsiteY261" fmla="*/ 78139 h 1902921"/>
                <a:gd name="connsiteX262" fmla="*/ 1295903 w 1334724"/>
                <a:gd name="connsiteY262" fmla="*/ 78115 h 1902921"/>
                <a:gd name="connsiteX263" fmla="*/ 1302464 w 1334724"/>
                <a:gd name="connsiteY263" fmla="*/ 73926 h 1902921"/>
                <a:gd name="connsiteX264" fmla="*/ 1302551 w 1334724"/>
                <a:gd name="connsiteY264" fmla="*/ 73882 h 1902921"/>
                <a:gd name="connsiteX265" fmla="*/ 1308495 w 1334724"/>
                <a:gd name="connsiteY265" fmla="*/ 70647 h 1902921"/>
                <a:gd name="connsiteX266" fmla="*/ 1310413 w 1334724"/>
                <a:gd name="connsiteY266" fmla="*/ 65398 h 1902921"/>
                <a:gd name="connsiteX267" fmla="*/ 1308350 w 1334724"/>
                <a:gd name="connsiteY267" fmla="*/ 60268 h 1902921"/>
                <a:gd name="connsiteX268" fmla="*/ 1304064 w 1334724"/>
                <a:gd name="connsiteY268" fmla="*/ 53823 h 1902921"/>
                <a:gd name="connsiteX269" fmla="*/ 1299461 w 1334724"/>
                <a:gd name="connsiteY269" fmla="*/ 52440 h 1902921"/>
                <a:gd name="connsiteX270" fmla="*/ 1293575 w 1334724"/>
                <a:gd name="connsiteY270" fmla="*/ 55660 h 1902921"/>
                <a:gd name="connsiteX271" fmla="*/ 1291232 w 1334724"/>
                <a:gd name="connsiteY271" fmla="*/ 55110 h 1902921"/>
                <a:gd name="connsiteX272" fmla="*/ 1287337 w 1334724"/>
                <a:gd name="connsiteY272" fmla="*/ 49499 h 1902921"/>
                <a:gd name="connsiteX273" fmla="*/ 1281798 w 1334724"/>
                <a:gd name="connsiteY273" fmla="*/ 46746 h 1902921"/>
                <a:gd name="connsiteX274" fmla="*/ 1281619 w 1334724"/>
                <a:gd name="connsiteY274" fmla="*/ 46655 h 1902921"/>
                <a:gd name="connsiteX275" fmla="*/ 1275786 w 1334724"/>
                <a:gd name="connsiteY275" fmla="*/ 42938 h 1902921"/>
                <a:gd name="connsiteX276" fmla="*/ 1271062 w 1334724"/>
                <a:gd name="connsiteY276" fmla="*/ 44360 h 1902921"/>
                <a:gd name="connsiteX277" fmla="*/ 1264858 w 1334724"/>
                <a:gd name="connsiteY277" fmla="*/ 50569 h 1902921"/>
                <a:gd name="connsiteX278" fmla="*/ 1263715 w 1334724"/>
                <a:gd name="connsiteY278" fmla="*/ 51114 h 1902921"/>
                <a:gd name="connsiteX279" fmla="*/ 1257178 w 1334724"/>
                <a:gd name="connsiteY279" fmla="*/ 51697 h 1902921"/>
                <a:gd name="connsiteX280" fmla="*/ 1255371 w 1334724"/>
                <a:gd name="connsiteY280" fmla="*/ 50627 h 1902921"/>
                <a:gd name="connsiteX281" fmla="*/ 1255804 w 1334724"/>
                <a:gd name="connsiteY281" fmla="*/ 48549 h 1902921"/>
                <a:gd name="connsiteX282" fmla="*/ 1262187 w 1334724"/>
                <a:gd name="connsiteY282" fmla="*/ 42711 h 1902921"/>
                <a:gd name="connsiteX283" fmla="*/ 1265277 w 1334724"/>
                <a:gd name="connsiteY283" fmla="*/ 38325 h 1902921"/>
                <a:gd name="connsiteX284" fmla="*/ 1260534 w 1334724"/>
                <a:gd name="connsiteY284" fmla="*/ 34434 h 1902921"/>
                <a:gd name="connsiteX285" fmla="*/ 1255231 w 1334724"/>
                <a:gd name="connsiteY285" fmla="*/ 34434 h 1902921"/>
                <a:gd name="connsiteX286" fmla="*/ 1253756 w 1334724"/>
                <a:gd name="connsiteY286" fmla="*/ 33697 h 1902921"/>
                <a:gd name="connsiteX287" fmla="*/ 1253486 w 1334724"/>
                <a:gd name="connsiteY287" fmla="*/ 32101 h 1902921"/>
                <a:gd name="connsiteX288" fmla="*/ 1254758 w 1334724"/>
                <a:gd name="connsiteY288" fmla="*/ 27888 h 1902921"/>
                <a:gd name="connsiteX289" fmla="*/ 1251172 w 1334724"/>
                <a:gd name="connsiteY289" fmla="*/ 26832 h 1902921"/>
                <a:gd name="connsiteX290" fmla="*/ 1247204 w 1334724"/>
                <a:gd name="connsiteY290" fmla="*/ 28582 h 1902921"/>
                <a:gd name="connsiteX291" fmla="*/ 1245662 w 1334724"/>
                <a:gd name="connsiteY291" fmla="*/ 33745 h 1902921"/>
                <a:gd name="connsiteX292" fmla="*/ 1245449 w 1334724"/>
                <a:gd name="connsiteY292" fmla="*/ 34198 h 1902921"/>
                <a:gd name="connsiteX293" fmla="*/ 1241299 w 1334724"/>
                <a:gd name="connsiteY293" fmla="*/ 40740 h 1902921"/>
                <a:gd name="connsiteX294" fmla="*/ 1239265 w 1334724"/>
                <a:gd name="connsiteY294" fmla="*/ 41511 h 1902921"/>
                <a:gd name="connsiteX295" fmla="*/ 1237939 w 1334724"/>
                <a:gd name="connsiteY295" fmla="*/ 39756 h 1902921"/>
                <a:gd name="connsiteX296" fmla="*/ 1237939 w 1334724"/>
                <a:gd name="connsiteY296" fmla="*/ 32868 h 1902921"/>
                <a:gd name="connsiteX297" fmla="*/ 1236753 w 1334724"/>
                <a:gd name="connsiteY297" fmla="*/ 28519 h 1902921"/>
                <a:gd name="connsiteX298" fmla="*/ 1232858 w 1334724"/>
                <a:gd name="connsiteY298" fmla="*/ 30076 h 1902921"/>
                <a:gd name="connsiteX299" fmla="*/ 1226654 w 1334724"/>
                <a:gd name="connsiteY299" fmla="*/ 34000 h 1902921"/>
                <a:gd name="connsiteX300" fmla="*/ 1221471 w 1334724"/>
                <a:gd name="connsiteY300" fmla="*/ 39790 h 1902921"/>
                <a:gd name="connsiteX301" fmla="*/ 1219456 w 1334724"/>
                <a:gd name="connsiteY301" fmla="*/ 40267 h 1902921"/>
                <a:gd name="connsiteX302" fmla="*/ 1218294 w 1334724"/>
                <a:gd name="connsiteY302" fmla="*/ 38580 h 1902921"/>
                <a:gd name="connsiteX303" fmla="*/ 1218294 w 1334724"/>
                <a:gd name="connsiteY303" fmla="*/ 33514 h 1902921"/>
                <a:gd name="connsiteX304" fmla="*/ 1213811 w 1334724"/>
                <a:gd name="connsiteY304" fmla="*/ 32617 h 1902921"/>
                <a:gd name="connsiteX305" fmla="*/ 1212553 w 1334724"/>
                <a:gd name="connsiteY305" fmla="*/ 31633 h 1902921"/>
                <a:gd name="connsiteX306" fmla="*/ 1212553 w 1334724"/>
                <a:gd name="connsiteY306" fmla="*/ 30019 h 1902921"/>
                <a:gd name="connsiteX307" fmla="*/ 1214785 w 1334724"/>
                <a:gd name="connsiteY307" fmla="*/ 25535 h 1902921"/>
                <a:gd name="connsiteX308" fmla="*/ 1209637 w 1334724"/>
                <a:gd name="connsiteY308" fmla="*/ 22248 h 1902921"/>
                <a:gd name="connsiteX309" fmla="*/ 1203939 w 1334724"/>
                <a:gd name="connsiteY309" fmla="*/ 18825 h 1902921"/>
                <a:gd name="connsiteX310" fmla="*/ 1197377 w 1334724"/>
                <a:gd name="connsiteY310" fmla="*/ 17191 h 1902921"/>
                <a:gd name="connsiteX311" fmla="*/ 1191988 w 1334724"/>
                <a:gd name="connsiteY311" fmla="*/ 17673 h 1902921"/>
                <a:gd name="connsiteX312" fmla="*/ 1187900 w 1334724"/>
                <a:gd name="connsiteY312" fmla="*/ 23800 h 1902921"/>
                <a:gd name="connsiteX313" fmla="*/ 1186189 w 1334724"/>
                <a:gd name="connsiteY313" fmla="*/ 31821 h 1902921"/>
                <a:gd name="connsiteX314" fmla="*/ 1186034 w 1334724"/>
                <a:gd name="connsiteY314" fmla="*/ 32222 h 1902921"/>
                <a:gd name="connsiteX315" fmla="*/ 1183262 w 1334724"/>
                <a:gd name="connsiteY315" fmla="*/ 37809 h 1902921"/>
                <a:gd name="connsiteX316" fmla="*/ 1183262 w 1334724"/>
                <a:gd name="connsiteY316" fmla="*/ 51514 h 1902921"/>
                <a:gd name="connsiteX317" fmla="*/ 1184414 w 1334724"/>
                <a:gd name="connsiteY317" fmla="*/ 58490 h 1902921"/>
                <a:gd name="connsiteX318" fmla="*/ 1184414 w 1334724"/>
                <a:gd name="connsiteY318" fmla="*/ 59116 h 1902921"/>
                <a:gd name="connsiteX319" fmla="*/ 1183378 w 1334724"/>
                <a:gd name="connsiteY319" fmla="*/ 64954 h 1902921"/>
                <a:gd name="connsiteX320" fmla="*/ 1187143 w 1334724"/>
                <a:gd name="connsiteY320" fmla="*/ 70908 h 1902921"/>
                <a:gd name="connsiteX321" fmla="*/ 1187196 w 1334724"/>
                <a:gd name="connsiteY321" fmla="*/ 71009 h 1902921"/>
                <a:gd name="connsiteX322" fmla="*/ 1190759 w 1334724"/>
                <a:gd name="connsiteY322" fmla="*/ 77570 h 1902921"/>
                <a:gd name="connsiteX323" fmla="*/ 1190513 w 1334724"/>
                <a:gd name="connsiteY323" fmla="*/ 79677 h 1902921"/>
                <a:gd name="connsiteX324" fmla="*/ 1188425 w 1334724"/>
                <a:gd name="connsiteY324" fmla="*/ 80086 h 1902921"/>
                <a:gd name="connsiteX325" fmla="*/ 1184043 w 1334724"/>
                <a:gd name="connsiteY325" fmla="*/ 78095 h 1902921"/>
                <a:gd name="connsiteX326" fmla="*/ 1183238 w 1334724"/>
                <a:gd name="connsiteY326" fmla="*/ 82873 h 1902921"/>
                <a:gd name="connsiteX327" fmla="*/ 1183094 w 1334724"/>
                <a:gd name="connsiteY327" fmla="*/ 83345 h 1902921"/>
                <a:gd name="connsiteX328" fmla="*/ 1180370 w 1334724"/>
                <a:gd name="connsiteY328" fmla="*/ 89386 h 1902921"/>
                <a:gd name="connsiteX329" fmla="*/ 1181459 w 1334724"/>
                <a:gd name="connsiteY329" fmla="*/ 95363 h 1902921"/>
                <a:gd name="connsiteX330" fmla="*/ 1181479 w 1334724"/>
                <a:gd name="connsiteY330" fmla="*/ 95546 h 1902921"/>
                <a:gd name="connsiteX331" fmla="*/ 1182052 w 1334724"/>
                <a:gd name="connsiteY331" fmla="*/ 103910 h 1902921"/>
                <a:gd name="connsiteX332" fmla="*/ 1182052 w 1334724"/>
                <a:gd name="connsiteY332" fmla="*/ 104021 h 1902921"/>
                <a:gd name="connsiteX333" fmla="*/ 1182052 w 1334724"/>
                <a:gd name="connsiteY333" fmla="*/ 105800 h 1902921"/>
                <a:gd name="connsiteX334" fmla="*/ 1180539 w 1334724"/>
                <a:gd name="connsiteY334" fmla="*/ 107598 h 1902921"/>
                <a:gd name="connsiteX335" fmla="*/ 1178538 w 1334724"/>
                <a:gd name="connsiteY335" fmla="*/ 106350 h 1902921"/>
                <a:gd name="connsiteX336" fmla="*/ 1176157 w 1334724"/>
                <a:gd name="connsiteY336" fmla="*/ 98617 h 1902921"/>
                <a:gd name="connsiteX337" fmla="*/ 1176094 w 1334724"/>
                <a:gd name="connsiteY337" fmla="*/ 98386 h 1902921"/>
                <a:gd name="connsiteX338" fmla="*/ 1174884 w 1334724"/>
                <a:gd name="connsiteY338" fmla="*/ 91854 h 1902921"/>
                <a:gd name="connsiteX339" fmla="*/ 1174976 w 1334724"/>
                <a:gd name="connsiteY339" fmla="*/ 90861 h 1902921"/>
                <a:gd name="connsiteX340" fmla="*/ 1177887 w 1334724"/>
                <a:gd name="connsiteY340" fmla="*/ 83369 h 1902921"/>
                <a:gd name="connsiteX341" fmla="*/ 1178283 w 1334724"/>
                <a:gd name="connsiteY341" fmla="*/ 78886 h 1902921"/>
                <a:gd name="connsiteX342" fmla="*/ 1175251 w 1334724"/>
                <a:gd name="connsiteY342" fmla="*/ 78553 h 1902921"/>
                <a:gd name="connsiteX343" fmla="*/ 1171674 w 1334724"/>
                <a:gd name="connsiteY343" fmla="*/ 84160 h 1902921"/>
                <a:gd name="connsiteX344" fmla="*/ 1169248 w 1334724"/>
                <a:gd name="connsiteY344" fmla="*/ 84758 h 1902921"/>
                <a:gd name="connsiteX345" fmla="*/ 1168511 w 1334724"/>
                <a:gd name="connsiteY345" fmla="*/ 82381 h 1902921"/>
                <a:gd name="connsiteX346" fmla="*/ 1169866 w 1334724"/>
                <a:gd name="connsiteY346" fmla="*/ 79672 h 1902921"/>
                <a:gd name="connsiteX347" fmla="*/ 1167716 w 1334724"/>
                <a:gd name="connsiteY347" fmla="*/ 80082 h 1902921"/>
                <a:gd name="connsiteX348" fmla="*/ 1164544 w 1334724"/>
                <a:gd name="connsiteY348" fmla="*/ 85307 h 1902921"/>
                <a:gd name="connsiteX349" fmla="*/ 1162495 w 1334724"/>
                <a:gd name="connsiteY349" fmla="*/ 86127 h 1902921"/>
                <a:gd name="connsiteX350" fmla="*/ 1162090 w 1334724"/>
                <a:gd name="connsiteY350" fmla="*/ 85852 h 1902921"/>
                <a:gd name="connsiteX351" fmla="*/ 1161723 w 1334724"/>
                <a:gd name="connsiteY351" fmla="*/ 86802 h 1902921"/>
                <a:gd name="connsiteX352" fmla="*/ 1159853 w 1334724"/>
                <a:gd name="connsiteY352" fmla="*/ 87954 h 1902921"/>
                <a:gd name="connsiteX353" fmla="*/ 1158243 w 1334724"/>
                <a:gd name="connsiteY353" fmla="*/ 86488 h 1902921"/>
                <a:gd name="connsiteX354" fmla="*/ 1157038 w 1334724"/>
                <a:gd name="connsiteY354" fmla="*/ 79942 h 1902921"/>
                <a:gd name="connsiteX355" fmla="*/ 1157351 w 1334724"/>
                <a:gd name="connsiteY355" fmla="*/ 78549 h 1902921"/>
                <a:gd name="connsiteX356" fmla="*/ 1163309 w 1334724"/>
                <a:gd name="connsiteY356" fmla="*/ 70233 h 1902921"/>
                <a:gd name="connsiteX357" fmla="*/ 1167325 w 1334724"/>
                <a:gd name="connsiteY357" fmla="*/ 64501 h 1902921"/>
                <a:gd name="connsiteX358" fmla="*/ 1170087 w 1334724"/>
                <a:gd name="connsiteY358" fmla="*/ 56749 h 1902921"/>
                <a:gd name="connsiteX359" fmla="*/ 1169716 w 1334724"/>
                <a:gd name="connsiteY359" fmla="*/ 52594 h 1902921"/>
                <a:gd name="connsiteX360" fmla="*/ 1165768 w 1334724"/>
                <a:gd name="connsiteY360" fmla="*/ 53303 h 1902921"/>
                <a:gd name="connsiteX361" fmla="*/ 1161439 w 1334724"/>
                <a:gd name="connsiteY361" fmla="*/ 58726 h 1902921"/>
                <a:gd name="connsiteX362" fmla="*/ 1161140 w 1334724"/>
                <a:gd name="connsiteY362" fmla="*/ 59044 h 1902921"/>
                <a:gd name="connsiteX363" fmla="*/ 1153398 w 1334724"/>
                <a:gd name="connsiteY363" fmla="*/ 64988 h 1902921"/>
                <a:gd name="connsiteX364" fmla="*/ 1153095 w 1334724"/>
                <a:gd name="connsiteY364" fmla="*/ 65176 h 1902921"/>
                <a:gd name="connsiteX365" fmla="*/ 1145965 w 1334724"/>
                <a:gd name="connsiteY365" fmla="*/ 68724 h 1902921"/>
                <a:gd name="connsiteX366" fmla="*/ 1143689 w 1334724"/>
                <a:gd name="connsiteY366" fmla="*/ 68189 h 1902921"/>
                <a:gd name="connsiteX367" fmla="*/ 1143868 w 1334724"/>
                <a:gd name="connsiteY367" fmla="*/ 65836 h 1902921"/>
                <a:gd name="connsiteX368" fmla="*/ 1150289 w 1334724"/>
                <a:gd name="connsiteY368" fmla="*/ 59381 h 1902921"/>
                <a:gd name="connsiteX369" fmla="*/ 1154367 w 1334724"/>
                <a:gd name="connsiteY369" fmla="*/ 53573 h 1902921"/>
                <a:gd name="connsiteX370" fmla="*/ 1154430 w 1334724"/>
                <a:gd name="connsiteY370" fmla="*/ 53471 h 1902921"/>
                <a:gd name="connsiteX371" fmla="*/ 1158667 w 1334724"/>
                <a:gd name="connsiteY371" fmla="*/ 48332 h 1902921"/>
                <a:gd name="connsiteX372" fmla="*/ 1154107 w 1334724"/>
                <a:gd name="connsiteY372" fmla="*/ 44611 h 1902921"/>
                <a:gd name="connsiteX373" fmla="*/ 1148891 w 1334724"/>
                <a:gd name="connsiteY373" fmla="*/ 45098 h 1902921"/>
                <a:gd name="connsiteX374" fmla="*/ 1148216 w 1334724"/>
                <a:gd name="connsiteY374" fmla="*/ 45045 h 1902921"/>
                <a:gd name="connsiteX375" fmla="*/ 1142219 w 1334724"/>
                <a:gd name="connsiteY375" fmla="*/ 43266 h 1902921"/>
                <a:gd name="connsiteX376" fmla="*/ 1140937 w 1334724"/>
                <a:gd name="connsiteY376" fmla="*/ 41598 h 1902921"/>
                <a:gd name="connsiteX377" fmla="*/ 1142089 w 1334724"/>
                <a:gd name="connsiteY377" fmla="*/ 39848 h 1902921"/>
                <a:gd name="connsiteX378" fmla="*/ 1148042 w 1334724"/>
                <a:gd name="connsiteY378" fmla="*/ 37442 h 1902921"/>
                <a:gd name="connsiteX379" fmla="*/ 1148201 w 1334724"/>
                <a:gd name="connsiteY379" fmla="*/ 37414 h 1902921"/>
                <a:gd name="connsiteX380" fmla="*/ 1154150 w 1334724"/>
                <a:gd name="connsiteY380" fmla="*/ 35606 h 1902921"/>
                <a:gd name="connsiteX381" fmla="*/ 1154902 w 1334724"/>
                <a:gd name="connsiteY381" fmla="*/ 35548 h 1902921"/>
                <a:gd name="connsiteX382" fmla="*/ 1159549 w 1334724"/>
                <a:gd name="connsiteY382" fmla="*/ 36126 h 1902921"/>
                <a:gd name="connsiteX383" fmla="*/ 1160518 w 1334724"/>
                <a:gd name="connsiteY383" fmla="*/ 36126 h 1902921"/>
                <a:gd name="connsiteX384" fmla="*/ 1165411 w 1334724"/>
                <a:gd name="connsiteY384" fmla="*/ 31720 h 1902921"/>
                <a:gd name="connsiteX385" fmla="*/ 1165932 w 1334724"/>
                <a:gd name="connsiteY385" fmla="*/ 25897 h 1902921"/>
                <a:gd name="connsiteX386" fmla="*/ 1166236 w 1334724"/>
                <a:gd name="connsiteY386" fmla="*/ 25082 h 1902921"/>
                <a:gd name="connsiteX387" fmla="*/ 1170155 w 1334724"/>
                <a:gd name="connsiteY387" fmla="*/ 18902 h 1902921"/>
                <a:gd name="connsiteX388" fmla="*/ 1170642 w 1334724"/>
                <a:gd name="connsiteY388" fmla="*/ 13956 h 1902921"/>
                <a:gd name="connsiteX389" fmla="*/ 1166747 w 1334724"/>
                <a:gd name="connsiteY389" fmla="*/ 7135 h 1902921"/>
                <a:gd name="connsiteX390" fmla="*/ 1161169 w 1334724"/>
                <a:gd name="connsiteY390" fmla="*/ 7612 h 1902921"/>
                <a:gd name="connsiteX391" fmla="*/ 1155587 w 1334724"/>
                <a:gd name="connsiteY391" fmla="*/ 10948 h 1902921"/>
                <a:gd name="connsiteX392" fmla="*/ 1153764 w 1334724"/>
                <a:gd name="connsiteY392" fmla="*/ 10962 h 1902921"/>
                <a:gd name="connsiteX393" fmla="*/ 1152853 w 1334724"/>
                <a:gd name="connsiteY393" fmla="*/ 9386 h 1902921"/>
                <a:gd name="connsiteX394" fmla="*/ 1152853 w 1334724"/>
                <a:gd name="connsiteY394" fmla="*/ 3452 h 1902921"/>
                <a:gd name="connsiteX395" fmla="*/ 1152853 w 1334724"/>
                <a:gd name="connsiteY395" fmla="*/ 3249 h 1902921"/>
                <a:gd name="connsiteX396" fmla="*/ 1153176 w 1334724"/>
                <a:gd name="connsiteY396" fmla="*/ 0 h 1902921"/>
                <a:gd name="connsiteX397" fmla="*/ 1149826 w 1334724"/>
                <a:gd name="connsiteY397" fmla="*/ 1012 h 1902921"/>
                <a:gd name="connsiteX398" fmla="*/ 1149450 w 1334724"/>
                <a:gd name="connsiteY398" fmla="*/ 1061 h 1902921"/>
                <a:gd name="connsiteX399" fmla="*/ 1143468 w 1334724"/>
                <a:gd name="connsiteY399" fmla="*/ 1615 h 1902921"/>
                <a:gd name="connsiteX400" fmla="*/ 1137957 w 1334724"/>
                <a:gd name="connsiteY400" fmla="*/ 6040 h 1902921"/>
                <a:gd name="connsiteX401" fmla="*/ 1136974 w 1334724"/>
                <a:gd name="connsiteY401" fmla="*/ 6426 h 1902921"/>
                <a:gd name="connsiteX402" fmla="*/ 1130423 w 1334724"/>
                <a:gd name="connsiteY402" fmla="*/ 7029 h 1902921"/>
                <a:gd name="connsiteX403" fmla="*/ 1128697 w 1334724"/>
                <a:gd name="connsiteY403" fmla="*/ 6142 h 1902921"/>
                <a:gd name="connsiteX404" fmla="*/ 1126412 w 1334724"/>
                <a:gd name="connsiteY404" fmla="*/ 2324 h 1902921"/>
                <a:gd name="connsiteX405" fmla="*/ 1123659 w 1334724"/>
                <a:gd name="connsiteY405" fmla="*/ 5361 h 1902921"/>
                <a:gd name="connsiteX406" fmla="*/ 1128195 w 1334724"/>
                <a:gd name="connsiteY406" fmla="*/ 11922 h 1902921"/>
                <a:gd name="connsiteX407" fmla="*/ 1128490 w 1334724"/>
                <a:gd name="connsiteY407" fmla="*/ 13281 h 1902921"/>
                <a:gd name="connsiteX408" fmla="*/ 1127313 w 1334724"/>
                <a:gd name="connsiteY408" fmla="*/ 19818 h 1902921"/>
                <a:gd name="connsiteX409" fmla="*/ 1126224 w 1334724"/>
                <a:gd name="connsiteY409" fmla="*/ 21197 h 1902921"/>
                <a:gd name="connsiteX410" fmla="*/ 1124503 w 1334724"/>
                <a:gd name="connsiteY410" fmla="*/ 20994 h 1902921"/>
                <a:gd name="connsiteX411" fmla="*/ 1117652 w 1334724"/>
                <a:gd name="connsiteY411" fmla="*/ 16439 h 1902921"/>
                <a:gd name="connsiteX412" fmla="*/ 1115233 w 1334724"/>
                <a:gd name="connsiteY412" fmla="*/ 15961 h 1902921"/>
                <a:gd name="connsiteX413" fmla="*/ 1116515 w 1334724"/>
                <a:gd name="connsiteY413" fmla="*/ 19490 h 1902921"/>
                <a:gd name="connsiteX414" fmla="*/ 1116616 w 1334724"/>
                <a:gd name="connsiteY414" fmla="*/ 19900 h 1902921"/>
                <a:gd name="connsiteX415" fmla="*/ 1117185 w 1334724"/>
                <a:gd name="connsiteY415" fmla="*/ 25873 h 1902921"/>
                <a:gd name="connsiteX416" fmla="*/ 1116635 w 1334724"/>
                <a:gd name="connsiteY416" fmla="*/ 27372 h 1902921"/>
                <a:gd name="connsiteX417" fmla="*/ 1115078 w 1334724"/>
                <a:gd name="connsiteY417" fmla="*/ 27840 h 1902921"/>
                <a:gd name="connsiteX418" fmla="*/ 1111241 w 1334724"/>
                <a:gd name="connsiteY418" fmla="*/ 27131 h 1902921"/>
                <a:gd name="connsiteX419" fmla="*/ 1112123 w 1334724"/>
                <a:gd name="connsiteY419" fmla="*/ 30930 h 1902921"/>
                <a:gd name="connsiteX420" fmla="*/ 1116737 w 1334724"/>
                <a:gd name="connsiteY420" fmla="*/ 31397 h 1902921"/>
                <a:gd name="connsiteX421" fmla="*/ 1123871 w 1334724"/>
                <a:gd name="connsiteY421" fmla="*/ 31976 h 1902921"/>
                <a:gd name="connsiteX422" fmla="*/ 1124059 w 1334724"/>
                <a:gd name="connsiteY422" fmla="*/ 31995 h 1902921"/>
                <a:gd name="connsiteX423" fmla="*/ 1130037 w 1334724"/>
                <a:gd name="connsiteY423" fmla="*/ 33200 h 1902921"/>
                <a:gd name="connsiteX424" fmla="*/ 1131473 w 1334724"/>
                <a:gd name="connsiteY424" fmla="*/ 35143 h 1902921"/>
                <a:gd name="connsiteX425" fmla="*/ 1131049 w 1334724"/>
                <a:gd name="connsiteY425" fmla="*/ 39564 h 1902921"/>
                <a:gd name="connsiteX426" fmla="*/ 1136116 w 1334724"/>
                <a:gd name="connsiteY426" fmla="*/ 40942 h 1902921"/>
                <a:gd name="connsiteX427" fmla="*/ 1137422 w 1334724"/>
                <a:gd name="connsiteY427" fmla="*/ 43010 h 1902921"/>
                <a:gd name="connsiteX428" fmla="*/ 1135480 w 1334724"/>
                <a:gd name="connsiteY428" fmla="*/ 44519 h 1902921"/>
                <a:gd name="connsiteX429" fmla="*/ 1128403 w 1334724"/>
                <a:gd name="connsiteY429" fmla="*/ 43979 h 1902921"/>
                <a:gd name="connsiteX430" fmla="*/ 1123153 w 1334724"/>
                <a:gd name="connsiteY430" fmla="*/ 47802 h 1902921"/>
                <a:gd name="connsiteX431" fmla="*/ 1123153 w 1334724"/>
                <a:gd name="connsiteY431" fmla="*/ 53409 h 1902921"/>
                <a:gd name="connsiteX432" fmla="*/ 1122203 w 1334724"/>
                <a:gd name="connsiteY432" fmla="*/ 55014 h 1902921"/>
                <a:gd name="connsiteX433" fmla="*/ 1117349 w 1334724"/>
                <a:gd name="connsiteY433" fmla="*/ 57680 h 1902921"/>
                <a:gd name="connsiteX434" fmla="*/ 1119937 w 1334724"/>
                <a:gd name="connsiteY434" fmla="*/ 61994 h 1902921"/>
                <a:gd name="connsiteX435" fmla="*/ 1120121 w 1334724"/>
                <a:gd name="connsiteY435" fmla="*/ 63474 h 1902921"/>
                <a:gd name="connsiteX436" fmla="*/ 1118612 w 1334724"/>
                <a:gd name="connsiteY436" fmla="*/ 68420 h 1902921"/>
                <a:gd name="connsiteX437" fmla="*/ 1123871 w 1334724"/>
                <a:gd name="connsiteY437" fmla="*/ 74215 h 1902921"/>
                <a:gd name="connsiteX438" fmla="*/ 1124146 w 1334724"/>
                <a:gd name="connsiteY438" fmla="*/ 76331 h 1902921"/>
                <a:gd name="connsiteX439" fmla="*/ 1122237 w 1334724"/>
                <a:gd name="connsiteY439" fmla="*/ 77233 h 1902921"/>
                <a:gd name="connsiteX440" fmla="*/ 1116684 w 1334724"/>
                <a:gd name="connsiteY440" fmla="*/ 76302 h 1902921"/>
                <a:gd name="connsiteX441" fmla="*/ 1115517 w 1334724"/>
                <a:gd name="connsiteY441" fmla="*/ 80135 h 1902921"/>
                <a:gd name="connsiteX442" fmla="*/ 1117575 w 1334724"/>
                <a:gd name="connsiteY442" fmla="*/ 85216 h 1902921"/>
                <a:gd name="connsiteX443" fmla="*/ 1122763 w 1334724"/>
                <a:gd name="connsiteY443" fmla="*/ 91536 h 1902921"/>
                <a:gd name="connsiteX444" fmla="*/ 1123095 w 1334724"/>
                <a:gd name="connsiteY444" fmla="*/ 93257 h 1902921"/>
                <a:gd name="connsiteX445" fmla="*/ 1121827 w 1334724"/>
                <a:gd name="connsiteY445" fmla="*/ 94467 h 1902921"/>
                <a:gd name="connsiteX446" fmla="*/ 1115536 w 1334724"/>
                <a:gd name="connsiteY446" fmla="*/ 96163 h 1902921"/>
                <a:gd name="connsiteX447" fmla="*/ 1109491 w 1334724"/>
                <a:gd name="connsiteY447" fmla="*/ 100044 h 1902921"/>
                <a:gd name="connsiteX448" fmla="*/ 1104921 w 1334724"/>
                <a:gd name="connsiteY448" fmla="*/ 105588 h 1902921"/>
                <a:gd name="connsiteX449" fmla="*/ 1106415 w 1334724"/>
                <a:gd name="connsiteY449" fmla="*/ 110621 h 1902921"/>
                <a:gd name="connsiteX450" fmla="*/ 1105451 w 1334724"/>
                <a:gd name="connsiteY450" fmla="*/ 112805 h 1902921"/>
                <a:gd name="connsiteX451" fmla="*/ 1098909 w 1334724"/>
                <a:gd name="connsiteY451" fmla="*/ 115793 h 1902921"/>
                <a:gd name="connsiteX452" fmla="*/ 1097203 w 1334724"/>
                <a:gd name="connsiteY452" fmla="*/ 115692 h 1902921"/>
                <a:gd name="connsiteX453" fmla="*/ 1096311 w 1334724"/>
                <a:gd name="connsiteY453" fmla="*/ 114256 h 1902921"/>
                <a:gd name="connsiteX454" fmla="*/ 1095738 w 1334724"/>
                <a:gd name="connsiteY454" fmla="*/ 106523 h 1902921"/>
                <a:gd name="connsiteX455" fmla="*/ 1095776 w 1334724"/>
                <a:gd name="connsiteY455" fmla="*/ 105921 h 1902921"/>
                <a:gd name="connsiteX456" fmla="*/ 1097531 w 1334724"/>
                <a:gd name="connsiteY456" fmla="*/ 99601 h 1902921"/>
                <a:gd name="connsiteX457" fmla="*/ 1097531 w 1334724"/>
                <a:gd name="connsiteY457" fmla="*/ 98878 h 1902921"/>
                <a:gd name="connsiteX458" fmla="*/ 1095776 w 1334724"/>
                <a:gd name="connsiteY458" fmla="*/ 92562 h 1902921"/>
                <a:gd name="connsiteX459" fmla="*/ 1095738 w 1334724"/>
                <a:gd name="connsiteY459" fmla="*/ 92283 h 1902921"/>
                <a:gd name="connsiteX460" fmla="*/ 1095140 w 1334724"/>
                <a:gd name="connsiteY460" fmla="*/ 86329 h 1902921"/>
                <a:gd name="connsiteX461" fmla="*/ 1095140 w 1334724"/>
                <a:gd name="connsiteY461" fmla="*/ 85973 h 1902921"/>
                <a:gd name="connsiteX462" fmla="*/ 1095675 w 1334724"/>
                <a:gd name="connsiteY462" fmla="*/ 79865 h 1902921"/>
                <a:gd name="connsiteX463" fmla="*/ 1093944 w 1334724"/>
                <a:gd name="connsiteY463" fmla="*/ 75468 h 1902921"/>
                <a:gd name="connsiteX464" fmla="*/ 1089018 w 1334724"/>
                <a:gd name="connsiteY464" fmla="*/ 75468 h 1902921"/>
                <a:gd name="connsiteX465" fmla="*/ 1082842 w 1334724"/>
                <a:gd name="connsiteY465" fmla="*/ 78288 h 1902921"/>
                <a:gd name="connsiteX466" fmla="*/ 1080596 w 1334724"/>
                <a:gd name="connsiteY466" fmla="*/ 77662 h 1902921"/>
                <a:gd name="connsiteX467" fmla="*/ 1080803 w 1334724"/>
                <a:gd name="connsiteY467" fmla="*/ 75333 h 1902921"/>
                <a:gd name="connsiteX468" fmla="*/ 1086646 w 1334724"/>
                <a:gd name="connsiteY468" fmla="*/ 69476 h 1902921"/>
                <a:gd name="connsiteX469" fmla="*/ 1091606 w 1334724"/>
                <a:gd name="connsiteY469" fmla="*/ 62838 h 1902921"/>
                <a:gd name="connsiteX470" fmla="*/ 1092190 w 1334724"/>
                <a:gd name="connsiteY470" fmla="*/ 56822 h 1902921"/>
                <a:gd name="connsiteX471" fmla="*/ 1092701 w 1334724"/>
                <a:gd name="connsiteY471" fmla="*/ 50858 h 1902921"/>
                <a:gd name="connsiteX472" fmla="*/ 1088834 w 1334724"/>
                <a:gd name="connsiteY472" fmla="*/ 44211 h 1902921"/>
                <a:gd name="connsiteX473" fmla="*/ 1088618 w 1334724"/>
                <a:gd name="connsiteY473" fmla="*/ 42957 h 1902921"/>
                <a:gd name="connsiteX474" fmla="*/ 1089620 w 1334724"/>
                <a:gd name="connsiteY474" fmla="*/ 37997 h 1902921"/>
                <a:gd name="connsiteX475" fmla="*/ 1085879 w 1334724"/>
                <a:gd name="connsiteY475" fmla="*/ 34646 h 1902921"/>
                <a:gd name="connsiteX476" fmla="*/ 1068992 w 1334724"/>
                <a:gd name="connsiteY476" fmla="*/ 87747 h 1902921"/>
                <a:gd name="connsiteX477" fmla="*/ 1057095 w 1334724"/>
                <a:gd name="connsiteY477" fmla="*/ 113272 h 1902921"/>
                <a:gd name="connsiteX478" fmla="*/ 1057047 w 1334724"/>
                <a:gd name="connsiteY478" fmla="*/ 113407 h 1902921"/>
                <a:gd name="connsiteX479" fmla="*/ 1055249 w 1334724"/>
                <a:gd name="connsiteY479" fmla="*/ 119968 h 1902921"/>
                <a:gd name="connsiteX480" fmla="*/ 1055065 w 1334724"/>
                <a:gd name="connsiteY480" fmla="*/ 120407 h 1902921"/>
                <a:gd name="connsiteX481" fmla="*/ 1051657 w 1334724"/>
                <a:gd name="connsiteY481" fmla="*/ 126100 h 1902921"/>
                <a:gd name="connsiteX482" fmla="*/ 1050770 w 1334724"/>
                <a:gd name="connsiteY482" fmla="*/ 130588 h 1902921"/>
                <a:gd name="connsiteX483" fmla="*/ 1056381 w 1334724"/>
                <a:gd name="connsiteY483" fmla="*/ 134681 h 1902921"/>
                <a:gd name="connsiteX484" fmla="*/ 1056844 w 1334724"/>
                <a:gd name="connsiteY484" fmla="*/ 137091 h 1902921"/>
                <a:gd name="connsiteX485" fmla="*/ 1053431 w 1334724"/>
                <a:gd name="connsiteY485" fmla="*/ 142780 h 1902921"/>
                <a:gd name="connsiteX486" fmla="*/ 1051700 w 1334724"/>
                <a:gd name="connsiteY486" fmla="*/ 149673 h 1902921"/>
                <a:gd name="connsiteX487" fmla="*/ 1051700 w 1334724"/>
                <a:gd name="connsiteY487" fmla="*/ 149702 h 1902921"/>
                <a:gd name="connsiteX488" fmla="*/ 1049936 w 1334724"/>
                <a:gd name="connsiteY488" fmla="*/ 156099 h 1902921"/>
                <a:gd name="connsiteX489" fmla="*/ 1049367 w 1334724"/>
                <a:gd name="connsiteY489" fmla="*/ 162472 h 1902921"/>
                <a:gd name="connsiteX490" fmla="*/ 1049194 w 1334724"/>
                <a:gd name="connsiteY490" fmla="*/ 163123 h 1902921"/>
                <a:gd name="connsiteX491" fmla="*/ 1045612 w 1334724"/>
                <a:gd name="connsiteY491" fmla="*/ 170263 h 1902921"/>
                <a:gd name="connsiteX492" fmla="*/ 1043925 w 1334724"/>
                <a:gd name="connsiteY492" fmla="*/ 171280 h 1902921"/>
                <a:gd name="connsiteX493" fmla="*/ 1042305 w 1334724"/>
                <a:gd name="connsiteY493" fmla="*/ 170128 h 1902921"/>
                <a:gd name="connsiteX494" fmla="*/ 1039952 w 1334724"/>
                <a:gd name="connsiteY494" fmla="*/ 164246 h 1902921"/>
                <a:gd name="connsiteX495" fmla="*/ 1038641 w 1334724"/>
                <a:gd name="connsiteY495" fmla="*/ 161609 h 1902921"/>
                <a:gd name="connsiteX496" fmla="*/ 1037561 w 1334724"/>
                <a:gd name="connsiteY496" fmla="*/ 163759 h 1902921"/>
                <a:gd name="connsiteX497" fmla="*/ 1038641 w 1334724"/>
                <a:gd name="connsiteY497" fmla="*/ 169110 h 1902921"/>
                <a:gd name="connsiteX498" fmla="*/ 1037561 w 1334724"/>
                <a:gd name="connsiteY498" fmla="*/ 171135 h 1902921"/>
                <a:gd name="connsiteX499" fmla="*/ 1035344 w 1334724"/>
                <a:gd name="connsiteY499" fmla="*/ 170513 h 1902921"/>
                <a:gd name="connsiteX500" fmla="*/ 1031184 w 1334724"/>
                <a:gd name="connsiteY500" fmla="*/ 164540 h 1902921"/>
                <a:gd name="connsiteX501" fmla="*/ 1030851 w 1334724"/>
                <a:gd name="connsiteY501" fmla="*/ 163509 h 1902921"/>
                <a:gd name="connsiteX502" fmla="*/ 1030851 w 1334724"/>
                <a:gd name="connsiteY502" fmla="*/ 157811 h 1902921"/>
                <a:gd name="connsiteX503" fmla="*/ 1029144 w 1334724"/>
                <a:gd name="connsiteY503" fmla="*/ 152122 h 1902921"/>
                <a:gd name="connsiteX504" fmla="*/ 1029318 w 1334724"/>
                <a:gd name="connsiteY504" fmla="*/ 150734 h 1902921"/>
                <a:gd name="connsiteX505" fmla="*/ 1032852 w 1334724"/>
                <a:gd name="connsiteY505" fmla="*/ 144226 h 1902921"/>
                <a:gd name="connsiteX506" fmla="*/ 1035464 w 1334724"/>
                <a:gd name="connsiteY506" fmla="*/ 138967 h 1902921"/>
                <a:gd name="connsiteX507" fmla="*/ 1033367 w 1334724"/>
                <a:gd name="connsiteY507" fmla="*/ 133196 h 1902921"/>
                <a:gd name="connsiteX508" fmla="*/ 1033281 w 1334724"/>
                <a:gd name="connsiteY508" fmla="*/ 132873 h 1902921"/>
                <a:gd name="connsiteX509" fmla="*/ 1032104 w 1334724"/>
                <a:gd name="connsiteY509" fmla="*/ 126327 h 1902921"/>
                <a:gd name="connsiteX510" fmla="*/ 1033367 w 1334724"/>
                <a:gd name="connsiteY510" fmla="*/ 124283 h 1902921"/>
                <a:gd name="connsiteX511" fmla="*/ 1037450 w 1334724"/>
                <a:gd name="connsiteY511" fmla="*/ 123053 h 1902921"/>
                <a:gd name="connsiteX512" fmla="*/ 1035724 w 1334724"/>
                <a:gd name="connsiteY512" fmla="*/ 118286 h 1902921"/>
                <a:gd name="connsiteX513" fmla="*/ 1035691 w 1334724"/>
                <a:gd name="connsiteY513" fmla="*/ 118170 h 1902921"/>
                <a:gd name="connsiteX514" fmla="*/ 1034428 w 1334724"/>
                <a:gd name="connsiteY514" fmla="*/ 113542 h 1902921"/>
                <a:gd name="connsiteX515" fmla="*/ 1029737 w 1334724"/>
                <a:gd name="connsiteY515" fmla="*/ 115215 h 1902921"/>
                <a:gd name="connsiteX516" fmla="*/ 1027438 w 1334724"/>
                <a:gd name="connsiteY516" fmla="*/ 114285 h 1902921"/>
                <a:gd name="connsiteX517" fmla="*/ 1028190 w 1334724"/>
                <a:gd name="connsiteY517" fmla="*/ 111956 h 1902921"/>
                <a:gd name="connsiteX518" fmla="*/ 1030889 w 1334724"/>
                <a:gd name="connsiteY518" fmla="*/ 110418 h 1902921"/>
                <a:gd name="connsiteX519" fmla="*/ 1028677 w 1334724"/>
                <a:gd name="connsiteY519" fmla="*/ 106007 h 1902921"/>
                <a:gd name="connsiteX520" fmla="*/ 1028759 w 1334724"/>
                <a:gd name="connsiteY520" fmla="*/ 104224 h 1902921"/>
                <a:gd name="connsiteX521" fmla="*/ 1032871 w 1334724"/>
                <a:gd name="connsiteY521" fmla="*/ 97730 h 1902921"/>
                <a:gd name="connsiteX522" fmla="*/ 1036269 w 1334724"/>
                <a:gd name="connsiteY522" fmla="*/ 90991 h 1902921"/>
                <a:gd name="connsiteX523" fmla="*/ 1036814 w 1334724"/>
                <a:gd name="connsiteY523" fmla="*/ 84791 h 1902921"/>
                <a:gd name="connsiteX524" fmla="*/ 1037277 w 1334724"/>
                <a:gd name="connsiteY524" fmla="*/ 83741 h 1902921"/>
                <a:gd name="connsiteX525" fmla="*/ 1042657 w 1334724"/>
                <a:gd name="connsiteY525" fmla="*/ 77797 h 1902921"/>
                <a:gd name="connsiteX526" fmla="*/ 1042763 w 1334724"/>
                <a:gd name="connsiteY526" fmla="*/ 77671 h 1902921"/>
                <a:gd name="connsiteX527" fmla="*/ 1048311 w 1334724"/>
                <a:gd name="connsiteY527" fmla="*/ 72610 h 1902921"/>
                <a:gd name="connsiteX528" fmla="*/ 1045887 w 1334724"/>
                <a:gd name="connsiteY528" fmla="*/ 67244 h 1902921"/>
                <a:gd name="connsiteX529" fmla="*/ 1046012 w 1334724"/>
                <a:gd name="connsiteY529" fmla="*/ 65547 h 1902921"/>
                <a:gd name="connsiteX530" fmla="*/ 1050167 w 1334724"/>
                <a:gd name="connsiteY530" fmla="*/ 59020 h 1902921"/>
                <a:gd name="connsiteX531" fmla="*/ 1053195 w 1334724"/>
                <a:gd name="connsiteY531" fmla="*/ 53987 h 1902921"/>
                <a:gd name="connsiteX532" fmla="*/ 1050833 w 1334724"/>
                <a:gd name="connsiteY532" fmla="*/ 49639 h 1902921"/>
                <a:gd name="connsiteX533" fmla="*/ 1046489 w 1334724"/>
                <a:gd name="connsiteY533" fmla="*/ 50950 h 1902921"/>
                <a:gd name="connsiteX534" fmla="*/ 1040854 w 1334724"/>
                <a:gd name="connsiteY534" fmla="*/ 54310 h 1902921"/>
                <a:gd name="connsiteX535" fmla="*/ 1034428 w 1334724"/>
                <a:gd name="connsiteY535" fmla="*/ 59603 h 1902921"/>
                <a:gd name="connsiteX536" fmla="*/ 1033777 w 1334724"/>
                <a:gd name="connsiteY536" fmla="*/ 59565 h 1902921"/>
                <a:gd name="connsiteX537" fmla="*/ 1033893 w 1334724"/>
                <a:gd name="connsiteY537" fmla="*/ 60992 h 1902921"/>
                <a:gd name="connsiteX538" fmla="*/ 1033531 w 1334724"/>
                <a:gd name="connsiteY538" fmla="*/ 62240 h 1902921"/>
                <a:gd name="connsiteX539" fmla="*/ 1028171 w 1334724"/>
                <a:gd name="connsiteY539" fmla="*/ 69380 h 1902921"/>
                <a:gd name="connsiteX540" fmla="*/ 1026286 w 1334724"/>
                <a:gd name="connsiteY540" fmla="*/ 70055 h 1902921"/>
                <a:gd name="connsiteX541" fmla="*/ 1024936 w 1334724"/>
                <a:gd name="connsiteY541" fmla="*/ 68618 h 1902921"/>
                <a:gd name="connsiteX542" fmla="*/ 1023813 w 1334724"/>
                <a:gd name="connsiteY542" fmla="*/ 62404 h 1902921"/>
                <a:gd name="connsiteX543" fmla="*/ 1020303 w 1334724"/>
                <a:gd name="connsiteY543" fmla="*/ 56451 h 1902921"/>
                <a:gd name="connsiteX544" fmla="*/ 1017223 w 1334724"/>
                <a:gd name="connsiteY544" fmla="*/ 56451 h 1902921"/>
                <a:gd name="connsiteX545" fmla="*/ 1017223 w 1334724"/>
                <a:gd name="connsiteY545" fmla="*/ 61151 h 1902921"/>
                <a:gd name="connsiteX546" fmla="*/ 1016509 w 1334724"/>
                <a:gd name="connsiteY546" fmla="*/ 62607 h 1902921"/>
                <a:gd name="connsiteX547" fmla="*/ 1014933 w 1334724"/>
                <a:gd name="connsiteY547" fmla="*/ 62925 h 1902921"/>
                <a:gd name="connsiteX548" fmla="*/ 1008396 w 1334724"/>
                <a:gd name="connsiteY548" fmla="*/ 61146 h 1902921"/>
                <a:gd name="connsiteX549" fmla="*/ 1007162 w 1334724"/>
                <a:gd name="connsiteY549" fmla="*/ 59950 h 1902921"/>
                <a:gd name="connsiteX550" fmla="*/ 1007451 w 1334724"/>
                <a:gd name="connsiteY550" fmla="*/ 58253 h 1902921"/>
                <a:gd name="connsiteX551" fmla="*/ 1011443 w 1334724"/>
                <a:gd name="connsiteY551" fmla="*/ 53278 h 1902921"/>
                <a:gd name="connsiteX552" fmla="*/ 1009235 w 1334724"/>
                <a:gd name="connsiteY552" fmla="*/ 49465 h 1902921"/>
                <a:gd name="connsiteX553" fmla="*/ 1006130 w 1334724"/>
                <a:gd name="connsiteY553" fmla="*/ 53385 h 1902921"/>
                <a:gd name="connsiteX554" fmla="*/ 1004920 w 1334724"/>
                <a:gd name="connsiteY554" fmla="*/ 54040 h 1902921"/>
                <a:gd name="connsiteX555" fmla="*/ 1003585 w 1334724"/>
                <a:gd name="connsiteY555" fmla="*/ 53645 h 1902921"/>
                <a:gd name="connsiteX556" fmla="*/ 998253 w 1334724"/>
                <a:gd name="connsiteY556" fmla="*/ 49398 h 1902921"/>
                <a:gd name="connsiteX557" fmla="*/ 993760 w 1334724"/>
                <a:gd name="connsiteY557" fmla="*/ 50241 h 1902921"/>
                <a:gd name="connsiteX558" fmla="*/ 992897 w 1334724"/>
                <a:gd name="connsiteY558" fmla="*/ 55014 h 1902921"/>
                <a:gd name="connsiteX559" fmla="*/ 994744 w 1334724"/>
                <a:gd name="connsiteY559" fmla="*/ 59642 h 1902921"/>
                <a:gd name="connsiteX560" fmla="*/ 1000422 w 1334724"/>
                <a:gd name="connsiteY560" fmla="*/ 61180 h 1902921"/>
                <a:gd name="connsiteX561" fmla="*/ 1001628 w 1334724"/>
                <a:gd name="connsiteY561" fmla="*/ 62264 h 1902921"/>
                <a:gd name="connsiteX562" fmla="*/ 1001507 w 1334724"/>
                <a:gd name="connsiteY562" fmla="*/ 63889 h 1902921"/>
                <a:gd name="connsiteX563" fmla="*/ 998094 w 1334724"/>
                <a:gd name="connsiteY563" fmla="*/ 69563 h 1902921"/>
                <a:gd name="connsiteX564" fmla="*/ 996980 w 1334724"/>
                <a:gd name="connsiteY564" fmla="*/ 75208 h 1902921"/>
                <a:gd name="connsiteX565" fmla="*/ 995833 w 1334724"/>
                <a:gd name="connsiteY565" fmla="*/ 76543 h 1902921"/>
                <a:gd name="connsiteX566" fmla="*/ 994093 w 1334724"/>
                <a:gd name="connsiteY566" fmla="*/ 76297 h 1902921"/>
                <a:gd name="connsiteX567" fmla="*/ 987421 w 1334724"/>
                <a:gd name="connsiteY567" fmla="*/ 71298 h 1902921"/>
                <a:gd name="connsiteX568" fmla="*/ 983724 w 1334724"/>
                <a:gd name="connsiteY568" fmla="*/ 71298 h 1902921"/>
                <a:gd name="connsiteX569" fmla="*/ 983367 w 1334724"/>
                <a:gd name="connsiteY569" fmla="*/ 75126 h 1902921"/>
                <a:gd name="connsiteX570" fmla="*/ 985739 w 1334724"/>
                <a:gd name="connsiteY570" fmla="*/ 80371 h 1902921"/>
                <a:gd name="connsiteX571" fmla="*/ 991331 w 1334724"/>
                <a:gd name="connsiteY571" fmla="*/ 81378 h 1902921"/>
                <a:gd name="connsiteX572" fmla="*/ 991678 w 1334724"/>
                <a:gd name="connsiteY572" fmla="*/ 81499 h 1902921"/>
                <a:gd name="connsiteX573" fmla="*/ 997627 w 1334724"/>
                <a:gd name="connsiteY573" fmla="*/ 83871 h 1902921"/>
                <a:gd name="connsiteX574" fmla="*/ 998316 w 1334724"/>
                <a:gd name="connsiteY574" fmla="*/ 84333 h 1902921"/>
                <a:gd name="connsiteX575" fmla="*/ 1004245 w 1334724"/>
                <a:gd name="connsiteY575" fmla="*/ 90866 h 1902921"/>
                <a:gd name="connsiteX576" fmla="*/ 1004544 w 1334724"/>
                <a:gd name="connsiteY576" fmla="*/ 91285 h 1902921"/>
                <a:gd name="connsiteX577" fmla="*/ 1007504 w 1334724"/>
                <a:gd name="connsiteY577" fmla="*/ 97243 h 1902921"/>
                <a:gd name="connsiteX578" fmla="*/ 1007234 w 1334724"/>
                <a:gd name="connsiteY578" fmla="*/ 99268 h 1902921"/>
                <a:gd name="connsiteX579" fmla="*/ 1005224 w 1334724"/>
                <a:gd name="connsiteY579" fmla="*/ 99740 h 1902921"/>
                <a:gd name="connsiteX580" fmla="*/ 999275 w 1334724"/>
                <a:gd name="connsiteY580" fmla="*/ 97359 h 1902921"/>
                <a:gd name="connsiteX581" fmla="*/ 999261 w 1334724"/>
                <a:gd name="connsiteY581" fmla="*/ 97320 h 1902921"/>
                <a:gd name="connsiteX582" fmla="*/ 992782 w 1334724"/>
                <a:gd name="connsiteY582" fmla="*/ 94655 h 1902921"/>
                <a:gd name="connsiteX583" fmla="*/ 988549 w 1334724"/>
                <a:gd name="connsiteY583" fmla="*/ 96337 h 1902921"/>
                <a:gd name="connsiteX584" fmla="*/ 988072 w 1334724"/>
                <a:gd name="connsiteY584" fmla="*/ 101789 h 1902921"/>
                <a:gd name="connsiteX585" fmla="*/ 987970 w 1334724"/>
                <a:gd name="connsiteY585" fmla="*/ 102194 h 1902921"/>
                <a:gd name="connsiteX586" fmla="*/ 985604 w 1334724"/>
                <a:gd name="connsiteY586" fmla="*/ 109276 h 1902921"/>
                <a:gd name="connsiteX587" fmla="*/ 984316 w 1334724"/>
                <a:gd name="connsiteY587" fmla="*/ 114487 h 1902921"/>
                <a:gd name="connsiteX588" fmla="*/ 988380 w 1334724"/>
                <a:gd name="connsiteY588" fmla="*/ 115321 h 1902921"/>
                <a:gd name="connsiteX589" fmla="*/ 989094 w 1334724"/>
                <a:gd name="connsiteY589" fmla="*/ 115625 h 1902921"/>
                <a:gd name="connsiteX590" fmla="*/ 995664 w 1334724"/>
                <a:gd name="connsiteY590" fmla="*/ 120378 h 1902921"/>
                <a:gd name="connsiteX591" fmla="*/ 996267 w 1334724"/>
                <a:gd name="connsiteY591" fmla="*/ 122552 h 1902921"/>
                <a:gd name="connsiteX592" fmla="*/ 994218 w 1334724"/>
                <a:gd name="connsiteY592" fmla="*/ 123622 h 1902921"/>
                <a:gd name="connsiteX593" fmla="*/ 988380 w 1334724"/>
                <a:gd name="connsiteY593" fmla="*/ 122485 h 1902921"/>
                <a:gd name="connsiteX594" fmla="*/ 981400 w 1334724"/>
                <a:gd name="connsiteY594" fmla="*/ 121882 h 1902921"/>
                <a:gd name="connsiteX595" fmla="*/ 978305 w 1334724"/>
                <a:gd name="connsiteY595" fmla="*/ 121882 h 1902921"/>
                <a:gd name="connsiteX596" fmla="*/ 972771 w 1334724"/>
                <a:gd name="connsiteY596" fmla="*/ 124403 h 1902921"/>
                <a:gd name="connsiteX597" fmla="*/ 970105 w 1334724"/>
                <a:gd name="connsiteY597" fmla="*/ 130877 h 1902921"/>
                <a:gd name="connsiteX598" fmla="*/ 969927 w 1334724"/>
                <a:gd name="connsiteY598" fmla="*/ 131152 h 1902921"/>
                <a:gd name="connsiteX599" fmla="*/ 965762 w 1334724"/>
                <a:gd name="connsiteY599" fmla="*/ 137728 h 1902921"/>
                <a:gd name="connsiteX600" fmla="*/ 965762 w 1334724"/>
                <a:gd name="connsiteY600" fmla="*/ 137728 h 1902921"/>
                <a:gd name="connsiteX601" fmla="*/ 960565 w 1334724"/>
                <a:gd name="connsiteY601" fmla="*/ 145812 h 1902921"/>
                <a:gd name="connsiteX602" fmla="*/ 959283 w 1334724"/>
                <a:gd name="connsiteY602" fmla="*/ 150454 h 1902921"/>
                <a:gd name="connsiteX603" fmla="*/ 964253 w 1334724"/>
                <a:gd name="connsiteY603" fmla="*/ 152267 h 1902921"/>
                <a:gd name="connsiteX604" fmla="*/ 965448 w 1334724"/>
                <a:gd name="connsiteY604" fmla="*/ 153993 h 1902921"/>
                <a:gd name="connsiteX605" fmla="*/ 964253 w 1334724"/>
                <a:gd name="connsiteY605" fmla="*/ 155680 h 1902921"/>
                <a:gd name="connsiteX606" fmla="*/ 958058 w 1334724"/>
                <a:gd name="connsiteY606" fmla="*/ 157970 h 1902921"/>
                <a:gd name="connsiteX607" fmla="*/ 955402 w 1334724"/>
                <a:gd name="connsiteY607" fmla="*/ 160327 h 1902921"/>
                <a:gd name="connsiteX608" fmla="*/ 957277 w 1334724"/>
                <a:gd name="connsiteY608" fmla="*/ 160496 h 1902921"/>
                <a:gd name="connsiteX609" fmla="*/ 958815 w 1334724"/>
                <a:gd name="connsiteY609" fmla="*/ 161812 h 1902921"/>
                <a:gd name="connsiteX610" fmla="*/ 958232 w 1334724"/>
                <a:gd name="connsiteY610" fmla="*/ 163755 h 1902921"/>
                <a:gd name="connsiteX611" fmla="*/ 954399 w 1334724"/>
                <a:gd name="connsiteY611" fmla="*/ 166792 h 1902921"/>
                <a:gd name="connsiteX612" fmla="*/ 958545 w 1334724"/>
                <a:gd name="connsiteY612" fmla="*/ 169062 h 1902921"/>
                <a:gd name="connsiteX613" fmla="*/ 959476 w 1334724"/>
                <a:gd name="connsiteY613" fmla="*/ 170938 h 1902921"/>
                <a:gd name="connsiteX614" fmla="*/ 958280 w 1334724"/>
                <a:gd name="connsiteY614" fmla="*/ 178077 h 1902921"/>
                <a:gd name="connsiteX615" fmla="*/ 958020 w 1334724"/>
                <a:gd name="connsiteY615" fmla="*/ 178786 h 1902921"/>
                <a:gd name="connsiteX616" fmla="*/ 953676 w 1334724"/>
                <a:gd name="connsiteY616" fmla="*/ 185308 h 1902921"/>
                <a:gd name="connsiteX617" fmla="*/ 954500 w 1334724"/>
                <a:gd name="connsiteY617" fmla="*/ 189459 h 1902921"/>
                <a:gd name="connsiteX618" fmla="*/ 960772 w 1334724"/>
                <a:gd name="connsiteY618" fmla="*/ 191377 h 1902921"/>
                <a:gd name="connsiteX619" fmla="*/ 966880 w 1334724"/>
                <a:gd name="connsiteY619" fmla="*/ 190283 h 1902921"/>
                <a:gd name="connsiteX620" fmla="*/ 968962 w 1334724"/>
                <a:gd name="connsiteY620" fmla="*/ 191618 h 1902921"/>
                <a:gd name="connsiteX621" fmla="*/ 970168 w 1334724"/>
                <a:gd name="connsiteY621" fmla="*/ 196376 h 1902921"/>
                <a:gd name="connsiteX622" fmla="*/ 969194 w 1334724"/>
                <a:gd name="connsiteY622" fmla="*/ 198454 h 1902921"/>
                <a:gd name="connsiteX623" fmla="*/ 963467 w 1334724"/>
                <a:gd name="connsiteY623" fmla="*/ 201332 h 1902921"/>
                <a:gd name="connsiteX624" fmla="*/ 957725 w 1334724"/>
                <a:gd name="connsiteY624" fmla="*/ 206505 h 1902921"/>
                <a:gd name="connsiteX625" fmla="*/ 957359 w 1334724"/>
                <a:gd name="connsiteY625" fmla="*/ 206741 h 1902921"/>
                <a:gd name="connsiteX626" fmla="*/ 950808 w 1334724"/>
                <a:gd name="connsiteY626" fmla="*/ 210313 h 1902921"/>
                <a:gd name="connsiteX627" fmla="*/ 948730 w 1334724"/>
                <a:gd name="connsiteY627" fmla="*/ 210072 h 1902921"/>
                <a:gd name="connsiteX628" fmla="*/ 948243 w 1334724"/>
                <a:gd name="connsiteY628" fmla="*/ 208057 h 1902921"/>
                <a:gd name="connsiteX629" fmla="*/ 950287 w 1334724"/>
                <a:gd name="connsiteY629" fmla="*/ 202942 h 1902921"/>
                <a:gd name="connsiteX630" fmla="*/ 948966 w 1334724"/>
                <a:gd name="connsiteY630" fmla="*/ 200725 h 1902921"/>
                <a:gd name="connsiteX631" fmla="*/ 947568 w 1334724"/>
                <a:gd name="connsiteY631" fmla="*/ 198382 h 1902921"/>
                <a:gd name="connsiteX632" fmla="*/ 941730 w 1334724"/>
                <a:gd name="connsiteY632" fmla="*/ 196791 h 1902921"/>
                <a:gd name="connsiteX633" fmla="*/ 940395 w 1334724"/>
                <a:gd name="connsiteY633" fmla="*/ 195060 h 1902921"/>
                <a:gd name="connsiteX634" fmla="*/ 940395 w 1334724"/>
                <a:gd name="connsiteY634" fmla="*/ 188287 h 1902921"/>
                <a:gd name="connsiteX635" fmla="*/ 938833 w 1334724"/>
                <a:gd name="connsiteY635" fmla="*/ 184508 h 1902921"/>
                <a:gd name="connsiteX636" fmla="*/ 936567 w 1334724"/>
                <a:gd name="connsiteY636" fmla="*/ 187767 h 1902921"/>
                <a:gd name="connsiteX637" fmla="*/ 936158 w 1334724"/>
                <a:gd name="connsiteY637" fmla="*/ 188167 h 1902921"/>
                <a:gd name="connsiteX638" fmla="*/ 929013 w 1334724"/>
                <a:gd name="connsiteY638" fmla="*/ 193532 h 1902921"/>
                <a:gd name="connsiteX639" fmla="*/ 928604 w 1334724"/>
                <a:gd name="connsiteY639" fmla="*/ 193754 h 1902921"/>
                <a:gd name="connsiteX640" fmla="*/ 922713 w 1334724"/>
                <a:gd name="connsiteY640" fmla="*/ 196102 h 1902921"/>
                <a:gd name="connsiteX641" fmla="*/ 917077 w 1334724"/>
                <a:gd name="connsiteY641" fmla="*/ 198951 h 1902921"/>
                <a:gd name="connsiteX642" fmla="*/ 911297 w 1334724"/>
                <a:gd name="connsiteY642" fmla="*/ 204118 h 1902921"/>
                <a:gd name="connsiteX643" fmla="*/ 908887 w 1334724"/>
                <a:gd name="connsiteY643" fmla="*/ 204167 h 1902921"/>
                <a:gd name="connsiteX644" fmla="*/ 908535 w 1334724"/>
                <a:gd name="connsiteY644" fmla="*/ 201790 h 1902921"/>
                <a:gd name="connsiteX645" fmla="*/ 912700 w 1334724"/>
                <a:gd name="connsiteY645" fmla="*/ 195248 h 1902921"/>
                <a:gd name="connsiteX646" fmla="*/ 913476 w 1334724"/>
                <a:gd name="connsiteY646" fmla="*/ 194564 h 1902921"/>
                <a:gd name="connsiteX647" fmla="*/ 920018 w 1334724"/>
                <a:gd name="connsiteY647" fmla="*/ 191585 h 1902921"/>
                <a:gd name="connsiteX648" fmla="*/ 926319 w 1334724"/>
                <a:gd name="connsiteY648" fmla="*/ 188740 h 1902921"/>
                <a:gd name="connsiteX649" fmla="*/ 931723 w 1334724"/>
                <a:gd name="connsiteY649" fmla="*/ 183867 h 1902921"/>
                <a:gd name="connsiteX650" fmla="*/ 933656 w 1334724"/>
                <a:gd name="connsiteY650" fmla="*/ 178564 h 1902921"/>
                <a:gd name="connsiteX651" fmla="*/ 931144 w 1334724"/>
                <a:gd name="connsiteY651" fmla="*/ 174355 h 1902921"/>
                <a:gd name="connsiteX652" fmla="*/ 926309 w 1334724"/>
                <a:gd name="connsiteY652" fmla="*/ 174833 h 1902921"/>
                <a:gd name="connsiteX653" fmla="*/ 925841 w 1334724"/>
                <a:gd name="connsiteY653" fmla="*/ 174833 h 1902921"/>
                <a:gd name="connsiteX654" fmla="*/ 918138 w 1334724"/>
                <a:gd name="connsiteY654" fmla="*/ 173623 h 1902921"/>
                <a:gd name="connsiteX655" fmla="*/ 917738 w 1334724"/>
                <a:gd name="connsiteY655" fmla="*/ 173512 h 1902921"/>
                <a:gd name="connsiteX656" fmla="*/ 912367 w 1334724"/>
                <a:gd name="connsiteY656" fmla="*/ 171381 h 1902921"/>
                <a:gd name="connsiteX657" fmla="*/ 908463 w 1334724"/>
                <a:gd name="connsiteY657" fmla="*/ 172562 h 1902921"/>
                <a:gd name="connsiteX658" fmla="*/ 908873 w 1334724"/>
                <a:gd name="connsiteY658" fmla="*/ 176636 h 1902921"/>
                <a:gd name="connsiteX659" fmla="*/ 912021 w 1334724"/>
                <a:gd name="connsiteY659" fmla="*/ 182401 h 1902921"/>
                <a:gd name="connsiteX660" fmla="*/ 918085 w 1334724"/>
                <a:gd name="connsiteY660" fmla="*/ 185713 h 1902921"/>
                <a:gd name="connsiteX661" fmla="*/ 918923 w 1334724"/>
                <a:gd name="connsiteY661" fmla="*/ 187926 h 1902921"/>
                <a:gd name="connsiteX662" fmla="*/ 916856 w 1334724"/>
                <a:gd name="connsiteY662" fmla="*/ 189073 h 1902921"/>
                <a:gd name="connsiteX663" fmla="*/ 911061 w 1334724"/>
                <a:gd name="connsiteY663" fmla="*/ 187959 h 1902921"/>
                <a:gd name="connsiteX664" fmla="*/ 904129 w 1334724"/>
                <a:gd name="connsiteY664" fmla="*/ 187959 h 1902921"/>
                <a:gd name="connsiteX665" fmla="*/ 902779 w 1334724"/>
                <a:gd name="connsiteY665" fmla="*/ 187352 h 1902921"/>
                <a:gd name="connsiteX666" fmla="*/ 902311 w 1334724"/>
                <a:gd name="connsiteY666" fmla="*/ 185959 h 1902921"/>
                <a:gd name="connsiteX667" fmla="*/ 902875 w 1334724"/>
                <a:gd name="connsiteY667" fmla="*/ 179658 h 1902921"/>
                <a:gd name="connsiteX668" fmla="*/ 901733 w 1334724"/>
                <a:gd name="connsiteY668" fmla="*/ 173975 h 1902921"/>
                <a:gd name="connsiteX669" fmla="*/ 901714 w 1334724"/>
                <a:gd name="connsiteY669" fmla="*/ 173787 h 1902921"/>
                <a:gd name="connsiteX670" fmla="*/ 901275 w 1334724"/>
                <a:gd name="connsiteY670" fmla="*/ 169062 h 1902921"/>
                <a:gd name="connsiteX671" fmla="*/ 897785 w 1334724"/>
                <a:gd name="connsiteY671" fmla="*/ 169361 h 1902921"/>
                <a:gd name="connsiteX672" fmla="*/ 896353 w 1334724"/>
                <a:gd name="connsiteY672" fmla="*/ 174698 h 1902921"/>
                <a:gd name="connsiteX673" fmla="*/ 894878 w 1334724"/>
                <a:gd name="connsiteY673" fmla="*/ 175994 h 1902921"/>
                <a:gd name="connsiteX674" fmla="*/ 893075 w 1334724"/>
                <a:gd name="connsiteY674" fmla="*/ 175180 h 1902921"/>
                <a:gd name="connsiteX675" fmla="*/ 889281 w 1334724"/>
                <a:gd name="connsiteY675" fmla="*/ 169221 h 1902921"/>
                <a:gd name="connsiteX676" fmla="*/ 885328 w 1334724"/>
                <a:gd name="connsiteY676" fmla="*/ 168050 h 1902921"/>
                <a:gd name="connsiteX677" fmla="*/ 882301 w 1334724"/>
                <a:gd name="connsiteY677" fmla="*/ 173271 h 1902921"/>
                <a:gd name="connsiteX678" fmla="*/ 883848 w 1334724"/>
                <a:gd name="connsiteY678" fmla="*/ 178467 h 1902921"/>
                <a:gd name="connsiteX679" fmla="*/ 883940 w 1334724"/>
                <a:gd name="connsiteY679" fmla="*/ 178993 h 1902921"/>
                <a:gd name="connsiteX680" fmla="*/ 883940 w 1334724"/>
                <a:gd name="connsiteY680" fmla="*/ 184947 h 1902921"/>
                <a:gd name="connsiteX681" fmla="*/ 882682 w 1334724"/>
                <a:gd name="connsiteY681" fmla="*/ 186672 h 1902921"/>
                <a:gd name="connsiteX682" fmla="*/ 880638 w 1334724"/>
                <a:gd name="connsiteY682" fmla="*/ 186017 h 1902921"/>
                <a:gd name="connsiteX683" fmla="*/ 876024 w 1334724"/>
                <a:gd name="connsiteY683" fmla="*/ 179697 h 1902921"/>
                <a:gd name="connsiteX684" fmla="*/ 869849 w 1334724"/>
                <a:gd name="connsiteY684" fmla="*/ 175175 h 1902921"/>
                <a:gd name="connsiteX685" fmla="*/ 867795 w 1334724"/>
                <a:gd name="connsiteY685" fmla="*/ 174143 h 1902921"/>
                <a:gd name="connsiteX686" fmla="*/ 868378 w 1334724"/>
                <a:gd name="connsiteY686" fmla="*/ 176086 h 1902921"/>
                <a:gd name="connsiteX687" fmla="*/ 868417 w 1334724"/>
                <a:gd name="connsiteY687" fmla="*/ 176877 h 1902921"/>
                <a:gd name="connsiteX688" fmla="*/ 867226 w 1334724"/>
                <a:gd name="connsiteY688" fmla="*/ 184040 h 1902921"/>
                <a:gd name="connsiteX689" fmla="*/ 866180 w 1334724"/>
                <a:gd name="connsiteY689" fmla="*/ 185376 h 1902921"/>
                <a:gd name="connsiteX690" fmla="*/ 864474 w 1334724"/>
                <a:gd name="connsiteY690" fmla="*/ 185274 h 1902921"/>
                <a:gd name="connsiteX691" fmla="*/ 859017 w 1334724"/>
                <a:gd name="connsiteY691" fmla="*/ 181799 h 1902921"/>
                <a:gd name="connsiteX692" fmla="*/ 855276 w 1334724"/>
                <a:gd name="connsiteY692" fmla="*/ 184812 h 1902921"/>
                <a:gd name="connsiteX693" fmla="*/ 857647 w 1334724"/>
                <a:gd name="connsiteY693" fmla="*/ 189145 h 1902921"/>
                <a:gd name="connsiteX694" fmla="*/ 863216 w 1334724"/>
                <a:gd name="connsiteY694" fmla="*/ 189642 h 1902921"/>
                <a:gd name="connsiteX695" fmla="*/ 864556 w 1334724"/>
                <a:gd name="connsiteY695" fmla="*/ 190476 h 1902921"/>
                <a:gd name="connsiteX696" fmla="*/ 868663 w 1334724"/>
                <a:gd name="connsiteY696" fmla="*/ 196593 h 1902921"/>
                <a:gd name="connsiteX697" fmla="*/ 873397 w 1334724"/>
                <a:gd name="connsiteY697" fmla="*/ 195634 h 1902921"/>
                <a:gd name="connsiteX698" fmla="*/ 874978 w 1334724"/>
                <a:gd name="connsiteY698" fmla="*/ 196073 h 1902921"/>
                <a:gd name="connsiteX699" fmla="*/ 879987 w 1334724"/>
                <a:gd name="connsiteY699" fmla="*/ 200556 h 1902921"/>
                <a:gd name="connsiteX700" fmla="*/ 885396 w 1334724"/>
                <a:gd name="connsiteY700" fmla="*/ 197601 h 1902921"/>
                <a:gd name="connsiteX701" fmla="*/ 885911 w 1334724"/>
                <a:gd name="connsiteY701" fmla="*/ 197432 h 1902921"/>
                <a:gd name="connsiteX702" fmla="*/ 891098 w 1334724"/>
                <a:gd name="connsiteY702" fmla="*/ 196367 h 1902921"/>
                <a:gd name="connsiteX703" fmla="*/ 894854 w 1334724"/>
                <a:gd name="connsiteY703" fmla="*/ 190481 h 1902921"/>
                <a:gd name="connsiteX704" fmla="*/ 897071 w 1334724"/>
                <a:gd name="connsiteY704" fmla="*/ 189772 h 1902921"/>
                <a:gd name="connsiteX705" fmla="*/ 898170 w 1334724"/>
                <a:gd name="connsiteY705" fmla="*/ 191826 h 1902921"/>
                <a:gd name="connsiteX706" fmla="*/ 896965 w 1334724"/>
                <a:gd name="connsiteY706" fmla="*/ 197765 h 1902921"/>
                <a:gd name="connsiteX707" fmla="*/ 896122 w 1334724"/>
                <a:gd name="connsiteY707" fmla="*/ 198970 h 1902921"/>
                <a:gd name="connsiteX708" fmla="*/ 890655 w 1334724"/>
                <a:gd name="connsiteY708" fmla="*/ 202277 h 1902921"/>
                <a:gd name="connsiteX709" fmla="*/ 889069 w 1334724"/>
                <a:gd name="connsiteY709" fmla="*/ 205396 h 1902921"/>
                <a:gd name="connsiteX710" fmla="*/ 891836 w 1334724"/>
                <a:gd name="connsiteY710" fmla="*/ 205651 h 1902921"/>
                <a:gd name="connsiteX711" fmla="*/ 897891 w 1334724"/>
                <a:gd name="connsiteY711" fmla="*/ 202349 h 1902921"/>
                <a:gd name="connsiteX712" fmla="*/ 899588 w 1334724"/>
                <a:gd name="connsiteY712" fmla="*/ 202349 h 1902921"/>
                <a:gd name="connsiteX713" fmla="*/ 900576 w 1334724"/>
                <a:gd name="connsiteY713" fmla="*/ 203786 h 1902921"/>
                <a:gd name="connsiteX714" fmla="*/ 901150 w 1334724"/>
                <a:gd name="connsiteY714" fmla="*/ 209002 h 1902921"/>
                <a:gd name="connsiteX715" fmla="*/ 901719 w 1334724"/>
                <a:gd name="connsiteY715" fmla="*/ 211248 h 1902921"/>
                <a:gd name="connsiteX716" fmla="*/ 901791 w 1334724"/>
                <a:gd name="connsiteY716" fmla="*/ 211711 h 1902921"/>
                <a:gd name="connsiteX717" fmla="*/ 901791 w 1334724"/>
                <a:gd name="connsiteY717" fmla="*/ 217636 h 1902921"/>
                <a:gd name="connsiteX718" fmla="*/ 900239 w 1334724"/>
                <a:gd name="connsiteY718" fmla="*/ 219453 h 1902921"/>
                <a:gd name="connsiteX719" fmla="*/ 898219 w 1334724"/>
                <a:gd name="connsiteY719" fmla="*/ 218166 h 1902921"/>
                <a:gd name="connsiteX720" fmla="*/ 896903 w 1334724"/>
                <a:gd name="connsiteY720" fmla="*/ 213765 h 1902921"/>
                <a:gd name="connsiteX721" fmla="*/ 893591 w 1334724"/>
                <a:gd name="connsiteY721" fmla="*/ 214401 h 1902921"/>
                <a:gd name="connsiteX722" fmla="*/ 893986 w 1334724"/>
                <a:gd name="connsiteY722" fmla="*/ 218952 h 1902921"/>
                <a:gd name="connsiteX723" fmla="*/ 897192 w 1334724"/>
                <a:gd name="connsiteY723" fmla="*/ 225821 h 1902921"/>
                <a:gd name="connsiteX724" fmla="*/ 902543 w 1334724"/>
                <a:gd name="connsiteY724" fmla="*/ 228497 h 1902921"/>
                <a:gd name="connsiteX725" fmla="*/ 903555 w 1334724"/>
                <a:gd name="connsiteY725" fmla="*/ 230213 h 1902921"/>
                <a:gd name="connsiteX726" fmla="*/ 902427 w 1334724"/>
                <a:gd name="connsiteY726" fmla="*/ 231838 h 1902921"/>
                <a:gd name="connsiteX727" fmla="*/ 899323 w 1334724"/>
                <a:gd name="connsiteY727" fmla="*/ 233072 h 1902921"/>
                <a:gd name="connsiteX728" fmla="*/ 903840 w 1334724"/>
                <a:gd name="connsiteY728" fmla="*/ 235718 h 1902921"/>
                <a:gd name="connsiteX729" fmla="*/ 904592 w 1334724"/>
                <a:gd name="connsiteY729" fmla="*/ 236538 h 1902921"/>
                <a:gd name="connsiteX730" fmla="*/ 907561 w 1334724"/>
                <a:gd name="connsiteY730" fmla="*/ 243070 h 1902921"/>
                <a:gd name="connsiteX731" fmla="*/ 907195 w 1334724"/>
                <a:gd name="connsiteY731" fmla="*/ 245162 h 1902921"/>
                <a:gd name="connsiteX732" fmla="*/ 905093 w 1334724"/>
                <a:gd name="connsiteY732" fmla="*/ 245461 h 1902921"/>
                <a:gd name="connsiteX733" fmla="*/ 897958 w 1334724"/>
                <a:gd name="connsiteY733" fmla="*/ 241869 h 1902921"/>
                <a:gd name="connsiteX734" fmla="*/ 897173 w 1334724"/>
                <a:gd name="connsiteY734" fmla="*/ 241103 h 1902921"/>
                <a:gd name="connsiteX735" fmla="*/ 893007 w 1334724"/>
                <a:gd name="connsiteY735" fmla="*/ 233395 h 1902921"/>
                <a:gd name="connsiteX736" fmla="*/ 892916 w 1334724"/>
                <a:gd name="connsiteY736" fmla="*/ 233014 h 1902921"/>
                <a:gd name="connsiteX737" fmla="*/ 887372 w 1334724"/>
                <a:gd name="connsiteY737" fmla="*/ 229490 h 1902921"/>
                <a:gd name="connsiteX738" fmla="*/ 881751 w 1334724"/>
                <a:gd name="connsiteY738" fmla="*/ 228367 h 1902921"/>
                <a:gd name="connsiteX739" fmla="*/ 880498 w 1334724"/>
                <a:gd name="connsiteY739" fmla="*/ 227427 h 1902921"/>
                <a:gd name="connsiteX740" fmla="*/ 877075 w 1334724"/>
                <a:gd name="connsiteY740" fmla="*/ 221116 h 1902921"/>
                <a:gd name="connsiteX741" fmla="*/ 871449 w 1334724"/>
                <a:gd name="connsiteY741" fmla="*/ 215495 h 1902921"/>
                <a:gd name="connsiteX742" fmla="*/ 867819 w 1334724"/>
                <a:gd name="connsiteY742" fmla="*/ 213244 h 1902921"/>
                <a:gd name="connsiteX743" fmla="*/ 862121 w 1334724"/>
                <a:gd name="connsiteY743" fmla="*/ 216739 h 1902921"/>
                <a:gd name="connsiteX744" fmla="*/ 862468 w 1334724"/>
                <a:gd name="connsiteY744" fmla="*/ 238818 h 1902921"/>
                <a:gd name="connsiteX745" fmla="*/ 860530 w 1334724"/>
                <a:gd name="connsiteY745" fmla="*/ 240283 h 1902921"/>
                <a:gd name="connsiteX746" fmla="*/ 858858 w 1334724"/>
                <a:gd name="connsiteY746" fmla="*/ 238485 h 1902921"/>
                <a:gd name="connsiteX747" fmla="*/ 858858 w 1334724"/>
                <a:gd name="connsiteY747" fmla="*/ 234961 h 1902921"/>
                <a:gd name="connsiteX748" fmla="*/ 856158 w 1334724"/>
                <a:gd name="connsiteY748" fmla="*/ 235781 h 1902921"/>
                <a:gd name="connsiteX749" fmla="*/ 854283 w 1334724"/>
                <a:gd name="connsiteY749" fmla="*/ 241392 h 1902921"/>
                <a:gd name="connsiteX750" fmla="*/ 856438 w 1334724"/>
                <a:gd name="connsiteY750" fmla="*/ 247370 h 1902921"/>
                <a:gd name="connsiteX751" fmla="*/ 855705 w 1334724"/>
                <a:gd name="connsiteY751" fmla="*/ 249529 h 1902921"/>
                <a:gd name="connsiteX752" fmla="*/ 853429 w 1334724"/>
                <a:gd name="connsiteY752" fmla="*/ 249298 h 1902921"/>
                <a:gd name="connsiteX753" fmla="*/ 848069 w 1334724"/>
                <a:gd name="connsiteY753" fmla="*/ 243933 h 1902921"/>
                <a:gd name="connsiteX754" fmla="*/ 847640 w 1334724"/>
                <a:gd name="connsiteY754" fmla="*/ 243094 h 1902921"/>
                <a:gd name="connsiteX755" fmla="*/ 845832 w 1334724"/>
                <a:gd name="connsiteY755" fmla="*/ 236567 h 1902921"/>
                <a:gd name="connsiteX756" fmla="*/ 845851 w 1334724"/>
                <a:gd name="connsiteY756" fmla="*/ 235549 h 1902921"/>
                <a:gd name="connsiteX757" fmla="*/ 847587 w 1334724"/>
                <a:gd name="connsiteY757" fmla="*/ 229929 h 1902921"/>
                <a:gd name="connsiteX758" fmla="*/ 844637 w 1334724"/>
                <a:gd name="connsiteY758" fmla="*/ 234822 h 1902921"/>
                <a:gd name="connsiteX759" fmla="*/ 844637 w 1334724"/>
                <a:gd name="connsiteY759" fmla="*/ 240872 h 1902921"/>
                <a:gd name="connsiteX760" fmla="*/ 844579 w 1334724"/>
                <a:gd name="connsiteY760" fmla="*/ 241334 h 1902921"/>
                <a:gd name="connsiteX761" fmla="*/ 842776 w 1334724"/>
                <a:gd name="connsiteY761" fmla="*/ 247866 h 1902921"/>
                <a:gd name="connsiteX762" fmla="*/ 842009 w 1334724"/>
                <a:gd name="connsiteY762" fmla="*/ 248937 h 1902921"/>
                <a:gd name="connsiteX763" fmla="*/ 835988 w 1334724"/>
                <a:gd name="connsiteY763" fmla="*/ 252759 h 1902921"/>
                <a:gd name="connsiteX764" fmla="*/ 833949 w 1334724"/>
                <a:gd name="connsiteY764" fmla="*/ 258366 h 1902921"/>
                <a:gd name="connsiteX765" fmla="*/ 834518 w 1334724"/>
                <a:gd name="connsiteY765" fmla="*/ 265134 h 1902921"/>
                <a:gd name="connsiteX766" fmla="*/ 834475 w 1334724"/>
                <a:gd name="connsiteY766" fmla="*/ 265592 h 1902921"/>
                <a:gd name="connsiteX767" fmla="*/ 833486 w 1334724"/>
                <a:gd name="connsiteY767" fmla="*/ 271131 h 1902921"/>
                <a:gd name="connsiteX768" fmla="*/ 838673 w 1334724"/>
                <a:gd name="connsiteY768" fmla="*/ 275788 h 1902921"/>
                <a:gd name="connsiteX769" fmla="*/ 838876 w 1334724"/>
                <a:gd name="connsiteY769" fmla="*/ 276005 h 1902921"/>
                <a:gd name="connsiteX770" fmla="*/ 843967 w 1334724"/>
                <a:gd name="connsiteY770" fmla="*/ 282238 h 1902921"/>
                <a:gd name="connsiteX771" fmla="*/ 849573 w 1334724"/>
                <a:gd name="connsiteY771" fmla="*/ 285053 h 1902921"/>
                <a:gd name="connsiteX772" fmla="*/ 850503 w 1334724"/>
                <a:gd name="connsiteY772" fmla="*/ 287170 h 1902921"/>
                <a:gd name="connsiteX773" fmla="*/ 848609 w 1334724"/>
                <a:gd name="connsiteY773" fmla="*/ 288471 h 1902921"/>
                <a:gd name="connsiteX774" fmla="*/ 841464 w 1334724"/>
                <a:gd name="connsiteY774" fmla="*/ 287907 h 1902921"/>
                <a:gd name="connsiteX775" fmla="*/ 840279 w 1334724"/>
                <a:gd name="connsiteY775" fmla="*/ 287305 h 1902921"/>
                <a:gd name="connsiteX776" fmla="*/ 835868 w 1334724"/>
                <a:gd name="connsiteY776" fmla="*/ 282397 h 1902921"/>
                <a:gd name="connsiteX777" fmla="*/ 831442 w 1334724"/>
                <a:gd name="connsiteY777" fmla="*/ 284836 h 1902921"/>
                <a:gd name="connsiteX778" fmla="*/ 815332 w 1334724"/>
                <a:gd name="connsiteY778" fmla="*/ 326116 h 1902921"/>
                <a:gd name="connsiteX779" fmla="*/ 813668 w 1334724"/>
                <a:gd name="connsiteY779" fmla="*/ 327177 h 1902921"/>
                <a:gd name="connsiteX780" fmla="*/ 813071 w 1334724"/>
                <a:gd name="connsiteY780" fmla="*/ 327177 h 1902921"/>
                <a:gd name="connsiteX781" fmla="*/ 811653 w 1334724"/>
                <a:gd name="connsiteY781" fmla="*/ 326526 h 1902921"/>
                <a:gd name="connsiteX782" fmla="*/ 811292 w 1334724"/>
                <a:gd name="connsiteY782" fmla="*/ 324993 h 1902921"/>
                <a:gd name="connsiteX783" fmla="*/ 813071 w 1334724"/>
                <a:gd name="connsiteY783" fmla="*/ 316075 h 1902921"/>
                <a:gd name="connsiteX784" fmla="*/ 813321 w 1334724"/>
                <a:gd name="connsiteY784" fmla="*/ 315419 h 1902921"/>
                <a:gd name="connsiteX785" fmla="*/ 817968 w 1334724"/>
                <a:gd name="connsiteY785" fmla="*/ 308468 h 1902921"/>
                <a:gd name="connsiteX786" fmla="*/ 820195 w 1334724"/>
                <a:gd name="connsiteY786" fmla="*/ 302340 h 1902921"/>
                <a:gd name="connsiteX787" fmla="*/ 820769 w 1334724"/>
                <a:gd name="connsiteY787" fmla="*/ 296030 h 1902921"/>
                <a:gd name="connsiteX788" fmla="*/ 820784 w 1334724"/>
                <a:gd name="connsiteY788" fmla="*/ 296006 h 1902921"/>
                <a:gd name="connsiteX789" fmla="*/ 821372 w 1334724"/>
                <a:gd name="connsiteY789" fmla="*/ 290255 h 1902921"/>
                <a:gd name="connsiteX790" fmla="*/ 820784 w 1334724"/>
                <a:gd name="connsiteY790" fmla="*/ 284489 h 1902921"/>
                <a:gd name="connsiteX791" fmla="*/ 821034 w 1334724"/>
                <a:gd name="connsiteY791" fmla="*/ 283371 h 1902921"/>
                <a:gd name="connsiteX792" fmla="*/ 824182 w 1334724"/>
                <a:gd name="connsiteY792" fmla="*/ 278087 h 1902921"/>
                <a:gd name="connsiteX793" fmla="*/ 820769 w 1334724"/>
                <a:gd name="connsiteY793" fmla="*/ 244285 h 1902921"/>
                <a:gd name="connsiteX794" fmla="*/ 820769 w 1334724"/>
                <a:gd name="connsiteY794" fmla="*/ 244285 h 1902921"/>
                <a:gd name="connsiteX795" fmla="*/ 821328 w 1334724"/>
                <a:gd name="connsiteY795" fmla="*/ 237097 h 1902921"/>
                <a:gd name="connsiteX796" fmla="*/ 818055 w 1334724"/>
                <a:gd name="connsiteY796" fmla="*/ 230965 h 1902921"/>
                <a:gd name="connsiteX797" fmla="*/ 814150 w 1334724"/>
                <a:gd name="connsiteY797" fmla="*/ 231683 h 1902921"/>
                <a:gd name="connsiteX798" fmla="*/ 813736 w 1334724"/>
                <a:gd name="connsiteY798" fmla="*/ 236437 h 1902921"/>
                <a:gd name="connsiteX799" fmla="*/ 815924 w 1334724"/>
                <a:gd name="connsiteY799" fmla="*/ 241985 h 1902921"/>
                <a:gd name="connsiteX800" fmla="*/ 815095 w 1334724"/>
                <a:gd name="connsiteY800" fmla="*/ 244261 h 1902921"/>
                <a:gd name="connsiteX801" fmla="*/ 812748 w 1334724"/>
                <a:gd name="connsiteY801" fmla="*/ 243624 h 1902921"/>
                <a:gd name="connsiteX802" fmla="*/ 810530 w 1334724"/>
                <a:gd name="connsiteY802" fmla="*/ 240173 h 1902921"/>
                <a:gd name="connsiteX803" fmla="*/ 809494 w 1334724"/>
                <a:gd name="connsiteY803" fmla="*/ 243055 h 1902921"/>
                <a:gd name="connsiteX804" fmla="*/ 808944 w 1334724"/>
                <a:gd name="connsiteY804" fmla="*/ 249337 h 1902921"/>
                <a:gd name="connsiteX805" fmla="*/ 808910 w 1334724"/>
                <a:gd name="connsiteY805" fmla="*/ 249486 h 1902921"/>
                <a:gd name="connsiteX806" fmla="*/ 807719 w 1334724"/>
                <a:gd name="connsiteY806" fmla="*/ 256650 h 1902921"/>
                <a:gd name="connsiteX807" fmla="*/ 805945 w 1334724"/>
                <a:gd name="connsiteY807" fmla="*/ 258154 h 1902921"/>
                <a:gd name="connsiteX808" fmla="*/ 804147 w 1334724"/>
                <a:gd name="connsiteY808" fmla="*/ 256669 h 1902921"/>
                <a:gd name="connsiteX809" fmla="*/ 803463 w 1334724"/>
                <a:gd name="connsiteY809" fmla="*/ 252899 h 1902921"/>
                <a:gd name="connsiteX810" fmla="*/ 802918 w 1334724"/>
                <a:gd name="connsiteY810" fmla="*/ 254987 h 1902921"/>
                <a:gd name="connsiteX811" fmla="*/ 802841 w 1334724"/>
                <a:gd name="connsiteY811" fmla="*/ 255218 h 1902921"/>
                <a:gd name="connsiteX812" fmla="*/ 800537 w 1334724"/>
                <a:gd name="connsiteY812" fmla="*/ 260988 h 1902921"/>
                <a:gd name="connsiteX813" fmla="*/ 799466 w 1334724"/>
                <a:gd name="connsiteY813" fmla="*/ 266932 h 1902921"/>
                <a:gd name="connsiteX814" fmla="*/ 801559 w 1334724"/>
                <a:gd name="connsiteY814" fmla="*/ 273710 h 1902921"/>
                <a:gd name="connsiteX815" fmla="*/ 807517 w 1334724"/>
                <a:gd name="connsiteY815" fmla="*/ 278613 h 1902921"/>
                <a:gd name="connsiteX816" fmla="*/ 808515 w 1334724"/>
                <a:gd name="connsiteY816" fmla="*/ 279100 h 1902921"/>
                <a:gd name="connsiteX817" fmla="*/ 809571 w 1334724"/>
                <a:gd name="connsiteY817" fmla="*/ 279616 h 1902921"/>
                <a:gd name="connsiteX818" fmla="*/ 815380 w 1334724"/>
                <a:gd name="connsiteY818" fmla="*/ 281365 h 1902921"/>
                <a:gd name="connsiteX819" fmla="*/ 816628 w 1334724"/>
                <a:gd name="connsiteY819" fmla="*/ 283448 h 1902921"/>
                <a:gd name="connsiteX820" fmla="*/ 814700 w 1334724"/>
                <a:gd name="connsiteY820" fmla="*/ 284933 h 1902921"/>
                <a:gd name="connsiteX821" fmla="*/ 807551 w 1334724"/>
                <a:gd name="connsiteY821" fmla="*/ 284325 h 1902921"/>
                <a:gd name="connsiteX822" fmla="*/ 807290 w 1334724"/>
                <a:gd name="connsiteY822" fmla="*/ 284287 h 1902921"/>
                <a:gd name="connsiteX823" fmla="*/ 801270 w 1334724"/>
                <a:gd name="connsiteY823" fmla="*/ 282903 h 1902921"/>
                <a:gd name="connsiteX824" fmla="*/ 800011 w 1334724"/>
                <a:gd name="connsiteY824" fmla="*/ 287570 h 1902921"/>
                <a:gd name="connsiteX825" fmla="*/ 800011 w 1334724"/>
                <a:gd name="connsiteY825" fmla="*/ 300427 h 1902921"/>
                <a:gd name="connsiteX826" fmla="*/ 799693 w 1334724"/>
                <a:gd name="connsiteY826" fmla="*/ 301463 h 1902921"/>
                <a:gd name="connsiteX827" fmla="*/ 795528 w 1334724"/>
                <a:gd name="connsiteY827" fmla="*/ 307431 h 1902921"/>
                <a:gd name="connsiteX828" fmla="*/ 793296 w 1334724"/>
                <a:gd name="connsiteY828" fmla="*/ 308019 h 1902921"/>
                <a:gd name="connsiteX829" fmla="*/ 792274 w 1334724"/>
                <a:gd name="connsiteY829" fmla="*/ 305946 h 1902921"/>
                <a:gd name="connsiteX830" fmla="*/ 793947 w 1334724"/>
                <a:gd name="connsiteY830" fmla="*/ 298725 h 1902921"/>
                <a:gd name="connsiteX831" fmla="*/ 791715 w 1334724"/>
                <a:gd name="connsiteY831" fmla="*/ 292087 h 1902921"/>
                <a:gd name="connsiteX832" fmla="*/ 791753 w 1334724"/>
                <a:gd name="connsiteY832" fmla="*/ 290829 h 1902921"/>
                <a:gd name="connsiteX833" fmla="*/ 794014 w 1334724"/>
                <a:gd name="connsiteY833" fmla="*/ 285188 h 1902921"/>
                <a:gd name="connsiteX834" fmla="*/ 794014 w 1334724"/>
                <a:gd name="connsiteY834" fmla="*/ 279529 h 1902921"/>
                <a:gd name="connsiteX835" fmla="*/ 790134 w 1334724"/>
                <a:gd name="connsiteY835" fmla="*/ 273435 h 1902921"/>
                <a:gd name="connsiteX836" fmla="*/ 789854 w 1334724"/>
                <a:gd name="connsiteY836" fmla="*/ 272278 h 1902921"/>
                <a:gd name="connsiteX837" fmla="*/ 790423 w 1334724"/>
                <a:gd name="connsiteY837" fmla="*/ 265303 h 1902921"/>
                <a:gd name="connsiteX838" fmla="*/ 789854 w 1334724"/>
                <a:gd name="connsiteY838" fmla="*/ 258911 h 1902921"/>
                <a:gd name="connsiteX839" fmla="*/ 789854 w 1334724"/>
                <a:gd name="connsiteY839" fmla="*/ 258588 h 1902921"/>
                <a:gd name="connsiteX840" fmla="*/ 790153 w 1334724"/>
                <a:gd name="connsiteY840" fmla="*/ 255170 h 1902921"/>
                <a:gd name="connsiteX841" fmla="*/ 786566 w 1334724"/>
                <a:gd name="connsiteY841" fmla="*/ 256799 h 1902921"/>
                <a:gd name="connsiteX842" fmla="*/ 780714 w 1334724"/>
                <a:gd name="connsiteY842" fmla="*/ 260328 h 1902921"/>
                <a:gd name="connsiteX843" fmla="*/ 780077 w 1334724"/>
                <a:gd name="connsiteY843" fmla="*/ 260550 h 1902921"/>
                <a:gd name="connsiteX844" fmla="*/ 773801 w 1334724"/>
                <a:gd name="connsiteY844" fmla="*/ 261692 h 1902921"/>
                <a:gd name="connsiteX845" fmla="*/ 768571 w 1334724"/>
                <a:gd name="connsiteY845" fmla="*/ 264315 h 1902921"/>
                <a:gd name="connsiteX846" fmla="*/ 764777 w 1334724"/>
                <a:gd name="connsiteY846" fmla="*/ 270794 h 1902921"/>
                <a:gd name="connsiteX847" fmla="*/ 763056 w 1334724"/>
                <a:gd name="connsiteY847" fmla="*/ 276540 h 1902921"/>
                <a:gd name="connsiteX848" fmla="*/ 759995 w 1334724"/>
                <a:gd name="connsiteY848" fmla="*/ 291605 h 1902921"/>
                <a:gd name="connsiteX849" fmla="*/ 764025 w 1334724"/>
                <a:gd name="connsiteY849" fmla="*/ 292019 h 1902921"/>
                <a:gd name="connsiteX850" fmla="*/ 769564 w 1334724"/>
                <a:gd name="connsiteY850" fmla="*/ 289778 h 1902921"/>
                <a:gd name="connsiteX851" fmla="*/ 771800 w 1334724"/>
                <a:gd name="connsiteY851" fmla="*/ 290515 h 1902921"/>
                <a:gd name="connsiteX852" fmla="*/ 771477 w 1334724"/>
                <a:gd name="connsiteY852" fmla="*/ 292810 h 1902921"/>
                <a:gd name="connsiteX853" fmla="*/ 765268 w 1334724"/>
                <a:gd name="connsiteY853" fmla="*/ 298484 h 1902921"/>
                <a:gd name="connsiteX854" fmla="*/ 763350 w 1334724"/>
                <a:gd name="connsiteY854" fmla="*/ 303705 h 1902921"/>
                <a:gd name="connsiteX855" fmla="*/ 767548 w 1334724"/>
                <a:gd name="connsiteY855" fmla="*/ 309441 h 1902921"/>
                <a:gd name="connsiteX856" fmla="*/ 767790 w 1334724"/>
                <a:gd name="connsiteY856" fmla="*/ 309914 h 1902921"/>
                <a:gd name="connsiteX857" fmla="*/ 769780 w 1334724"/>
                <a:gd name="connsiteY857" fmla="*/ 315371 h 1902921"/>
                <a:gd name="connsiteX858" fmla="*/ 774331 w 1334724"/>
                <a:gd name="connsiteY858" fmla="*/ 315838 h 1902921"/>
                <a:gd name="connsiteX859" fmla="*/ 780637 w 1334724"/>
                <a:gd name="connsiteY859" fmla="*/ 314706 h 1902921"/>
                <a:gd name="connsiteX860" fmla="*/ 782348 w 1334724"/>
                <a:gd name="connsiteY860" fmla="*/ 315332 h 1902921"/>
                <a:gd name="connsiteX861" fmla="*/ 788311 w 1334724"/>
                <a:gd name="connsiteY861" fmla="*/ 322462 h 1902921"/>
                <a:gd name="connsiteX862" fmla="*/ 788731 w 1334724"/>
                <a:gd name="connsiteY862" fmla="*/ 323474 h 1902921"/>
                <a:gd name="connsiteX863" fmla="*/ 789266 w 1334724"/>
                <a:gd name="connsiteY863" fmla="*/ 329987 h 1902921"/>
                <a:gd name="connsiteX864" fmla="*/ 794197 w 1334724"/>
                <a:gd name="connsiteY864" fmla="*/ 335483 h 1902921"/>
                <a:gd name="connsiteX865" fmla="*/ 794419 w 1334724"/>
                <a:gd name="connsiteY865" fmla="*/ 337671 h 1902921"/>
                <a:gd name="connsiteX866" fmla="*/ 792428 w 1334724"/>
                <a:gd name="connsiteY866" fmla="*/ 338467 h 1902921"/>
                <a:gd name="connsiteX867" fmla="*/ 785260 w 1334724"/>
                <a:gd name="connsiteY867" fmla="*/ 336683 h 1902921"/>
                <a:gd name="connsiteX868" fmla="*/ 784040 w 1334724"/>
                <a:gd name="connsiteY868" fmla="*/ 335671 h 1902921"/>
                <a:gd name="connsiteX869" fmla="*/ 781090 w 1334724"/>
                <a:gd name="connsiteY869" fmla="*/ 329139 h 1902921"/>
                <a:gd name="connsiteX870" fmla="*/ 780916 w 1334724"/>
                <a:gd name="connsiteY870" fmla="*/ 328555 h 1902921"/>
                <a:gd name="connsiteX871" fmla="*/ 780468 w 1334724"/>
                <a:gd name="connsiteY871" fmla="*/ 323638 h 1902921"/>
                <a:gd name="connsiteX872" fmla="*/ 774404 w 1334724"/>
                <a:gd name="connsiteY872" fmla="*/ 323638 h 1902921"/>
                <a:gd name="connsiteX873" fmla="*/ 774076 w 1334724"/>
                <a:gd name="connsiteY873" fmla="*/ 323605 h 1902921"/>
                <a:gd name="connsiteX874" fmla="*/ 767534 w 1334724"/>
                <a:gd name="connsiteY874" fmla="*/ 322433 h 1902921"/>
                <a:gd name="connsiteX875" fmla="*/ 766329 w 1334724"/>
                <a:gd name="connsiteY875" fmla="*/ 321614 h 1902921"/>
                <a:gd name="connsiteX876" fmla="*/ 762255 w 1334724"/>
                <a:gd name="connsiteY876" fmla="*/ 315192 h 1902921"/>
                <a:gd name="connsiteX877" fmla="*/ 756982 w 1334724"/>
                <a:gd name="connsiteY877" fmla="*/ 309364 h 1902921"/>
                <a:gd name="connsiteX878" fmla="*/ 756620 w 1334724"/>
                <a:gd name="connsiteY878" fmla="*/ 308762 h 1902921"/>
                <a:gd name="connsiteX879" fmla="*/ 754244 w 1334724"/>
                <a:gd name="connsiteY879" fmla="*/ 302210 h 1902921"/>
                <a:gd name="connsiteX880" fmla="*/ 754171 w 1334724"/>
                <a:gd name="connsiteY880" fmla="*/ 301926 h 1902921"/>
                <a:gd name="connsiteX881" fmla="*/ 753347 w 1334724"/>
                <a:gd name="connsiteY881" fmla="*/ 297428 h 1902921"/>
                <a:gd name="connsiteX882" fmla="*/ 748246 w 1334724"/>
                <a:gd name="connsiteY882" fmla="*/ 299135 h 1902921"/>
                <a:gd name="connsiteX883" fmla="*/ 742423 w 1334724"/>
                <a:gd name="connsiteY883" fmla="*/ 301453 h 1902921"/>
                <a:gd name="connsiteX884" fmla="*/ 737776 w 1334724"/>
                <a:gd name="connsiteY884" fmla="*/ 303801 h 1902921"/>
                <a:gd name="connsiteX885" fmla="*/ 738615 w 1334724"/>
                <a:gd name="connsiteY885" fmla="*/ 308472 h 1902921"/>
                <a:gd name="connsiteX886" fmla="*/ 744212 w 1334724"/>
                <a:gd name="connsiteY886" fmla="*/ 314643 h 1902921"/>
                <a:gd name="connsiteX887" fmla="*/ 744409 w 1334724"/>
                <a:gd name="connsiteY887" fmla="*/ 314913 h 1902921"/>
                <a:gd name="connsiteX888" fmla="*/ 748271 w 1334724"/>
                <a:gd name="connsiteY888" fmla="*/ 320982 h 1902921"/>
                <a:gd name="connsiteX889" fmla="*/ 754070 w 1334724"/>
                <a:gd name="connsiteY889" fmla="*/ 323600 h 1902921"/>
                <a:gd name="connsiteX890" fmla="*/ 759691 w 1334724"/>
                <a:gd name="connsiteY890" fmla="*/ 324183 h 1902921"/>
                <a:gd name="connsiteX891" fmla="*/ 760670 w 1334724"/>
                <a:gd name="connsiteY891" fmla="*/ 324593 h 1902921"/>
                <a:gd name="connsiteX892" fmla="*/ 767235 w 1334724"/>
                <a:gd name="connsiteY892" fmla="*/ 329953 h 1902921"/>
                <a:gd name="connsiteX893" fmla="*/ 767727 w 1334724"/>
                <a:gd name="connsiteY893" fmla="*/ 332108 h 1902921"/>
                <a:gd name="connsiteX894" fmla="*/ 765770 w 1334724"/>
                <a:gd name="connsiteY894" fmla="*/ 333150 h 1902921"/>
                <a:gd name="connsiteX895" fmla="*/ 759199 w 1334724"/>
                <a:gd name="connsiteY895" fmla="*/ 331949 h 1902921"/>
                <a:gd name="connsiteX896" fmla="*/ 758915 w 1334724"/>
                <a:gd name="connsiteY896" fmla="*/ 331872 h 1902921"/>
                <a:gd name="connsiteX897" fmla="*/ 754186 w 1334724"/>
                <a:gd name="connsiteY897" fmla="*/ 330141 h 1902921"/>
                <a:gd name="connsiteX898" fmla="*/ 752956 w 1334724"/>
                <a:gd name="connsiteY898" fmla="*/ 334244 h 1902921"/>
                <a:gd name="connsiteX899" fmla="*/ 751929 w 1334724"/>
                <a:gd name="connsiteY899" fmla="*/ 335391 h 1902921"/>
                <a:gd name="connsiteX900" fmla="*/ 750406 w 1334724"/>
                <a:gd name="connsiteY900" fmla="*/ 335362 h 1902921"/>
                <a:gd name="connsiteX901" fmla="*/ 744694 w 1334724"/>
                <a:gd name="connsiteY901" fmla="*/ 332518 h 1902921"/>
                <a:gd name="connsiteX902" fmla="*/ 744694 w 1334724"/>
                <a:gd name="connsiteY902" fmla="*/ 339089 h 1902921"/>
                <a:gd name="connsiteX903" fmla="*/ 744660 w 1334724"/>
                <a:gd name="connsiteY903" fmla="*/ 339470 h 1902921"/>
                <a:gd name="connsiteX904" fmla="*/ 743450 w 1334724"/>
                <a:gd name="connsiteY904" fmla="*/ 344821 h 1902921"/>
                <a:gd name="connsiteX905" fmla="*/ 741782 w 1334724"/>
                <a:gd name="connsiteY905" fmla="*/ 346257 h 1902921"/>
                <a:gd name="connsiteX906" fmla="*/ 739974 w 1334724"/>
                <a:gd name="connsiteY906" fmla="*/ 345013 h 1902921"/>
                <a:gd name="connsiteX907" fmla="*/ 739367 w 1334724"/>
                <a:gd name="connsiteY907" fmla="*/ 343239 h 1902921"/>
                <a:gd name="connsiteX908" fmla="*/ 739256 w 1334724"/>
                <a:gd name="connsiteY908" fmla="*/ 342666 h 1902921"/>
                <a:gd name="connsiteX909" fmla="*/ 739256 w 1334724"/>
                <a:gd name="connsiteY909" fmla="*/ 336862 h 1902921"/>
                <a:gd name="connsiteX910" fmla="*/ 738099 w 1334724"/>
                <a:gd name="connsiteY910" fmla="*/ 330527 h 1902921"/>
                <a:gd name="connsiteX911" fmla="*/ 736474 w 1334724"/>
                <a:gd name="connsiteY911" fmla="*/ 322891 h 1902921"/>
                <a:gd name="connsiteX912" fmla="*/ 731123 w 1334724"/>
                <a:gd name="connsiteY912" fmla="*/ 319150 h 1902921"/>
                <a:gd name="connsiteX913" fmla="*/ 730367 w 1334724"/>
                <a:gd name="connsiteY913" fmla="*/ 318003 h 1902921"/>
                <a:gd name="connsiteX914" fmla="*/ 729455 w 1334724"/>
                <a:gd name="connsiteY914" fmla="*/ 312951 h 1902921"/>
                <a:gd name="connsiteX915" fmla="*/ 725811 w 1334724"/>
                <a:gd name="connsiteY915" fmla="*/ 312951 h 1902921"/>
                <a:gd name="connsiteX916" fmla="*/ 724408 w 1334724"/>
                <a:gd name="connsiteY916" fmla="*/ 318148 h 1902921"/>
                <a:gd name="connsiteX917" fmla="*/ 724379 w 1334724"/>
                <a:gd name="connsiteY917" fmla="*/ 318191 h 1902921"/>
                <a:gd name="connsiteX918" fmla="*/ 722634 w 1334724"/>
                <a:gd name="connsiteY918" fmla="*/ 323961 h 1902921"/>
                <a:gd name="connsiteX919" fmla="*/ 722056 w 1334724"/>
                <a:gd name="connsiteY919" fmla="*/ 330339 h 1902921"/>
                <a:gd name="connsiteX920" fmla="*/ 721713 w 1334724"/>
                <a:gd name="connsiteY920" fmla="*/ 331241 h 1902921"/>
                <a:gd name="connsiteX921" fmla="*/ 717432 w 1334724"/>
                <a:gd name="connsiteY921" fmla="*/ 337180 h 1902921"/>
                <a:gd name="connsiteX922" fmla="*/ 718344 w 1334724"/>
                <a:gd name="connsiteY922" fmla="*/ 342699 h 1902921"/>
                <a:gd name="connsiteX923" fmla="*/ 722923 w 1334724"/>
                <a:gd name="connsiteY923" fmla="*/ 345245 h 1902921"/>
                <a:gd name="connsiteX924" fmla="*/ 723825 w 1334724"/>
                <a:gd name="connsiteY924" fmla="*/ 347183 h 1902921"/>
                <a:gd name="connsiteX925" fmla="*/ 722730 w 1334724"/>
                <a:gd name="connsiteY925" fmla="*/ 352693 h 1902921"/>
                <a:gd name="connsiteX926" fmla="*/ 724384 w 1334724"/>
                <a:gd name="connsiteY926" fmla="*/ 358217 h 1902921"/>
                <a:gd name="connsiteX927" fmla="*/ 724003 w 1334724"/>
                <a:gd name="connsiteY927" fmla="*/ 359967 h 1902921"/>
                <a:gd name="connsiteX928" fmla="*/ 722292 w 1334724"/>
                <a:gd name="connsiteY928" fmla="*/ 360493 h 1902921"/>
                <a:gd name="connsiteX929" fmla="*/ 716984 w 1334724"/>
                <a:gd name="connsiteY929" fmla="*/ 359437 h 1902921"/>
                <a:gd name="connsiteX930" fmla="*/ 711011 w 1334724"/>
                <a:gd name="connsiteY930" fmla="*/ 362734 h 1902921"/>
                <a:gd name="connsiteX931" fmla="*/ 710674 w 1334724"/>
                <a:gd name="connsiteY931" fmla="*/ 362864 h 1902921"/>
                <a:gd name="connsiteX932" fmla="*/ 705892 w 1334724"/>
                <a:gd name="connsiteY932" fmla="*/ 364282 h 1902921"/>
                <a:gd name="connsiteX933" fmla="*/ 705419 w 1334724"/>
                <a:gd name="connsiteY933" fmla="*/ 369618 h 1902921"/>
                <a:gd name="connsiteX934" fmla="*/ 705024 w 1334724"/>
                <a:gd name="connsiteY934" fmla="*/ 370592 h 1902921"/>
                <a:gd name="connsiteX935" fmla="*/ 699793 w 1334724"/>
                <a:gd name="connsiteY935" fmla="*/ 376994 h 1902921"/>
                <a:gd name="connsiteX936" fmla="*/ 697181 w 1334724"/>
                <a:gd name="connsiteY936" fmla="*/ 382191 h 1902921"/>
                <a:gd name="connsiteX937" fmla="*/ 698241 w 1334724"/>
                <a:gd name="connsiteY937" fmla="*/ 387527 h 1902921"/>
                <a:gd name="connsiteX938" fmla="*/ 698241 w 1334724"/>
                <a:gd name="connsiteY938" fmla="*/ 388231 h 1902921"/>
                <a:gd name="connsiteX939" fmla="*/ 697581 w 1334724"/>
                <a:gd name="connsiteY939" fmla="*/ 391523 h 1902921"/>
                <a:gd name="connsiteX940" fmla="*/ 700869 w 1334724"/>
                <a:gd name="connsiteY940" fmla="*/ 390858 h 1902921"/>
                <a:gd name="connsiteX941" fmla="*/ 700912 w 1334724"/>
                <a:gd name="connsiteY941" fmla="*/ 390858 h 1902921"/>
                <a:gd name="connsiteX942" fmla="*/ 708056 w 1334724"/>
                <a:gd name="connsiteY942" fmla="*/ 389658 h 1902921"/>
                <a:gd name="connsiteX943" fmla="*/ 709772 w 1334724"/>
                <a:gd name="connsiteY943" fmla="*/ 390309 h 1902921"/>
                <a:gd name="connsiteX944" fmla="*/ 715119 w 1334724"/>
                <a:gd name="connsiteY944" fmla="*/ 396846 h 1902921"/>
                <a:gd name="connsiteX945" fmla="*/ 715123 w 1334724"/>
                <a:gd name="connsiteY945" fmla="*/ 399116 h 1902921"/>
                <a:gd name="connsiteX946" fmla="*/ 712969 w 1334724"/>
                <a:gd name="connsiteY946" fmla="*/ 399656 h 1902921"/>
                <a:gd name="connsiteX947" fmla="*/ 707492 w 1334724"/>
                <a:gd name="connsiteY947" fmla="*/ 397169 h 1902921"/>
                <a:gd name="connsiteX948" fmla="*/ 703264 w 1334724"/>
                <a:gd name="connsiteY948" fmla="*/ 400972 h 1902921"/>
                <a:gd name="connsiteX949" fmla="*/ 704551 w 1334724"/>
                <a:gd name="connsiteY949" fmla="*/ 405711 h 1902921"/>
                <a:gd name="connsiteX950" fmla="*/ 710413 w 1334724"/>
                <a:gd name="connsiteY950" fmla="*/ 408907 h 1902921"/>
                <a:gd name="connsiteX951" fmla="*/ 711257 w 1334724"/>
                <a:gd name="connsiteY951" fmla="*/ 411125 h 1902921"/>
                <a:gd name="connsiteX952" fmla="*/ 709194 w 1334724"/>
                <a:gd name="connsiteY952" fmla="*/ 412277 h 1902921"/>
                <a:gd name="connsiteX953" fmla="*/ 703240 w 1334724"/>
                <a:gd name="connsiteY953" fmla="*/ 411100 h 1902921"/>
                <a:gd name="connsiteX954" fmla="*/ 703158 w 1334724"/>
                <a:gd name="connsiteY954" fmla="*/ 411067 h 1902921"/>
                <a:gd name="connsiteX955" fmla="*/ 696376 w 1334724"/>
                <a:gd name="connsiteY955" fmla="*/ 409505 h 1902921"/>
                <a:gd name="connsiteX956" fmla="*/ 692813 w 1334724"/>
                <a:gd name="connsiteY956" fmla="*/ 412735 h 1902921"/>
                <a:gd name="connsiteX957" fmla="*/ 697046 w 1334724"/>
                <a:gd name="connsiteY957" fmla="*/ 415820 h 1902921"/>
                <a:gd name="connsiteX958" fmla="*/ 697634 w 1334724"/>
                <a:gd name="connsiteY958" fmla="*/ 415820 h 1902921"/>
                <a:gd name="connsiteX959" fmla="*/ 698926 w 1334724"/>
                <a:gd name="connsiteY959" fmla="*/ 416341 h 1902921"/>
                <a:gd name="connsiteX960" fmla="*/ 699591 w 1334724"/>
                <a:gd name="connsiteY960" fmla="*/ 417006 h 1902921"/>
                <a:gd name="connsiteX961" fmla="*/ 705521 w 1334724"/>
                <a:gd name="connsiteY961" fmla="*/ 423562 h 1902921"/>
                <a:gd name="connsiteX962" fmla="*/ 705718 w 1334724"/>
                <a:gd name="connsiteY962" fmla="*/ 425775 h 1902921"/>
                <a:gd name="connsiteX963" fmla="*/ 703568 w 1334724"/>
                <a:gd name="connsiteY963" fmla="*/ 426488 h 1902921"/>
                <a:gd name="connsiteX964" fmla="*/ 691034 w 1334724"/>
                <a:gd name="connsiteY964" fmla="*/ 421933 h 1902921"/>
                <a:gd name="connsiteX965" fmla="*/ 685659 w 1334724"/>
                <a:gd name="connsiteY965" fmla="*/ 423393 h 1902921"/>
                <a:gd name="connsiteX966" fmla="*/ 681889 w 1334724"/>
                <a:gd name="connsiteY966" fmla="*/ 428783 h 1902921"/>
                <a:gd name="connsiteX967" fmla="*/ 680684 w 1334724"/>
                <a:gd name="connsiteY967" fmla="*/ 429554 h 1902921"/>
                <a:gd name="connsiteX968" fmla="*/ 679310 w 1334724"/>
                <a:gd name="connsiteY968" fmla="*/ 429221 h 1902921"/>
                <a:gd name="connsiteX969" fmla="*/ 673887 w 1334724"/>
                <a:gd name="connsiteY969" fmla="*/ 425288 h 1902921"/>
                <a:gd name="connsiteX970" fmla="*/ 669018 w 1334724"/>
                <a:gd name="connsiteY970" fmla="*/ 429168 h 1902921"/>
                <a:gd name="connsiteX971" fmla="*/ 668657 w 1334724"/>
                <a:gd name="connsiteY971" fmla="*/ 429424 h 1902921"/>
                <a:gd name="connsiteX972" fmla="*/ 662501 w 1334724"/>
                <a:gd name="connsiteY972" fmla="*/ 432220 h 1902921"/>
                <a:gd name="connsiteX973" fmla="*/ 658191 w 1334724"/>
                <a:gd name="connsiteY973" fmla="*/ 437605 h 1902921"/>
                <a:gd name="connsiteX974" fmla="*/ 656214 w 1334724"/>
                <a:gd name="connsiteY974" fmla="*/ 442469 h 1902921"/>
                <a:gd name="connsiteX975" fmla="*/ 659333 w 1334724"/>
                <a:gd name="connsiteY975" fmla="*/ 447632 h 1902921"/>
                <a:gd name="connsiteX976" fmla="*/ 659232 w 1334724"/>
                <a:gd name="connsiteY976" fmla="*/ 449690 h 1902921"/>
                <a:gd name="connsiteX977" fmla="*/ 657318 w 1334724"/>
                <a:gd name="connsiteY977" fmla="*/ 450336 h 1902921"/>
                <a:gd name="connsiteX978" fmla="*/ 655612 w 1334724"/>
                <a:gd name="connsiteY978" fmla="*/ 449912 h 1902921"/>
                <a:gd name="connsiteX979" fmla="*/ 653013 w 1334724"/>
                <a:gd name="connsiteY979" fmla="*/ 451223 h 1902921"/>
                <a:gd name="connsiteX980" fmla="*/ 655240 w 1334724"/>
                <a:gd name="connsiteY980" fmla="*/ 456140 h 1902921"/>
                <a:gd name="connsiteX981" fmla="*/ 657569 w 1334724"/>
                <a:gd name="connsiteY981" fmla="*/ 460787 h 1902921"/>
                <a:gd name="connsiteX982" fmla="*/ 662014 w 1334724"/>
                <a:gd name="connsiteY982" fmla="*/ 459920 h 1902921"/>
                <a:gd name="connsiteX983" fmla="*/ 667519 w 1334724"/>
                <a:gd name="connsiteY983" fmla="*/ 457765 h 1902921"/>
                <a:gd name="connsiteX984" fmla="*/ 674388 w 1334724"/>
                <a:gd name="connsiteY984" fmla="*/ 451426 h 1902921"/>
                <a:gd name="connsiteX985" fmla="*/ 675820 w 1334724"/>
                <a:gd name="connsiteY985" fmla="*/ 450958 h 1902921"/>
                <a:gd name="connsiteX986" fmla="*/ 681745 w 1334724"/>
                <a:gd name="connsiteY986" fmla="*/ 451527 h 1902921"/>
                <a:gd name="connsiteX987" fmla="*/ 683022 w 1334724"/>
                <a:gd name="connsiteY987" fmla="*/ 452250 h 1902921"/>
                <a:gd name="connsiteX988" fmla="*/ 683369 w 1334724"/>
                <a:gd name="connsiteY988" fmla="*/ 453653 h 1902921"/>
                <a:gd name="connsiteX989" fmla="*/ 682651 w 1334724"/>
                <a:gd name="connsiteY989" fmla="*/ 457649 h 1902921"/>
                <a:gd name="connsiteX990" fmla="*/ 686373 w 1334724"/>
                <a:gd name="connsiteY990" fmla="*/ 456960 h 1902921"/>
                <a:gd name="connsiteX991" fmla="*/ 692910 w 1334724"/>
                <a:gd name="connsiteY991" fmla="*/ 453691 h 1902921"/>
                <a:gd name="connsiteX992" fmla="*/ 698632 w 1334724"/>
                <a:gd name="connsiteY992" fmla="*/ 446851 h 1902921"/>
                <a:gd name="connsiteX993" fmla="*/ 700391 w 1334724"/>
                <a:gd name="connsiteY993" fmla="*/ 446224 h 1902921"/>
                <a:gd name="connsiteX994" fmla="*/ 706321 w 1334724"/>
                <a:gd name="connsiteY994" fmla="*/ 447400 h 1902921"/>
                <a:gd name="connsiteX995" fmla="*/ 707579 w 1334724"/>
                <a:gd name="connsiteY995" fmla="*/ 448360 h 1902921"/>
                <a:gd name="connsiteX996" fmla="*/ 707637 w 1334724"/>
                <a:gd name="connsiteY996" fmla="*/ 449946 h 1902921"/>
                <a:gd name="connsiteX997" fmla="*/ 706249 w 1334724"/>
                <a:gd name="connsiteY997" fmla="*/ 452954 h 1902921"/>
                <a:gd name="connsiteX998" fmla="*/ 709064 w 1334724"/>
                <a:gd name="connsiteY998" fmla="*/ 452216 h 1902921"/>
                <a:gd name="connsiteX999" fmla="*/ 710409 w 1334724"/>
                <a:gd name="connsiteY999" fmla="*/ 452356 h 1902921"/>
                <a:gd name="connsiteX1000" fmla="*/ 716946 w 1334724"/>
                <a:gd name="connsiteY1000" fmla="*/ 455933 h 1902921"/>
                <a:gd name="connsiteX1001" fmla="*/ 717124 w 1334724"/>
                <a:gd name="connsiteY1001" fmla="*/ 456034 h 1902921"/>
                <a:gd name="connsiteX1002" fmla="*/ 723077 w 1334724"/>
                <a:gd name="connsiteY1002" fmla="*/ 460195 h 1902921"/>
                <a:gd name="connsiteX1003" fmla="*/ 723598 w 1334724"/>
                <a:gd name="connsiteY1003" fmla="*/ 462571 h 1902921"/>
                <a:gd name="connsiteX1004" fmla="*/ 721284 w 1334724"/>
                <a:gd name="connsiteY1004" fmla="*/ 463333 h 1902921"/>
                <a:gd name="connsiteX1005" fmla="*/ 715104 w 1334724"/>
                <a:gd name="connsiteY1005" fmla="*/ 460518 h 1902921"/>
                <a:gd name="connsiteX1006" fmla="*/ 713104 w 1334724"/>
                <a:gd name="connsiteY1006" fmla="*/ 460518 h 1902921"/>
                <a:gd name="connsiteX1007" fmla="*/ 712621 w 1334724"/>
                <a:gd name="connsiteY1007" fmla="*/ 460440 h 1902921"/>
                <a:gd name="connsiteX1008" fmla="*/ 706480 w 1334724"/>
                <a:gd name="connsiteY1008" fmla="*/ 458796 h 1902921"/>
                <a:gd name="connsiteX1009" fmla="*/ 702720 w 1334724"/>
                <a:gd name="connsiteY1009" fmla="*/ 459457 h 1902921"/>
                <a:gd name="connsiteX1010" fmla="*/ 704484 w 1334724"/>
                <a:gd name="connsiteY1010" fmla="*/ 462981 h 1902921"/>
                <a:gd name="connsiteX1011" fmla="*/ 704764 w 1334724"/>
                <a:gd name="connsiteY1011" fmla="*/ 463251 h 1902921"/>
                <a:gd name="connsiteX1012" fmla="*/ 710577 w 1334724"/>
                <a:gd name="connsiteY1012" fmla="*/ 467329 h 1902921"/>
                <a:gd name="connsiteX1013" fmla="*/ 711141 w 1334724"/>
                <a:gd name="connsiteY1013" fmla="*/ 469711 h 1902921"/>
                <a:gd name="connsiteX1014" fmla="*/ 708832 w 1334724"/>
                <a:gd name="connsiteY1014" fmla="*/ 470511 h 1902921"/>
                <a:gd name="connsiteX1015" fmla="*/ 701693 w 1334724"/>
                <a:gd name="connsiteY1015" fmla="*/ 467522 h 1902921"/>
                <a:gd name="connsiteX1016" fmla="*/ 701119 w 1334724"/>
                <a:gd name="connsiteY1016" fmla="*/ 467141 h 1902921"/>
                <a:gd name="connsiteX1017" fmla="*/ 699615 w 1334724"/>
                <a:gd name="connsiteY1017" fmla="*/ 465666 h 1902921"/>
                <a:gd name="connsiteX1018" fmla="*/ 695402 w 1334724"/>
                <a:gd name="connsiteY1018" fmla="*/ 467580 h 1902921"/>
                <a:gd name="connsiteX1019" fmla="*/ 695865 w 1334724"/>
                <a:gd name="connsiteY1019" fmla="*/ 472198 h 1902921"/>
                <a:gd name="connsiteX1020" fmla="*/ 696347 w 1334724"/>
                <a:gd name="connsiteY1020" fmla="*/ 476112 h 1902921"/>
                <a:gd name="connsiteX1021" fmla="*/ 702185 w 1334724"/>
                <a:gd name="connsiteY1021" fmla="*/ 479776 h 1902921"/>
                <a:gd name="connsiteX1022" fmla="*/ 702994 w 1334724"/>
                <a:gd name="connsiteY1022" fmla="*/ 481497 h 1902921"/>
                <a:gd name="connsiteX1023" fmla="*/ 702426 w 1334724"/>
                <a:gd name="connsiteY1023" fmla="*/ 487875 h 1902921"/>
                <a:gd name="connsiteX1024" fmla="*/ 702994 w 1334724"/>
                <a:gd name="connsiteY1024" fmla="*/ 494243 h 1902921"/>
                <a:gd name="connsiteX1025" fmla="*/ 701635 w 1334724"/>
                <a:gd name="connsiteY1025" fmla="*/ 496196 h 1902921"/>
                <a:gd name="connsiteX1026" fmla="*/ 699519 w 1334724"/>
                <a:gd name="connsiteY1026" fmla="*/ 495121 h 1902921"/>
                <a:gd name="connsiteX1027" fmla="*/ 696544 w 1334724"/>
                <a:gd name="connsiteY1027" fmla="*/ 487991 h 1902921"/>
                <a:gd name="connsiteX1028" fmla="*/ 696443 w 1334724"/>
                <a:gd name="connsiteY1028" fmla="*/ 487620 h 1902921"/>
                <a:gd name="connsiteX1029" fmla="*/ 695315 w 1334724"/>
                <a:gd name="connsiteY1029" fmla="*/ 481979 h 1902921"/>
                <a:gd name="connsiteX1030" fmla="*/ 691299 w 1334724"/>
                <a:gd name="connsiteY1030" fmla="*/ 475110 h 1902921"/>
                <a:gd name="connsiteX1031" fmla="*/ 691044 w 1334724"/>
                <a:gd name="connsiteY1031" fmla="*/ 474170 h 1902921"/>
                <a:gd name="connsiteX1032" fmla="*/ 691044 w 1334724"/>
                <a:gd name="connsiteY1032" fmla="*/ 474073 h 1902921"/>
                <a:gd name="connsiteX1033" fmla="*/ 686450 w 1334724"/>
                <a:gd name="connsiteY1033" fmla="*/ 471547 h 1902921"/>
                <a:gd name="connsiteX1034" fmla="*/ 681398 w 1334724"/>
                <a:gd name="connsiteY1034" fmla="*/ 475081 h 1902921"/>
                <a:gd name="connsiteX1035" fmla="*/ 681007 w 1334724"/>
                <a:gd name="connsiteY1035" fmla="*/ 475288 h 1902921"/>
                <a:gd name="connsiteX1036" fmla="*/ 674456 w 1334724"/>
                <a:gd name="connsiteY1036" fmla="*/ 477679 h 1902921"/>
                <a:gd name="connsiteX1037" fmla="*/ 672856 w 1334724"/>
                <a:gd name="connsiteY1037" fmla="*/ 477496 h 1902921"/>
                <a:gd name="connsiteX1038" fmla="*/ 672012 w 1334724"/>
                <a:gd name="connsiteY1038" fmla="*/ 476137 h 1902921"/>
                <a:gd name="connsiteX1039" fmla="*/ 671510 w 1334724"/>
                <a:gd name="connsiteY1039" fmla="*/ 470511 h 1902921"/>
                <a:gd name="connsiteX1040" fmla="*/ 645729 w 1334724"/>
                <a:gd name="connsiteY1040" fmla="*/ 475597 h 1902921"/>
                <a:gd name="connsiteX1041" fmla="*/ 648815 w 1334724"/>
                <a:gd name="connsiteY1041" fmla="*/ 479810 h 1902921"/>
                <a:gd name="connsiteX1042" fmla="*/ 653939 w 1334724"/>
                <a:gd name="connsiteY1042" fmla="*/ 481897 h 1902921"/>
                <a:gd name="connsiteX1043" fmla="*/ 656556 w 1334724"/>
                <a:gd name="connsiteY1043" fmla="*/ 481897 h 1902921"/>
                <a:gd name="connsiteX1044" fmla="*/ 657969 w 1334724"/>
                <a:gd name="connsiteY1044" fmla="*/ 482543 h 1902921"/>
                <a:gd name="connsiteX1045" fmla="*/ 663344 w 1334724"/>
                <a:gd name="connsiteY1045" fmla="*/ 489104 h 1902921"/>
                <a:gd name="connsiteX1046" fmla="*/ 663484 w 1334724"/>
                <a:gd name="connsiteY1046" fmla="*/ 489297 h 1902921"/>
                <a:gd name="connsiteX1047" fmla="*/ 666849 w 1334724"/>
                <a:gd name="connsiteY1047" fmla="*/ 494952 h 1902921"/>
                <a:gd name="connsiteX1048" fmla="*/ 672494 w 1334724"/>
                <a:gd name="connsiteY1048" fmla="*/ 498895 h 1902921"/>
                <a:gd name="connsiteX1049" fmla="*/ 673077 w 1334724"/>
                <a:gd name="connsiteY1049" fmla="*/ 501185 h 1902921"/>
                <a:gd name="connsiteX1050" fmla="*/ 670864 w 1334724"/>
                <a:gd name="connsiteY1050" fmla="*/ 502096 h 1902921"/>
                <a:gd name="connsiteX1051" fmla="*/ 663730 w 1334724"/>
                <a:gd name="connsiteY1051" fmla="*/ 499710 h 1902921"/>
                <a:gd name="connsiteX1052" fmla="*/ 663643 w 1334724"/>
                <a:gd name="connsiteY1052" fmla="*/ 499623 h 1902921"/>
                <a:gd name="connsiteX1053" fmla="*/ 663643 w 1334724"/>
                <a:gd name="connsiteY1053" fmla="*/ 499763 h 1902921"/>
                <a:gd name="connsiteX1054" fmla="*/ 661753 w 1334724"/>
                <a:gd name="connsiteY1054" fmla="*/ 500992 h 1902921"/>
                <a:gd name="connsiteX1055" fmla="*/ 655303 w 1334724"/>
                <a:gd name="connsiteY1055" fmla="*/ 500394 h 1902921"/>
                <a:gd name="connsiteX1056" fmla="*/ 654811 w 1334724"/>
                <a:gd name="connsiteY1056" fmla="*/ 500394 h 1902921"/>
                <a:gd name="connsiteX1057" fmla="*/ 654811 w 1334724"/>
                <a:gd name="connsiteY1057" fmla="*/ 505726 h 1902921"/>
                <a:gd name="connsiteX1058" fmla="*/ 654503 w 1334724"/>
                <a:gd name="connsiteY1058" fmla="*/ 506522 h 1902921"/>
                <a:gd name="connsiteX1059" fmla="*/ 655554 w 1334724"/>
                <a:gd name="connsiteY1059" fmla="*/ 506435 h 1902921"/>
                <a:gd name="connsiteX1060" fmla="*/ 662925 w 1334724"/>
                <a:gd name="connsiteY1060" fmla="*/ 509838 h 1902921"/>
                <a:gd name="connsiteX1061" fmla="*/ 668468 w 1334724"/>
                <a:gd name="connsiteY1061" fmla="*/ 509838 h 1902921"/>
                <a:gd name="connsiteX1062" fmla="*/ 670233 w 1334724"/>
                <a:gd name="connsiteY1062" fmla="*/ 511251 h 1902921"/>
                <a:gd name="connsiteX1063" fmla="*/ 669283 w 1334724"/>
                <a:gd name="connsiteY1063" fmla="*/ 513309 h 1902921"/>
                <a:gd name="connsiteX1064" fmla="*/ 663339 w 1334724"/>
                <a:gd name="connsiteY1064" fmla="*/ 516264 h 1902921"/>
                <a:gd name="connsiteX1065" fmla="*/ 661344 w 1334724"/>
                <a:gd name="connsiteY1065" fmla="*/ 516062 h 1902921"/>
                <a:gd name="connsiteX1066" fmla="*/ 656730 w 1334724"/>
                <a:gd name="connsiteY1066" fmla="*/ 512268 h 1902921"/>
                <a:gd name="connsiteX1067" fmla="*/ 655650 w 1334724"/>
                <a:gd name="connsiteY1067" fmla="*/ 514972 h 1902921"/>
                <a:gd name="connsiteX1068" fmla="*/ 659806 w 1334724"/>
                <a:gd name="connsiteY1068" fmla="*/ 520723 h 1902921"/>
                <a:gd name="connsiteX1069" fmla="*/ 660138 w 1334724"/>
                <a:gd name="connsiteY1069" fmla="*/ 521625 h 1902921"/>
                <a:gd name="connsiteX1070" fmla="*/ 660755 w 1334724"/>
                <a:gd name="connsiteY1070" fmla="*/ 527545 h 1902921"/>
                <a:gd name="connsiteX1071" fmla="*/ 659840 w 1334724"/>
                <a:gd name="connsiteY1071" fmla="*/ 529328 h 1902921"/>
                <a:gd name="connsiteX1072" fmla="*/ 657829 w 1334724"/>
                <a:gd name="connsiteY1072" fmla="*/ 529203 h 1902921"/>
                <a:gd name="connsiteX1073" fmla="*/ 653611 w 1334724"/>
                <a:gd name="connsiteY1073" fmla="*/ 526021 h 1902921"/>
                <a:gd name="connsiteX1074" fmla="*/ 653611 w 1334724"/>
                <a:gd name="connsiteY1074" fmla="*/ 527776 h 1902921"/>
                <a:gd name="connsiteX1075" fmla="*/ 659097 w 1334724"/>
                <a:gd name="connsiteY1075" fmla="*/ 530235 h 1902921"/>
                <a:gd name="connsiteX1076" fmla="*/ 660148 w 1334724"/>
                <a:gd name="connsiteY1076" fmla="*/ 531907 h 1902921"/>
                <a:gd name="connsiteX1077" fmla="*/ 660148 w 1334724"/>
                <a:gd name="connsiteY1077" fmla="*/ 538435 h 1902921"/>
                <a:gd name="connsiteX1078" fmla="*/ 659030 w 1334724"/>
                <a:gd name="connsiteY1078" fmla="*/ 540131 h 1902921"/>
                <a:gd name="connsiteX1079" fmla="*/ 657063 w 1334724"/>
                <a:gd name="connsiteY1079" fmla="*/ 539717 h 1902921"/>
                <a:gd name="connsiteX1080" fmla="*/ 651104 w 1334724"/>
                <a:gd name="connsiteY1080" fmla="*/ 533797 h 1902921"/>
                <a:gd name="connsiteX1081" fmla="*/ 650752 w 1334724"/>
                <a:gd name="connsiteY1081" fmla="*/ 533334 h 1902921"/>
                <a:gd name="connsiteX1082" fmla="*/ 648863 w 1334724"/>
                <a:gd name="connsiteY1082" fmla="*/ 529497 h 1902921"/>
                <a:gd name="connsiteX1083" fmla="*/ 649374 w 1334724"/>
                <a:gd name="connsiteY1083" fmla="*/ 535788 h 1902921"/>
                <a:gd name="connsiteX1084" fmla="*/ 654797 w 1334724"/>
                <a:gd name="connsiteY1084" fmla="*/ 540686 h 1902921"/>
                <a:gd name="connsiteX1085" fmla="*/ 654908 w 1334724"/>
                <a:gd name="connsiteY1085" fmla="*/ 540792 h 1902921"/>
                <a:gd name="connsiteX1086" fmla="*/ 660881 w 1334724"/>
                <a:gd name="connsiteY1086" fmla="*/ 547353 h 1902921"/>
                <a:gd name="connsiteX1087" fmla="*/ 660977 w 1334724"/>
                <a:gd name="connsiteY1087" fmla="*/ 549672 h 1902921"/>
                <a:gd name="connsiteX1088" fmla="*/ 658726 w 1334724"/>
                <a:gd name="connsiteY1088" fmla="*/ 550192 h 1902921"/>
                <a:gd name="connsiteX1089" fmla="*/ 652772 w 1334724"/>
                <a:gd name="connsiteY1089" fmla="*/ 547213 h 1902921"/>
                <a:gd name="connsiteX1090" fmla="*/ 652719 w 1334724"/>
                <a:gd name="connsiteY1090" fmla="*/ 547184 h 1902921"/>
                <a:gd name="connsiteX1091" fmla="*/ 646144 w 1334724"/>
                <a:gd name="connsiteY1091" fmla="*/ 543588 h 1902921"/>
                <a:gd name="connsiteX1092" fmla="*/ 645257 w 1334724"/>
                <a:gd name="connsiteY1092" fmla="*/ 542479 h 1902921"/>
                <a:gd name="connsiteX1093" fmla="*/ 643493 w 1334724"/>
                <a:gd name="connsiteY1093" fmla="*/ 535966 h 1902921"/>
                <a:gd name="connsiteX1094" fmla="*/ 641795 w 1334724"/>
                <a:gd name="connsiteY1094" fmla="*/ 530326 h 1902921"/>
                <a:gd name="connsiteX1095" fmla="*/ 637809 w 1334724"/>
                <a:gd name="connsiteY1095" fmla="*/ 524614 h 1902921"/>
                <a:gd name="connsiteX1096" fmla="*/ 637496 w 1334724"/>
                <a:gd name="connsiteY1096" fmla="*/ 523876 h 1902921"/>
                <a:gd name="connsiteX1097" fmla="*/ 631291 w 1334724"/>
                <a:gd name="connsiteY1097" fmla="*/ 494503 h 1902921"/>
                <a:gd name="connsiteX1098" fmla="*/ 629638 w 1334724"/>
                <a:gd name="connsiteY1098" fmla="*/ 498119 h 1902921"/>
                <a:gd name="connsiteX1099" fmla="*/ 629522 w 1334724"/>
                <a:gd name="connsiteY1099" fmla="*/ 498326 h 1902921"/>
                <a:gd name="connsiteX1100" fmla="*/ 625800 w 1334724"/>
                <a:gd name="connsiteY1100" fmla="*/ 504217 h 1902921"/>
                <a:gd name="connsiteX1101" fmla="*/ 627338 w 1334724"/>
                <a:gd name="connsiteY1101" fmla="*/ 509361 h 1902921"/>
                <a:gd name="connsiteX1102" fmla="*/ 626654 w 1334724"/>
                <a:gd name="connsiteY1102" fmla="*/ 511381 h 1902921"/>
                <a:gd name="connsiteX1103" fmla="*/ 620821 w 1334724"/>
                <a:gd name="connsiteY1103" fmla="*/ 515430 h 1902921"/>
                <a:gd name="connsiteX1104" fmla="*/ 619741 w 1334724"/>
                <a:gd name="connsiteY1104" fmla="*/ 516534 h 1902921"/>
                <a:gd name="connsiteX1105" fmla="*/ 618661 w 1334724"/>
                <a:gd name="connsiteY1105" fmla="*/ 517045 h 1902921"/>
                <a:gd name="connsiteX1106" fmla="*/ 613305 w 1334724"/>
                <a:gd name="connsiteY1106" fmla="*/ 517648 h 1902921"/>
                <a:gd name="connsiteX1107" fmla="*/ 611358 w 1334724"/>
                <a:gd name="connsiteY1107" fmla="*/ 516312 h 1902921"/>
                <a:gd name="connsiteX1108" fmla="*/ 609940 w 1334724"/>
                <a:gd name="connsiteY1108" fmla="*/ 511106 h 1902921"/>
                <a:gd name="connsiteX1109" fmla="*/ 605669 w 1334724"/>
                <a:gd name="connsiteY1109" fmla="*/ 511106 h 1902921"/>
                <a:gd name="connsiteX1110" fmla="*/ 601490 w 1334724"/>
                <a:gd name="connsiteY1110" fmla="*/ 516312 h 1902921"/>
                <a:gd name="connsiteX1111" fmla="*/ 597267 w 1334724"/>
                <a:gd name="connsiteY1111" fmla="*/ 522594 h 1902921"/>
                <a:gd name="connsiteX1112" fmla="*/ 598930 w 1334724"/>
                <a:gd name="connsiteY1112" fmla="*/ 526720 h 1902921"/>
                <a:gd name="connsiteX1113" fmla="*/ 602401 w 1334724"/>
                <a:gd name="connsiteY1113" fmla="*/ 527443 h 1902921"/>
                <a:gd name="connsiteX1114" fmla="*/ 604228 w 1334724"/>
                <a:gd name="connsiteY1114" fmla="*/ 522396 h 1902921"/>
                <a:gd name="connsiteX1115" fmla="*/ 606007 w 1334724"/>
                <a:gd name="connsiteY1115" fmla="*/ 516500 h 1902921"/>
                <a:gd name="connsiteX1116" fmla="*/ 607328 w 1334724"/>
                <a:gd name="connsiteY1116" fmla="*/ 515233 h 1902921"/>
                <a:gd name="connsiteX1117" fmla="*/ 609068 w 1334724"/>
                <a:gd name="connsiteY1117" fmla="*/ 515777 h 1902921"/>
                <a:gd name="connsiteX1118" fmla="*/ 614476 w 1334724"/>
                <a:gd name="connsiteY1118" fmla="*/ 521726 h 1902921"/>
                <a:gd name="connsiteX1119" fmla="*/ 619562 w 1334724"/>
                <a:gd name="connsiteY1119" fmla="*/ 521726 h 1902921"/>
                <a:gd name="connsiteX1120" fmla="*/ 625415 w 1334724"/>
                <a:gd name="connsiteY1120" fmla="*/ 521167 h 1902921"/>
                <a:gd name="connsiteX1121" fmla="*/ 626673 w 1334724"/>
                <a:gd name="connsiteY1121" fmla="*/ 521528 h 1902921"/>
                <a:gd name="connsiteX1122" fmla="*/ 633808 w 1334724"/>
                <a:gd name="connsiteY1122" fmla="*/ 526855 h 1902921"/>
                <a:gd name="connsiteX1123" fmla="*/ 634309 w 1334724"/>
                <a:gd name="connsiteY1123" fmla="*/ 529266 h 1902921"/>
                <a:gd name="connsiteX1124" fmla="*/ 630718 w 1334724"/>
                <a:gd name="connsiteY1124" fmla="*/ 535190 h 1902921"/>
                <a:gd name="connsiteX1125" fmla="*/ 629344 w 1334724"/>
                <a:gd name="connsiteY1125" fmla="*/ 536073 h 1902921"/>
                <a:gd name="connsiteX1126" fmla="*/ 623390 w 1334724"/>
                <a:gd name="connsiteY1126" fmla="*/ 536675 h 1902921"/>
                <a:gd name="connsiteX1127" fmla="*/ 623048 w 1334724"/>
                <a:gd name="connsiteY1127" fmla="*/ 536675 h 1902921"/>
                <a:gd name="connsiteX1128" fmla="*/ 617986 w 1334724"/>
                <a:gd name="connsiteY1128" fmla="*/ 536159 h 1902921"/>
                <a:gd name="connsiteX1129" fmla="*/ 612650 w 1334724"/>
                <a:gd name="connsiteY1129" fmla="*/ 542055 h 1902921"/>
                <a:gd name="connsiteX1130" fmla="*/ 611681 w 1334724"/>
                <a:gd name="connsiteY1130" fmla="*/ 542619 h 1902921"/>
                <a:gd name="connsiteX1131" fmla="*/ 605891 w 1334724"/>
                <a:gd name="connsiteY1131" fmla="*/ 543762 h 1902921"/>
                <a:gd name="connsiteX1132" fmla="*/ 599349 w 1334724"/>
                <a:gd name="connsiteY1132" fmla="*/ 546500 h 1902921"/>
                <a:gd name="connsiteX1133" fmla="*/ 594292 w 1334724"/>
                <a:gd name="connsiteY1133" fmla="*/ 552680 h 1902921"/>
                <a:gd name="connsiteX1134" fmla="*/ 592258 w 1334724"/>
                <a:gd name="connsiteY1134" fmla="*/ 553254 h 1902921"/>
                <a:gd name="connsiteX1135" fmla="*/ 591038 w 1334724"/>
                <a:gd name="connsiteY1135" fmla="*/ 551537 h 1902921"/>
                <a:gd name="connsiteX1136" fmla="*/ 591038 w 1334724"/>
                <a:gd name="connsiteY1136" fmla="*/ 547401 h 1902921"/>
                <a:gd name="connsiteX1137" fmla="*/ 587148 w 1334724"/>
                <a:gd name="connsiteY1137" fmla="*/ 547401 h 1902921"/>
                <a:gd name="connsiteX1138" fmla="*/ 582385 w 1334724"/>
                <a:gd name="connsiteY1138" fmla="*/ 548693 h 1902921"/>
                <a:gd name="connsiteX1139" fmla="*/ 582539 w 1334724"/>
                <a:gd name="connsiteY1139" fmla="*/ 549739 h 1902921"/>
                <a:gd name="connsiteX1140" fmla="*/ 586921 w 1334724"/>
                <a:gd name="connsiteY1140" fmla="*/ 549739 h 1902921"/>
                <a:gd name="connsiteX1141" fmla="*/ 588720 w 1334724"/>
                <a:gd name="connsiteY1141" fmla="*/ 551287 h 1902921"/>
                <a:gd name="connsiteX1142" fmla="*/ 587442 w 1334724"/>
                <a:gd name="connsiteY1142" fmla="*/ 553287 h 1902921"/>
                <a:gd name="connsiteX1143" fmla="*/ 581464 w 1334724"/>
                <a:gd name="connsiteY1143" fmla="*/ 555056 h 1902921"/>
                <a:gd name="connsiteX1144" fmla="*/ 581450 w 1334724"/>
                <a:gd name="connsiteY1144" fmla="*/ 555095 h 1902921"/>
                <a:gd name="connsiteX1145" fmla="*/ 575872 w 1334724"/>
                <a:gd name="connsiteY1145" fmla="*/ 556580 h 1902921"/>
                <a:gd name="connsiteX1146" fmla="*/ 574817 w 1334724"/>
                <a:gd name="connsiteY1146" fmla="*/ 560113 h 1902921"/>
                <a:gd name="connsiteX1147" fmla="*/ 578668 w 1334724"/>
                <a:gd name="connsiteY1147" fmla="*/ 562032 h 1902921"/>
                <a:gd name="connsiteX1148" fmla="*/ 580891 w 1334724"/>
                <a:gd name="connsiteY1148" fmla="*/ 561159 h 1902921"/>
                <a:gd name="connsiteX1149" fmla="*/ 582168 w 1334724"/>
                <a:gd name="connsiteY1149" fmla="*/ 561131 h 1902921"/>
                <a:gd name="connsiteX1150" fmla="*/ 588720 w 1334724"/>
                <a:gd name="connsiteY1150" fmla="*/ 563502 h 1902921"/>
                <a:gd name="connsiteX1151" fmla="*/ 589915 w 1334724"/>
                <a:gd name="connsiteY1151" fmla="*/ 565199 h 1902921"/>
                <a:gd name="connsiteX1152" fmla="*/ 588758 w 1334724"/>
                <a:gd name="connsiteY1152" fmla="*/ 566891 h 1902921"/>
                <a:gd name="connsiteX1153" fmla="*/ 582891 w 1334724"/>
                <a:gd name="connsiteY1153" fmla="*/ 569244 h 1902921"/>
                <a:gd name="connsiteX1154" fmla="*/ 582212 w 1334724"/>
                <a:gd name="connsiteY1154" fmla="*/ 569596 h 1902921"/>
                <a:gd name="connsiteX1155" fmla="*/ 578557 w 1334724"/>
                <a:gd name="connsiteY1155" fmla="*/ 575347 h 1902921"/>
                <a:gd name="connsiteX1156" fmla="*/ 578239 w 1334724"/>
                <a:gd name="connsiteY1156" fmla="*/ 578842 h 1902921"/>
                <a:gd name="connsiteX1157" fmla="*/ 605573 w 1334724"/>
                <a:gd name="connsiteY1157" fmla="*/ 550583 h 1902921"/>
                <a:gd name="connsiteX1158" fmla="*/ 607626 w 1334724"/>
                <a:gd name="connsiteY1158" fmla="*/ 549783 h 1902921"/>
                <a:gd name="connsiteX1159" fmla="*/ 608957 w 1334724"/>
                <a:gd name="connsiteY1159" fmla="*/ 551528 h 1902921"/>
                <a:gd name="connsiteX1160" fmla="*/ 608957 w 1334724"/>
                <a:gd name="connsiteY1160" fmla="*/ 556373 h 1902921"/>
                <a:gd name="connsiteX1161" fmla="*/ 613758 w 1334724"/>
                <a:gd name="connsiteY1161" fmla="*/ 558744 h 1902921"/>
                <a:gd name="connsiteX1162" fmla="*/ 620126 w 1334724"/>
                <a:gd name="connsiteY1162" fmla="*/ 560504 h 1902921"/>
                <a:gd name="connsiteX1163" fmla="*/ 620613 w 1334724"/>
                <a:gd name="connsiteY1163" fmla="*/ 560711 h 1902921"/>
                <a:gd name="connsiteX1164" fmla="*/ 627150 w 1334724"/>
                <a:gd name="connsiteY1164" fmla="*/ 564871 h 1902921"/>
                <a:gd name="connsiteX1165" fmla="*/ 627893 w 1334724"/>
                <a:gd name="connsiteY1165" fmla="*/ 565778 h 1902921"/>
                <a:gd name="connsiteX1166" fmla="*/ 630264 w 1334724"/>
                <a:gd name="connsiteY1166" fmla="*/ 572339 h 1902921"/>
                <a:gd name="connsiteX1167" fmla="*/ 629435 w 1334724"/>
                <a:gd name="connsiteY1167" fmla="*/ 574556 h 1902921"/>
                <a:gd name="connsiteX1168" fmla="*/ 627141 w 1334724"/>
                <a:gd name="connsiteY1168" fmla="*/ 574089 h 1902921"/>
                <a:gd name="connsiteX1169" fmla="*/ 622672 w 1334724"/>
                <a:gd name="connsiteY1169" fmla="*/ 568511 h 1902921"/>
                <a:gd name="connsiteX1170" fmla="*/ 617350 w 1334724"/>
                <a:gd name="connsiteY1170" fmla="*/ 566375 h 1902921"/>
                <a:gd name="connsiteX1171" fmla="*/ 613132 w 1334724"/>
                <a:gd name="connsiteY1171" fmla="*/ 565614 h 1902921"/>
                <a:gd name="connsiteX1172" fmla="*/ 613132 w 1334724"/>
                <a:gd name="connsiteY1172" fmla="*/ 568892 h 1902921"/>
                <a:gd name="connsiteX1173" fmla="*/ 618728 w 1334724"/>
                <a:gd name="connsiteY1173" fmla="*/ 571958 h 1902921"/>
                <a:gd name="connsiteX1174" fmla="*/ 619649 w 1334724"/>
                <a:gd name="connsiteY1174" fmla="*/ 573848 h 1902921"/>
                <a:gd name="connsiteX1175" fmla="*/ 618179 w 1334724"/>
                <a:gd name="connsiteY1175" fmla="*/ 575356 h 1902921"/>
                <a:gd name="connsiteX1176" fmla="*/ 612254 w 1334724"/>
                <a:gd name="connsiteY1176" fmla="*/ 576528 h 1902921"/>
                <a:gd name="connsiteX1177" fmla="*/ 611078 w 1334724"/>
                <a:gd name="connsiteY1177" fmla="*/ 576364 h 1902921"/>
                <a:gd name="connsiteX1178" fmla="*/ 605139 w 1334724"/>
                <a:gd name="connsiteY1178" fmla="*/ 573385 h 1902921"/>
                <a:gd name="connsiteX1179" fmla="*/ 605009 w 1334724"/>
                <a:gd name="connsiteY1179" fmla="*/ 573322 h 1902921"/>
                <a:gd name="connsiteX1180" fmla="*/ 604074 w 1334724"/>
                <a:gd name="connsiteY1180" fmla="*/ 572748 h 1902921"/>
                <a:gd name="connsiteX1181" fmla="*/ 604642 w 1334724"/>
                <a:gd name="connsiteY1181" fmla="*/ 573983 h 1902921"/>
                <a:gd name="connsiteX1182" fmla="*/ 604642 w 1334724"/>
                <a:gd name="connsiteY1182" fmla="*/ 575482 h 1902921"/>
                <a:gd name="connsiteX1183" fmla="*/ 603480 w 1334724"/>
                <a:gd name="connsiteY1183" fmla="*/ 576499 h 1902921"/>
                <a:gd name="connsiteX1184" fmla="*/ 599098 w 1334724"/>
                <a:gd name="connsiteY1184" fmla="*/ 577815 h 1902921"/>
                <a:gd name="connsiteX1185" fmla="*/ 599865 w 1334724"/>
                <a:gd name="connsiteY1185" fmla="*/ 581898 h 1902921"/>
                <a:gd name="connsiteX1186" fmla="*/ 605645 w 1334724"/>
                <a:gd name="connsiteY1186" fmla="*/ 585051 h 1902921"/>
                <a:gd name="connsiteX1187" fmla="*/ 606513 w 1334724"/>
                <a:gd name="connsiteY1187" fmla="*/ 587076 h 1902921"/>
                <a:gd name="connsiteX1188" fmla="*/ 604782 w 1334724"/>
                <a:gd name="connsiteY1188" fmla="*/ 588478 h 1902921"/>
                <a:gd name="connsiteX1189" fmla="*/ 599865 w 1334724"/>
                <a:gd name="connsiteY1189" fmla="*/ 588478 h 1902921"/>
                <a:gd name="connsiteX1190" fmla="*/ 599547 w 1334724"/>
                <a:gd name="connsiteY1190" fmla="*/ 591540 h 1902921"/>
                <a:gd name="connsiteX1191" fmla="*/ 603992 w 1334724"/>
                <a:gd name="connsiteY1191" fmla="*/ 593752 h 1902921"/>
                <a:gd name="connsiteX1192" fmla="*/ 615426 w 1334724"/>
                <a:gd name="connsiteY1192" fmla="*/ 593752 h 1902921"/>
                <a:gd name="connsiteX1193" fmla="*/ 621462 w 1334724"/>
                <a:gd name="connsiteY1193" fmla="*/ 588811 h 1902921"/>
                <a:gd name="connsiteX1194" fmla="*/ 622089 w 1334724"/>
                <a:gd name="connsiteY1194" fmla="*/ 588478 h 1902921"/>
                <a:gd name="connsiteX1195" fmla="*/ 628028 w 1334724"/>
                <a:gd name="connsiteY1195" fmla="*/ 586695 h 1902921"/>
                <a:gd name="connsiteX1196" fmla="*/ 630221 w 1334724"/>
                <a:gd name="connsiteY1196" fmla="*/ 587683 h 1902921"/>
                <a:gd name="connsiteX1197" fmla="*/ 629484 w 1334724"/>
                <a:gd name="connsiteY1197" fmla="*/ 589978 h 1902921"/>
                <a:gd name="connsiteX1198" fmla="*/ 623819 w 1334724"/>
                <a:gd name="connsiteY1198" fmla="*/ 593386 h 1902921"/>
                <a:gd name="connsiteX1199" fmla="*/ 619601 w 1334724"/>
                <a:gd name="connsiteY1199" fmla="*/ 598689 h 1902921"/>
                <a:gd name="connsiteX1200" fmla="*/ 619076 w 1334724"/>
                <a:gd name="connsiteY1200" fmla="*/ 604478 h 1902921"/>
                <a:gd name="connsiteX1201" fmla="*/ 619423 w 1334724"/>
                <a:gd name="connsiteY1201" fmla="*/ 607954 h 1902921"/>
                <a:gd name="connsiteX1202" fmla="*/ 623766 w 1334724"/>
                <a:gd name="connsiteY1202" fmla="*/ 606368 h 1902921"/>
                <a:gd name="connsiteX1203" fmla="*/ 625294 w 1334724"/>
                <a:gd name="connsiteY1203" fmla="*/ 606479 h 1902921"/>
                <a:gd name="connsiteX1204" fmla="*/ 626176 w 1334724"/>
                <a:gd name="connsiteY1204" fmla="*/ 607713 h 1902921"/>
                <a:gd name="connsiteX1205" fmla="*/ 627377 w 1334724"/>
                <a:gd name="connsiteY1205" fmla="*/ 613671 h 1902921"/>
                <a:gd name="connsiteX1206" fmla="*/ 626784 w 1334724"/>
                <a:gd name="connsiteY1206" fmla="*/ 615397 h 1902921"/>
                <a:gd name="connsiteX1207" fmla="*/ 625010 w 1334724"/>
                <a:gd name="connsiteY1207" fmla="*/ 615744 h 1902921"/>
                <a:gd name="connsiteX1208" fmla="*/ 623757 w 1334724"/>
                <a:gd name="connsiteY1208" fmla="*/ 615306 h 1902921"/>
                <a:gd name="connsiteX1209" fmla="*/ 617750 w 1334724"/>
                <a:gd name="connsiteY1209" fmla="*/ 616959 h 1902921"/>
                <a:gd name="connsiteX1210" fmla="*/ 615677 w 1334724"/>
                <a:gd name="connsiteY1210" fmla="*/ 616077 h 1902921"/>
                <a:gd name="connsiteX1211" fmla="*/ 596871 w 1334724"/>
                <a:gd name="connsiteY1211" fmla="*/ 611261 h 1902921"/>
                <a:gd name="connsiteX1212" fmla="*/ 594755 w 1334724"/>
                <a:gd name="connsiteY1212" fmla="*/ 612191 h 1902921"/>
                <a:gd name="connsiteX1213" fmla="*/ 593434 w 1334724"/>
                <a:gd name="connsiteY1213" fmla="*/ 610268 h 1902921"/>
                <a:gd name="connsiteX1214" fmla="*/ 594027 w 1334724"/>
                <a:gd name="connsiteY1214" fmla="*/ 604314 h 1902921"/>
                <a:gd name="connsiteX1215" fmla="*/ 594037 w 1334724"/>
                <a:gd name="connsiteY1215" fmla="*/ 604170 h 1902921"/>
                <a:gd name="connsiteX1216" fmla="*/ 594644 w 1334724"/>
                <a:gd name="connsiteY1216" fmla="*/ 600853 h 1902921"/>
                <a:gd name="connsiteX1217" fmla="*/ 591872 w 1334724"/>
                <a:gd name="connsiteY1217" fmla="*/ 601981 h 1902921"/>
                <a:gd name="connsiteX1218" fmla="*/ 585398 w 1334724"/>
                <a:gd name="connsiteY1218" fmla="*/ 605496 h 1902921"/>
                <a:gd name="connsiteX1219" fmla="*/ 583590 w 1334724"/>
                <a:gd name="connsiteY1219" fmla="*/ 605496 h 1902921"/>
                <a:gd name="connsiteX1220" fmla="*/ 582694 w 1334724"/>
                <a:gd name="connsiteY1220" fmla="*/ 603900 h 1902921"/>
                <a:gd name="connsiteX1221" fmla="*/ 582694 w 1334724"/>
                <a:gd name="connsiteY1221" fmla="*/ 602714 h 1902921"/>
                <a:gd name="connsiteX1222" fmla="*/ 583046 w 1334724"/>
                <a:gd name="connsiteY1222" fmla="*/ 601653 h 1902921"/>
                <a:gd name="connsiteX1223" fmla="*/ 587211 w 1334724"/>
                <a:gd name="connsiteY1223" fmla="*/ 595690 h 1902921"/>
                <a:gd name="connsiteX1224" fmla="*/ 587741 w 1334724"/>
                <a:gd name="connsiteY1224" fmla="*/ 595203 h 1902921"/>
                <a:gd name="connsiteX1225" fmla="*/ 591154 w 1334724"/>
                <a:gd name="connsiteY1225" fmla="*/ 593150 h 1902921"/>
                <a:gd name="connsiteX1226" fmla="*/ 588040 w 1334724"/>
                <a:gd name="connsiteY1226" fmla="*/ 591159 h 1902921"/>
                <a:gd name="connsiteX1227" fmla="*/ 585046 w 1334724"/>
                <a:gd name="connsiteY1227" fmla="*/ 592851 h 1902921"/>
                <a:gd name="connsiteX1228" fmla="*/ 579237 w 1334724"/>
                <a:gd name="connsiteY1228" fmla="*/ 598645 h 1902921"/>
                <a:gd name="connsiteX1229" fmla="*/ 574224 w 1334724"/>
                <a:gd name="connsiteY1229" fmla="*/ 603654 h 1902921"/>
                <a:gd name="connsiteX1230" fmla="*/ 578104 w 1334724"/>
                <a:gd name="connsiteY1230" fmla="*/ 606363 h 1902921"/>
                <a:gd name="connsiteX1231" fmla="*/ 583200 w 1334724"/>
                <a:gd name="connsiteY1231" fmla="*/ 607371 h 1902921"/>
                <a:gd name="connsiteX1232" fmla="*/ 584555 w 1334724"/>
                <a:gd name="connsiteY1232" fmla="*/ 606937 h 1902921"/>
                <a:gd name="connsiteX1233" fmla="*/ 586179 w 1334724"/>
                <a:gd name="connsiteY1233" fmla="*/ 607178 h 1902921"/>
                <a:gd name="connsiteX1234" fmla="*/ 586941 w 1334724"/>
                <a:gd name="connsiteY1234" fmla="*/ 608663 h 1902921"/>
                <a:gd name="connsiteX1235" fmla="*/ 586941 w 1334724"/>
                <a:gd name="connsiteY1235" fmla="*/ 611044 h 1902921"/>
                <a:gd name="connsiteX1236" fmla="*/ 586685 w 1334724"/>
                <a:gd name="connsiteY1236" fmla="*/ 611979 h 1902921"/>
                <a:gd name="connsiteX1237" fmla="*/ 582515 w 1334724"/>
                <a:gd name="connsiteY1237" fmla="*/ 619085 h 1902921"/>
                <a:gd name="connsiteX1238" fmla="*/ 580549 w 1334724"/>
                <a:gd name="connsiteY1238" fmla="*/ 619958 h 1902921"/>
                <a:gd name="connsiteX1239" fmla="*/ 579126 w 1334724"/>
                <a:gd name="connsiteY1239" fmla="*/ 618343 h 1902921"/>
                <a:gd name="connsiteX1240" fmla="*/ 578683 w 1334724"/>
                <a:gd name="connsiteY1240" fmla="*/ 613623 h 1902921"/>
                <a:gd name="connsiteX1241" fmla="*/ 570117 w 1334724"/>
                <a:gd name="connsiteY1241" fmla="*/ 614491 h 1902921"/>
                <a:gd name="connsiteX1242" fmla="*/ 569649 w 1334724"/>
                <a:gd name="connsiteY1242" fmla="*/ 619567 h 1902921"/>
                <a:gd name="connsiteX1243" fmla="*/ 569191 w 1334724"/>
                <a:gd name="connsiteY1243" fmla="*/ 620589 h 1902921"/>
                <a:gd name="connsiteX1244" fmla="*/ 563252 w 1334724"/>
                <a:gd name="connsiteY1244" fmla="*/ 627155 h 1902921"/>
                <a:gd name="connsiteX1245" fmla="*/ 557992 w 1334724"/>
                <a:gd name="connsiteY1245" fmla="*/ 632983 h 1902921"/>
                <a:gd name="connsiteX1246" fmla="*/ 556941 w 1334724"/>
                <a:gd name="connsiteY1246" fmla="*/ 634622 h 1902921"/>
                <a:gd name="connsiteX1247" fmla="*/ 557650 w 1334724"/>
                <a:gd name="connsiteY1247" fmla="*/ 634357 h 1902921"/>
                <a:gd name="connsiteX1248" fmla="*/ 557853 w 1334724"/>
                <a:gd name="connsiteY1248" fmla="*/ 634285 h 1902921"/>
                <a:gd name="connsiteX1249" fmla="*/ 564269 w 1334724"/>
                <a:gd name="connsiteY1249" fmla="*/ 632520 h 1902921"/>
                <a:gd name="connsiteX1250" fmla="*/ 571302 w 1334724"/>
                <a:gd name="connsiteY1250" fmla="*/ 629594 h 1902921"/>
                <a:gd name="connsiteX1251" fmla="*/ 572739 w 1334724"/>
                <a:gd name="connsiteY1251" fmla="*/ 629623 h 1902921"/>
                <a:gd name="connsiteX1252" fmla="*/ 573722 w 1334724"/>
                <a:gd name="connsiteY1252" fmla="*/ 630664 h 1902921"/>
                <a:gd name="connsiteX1253" fmla="*/ 575434 w 1334724"/>
                <a:gd name="connsiteY1253" fmla="*/ 635389 h 1902921"/>
                <a:gd name="connsiteX1254" fmla="*/ 580544 w 1334724"/>
                <a:gd name="connsiteY1254" fmla="*/ 632130 h 1902921"/>
                <a:gd name="connsiteX1255" fmla="*/ 580650 w 1334724"/>
                <a:gd name="connsiteY1255" fmla="*/ 632087 h 1902921"/>
                <a:gd name="connsiteX1256" fmla="*/ 585928 w 1334724"/>
                <a:gd name="connsiteY1256" fmla="*/ 629127 h 1902921"/>
                <a:gd name="connsiteX1257" fmla="*/ 591781 w 1334724"/>
                <a:gd name="connsiteY1257" fmla="*/ 625015 h 1902921"/>
                <a:gd name="connsiteX1258" fmla="*/ 593820 w 1334724"/>
                <a:gd name="connsiteY1258" fmla="*/ 624990 h 1902921"/>
                <a:gd name="connsiteX1259" fmla="*/ 594605 w 1334724"/>
                <a:gd name="connsiteY1259" fmla="*/ 626875 h 1902921"/>
                <a:gd name="connsiteX1260" fmla="*/ 593753 w 1334724"/>
                <a:gd name="connsiteY1260" fmla="*/ 631200 h 1902921"/>
                <a:gd name="connsiteX1261" fmla="*/ 597778 w 1334724"/>
                <a:gd name="connsiteY1261" fmla="*/ 632405 h 1902921"/>
                <a:gd name="connsiteX1262" fmla="*/ 603977 w 1334724"/>
                <a:gd name="connsiteY1262" fmla="*/ 631855 h 1902921"/>
                <a:gd name="connsiteX1263" fmla="*/ 604324 w 1334724"/>
                <a:gd name="connsiteY1263" fmla="*/ 631855 h 1902921"/>
                <a:gd name="connsiteX1264" fmla="*/ 610249 w 1334724"/>
                <a:gd name="connsiteY1264" fmla="*/ 632434 h 1902921"/>
                <a:gd name="connsiteX1265" fmla="*/ 610591 w 1334724"/>
                <a:gd name="connsiteY1265" fmla="*/ 632520 h 1902921"/>
                <a:gd name="connsiteX1266" fmla="*/ 614057 w 1334724"/>
                <a:gd name="connsiteY1266" fmla="*/ 633504 h 1902921"/>
                <a:gd name="connsiteX1267" fmla="*/ 614665 w 1334724"/>
                <a:gd name="connsiteY1267" fmla="*/ 633224 h 1902921"/>
                <a:gd name="connsiteX1268" fmla="*/ 615904 w 1334724"/>
                <a:gd name="connsiteY1268" fmla="*/ 633094 h 1902921"/>
                <a:gd name="connsiteX1269" fmla="*/ 622975 w 1334724"/>
                <a:gd name="connsiteY1269" fmla="*/ 634839 h 1902921"/>
                <a:gd name="connsiteX1270" fmla="*/ 629464 w 1334724"/>
                <a:gd name="connsiteY1270" fmla="*/ 636044 h 1902921"/>
                <a:gd name="connsiteX1271" fmla="*/ 630930 w 1334724"/>
                <a:gd name="connsiteY1271" fmla="*/ 637876 h 1902921"/>
                <a:gd name="connsiteX1272" fmla="*/ 629315 w 1334724"/>
                <a:gd name="connsiteY1272" fmla="*/ 639645 h 1902921"/>
                <a:gd name="connsiteX1273" fmla="*/ 623361 w 1334724"/>
                <a:gd name="connsiteY1273" fmla="*/ 640224 h 1902921"/>
                <a:gd name="connsiteX1274" fmla="*/ 622710 w 1334724"/>
                <a:gd name="connsiteY1274" fmla="*/ 640166 h 1902921"/>
                <a:gd name="connsiteX1275" fmla="*/ 616622 w 1334724"/>
                <a:gd name="connsiteY1275" fmla="*/ 638527 h 1902921"/>
                <a:gd name="connsiteX1276" fmla="*/ 616545 w 1334724"/>
                <a:gd name="connsiteY1276" fmla="*/ 638527 h 1902921"/>
                <a:gd name="connsiteX1277" fmla="*/ 617803 w 1334724"/>
                <a:gd name="connsiteY1277" fmla="*/ 642649 h 1902921"/>
                <a:gd name="connsiteX1278" fmla="*/ 617841 w 1334724"/>
                <a:gd name="connsiteY1278" fmla="*/ 643521 h 1902921"/>
                <a:gd name="connsiteX1279" fmla="*/ 616699 w 1334724"/>
                <a:gd name="connsiteY1279" fmla="*/ 649219 h 1902921"/>
                <a:gd name="connsiteX1280" fmla="*/ 617258 w 1334724"/>
                <a:gd name="connsiteY1280" fmla="*/ 654879 h 1902921"/>
                <a:gd name="connsiteX1281" fmla="*/ 616087 w 1334724"/>
                <a:gd name="connsiteY1281" fmla="*/ 656793 h 1902921"/>
                <a:gd name="connsiteX1282" fmla="*/ 613970 w 1334724"/>
                <a:gd name="connsiteY1282" fmla="*/ 656132 h 1902921"/>
                <a:gd name="connsiteX1283" fmla="*/ 609815 w 1334724"/>
                <a:gd name="connsiteY1283" fmla="*/ 650179 h 1902921"/>
                <a:gd name="connsiteX1284" fmla="*/ 609526 w 1334724"/>
                <a:gd name="connsiteY1284" fmla="*/ 649504 h 1902921"/>
                <a:gd name="connsiteX1285" fmla="*/ 608571 w 1334724"/>
                <a:gd name="connsiteY1285" fmla="*/ 644741 h 1902921"/>
                <a:gd name="connsiteX1286" fmla="*/ 603856 w 1334724"/>
                <a:gd name="connsiteY1286" fmla="*/ 643782 h 1902921"/>
                <a:gd name="connsiteX1287" fmla="*/ 598004 w 1334724"/>
                <a:gd name="connsiteY1287" fmla="*/ 643208 h 1902921"/>
                <a:gd name="connsiteX1288" fmla="*/ 597580 w 1334724"/>
                <a:gd name="connsiteY1288" fmla="*/ 643102 h 1902921"/>
                <a:gd name="connsiteX1289" fmla="*/ 592354 w 1334724"/>
                <a:gd name="connsiteY1289" fmla="*/ 641207 h 1902921"/>
                <a:gd name="connsiteX1290" fmla="*/ 589423 w 1334724"/>
                <a:gd name="connsiteY1290" fmla="*/ 645406 h 1902921"/>
                <a:gd name="connsiteX1291" fmla="*/ 589857 w 1334724"/>
                <a:gd name="connsiteY1291" fmla="*/ 647624 h 1902921"/>
                <a:gd name="connsiteX1292" fmla="*/ 589891 w 1334724"/>
                <a:gd name="connsiteY1292" fmla="*/ 647778 h 1902921"/>
                <a:gd name="connsiteX1293" fmla="*/ 590489 w 1334724"/>
                <a:gd name="connsiteY1293" fmla="*/ 653707 h 1902921"/>
                <a:gd name="connsiteX1294" fmla="*/ 589052 w 1334724"/>
                <a:gd name="connsiteY1294" fmla="*/ 655674 h 1902921"/>
                <a:gd name="connsiteX1295" fmla="*/ 586955 w 1334724"/>
                <a:gd name="connsiteY1295" fmla="*/ 654474 h 1902921"/>
                <a:gd name="connsiteX1296" fmla="*/ 586415 w 1334724"/>
                <a:gd name="connsiteY1296" fmla="*/ 652893 h 1902921"/>
                <a:gd name="connsiteX1297" fmla="*/ 582939 w 1334724"/>
                <a:gd name="connsiteY1297" fmla="*/ 647098 h 1902921"/>
                <a:gd name="connsiteX1298" fmla="*/ 582858 w 1334724"/>
                <a:gd name="connsiteY1298" fmla="*/ 645406 h 1902921"/>
                <a:gd name="connsiteX1299" fmla="*/ 584381 w 1334724"/>
                <a:gd name="connsiteY1299" fmla="*/ 642007 h 1902921"/>
                <a:gd name="connsiteX1300" fmla="*/ 567851 w 1334724"/>
                <a:gd name="connsiteY1300" fmla="*/ 648708 h 1902921"/>
                <a:gd name="connsiteX1301" fmla="*/ 566477 w 1334724"/>
                <a:gd name="connsiteY1301" fmla="*/ 649176 h 1902921"/>
                <a:gd name="connsiteX1302" fmla="*/ 561063 w 1334724"/>
                <a:gd name="connsiteY1302" fmla="*/ 648617 h 1902921"/>
                <a:gd name="connsiteX1303" fmla="*/ 556353 w 1334724"/>
                <a:gd name="connsiteY1303" fmla="*/ 650955 h 1902921"/>
                <a:gd name="connsiteX1304" fmla="*/ 555404 w 1334724"/>
                <a:gd name="connsiteY1304" fmla="*/ 656340 h 1902921"/>
                <a:gd name="connsiteX1305" fmla="*/ 555751 w 1334724"/>
                <a:gd name="connsiteY1305" fmla="*/ 659844 h 1902921"/>
                <a:gd name="connsiteX1306" fmla="*/ 562066 w 1334724"/>
                <a:gd name="connsiteY1306" fmla="*/ 660408 h 1902921"/>
                <a:gd name="connsiteX1307" fmla="*/ 562717 w 1334724"/>
                <a:gd name="connsiteY1307" fmla="*/ 660606 h 1902921"/>
                <a:gd name="connsiteX1308" fmla="*/ 568656 w 1334724"/>
                <a:gd name="connsiteY1308" fmla="*/ 663580 h 1902921"/>
                <a:gd name="connsiteX1309" fmla="*/ 569552 w 1334724"/>
                <a:gd name="connsiteY1309" fmla="*/ 665860 h 1902921"/>
                <a:gd name="connsiteX1310" fmla="*/ 567354 w 1334724"/>
                <a:gd name="connsiteY1310" fmla="*/ 666969 h 1902921"/>
                <a:gd name="connsiteX1311" fmla="*/ 561116 w 1334724"/>
                <a:gd name="connsiteY1311" fmla="*/ 665258 h 1902921"/>
                <a:gd name="connsiteX1312" fmla="*/ 555871 w 1334724"/>
                <a:gd name="connsiteY1312" fmla="*/ 665750 h 1902921"/>
                <a:gd name="connsiteX1313" fmla="*/ 554063 w 1334724"/>
                <a:gd name="connsiteY1313" fmla="*/ 668859 h 1902921"/>
                <a:gd name="connsiteX1314" fmla="*/ 552338 w 1334724"/>
                <a:gd name="connsiteY1314" fmla="*/ 675222 h 1902921"/>
                <a:gd name="connsiteX1315" fmla="*/ 551330 w 1334724"/>
                <a:gd name="connsiteY1315" fmla="*/ 676398 h 1902921"/>
                <a:gd name="connsiteX1316" fmla="*/ 549778 w 1334724"/>
                <a:gd name="connsiteY1316" fmla="*/ 676365 h 1902921"/>
                <a:gd name="connsiteX1317" fmla="*/ 543829 w 1334724"/>
                <a:gd name="connsiteY1317" fmla="*/ 673385 h 1902921"/>
                <a:gd name="connsiteX1318" fmla="*/ 543164 w 1334724"/>
                <a:gd name="connsiteY1318" fmla="*/ 672802 h 1902921"/>
                <a:gd name="connsiteX1319" fmla="*/ 540884 w 1334724"/>
                <a:gd name="connsiteY1319" fmla="*/ 669727 h 1902921"/>
                <a:gd name="connsiteX1320" fmla="*/ 540527 w 1334724"/>
                <a:gd name="connsiteY1320" fmla="*/ 671853 h 1902921"/>
                <a:gd name="connsiteX1321" fmla="*/ 541081 w 1334724"/>
                <a:gd name="connsiteY1321" fmla="*/ 678148 h 1902921"/>
                <a:gd name="connsiteX1322" fmla="*/ 539939 w 1334724"/>
                <a:gd name="connsiteY1322" fmla="*/ 680000 h 1902921"/>
                <a:gd name="connsiteX1323" fmla="*/ 533985 w 1334724"/>
                <a:gd name="connsiteY1323" fmla="*/ 682381 h 1902921"/>
                <a:gd name="connsiteX1324" fmla="*/ 532231 w 1334724"/>
                <a:gd name="connsiteY1324" fmla="*/ 682130 h 1902921"/>
                <a:gd name="connsiteX1325" fmla="*/ 531522 w 1334724"/>
                <a:gd name="connsiteY1325" fmla="*/ 680491 h 1902921"/>
                <a:gd name="connsiteX1326" fmla="*/ 531840 w 1334724"/>
                <a:gd name="connsiteY1326" fmla="*/ 677194 h 1902921"/>
                <a:gd name="connsiteX1327" fmla="*/ 528711 w 1334724"/>
                <a:gd name="connsiteY1327" fmla="*/ 678042 h 1902921"/>
                <a:gd name="connsiteX1328" fmla="*/ 526687 w 1334724"/>
                <a:gd name="connsiteY1328" fmla="*/ 683152 h 1902921"/>
                <a:gd name="connsiteX1329" fmla="*/ 524869 w 1334724"/>
                <a:gd name="connsiteY1329" fmla="*/ 684304 h 1902921"/>
                <a:gd name="connsiteX1330" fmla="*/ 518299 w 1334724"/>
                <a:gd name="connsiteY1330" fmla="*/ 683779 h 1902921"/>
                <a:gd name="connsiteX1331" fmla="*/ 516192 w 1334724"/>
                <a:gd name="connsiteY1331" fmla="*/ 687636 h 1902921"/>
                <a:gd name="connsiteX1332" fmla="*/ 522830 w 1334724"/>
                <a:gd name="connsiteY1332" fmla="*/ 690971 h 1902921"/>
                <a:gd name="connsiteX1333" fmla="*/ 523544 w 1334724"/>
                <a:gd name="connsiteY1333" fmla="*/ 691598 h 1902921"/>
                <a:gd name="connsiteX1334" fmla="*/ 527362 w 1334724"/>
                <a:gd name="connsiteY1334" fmla="*/ 697590 h 1902921"/>
                <a:gd name="connsiteX1335" fmla="*/ 532655 w 1334724"/>
                <a:gd name="connsiteY1335" fmla="*/ 699176 h 1902921"/>
                <a:gd name="connsiteX1336" fmla="*/ 532756 w 1334724"/>
                <a:gd name="connsiteY1336" fmla="*/ 699205 h 1902921"/>
                <a:gd name="connsiteX1337" fmla="*/ 539298 w 1334724"/>
                <a:gd name="connsiteY1337" fmla="*/ 701616 h 1902921"/>
                <a:gd name="connsiteX1338" fmla="*/ 540450 w 1334724"/>
                <a:gd name="connsiteY1338" fmla="*/ 703679 h 1902921"/>
                <a:gd name="connsiteX1339" fmla="*/ 538531 w 1334724"/>
                <a:gd name="connsiteY1339" fmla="*/ 705111 h 1902921"/>
                <a:gd name="connsiteX1340" fmla="*/ 531392 w 1334724"/>
                <a:gd name="connsiteY1340" fmla="*/ 704508 h 1902921"/>
                <a:gd name="connsiteX1341" fmla="*/ 531368 w 1334724"/>
                <a:gd name="connsiteY1341" fmla="*/ 704508 h 1902921"/>
                <a:gd name="connsiteX1342" fmla="*/ 525563 w 1334724"/>
                <a:gd name="connsiteY1342" fmla="*/ 703934 h 1902921"/>
                <a:gd name="connsiteX1343" fmla="*/ 519634 w 1334724"/>
                <a:gd name="connsiteY1343" fmla="*/ 704436 h 1902921"/>
                <a:gd name="connsiteX1344" fmla="*/ 518419 w 1334724"/>
                <a:gd name="connsiteY1344" fmla="*/ 706841 h 1902921"/>
                <a:gd name="connsiteX1345" fmla="*/ 521437 w 1334724"/>
                <a:gd name="connsiteY1345" fmla="*/ 706841 h 1902921"/>
                <a:gd name="connsiteX1346" fmla="*/ 523196 w 1334724"/>
                <a:gd name="connsiteY1346" fmla="*/ 708239 h 1902921"/>
                <a:gd name="connsiteX1347" fmla="*/ 522237 w 1334724"/>
                <a:gd name="connsiteY1347" fmla="*/ 710293 h 1902921"/>
                <a:gd name="connsiteX1348" fmla="*/ 518381 w 1334724"/>
                <a:gd name="connsiteY1348" fmla="*/ 712197 h 1902921"/>
                <a:gd name="connsiteX1349" fmla="*/ 520058 w 1334724"/>
                <a:gd name="connsiteY1349" fmla="*/ 714087 h 1902921"/>
                <a:gd name="connsiteX1350" fmla="*/ 525313 w 1334724"/>
                <a:gd name="connsiteY1350" fmla="*/ 711252 h 1902921"/>
                <a:gd name="connsiteX1351" fmla="*/ 526354 w 1334724"/>
                <a:gd name="connsiteY1351" fmla="*/ 711026 h 1902921"/>
                <a:gd name="connsiteX1352" fmla="*/ 532891 w 1334724"/>
                <a:gd name="connsiteY1352" fmla="*/ 711609 h 1902921"/>
                <a:gd name="connsiteX1353" fmla="*/ 534544 w 1334724"/>
                <a:gd name="connsiteY1353" fmla="*/ 713340 h 1902921"/>
                <a:gd name="connsiteX1354" fmla="*/ 533045 w 1334724"/>
                <a:gd name="connsiteY1354" fmla="*/ 715210 h 1902921"/>
                <a:gd name="connsiteX1355" fmla="*/ 526711 w 1334724"/>
                <a:gd name="connsiteY1355" fmla="*/ 716353 h 1902921"/>
                <a:gd name="connsiteX1356" fmla="*/ 519735 w 1334724"/>
                <a:gd name="connsiteY1356" fmla="*/ 719298 h 1902921"/>
                <a:gd name="connsiteX1357" fmla="*/ 518226 w 1334724"/>
                <a:gd name="connsiteY1357" fmla="*/ 719240 h 1902921"/>
                <a:gd name="connsiteX1358" fmla="*/ 512586 w 1334724"/>
                <a:gd name="connsiteY1358" fmla="*/ 716391 h 1902921"/>
                <a:gd name="connsiteX1359" fmla="*/ 507375 w 1334724"/>
                <a:gd name="connsiteY1359" fmla="*/ 715866 h 1902921"/>
                <a:gd name="connsiteX1360" fmla="*/ 505206 w 1334724"/>
                <a:gd name="connsiteY1360" fmla="*/ 716666 h 1902921"/>
                <a:gd name="connsiteX1361" fmla="*/ 507365 w 1334724"/>
                <a:gd name="connsiteY1361" fmla="*/ 717765 h 1902921"/>
                <a:gd name="connsiteX1362" fmla="*/ 507606 w 1334724"/>
                <a:gd name="connsiteY1362" fmla="*/ 717890 h 1902921"/>
                <a:gd name="connsiteX1363" fmla="*/ 513546 w 1334724"/>
                <a:gd name="connsiteY1363" fmla="*/ 722046 h 1902921"/>
                <a:gd name="connsiteX1364" fmla="*/ 514206 w 1334724"/>
                <a:gd name="connsiteY1364" fmla="*/ 724148 h 1902921"/>
                <a:gd name="connsiteX1365" fmla="*/ 512340 w 1334724"/>
                <a:gd name="connsiteY1365" fmla="*/ 725358 h 1902921"/>
                <a:gd name="connsiteX1366" fmla="*/ 506382 w 1334724"/>
                <a:gd name="connsiteY1366" fmla="*/ 724803 h 1902921"/>
                <a:gd name="connsiteX1367" fmla="*/ 505543 w 1334724"/>
                <a:gd name="connsiteY1367" fmla="*/ 725358 h 1902921"/>
                <a:gd name="connsiteX1368" fmla="*/ 507057 w 1334724"/>
                <a:gd name="connsiteY1368" fmla="*/ 726476 h 1902921"/>
                <a:gd name="connsiteX1369" fmla="*/ 506512 w 1334724"/>
                <a:gd name="connsiteY1369" fmla="*/ 728525 h 1902921"/>
                <a:gd name="connsiteX1370" fmla="*/ 500626 w 1334724"/>
                <a:gd name="connsiteY1370" fmla="*/ 733317 h 1902921"/>
                <a:gd name="connsiteX1371" fmla="*/ 500626 w 1334724"/>
                <a:gd name="connsiteY1371" fmla="*/ 736431 h 1902921"/>
                <a:gd name="connsiteX1372" fmla="*/ 505051 w 1334724"/>
                <a:gd name="connsiteY1372" fmla="*/ 736026 h 1902921"/>
                <a:gd name="connsiteX1373" fmla="*/ 510904 w 1334724"/>
                <a:gd name="connsiteY1373" fmla="*/ 734440 h 1902921"/>
                <a:gd name="connsiteX1374" fmla="*/ 515908 w 1334724"/>
                <a:gd name="connsiteY1374" fmla="*/ 728862 h 1902921"/>
                <a:gd name="connsiteX1375" fmla="*/ 517253 w 1334724"/>
                <a:gd name="connsiteY1375" fmla="*/ 728260 h 1902921"/>
                <a:gd name="connsiteX1376" fmla="*/ 523809 w 1334724"/>
                <a:gd name="connsiteY1376" fmla="*/ 728260 h 1902921"/>
                <a:gd name="connsiteX1377" fmla="*/ 525506 w 1334724"/>
                <a:gd name="connsiteY1377" fmla="*/ 729441 h 1902921"/>
                <a:gd name="connsiteX1378" fmla="*/ 525048 w 1334724"/>
                <a:gd name="connsiteY1378" fmla="*/ 731432 h 1902921"/>
                <a:gd name="connsiteX1379" fmla="*/ 518843 w 1334724"/>
                <a:gd name="connsiteY1379" fmla="*/ 737154 h 1902921"/>
                <a:gd name="connsiteX1380" fmla="*/ 523163 w 1334724"/>
                <a:gd name="connsiteY1380" fmla="*/ 740577 h 1902921"/>
                <a:gd name="connsiteX1381" fmla="*/ 523592 w 1334724"/>
                <a:gd name="connsiteY1381" fmla="*/ 742929 h 1902921"/>
                <a:gd name="connsiteX1382" fmla="*/ 521345 w 1334724"/>
                <a:gd name="connsiteY1382" fmla="*/ 743662 h 1902921"/>
                <a:gd name="connsiteX1383" fmla="*/ 514645 w 1334724"/>
                <a:gd name="connsiteY1383" fmla="*/ 740895 h 1902921"/>
                <a:gd name="connsiteX1384" fmla="*/ 508271 w 1334724"/>
                <a:gd name="connsiteY1384" fmla="*/ 741960 h 1902921"/>
                <a:gd name="connsiteX1385" fmla="*/ 503928 w 1334724"/>
                <a:gd name="connsiteY1385" fmla="*/ 743937 h 1902921"/>
                <a:gd name="connsiteX1386" fmla="*/ 508064 w 1334724"/>
                <a:gd name="connsiteY1386" fmla="*/ 749900 h 1902921"/>
                <a:gd name="connsiteX1387" fmla="*/ 508156 w 1334724"/>
                <a:gd name="connsiteY1387" fmla="*/ 751756 h 1902921"/>
                <a:gd name="connsiteX1388" fmla="*/ 506555 w 1334724"/>
                <a:gd name="connsiteY1388" fmla="*/ 752749 h 1902921"/>
                <a:gd name="connsiteX1389" fmla="*/ 500597 w 1334724"/>
                <a:gd name="connsiteY1389" fmla="*/ 752749 h 1902921"/>
                <a:gd name="connsiteX1390" fmla="*/ 498953 w 1334724"/>
                <a:gd name="connsiteY1390" fmla="*/ 751674 h 1902921"/>
                <a:gd name="connsiteX1391" fmla="*/ 495752 w 1334724"/>
                <a:gd name="connsiteY1391" fmla="*/ 744761 h 1902921"/>
                <a:gd name="connsiteX1392" fmla="*/ 490146 w 1334724"/>
                <a:gd name="connsiteY1392" fmla="*/ 743334 h 1902921"/>
                <a:gd name="connsiteX1393" fmla="*/ 489071 w 1334724"/>
                <a:gd name="connsiteY1393" fmla="*/ 743966 h 1902921"/>
                <a:gd name="connsiteX1394" fmla="*/ 493337 w 1334724"/>
                <a:gd name="connsiteY1394" fmla="*/ 747089 h 1902921"/>
                <a:gd name="connsiteX1395" fmla="*/ 493920 w 1334724"/>
                <a:gd name="connsiteY1395" fmla="*/ 747788 h 1902921"/>
                <a:gd name="connsiteX1396" fmla="*/ 496909 w 1334724"/>
                <a:gd name="connsiteY1396" fmla="*/ 754330 h 1902921"/>
                <a:gd name="connsiteX1397" fmla="*/ 497068 w 1334724"/>
                <a:gd name="connsiteY1397" fmla="*/ 755082 h 1902921"/>
                <a:gd name="connsiteX1398" fmla="*/ 497068 w 1334724"/>
                <a:gd name="connsiteY1398" fmla="*/ 761016 h 1902921"/>
                <a:gd name="connsiteX1399" fmla="*/ 496364 w 1334724"/>
                <a:gd name="connsiteY1399" fmla="*/ 762448 h 1902921"/>
                <a:gd name="connsiteX1400" fmla="*/ 491679 w 1334724"/>
                <a:gd name="connsiteY1400" fmla="*/ 766218 h 1902921"/>
                <a:gd name="connsiteX1401" fmla="*/ 494026 w 1334724"/>
                <a:gd name="connsiteY1401" fmla="*/ 770190 h 1902921"/>
                <a:gd name="connsiteX1402" fmla="*/ 499334 w 1334724"/>
                <a:gd name="connsiteY1402" fmla="*/ 771603 h 1902921"/>
                <a:gd name="connsiteX1403" fmla="*/ 505331 w 1334724"/>
                <a:gd name="connsiteY1403" fmla="*/ 769438 h 1902921"/>
                <a:gd name="connsiteX1404" fmla="*/ 506367 w 1334724"/>
                <a:gd name="connsiteY1404" fmla="*/ 769390 h 1902921"/>
                <a:gd name="connsiteX1405" fmla="*/ 514109 w 1334724"/>
                <a:gd name="connsiteY1405" fmla="*/ 771164 h 1902921"/>
                <a:gd name="connsiteX1406" fmla="*/ 515498 w 1334724"/>
                <a:gd name="connsiteY1406" fmla="*/ 772967 h 1902921"/>
                <a:gd name="connsiteX1407" fmla="*/ 513989 w 1334724"/>
                <a:gd name="connsiteY1407" fmla="*/ 774755 h 1902921"/>
                <a:gd name="connsiteX1408" fmla="*/ 507192 w 1334724"/>
                <a:gd name="connsiteY1408" fmla="*/ 775869 h 1902921"/>
                <a:gd name="connsiteX1409" fmla="*/ 500525 w 1334724"/>
                <a:gd name="connsiteY1409" fmla="*/ 779750 h 1902921"/>
                <a:gd name="connsiteX1410" fmla="*/ 495212 w 1334724"/>
                <a:gd name="connsiteY1410" fmla="*/ 785057 h 1902921"/>
                <a:gd name="connsiteX1411" fmla="*/ 494991 w 1334724"/>
                <a:gd name="connsiteY1411" fmla="*/ 787251 h 1902921"/>
                <a:gd name="connsiteX1412" fmla="*/ 498389 w 1334724"/>
                <a:gd name="connsiteY1412" fmla="*/ 785120 h 1902921"/>
                <a:gd name="connsiteX1413" fmla="*/ 504897 w 1334724"/>
                <a:gd name="connsiteY1413" fmla="*/ 780386 h 1902921"/>
                <a:gd name="connsiteX1414" fmla="*/ 505760 w 1334724"/>
                <a:gd name="connsiteY1414" fmla="*/ 780058 h 1902921"/>
                <a:gd name="connsiteX1415" fmla="*/ 511362 w 1334724"/>
                <a:gd name="connsiteY1415" fmla="*/ 779513 h 1902921"/>
                <a:gd name="connsiteX1416" fmla="*/ 517571 w 1334724"/>
                <a:gd name="connsiteY1416" fmla="*/ 776100 h 1902921"/>
                <a:gd name="connsiteX1417" fmla="*/ 519118 w 1334724"/>
                <a:gd name="connsiteY1417" fmla="*/ 776018 h 1902921"/>
                <a:gd name="connsiteX1418" fmla="*/ 524397 w 1334724"/>
                <a:gd name="connsiteY1418" fmla="*/ 778120 h 1902921"/>
                <a:gd name="connsiteX1419" fmla="*/ 530828 w 1334724"/>
                <a:gd name="connsiteY1419" fmla="*/ 775435 h 1902921"/>
                <a:gd name="connsiteX1420" fmla="*/ 531213 w 1334724"/>
                <a:gd name="connsiteY1420" fmla="*/ 775305 h 1902921"/>
                <a:gd name="connsiteX1421" fmla="*/ 537254 w 1334724"/>
                <a:gd name="connsiteY1421" fmla="*/ 774211 h 1902921"/>
                <a:gd name="connsiteX1422" fmla="*/ 543419 w 1334724"/>
                <a:gd name="connsiteY1422" fmla="*/ 768638 h 1902921"/>
                <a:gd name="connsiteX1423" fmla="*/ 543641 w 1334724"/>
                <a:gd name="connsiteY1423" fmla="*/ 768440 h 1902921"/>
                <a:gd name="connsiteX1424" fmla="*/ 550178 w 1334724"/>
                <a:gd name="connsiteY1424" fmla="*/ 764261 h 1902921"/>
                <a:gd name="connsiteX1425" fmla="*/ 552290 w 1334724"/>
                <a:gd name="connsiteY1425" fmla="*/ 764376 h 1902921"/>
                <a:gd name="connsiteX1426" fmla="*/ 552887 w 1334724"/>
                <a:gd name="connsiteY1426" fmla="*/ 766387 h 1902921"/>
                <a:gd name="connsiteX1427" fmla="*/ 551123 w 1334724"/>
                <a:gd name="connsiteY1427" fmla="*/ 771723 h 1902921"/>
                <a:gd name="connsiteX1428" fmla="*/ 550337 w 1334724"/>
                <a:gd name="connsiteY1428" fmla="*/ 772707 h 1902921"/>
                <a:gd name="connsiteX1429" fmla="*/ 544750 w 1334724"/>
                <a:gd name="connsiteY1429" fmla="*/ 776038 h 1902921"/>
                <a:gd name="connsiteX1430" fmla="*/ 541433 w 1334724"/>
                <a:gd name="connsiteY1430" fmla="*/ 781625 h 1902921"/>
                <a:gd name="connsiteX1431" fmla="*/ 540951 w 1334724"/>
                <a:gd name="connsiteY1431" fmla="*/ 782141 h 1902921"/>
                <a:gd name="connsiteX1432" fmla="*/ 534332 w 1334724"/>
                <a:gd name="connsiteY1432" fmla="*/ 787092 h 1902921"/>
                <a:gd name="connsiteX1433" fmla="*/ 534448 w 1334724"/>
                <a:gd name="connsiteY1433" fmla="*/ 787198 h 1902921"/>
                <a:gd name="connsiteX1434" fmla="*/ 536820 w 1334724"/>
                <a:gd name="connsiteY1434" fmla="*/ 793734 h 1902921"/>
                <a:gd name="connsiteX1435" fmla="*/ 536073 w 1334724"/>
                <a:gd name="connsiteY1435" fmla="*/ 795899 h 1902921"/>
                <a:gd name="connsiteX1436" fmla="*/ 533802 w 1334724"/>
                <a:gd name="connsiteY1436" fmla="*/ 795658 h 1902921"/>
                <a:gd name="connsiteX1437" fmla="*/ 531440 w 1334724"/>
                <a:gd name="connsiteY1437" fmla="*/ 793301 h 1902921"/>
                <a:gd name="connsiteX1438" fmla="*/ 526749 w 1334724"/>
                <a:gd name="connsiteY1438" fmla="*/ 793744 h 1902921"/>
                <a:gd name="connsiteX1439" fmla="*/ 520449 w 1334724"/>
                <a:gd name="connsiteY1439" fmla="*/ 796598 h 1902921"/>
                <a:gd name="connsiteX1440" fmla="*/ 518520 w 1334724"/>
                <a:gd name="connsiteY1440" fmla="*/ 796314 h 1902921"/>
                <a:gd name="connsiteX1441" fmla="*/ 517956 w 1334724"/>
                <a:gd name="connsiteY1441" fmla="*/ 794458 h 1902921"/>
                <a:gd name="connsiteX1442" fmla="*/ 519518 w 1334724"/>
                <a:gd name="connsiteY1442" fmla="*/ 788692 h 1902921"/>
                <a:gd name="connsiteX1443" fmla="*/ 516520 w 1334724"/>
                <a:gd name="connsiteY1443" fmla="*/ 783953 h 1902921"/>
                <a:gd name="connsiteX1444" fmla="*/ 511246 w 1334724"/>
                <a:gd name="connsiteY1444" fmla="*/ 785375 h 1902921"/>
                <a:gd name="connsiteX1445" fmla="*/ 510962 w 1334724"/>
                <a:gd name="connsiteY1445" fmla="*/ 785457 h 1902921"/>
                <a:gd name="connsiteX1446" fmla="*/ 505905 w 1334724"/>
                <a:gd name="connsiteY1446" fmla="*/ 785944 h 1902921"/>
                <a:gd name="connsiteX1447" fmla="*/ 502810 w 1334724"/>
                <a:gd name="connsiteY1447" fmla="*/ 791117 h 1902921"/>
                <a:gd name="connsiteX1448" fmla="*/ 502005 w 1334724"/>
                <a:gd name="connsiteY1448" fmla="*/ 791840 h 1902921"/>
                <a:gd name="connsiteX1449" fmla="*/ 496803 w 1334724"/>
                <a:gd name="connsiteY1449" fmla="*/ 794164 h 1902921"/>
                <a:gd name="connsiteX1450" fmla="*/ 490994 w 1334724"/>
                <a:gd name="connsiteY1450" fmla="*/ 798208 h 1902921"/>
                <a:gd name="connsiteX1451" fmla="*/ 490131 w 1334724"/>
                <a:gd name="connsiteY1451" fmla="*/ 798531 h 1902921"/>
                <a:gd name="connsiteX1452" fmla="*/ 484105 w 1334724"/>
                <a:gd name="connsiteY1452" fmla="*/ 799071 h 1902921"/>
                <a:gd name="connsiteX1453" fmla="*/ 478812 w 1334724"/>
                <a:gd name="connsiteY1453" fmla="*/ 803390 h 1902921"/>
                <a:gd name="connsiteX1454" fmla="*/ 479564 w 1334724"/>
                <a:gd name="connsiteY1454" fmla="*/ 807358 h 1902921"/>
                <a:gd name="connsiteX1455" fmla="*/ 484737 w 1334724"/>
                <a:gd name="connsiteY1455" fmla="*/ 806847 h 1902921"/>
                <a:gd name="connsiteX1456" fmla="*/ 491621 w 1334724"/>
                <a:gd name="connsiteY1456" fmla="*/ 803974 h 1902921"/>
                <a:gd name="connsiteX1457" fmla="*/ 493814 w 1334724"/>
                <a:gd name="connsiteY1457" fmla="*/ 804591 h 1902921"/>
                <a:gd name="connsiteX1458" fmla="*/ 493675 w 1334724"/>
                <a:gd name="connsiteY1458" fmla="*/ 806866 h 1902921"/>
                <a:gd name="connsiteX1459" fmla="*/ 488068 w 1334724"/>
                <a:gd name="connsiteY1459" fmla="*/ 813027 h 1902921"/>
                <a:gd name="connsiteX1460" fmla="*/ 487147 w 1334724"/>
                <a:gd name="connsiteY1460" fmla="*/ 818566 h 1902921"/>
                <a:gd name="connsiteX1461" fmla="*/ 504222 w 1334724"/>
                <a:gd name="connsiteY1461" fmla="*/ 839203 h 1902921"/>
                <a:gd name="connsiteX1462" fmla="*/ 503084 w 1334724"/>
                <a:gd name="connsiteY1462" fmla="*/ 841276 h 1902921"/>
                <a:gd name="connsiteX1463" fmla="*/ 500862 w 1334724"/>
                <a:gd name="connsiteY1463" fmla="*/ 840481 h 1902921"/>
                <a:gd name="connsiteX1464" fmla="*/ 498553 w 1334724"/>
                <a:gd name="connsiteY1464" fmla="*/ 836432 h 1902921"/>
                <a:gd name="connsiteX1465" fmla="*/ 492373 w 1334724"/>
                <a:gd name="connsiteY1465" fmla="*/ 829133 h 1902921"/>
                <a:gd name="connsiteX1466" fmla="*/ 491524 w 1334724"/>
                <a:gd name="connsiteY1466" fmla="*/ 828689 h 1902921"/>
                <a:gd name="connsiteX1467" fmla="*/ 485600 w 1334724"/>
                <a:gd name="connsiteY1467" fmla="*/ 825749 h 1902921"/>
                <a:gd name="connsiteX1468" fmla="*/ 480104 w 1334724"/>
                <a:gd name="connsiteY1468" fmla="*/ 823261 h 1902921"/>
                <a:gd name="connsiteX1469" fmla="*/ 474797 w 1334724"/>
                <a:gd name="connsiteY1469" fmla="*/ 827581 h 1902921"/>
                <a:gd name="connsiteX1470" fmla="*/ 472078 w 1334724"/>
                <a:gd name="connsiteY1470" fmla="*/ 834682 h 1902921"/>
                <a:gd name="connsiteX1471" fmla="*/ 471244 w 1334724"/>
                <a:gd name="connsiteY1471" fmla="*/ 840524 h 1902921"/>
                <a:gd name="connsiteX1472" fmla="*/ 474898 w 1334724"/>
                <a:gd name="connsiteY1472" fmla="*/ 840153 h 1902921"/>
                <a:gd name="connsiteX1473" fmla="*/ 476204 w 1334724"/>
                <a:gd name="connsiteY1473" fmla="*/ 840539 h 1902921"/>
                <a:gd name="connsiteX1474" fmla="*/ 476879 w 1334724"/>
                <a:gd name="connsiteY1474" fmla="*/ 841773 h 1902921"/>
                <a:gd name="connsiteX1475" fmla="*/ 477448 w 1334724"/>
                <a:gd name="connsiteY1475" fmla="*/ 847731 h 1902921"/>
                <a:gd name="connsiteX1476" fmla="*/ 476903 w 1334724"/>
                <a:gd name="connsiteY1476" fmla="*/ 849231 h 1902921"/>
                <a:gd name="connsiteX1477" fmla="*/ 475336 w 1334724"/>
                <a:gd name="connsiteY1477" fmla="*/ 849679 h 1902921"/>
                <a:gd name="connsiteX1478" fmla="*/ 470434 w 1334724"/>
                <a:gd name="connsiteY1478" fmla="*/ 848801 h 1902921"/>
                <a:gd name="connsiteX1479" fmla="*/ 469335 w 1334724"/>
                <a:gd name="connsiteY1479" fmla="*/ 852769 h 1902921"/>
                <a:gd name="connsiteX1480" fmla="*/ 475230 w 1334724"/>
                <a:gd name="connsiteY1480" fmla="*/ 859161 h 1902921"/>
                <a:gd name="connsiteX1481" fmla="*/ 475515 w 1334724"/>
                <a:gd name="connsiteY1481" fmla="*/ 859605 h 1902921"/>
                <a:gd name="connsiteX1482" fmla="*/ 478484 w 1334724"/>
                <a:gd name="connsiteY1482" fmla="*/ 865539 h 1902921"/>
                <a:gd name="connsiteX1483" fmla="*/ 478282 w 1334724"/>
                <a:gd name="connsiteY1483" fmla="*/ 867477 h 1902921"/>
                <a:gd name="connsiteX1484" fmla="*/ 476489 w 1334724"/>
                <a:gd name="connsiteY1484" fmla="*/ 868133 h 1902921"/>
                <a:gd name="connsiteX1485" fmla="*/ 470530 w 1334724"/>
                <a:gd name="connsiteY1485" fmla="*/ 866951 h 1902921"/>
                <a:gd name="connsiteX1486" fmla="*/ 469127 w 1334724"/>
                <a:gd name="connsiteY1486" fmla="*/ 865592 h 1902921"/>
                <a:gd name="connsiteX1487" fmla="*/ 467585 w 1334724"/>
                <a:gd name="connsiteY1487" fmla="*/ 858857 h 1902921"/>
                <a:gd name="connsiteX1488" fmla="*/ 464027 w 1334724"/>
                <a:gd name="connsiteY1488" fmla="*/ 857802 h 1902921"/>
                <a:gd name="connsiteX1489" fmla="*/ 461732 w 1334724"/>
                <a:gd name="connsiteY1489" fmla="*/ 879104 h 1902921"/>
                <a:gd name="connsiteX1490" fmla="*/ 465994 w 1334724"/>
                <a:gd name="connsiteY1490" fmla="*/ 877210 h 1902921"/>
                <a:gd name="connsiteX1491" fmla="*/ 467806 w 1334724"/>
                <a:gd name="connsiteY1491" fmla="*/ 877388 h 1902921"/>
                <a:gd name="connsiteX1492" fmla="*/ 468077 w 1334724"/>
                <a:gd name="connsiteY1492" fmla="*/ 878015 h 1902921"/>
                <a:gd name="connsiteX1493" fmla="*/ 468149 w 1334724"/>
                <a:gd name="connsiteY1493" fmla="*/ 877923 h 1902921"/>
                <a:gd name="connsiteX1494" fmla="*/ 470332 w 1334724"/>
                <a:gd name="connsiteY1494" fmla="*/ 877157 h 1902921"/>
                <a:gd name="connsiteX1495" fmla="*/ 471514 w 1334724"/>
                <a:gd name="connsiteY1495" fmla="*/ 879157 h 1902921"/>
                <a:gd name="connsiteX1496" fmla="*/ 470443 w 1334724"/>
                <a:gd name="connsiteY1496" fmla="*/ 885502 h 1902921"/>
                <a:gd name="connsiteX1497" fmla="*/ 474223 w 1334724"/>
                <a:gd name="connsiteY1497" fmla="*/ 890207 h 1902921"/>
                <a:gd name="connsiteX1498" fmla="*/ 479979 w 1334724"/>
                <a:gd name="connsiteY1498" fmla="*/ 890732 h 1902921"/>
                <a:gd name="connsiteX1499" fmla="*/ 481618 w 1334724"/>
                <a:gd name="connsiteY1499" fmla="*/ 892260 h 1902921"/>
                <a:gd name="connsiteX1500" fmla="*/ 480572 w 1334724"/>
                <a:gd name="connsiteY1500" fmla="*/ 894198 h 1902921"/>
                <a:gd name="connsiteX1501" fmla="*/ 475269 w 1334724"/>
                <a:gd name="connsiteY1501" fmla="*/ 896599 h 1902921"/>
                <a:gd name="connsiteX1502" fmla="*/ 475679 w 1334724"/>
                <a:gd name="connsiteY1502" fmla="*/ 899424 h 1902921"/>
                <a:gd name="connsiteX1503" fmla="*/ 474594 w 1334724"/>
                <a:gd name="connsiteY1503" fmla="*/ 901362 h 1902921"/>
                <a:gd name="connsiteX1504" fmla="*/ 472449 w 1334724"/>
                <a:gd name="connsiteY1504" fmla="*/ 900812 h 1902921"/>
                <a:gd name="connsiteX1505" fmla="*/ 468626 w 1334724"/>
                <a:gd name="connsiteY1505" fmla="*/ 896025 h 1902921"/>
                <a:gd name="connsiteX1506" fmla="*/ 463439 w 1334724"/>
                <a:gd name="connsiteY1506" fmla="*/ 898903 h 1902921"/>
                <a:gd name="connsiteX1507" fmla="*/ 461699 w 1334724"/>
                <a:gd name="connsiteY1507" fmla="*/ 898903 h 1902921"/>
                <a:gd name="connsiteX1508" fmla="*/ 460744 w 1334724"/>
                <a:gd name="connsiteY1508" fmla="*/ 897414 h 1902921"/>
                <a:gd name="connsiteX1509" fmla="*/ 460195 w 1334724"/>
                <a:gd name="connsiteY1509" fmla="*/ 889165 h 1902921"/>
                <a:gd name="connsiteX1510" fmla="*/ 454728 w 1334724"/>
                <a:gd name="connsiteY1510" fmla="*/ 883694 h 1902921"/>
                <a:gd name="connsiteX1511" fmla="*/ 454482 w 1334724"/>
                <a:gd name="connsiteY1511" fmla="*/ 883390 h 1902921"/>
                <a:gd name="connsiteX1512" fmla="*/ 452453 w 1334724"/>
                <a:gd name="connsiteY1512" fmla="*/ 880199 h 1902921"/>
                <a:gd name="connsiteX1513" fmla="*/ 451884 w 1334724"/>
                <a:gd name="connsiteY1513" fmla="*/ 882093 h 1902921"/>
                <a:gd name="connsiteX1514" fmla="*/ 451884 w 1334724"/>
                <a:gd name="connsiteY1514" fmla="*/ 887198 h 1902921"/>
                <a:gd name="connsiteX1515" fmla="*/ 456290 w 1334724"/>
                <a:gd name="connsiteY1515" fmla="*/ 893244 h 1902921"/>
                <a:gd name="connsiteX1516" fmla="*/ 456637 w 1334724"/>
                <a:gd name="connsiteY1516" fmla="*/ 894608 h 1902921"/>
                <a:gd name="connsiteX1517" fmla="*/ 455904 w 1334724"/>
                <a:gd name="connsiteY1517" fmla="*/ 895813 h 1902921"/>
                <a:gd name="connsiteX1518" fmla="*/ 449902 w 1334724"/>
                <a:gd name="connsiteY1518" fmla="*/ 900157 h 1902921"/>
                <a:gd name="connsiteX1519" fmla="*/ 447810 w 1334724"/>
                <a:gd name="connsiteY1519" fmla="*/ 921382 h 1902921"/>
                <a:gd name="connsiteX1520" fmla="*/ 451228 w 1334724"/>
                <a:gd name="connsiteY1520" fmla="*/ 917959 h 1902921"/>
                <a:gd name="connsiteX1521" fmla="*/ 451228 w 1334724"/>
                <a:gd name="connsiteY1521" fmla="*/ 912772 h 1902921"/>
                <a:gd name="connsiteX1522" fmla="*/ 452226 w 1334724"/>
                <a:gd name="connsiteY1522" fmla="*/ 911128 h 1902921"/>
                <a:gd name="connsiteX1523" fmla="*/ 458179 w 1334724"/>
                <a:gd name="connsiteY1523" fmla="*/ 908168 h 1902921"/>
                <a:gd name="connsiteX1524" fmla="*/ 459341 w 1334724"/>
                <a:gd name="connsiteY1524" fmla="*/ 908005 h 1902921"/>
                <a:gd name="connsiteX1525" fmla="*/ 465305 w 1334724"/>
                <a:gd name="connsiteY1525" fmla="*/ 909200 h 1902921"/>
                <a:gd name="connsiteX1526" fmla="*/ 466731 w 1334724"/>
                <a:gd name="connsiteY1526" fmla="*/ 910743 h 1902921"/>
                <a:gd name="connsiteX1527" fmla="*/ 465767 w 1334724"/>
                <a:gd name="connsiteY1527" fmla="*/ 912604 h 1902921"/>
                <a:gd name="connsiteX1528" fmla="*/ 460464 w 1334724"/>
                <a:gd name="connsiteY1528" fmla="*/ 915255 h 1902921"/>
                <a:gd name="connsiteX1529" fmla="*/ 459322 w 1334724"/>
                <a:gd name="connsiteY1529" fmla="*/ 918755 h 1902921"/>
                <a:gd name="connsiteX1530" fmla="*/ 462836 w 1334724"/>
                <a:gd name="connsiteY1530" fmla="*/ 918123 h 1902921"/>
                <a:gd name="connsiteX1531" fmla="*/ 464822 w 1334724"/>
                <a:gd name="connsiteY1531" fmla="*/ 919222 h 1902921"/>
                <a:gd name="connsiteX1532" fmla="*/ 464220 w 1334724"/>
                <a:gd name="connsiteY1532" fmla="*/ 921406 h 1902921"/>
                <a:gd name="connsiteX1533" fmla="*/ 462976 w 1334724"/>
                <a:gd name="connsiteY1533" fmla="*/ 922255 h 1902921"/>
                <a:gd name="connsiteX1534" fmla="*/ 463164 w 1334724"/>
                <a:gd name="connsiteY1534" fmla="*/ 922255 h 1902921"/>
                <a:gd name="connsiteX1535" fmla="*/ 464909 w 1334724"/>
                <a:gd name="connsiteY1535" fmla="*/ 923532 h 1902921"/>
                <a:gd name="connsiteX1536" fmla="*/ 466703 w 1334724"/>
                <a:gd name="connsiteY1536" fmla="*/ 929500 h 1902921"/>
                <a:gd name="connsiteX1537" fmla="*/ 465473 w 1334724"/>
                <a:gd name="connsiteY1537" fmla="*/ 931771 h 1902921"/>
                <a:gd name="connsiteX1538" fmla="*/ 462417 w 1334724"/>
                <a:gd name="connsiteY1538" fmla="*/ 932682 h 1902921"/>
                <a:gd name="connsiteX1539" fmla="*/ 463767 w 1334724"/>
                <a:gd name="connsiteY1539" fmla="*/ 934012 h 1902921"/>
                <a:gd name="connsiteX1540" fmla="*/ 468829 w 1334724"/>
                <a:gd name="connsiteY1540" fmla="*/ 933082 h 1902921"/>
                <a:gd name="connsiteX1541" fmla="*/ 474975 w 1334724"/>
                <a:gd name="connsiteY1541" fmla="*/ 926955 h 1902921"/>
                <a:gd name="connsiteX1542" fmla="*/ 480745 w 1334724"/>
                <a:gd name="connsiteY1542" fmla="*/ 921180 h 1902921"/>
                <a:gd name="connsiteX1543" fmla="*/ 484780 w 1334724"/>
                <a:gd name="connsiteY1543" fmla="*/ 914204 h 1902921"/>
                <a:gd name="connsiteX1544" fmla="*/ 485142 w 1334724"/>
                <a:gd name="connsiteY1544" fmla="*/ 913809 h 1902921"/>
                <a:gd name="connsiteX1545" fmla="*/ 491693 w 1334724"/>
                <a:gd name="connsiteY1545" fmla="*/ 907846 h 1902921"/>
                <a:gd name="connsiteX1546" fmla="*/ 494055 w 1334724"/>
                <a:gd name="connsiteY1546" fmla="*/ 907768 h 1902921"/>
                <a:gd name="connsiteX1547" fmla="*/ 494475 w 1334724"/>
                <a:gd name="connsiteY1547" fmla="*/ 910140 h 1902921"/>
                <a:gd name="connsiteX1548" fmla="*/ 490898 w 1334724"/>
                <a:gd name="connsiteY1548" fmla="*/ 916075 h 1902921"/>
                <a:gd name="connsiteX1549" fmla="*/ 486742 w 1334724"/>
                <a:gd name="connsiteY1549" fmla="*/ 923200 h 1902921"/>
                <a:gd name="connsiteX1550" fmla="*/ 486530 w 1334724"/>
                <a:gd name="connsiteY1550" fmla="*/ 923503 h 1902921"/>
                <a:gd name="connsiteX1551" fmla="*/ 481170 w 1334724"/>
                <a:gd name="connsiteY1551" fmla="*/ 929471 h 1902921"/>
                <a:gd name="connsiteX1552" fmla="*/ 475235 w 1334724"/>
                <a:gd name="connsiteY1552" fmla="*/ 935998 h 1902921"/>
                <a:gd name="connsiteX1553" fmla="*/ 474816 w 1334724"/>
                <a:gd name="connsiteY1553" fmla="*/ 936331 h 1902921"/>
                <a:gd name="connsiteX1554" fmla="*/ 469258 w 1334724"/>
                <a:gd name="connsiteY1554" fmla="*/ 939672 h 1902921"/>
                <a:gd name="connsiteX1555" fmla="*/ 465926 w 1334724"/>
                <a:gd name="connsiteY1555" fmla="*/ 945220 h 1902921"/>
                <a:gd name="connsiteX1556" fmla="*/ 464557 w 1334724"/>
                <a:gd name="connsiteY1556" fmla="*/ 946122 h 1902921"/>
                <a:gd name="connsiteX1557" fmla="*/ 458883 w 1334724"/>
                <a:gd name="connsiteY1557" fmla="*/ 946671 h 1902921"/>
                <a:gd name="connsiteX1558" fmla="*/ 452602 w 1334724"/>
                <a:gd name="connsiteY1558" fmla="*/ 949525 h 1902921"/>
                <a:gd name="connsiteX1559" fmla="*/ 452014 w 1334724"/>
                <a:gd name="connsiteY1559" fmla="*/ 949680 h 1902921"/>
                <a:gd name="connsiteX1560" fmla="*/ 445482 w 1334724"/>
                <a:gd name="connsiteY1560" fmla="*/ 950287 h 1902921"/>
                <a:gd name="connsiteX1561" fmla="*/ 444585 w 1334724"/>
                <a:gd name="connsiteY1561" fmla="*/ 950118 h 1902921"/>
                <a:gd name="connsiteX1562" fmla="*/ 439210 w 1334724"/>
                <a:gd name="connsiteY1562" fmla="*/ 947737 h 1902921"/>
                <a:gd name="connsiteX1563" fmla="*/ 438198 w 1334724"/>
                <a:gd name="connsiteY1563" fmla="*/ 945553 h 1902921"/>
                <a:gd name="connsiteX1564" fmla="*/ 439012 w 1334724"/>
                <a:gd name="connsiteY1564" fmla="*/ 944517 h 1902921"/>
                <a:gd name="connsiteX1565" fmla="*/ 438487 w 1334724"/>
                <a:gd name="connsiteY1565" fmla="*/ 944194 h 1902921"/>
                <a:gd name="connsiteX1566" fmla="*/ 435185 w 1334724"/>
                <a:gd name="connsiteY1566" fmla="*/ 939638 h 1902921"/>
                <a:gd name="connsiteX1567" fmla="*/ 431314 w 1334724"/>
                <a:gd name="connsiteY1567" fmla="*/ 944753 h 1902921"/>
                <a:gd name="connsiteX1568" fmla="*/ 429226 w 1334724"/>
                <a:gd name="connsiteY1568" fmla="*/ 948065 h 1902921"/>
                <a:gd name="connsiteX1569" fmla="*/ 430711 w 1334724"/>
                <a:gd name="connsiteY1569" fmla="*/ 947939 h 1902921"/>
                <a:gd name="connsiteX1570" fmla="*/ 433208 w 1334724"/>
                <a:gd name="connsiteY1570" fmla="*/ 944926 h 1902921"/>
                <a:gd name="connsiteX1571" fmla="*/ 435185 w 1334724"/>
                <a:gd name="connsiteY1571" fmla="*/ 944358 h 1902921"/>
                <a:gd name="connsiteX1572" fmla="*/ 436969 w 1334724"/>
                <a:gd name="connsiteY1572" fmla="*/ 944951 h 1902921"/>
                <a:gd name="connsiteX1573" fmla="*/ 438145 w 1334724"/>
                <a:gd name="connsiteY1573" fmla="*/ 946185 h 1902921"/>
                <a:gd name="connsiteX1574" fmla="*/ 437802 w 1334724"/>
                <a:gd name="connsiteY1574" fmla="*/ 947853 h 1902921"/>
                <a:gd name="connsiteX1575" fmla="*/ 432442 w 1334724"/>
                <a:gd name="connsiteY1575" fmla="*/ 954385 h 1902921"/>
                <a:gd name="connsiteX1576" fmla="*/ 431651 w 1334724"/>
                <a:gd name="connsiteY1576" fmla="*/ 954963 h 1902921"/>
                <a:gd name="connsiteX1577" fmla="*/ 425124 w 1334724"/>
                <a:gd name="connsiteY1577" fmla="*/ 957311 h 1902921"/>
                <a:gd name="connsiteX1578" fmla="*/ 424820 w 1334724"/>
                <a:gd name="connsiteY1578" fmla="*/ 957402 h 1902921"/>
                <a:gd name="connsiteX1579" fmla="*/ 423904 w 1334724"/>
                <a:gd name="connsiteY1579" fmla="*/ 957552 h 1902921"/>
                <a:gd name="connsiteX1580" fmla="*/ 425105 w 1334724"/>
                <a:gd name="connsiteY1580" fmla="*/ 958979 h 1902921"/>
                <a:gd name="connsiteX1581" fmla="*/ 424179 w 1334724"/>
                <a:gd name="connsiteY1581" fmla="*/ 960762 h 1902921"/>
                <a:gd name="connsiteX1582" fmla="*/ 417642 w 1334724"/>
                <a:gd name="connsiteY1582" fmla="*/ 964349 h 1902921"/>
                <a:gd name="connsiteX1583" fmla="*/ 417233 w 1334724"/>
                <a:gd name="connsiteY1583" fmla="*/ 964508 h 1902921"/>
                <a:gd name="connsiteX1584" fmla="*/ 417131 w 1334724"/>
                <a:gd name="connsiteY1584" fmla="*/ 964542 h 1902921"/>
                <a:gd name="connsiteX1585" fmla="*/ 417233 w 1334724"/>
                <a:gd name="connsiteY1585" fmla="*/ 964561 h 1902921"/>
                <a:gd name="connsiteX1586" fmla="*/ 418578 w 1334724"/>
                <a:gd name="connsiteY1586" fmla="*/ 966152 h 1902921"/>
                <a:gd name="connsiteX1587" fmla="*/ 417560 w 1334724"/>
                <a:gd name="connsiteY1587" fmla="*/ 967955 h 1902921"/>
                <a:gd name="connsiteX1588" fmla="*/ 412614 w 1334724"/>
                <a:gd name="connsiteY1588" fmla="*/ 970452 h 1902921"/>
                <a:gd name="connsiteX1589" fmla="*/ 416235 w 1334724"/>
                <a:gd name="connsiteY1589" fmla="*/ 969348 h 1902921"/>
                <a:gd name="connsiteX1590" fmla="*/ 418442 w 1334724"/>
                <a:gd name="connsiteY1590" fmla="*/ 970428 h 1902921"/>
                <a:gd name="connsiteX1591" fmla="*/ 417555 w 1334724"/>
                <a:gd name="connsiteY1591" fmla="*/ 972703 h 1902921"/>
                <a:gd name="connsiteX1592" fmla="*/ 410421 w 1334724"/>
                <a:gd name="connsiteY1592" fmla="*/ 976300 h 1902921"/>
                <a:gd name="connsiteX1593" fmla="*/ 409948 w 1334724"/>
                <a:gd name="connsiteY1593" fmla="*/ 976435 h 1902921"/>
                <a:gd name="connsiteX1594" fmla="*/ 403792 w 1334724"/>
                <a:gd name="connsiteY1594" fmla="*/ 977558 h 1902921"/>
                <a:gd name="connsiteX1595" fmla="*/ 400533 w 1334724"/>
                <a:gd name="connsiteY1595" fmla="*/ 979828 h 1902921"/>
                <a:gd name="connsiteX1596" fmla="*/ 404525 w 1334724"/>
                <a:gd name="connsiteY1596" fmla="*/ 981988 h 1902921"/>
                <a:gd name="connsiteX1597" fmla="*/ 405426 w 1334724"/>
                <a:gd name="connsiteY1597" fmla="*/ 983145 h 1902921"/>
                <a:gd name="connsiteX1598" fmla="*/ 405205 w 1334724"/>
                <a:gd name="connsiteY1598" fmla="*/ 984562 h 1902921"/>
                <a:gd name="connsiteX1599" fmla="*/ 403600 w 1334724"/>
                <a:gd name="connsiteY1599" fmla="*/ 987050 h 1902921"/>
                <a:gd name="connsiteX1600" fmla="*/ 405562 w 1334724"/>
                <a:gd name="connsiteY1600" fmla="*/ 985705 h 1902921"/>
                <a:gd name="connsiteX1601" fmla="*/ 411438 w 1334724"/>
                <a:gd name="connsiteY1601" fmla="*/ 980976 h 1902921"/>
                <a:gd name="connsiteX1602" fmla="*/ 442652 w 1334724"/>
                <a:gd name="connsiteY1602" fmla="*/ 958198 h 1902921"/>
                <a:gd name="connsiteX1603" fmla="*/ 443693 w 1334724"/>
                <a:gd name="connsiteY1603" fmla="*/ 957971 h 1902921"/>
                <a:gd name="connsiteX1604" fmla="*/ 450235 w 1334724"/>
                <a:gd name="connsiteY1604" fmla="*/ 958579 h 1902921"/>
                <a:gd name="connsiteX1605" fmla="*/ 450529 w 1334724"/>
                <a:gd name="connsiteY1605" fmla="*/ 958603 h 1902921"/>
                <a:gd name="connsiteX1606" fmla="*/ 457678 w 1334724"/>
                <a:gd name="connsiteY1606" fmla="*/ 960411 h 1902921"/>
                <a:gd name="connsiteX1607" fmla="*/ 458199 w 1334724"/>
                <a:gd name="connsiteY1607" fmla="*/ 960628 h 1902921"/>
                <a:gd name="connsiteX1608" fmla="*/ 464760 w 1334724"/>
                <a:gd name="connsiteY1608" fmla="*/ 964788 h 1902921"/>
                <a:gd name="connsiteX1609" fmla="*/ 465425 w 1334724"/>
                <a:gd name="connsiteY1609" fmla="*/ 967063 h 1902921"/>
                <a:gd name="connsiteX1610" fmla="*/ 463285 w 1334724"/>
                <a:gd name="connsiteY1610" fmla="*/ 968090 h 1902921"/>
                <a:gd name="connsiteX1611" fmla="*/ 456883 w 1334724"/>
                <a:gd name="connsiteY1611" fmla="*/ 966345 h 1902921"/>
                <a:gd name="connsiteX1612" fmla="*/ 451103 w 1334724"/>
                <a:gd name="connsiteY1612" fmla="*/ 965742 h 1902921"/>
                <a:gd name="connsiteX1613" fmla="*/ 449975 w 1334724"/>
                <a:gd name="connsiteY1613" fmla="*/ 965217 h 1902921"/>
                <a:gd name="connsiteX1614" fmla="*/ 448813 w 1334724"/>
                <a:gd name="connsiteY1614" fmla="*/ 964050 h 1902921"/>
                <a:gd name="connsiteX1615" fmla="*/ 443380 w 1334724"/>
                <a:gd name="connsiteY1615" fmla="*/ 964547 h 1902921"/>
                <a:gd name="connsiteX1616" fmla="*/ 437754 w 1334724"/>
                <a:gd name="connsiteY1616" fmla="*/ 966783 h 1902921"/>
                <a:gd name="connsiteX1617" fmla="*/ 431381 w 1334724"/>
                <a:gd name="connsiteY1617" fmla="*/ 970259 h 1902921"/>
                <a:gd name="connsiteX1618" fmla="*/ 427187 w 1334724"/>
                <a:gd name="connsiteY1618" fmla="*/ 973214 h 1902921"/>
                <a:gd name="connsiteX1619" fmla="*/ 427660 w 1334724"/>
                <a:gd name="connsiteY1619" fmla="*/ 973479 h 1902921"/>
                <a:gd name="connsiteX1620" fmla="*/ 427607 w 1334724"/>
                <a:gd name="connsiteY1620" fmla="*/ 975890 h 1902921"/>
                <a:gd name="connsiteX1621" fmla="*/ 422738 w 1334724"/>
                <a:gd name="connsiteY1621" fmla="*/ 981275 h 1902921"/>
                <a:gd name="connsiteX1622" fmla="*/ 422829 w 1334724"/>
                <a:gd name="connsiteY1622" fmla="*/ 981328 h 1902921"/>
                <a:gd name="connsiteX1623" fmla="*/ 429265 w 1334724"/>
                <a:gd name="connsiteY1623" fmla="*/ 983651 h 1902921"/>
                <a:gd name="connsiteX1624" fmla="*/ 430485 w 1334724"/>
                <a:gd name="connsiteY1624" fmla="*/ 985377 h 1902921"/>
                <a:gd name="connsiteX1625" fmla="*/ 429265 w 1334724"/>
                <a:gd name="connsiteY1625" fmla="*/ 987069 h 1902921"/>
                <a:gd name="connsiteX1626" fmla="*/ 422969 w 1334724"/>
                <a:gd name="connsiteY1626" fmla="*/ 989373 h 1902921"/>
                <a:gd name="connsiteX1627" fmla="*/ 417189 w 1334724"/>
                <a:gd name="connsiteY1627" fmla="*/ 993394 h 1902921"/>
                <a:gd name="connsiteX1628" fmla="*/ 416914 w 1334724"/>
                <a:gd name="connsiteY1628" fmla="*/ 993572 h 1902921"/>
                <a:gd name="connsiteX1629" fmla="*/ 410705 w 1334724"/>
                <a:gd name="connsiteY1629" fmla="*/ 996378 h 1902921"/>
                <a:gd name="connsiteX1630" fmla="*/ 406193 w 1334724"/>
                <a:gd name="connsiteY1630" fmla="*/ 1001401 h 1902921"/>
                <a:gd name="connsiteX1631" fmla="*/ 407143 w 1334724"/>
                <a:gd name="connsiteY1631" fmla="*/ 1006492 h 1902921"/>
                <a:gd name="connsiteX1632" fmla="*/ 412219 w 1334724"/>
                <a:gd name="connsiteY1632" fmla="*/ 1011573 h 1902921"/>
                <a:gd name="connsiteX1633" fmla="*/ 418939 w 1334724"/>
                <a:gd name="connsiteY1633" fmla="*/ 1012093 h 1902921"/>
                <a:gd name="connsiteX1634" fmla="*/ 424550 w 1334724"/>
                <a:gd name="connsiteY1634" fmla="*/ 1010406 h 1902921"/>
                <a:gd name="connsiteX1635" fmla="*/ 426773 w 1334724"/>
                <a:gd name="connsiteY1635" fmla="*/ 1011500 h 1902921"/>
                <a:gd name="connsiteX1636" fmla="*/ 425886 w 1334724"/>
                <a:gd name="connsiteY1636" fmla="*/ 1013795 h 1902921"/>
                <a:gd name="connsiteX1637" fmla="*/ 419947 w 1334724"/>
                <a:gd name="connsiteY1637" fmla="*/ 1016745 h 1902921"/>
                <a:gd name="connsiteX1638" fmla="*/ 419754 w 1334724"/>
                <a:gd name="connsiteY1638" fmla="*/ 1016832 h 1902921"/>
                <a:gd name="connsiteX1639" fmla="*/ 413940 w 1334724"/>
                <a:gd name="connsiteY1639" fmla="*/ 1018958 h 1902921"/>
                <a:gd name="connsiteX1640" fmla="*/ 411693 w 1334724"/>
                <a:gd name="connsiteY1640" fmla="*/ 1023861 h 1902921"/>
                <a:gd name="connsiteX1641" fmla="*/ 414687 w 1334724"/>
                <a:gd name="connsiteY1641" fmla="*/ 1028127 h 1902921"/>
                <a:gd name="connsiteX1642" fmla="*/ 420414 w 1334724"/>
                <a:gd name="connsiteY1642" fmla="*/ 1027664 h 1902921"/>
                <a:gd name="connsiteX1643" fmla="*/ 420501 w 1334724"/>
                <a:gd name="connsiteY1643" fmla="*/ 1027664 h 1902921"/>
                <a:gd name="connsiteX1644" fmla="*/ 420925 w 1334724"/>
                <a:gd name="connsiteY1644" fmla="*/ 1027606 h 1902921"/>
                <a:gd name="connsiteX1645" fmla="*/ 421518 w 1334724"/>
                <a:gd name="connsiteY1645" fmla="*/ 1027606 h 1902921"/>
                <a:gd name="connsiteX1646" fmla="*/ 423326 w 1334724"/>
                <a:gd name="connsiteY1646" fmla="*/ 1029361 h 1902921"/>
                <a:gd name="connsiteX1647" fmla="*/ 421663 w 1334724"/>
                <a:gd name="connsiteY1647" fmla="*/ 1031212 h 1902921"/>
                <a:gd name="connsiteX1648" fmla="*/ 420968 w 1334724"/>
                <a:gd name="connsiteY1648" fmla="*/ 1031275 h 1902921"/>
                <a:gd name="connsiteX1649" fmla="*/ 414721 w 1334724"/>
                <a:gd name="connsiteY1649" fmla="*/ 1032837 h 1902921"/>
                <a:gd name="connsiteX1650" fmla="*/ 412099 w 1334724"/>
                <a:gd name="connsiteY1650" fmla="*/ 1035455 h 1902921"/>
                <a:gd name="connsiteX1651" fmla="*/ 410816 w 1334724"/>
                <a:gd name="connsiteY1651" fmla="*/ 1035999 h 1902921"/>
                <a:gd name="connsiteX1652" fmla="*/ 406203 w 1334724"/>
                <a:gd name="connsiteY1652" fmla="*/ 1035999 h 1902921"/>
                <a:gd name="connsiteX1653" fmla="*/ 404824 w 1334724"/>
                <a:gd name="connsiteY1653" fmla="*/ 1040656 h 1902921"/>
                <a:gd name="connsiteX1654" fmla="*/ 404303 w 1334724"/>
                <a:gd name="connsiteY1654" fmla="*/ 1041480 h 1902921"/>
                <a:gd name="connsiteX1655" fmla="*/ 398330 w 1334724"/>
                <a:gd name="connsiteY1655" fmla="*/ 1046827 h 1902921"/>
                <a:gd name="connsiteX1656" fmla="*/ 395949 w 1334724"/>
                <a:gd name="connsiteY1656" fmla="*/ 1046846 h 1902921"/>
                <a:gd name="connsiteX1657" fmla="*/ 395578 w 1334724"/>
                <a:gd name="connsiteY1657" fmla="*/ 1044508 h 1902921"/>
                <a:gd name="connsiteX1658" fmla="*/ 399227 w 1334724"/>
                <a:gd name="connsiteY1658" fmla="*/ 1038790 h 1902921"/>
                <a:gd name="connsiteX1659" fmla="*/ 397309 w 1334724"/>
                <a:gd name="connsiteY1659" fmla="*/ 1034553 h 1902921"/>
                <a:gd name="connsiteX1660" fmla="*/ 392242 w 1334724"/>
                <a:gd name="connsiteY1660" fmla="*/ 1035912 h 1902921"/>
                <a:gd name="connsiteX1661" fmla="*/ 390593 w 1334724"/>
                <a:gd name="connsiteY1661" fmla="*/ 1035565 h 1902921"/>
                <a:gd name="connsiteX1662" fmla="*/ 389947 w 1334724"/>
                <a:gd name="connsiteY1662" fmla="*/ 1034003 h 1902921"/>
                <a:gd name="connsiteX1663" fmla="*/ 390477 w 1334724"/>
                <a:gd name="connsiteY1663" fmla="*/ 1028787 h 1902921"/>
                <a:gd name="connsiteX1664" fmla="*/ 385613 w 1334724"/>
                <a:gd name="connsiteY1664" fmla="*/ 1022810 h 1902921"/>
                <a:gd name="connsiteX1665" fmla="*/ 385382 w 1334724"/>
                <a:gd name="connsiteY1665" fmla="*/ 1022468 h 1902921"/>
                <a:gd name="connsiteX1666" fmla="*/ 382321 w 1334724"/>
                <a:gd name="connsiteY1666" fmla="*/ 1016369 h 1902921"/>
                <a:gd name="connsiteX1667" fmla="*/ 380320 w 1334724"/>
                <a:gd name="connsiteY1667" fmla="*/ 1016369 h 1902921"/>
                <a:gd name="connsiteX1668" fmla="*/ 382123 w 1334724"/>
                <a:gd name="connsiteY1668" fmla="*/ 1020327 h 1902921"/>
                <a:gd name="connsiteX1669" fmla="*/ 382263 w 1334724"/>
                <a:gd name="connsiteY1669" fmla="*/ 1020896 h 1902921"/>
                <a:gd name="connsiteX1670" fmla="*/ 382875 w 1334724"/>
                <a:gd name="connsiteY1670" fmla="*/ 1026840 h 1902921"/>
                <a:gd name="connsiteX1671" fmla="*/ 381419 w 1334724"/>
                <a:gd name="connsiteY1671" fmla="*/ 1028807 h 1902921"/>
                <a:gd name="connsiteX1672" fmla="*/ 375471 w 1334724"/>
                <a:gd name="connsiteY1672" fmla="*/ 1030017 h 1902921"/>
                <a:gd name="connsiteX1673" fmla="*/ 374506 w 1334724"/>
                <a:gd name="connsiteY1673" fmla="*/ 1029940 h 1902921"/>
                <a:gd name="connsiteX1674" fmla="*/ 370144 w 1334724"/>
                <a:gd name="connsiteY1674" fmla="*/ 1028344 h 1902921"/>
                <a:gd name="connsiteX1675" fmla="*/ 369777 w 1334724"/>
                <a:gd name="connsiteY1675" fmla="*/ 1031964 h 1902921"/>
                <a:gd name="connsiteX1676" fmla="*/ 368505 w 1334724"/>
                <a:gd name="connsiteY1676" fmla="*/ 1033545 h 1902921"/>
                <a:gd name="connsiteX1677" fmla="*/ 365829 w 1334724"/>
                <a:gd name="connsiteY1677" fmla="*/ 1034346 h 1902921"/>
                <a:gd name="connsiteX1678" fmla="*/ 369724 w 1334724"/>
                <a:gd name="connsiteY1678" fmla="*/ 1037537 h 1902921"/>
                <a:gd name="connsiteX1679" fmla="*/ 370086 w 1334724"/>
                <a:gd name="connsiteY1679" fmla="*/ 1039938 h 1902921"/>
                <a:gd name="connsiteX1680" fmla="*/ 367695 w 1334724"/>
                <a:gd name="connsiteY1680" fmla="*/ 1040521 h 1902921"/>
                <a:gd name="connsiteX1681" fmla="*/ 361544 w 1334724"/>
                <a:gd name="connsiteY1681" fmla="*/ 1037180 h 1902921"/>
                <a:gd name="connsiteX1682" fmla="*/ 359051 w 1334724"/>
                <a:gd name="connsiteY1682" fmla="*/ 1037180 h 1902921"/>
                <a:gd name="connsiteX1683" fmla="*/ 361698 w 1334724"/>
                <a:gd name="connsiteY1683" fmla="*/ 1040854 h 1902921"/>
                <a:gd name="connsiteX1684" fmla="*/ 361987 w 1334724"/>
                <a:gd name="connsiteY1684" fmla="*/ 1042406 h 1902921"/>
                <a:gd name="connsiteX1685" fmla="*/ 360926 w 1334724"/>
                <a:gd name="connsiteY1685" fmla="*/ 1043573 h 1902921"/>
                <a:gd name="connsiteX1686" fmla="*/ 356805 w 1334724"/>
                <a:gd name="connsiteY1686" fmla="*/ 1045245 h 1902921"/>
                <a:gd name="connsiteX1687" fmla="*/ 358883 w 1334724"/>
                <a:gd name="connsiteY1687" fmla="*/ 1049430 h 1902921"/>
                <a:gd name="connsiteX1688" fmla="*/ 358502 w 1334724"/>
                <a:gd name="connsiteY1688" fmla="*/ 1051565 h 1902921"/>
                <a:gd name="connsiteX1689" fmla="*/ 356323 w 1334724"/>
                <a:gd name="connsiteY1689" fmla="*/ 1051811 h 1902921"/>
                <a:gd name="connsiteX1690" fmla="*/ 352833 w 1334724"/>
                <a:gd name="connsiteY1690" fmla="*/ 1049709 h 1902921"/>
                <a:gd name="connsiteX1691" fmla="*/ 352524 w 1334724"/>
                <a:gd name="connsiteY1691" fmla="*/ 1052799 h 1902921"/>
                <a:gd name="connsiteX1692" fmla="*/ 351854 w 1334724"/>
                <a:gd name="connsiteY1692" fmla="*/ 1054033 h 1902921"/>
                <a:gd name="connsiteX1693" fmla="*/ 345515 w 1334724"/>
                <a:gd name="connsiteY1693" fmla="*/ 1059230 h 1902921"/>
                <a:gd name="connsiteX1694" fmla="*/ 342646 w 1334724"/>
                <a:gd name="connsiteY1694" fmla="*/ 1063309 h 1902921"/>
                <a:gd name="connsiteX1695" fmla="*/ 347438 w 1334724"/>
                <a:gd name="connsiteY1695" fmla="*/ 1065907 h 1902921"/>
                <a:gd name="connsiteX1696" fmla="*/ 348330 w 1334724"/>
                <a:gd name="connsiteY1696" fmla="*/ 1067850 h 1902921"/>
                <a:gd name="connsiteX1697" fmla="*/ 346734 w 1334724"/>
                <a:gd name="connsiteY1697" fmla="*/ 1069315 h 1902921"/>
                <a:gd name="connsiteX1698" fmla="*/ 341827 w 1334724"/>
                <a:gd name="connsiteY1698" fmla="*/ 1069812 h 1902921"/>
                <a:gd name="connsiteX1699" fmla="*/ 339257 w 1334724"/>
                <a:gd name="connsiteY1699" fmla="*/ 1075399 h 1902921"/>
                <a:gd name="connsiteX1700" fmla="*/ 338554 w 1334724"/>
                <a:gd name="connsiteY1700" fmla="*/ 1076218 h 1902921"/>
                <a:gd name="connsiteX1701" fmla="*/ 335444 w 1334724"/>
                <a:gd name="connsiteY1701" fmla="*/ 1078074 h 1902921"/>
                <a:gd name="connsiteX1702" fmla="*/ 338443 w 1334724"/>
                <a:gd name="connsiteY1702" fmla="*/ 1079554 h 1902921"/>
                <a:gd name="connsiteX1703" fmla="*/ 339436 w 1334724"/>
                <a:gd name="connsiteY1703" fmla="*/ 1081198 h 1902921"/>
                <a:gd name="connsiteX1704" fmla="*/ 338443 w 1334724"/>
                <a:gd name="connsiteY1704" fmla="*/ 1082804 h 1902921"/>
                <a:gd name="connsiteX1705" fmla="*/ 332494 w 1334724"/>
                <a:gd name="connsiteY1705" fmla="*/ 1085788 h 1902921"/>
                <a:gd name="connsiteX1706" fmla="*/ 331674 w 1334724"/>
                <a:gd name="connsiteY1706" fmla="*/ 1085990 h 1902921"/>
                <a:gd name="connsiteX1707" fmla="*/ 328160 w 1334724"/>
                <a:gd name="connsiteY1707" fmla="*/ 1085990 h 1902921"/>
                <a:gd name="connsiteX1708" fmla="*/ 329255 w 1334724"/>
                <a:gd name="connsiteY1708" fmla="*/ 1089591 h 1902921"/>
                <a:gd name="connsiteX1709" fmla="*/ 329071 w 1334724"/>
                <a:gd name="connsiteY1709" fmla="*/ 1091042 h 1902921"/>
                <a:gd name="connsiteX1710" fmla="*/ 325538 w 1334724"/>
                <a:gd name="connsiteY1710" fmla="*/ 1096947 h 1902921"/>
                <a:gd name="connsiteX1711" fmla="*/ 324506 w 1334724"/>
                <a:gd name="connsiteY1711" fmla="*/ 1099025 h 1902921"/>
                <a:gd name="connsiteX1712" fmla="*/ 327485 w 1334724"/>
                <a:gd name="connsiteY1712" fmla="*/ 1097936 h 1902921"/>
                <a:gd name="connsiteX1713" fmla="*/ 327591 w 1334724"/>
                <a:gd name="connsiteY1713" fmla="*/ 1097907 h 1902921"/>
                <a:gd name="connsiteX1714" fmla="*/ 333530 w 1334724"/>
                <a:gd name="connsiteY1714" fmla="*/ 1096123 h 1902921"/>
                <a:gd name="connsiteX1715" fmla="*/ 335690 w 1334724"/>
                <a:gd name="connsiteY1715" fmla="*/ 1097083 h 1902921"/>
                <a:gd name="connsiteX1716" fmla="*/ 335102 w 1334724"/>
                <a:gd name="connsiteY1716" fmla="*/ 1099348 h 1902921"/>
                <a:gd name="connsiteX1717" fmla="*/ 329177 w 1334724"/>
                <a:gd name="connsiteY1717" fmla="*/ 1103436 h 1902921"/>
                <a:gd name="connsiteX1718" fmla="*/ 333974 w 1334724"/>
                <a:gd name="connsiteY1718" fmla="*/ 1101546 h 1902921"/>
                <a:gd name="connsiteX1719" fmla="*/ 336278 w 1334724"/>
                <a:gd name="connsiteY1719" fmla="*/ 1102414 h 1902921"/>
                <a:gd name="connsiteX1720" fmla="*/ 335574 w 1334724"/>
                <a:gd name="connsiteY1720" fmla="*/ 1104767 h 1902921"/>
                <a:gd name="connsiteX1721" fmla="*/ 329611 w 1334724"/>
                <a:gd name="connsiteY1721" fmla="*/ 1108339 h 1902921"/>
                <a:gd name="connsiteX1722" fmla="*/ 329587 w 1334724"/>
                <a:gd name="connsiteY1722" fmla="*/ 1108339 h 1902921"/>
                <a:gd name="connsiteX1723" fmla="*/ 322457 w 1334724"/>
                <a:gd name="connsiteY1723" fmla="*/ 1112494 h 1902921"/>
                <a:gd name="connsiteX1724" fmla="*/ 321156 w 1334724"/>
                <a:gd name="connsiteY1724" fmla="*/ 1112716 h 1902921"/>
                <a:gd name="connsiteX1725" fmla="*/ 319295 w 1334724"/>
                <a:gd name="connsiteY1725" fmla="*/ 1112335 h 1902921"/>
                <a:gd name="connsiteX1726" fmla="*/ 315226 w 1334724"/>
                <a:gd name="connsiteY1726" fmla="*/ 1117450 h 1902921"/>
                <a:gd name="connsiteX1727" fmla="*/ 314720 w 1334724"/>
                <a:gd name="connsiteY1727" fmla="*/ 1117860 h 1902921"/>
                <a:gd name="connsiteX1728" fmla="*/ 308776 w 1334724"/>
                <a:gd name="connsiteY1728" fmla="*/ 1121446 h 1902921"/>
                <a:gd name="connsiteX1729" fmla="*/ 308665 w 1334724"/>
                <a:gd name="connsiteY1729" fmla="*/ 1121495 h 1902921"/>
                <a:gd name="connsiteX1730" fmla="*/ 304037 w 1334724"/>
                <a:gd name="connsiteY1730" fmla="*/ 1123799 h 1902921"/>
                <a:gd name="connsiteX1731" fmla="*/ 305026 w 1334724"/>
                <a:gd name="connsiteY1731" fmla="*/ 1127332 h 1902921"/>
                <a:gd name="connsiteX1732" fmla="*/ 310521 w 1334724"/>
                <a:gd name="connsiteY1732" fmla="*/ 1126402 h 1902921"/>
                <a:gd name="connsiteX1733" fmla="*/ 312560 w 1334724"/>
                <a:gd name="connsiteY1733" fmla="*/ 1127655 h 1902921"/>
                <a:gd name="connsiteX1734" fmla="*/ 311567 w 1334724"/>
                <a:gd name="connsiteY1734" fmla="*/ 1129839 h 1902921"/>
                <a:gd name="connsiteX1735" fmla="*/ 305064 w 1334724"/>
                <a:gd name="connsiteY1735" fmla="*/ 1132823 h 1902921"/>
                <a:gd name="connsiteX1736" fmla="*/ 300947 w 1334724"/>
                <a:gd name="connsiteY1736" fmla="*/ 1134877 h 1902921"/>
                <a:gd name="connsiteX1737" fmla="*/ 303117 w 1334724"/>
                <a:gd name="connsiteY1737" fmla="*/ 1138290 h 1902921"/>
                <a:gd name="connsiteX1738" fmla="*/ 308183 w 1334724"/>
                <a:gd name="connsiteY1738" fmla="*/ 1135532 h 1902921"/>
                <a:gd name="connsiteX1739" fmla="*/ 308294 w 1334724"/>
                <a:gd name="connsiteY1739" fmla="*/ 1135484 h 1902921"/>
                <a:gd name="connsiteX1740" fmla="*/ 314686 w 1334724"/>
                <a:gd name="connsiteY1740" fmla="*/ 1132573 h 1902921"/>
                <a:gd name="connsiteX1741" fmla="*/ 320510 w 1334724"/>
                <a:gd name="connsiteY1741" fmla="*/ 1128504 h 1902921"/>
                <a:gd name="connsiteX1742" fmla="*/ 320669 w 1334724"/>
                <a:gd name="connsiteY1742" fmla="*/ 1128398 h 1902921"/>
                <a:gd name="connsiteX1743" fmla="*/ 327215 w 1334724"/>
                <a:gd name="connsiteY1743" fmla="*/ 1124811 h 1902921"/>
                <a:gd name="connsiteX1744" fmla="*/ 329317 w 1334724"/>
                <a:gd name="connsiteY1744" fmla="*/ 1125091 h 1902921"/>
                <a:gd name="connsiteX1745" fmla="*/ 329722 w 1334724"/>
                <a:gd name="connsiteY1745" fmla="*/ 1127169 h 1902921"/>
                <a:gd name="connsiteX1746" fmla="*/ 328560 w 1334724"/>
                <a:gd name="connsiteY1746" fmla="*/ 1129762 h 1902921"/>
                <a:gd name="connsiteX1747" fmla="*/ 331024 w 1334724"/>
                <a:gd name="connsiteY1747" fmla="*/ 1128865 h 1902921"/>
                <a:gd name="connsiteX1748" fmla="*/ 333237 w 1334724"/>
                <a:gd name="connsiteY1748" fmla="*/ 1129733 h 1902921"/>
                <a:gd name="connsiteX1749" fmla="*/ 332745 w 1334724"/>
                <a:gd name="connsiteY1749" fmla="*/ 1132057 h 1902921"/>
                <a:gd name="connsiteX1750" fmla="*/ 326179 w 1334724"/>
                <a:gd name="connsiteY1750" fmla="*/ 1136834 h 1902921"/>
                <a:gd name="connsiteX1751" fmla="*/ 324791 w 1334724"/>
                <a:gd name="connsiteY1751" fmla="*/ 1137147 h 1902921"/>
                <a:gd name="connsiteX1752" fmla="*/ 322327 w 1334724"/>
                <a:gd name="connsiteY1752" fmla="*/ 1136728 h 1902921"/>
                <a:gd name="connsiteX1753" fmla="*/ 321204 w 1334724"/>
                <a:gd name="connsiteY1753" fmla="*/ 1138218 h 1902921"/>
                <a:gd name="connsiteX1754" fmla="*/ 320211 w 1334724"/>
                <a:gd name="connsiteY1754" fmla="*/ 1138868 h 1902921"/>
                <a:gd name="connsiteX1755" fmla="*/ 315014 w 1334724"/>
                <a:gd name="connsiteY1755" fmla="*/ 1140315 h 1902921"/>
                <a:gd name="connsiteX1756" fmla="*/ 315014 w 1334724"/>
                <a:gd name="connsiteY1756" fmla="*/ 1145405 h 1902921"/>
                <a:gd name="connsiteX1757" fmla="*/ 319955 w 1334724"/>
                <a:gd name="connsiteY1757" fmla="*/ 1151441 h 1902921"/>
                <a:gd name="connsiteX1758" fmla="*/ 320356 w 1334724"/>
                <a:gd name="connsiteY1758" fmla="*/ 1152424 h 1902921"/>
                <a:gd name="connsiteX1759" fmla="*/ 320905 w 1334724"/>
                <a:gd name="connsiteY1759" fmla="*/ 1158055 h 1902921"/>
                <a:gd name="connsiteX1760" fmla="*/ 323344 w 1334724"/>
                <a:gd name="connsiteY1760" fmla="*/ 1163396 h 1902921"/>
                <a:gd name="connsiteX1761" fmla="*/ 328102 w 1334724"/>
                <a:gd name="connsiteY1761" fmla="*/ 1163791 h 1902921"/>
                <a:gd name="connsiteX1762" fmla="*/ 333497 w 1334724"/>
                <a:gd name="connsiteY1762" fmla="*/ 1159486 h 1902921"/>
                <a:gd name="connsiteX1763" fmla="*/ 334249 w 1334724"/>
                <a:gd name="connsiteY1763" fmla="*/ 1159226 h 1902921"/>
                <a:gd name="connsiteX1764" fmla="*/ 336813 w 1334724"/>
                <a:gd name="connsiteY1764" fmla="*/ 1156165 h 1902921"/>
                <a:gd name="connsiteX1765" fmla="*/ 337638 w 1334724"/>
                <a:gd name="connsiteY1765" fmla="*/ 1155620 h 1902921"/>
                <a:gd name="connsiteX1766" fmla="*/ 345211 w 1334724"/>
                <a:gd name="connsiteY1766" fmla="*/ 1153268 h 1902921"/>
                <a:gd name="connsiteX1767" fmla="*/ 351502 w 1334724"/>
                <a:gd name="connsiteY1767" fmla="*/ 1149855 h 1902921"/>
                <a:gd name="connsiteX1768" fmla="*/ 357658 w 1334724"/>
                <a:gd name="connsiteY1768" fmla="*/ 1145362 h 1902921"/>
                <a:gd name="connsiteX1769" fmla="*/ 361654 w 1334724"/>
                <a:gd name="connsiteY1769" fmla="*/ 1139124 h 1902921"/>
                <a:gd name="connsiteX1770" fmla="*/ 362218 w 1334724"/>
                <a:gd name="connsiteY1770" fmla="*/ 1138555 h 1902921"/>
                <a:gd name="connsiteX1771" fmla="*/ 368755 w 1334724"/>
                <a:gd name="connsiteY1771" fmla="*/ 1134385 h 1902921"/>
                <a:gd name="connsiteX1772" fmla="*/ 369050 w 1334724"/>
                <a:gd name="connsiteY1772" fmla="*/ 1134260 h 1902921"/>
                <a:gd name="connsiteX1773" fmla="*/ 374849 w 1334724"/>
                <a:gd name="connsiteY1773" fmla="*/ 1131902 h 1902921"/>
                <a:gd name="connsiteX1774" fmla="*/ 380744 w 1334724"/>
                <a:gd name="connsiteY1774" fmla="*/ 1128162 h 1902921"/>
                <a:gd name="connsiteX1775" fmla="*/ 382919 w 1334724"/>
                <a:gd name="connsiteY1775" fmla="*/ 1122743 h 1902921"/>
                <a:gd name="connsiteX1776" fmla="*/ 383010 w 1334724"/>
                <a:gd name="connsiteY1776" fmla="*/ 1122560 h 1902921"/>
                <a:gd name="connsiteX1777" fmla="*/ 386264 w 1334724"/>
                <a:gd name="connsiteY1777" fmla="*/ 1116587 h 1902921"/>
                <a:gd name="connsiteX1778" fmla="*/ 385459 w 1334724"/>
                <a:gd name="connsiteY1778" fmla="*/ 1112485 h 1902921"/>
                <a:gd name="connsiteX1779" fmla="*/ 380947 w 1334724"/>
                <a:gd name="connsiteY1779" fmla="*/ 1111694 h 1902921"/>
                <a:gd name="connsiteX1780" fmla="*/ 374473 w 1334724"/>
                <a:gd name="connsiteY1780" fmla="*/ 1117079 h 1902921"/>
                <a:gd name="connsiteX1781" fmla="*/ 373995 w 1334724"/>
                <a:gd name="connsiteY1781" fmla="*/ 1117383 h 1902921"/>
                <a:gd name="connsiteX1782" fmla="*/ 368153 w 1334724"/>
                <a:gd name="connsiteY1782" fmla="*/ 1119711 h 1902921"/>
                <a:gd name="connsiteX1783" fmla="*/ 361110 w 1334724"/>
                <a:gd name="connsiteY1783" fmla="*/ 1123808 h 1902921"/>
                <a:gd name="connsiteX1784" fmla="*/ 358772 w 1334724"/>
                <a:gd name="connsiteY1784" fmla="*/ 1123355 h 1902921"/>
                <a:gd name="connsiteX1785" fmla="*/ 358902 w 1334724"/>
                <a:gd name="connsiteY1785" fmla="*/ 1120945 h 1902921"/>
                <a:gd name="connsiteX1786" fmla="*/ 364865 w 1334724"/>
                <a:gd name="connsiteY1786" fmla="*/ 1115016 h 1902921"/>
                <a:gd name="connsiteX1787" fmla="*/ 365473 w 1334724"/>
                <a:gd name="connsiteY1787" fmla="*/ 1114596 h 1902921"/>
                <a:gd name="connsiteX1788" fmla="*/ 371335 w 1334724"/>
                <a:gd name="connsiteY1788" fmla="*/ 1112273 h 1902921"/>
                <a:gd name="connsiteX1789" fmla="*/ 378059 w 1334724"/>
                <a:gd name="connsiteY1789" fmla="*/ 1108334 h 1902921"/>
                <a:gd name="connsiteX1790" fmla="*/ 383189 w 1334724"/>
                <a:gd name="connsiteY1790" fmla="*/ 1102038 h 1902921"/>
                <a:gd name="connsiteX1791" fmla="*/ 383449 w 1334724"/>
                <a:gd name="connsiteY1791" fmla="*/ 1101802 h 1902921"/>
                <a:gd name="connsiteX1792" fmla="*/ 390391 w 1334724"/>
                <a:gd name="connsiteY1792" fmla="*/ 1096003 h 1902921"/>
                <a:gd name="connsiteX1793" fmla="*/ 395009 w 1334724"/>
                <a:gd name="connsiteY1793" fmla="*/ 1089104 h 1902921"/>
                <a:gd name="connsiteX1794" fmla="*/ 395052 w 1334724"/>
                <a:gd name="connsiteY1794" fmla="*/ 1089032 h 1902921"/>
                <a:gd name="connsiteX1795" fmla="*/ 399796 w 1334724"/>
                <a:gd name="connsiteY1795" fmla="*/ 1082490 h 1902921"/>
                <a:gd name="connsiteX1796" fmla="*/ 401917 w 1334724"/>
                <a:gd name="connsiteY1796" fmla="*/ 1081868 h 1902921"/>
                <a:gd name="connsiteX1797" fmla="*/ 403074 w 1334724"/>
                <a:gd name="connsiteY1797" fmla="*/ 1083724 h 1902921"/>
                <a:gd name="connsiteX1798" fmla="*/ 402645 w 1334724"/>
                <a:gd name="connsiteY1798" fmla="*/ 1088015 h 1902921"/>
                <a:gd name="connsiteX1799" fmla="*/ 407461 w 1334724"/>
                <a:gd name="connsiteY1799" fmla="*/ 1088892 h 1902921"/>
                <a:gd name="connsiteX1800" fmla="*/ 413935 w 1334724"/>
                <a:gd name="connsiteY1800" fmla="*/ 1089495 h 1902921"/>
                <a:gd name="connsiteX1801" fmla="*/ 415386 w 1334724"/>
                <a:gd name="connsiteY1801" fmla="*/ 1090497 h 1902921"/>
                <a:gd name="connsiteX1802" fmla="*/ 415328 w 1334724"/>
                <a:gd name="connsiteY1802" fmla="*/ 1092247 h 1902921"/>
                <a:gd name="connsiteX1803" fmla="*/ 412330 w 1334724"/>
                <a:gd name="connsiteY1803" fmla="*/ 1097015 h 1902921"/>
                <a:gd name="connsiteX1804" fmla="*/ 411529 w 1334724"/>
                <a:gd name="connsiteY1804" fmla="*/ 1097724 h 1902921"/>
                <a:gd name="connsiteX1805" fmla="*/ 406164 w 1334724"/>
                <a:gd name="connsiteY1805" fmla="*/ 1100105 h 1902921"/>
                <a:gd name="connsiteX1806" fmla="*/ 406106 w 1334724"/>
                <a:gd name="connsiteY1806" fmla="*/ 1100134 h 1902921"/>
                <a:gd name="connsiteX1807" fmla="*/ 400606 w 1334724"/>
                <a:gd name="connsiteY1807" fmla="*/ 1102313 h 1902921"/>
                <a:gd name="connsiteX1808" fmla="*/ 396156 w 1334724"/>
                <a:gd name="connsiteY1808" fmla="*/ 1107919 h 1902921"/>
                <a:gd name="connsiteX1809" fmla="*/ 396021 w 1334724"/>
                <a:gd name="connsiteY1809" fmla="*/ 1108064 h 1902921"/>
                <a:gd name="connsiteX1810" fmla="*/ 392083 w 1334724"/>
                <a:gd name="connsiteY1810" fmla="*/ 1111964 h 1902921"/>
                <a:gd name="connsiteX1811" fmla="*/ 395718 w 1334724"/>
                <a:gd name="connsiteY1811" fmla="*/ 1113304 h 1902921"/>
                <a:gd name="connsiteX1812" fmla="*/ 402611 w 1334724"/>
                <a:gd name="connsiteY1812" fmla="*/ 1113878 h 1902921"/>
                <a:gd name="connsiteX1813" fmla="*/ 403122 w 1334724"/>
                <a:gd name="connsiteY1813" fmla="*/ 1113984 h 1902921"/>
                <a:gd name="connsiteX1814" fmla="*/ 409105 w 1334724"/>
                <a:gd name="connsiteY1814" fmla="*/ 1116370 h 1902921"/>
                <a:gd name="connsiteX1815" fmla="*/ 410204 w 1334724"/>
                <a:gd name="connsiteY1815" fmla="*/ 1117893 h 1902921"/>
                <a:gd name="connsiteX1816" fmla="*/ 410835 w 1334724"/>
                <a:gd name="connsiteY1816" fmla="*/ 1124435 h 1902921"/>
                <a:gd name="connsiteX1817" fmla="*/ 409698 w 1334724"/>
                <a:gd name="connsiteY1817" fmla="*/ 1126296 h 1902921"/>
                <a:gd name="connsiteX1818" fmla="*/ 403739 w 1334724"/>
                <a:gd name="connsiteY1818" fmla="*/ 1128673 h 1902921"/>
                <a:gd name="connsiteX1819" fmla="*/ 403416 w 1334724"/>
                <a:gd name="connsiteY1819" fmla="*/ 1128779 h 1902921"/>
                <a:gd name="connsiteX1820" fmla="*/ 398094 w 1334724"/>
                <a:gd name="connsiteY1820" fmla="*/ 1129815 h 1902921"/>
                <a:gd name="connsiteX1821" fmla="*/ 393129 w 1334724"/>
                <a:gd name="connsiteY1821" fmla="*/ 1135860 h 1902921"/>
                <a:gd name="connsiteX1822" fmla="*/ 391745 w 1334724"/>
                <a:gd name="connsiteY1822" fmla="*/ 1136540 h 1902921"/>
                <a:gd name="connsiteX1823" fmla="*/ 385729 w 1334724"/>
                <a:gd name="connsiteY1823" fmla="*/ 1136540 h 1902921"/>
                <a:gd name="connsiteX1824" fmla="*/ 380556 w 1334724"/>
                <a:gd name="connsiteY1824" fmla="*/ 1139630 h 1902921"/>
                <a:gd name="connsiteX1825" fmla="*/ 376637 w 1334724"/>
                <a:gd name="connsiteY1825" fmla="*/ 1145825 h 1902921"/>
                <a:gd name="connsiteX1826" fmla="*/ 375943 w 1334724"/>
                <a:gd name="connsiteY1826" fmla="*/ 1146447 h 1902921"/>
                <a:gd name="connsiteX1827" fmla="*/ 369054 w 1334724"/>
                <a:gd name="connsiteY1827" fmla="*/ 1150139 h 1902921"/>
                <a:gd name="connsiteX1828" fmla="*/ 368857 w 1334724"/>
                <a:gd name="connsiteY1828" fmla="*/ 1152603 h 1902921"/>
                <a:gd name="connsiteX1829" fmla="*/ 379081 w 1334724"/>
                <a:gd name="connsiteY1829" fmla="*/ 1147946 h 1902921"/>
                <a:gd name="connsiteX1830" fmla="*/ 380817 w 1334724"/>
                <a:gd name="connsiteY1830" fmla="*/ 1148052 h 1902921"/>
                <a:gd name="connsiteX1831" fmla="*/ 381646 w 1334724"/>
                <a:gd name="connsiteY1831" fmla="*/ 1149619 h 1902921"/>
                <a:gd name="connsiteX1832" fmla="*/ 381646 w 1334724"/>
                <a:gd name="connsiteY1832" fmla="*/ 1156146 h 1902921"/>
                <a:gd name="connsiteX1833" fmla="*/ 380359 w 1334724"/>
                <a:gd name="connsiteY1833" fmla="*/ 1157862 h 1902921"/>
                <a:gd name="connsiteX1834" fmla="*/ 373576 w 1334724"/>
                <a:gd name="connsiteY1834" fmla="*/ 1159983 h 1902921"/>
                <a:gd name="connsiteX1835" fmla="*/ 372313 w 1334724"/>
                <a:gd name="connsiteY1835" fmla="*/ 1164119 h 1902921"/>
                <a:gd name="connsiteX1836" fmla="*/ 376541 w 1334724"/>
                <a:gd name="connsiteY1836" fmla="*/ 1169962 h 1902921"/>
                <a:gd name="connsiteX1837" fmla="*/ 376898 w 1334724"/>
                <a:gd name="connsiteY1837" fmla="*/ 1171022 h 1902921"/>
                <a:gd name="connsiteX1838" fmla="*/ 376898 w 1334724"/>
                <a:gd name="connsiteY1838" fmla="*/ 1171630 h 1902921"/>
                <a:gd name="connsiteX1839" fmla="*/ 375249 w 1334724"/>
                <a:gd name="connsiteY1839" fmla="*/ 1173399 h 1902921"/>
                <a:gd name="connsiteX1840" fmla="*/ 348142 w 1334724"/>
                <a:gd name="connsiteY1840" fmla="*/ 1175766 h 1902921"/>
                <a:gd name="connsiteX1841" fmla="*/ 346879 w 1334724"/>
                <a:gd name="connsiteY1841" fmla="*/ 1175621 h 1902921"/>
                <a:gd name="connsiteX1842" fmla="*/ 345703 w 1334724"/>
                <a:gd name="connsiteY1842" fmla="*/ 1175019 h 1902921"/>
                <a:gd name="connsiteX1843" fmla="*/ 345467 w 1334724"/>
                <a:gd name="connsiteY1843" fmla="*/ 1174879 h 1902921"/>
                <a:gd name="connsiteX1844" fmla="*/ 340516 w 1334724"/>
                <a:gd name="connsiteY1844" fmla="*/ 1171413 h 1902921"/>
                <a:gd name="connsiteX1845" fmla="*/ 334027 w 1334724"/>
                <a:gd name="connsiteY1845" fmla="*/ 1175376 h 1902921"/>
                <a:gd name="connsiteX1846" fmla="*/ 330614 w 1334724"/>
                <a:gd name="connsiteY1846" fmla="*/ 1179671 h 1902921"/>
                <a:gd name="connsiteX1847" fmla="*/ 334895 w 1334724"/>
                <a:gd name="connsiteY1847" fmla="*/ 1183098 h 1902921"/>
                <a:gd name="connsiteX1848" fmla="*/ 341726 w 1334724"/>
                <a:gd name="connsiteY1848" fmla="*/ 1185359 h 1902921"/>
                <a:gd name="connsiteX1849" fmla="*/ 342974 w 1334724"/>
                <a:gd name="connsiteY1849" fmla="*/ 1187080 h 1902921"/>
                <a:gd name="connsiteX1850" fmla="*/ 341784 w 1334724"/>
                <a:gd name="connsiteY1850" fmla="*/ 1188801 h 1902921"/>
                <a:gd name="connsiteX1851" fmla="*/ 335237 w 1334724"/>
                <a:gd name="connsiteY1851" fmla="*/ 1191159 h 1902921"/>
                <a:gd name="connsiteX1852" fmla="*/ 333670 w 1334724"/>
                <a:gd name="connsiteY1852" fmla="*/ 1191009 h 1902921"/>
                <a:gd name="connsiteX1853" fmla="*/ 328083 w 1334724"/>
                <a:gd name="connsiteY1853" fmla="*/ 1187649 h 1902921"/>
                <a:gd name="connsiteX1854" fmla="*/ 322549 w 1334724"/>
                <a:gd name="connsiteY1854" fmla="*/ 1187157 h 1902921"/>
                <a:gd name="connsiteX1855" fmla="*/ 317082 w 1334724"/>
                <a:gd name="connsiteY1855" fmla="*/ 1190436 h 1902921"/>
                <a:gd name="connsiteX1856" fmla="*/ 316827 w 1334724"/>
                <a:gd name="connsiteY1856" fmla="*/ 1190551 h 1902921"/>
                <a:gd name="connsiteX1857" fmla="*/ 313872 w 1334724"/>
                <a:gd name="connsiteY1857" fmla="*/ 1191718 h 1902921"/>
                <a:gd name="connsiteX1858" fmla="*/ 311649 w 1334724"/>
                <a:gd name="connsiteY1858" fmla="*/ 1191067 h 1902921"/>
                <a:gd name="connsiteX1859" fmla="*/ 311895 w 1334724"/>
                <a:gd name="connsiteY1859" fmla="*/ 1188772 h 1902921"/>
                <a:gd name="connsiteX1860" fmla="*/ 318191 w 1334724"/>
                <a:gd name="connsiteY1860" fmla="*/ 1182481 h 1902921"/>
                <a:gd name="connsiteX1861" fmla="*/ 320302 w 1334724"/>
                <a:gd name="connsiteY1861" fmla="*/ 1177203 h 1902921"/>
                <a:gd name="connsiteX1862" fmla="*/ 320302 w 1334724"/>
                <a:gd name="connsiteY1862" fmla="*/ 1173312 h 1902921"/>
                <a:gd name="connsiteX1863" fmla="*/ 320105 w 1334724"/>
                <a:gd name="connsiteY1863" fmla="*/ 1173240 h 1902921"/>
                <a:gd name="connsiteX1864" fmla="*/ 319642 w 1334724"/>
                <a:gd name="connsiteY1864" fmla="*/ 1172878 h 1902921"/>
                <a:gd name="connsiteX1865" fmla="*/ 313674 w 1334724"/>
                <a:gd name="connsiteY1865" fmla="*/ 1166944 h 1902921"/>
                <a:gd name="connsiteX1866" fmla="*/ 313192 w 1334724"/>
                <a:gd name="connsiteY1866" fmla="*/ 1166096 h 1902921"/>
                <a:gd name="connsiteX1867" fmla="*/ 311476 w 1334724"/>
                <a:gd name="connsiteY1867" fmla="*/ 1159197 h 1902921"/>
                <a:gd name="connsiteX1868" fmla="*/ 307446 w 1334724"/>
                <a:gd name="connsiteY1868" fmla="*/ 1152284 h 1902921"/>
                <a:gd name="connsiteX1869" fmla="*/ 307344 w 1334724"/>
                <a:gd name="connsiteY1869" fmla="*/ 1152111 h 1902921"/>
                <a:gd name="connsiteX1870" fmla="*/ 305170 w 1334724"/>
                <a:gd name="connsiteY1870" fmla="*/ 1147309 h 1902921"/>
                <a:gd name="connsiteX1871" fmla="*/ 301068 w 1334724"/>
                <a:gd name="connsiteY1871" fmla="*/ 1149315 h 1902921"/>
                <a:gd name="connsiteX1872" fmla="*/ 296503 w 1334724"/>
                <a:gd name="connsiteY1872" fmla="*/ 1152998 h 1902921"/>
                <a:gd name="connsiteX1873" fmla="*/ 299270 w 1334724"/>
                <a:gd name="connsiteY1873" fmla="*/ 1157587 h 1902921"/>
                <a:gd name="connsiteX1874" fmla="*/ 299135 w 1334724"/>
                <a:gd name="connsiteY1874" fmla="*/ 1159612 h 1902921"/>
                <a:gd name="connsiteX1875" fmla="*/ 297177 w 1334724"/>
                <a:gd name="connsiteY1875" fmla="*/ 1160272 h 1902921"/>
                <a:gd name="connsiteX1876" fmla="*/ 292569 w 1334724"/>
                <a:gd name="connsiteY1876" fmla="*/ 1158884 h 1902921"/>
                <a:gd name="connsiteX1877" fmla="*/ 289117 w 1334724"/>
                <a:gd name="connsiteY1877" fmla="*/ 1164264 h 1902921"/>
                <a:gd name="connsiteX1878" fmla="*/ 287088 w 1334724"/>
                <a:gd name="connsiteY1878" fmla="*/ 1164997 h 1902921"/>
                <a:gd name="connsiteX1879" fmla="*/ 285781 w 1334724"/>
                <a:gd name="connsiteY1879" fmla="*/ 1163247 h 1902921"/>
                <a:gd name="connsiteX1880" fmla="*/ 285781 w 1334724"/>
                <a:gd name="connsiteY1880" fmla="*/ 1160224 h 1902921"/>
                <a:gd name="connsiteX1881" fmla="*/ 282667 w 1334724"/>
                <a:gd name="connsiteY1881" fmla="*/ 1162374 h 1902921"/>
                <a:gd name="connsiteX1882" fmla="*/ 282296 w 1334724"/>
                <a:gd name="connsiteY1882" fmla="*/ 1162572 h 1902921"/>
                <a:gd name="connsiteX1883" fmla="*/ 277625 w 1334724"/>
                <a:gd name="connsiteY1883" fmla="*/ 1164452 h 1902921"/>
                <a:gd name="connsiteX1884" fmla="*/ 277900 w 1334724"/>
                <a:gd name="connsiteY1884" fmla="*/ 1167822 h 1902921"/>
                <a:gd name="connsiteX1885" fmla="*/ 281587 w 1334724"/>
                <a:gd name="connsiteY1885" fmla="*/ 1166346 h 1902921"/>
                <a:gd name="connsiteX1886" fmla="*/ 282860 w 1334724"/>
                <a:gd name="connsiteY1886" fmla="*/ 1166346 h 1902921"/>
                <a:gd name="connsiteX1887" fmla="*/ 289402 w 1334724"/>
                <a:gd name="connsiteY1887" fmla="*/ 1168728 h 1902921"/>
                <a:gd name="connsiteX1888" fmla="*/ 290631 w 1334724"/>
                <a:gd name="connsiteY1888" fmla="*/ 1170468 h 1902921"/>
                <a:gd name="connsiteX1889" fmla="*/ 289305 w 1334724"/>
                <a:gd name="connsiteY1889" fmla="*/ 1172165 h 1902921"/>
                <a:gd name="connsiteX1890" fmla="*/ 283381 w 1334724"/>
                <a:gd name="connsiteY1890" fmla="*/ 1173949 h 1902921"/>
                <a:gd name="connsiteX1891" fmla="*/ 283164 w 1334724"/>
                <a:gd name="connsiteY1891" fmla="*/ 1174007 h 1902921"/>
                <a:gd name="connsiteX1892" fmla="*/ 277981 w 1334724"/>
                <a:gd name="connsiteY1892" fmla="*/ 1174937 h 1902921"/>
                <a:gd name="connsiteX1893" fmla="*/ 277649 w 1334724"/>
                <a:gd name="connsiteY1893" fmla="*/ 1178095 h 1902921"/>
                <a:gd name="connsiteX1894" fmla="*/ 282561 w 1334724"/>
                <a:gd name="connsiteY1894" fmla="*/ 1179907 h 1902921"/>
                <a:gd name="connsiteX1895" fmla="*/ 288192 w 1334724"/>
                <a:gd name="connsiteY1895" fmla="*/ 1179907 h 1902921"/>
                <a:gd name="connsiteX1896" fmla="*/ 290004 w 1334724"/>
                <a:gd name="connsiteY1896" fmla="*/ 1181479 h 1902921"/>
                <a:gd name="connsiteX1897" fmla="*/ 288736 w 1334724"/>
                <a:gd name="connsiteY1897" fmla="*/ 1183460 h 1902921"/>
                <a:gd name="connsiteX1898" fmla="*/ 282894 w 1334724"/>
                <a:gd name="connsiteY1898" fmla="*/ 1185219 h 1902921"/>
                <a:gd name="connsiteX1899" fmla="*/ 276757 w 1334724"/>
                <a:gd name="connsiteY1899" fmla="*/ 1187996 h 1902921"/>
                <a:gd name="connsiteX1900" fmla="*/ 270533 w 1334724"/>
                <a:gd name="connsiteY1900" fmla="*/ 1194225 h 1902921"/>
                <a:gd name="connsiteX1901" fmla="*/ 265853 w 1334724"/>
                <a:gd name="connsiteY1901" fmla="*/ 1200651 h 1902921"/>
                <a:gd name="connsiteX1902" fmla="*/ 263534 w 1334724"/>
                <a:gd name="connsiteY1902" fmla="*/ 1201190 h 1902921"/>
                <a:gd name="connsiteX1903" fmla="*/ 262714 w 1334724"/>
                <a:gd name="connsiteY1903" fmla="*/ 1198944 h 1902921"/>
                <a:gd name="connsiteX1904" fmla="*/ 265062 w 1334724"/>
                <a:gd name="connsiteY1904" fmla="*/ 1192407 h 1902921"/>
                <a:gd name="connsiteX1905" fmla="*/ 265197 w 1334724"/>
                <a:gd name="connsiteY1905" fmla="*/ 1192108 h 1902921"/>
                <a:gd name="connsiteX1906" fmla="*/ 269251 w 1334724"/>
                <a:gd name="connsiteY1906" fmla="*/ 1185195 h 1902921"/>
                <a:gd name="connsiteX1907" fmla="*/ 270784 w 1334724"/>
                <a:gd name="connsiteY1907" fmla="*/ 1179589 h 1902921"/>
                <a:gd name="connsiteX1908" fmla="*/ 267815 w 1334724"/>
                <a:gd name="connsiteY1908" fmla="*/ 1174146 h 1902921"/>
                <a:gd name="connsiteX1909" fmla="*/ 263746 w 1334724"/>
                <a:gd name="connsiteY1909" fmla="*/ 1171934 h 1902921"/>
                <a:gd name="connsiteX1910" fmla="*/ 262589 w 1334724"/>
                <a:gd name="connsiteY1910" fmla="*/ 1176282 h 1902921"/>
                <a:gd name="connsiteX1911" fmla="*/ 260342 w 1334724"/>
                <a:gd name="connsiteY1911" fmla="*/ 1177535 h 1902921"/>
                <a:gd name="connsiteX1912" fmla="*/ 254114 w 1334724"/>
                <a:gd name="connsiteY1912" fmla="*/ 1175838 h 1902921"/>
                <a:gd name="connsiteX1913" fmla="*/ 249236 w 1334724"/>
                <a:gd name="connsiteY1913" fmla="*/ 1176330 h 1902921"/>
                <a:gd name="connsiteX1914" fmla="*/ 245572 w 1334724"/>
                <a:gd name="connsiteY1914" fmla="*/ 1180404 h 1902921"/>
                <a:gd name="connsiteX1915" fmla="*/ 247115 w 1334724"/>
                <a:gd name="connsiteY1915" fmla="*/ 1186020 h 1902921"/>
                <a:gd name="connsiteX1916" fmla="*/ 246025 w 1334724"/>
                <a:gd name="connsiteY1916" fmla="*/ 1188179 h 1902921"/>
                <a:gd name="connsiteX1917" fmla="*/ 240119 w 1334724"/>
                <a:gd name="connsiteY1917" fmla="*/ 1190561 h 1902921"/>
                <a:gd name="connsiteX1918" fmla="*/ 235347 w 1334724"/>
                <a:gd name="connsiteY1918" fmla="*/ 1192740 h 1902921"/>
                <a:gd name="connsiteX1919" fmla="*/ 238052 w 1334724"/>
                <a:gd name="connsiteY1919" fmla="*/ 1198187 h 1902921"/>
                <a:gd name="connsiteX1920" fmla="*/ 238066 w 1334724"/>
                <a:gd name="connsiteY1920" fmla="*/ 1198240 h 1902921"/>
                <a:gd name="connsiteX1921" fmla="*/ 240529 w 1334724"/>
                <a:gd name="connsiteY1921" fmla="*/ 1203601 h 1902921"/>
                <a:gd name="connsiteX1922" fmla="*/ 252345 w 1334724"/>
                <a:gd name="connsiteY1922" fmla="*/ 1202540 h 1902921"/>
                <a:gd name="connsiteX1923" fmla="*/ 259484 w 1334724"/>
                <a:gd name="connsiteY1923" fmla="*/ 1201933 h 1902921"/>
                <a:gd name="connsiteX1924" fmla="*/ 261427 w 1334724"/>
                <a:gd name="connsiteY1924" fmla="*/ 1203350 h 1902921"/>
                <a:gd name="connsiteX1925" fmla="*/ 260251 w 1334724"/>
                <a:gd name="connsiteY1925" fmla="*/ 1205471 h 1902921"/>
                <a:gd name="connsiteX1926" fmla="*/ 239300 w 1334724"/>
                <a:gd name="connsiteY1926" fmla="*/ 1210793 h 1902921"/>
                <a:gd name="connsiteX1927" fmla="*/ 242125 w 1334724"/>
                <a:gd name="connsiteY1927" fmla="*/ 1215272 h 1902921"/>
                <a:gd name="connsiteX1928" fmla="*/ 241908 w 1334724"/>
                <a:gd name="connsiteY1928" fmla="*/ 1217499 h 1902921"/>
                <a:gd name="connsiteX1929" fmla="*/ 239724 w 1334724"/>
                <a:gd name="connsiteY1929" fmla="*/ 1217817 h 1902921"/>
                <a:gd name="connsiteX1930" fmla="*/ 233520 w 1334724"/>
                <a:gd name="connsiteY1930" fmla="*/ 1214447 h 1902921"/>
                <a:gd name="connsiteX1931" fmla="*/ 227340 w 1334724"/>
                <a:gd name="connsiteY1931" fmla="*/ 1213884 h 1902921"/>
                <a:gd name="connsiteX1932" fmla="*/ 227166 w 1334724"/>
                <a:gd name="connsiteY1932" fmla="*/ 1213859 h 1902921"/>
                <a:gd name="connsiteX1933" fmla="*/ 222996 w 1334724"/>
                <a:gd name="connsiteY1933" fmla="*/ 1213107 h 1902921"/>
                <a:gd name="connsiteX1934" fmla="*/ 223353 w 1334724"/>
                <a:gd name="connsiteY1934" fmla="*/ 1216646 h 1902921"/>
                <a:gd name="connsiteX1935" fmla="*/ 222399 w 1334724"/>
                <a:gd name="connsiteY1935" fmla="*/ 1218454 h 1902921"/>
                <a:gd name="connsiteX1936" fmla="*/ 220393 w 1334724"/>
                <a:gd name="connsiteY1936" fmla="*/ 1218261 h 1902921"/>
                <a:gd name="connsiteX1937" fmla="*/ 216219 w 1334724"/>
                <a:gd name="connsiteY1937" fmla="*/ 1214886 h 1902921"/>
                <a:gd name="connsiteX1938" fmla="*/ 214676 w 1334724"/>
                <a:gd name="connsiteY1938" fmla="*/ 1217981 h 1902921"/>
                <a:gd name="connsiteX1939" fmla="*/ 217602 w 1334724"/>
                <a:gd name="connsiteY1939" fmla="*/ 1223404 h 1902921"/>
                <a:gd name="connsiteX1940" fmla="*/ 222770 w 1334724"/>
                <a:gd name="connsiteY1940" fmla="*/ 1227536 h 1902921"/>
                <a:gd name="connsiteX1941" fmla="*/ 228670 w 1334724"/>
                <a:gd name="connsiteY1941" fmla="*/ 1227536 h 1902921"/>
                <a:gd name="connsiteX1942" fmla="*/ 230483 w 1334724"/>
                <a:gd name="connsiteY1942" fmla="*/ 1229170 h 1902921"/>
                <a:gd name="connsiteX1943" fmla="*/ 229022 w 1334724"/>
                <a:gd name="connsiteY1943" fmla="*/ 1231093 h 1902921"/>
                <a:gd name="connsiteX1944" fmla="*/ 228608 w 1334724"/>
                <a:gd name="connsiteY1944" fmla="*/ 1231185 h 1902921"/>
                <a:gd name="connsiteX1945" fmla="*/ 229090 w 1334724"/>
                <a:gd name="connsiteY1945" fmla="*/ 1231412 h 1902921"/>
                <a:gd name="connsiteX1946" fmla="*/ 234180 w 1334724"/>
                <a:gd name="connsiteY1946" fmla="*/ 1227830 h 1902921"/>
                <a:gd name="connsiteX1947" fmla="*/ 236099 w 1334724"/>
                <a:gd name="connsiteY1947" fmla="*/ 1227743 h 1902921"/>
                <a:gd name="connsiteX1948" fmla="*/ 242631 w 1334724"/>
                <a:gd name="connsiteY1948" fmla="*/ 1231296 h 1902921"/>
                <a:gd name="connsiteX1949" fmla="*/ 243600 w 1334724"/>
                <a:gd name="connsiteY1949" fmla="*/ 1232911 h 1902921"/>
                <a:gd name="connsiteX1950" fmla="*/ 242631 w 1334724"/>
                <a:gd name="connsiteY1950" fmla="*/ 1234511 h 1902921"/>
                <a:gd name="connsiteX1951" fmla="*/ 236099 w 1334724"/>
                <a:gd name="connsiteY1951" fmla="*/ 1238083 h 1902921"/>
                <a:gd name="connsiteX1952" fmla="*/ 235405 w 1334724"/>
                <a:gd name="connsiteY1952" fmla="*/ 1238281 h 1902921"/>
                <a:gd name="connsiteX1953" fmla="*/ 231389 w 1334724"/>
                <a:gd name="connsiteY1953" fmla="*/ 1238686 h 1902921"/>
                <a:gd name="connsiteX1954" fmla="*/ 232113 w 1334724"/>
                <a:gd name="connsiteY1954" fmla="*/ 1243029 h 1902921"/>
                <a:gd name="connsiteX1955" fmla="*/ 237878 w 1334724"/>
                <a:gd name="connsiteY1955" fmla="*/ 1246197 h 1902921"/>
                <a:gd name="connsiteX1956" fmla="*/ 238230 w 1334724"/>
                <a:gd name="connsiteY1956" fmla="*/ 1246414 h 1902921"/>
                <a:gd name="connsiteX1957" fmla="*/ 244781 w 1334724"/>
                <a:gd name="connsiteY1957" fmla="*/ 1252386 h 1902921"/>
                <a:gd name="connsiteX1958" fmla="*/ 244984 w 1334724"/>
                <a:gd name="connsiteY1958" fmla="*/ 1254879 h 1902921"/>
                <a:gd name="connsiteX1959" fmla="*/ 242525 w 1334724"/>
                <a:gd name="connsiteY1959" fmla="*/ 1255226 h 1902921"/>
                <a:gd name="connsiteX1960" fmla="*/ 236779 w 1334724"/>
                <a:gd name="connsiteY1960" fmla="*/ 1251205 h 1902921"/>
                <a:gd name="connsiteX1961" fmla="*/ 230121 w 1334724"/>
                <a:gd name="connsiteY1961" fmla="*/ 1248988 h 1902921"/>
                <a:gd name="connsiteX1962" fmla="*/ 223778 w 1334724"/>
                <a:gd name="connsiteY1962" fmla="*/ 1248380 h 1902921"/>
                <a:gd name="connsiteX1963" fmla="*/ 222283 w 1334724"/>
                <a:gd name="connsiteY1963" fmla="*/ 1247349 h 1902921"/>
                <a:gd name="connsiteX1964" fmla="*/ 218716 w 1334724"/>
                <a:gd name="connsiteY1964" fmla="*/ 1239607 h 1902921"/>
                <a:gd name="connsiteX1965" fmla="*/ 218663 w 1334724"/>
                <a:gd name="connsiteY1965" fmla="*/ 1239534 h 1902921"/>
                <a:gd name="connsiteX1966" fmla="*/ 216445 w 1334724"/>
                <a:gd name="connsiteY1966" fmla="*/ 1234015 h 1902921"/>
                <a:gd name="connsiteX1967" fmla="*/ 210284 w 1334724"/>
                <a:gd name="connsiteY1967" fmla="*/ 1228934 h 1902921"/>
                <a:gd name="connsiteX1968" fmla="*/ 209624 w 1334724"/>
                <a:gd name="connsiteY1968" fmla="*/ 1227724 h 1902921"/>
                <a:gd name="connsiteX1969" fmla="*/ 209103 w 1334724"/>
                <a:gd name="connsiteY1969" fmla="*/ 1222566 h 1902921"/>
                <a:gd name="connsiteX1970" fmla="*/ 204172 w 1334724"/>
                <a:gd name="connsiteY1970" fmla="*/ 1219027 h 1902921"/>
                <a:gd name="connsiteX1971" fmla="*/ 201414 w 1334724"/>
                <a:gd name="connsiteY1971" fmla="*/ 1220584 h 1902921"/>
                <a:gd name="connsiteX1972" fmla="*/ 197774 w 1334724"/>
                <a:gd name="connsiteY1972" fmla="*/ 1226292 h 1902921"/>
                <a:gd name="connsiteX1973" fmla="*/ 197774 w 1334724"/>
                <a:gd name="connsiteY1973" fmla="*/ 1229903 h 1902921"/>
                <a:gd name="connsiteX1974" fmla="*/ 202508 w 1334724"/>
                <a:gd name="connsiteY1974" fmla="*/ 1229903 h 1902921"/>
                <a:gd name="connsiteX1975" fmla="*/ 203666 w 1334724"/>
                <a:gd name="connsiteY1975" fmla="*/ 1230327 h 1902921"/>
                <a:gd name="connsiteX1976" fmla="*/ 210815 w 1334724"/>
                <a:gd name="connsiteY1976" fmla="*/ 1236276 h 1902921"/>
                <a:gd name="connsiteX1977" fmla="*/ 211133 w 1334724"/>
                <a:gd name="connsiteY1977" fmla="*/ 1236603 h 1902921"/>
                <a:gd name="connsiteX1978" fmla="*/ 215303 w 1334724"/>
                <a:gd name="connsiteY1978" fmla="*/ 1242605 h 1902921"/>
                <a:gd name="connsiteX1979" fmla="*/ 215558 w 1334724"/>
                <a:gd name="connsiteY1979" fmla="*/ 1244075 h 1902921"/>
                <a:gd name="connsiteX1980" fmla="*/ 214059 w 1334724"/>
                <a:gd name="connsiteY1980" fmla="*/ 1250154 h 1902921"/>
                <a:gd name="connsiteX1981" fmla="*/ 220846 w 1334724"/>
                <a:gd name="connsiteY1981" fmla="*/ 1256436 h 1902921"/>
                <a:gd name="connsiteX1982" fmla="*/ 227827 w 1334724"/>
                <a:gd name="connsiteY1982" fmla="*/ 1260514 h 1902921"/>
                <a:gd name="connsiteX1983" fmla="*/ 228217 w 1334724"/>
                <a:gd name="connsiteY1983" fmla="*/ 1260789 h 1902921"/>
                <a:gd name="connsiteX1984" fmla="*/ 234118 w 1334724"/>
                <a:gd name="connsiteY1984" fmla="*/ 1266714 h 1902921"/>
                <a:gd name="connsiteX1985" fmla="*/ 234595 w 1334724"/>
                <a:gd name="connsiteY1985" fmla="*/ 1267514 h 1902921"/>
                <a:gd name="connsiteX1986" fmla="*/ 236388 w 1334724"/>
                <a:gd name="connsiteY1986" fmla="*/ 1273453 h 1902921"/>
                <a:gd name="connsiteX1987" fmla="*/ 235916 w 1334724"/>
                <a:gd name="connsiteY1987" fmla="*/ 1275261 h 1902921"/>
                <a:gd name="connsiteX1988" fmla="*/ 235342 w 1334724"/>
                <a:gd name="connsiteY1988" fmla="*/ 1275858 h 1902921"/>
                <a:gd name="connsiteX1989" fmla="*/ 233621 w 1334724"/>
                <a:gd name="connsiteY1989" fmla="*/ 1276316 h 1902921"/>
                <a:gd name="connsiteX1990" fmla="*/ 232324 w 1334724"/>
                <a:gd name="connsiteY1990" fmla="*/ 1275160 h 1902921"/>
                <a:gd name="connsiteX1991" fmla="*/ 231293 w 1334724"/>
                <a:gd name="connsiteY1991" fmla="*/ 1272084 h 1902921"/>
                <a:gd name="connsiteX1992" fmla="*/ 225778 w 1334724"/>
                <a:gd name="connsiteY1992" fmla="*/ 1267678 h 1902921"/>
                <a:gd name="connsiteX1993" fmla="*/ 218831 w 1334724"/>
                <a:gd name="connsiteY1993" fmla="*/ 1262447 h 1902921"/>
                <a:gd name="connsiteX1994" fmla="*/ 212473 w 1334724"/>
                <a:gd name="connsiteY1994" fmla="*/ 1259555 h 1902921"/>
                <a:gd name="connsiteX1995" fmla="*/ 211716 w 1334724"/>
                <a:gd name="connsiteY1995" fmla="*/ 1258938 h 1902921"/>
                <a:gd name="connsiteX1996" fmla="*/ 206929 w 1334724"/>
                <a:gd name="connsiteY1996" fmla="*/ 1251764 h 1902921"/>
                <a:gd name="connsiteX1997" fmla="*/ 206669 w 1334724"/>
                <a:gd name="connsiteY1997" fmla="*/ 1251080 h 1902921"/>
                <a:gd name="connsiteX1998" fmla="*/ 204981 w 1334724"/>
                <a:gd name="connsiteY1998" fmla="*/ 1241588 h 1902921"/>
                <a:gd name="connsiteX1999" fmla="*/ 200074 w 1334724"/>
                <a:gd name="connsiteY1999" fmla="*/ 1237177 h 1902921"/>
                <a:gd name="connsiteX2000" fmla="*/ 195292 w 1334724"/>
                <a:gd name="connsiteY2000" fmla="*/ 1237645 h 1902921"/>
                <a:gd name="connsiteX2001" fmla="*/ 189627 w 1334724"/>
                <a:gd name="connsiteY2001" fmla="*/ 1240503 h 1902921"/>
                <a:gd name="connsiteX2002" fmla="*/ 189435 w 1334724"/>
                <a:gd name="connsiteY2002" fmla="*/ 1240547 h 1902921"/>
                <a:gd name="connsiteX2003" fmla="*/ 182898 w 1334724"/>
                <a:gd name="connsiteY2003" fmla="*/ 1242948 h 1902921"/>
                <a:gd name="connsiteX2004" fmla="*/ 181172 w 1334724"/>
                <a:gd name="connsiteY2004" fmla="*/ 1242682 h 1902921"/>
                <a:gd name="connsiteX2005" fmla="*/ 180449 w 1334724"/>
                <a:gd name="connsiteY2005" fmla="*/ 1241087 h 1902921"/>
                <a:gd name="connsiteX2006" fmla="*/ 180762 w 1334724"/>
                <a:gd name="connsiteY2006" fmla="*/ 1237326 h 1902921"/>
                <a:gd name="connsiteX2007" fmla="*/ 177330 w 1334724"/>
                <a:gd name="connsiteY2007" fmla="*/ 1239183 h 1902921"/>
                <a:gd name="connsiteX2008" fmla="*/ 171497 w 1334724"/>
                <a:gd name="connsiteY2008" fmla="*/ 1243849 h 1902921"/>
                <a:gd name="connsiteX2009" fmla="*/ 169149 w 1334724"/>
                <a:gd name="connsiteY2009" fmla="*/ 1243772 h 1902921"/>
                <a:gd name="connsiteX2010" fmla="*/ 162019 w 1334724"/>
                <a:gd name="connsiteY2010" fmla="*/ 1237230 h 1902921"/>
                <a:gd name="connsiteX2011" fmla="*/ 161643 w 1334724"/>
                <a:gd name="connsiteY2011" fmla="*/ 1236801 h 1902921"/>
                <a:gd name="connsiteX2012" fmla="*/ 158071 w 1334724"/>
                <a:gd name="connsiteY2012" fmla="*/ 1230674 h 1902921"/>
                <a:gd name="connsiteX2013" fmla="*/ 136609 w 1334724"/>
                <a:gd name="connsiteY2013" fmla="*/ 1240653 h 1902921"/>
                <a:gd name="connsiteX2014" fmla="*/ 139550 w 1334724"/>
                <a:gd name="connsiteY2014" fmla="*/ 1245281 h 1902921"/>
                <a:gd name="connsiteX2015" fmla="*/ 145533 w 1334724"/>
                <a:gd name="connsiteY2015" fmla="*/ 1249084 h 1902921"/>
                <a:gd name="connsiteX2016" fmla="*/ 151250 w 1334724"/>
                <a:gd name="connsiteY2016" fmla="*/ 1250800 h 1902921"/>
                <a:gd name="connsiteX2017" fmla="*/ 152547 w 1334724"/>
                <a:gd name="connsiteY2017" fmla="*/ 1252555 h 1902921"/>
                <a:gd name="connsiteX2018" fmla="*/ 151250 w 1334724"/>
                <a:gd name="connsiteY2018" fmla="*/ 1254266 h 1902921"/>
                <a:gd name="connsiteX2019" fmla="*/ 145306 w 1334724"/>
                <a:gd name="connsiteY2019" fmla="*/ 1256074 h 1902921"/>
                <a:gd name="connsiteX2020" fmla="*/ 145104 w 1334724"/>
                <a:gd name="connsiteY2020" fmla="*/ 1256132 h 1902921"/>
                <a:gd name="connsiteX2021" fmla="*/ 139897 w 1334724"/>
                <a:gd name="connsiteY2021" fmla="*/ 1257062 h 1902921"/>
                <a:gd name="connsiteX2022" fmla="*/ 139468 w 1334724"/>
                <a:gd name="connsiteY2022" fmla="*/ 1261377 h 1902921"/>
                <a:gd name="connsiteX2023" fmla="*/ 140259 w 1334724"/>
                <a:gd name="connsiteY2023" fmla="*/ 1265316 h 1902921"/>
                <a:gd name="connsiteX2024" fmla="*/ 178945 w 1334724"/>
                <a:gd name="connsiteY2024" fmla="*/ 1256711 h 1902921"/>
                <a:gd name="connsiteX2025" fmla="*/ 181051 w 1334724"/>
                <a:gd name="connsiteY2025" fmla="*/ 1258017 h 1902921"/>
                <a:gd name="connsiteX2026" fmla="*/ 179890 w 1334724"/>
                <a:gd name="connsiteY2026" fmla="*/ 1260206 h 1902921"/>
                <a:gd name="connsiteX2027" fmla="*/ 172861 w 1334724"/>
                <a:gd name="connsiteY2027" fmla="*/ 1262553 h 1902921"/>
                <a:gd name="connsiteX2028" fmla="*/ 166927 w 1334724"/>
                <a:gd name="connsiteY2028" fmla="*/ 1265812 h 1902921"/>
                <a:gd name="connsiteX2029" fmla="*/ 164623 w 1334724"/>
                <a:gd name="connsiteY2029" fmla="*/ 1269592 h 1902921"/>
                <a:gd name="connsiteX2030" fmla="*/ 168629 w 1334724"/>
                <a:gd name="connsiteY2030" fmla="*/ 1271385 h 1902921"/>
                <a:gd name="connsiteX2031" fmla="*/ 173854 w 1334724"/>
                <a:gd name="connsiteY2031" fmla="*/ 1269293 h 1902921"/>
                <a:gd name="connsiteX2032" fmla="*/ 173907 w 1334724"/>
                <a:gd name="connsiteY2032" fmla="*/ 1269293 h 1902921"/>
                <a:gd name="connsiteX2033" fmla="*/ 180391 w 1334724"/>
                <a:gd name="connsiteY2033" fmla="*/ 1266940 h 1902921"/>
                <a:gd name="connsiteX2034" fmla="*/ 186846 w 1334724"/>
                <a:gd name="connsiteY2034" fmla="*/ 1263985 h 1902921"/>
                <a:gd name="connsiteX2035" fmla="*/ 186995 w 1334724"/>
                <a:gd name="connsiteY2035" fmla="*/ 1263927 h 1902921"/>
                <a:gd name="connsiteX2036" fmla="*/ 193547 w 1334724"/>
                <a:gd name="connsiteY2036" fmla="*/ 1261546 h 1902921"/>
                <a:gd name="connsiteX2037" fmla="*/ 193821 w 1334724"/>
                <a:gd name="connsiteY2037" fmla="*/ 1261464 h 1902921"/>
                <a:gd name="connsiteX2038" fmla="*/ 199780 w 1334724"/>
                <a:gd name="connsiteY2038" fmla="*/ 1260288 h 1902921"/>
                <a:gd name="connsiteX2039" fmla="*/ 201274 w 1334724"/>
                <a:gd name="connsiteY2039" fmla="*/ 1260668 h 1902921"/>
                <a:gd name="connsiteX2040" fmla="*/ 207830 w 1334724"/>
                <a:gd name="connsiteY2040" fmla="*/ 1266010 h 1902921"/>
                <a:gd name="connsiteX2041" fmla="*/ 208356 w 1334724"/>
                <a:gd name="connsiteY2041" fmla="*/ 1266752 h 1902921"/>
                <a:gd name="connsiteX2042" fmla="*/ 210718 w 1334724"/>
                <a:gd name="connsiteY2042" fmla="*/ 1272677 h 1902921"/>
                <a:gd name="connsiteX2043" fmla="*/ 210077 w 1334724"/>
                <a:gd name="connsiteY2043" fmla="*/ 1274870 h 1902921"/>
                <a:gd name="connsiteX2044" fmla="*/ 207826 w 1334724"/>
                <a:gd name="connsiteY2044" fmla="*/ 1274730 h 1902921"/>
                <a:gd name="connsiteX2045" fmla="*/ 201954 w 1334724"/>
                <a:gd name="connsiteY2045" fmla="*/ 1269370 h 1902921"/>
                <a:gd name="connsiteX2046" fmla="*/ 196285 w 1334724"/>
                <a:gd name="connsiteY2046" fmla="*/ 1270416 h 1902921"/>
                <a:gd name="connsiteX2047" fmla="*/ 195760 w 1334724"/>
                <a:gd name="connsiteY2047" fmla="*/ 1270416 h 1902921"/>
                <a:gd name="connsiteX2048" fmla="*/ 190134 w 1334724"/>
                <a:gd name="connsiteY2048" fmla="*/ 1269857 h 1902921"/>
                <a:gd name="connsiteX2049" fmla="*/ 183515 w 1334724"/>
                <a:gd name="connsiteY2049" fmla="*/ 1271515 h 1902921"/>
                <a:gd name="connsiteX2050" fmla="*/ 177190 w 1334724"/>
                <a:gd name="connsiteY2050" fmla="*/ 1274981 h 1902921"/>
                <a:gd name="connsiteX2051" fmla="*/ 177128 w 1334724"/>
                <a:gd name="connsiteY2051" fmla="*/ 1274995 h 1902921"/>
                <a:gd name="connsiteX2052" fmla="*/ 172524 w 1334724"/>
                <a:gd name="connsiteY2052" fmla="*/ 1277309 h 1902921"/>
                <a:gd name="connsiteX2053" fmla="*/ 173883 w 1334724"/>
                <a:gd name="connsiteY2053" fmla="*/ 1281788 h 1902921"/>
                <a:gd name="connsiteX2054" fmla="*/ 173367 w 1334724"/>
                <a:gd name="connsiteY2054" fmla="*/ 1283625 h 1902921"/>
                <a:gd name="connsiteX2055" fmla="*/ 171482 w 1334724"/>
                <a:gd name="connsiteY2055" fmla="*/ 1283986 h 1902921"/>
                <a:gd name="connsiteX2056" fmla="*/ 167211 w 1334724"/>
                <a:gd name="connsiteY2056" fmla="*/ 1282280 h 1902921"/>
                <a:gd name="connsiteX2057" fmla="*/ 166021 w 1334724"/>
                <a:gd name="connsiteY2057" fmla="*/ 1285235 h 1902921"/>
                <a:gd name="connsiteX2058" fmla="*/ 170740 w 1334724"/>
                <a:gd name="connsiteY2058" fmla="*/ 1288648 h 1902921"/>
                <a:gd name="connsiteX2059" fmla="*/ 177012 w 1334724"/>
                <a:gd name="connsiteY2059" fmla="*/ 1287096 h 1902921"/>
                <a:gd name="connsiteX2060" fmla="*/ 182917 w 1334724"/>
                <a:gd name="connsiteY2060" fmla="*/ 1285321 h 1902921"/>
                <a:gd name="connsiteX2061" fmla="*/ 185000 w 1334724"/>
                <a:gd name="connsiteY2061" fmla="*/ 1286117 h 1902921"/>
                <a:gd name="connsiteX2062" fmla="*/ 184720 w 1334724"/>
                <a:gd name="connsiteY2062" fmla="*/ 1288325 h 1902921"/>
                <a:gd name="connsiteX2063" fmla="*/ 182343 w 1334724"/>
                <a:gd name="connsiteY2063" fmla="*/ 1290735 h 1902921"/>
                <a:gd name="connsiteX2064" fmla="*/ 181803 w 1334724"/>
                <a:gd name="connsiteY2064" fmla="*/ 1291087 h 1902921"/>
                <a:gd name="connsiteX2065" fmla="*/ 175276 w 1334724"/>
                <a:gd name="connsiteY2065" fmla="*/ 1294057 h 1902921"/>
                <a:gd name="connsiteX2066" fmla="*/ 174659 w 1334724"/>
                <a:gd name="connsiteY2066" fmla="*/ 1294235 h 1902921"/>
                <a:gd name="connsiteX2067" fmla="*/ 167525 w 1334724"/>
                <a:gd name="connsiteY2067" fmla="*/ 1294828 h 1902921"/>
                <a:gd name="connsiteX2068" fmla="*/ 166237 w 1334724"/>
                <a:gd name="connsiteY2068" fmla="*/ 1294418 h 1902921"/>
                <a:gd name="connsiteX2069" fmla="*/ 160289 w 1334724"/>
                <a:gd name="connsiteY2069" fmla="*/ 1289660 h 1902921"/>
                <a:gd name="connsiteX2070" fmla="*/ 160202 w 1334724"/>
                <a:gd name="connsiteY2070" fmla="*/ 1289612 h 1902921"/>
                <a:gd name="connsiteX2071" fmla="*/ 154639 w 1334724"/>
                <a:gd name="connsiteY2071" fmla="*/ 1284570 h 1902921"/>
                <a:gd name="connsiteX2072" fmla="*/ 150208 w 1334724"/>
                <a:gd name="connsiteY2072" fmla="*/ 1283784 h 1902921"/>
                <a:gd name="connsiteX2073" fmla="*/ 148902 w 1334724"/>
                <a:gd name="connsiteY2073" fmla="*/ 1288180 h 1902921"/>
                <a:gd name="connsiteX2074" fmla="*/ 147359 w 1334724"/>
                <a:gd name="connsiteY2074" fmla="*/ 1289472 h 1902921"/>
                <a:gd name="connsiteX2075" fmla="*/ 145605 w 1334724"/>
                <a:gd name="connsiteY2075" fmla="*/ 1288600 h 1902921"/>
                <a:gd name="connsiteX2076" fmla="*/ 142226 w 1334724"/>
                <a:gd name="connsiteY2076" fmla="*/ 1282993 h 1902921"/>
                <a:gd name="connsiteX2077" fmla="*/ 137202 w 1334724"/>
                <a:gd name="connsiteY2077" fmla="*/ 1279648 h 1902921"/>
                <a:gd name="connsiteX2078" fmla="*/ 115644 w 1334724"/>
                <a:gd name="connsiteY2078" fmla="*/ 1281735 h 1902921"/>
                <a:gd name="connsiteX2079" fmla="*/ 115644 w 1334724"/>
                <a:gd name="connsiteY2079" fmla="*/ 1287674 h 1902921"/>
                <a:gd name="connsiteX2080" fmla="*/ 114222 w 1334724"/>
                <a:gd name="connsiteY2080" fmla="*/ 1289424 h 1902921"/>
                <a:gd name="connsiteX2081" fmla="*/ 112173 w 1334724"/>
                <a:gd name="connsiteY2081" fmla="*/ 1288412 h 1902921"/>
                <a:gd name="connsiteX2082" fmla="*/ 109681 w 1334724"/>
                <a:gd name="connsiteY2082" fmla="*/ 1282906 h 1902921"/>
                <a:gd name="connsiteX2083" fmla="*/ 98738 w 1334724"/>
                <a:gd name="connsiteY2083" fmla="*/ 1282906 h 1902921"/>
                <a:gd name="connsiteX2084" fmla="*/ 93734 w 1334724"/>
                <a:gd name="connsiteY2084" fmla="*/ 1285206 h 1902921"/>
                <a:gd name="connsiteX2085" fmla="*/ 94076 w 1334724"/>
                <a:gd name="connsiteY2085" fmla="*/ 1288604 h 1902921"/>
                <a:gd name="connsiteX2086" fmla="*/ 99119 w 1334724"/>
                <a:gd name="connsiteY2086" fmla="*/ 1289998 h 1902921"/>
                <a:gd name="connsiteX2087" fmla="*/ 107145 w 1334724"/>
                <a:gd name="connsiteY2087" fmla="*/ 1289424 h 1902921"/>
                <a:gd name="connsiteX2088" fmla="*/ 108211 w 1334724"/>
                <a:gd name="connsiteY2088" fmla="*/ 1289665 h 1902921"/>
                <a:gd name="connsiteX2089" fmla="*/ 114135 w 1334724"/>
                <a:gd name="connsiteY2089" fmla="*/ 1293256 h 1902921"/>
                <a:gd name="connsiteX2090" fmla="*/ 115003 w 1334724"/>
                <a:gd name="connsiteY2090" fmla="*/ 1295223 h 1902921"/>
                <a:gd name="connsiteX2091" fmla="*/ 113393 w 1334724"/>
                <a:gd name="connsiteY2091" fmla="*/ 1296612 h 1902921"/>
                <a:gd name="connsiteX2092" fmla="*/ 96882 w 1334724"/>
                <a:gd name="connsiteY2092" fmla="*/ 1300420 h 1902921"/>
                <a:gd name="connsiteX2093" fmla="*/ 101722 w 1334724"/>
                <a:gd name="connsiteY2093" fmla="*/ 1303042 h 1902921"/>
                <a:gd name="connsiteX2094" fmla="*/ 107367 w 1334724"/>
                <a:gd name="connsiteY2094" fmla="*/ 1302546 h 1902921"/>
                <a:gd name="connsiteX2095" fmla="*/ 113017 w 1334724"/>
                <a:gd name="connsiteY2095" fmla="*/ 1299706 h 1902921"/>
                <a:gd name="connsiteX2096" fmla="*/ 113504 w 1334724"/>
                <a:gd name="connsiteY2096" fmla="*/ 1299533 h 1902921"/>
                <a:gd name="connsiteX2097" fmla="*/ 120031 w 1334724"/>
                <a:gd name="connsiteY2097" fmla="*/ 1298352 h 1902921"/>
                <a:gd name="connsiteX2098" fmla="*/ 121034 w 1334724"/>
                <a:gd name="connsiteY2098" fmla="*/ 1298468 h 1902921"/>
                <a:gd name="connsiteX2099" fmla="*/ 127011 w 1334724"/>
                <a:gd name="connsiteY2099" fmla="*/ 1300844 h 1902921"/>
                <a:gd name="connsiteX2100" fmla="*/ 127465 w 1334724"/>
                <a:gd name="connsiteY2100" fmla="*/ 1301119 h 1902921"/>
                <a:gd name="connsiteX2101" fmla="*/ 133408 w 1334724"/>
                <a:gd name="connsiteY2101" fmla="*/ 1305882 h 1902921"/>
                <a:gd name="connsiteX2102" fmla="*/ 133924 w 1334724"/>
                <a:gd name="connsiteY2102" fmla="*/ 1306537 h 1902921"/>
                <a:gd name="connsiteX2103" fmla="*/ 136904 w 1334724"/>
                <a:gd name="connsiteY2103" fmla="*/ 1313103 h 1902921"/>
                <a:gd name="connsiteX2104" fmla="*/ 137029 w 1334724"/>
                <a:gd name="connsiteY2104" fmla="*/ 1314164 h 1902921"/>
                <a:gd name="connsiteX2105" fmla="*/ 136074 w 1334724"/>
                <a:gd name="connsiteY2105" fmla="*/ 1319375 h 1902921"/>
                <a:gd name="connsiteX2106" fmla="*/ 140818 w 1334724"/>
                <a:gd name="connsiteY2106" fmla="*/ 1321713 h 1902921"/>
                <a:gd name="connsiteX2107" fmla="*/ 141290 w 1334724"/>
                <a:gd name="connsiteY2107" fmla="*/ 1322075 h 1902921"/>
                <a:gd name="connsiteX2108" fmla="*/ 142712 w 1334724"/>
                <a:gd name="connsiteY2108" fmla="*/ 1323492 h 1902921"/>
                <a:gd name="connsiteX2109" fmla="*/ 149052 w 1334724"/>
                <a:gd name="connsiteY2109" fmla="*/ 1325102 h 1902921"/>
                <a:gd name="connsiteX2110" fmla="*/ 155295 w 1334724"/>
                <a:gd name="connsiteY2110" fmla="*/ 1324528 h 1902921"/>
                <a:gd name="connsiteX2111" fmla="*/ 156437 w 1334724"/>
                <a:gd name="connsiteY2111" fmla="*/ 1324813 h 1902921"/>
                <a:gd name="connsiteX2112" fmla="*/ 162815 w 1334724"/>
                <a:gd name="connsiteY2112" fmla="*/ 1328857 h 1902921"/>
                <a:gd name="connsiteX2113" fmla="*/ 162887 w 1334724"/>
                <a:gd name="connsiteY2113" fmla="*/ 1328915 h 1902921"/>
                <a:gd name="connsiteX2114" fmla="*/ 162887 w 1334724"/>
                <a:gd name="connsiteY2114" fmla="*/ 1328915 h 1902921"/>
                <a:gd name="connsiteX2115" fmla="*/ 163012 w 1334724"/>
                <a:gd name="connsiteY2115" fmla="*/ 1328992 h 1902921"/>
                <a:gd name="connsiteX2116" fmla="*/ 163596 w 1334724"/>
                <a:gd name="connsiteY2116" fmla="*/ 1331427 h 1902921"/>
                <a:gd name="connsiteX2117" fmla="*/ 161137 w 1334724"/>
                <a:gd name="connsiteY2117" fmla="*/ 1332102 h 1902921"/>
                <a:gd name="connsiteX2118" fmla="*/ 161036 w 1334724"/>
                <a:gd name="connsiteY2118" fmla="*/ 1332029 h 1902921"/>
                <a:gd name="connsiteX2119" fmla="*/ 161036 w 1334724"/>
                <a:gd name="connsiteY2119" fmla="*/ 1332029 h 1902921"/>
                <a:gd name="connsiteX2120" fmla="*/ 155367 w 1334724"/>
                <a:gd name="connsiteY2120" fmla="*/ 1328935 h 1902921"/>
                <a:gd name="connsiteX2121" fmla="*/ 150204 w 1334724"/>
                <a:gd name="connsiteY2121" fmla="*/ 1330983 h 1902921"/>
                <a:gd name="connsiteX2122" fmla="*/ 148999 w 1334724"/>
                <a:gd name="connsiteY2122" fmla="*/ 1331065 h 1902921"/>
                <a:gd name="connsiteX2123" fmla="*/ 144149 w 1334724"/>
                <a:gd name="connsiteY2123" fmla="*/ 1329585 h 1902921"/>
                <a:gd name="connsiteX2124" fmla="*/ 140032 w 1334724"/>
                <a:gd name="connsiteY2124" fmla="*/ 1334151 h 1902921"/>
                <a:gd name="connsiteX2125" fmla="*/ 140032 w 1334724"/>
                <a:gd name="connsiteY2125" fmla="*/ 1340012 h 1902921"/>
                <a:gd name="connsiteX2126" fmla="*/ 139796 w 1334724"/>
                <a:gd name="connsiteY2126" fmla="*/ 1340875 h 1902921"/>
                <a:gd name="connsiteX2127" fmla="*/ 136971 w 1334724"/>
                <a:gd name="connsiteY2127" fmla="*/ 1346101 h 1902921"/>
                <a:gd name="connsiteX2128" fmla="*/ 140934 w 1334724"/>
                <a:gd name="connsiteY2128" fmla="*/ 1349244 h 1902921"/>
                <a:gd name="connsiteX2129" fmla="*/ 146516 w 1334724"/>
                <a:gd name="connsiteY2129" fmla="*/ 1347248 h 1902921"/>
                <a:gd name="connsiteX2130" fmla="*/ 148786 w 1334724"/>
                <a:gd name="connsiteY2130" fmla="*/ 1348155 h 1902921"/>
                <a:gd name="connsiteX2131" fmla="*/ 148049 w 1334724"/>
                <a:gd name="connsiteY2131" fmla="*/ 1350502 h 1902921"/>
                <a:gd name="connsiteX2132" fmla="*/ 142119 w 1334724"/>
                <a:gd name="connsiteY2132" fmla="*/ 1354060 h 1902921"/>
                <a:gd name="connsiteX2133" fmla="*/ 141044 w 1334724"/>
                <a:gd name="connsiteY2133" fmla="*/ 1354311 h 1902921"/>
                <a:gd name="connsiteX2134" fmla="*/ 133905 w 1334724"/>
                <a:gd name="connsiteY2134" fmla="*/ 1353747 h 1902921"/>
                <a:gd name="connsiteX2135" fmla="*/ 132304 w 1334724"/>
                <a:gd name="connsiteY2135" fmla="*/ 1352392 h 1902921"/>
                <a:gd name="connsiteX2136" fmla="*/ 130521 w 1334724"/>
                <a:gd name="connsiteY2136" fmla="*/ 1345860 h 1902921"/>
                <a:gd name="connsiteX2137" fmla="*/ 130810 w 1334724"/>
                <a:gd name="connsiteY2137" fmla="*/ 1344303 h 1902921"/>
                <a:gd name="connsiteX2138" fmla="*/ 135168 w 1334724"/>
                <a:gd name="connsiteY2138" fmla="*/ 1338316 h 1902921"/>
                <a:gd name="connsiteX2139" fmla="*/ 134604 w 1334724"/>
                <a:gd name="connsiteY2139" fmla="*/ 1331861 h 1902921"/>
                <a:gd name="connsiteX2140" fmla="*/ 134074 w 1334724"/>
                <a:gd name="connsiteY2140" fmla="*/ 1326326 h 1902921"/>
                <a:gd name="connsiteX2141" fmla="*/ 130135 w 1334724"/>
                <a:gd name="connsiteY2141" fmla="*/ 1320151 h 1902921"/>
                <a:gd name="connsiteX2142" fmla="*/ 129899 w 1334724"/>
                <a:gd name="connsiteY2142" fmla="*/ 1319548 h 1902921"/>
                <a:gd name="connsiteX2143" fmla="*/ 128718 w 1334724"/>
                <a:gd name="connsiteY2143" fmla="*/ 1313643 h 1902921"/>
                <a:gd name="connsiteX2144" fmla="*/ 127209 w 1334724"/>
                <a:gd name="connsiteY2144" fmla="*/ 1308167 h 1902921"/>
                <a:gd name="connsiteX2145" fmla="*/ 121964 w 1334724"/>
                <a:gd name="connsiteY2145" fmla="*/ 1306754 h 1902921"/>
                <a:gd name="connsiteX2146" fmla="*/ 115538 w 1334724"/>
                <a:gd name="connsiteY2146" fmla="*/ 1307251 h 1902921"/>
                <a:gd name="connsiteX2147" fmla="*/ 112703 w 1334724"/>
                <a:gd name="connsiteY2147" fmla="*/ 1312419 h 1902921"/>
                <a:gd name="connsiteX2148" fmla="*/ 113243 w 1334724"/>
                <a:gd name="connsiteY2148" fmla="*/ 1317832 h 1902921"/>
                <a:gd name="connsiteX2149" fmla="*/ 111860 w 1334724"/>
                <a:gd name="connsiteY2149" fmla="*/ 1319770 h 1902921"/>
                <a:gd name="connsiteX2150" fmla="*/ 109758 w 1334724"/>
                <a:gd name="connsiteY2150" fmla="*/ 1318681 h 1902921"/>
                <a:gd name="connsiteX2151" fmla="*/ 107685 w 1334724"/>
                <a:gd name="connsiteY2151" fmla="*/ 1313571 h 1902921"/>
                <a:gd name="connsiteX2152" fmla="*/ 103804 w 1334724"/>
                <a:gd name="connsiteY2152" fmla="*/ 1312496 h 1902921"/>
                <a:gd name="connsiteX2153" fmla="*/ 102599 w 1334724"/>
                <a:gd name="connsiteY2153" fmla="*/ 1317394 h 1902921"/>
                <a:gd name="connsiteX2154" fmla="*/ 104229 w 1334724"/>
                <a:gd name="connsiteY2154" fmla="*/ 1323304 h 1902921"/>
                <a:gd name="connsiteX2155" fmla="*/ 107680 w 1334724"/>
                <a:gd name="connsiteY2155" fmla="*/ 1330270 h 1902921"/>
                <a:gd name="connsiteX2156" fmla="*/ 107907 w 1334724"/>
                <a:gd name="connsiteY2156" fmla="*/ 1331099 h 1902921"/>
                <a:gd name="connsiteX2157" fmla="*/ 107907 w 1334724"/>
                <a:gd name="connsiteY2157" fmla="*/ 1332478 h 1902921"/>
                <a:gd name="connsiteX2158" fmla="*/ 110105 w 1334724"/>
                <a:gd name="connsiteY2158" fmla="*/ 1337491 h 1902921"/>
                <a:gd name="connsiteX2159" fmla="*/ 110245 w 1334724"/>
                <a:gd name="connsiteY2159" fmla="*/ 1338373 h 1902921"/>
                <a:gd name="connsiteX2160" fmla="*/ 109666 w 1334724"/>
                <a:gd name="connsiteY2160" fmla="*/ 1345542 h 1902921"/>
                <a:gd name="connsiteX2161" fmla="*/ 107945 w 1334724"/>
                <a:gd name="connsiteY2161" fmla="*/ 1347210 h 1902921"/>
                <a:gd name="connsiteX2162" fmla="*/ 106070 w 1334724"/>
                <a:gd name="connsiteY2162" fmla="*/ 1345706 h 1902921"/>
                <a:gd name="connsiteX2163" fmla="*/ 94679 w 1334724"/>
                <a:gd name="connsiteY2163" fmla="*/ 1314742 h 1902921"/>
                <a:gd name="connsiteX2164" fmla="*/ 90196 w 1334724"/>
                <a:gd name="connsiteY2164" fmla="*/ 1315543 h 1902921"/>
                <a:gd name="connsiteX2165" fmla="*/ 84016 w 1334724"/>
                <a:gd name="connsiteY2165" fmla="*/ 1320590 h 1902921"/>
                <a:gd name="connsiteX2166" fmla="*/ 83842 w 1334724"/>
                <a:gd name="connsiteY2166" fmla="*/ 1320725 h 1902921"/>
                <a:gd name="connsiteX2167" fmla="*/ 77855 w 1334724"/>
                <a:gd name="connsiteY2167" fmla="*/ 1324548 h 1902921"/>
                <a:gd name="connsiteX2168" fmla="*/ 75979 w 1334724"/>
                <a:gd name="connsiteY2168" fmla="*/ 1330144 h 1902921"/>
                <a:gd name="connsiteX2169" fmla="*/ 80106 w 1334724"/>
                <a:gd name="connsiteY2169" fmla="*/ 1335307 h 1902921"/>
                <a:gd name="connsiteX2170" fmla="*/ 80347 w 1334724"/>
                <a:gd name="connsiteY2170" fmla="*/ 1337245 h 1902921"/>
                <a:gd name="connsiteX2171" fmla="*/ 78713 w 1334724"/>
                <a:gd name="connsiteY2171" fmla="*/ 1338282 h 1902921"/>
                <a:gd name="connsiteX2172" fmla="*/ 75941 w 1334724"/>
                <a:gd name="connsiteY2172" fmla="*/ 1338282 h 1902921"/>
                <a:gd name="connsiteX2173" fmla="*/ 78269 w 1334724"/>
                <a:gd name="connsiteY2173" fmla="*/ 1341184 h 1902921"/>
                <a:gd name="connsiteX2174" fmla="*/ 84560 w 1334724"/>
                <a:gd name="connsiteY2174" fmla="*/ 1347470 h 1902921"/>
                <a:gd name="connsiteX2175" fmla="*/ 90875 w 1334724"/>
                <a:gd name="connsiteY2175" fmla="*/ 1350917 h 1902921"/>
                <a:gd name="connsiteX2176" fmla="*/ 91700 w 1334724"/>
                <a:gd name="connsiteY2176" fmla="*/ 1353187 h 1902921"/>
                <a:gd name="connsiteX2177" fmla="*/ 89516 w 1334724"/>
                <a:gd name="connsiteY2177" fmla="*/ 1354253 h 1902921"/>
                <a:gd name="connsiteX2178" fmla="*/ 82993 w 1334724"/>
                <a:gd name="connsiteY2178" fmla="*/ 1352484 h 1902921"/>
                <a:gd name="connsiteX2179" fmla="*/ 82950 w 1334724"/>
                <a:gd name="connsiteY2179" fmla="*/ 1352484 h 1902921"/>
                <a:gd name="connsiteX2180" fmla="*/ 77088 w 1334724"/>
                <a:gd name="connsiteY2180" fmla="*/ 1350714 h 1902921"/>
                <a:gd name="connsiteX2181" fmla="*/ 71872 w 1334724"/>
                <a:gd name="connsiteY2181" fmla="*/ 1349789 h 1902921"/>
                <a:gd name="connsiteX2182" fmla="*/ 68955 w 1334724"/>
                <a:gd name="connsiteY2182" fmla="*/ 1354653 h 1902921"/>
                <a:gd name="connsiteX2183" fmla="*/ 68743 w 1334724"/>
                <a:gd name="connsiteY2183" fmla="*/ 1354952 h 1902921"/>
                <a:gd name="connsiteX2184" fmla="*/ 62790 w 1334724"/>
                <a:gd name="connsiteY2184" fmla="*/ 1361489 h 1902921"/>
                <a:gd name="connsiteX2185" fmla="*/ 60341 w 1334724"/>
                <a:gd name="connsiteY2185" fmla="*/ 1361696 h 1902921"/>
                <a:gd name="connsiteX2186" fmla="*/ 59907 w 1334724"/>
                <a:gd name="connsiteY2186" fmla="*/ 1359291 h 1902921"/>
                <a:gd name="connsiteX2187" fmla="*/ 64029 w 1334724"/>
                <a:gd name="connsiteY2187" fmla="*/ 1352840 h 1902921"/>
                <a:gd name="connsiteX2188" fmla="*/ 66796 w 1334724"/>
                <a:gd name="connsiteY2188" fmla="*/ 1346713 h 1902921"/>
                <a:gd name="connsiteX2189" fmla="*/ 67321 w 1334724"/>
                <a:gd name="connsiteY2189" fmla="*/ 1340451 h 1902921"/>
                <a:gd name="connsiteX2190" fmla="*/ 64945 w 1334724"/>
                <a:gd name="connsiteY2190" fmla="*/ 1336517 h 1902921"/>
                <a:gd name="connsiteX2191" fmla="*/ 59936 w 1334724"/>
                <a:gd name="connsiteY2191" fmla="*/ 1339212 h 1902921"/>
                <a:gd name="connsiteX2192" fmla="*/ 59247 w 1334724"/>
                <a:gd name="connsiteY2192" fmla="*/ 1339434 h 1902921"/>
                <a:gd name="connsiteX2193" fmla="*/ 54628 w 1334724"/>
                <a:gd name="connsiteY2193" fmla="*/ 1339902 h 1902921"/>
                <a:gd name="connsiteX2194" fmla="*/ 53688 w 1334724"/>
                <a:gd name="connsiteY2194" fmla="*/ 1344549 h 1902921"/>
                <a:gd name="connsiteX2195" fmla="*/ 52131 w 1334724"/>
                <a:gd name="connsiteY2195" fmla="*/ 1346014 h 1902921"/>
                <a:gd name="connsiteX2196" fmla="*/ 50261 w 1334724"/>
                <a:gd name="connsiteY2196" fmla="*/ 1344939 h 1902921"/>
                <a:gd name="connsiteX2197" fmla="*/ 47595 w 1334724"/>
                <a:gd name="connsiteY2197" fmla="*/ 1339068 h 1902921"/>
                <a:gd name="connsiteX2198" fmla="*/ 43112 w 1334724"/>
                <a:gd name="connsiteY2198" fmla="*/ 1337279 h 1902921"/>
                <a:gd name="connsiteX2199" fmla="*/ 38276 w 1334724"/>
                <a:gd name="connsiteY2199" fmla="*/ 1339902 h 1902921"/>
                <a:gd name="connsiteX2200" fmla="*/ 38276 w 1334724"/>
                <a:gd name="connsiteY2200" fmla="*/ 1343985 h 1902921"/>
                <a:gd name="connsiteX2201" fmla="*/ 43473 w 1334724"/>
                <a:gd name="connsiteY2201" fmla="*/ 1345402 h 1902921"/>
                <a:gd name="connsiteX2202" fmla="*/ 44129 w 1334724"/>
                <a:gd name="connsiteY2202" fmla="*/ 1345730 h 1902921"/>
                <a:gd name="connsiteX2203" fmla="*/ 50097 w 1334724"/>
                <a:gd name="connsiteY2203" fmla="*/ 1350512 h 1902921"/>
                <a:gd name="connsiteX2204" fmla="*/ 50709 w 1334724"/>
                <a:gd name="connsiteY2204" fmla="*/ 1352349 h 1902921"/>
                <a:gd name="connsiteX2205" fmla="*/ 49287 w 1334724"/>
                <a:gd name="connsiteY2205" fmla="*/ 1353723 h 1902921"/>
                <a:gd name="connsiteX2206" fmla="*/ 43999 w 1334724"/>
                <a:gd name="connsiteY2206" fmla="*/ 1354783 h 1902921"/>
                <a:gd name="connsiteX2207" fmla="*/ 39646 w 1334724"/>
                <a:gd name="connsiteY2207" fmla="*/ 1360202 h 1902921"/>
                <a:gd name="connsiteX2208" fmla="*/ 37385 w 1334724"/>
                <a:gd name="connsiteY2208" fmla="*/ 1360674 h 1902921"/>
                <a:gd name="connsiteX2209" fmla="*/ 36531 w 1334724"/>
                <a:gd name="connsiteY2209" fmla="*/ 1359623 h 1902921"/>
                <a:gd name="connsiteX2210" fmla="*/ 36445 w 1334724"/>
                <a:gd name="connsiteY2210" fmla="*/ 1359681 h 1902921"/>
                <a:gd name="connsiteX2211" fmla="*/ 31296 w 1334724"/>
                <a:gd name="connsiteY2211" fmla="*/ 1359681 h 1902921"/>
                <a:gd name="connsiteX2212" fmla="*/ 26499 w 1334724"/>
                <a:gd name="connsiteY2212" fmla="*/ 1365042 h 1902921"/>
                <a:gd name="connsiteX2213" fmla="*/ 24388 w 1334724"/>
                <a:gd name="connsiteY2213" fmla="*/ 1365475 h 1902921"/>
                <a:gd name="connsiteX2214" fmla="*/ 19963 w 1334724"/>
                <a:gd name="connsiteY2214" fmla="*/ 1363475 h 1902921"/>
                <a:gd name="connsiteX2215" fmla="*/ 19307 w 1334724"/>
                <a:gd name="connsiteY2215" fmla="*/ 1367172 h 1902921"/>
                <a:gd name="connsiteX2216" fmla="*/ 20951 w 1334724"/>
                <a:gd name="connsiteY2216" fmla="*/ 1370918 h 1902921"/>
                <a:gd name="connsiteX2217" fmla="*/ 25931 w 1334724"/>
                <a:gd name="connsiteY2217" fmla="*/ 1370918 h 1902921"/>
                <a:gd name="connsiteX2218" fmla="*/ 32101 w 1334724"/>
                <a:gd name="connsiteY2218" fmla="*/ 1368136 h 1902921"/>
                <a:gd name="connsiteX2219" fmla="*/ 33142 w 1334724"/>
                <a:gd name="connsiteY2219" fmla="*/ 1367987 h 1902921"/>
                <a:gd name="connsiteX2220" fmla="*/ 40894 w 1334724"/>
                <a:gd name="connsiteY2220" fmla="*/ 1369168 h 1902921"/>
                <a:gd name="connsiteX2221" fmla="*/ 41111 w 1334724"/>
                <a:gd name="connsiteY2221" fmla="*/ 1369221 h 1902921"/>
                <a:gd name="connsiteX2222" fmla="*/ 67138 w 1334724"/>
                <a:gd name="connsiteY2222" fmla="*/ 1373362 h 1902921"/>
                <a:gd name="connsiteX2223" fmla="*/ 68623 w 1334724"/>
                <a:gd name="connsiteY2223" fmla="*/ 1375208 h 1902921"/>
                <a:gd name="connsiteX2224" fmla="*/ 67075 w 1334724"/>
                <a:gd name="connsiteY2224" fmla="*/ 1376891 h 1902921"/>
                <a:gd name="connsiteX2225" fmla="*/ 67374 w 1334724"/>
                <a:gd name="connsiteY2225" fmla="*/ 1376891 h 1902921"/>
                <a:gd name="connsiteX2226" fmla="*/ 67558 w 1334724"/>
                <a:gd name="connsiteY2226" fmla="*/ 1376910 h 1902921"/>
                <a:gd name="connsiteX2227" fmla="*/ 74094 w 1334724"/>
                <a:gd name="connsiteY2227" fmla="*/ 1377489 h 1902921"/>
                <a:gd name="connsiteX2228" fmla="*/ 74870 w 1334724"/>
                <a:gd name="connsiteY2228" fmla="*/ 1377734 h 1902921"/>
                <a:gd name="connsiteX2229" fmla="*/ 80323 w 1334724"/>
                <a:gd name="connsiteY2229" fmla="*/ 1381017 h 1902921"/>
                <a:gd name="connsiteX2230" fmla="*/ 86884 w 1334724"/>
                <a:gd name="connsiteY2230" fmla="*/ 1380463 h 1902921"/>
                <a:gd name="connsiteX2231" fmla="*/ 87703 w 1334724"/>
                <a:gd name="connsiteY2231" fmla="*/ 1380574 h 1902921"/>
                <a:gd name="connsiteX2232" fmla="*/ 96381 w 1334724"/>
                <a:gd name="connsiteY2232" fmla="*/ 1384050 h 1902921"/>
                <a:gd name="connsiteX2233" fmla="*/ 102209 w 1334724"/>
                <a:gd name="connsiteY2233" fmla="*/ 1384541 h 1902921"/>
                <a:gd name="connsiteX2234" fmla="*/ 106379 w 1334724"/>
                <a:gd name="connsiteY2234" fmla="*/ 1378814 h 1902921"/>
                <a:gd name="connsiteX2235" fmla="*/ 107521 w 1334724"/>
                <a:gd name="connsiteY2235" fmla="*/ 1378115 h 1902921"/>
                <a:gd name="connsiteX2236" fmla="*/ 114082 w 1334724"/>
                <a:gd name="connsiteY2236" fmla="*/ 1376905 h 1902921"/>
                <a:gd name="connsiteX2237" fmla="*/ 115606 w 1334724"/>
                <a:gd name="connsiteY2237" fmla="*/ 1377339 h 1902921"/>
                <a:gd name="connsiteX2238" fmla="*/ 121578 w 1334724"/>
                <a:gd name="connsiteY2238" fmla="*/ 1382700 h 1902921"/>
                <a:gd name="connsiteX2239" fmla="*/ 121906 w 1334724"/>
                <a:gd name="connsiteY2239" fmla="*/ 1384999 h 1902921"/>
                <a:gd name="connsiteX2240" fmla="*/ 119727 w 1334724"/>
                <a:gd name="connsiteY2240" fmla="*/ 1385766 h 1902921"/>
                <a:gd name="connsiteX2241" fmla="*/ 113581 w 1334724"/>
                <a:gd name="connsiteY2241" fmla="*/ 1383548 h 1902921"/>
                <a:gd name="connsiteX2242" fmla="*/ 108876 w 1334724"/>
                <a:gd name="connsiteY2242" fmla="*/ 1383987 h 1902921"/>
                <a:gd name="connsiteX2243" fmla="*/ 104609 w 1334724"/>
                <a:gd name="connsiteY2243" fmla="*/ 1390418 h 1902921"/>
                <a:gd name="connsiteX2244" fmla="*/ 103096 w 1334724"/>
                <a:gd name="connsiteY2244" fmla="*/ 1391237 h 1902921"/>
                <a:gd name="connsiteX2245" fmla="*/ 96515 w 1334724"/>
                <a:gd name="connsiteY2245" fmla="*/ 1391237 h 1902921"/>
                <a:gd name="connsiteX2246" fmla="*/ 95445 w 1334724"/>
                <a:gd name="connsiteY2246" fmla="*/ 1390871 h 1902921"/>
                <a:gd name="connsiteX2247" fmla="*/ 89024 w 1334724"/>
                <a:gd name="connsiteY2247" fmla="*/ 1386055 h 1902921"/>
                <a:gd name="connsiteX2248" fmla="*/ 83331 w 1334724"/>
                <a:gd name="connsiteY2248" fmla="*/ 1387593 h 1902921"/>
                <a:gd name="connsiteX2249" fmla="*/ 82849 w 1334724"/>
                <a:gd name="connsiteY2249" fmla="*/ 1387641 h 1902921"/>
                <a:gd name="connsiteX2250" fmla="*/ 78640 w 1334724"/>
                <a:gd name="connsiteY2250" fmla="*/ 1387641 h 1902921"/>
                <a:gd name="connsiteX2251" fmla="*/ 79855 w 1334724"/>
                <a:gd name="connsiteY2251" fmla="*/ 1392549 h 1902921"/>
                <a:gd name="connsiteX2252" fmla="*/ 78746 w 1334724"/>
                <a:gd name="connsiteY2252" fmla="*/ 1394674 h 1902921"/>
                <a:gd name="connsiteX2253" fmla="*/ 76476 w 1334724"/>
                <a:gd name="connsiteY2253" fmla="*/ 1393850 h 1902921"/>
                <a:gd name="connsiteX2254" fmla="*/ 74152 w 1334724"/>
                <a:gd name="connsiteY2254" fmla="*/ 1389550 h 1902921"/>
                <a:gd name="connsiteX2255" fmla="*/ 69920 w 1334724"/>
                <a:gd name="connsiteY2255" fmla="*/ 1394217 h 1902921"/>
                <a:gd name="connsiteX2256" fmla="*/ 64549 w 1334724"/>
                <a:gd name="connsiteY2256" fmla="*/ 1400146 h 1902921"/>
                <a:gd name="connsiteX2257" fmla="*/ 62115 w 1334724"/>
                <a:gd name="connsiteY2257" fmla="*/ 1400392 h 1902921"/>
                <a:gd name="connsiteX2258" fmla="*/ 61676 w 1334724"/>
                <a:gd name="connsiteY2258" fmla="*/ 1398010 h 1902921"/>
                <a:gd name="connsiteX2259" fmla="*/ 65089 w 1334724"/>
                <a:gd name="connsiteY2259" fmla="*/ 1392274 h 1902921"/>
                <a:gd name="connsiteX2260" fmla="*/ 66526 w 1334724"/>
                <a:gd name="connsiteY2260" fmla="*/ 1387058 h 1902921"/>
                <a:gd name="connsiteX2261" fmla="*/ 62202 w 1334724"/>
                <a:gd name="connsiteY2261" fmla="*/ 1383167 h 1902921"/>
                <a:gd name="connsiteX2262" fmla="*/ 56701 w 1334724"/>
                <a:gd name="connsiteY2262" fmla="*/ 1385163 h 1902921"/>
                <a:gd name="connsiteX2263" fmla="*/ 56547 w 1334724"/>
                <a:gd name="connsiteY2263" fmla="*/ 1385187 h 1902921"/>
                <a:gd name="connsiteX2264" fmla="*/ 50000 w 1334724"/>
                <a:gd name="connsiteY2264" fmla="*/ 1386995 h 1902921"/>
                <a:gd name="connsiteX2265" fmla="*/ 48111 w 1334724"/>
                <a:gd name="connsiteY2265" fmla="*/ 1386388 h 1902921"/>
                <a:gd name="connsiteX2266" fmla="*/ 47913 w 1334724"/>
                <a:gd name="connsiteY2266" fmla="*/ 1384373 h 1902921"/>
                <a:gd name="connsiteX2267" fmla="*/ 50656 w 1334724"/>
                <a:gd name="connsiteY2267" fmla="*/ 1379364 h 1902921"/>
                <a:gd name="connsiteX2268" fmla="*/ 46641 w 1334724"/>
                <a:gd name="connsiteY2268" fmla="*/ 1376973 h 1902921"/>
                <a:gd name="connsiteX2269" fmla="*/ 41198 w 1334724"/>
                <a:gd name="connsiteY2269" fmla="*/ 1376973 h 1902921"/>
                <a:gd name="connsiteX2270" fmla="*/ 40489 w 1334724"/>
                <a:gd name="connsiteY2270" fmla="*/ 1376794 h 1902921"/>
                <a:gd name="connsiteX2271" fmla="*/ 34198 w 1334724"/>
                <a:gd name="connsiteY2271" fmla="*/ 1374196 h 1902921"/>
                <a:gd name="connsiteX2272" fmla="*/ 29739 w 1334724"/>
                <a:gd name="connsiteY2272" fmla="*/ 1376857 h 1902921"/>
                <a:gd name="connsiteX2273" fmla="*/ 28703 w 1334724"/>
                <a:gd name="connsiteY2273" fmla="*/ 1382589 h 1902921"/>
                <a:gd name="connsiteX2274" fmla="*/ 27391 w 1334724"/>
                <a:gd name="connsiteY2274" fmla="*/ 1384011 h 1902921"/>
                <a:gd name="connsiteX2275" fmla="*/ 21144 w 1334724"/>
                <a:gd name="connsiteY2275" fmla="*/ 1385732 h 1902921"/>
                <a:gd name="connsiteX2276" fmla="*/ 17846 w 1334724"/>
                <a:gd name="connsiteY2276" fmla="*/ 1388142 h 1902921"/>
                <a:gd name="connsiteX2277" fmla="*/ 20295 w 1334724"/>
                <a:gd name="connsiteY2277" fmla="*/ 1388856 h 1902921"/>
                <a:gd name="connsiteX2278" fmla="*/ 21587 w 1334724"/>
                <a:gd name="connsiteY2278" fmla="*/ 1390606 h 1902921"/>
                <a:gd name="connsiteX2279" fmla="*/ 21587 w 1334724"/>
                <a:gd name="connsiteY2279" fmla="*/ 1397167 h 1902921"/>
                <a:gd name="connsiteX2280" fmla="*/ 20777 w 1334724"/>
                <a:gd name="connsiteY2280" fmla="*/ 1398637 h 1902921"/>
                <a:gd name="connsiteX2281" fmla="*/ 19090 w 1334724"/>
                <a:gd name="connsiteY2281" fmla="*/ 1398840 h 1902921"/>
                <a:gd name="connsiteX2282" fmla="*/ 13228 w 1334724"/>
                <a:gd name="connsiteY2282" fmla="*/ 1396482 h 1902921"/>
                <a:gd name="connsiteX2283" fmla="*/ 8287 w 1334724"/>
                <a:gd name="connsiteY2283" fmla="*/ 1395152 h 1902921"/>
                <a:gd name="connsiteX2284" fmla="*/ 6171 w 1334724"/>
                <a:gd name="connsiteY2284" fmla="*/ 1399823 h 1902921"/>
                <a:gd name="connsiteX2285" fmla="*/ 6604 w 1334724"/>
                <a:gd name="connsiteY2285" fmla="*/ 1404340 h 1902921"/>
                <a:gd name="connsiteX2286" fmla="*/ 11975 w 1334724"/>
                <a:gd name="connsiteY2286" fmla="*/ 1407266 h 1902921"/>
                <a:gd name="connsiteX2287" fmla="*/ 18150 w 1334724"/>
                <a:gd name="connsiteY2287" fmla="*/ 1407849 h 1902921"/>
                <a:gd name="connsiteX2288" fmla="*/ 18169 w 1334724"/>
                <a:gd name="connsiteY2288" fmla="*/ 1407849 h 1902921"/>
                <a:gd name="connsiteX2289" fmla="*/ 23940 w 1334724"/>
                <a:gd name="connsiteY2289" fmla="*/ 1408414 h 1902921"/>
                <a:gd name="connsiteX2290" fmla="*/ 30915 w 1334724"/>
                <a:gd name="connsiteY2290" fmla="*/ 1407849 h 1902921"/>
                <a:gd name="connsiteX2291" fmla="*/ 32868 w 1334724"/>
                <a:gd name="connsiteY2291" fmla="*/ 1409339 h 1902921"/>
                <a:gd name="connsiteX2292" fmla="*/ 31508 w 1334724"/>
                <a:gd name="connsiteY2292" fmla="*/ 1411417 h 1902921"/>
                <a:gd name="connsiteX2293" fmla="*/ 26201 w 1334724"/>
                <a:gd name="connsiteY2293" fmla="*/ 1412728 h 1902921"/>
                <a:gd name="connsiteX2294" fmla="*/ 31446 w 1334724"/>
                <a:gd name="connsiteY2294" fmla="*/ 1417023 h 1902921"/>
                <a:gd name="connsiteX2295" fmla="*/ 31614 w 1334724"/>
                <a:gd name="connsiteY2295" fmla="*/ 1417158 h 1902921"/>
                <a:gd name="connsiteX2296" fmla="*/ 31614 w 1334724"/>
                <a:gd name="connsiteY2296" fmla="*/ 1417158 h 1902921"/>
                <a:gd name="connsiteX2297" fmla="*/ 31639 w 1334724"/>
                <a:gd name="connsiteY2297" fmla="*/ 1417158 h 1902921"/>
                <a:gd name="connsiteX2298" fmla="*/ 31894 w 1334724"/>
                <a:gd name="connsiteY2298" fmla="*/ 1419694 h 1902921"/>
                <a:gd name="connsiteX2299" fmla="*/ 29354 w 1334724"/>
                <a:gd name="connsiteY2299" fmla="*/ 1420002 h 1902921"/>
                <a:gd name="connsiteX2300" fmla="*/ 24123 w 1334724"/>
                <a:gd name="connsiteY2300" fmla="*/ 1415842 h 1902921"/>
                <a:gd name="connsiteX2301" fmla="*/ 23019 w 1334724"/>
                <a:gd name="connsiteY2301" fmla="*/ 1416175 h 1902921"/>
                <a:gd name="connsiteX2302" fmla="*/ 23270 w 1334724"/>
                <a:gd name="connsiteY2302" fmla="*/ 1416223 h 1902921"/>
                <a:gd name="connsiteX2303" fmla="*/ 23708 w 1334724"/>
                <a:gd name="connsiteY2303" fmla="*/ 1416440 h 1902921"/>
                <a:gd name="connsiteX2304" fmla="*/ 30289 w 1334724"/>
                <a:gd name="connsiteY2304" fmla="*/ 1420595 h 1902921"/>
                <a:gd name="connsiteX2305" fmla="*/ 31021 w 1334724"/>
                <a:gd name="connsiteY2305" fmla="*/ 1422649 h 1902921"/>
                <a:gd name="connsiteX2306" fmla="*/ 29305 w 1334724"/>
                <a:gd name="connsiteY2306" fmla="*/ 1423970 h 1902921"/>
                <a:gd name="connsiteX2307" fmla="*/ 22749 w 1334724"/>
                <a:gd name="connsiteY2307" fmla="*/ 1423970 h 1902921"/>
                <a:gd name="connsiteX2308" fmla="*/ 22272 w 1334724"/>
                <a:gd name="connsiteY2308" fmla="*/ 1423888 h 1902921"/>
                <a:gd name="connsiteX2309" fmla="*/ 18994 w 1334724"/>
                <a:gd name="connsiteY2309" fmla="*/ 1423015 h 1902921"/>
                <a:gd name="connsiteX2310" fmla="*/ 20059 w 1334724"/>
                <a:gd name="connsiteY2310" fmla="*/ 1426149 h 1902921"/>
                <a:gd name="connsiteX2311" fmla="*/ 25887 w 1334724"/>
                <a:gd name="connsiteY2311" fmla="*/ 1428805 h 1902921"/>
                <a:gd name="connsiteX2312" fmla="*/ 31397 w 1334724"/>
                <a:gd name="connsiteY2312" fmla="*/ 1431341 h 1902921"/>
                <a:gd name="connsiteX2313" fmla="*/ 31614 w 1334724"/>
                <a:gd name="connsiteY2313" fmla="*/ 1431432 h 1902921"/>
                <a:gd name="connsiteX2314" fmla="*/ 31725 w 1334724"/>
                <a:gd name="connsiteY2314" fmla="*/ 1431505 h 1902921"/>
                <a:gd name="connsiteX2315" fmla="*/ 33345 w 1334724"/>
                <a:gd name="connsiteY2315" fmla="*/ 1432252 h 1902921"/>
                <a:gd name="connsiteX2316" fmla="*/ 39004 w 1334724"/>
                <a:gd name="connsiteY2316" fmla="*/ 1432777 h 1902921"/>
                <a:gd name="connsiteX2317" fmla="*/ 45064 w 1334724"/>
                <a:gd name="connsiteY2317" fmla="*/ 1429461 h 1902921"/>
                <a:gd name="connsiteX2318" fmla="*/ 45430 w 1334724"/>
                <a:gd name="connsiteY2318" fmla="*/ 1429316 h 1902921"/>
                <a:gd name="connsiteX2319" fmla="*/ 51384 w 1334724"/>
                <a:gd name="connsiteY2319" fmla="*/ 1427513 h 1902921"/>
                <a:gd name="connsiteX2320" fmla="*/ 53370 w 1334724"/>
                <a:gd name="connsiteY2320" fmla="*/ 1428202 h 1902921"/>
                <a:gd name="connsiteX2321" fmla="*/ 58119 w 1334724"/>
                <a:gd name="connsiteY2321" fmla="*/ 1434735 h 1902921"/>
                <a:gd name="connsiteX2322" fmla="*/ 57969 w 1334724"/>
                <a:gd name="connsiteY2322" fmla="*/ 1437082 h 1902921"/>
                <a:gd name="connsiteX2323" fmla="*/ 55665 w 1334724"/>
                <a:gd name="connsiteY2323" fmla="*/ 1437338 h 1902921"/>
                <a:gd name="connsiteX2324" fmla="*/ 49538 w 1334724"/>
                <a:gd name="connsiteY2324" fmla="*/ 1433264 h 1902921"/>
                <a:gd name="connsiteX2325" fmla="*/ 44616 w 1334724"/>
                <a:gd name="connsiteY2325" fmla="*/ 1436701 h 1902921"/>
                <a:gd name="connsiteX2326" fmla="*/ 44153 w 1334724"/>
                <a:gd name="connsiteY2326" fmla="*/ 1436938 h 1902921"/>
                <a:gd name="connsiteX2327" fmla="*/ 36999 w 1334724"/>
                <a:gd name="connsiteY2327" fmla="*/ 1439329 h 1902921"/>
                <a:gd name="connsiteX2328" fmla="*/ 35268 w 1334724"/>
                <a:gd name="connsiteY2328" fmla="*/ 1439025 h 1902921"/>
                <a:gd name="connsiteX2329" fmla="*/ 29917 w 1334724"/>
                <a:gd name="connsiteY2329" fmla="*/ 1434735 h 1902921"/>
                <a:gd name="connsiteX2330" fmla="*/ 24788 w 1334724"/>
                <a:gd name="connsiteY2330" fmla="*/ 1435246 h 1902921"/>
                <a:gd name="connsiteX2331" fmla="*/ 17702 w 1334724"/>
                <a:gd name="connsiteY2331" fmla="*/ 1436427 h 1902921"/>
                <a:gd name="connsiteX2332" fmla="*/ 17239 w 1334724"/>
                <a:gd name="connsiteY2332" fmla="*/ 1436427 h 1902921"/>
                <a:gd name="connsiteX2333" fmla="*/ 10794 w 1334724"/>
                <a:gd name="connsiteY2333" fmla="*/ 1435901 h 1902921"/>
                <a:gd name="connsiteX2334" fmla="*/ 9863 w 1334724"/>
                <a:gd name="connsiteY2334" fmla="*/ 1436615 h 1902921"/>
                <a:gd name="connsiteX2335" fmla="*/ 10567 w 1334724"/>
                <a:gd name="connsiteY2335" fmla="*/ 1437203 h 1902921"/>
                <a:gd name="connsiteX2336" fmla="*/ 10490 w 1334724"/>
                <a:gd name="connsiteY2336" fmla="*/ 1439329 h 1902921"/>
                <a:gd name="connsiteX2337" fmla="*/ 6412 w 1334724"/>
                <a:gd name="connsiteY2337" fmla="*/ 1444540 h 1902921"/>
                <a:gd name="connsiteX2338" fmla="*/ 7930 w 1334724"/>
                <a:gd name="connsiteY2338" fmla="*/ 1448811 h 1902921"/>
                <a:gd name="connsiteX2339" fmla="*/ 15306 w 1334724"/>
                <a:gd name="connsiteY2339" fmla="*/ 1446892 h 1902921"/>
                <a:gd name="connsiteX2340" fmla="*/ 16236 w 1334724"/>
                <a:gd name="connsiteY2340" fmla="*/ 1446541 h 1902921"/>
                <a:gd name="connsiteX2341" fmla="*/ 16588 w 1334724"/>
                <a:gd name="connsiteY2341" fmla="*/ 1446541 h 1902921"/>
                <a:gd name="connsiteX2342" fmla="*/ 41955 w 1334724"/>
                <a:gd name="connsiteY2342" fmla="*/ 1444164 h 1902921"/>
                <a:gd name="connsiteX2343" fmla="*/ 43647 w 1334724"/>
                <a:gd name="connsiteY2343" fmla="*/ 1445962 h 1902921"/>
                <a:gd name="connsiteX2344" fmla="*/ 41974 w 1334724"/>
                <a:gd name="connsiteY2344" fmla="*/ 1447794 h 1902921"/>
                <a:gd name="connsiteX2345" fmla="*/ 35437 w 1334724"/>
                <a:gd name="connsiteY2345" fmla="*/ 1448382 h 1902921"/>
                <a:gd name="connsiteX2346" fmla="*/ 35452 w 1334724"/>
                <a:gd name="connsiteY2346" fmla="*/ 1448382 h 1902921"/>
                <a:gd name="connsiteX2347" fmla="*/ 29580 w 1334724"/>
                <a:gd name="connsiteY2347" fmla="*/ 1448965 h 1902921"/>
                <a:gd name="connsiteX2348" fmla="*/ 23111 w 1334724"/>
                <a:gd name="connsiteY2348" fmla="*/ 1450151 h 1902921"/>
                <a:gd name="connsiteX2349" fmla="*/ 22788 w 1334724"/>
                <a:gd name="connsiteY2349" fmla="*/ 1450175 h 1902921"/>
                <a:gd name="connsiteX2350" fmla="*/ 18328 w 1334724"/>
                <a:gd name="connsiteY2350" fmla="*/ 1450175 h 1902921"/>
                <a:gd name="connsiteX2351" fmla="*/ 16067 w 1334724"/>
                <a:gd name="connsiteY2351" fmla="*/ 1450942 h 1902921"/>
                <a:gd name="connsiteX2352" fmla="*/ 11493 w 1334724"/>
                <a:gd name="connsiteY2352" fmla="*/ 1455078 h 1902921"/>
                <a:gd name="connsiteX2353" fmla="*/ 10760 w 1334724"/>
                <a:gd name="connsiteY2353" fmla="*/ 1455478 h 1902921"/>
                <a:gd name="connsiteX2354" fmla="*/ 5284 w 1334724"/>
                <a:gd name="connsiteY2354" fmla="*/ 1456958 h 1902921"/>
                <a:gd name="connsiteX2355" fmla="*/ 4609 w 1334724"/>
                <a:gd name="connsiteY2355" fmla="*/ 1460434 h 1902921"/>
                <a:gd name="connsiteX2356" fmla="*/ 10442 w 1334724"/>
                <a:gd name="connsiteY2356" fmla="*/ 1463365 h 1902921"/>
                <a:gd name="connsiteX2357" fmla="*/ 16323 w 1334724"/>
                <a:gd name="connsiteY2357" fmla="*/ 1465703 h 1902921"/>
                <a:gd name="connsiteX2358" fmla="*/ 17451 w 1334724"/>
                <a:gd name="connsiteY2358" fmla="*/ 1467655 h 1902921"/>
                <a:gd name="connsiteX2359" fmla="*/ 15826 w 1334724"/>
                <a:gd name="connsiteY2359" fmla="*/ 1469203 h 1902921"/>
                <a:gd name="connsiteX2360" fmla="*/ 11339 w 1334724"/>
                <a:gd name="connsiteY2360" fmla="*/ 1469641 h 1902921"/>
                <a:gd name="connsiteX2361" fmla="*/ 11088 w 1334724"/>
                <a:gd name="connsiteY2361" fmla="*/ 1472307 h 1902921"/>
                <a:gd name="connsiteX2362" fmla="*/ 15798 w 1334724"/>
                <a:gd name="connsiteY2362" fmla="*/ 1472741 h 1902921"/>
                <a:gd name="connsiteX2363" fmla="*/ 17046 w 1334724"/>
                <a:gd name="connsiteY2363" fmla="*/ 1473392 h 1902921"/>
                <a:gd name="connsiteX2364" fmla="*/ 17451 w 1334724"/>
                <a:gd name="connsiteY2364" fmla="*/ 1474708 h 1902921"/>
                <a:gd name="connsiteX2365" fmla="*/ 17133 w 1334724"/>
                <a:gd name="connsiteY2365" fmla="*/ 1477991 h 1902921"/>
                <a:gd name="connsiteX2366" fmla="*/ 20479 w 1334724"/>
                <a:gd name="connsiteY2366" fmla="*/ 1476978 h 1902921"/>
                <a:gd name="connsiteX2367" fmla="*/ 22513 w 1334724"/>
                <a:gd name="connsiteY2367" fmla="*/ 1477711 h 1902921"/>
                <a:gd name="connsiteX2368" fmla="*/ 26336 w 1334724"/>
                <a:gd name="connsiteY2368" fmla="*/ 1483727 h 1902921"/>
                <a:gd name="connsiteX2369" fmla="*/ 26837 w 1334724"/>
                <a:gd name="connsiteY2369" fmla="*/ 1483896 h 1902921"/>
                <a:gd name="connsiteX2370" fmla="*/ 32598 w 1334724"/>
                <a:gd name="connsiteY2370" fmla="*/ 1481269 h 1902921"/>
                <a:gd name="connsiteX2371" fmla="*/ 39617 w 1334724"/>
                <a:gd name="connsiteY2371" fmla="*/ 1476617 h 1902921"/>
                <a:gd name="connsiteX2372" fmla="*/ 40615 w 1334724"/>
                <a:gd name="connsiteY2372" fmla="*/ 1476284 h 1902921"/>
                <a:gd name="connsiteX2373" fmla="*/ 46047 w 1334724"/>
                <a:gd name="connsiteY2373" fmla="*/ 1476284 h 1902921"/>
                <a:gd name="connsiteX2374" fmla="*/ 52165 w 1334724"/>
                <a:gd name="connsiteY2374" fmla="*/ 1472442 h 1902921"/>
                <a:gd name="connsiteX2375" fmla="*/ 53597 w 1334724"/>
                <a:gd name="connsiteY2375" fmla="*/ 1472196 h 1902921"/>
                <a:gd name="connsiteX2376" fmla="*/ 59565 w 1334724"/>
                <a:gd name="connsiteY2376" fmla="*/ 1473802 h 1902921"/>
                <a:gd name="connsiteX2377" fmla="*/ 64969 w 1334724"/>
                <a:gd name="connsiteY2377" fmla="*/ 1471666 h 1902921"/>
                <a:gd name="connsiteX2378" fmla="*/ 66511 w 1334724"/>
                <a:gd name="connsiteY2378" fmla="*/ 1471758 h 1902921"/>
                <a:gd name="connsiteX2379" fmla="*/ 72296 w 1334724"/>
                <a:gd name="connsiteY2379" fmla="*/ 1474906 h 1902921"/>
                <a:gd name="connsiteX2380" fmla="*/ 78626 w 1334724"/>
                <a:gd name="connsiteY2380" fmla="*/ 1472273 h 1902921"/>
                <a:gd name="connsiteX2381" fmla="*/ 80800 w 1334724"/>
                <a:gd name="connsiteY2381" fmla="*/ 1472886 h 1902921"/>
                <a:gd name="connsiteX2382" fmla="*/ 85302 w 1334724"/>
                <a:gd name="connsiteY2382" fmla="*/ 1479085 h 1902921"/>
                <a:gd name="connsiteX2383" fmla="*/ 90200 w 1334724"/>
                <a:gd name="connsiteY2383" fmla="*/ 1481524 h 1902921"/>
                <a:gd name="connsiteX2384" fmla="*/ 94814 w 1334724"/>
                <a:gd name="connsiteY2384" fmla="*/ 1480150 h 1902921"/>
                <a:gd name="connsiteX2385" fmla="*/ 98429 w 1334724"/>
                <a:gd name="connsiteY2385" fmla="*/ 1474457 h 1902921"/>
                <a:gd name="connsiteX2386" fmla="*/ 98950 w 1334724"/>
                <a:gd name="connsiteY2386" fmla="*/ 1471261 h 1902921"/>
                <a:gd name="connsiteX2387" fmla="*/ 98950 w 1334724"/>
                <a:gd name="connsiteY2387" fmla="*/ 1471208 h 1902921"/>
                <a:gd name="connsiteX2388" fmla="*/ 100150 w 1334724"/>
                <a:gd name="connsiteY2388" fmla="*/ 1465356 h 1902921"/>
                <a:gd name="connsiteX2389" fmla="*/ 100739 w 1334724"/>
                <a:gd name="connsiteY2389" fmla="*/ 1459470 h 1902921"/>
                <a:gd name="connsiteX2390" fmla="*/ 101452 w 1334724"/>
                <a:gd name="connsiteY2390" fmla="*/ 1458216 h 1902921"/>
                <a:gd name="connsiteX2391" fmla="*/ 102884 w 1334724"/>
                <a:gd name="connsiteY2391" fmla="*/ 1457888 h 1902921"/>
                <a:gd name="connsiteX2392" fmla="*/ 107757 w 1334724"/>
                <a:gd name="connsiteY2392" fmla="*/ 1458771 h 1902921"/>
                <a:gd name="connsiteX2393" fmla="*/ 109122 w 1334724"/>
                <a:gd name="connsiteY2393" fmla="*/ 1453844 h 1902921"/>
                <a:gd name="connsiteX2394" fmla="*/ 109223 w 1334724"/>
                <a:gd name="connsiteY2394" fmla="*/ 1453574 h 1902921"/>
                <a:gd name="connsiteX2395" fmla="*/ 112202 w 1334724"/>
                <a:gd name="connsiteY2395" fmla="*/ 1447008 h 1902921"/>
                <a:gd name="connsiteX2396" fmla="*/ 114251 w 1334724"/>
                <a:gd name="connsiteY2396" fmla="*/ 1446001 h 1902921"/>
                <a:gd name="connsiteX2397" fmla="*/ 115673 w 1334724"/>
                <a:gd name="connsiteY2397" fmla="*/ 1447765 h 1902921"/>
                <a:gd name="connsiteX2398" fmla="*/ 115673 w 1334724"/>
                <a:gd name="connsiteY2398" fmla="*/ 1454914 h 1902921"/>
                <a:gd name="connsiteX2399" fmla="*/ 115466 w 1334724"/>
                <a:gd name="connsiteY2399" fmla="*/ 1455743 h 1902921"/>
                <a:gd name="connsiteX2400" fmla="*/ 111898 w 1334724"/>
                <a:gd name="connsiteY2400" fmla="*/ 1462873 h 1902921"/>
                <a:gd name="connsiteX2401" fmla="*/ 111648 w 1334724"/>
                <a:gd name="connsiteY2401" fmla="*/ 1463259 h 1902921"/>
                <a:gd name="connsiteX2402" fmla="*/ 106750 w 1334724"/>
                <a:gd name="connsiteY2402" fmla="*/ 1468701 h 1902921"/>
                <a:gd name="connsiteX2403" fmla="*/ 106750 w 1334724"/>
                <a:gd name="connsiteY2403" fmla="*/ 1469405 h 1902921"/>
                <a:gd name="connsiteX2404" fmla="*/ 107627 w 1334724"/>
                <a:gd name="connsiteY2404" fmla="*/ 1469984 h 1902921"/>
                <a:gd name="connsiteX2405" fmla="*/ 114193 w 1334724"/>
                <a:gd name="connsiteY2405" fmla="*/ 1473295 h 1902921"/>
                <a:gd name="connsiteX2406" fmla="*/ 120238 w 1334724"/>
                <a:gd name="connsiteY2406" fmla="*/ 1472755 h 1902921"/>
                <a:gd name="connsiteX2407" fmla="*/ 121154 w 1334724"/>
                <a:gd name="connsiteY2407" fmla="*/ 1472900 h 1902921"/>
                <a:gd name="connsiteX2408" fmla="*/ 126848 w 1334724"/>
                <a:gd name="connsiteY2408" fmla="*/ 1475489 h 1902921"/>
                <a:gd name="connsiteX2409" fmla="*/ 132854 w 1334724"/>
                <a:gd name="connsiteY2409" fmla="*/ 1471984 h 1902921"/>
                <a:gd name="connsiteX2410" fmla="*/ 136209 w 1334724"/>
                <a:gd name="connsiteY2410" fmla="*/ 1467539 h 1902921"/>
                <a:gd name="connsiteX2411" fmla="*/ 137670 w 1334724"/>
                <a:gd name="connsiteY2411" fmla="*/ 1466797 h 1902921"/>
                <a:gd name="connsiteX2412" fmla="*/ 139449 w 1334724"/>
                <a:gd name="connsiteY2412" fmla="*/ 1466797 h 1902921"/>
                <a:gd name="connsiteX2413" fmla="*/ 141093 w 1334724"/>
                <a:gd name="connsiteY2413" fmla="*/ 1467809 h 1902921"/>
                <a:gd name="connsiteX2414" fmla="*/ 140856 w 1334724"/>
                <a:gd name="connsiteY2414" fmla="*/ 1469738 h 1902921"/>
                <a:gd name="connsiteX2415" fmla="*/ 136103 w 1334724"/>
                <a:gd name="connsiteY2415" fmla="*/ 1475672 h 1902921"/>
                <a:gd name="connsiteX2416" fmla="*/ 135824 w 1334724"/>
                <a:gd name="connsiteY2416" fmla="*/ 1475971 h 1902921"/>
                <a:gd name="connsiteX2417" fmla="*/ 130309 w 1334724"/>
                <a:gd name="connsiteY2417" fmla="*/ 1480377 h 1902921"/>
                <a:gd name="connsiteX2418" fmla="*/ 129913 w 1334724"/>
                <a:gd name="connsiteY2418" fmla="*/ 1481761 h 1902921"/>
                <a:gd name="connsiteX2419" fmla="*/ 132088 w 1334724"/>
                <a:gd name="connsiteY2419" fmla="*/ 1480657 h 1902921"/>
                <a:gd name="connsiteX2420" fmla="*/ 132893 w 1334724"/>
                <a:gd name="connsiteY2420" fmla="*/ 1480464 h 1902921"/>
                <a:gd name="connsiteX2421" fmla="*/ 138865 w 1334724"/>
                <a:gd name="connsiteY2421" fmla="*/ 1480464 h 1902921"/>
                <a:gd name="connsiteX2422" fmla="*/ 144351 w 1334724"/>
                <a:gd name="connsiteY2422" fmla="*/ 1476631 h 1902921"/>
                <a:gd name="connsiteX2423" fmla="*/ 145918 w 1334724"/>
                <a:gd name="connsiteY2423" fmla="*/ 1476385 h 1902921"/>
                <a:gd name="connsiteX2424" fmla="*/ 150083 w 1334724"/>
                <a:gd name="connsiteY2424" fmla="*/ 1477658 h 1902921"/>
                <a:gd name="connsiteX2425" fmla="*/ 151274 w 1334724"/>
                <a:gd name="connsiteY2425" fmla="*/ 1473247 h 1902921"/>
                <a:gd name="connsiteX2426" fmla="*/ 150194 w 1334724"/>
                <a:gd name="connsiteY2426" fmla="*/ 1466103 h 1902921"/>
                <a:gd name="connsiteX2427" fmla="*/ 147861 w 1334724"/>
                <a:gd name="connsiteY2427" fmla="*/ 1460362 h 1902921"/>
                <a:gd name="connsiteX2428" fmla="*/ 148049 w 1334724"/>
                <a:gd name="connsiteY2428" fmla="*/ 1458693 h 1902921"/>
                <a:gd name="connsiteX2429" fmla="*/ 152190 w 1334724"/>
                <a:gd name="connsiteY2429" fmla="*/ 1452152 h 1902921"/>
                <a:gd name="connsiteX2430" fmla="*/ 152397 w 1334724"/>
                <a:gd name="connsiteY2430" fmla="*/ 1451916 h 1902921"/>
                <a:gd name="connsiteX2431" fmla="*/ 158351 w 1334724"/>
                <a:gd name="connsiteY2431" fmla="*/ 1445350 h 1902921"/>
                <a:gd name="connsiteX2432" fmla="*/ 165476 w 1334724"/>
                <a:gd name="connsiteY2432" fmla="*/ 1437641 h 1902921"/>
                <a:gd name="connsiteX2433" fmla="*/ 167901 w 1334724"/>
                <a:gd name="connsiteY2433" fmla="*/ 1437396 h 1902921"/>
                <a:gd name="connsiteX2434" fmla="*/ 168363 w 1334724"/>
                <a:gd name="connsiteY2434" fmla="*/ 1439796 h 1902921"/>
                <a:gd name="connsiteX2435" fmla="*/ 164791 w 1334724"/>
                <a:gd name="connsiteY2435" fmla="*/ 1445740 h 1902921"/>
                <a:gd name="connsiteX2436" fmla="*/ 164700 w 1334724"/>
                <a:gd name="connsiteY2436" fmla="*/ 1445933 h 1902921"/>
                <a:gd name="connsiteX2437" fmla="*/ 158857 w 1334724"/>
                <a:gd name="connsiteY2437" fmla="*/ 1453482 h 1902921"/>
                <a:gd name="connsiteX2438" fmla="*/ 156162 w 1334724"/>
                <a:gd name="connsiteY2438" fmla="*/ 1459417 h 1902921"/>
                <a:gd name="connsiteX2439" fmla="*/ 156702 w 1334724"/>
                <a:gd name="connsiteY2439" fmla="*/ 1465394 h 1902921"/>
                <a:gd name="connsiteX2440" fmla="*/ 157743 w 1334724"/>
                <a:gd name="connsiteY2440" fmla="*/ 1471550 h 1902921"/>
                <a:gd name="connsiteX2441" fmla="*/ 169559 w 1334724"/>
                <a:gd name="connsiteY2441" fmla="*/ 1471550 h 1902921"/>
                <a:gd name="connsiteX2442" fmla="*/ 175845 w 1334724"/>
                <a:gd name="connsiteY2442" fmla="*/ 1469824 h 1902921"/>
                <a:gd name="connsiteX2443" fmla="*/ 178053 w 1334724"/>
                <a:gd name="connsiteY2443" fmla="*/ 1470924 h 1902921"/>
                <a:gd name="connsiteX2444" fmla="*/ 177147 w 1334724"/>
                <a:gd name="connsiteY2444" fmla="*/ 1473209 h 1902921"/>
                <a:gd name="connsiteX2445" fmla="*/ 170012 w 1334724"/>
                <a:gd name="connsiteY2445" fmla="*/ 1476781 h 1902921"/>
                <a:gd name="connsiteX2446" fmla="*/ 169559 w 1334724"/>
                <a:gd name="connsiteY2446" fmla="*/ 1476935 h 1902921"/>
                <a:gd name="connsiteX2447" fmla="*/ 163895 w 1334724"/>
                <a:gd name="connsiteY2447" fmla="*/ 1478053 h 1902921"/>
                <a:gd name="connsiteX2448" fmla="*/ 158447 w 1334724"/>
                <a:gd name="connsiteY2448" fmla="*/ 1481254 h 1902921"/>
                <a:gd name="connsiteX2449" fmla="*/ 160723 w 1334724"/>
                <a:gd name="connsiteY2449" fmla="*/ 1486316 h 1902921"/>
                <a:gd name="connsiteX2450" fmla="*/ 160327 w 1334724"/>
                <a:gd name="connsiteY2450" fmla="*/ 1488365 h 1902921"/>
                <a:gd name="connsiteX2451" fmla="*/ 158269 w 1334724"/>
                <a:gd name="connsiteY2451" fmla="*/ 1488664 h 1902921"/>
                <a:gd name="connsiteX2452" fmla="*/ 152339 w 1334724"/>
                <a:gd name="connsiteY2452" fmla="*/ 1485742 h 1902921"/>
                <a:gd name="connsiteX2453" fmla="*/ 146622 w 1334724"/>
                <a:gd name="connsiteY2453" fmla="*/ 1483106 h 1902921"/>
                <a:gd name="connsiteX2454" fmla="*/ 146304 w 1334724"/>
                <a:gd name="connsiteY2454" fmla="*/ 1483236 h 1902921"/>
                <a:gd name="connsiteX2455" fmla="*/ 140481 w 1334724"/>
                <a:gd name="connsiteY2455" fmla="*/ 1487338 h 1902921"/>
                <a:gd name="connsiteX2456" fmla="*/ 140326 w 1334724"/>
                <a:gd name="connsiteY2456" fmla="*/ 1487420 h 1902921"/>
                <a:gd name="connsiteX2457" fmla="*/ 134223 w 1334724"/>
                <a:gd name="connsiteY2457" fmla="*/ 1491016 h 1902921"/>
                <a:gd name="connsiteX2458" fmla="*/ 134666 w 1334724"/>
                <a:gd name="connsiteY2458" fmla="*/ 1495606 h 1902921"/>
                <a:gd name="connsiteX2459" fmla="*/ 136831 w 1334724"/>
                <a:gd name="connsiteY2459" fmla="*/ 1502032 h 1902921"/>
                <a:gd name="connsiteX2460" fmla="*/ 142949 w 1334724"/>
                <a:gd name="connsiteY2460" fmla="*/ 1507069 h 1902921"/>
                <a:gd name="connsiteX2461" fmla="*/ 143402 w 1334724"/>
                <a:gd name="connsiteY2461" fmla="*/ 1509335 h 1902921"/>
                <a:gd name="connsiteX2462" fmla="*/ 139815 w 1334724"/>
                <a:gd name="connsiteY2462" fmla="*/ 1515872 h 1902921"/>
                <a:gd name="connsiteX2463" fmla="*/ 137713 w 1334724"/>
                <a:gd name="connsiteY2463" fmla="*/ 1516744 h 1902921"/>
                <a:gd name="connsiteX2464" fmla="*/ 136431 w 1334724"/>
                <a:gd name="connsiteY2464" fmla="*/ 1514860 h 1902921"/>
                <a:gd name="connsiteX2465" fmla="*/ 136932 w 1334724"/>
                <a:gd name="connsiteY2465" fmla="*/ 1509258 h 1902921"/>
                <a:gd name="connsiteX2466" fmla="*/ 132131 w 1334724"/>
                <a:gd name="connsiteY2466" fmla="*/ 1505310 h 1902921"/>
                <a:gd name="connsiteX2467" fmla="*/ 127493 w 1334724"/>
                <a:gd name="connsiteY2467" fmla="*/ 1508096 h 1902921"/>
                <a:gd name="connsiteX2468" fmla="*/ 121728 w 1334724"/>
                <a:gd name="connsiteY2468" fmla="*/ 1514445 h 1902921"/>
                <a:gd name="connsiteX2469" fmla="*/ 119288 w 1334724"/>
                <a:gd name="connsiteY2469" fmla="*/ 1514662 h 1902921"/>
                <a:gd name="connsiteX2470" fmla="*/ 118859 w 1334724"/>
                <a:gd name="connsiteY2470" fmla="*/ 1512232 h 1902921"/>
                <a:gd name="connsiteX2471" fmla="*/ 123005 w 1334724"/>
                <a:gd name="connsiteY2471" fmla="*/ 1505686 h 1902921"/>
                <a:gd name="connsiteX2472" fmla="*/ 123333 w 1334724"/>
                <a:gd name="connsiteY2472" fmla="*/ 1505310 h 1902921"/>
                <a:gd name="connsiteX2473" fmla="*/ 128607 w 1334724"/>
                <a:gd name="connsiteY2473" fmla="*/ 1500585 h 1902921"/>
                <a:gd name="connsiteX2474" fmla="*/ 128120 w 1334724"/>
                <a:gd name="connsiteY2474" fmla="*/ 1495707 h 1902921"/>
                <a:gd name="connsiteX2475" fmla="*/ 126621 w 1334724"/>
                <a:gd name="connsiteY2475" fmla="*/ 1490269 h 1902921"/>
                <a:gd name="connsiteX2476" fmla="*/ 121622 w 1334724"/>
                <a:gd name="connsiteY2476" fmla="*/ 1488789 h 1902921"/>
                <a:gd name="connsiteX2477" fmla="*/ 120537 w 1334724"/>
                <a:gd name="connsiteY2477" fmla="*/ 1487854 h 1902921"/>
                <a:gd name="connsiteX2478" fmla="*/ 117466 w 1334724"/>
                <a:gd name="connsiteY2478" fmla="*/ 1481746 h 1902921"/>
                <a:gd name="connsiteX2479" fmla="*/ 112024 w 1334724"/>
                <a:gd name="connsiteY2479" fmla="*/ 1481746 h 1902921"/>
                <a:gd name="connsiteX2480" fmla="*/ 111879 w 1334724"/>
                <a:gd name="connsiteY2480" fmla="*/ 1481717 h 1902921"/>
                <a:gd name="connsiteX2481" fmla="*/ 106234 w 1334724"/>
                <a:gd name="connsiteY2481" fmla="*/ 1481216 h 1902921"/>
                <a:gd name="connsiteX2482" fmla="*/ 100874 w 1334724"/>
                <a:gd name="connsiteY2482" fmla="*/ 1487063 h 1902921"/>
                <a:gd name="connsiteX2483" fmla="*/ 100357 w 1334724"/>
                <a:gd name="connsiteY2483" fmla="*/ 1487483 h 1902921"/>
                <a:gd name="connsiteX2484" fmla="*/ 94877 w 1334724"/>
                <a:gd name="connsiteY2484" fmla="*/ 1490240 h 1902921"/>
                <a:gd name="connsiteX2485" fmla="*/ 90967 w 1334724"/>
                <a:gd name="connsiteY2485" fmla="*/ 1496343 h 1902921"/>
                <a:gd name="connsiteX2486" fmla="*/ 88855 w 1334724"/>
                <a:gd name="connsiteY2486" fmla="*/ 1497071 h 1902921"/>
                <a:gd name="connsiteX2487" fmla="*/ 87631 w 1334724"/>
                <a:gd name="connsiteY2487" fmla="*/ 1495186 h 1902921"/>
                <a:gd name="connsiteX2488" fmla="*/ 87920 w 1334724"/>
                <a:gd name="connsiteY2488" fmla="*/ 1492212 h 1902921"/>
                <a:gd name="connsiteX2489" fmla="*/ 84743 w 1334724"/>
                <a:gd name="connsiteY2489" fmla="*/ 1493499 h 1902921"/>
                <a:gd name="connsiteX2490" fmla="*/ 82998 w 1334724"/>
                <a:gd name="connsiteY2490" fmla="*/ 1493253 h 1902921"/>
                <a:gd name="connsiteX2491" fmla="*/ 82256 w 1334724"/>
                <a:gd name="connsiteY2491" fmla="*/ 1491638 h 1902921"/>
                <a:gd name="connsiteX2492" fmla="*/ 82724 w 1334724"/>
                <a:gd name="connsiteY2492" fmla="*/ 1486716 h 1902921"/>
                <a:gd name="connsiteX2493" fmla="*/ 72590 w 1334724"/>
                <a:gd name="connsiteY2493" fmla="*/ 1484701 h 1902921"/>
                <a:gd name="connsiteX2494" fmla="*/ 69206 w 1334724"/>
                <a:gd name="connsiteY2494" fmla="*/ 1484701 h 1902921"/>
                <a:gd name="connsiteX2495" fmla="*/ 68666 w 1334724"/>
                <a:gd name="connsiteY2495" fmla="*/ 1484638 h 1902921"/>
                <a:gd name="connsiteX2496" fmla="*/ 63060 w 1334724"/>
                <a:gd name="connsiteY2496" fmla="*/ 1482951 h 1902921"/>
                <a:gd name="connsiteX2497" fmla="*/ 57150 w 1334724"/>
                <a:gd name="connsiteY2497" fmla="*/ 1483433 h 1902921"/>
                <a:gd name="connsiteX2498" fmla="*/ 53466 w 1334724"/>
                <a:gd name="connsiteY2498" fmla="*/ 1489204 h 1902921"/>
                <a:gd name="connsiteX2499" fmla="*/ 51331 w 1334724"/>
                <a:gd name="connsiteY2499" fmla="*/ 1489946 h 1902921"/>
                <a:gd name="connsiteX2500" fmla="*/ 50126 w 1334724"/>
                <a:gd name="connsiteY2500" fmla="*/ 1488056 h 1902921"/>
                <a:gd name="connsiteX2501" fmla="*/ 50444 w 1334724"/>
                <a:gd name="connsiteY2501" fmla="*/ 1484465 h 1902921"/>
                <a:gd name="connsiteX2502" fmla="*/ 47301 w 1334724"/>
                <a:gd name="connsiteY2502" fmla="*/ 1485728 h 1902921"/>
                <a:gd name="connsiteX2503" fmla="*/ 40783 w 1334724"/>
                <a:gd name="connsiteY2503" fmla="*/ 1488673 h 1902921"/>
                <a:gd name="connsiteX2504" fmla="*/ 40407 w 1334724"/>
                <a:gd name="connsiteY2504" fmla="*/ 1488818 h 1902921"/>
                <a:gd name="connsiteX2505" fmla="*/ 34873 w 1334724"/>
                <a:gd name="connsiteY2505" fmla="*/ 1489941 h 1902921"/>
                <a:gd name="connsiteX2506" fmla="*/ 29276 w 1334724"/>
                <a:gd name="connsiteY2506" fmla="*/ 1494391 h 1902921"/>
                <a:gd name="connsiteX2507" fmla="*/ 27801 w 1334724"/>
                <a:gd name="connsiteY2507" fmla="*/ 1494781 h 1902921"/>
                <a:gd name="connsiteX2508" fmla="*/ 21269 w 1334724"/>
                <a:gd name="connsiteY2508" fmla="*/ 1493600 h 1902921"/>
                <a:gd name="connsiteX2509" fmla="*/ 20421 w 1334724"/>
                <a:gd name="connsiteY2509" fmla="*/ 1493200 h 1902921"/>
                <a:gd name="connsiteX2510" fmla="*/ 14101 w 1334724"/>
                <a:gd name="connsiteY2510" fmla="*/ 1488032 h 1902921"/>
                <a:gd name="connsiteX2511" fmla="*/ 9010 w 1334724"/>
                <a:gd name="connsiteY2511" fmla="*/ 1485993 h 1902921"/>
                <a:gd name="connsiteX2512" fmla="*/ 4484 w 1334724"/>
                <a:gd name="connsiteY2512" fmla="*/ 1487333 h 1902921"/>
                <a:gd name="connsiteX2513" fmla="*/ 2709 w 1334724"/>
                <a:gd name="connsiteY2513" fmla="*/ 1491792 h 1902921"/>
                <a:gd name="connsiteX2514" fmla="*/ 4932 w 1334724"/>
                <a:gd name="connsiteY2514" fmla="*/ 1497119 h 1902921"/>
                <a:gd name="connsiteX2515" fmla="*/ 10731 w 1334724"/>
                <a:gd name="connsiteY2515" fmla="*/ 1497119 h 1902921"/>
                <a:gd name="connsiteX2516" fmla="*/ 17109 w 1334724"/>
                <a:gd name="connsiteY2516" fmla="*/ 1495953 h 1902921"/>
                <a:gd name="connsiteX2517" fmla="*/ 19191 w 1334724"/>
                <a:gd name="connsiteY2517" fmla="*/ 1497346 h 1902921"/>
                <a:gd name="connsiteX2518" fmla="*/ 17880 w 1334724"/>
                <a:gd name="connsiteY2518" fmla="*/ 1499501 h 1902921"/>
                <a:gd name="connsiteX2519" fmla="*/ 11353 w 1334724"/>
                <a:gd name="connsiteY2519" fmla="*/ 1501280 h 1902921"/>
                <a:gd name="connsiteX2520" fmla="*/ 11339 w 1334724"/>
                <a:gd name="connsiteY2520" fmla="*/ 1501280 h 1902921"/>
                <a:gd name="connsiteX2521" fmla="*/ 9931 w 1334724"/>
                <a:gd name="connsiteY2521" fmla="*/ 1501631 h 1902921"/>
                <a:gd name="connsiteX2522" fmla="*/ 8441 w 1334724"/>
                <a:gd name="connsiteY2522" fmla="*/ 1506592 h 1902921"/>
                <a:gd name="connsiteX2523" fmla="*/ 8422 w 1334724"/>
                <a:gd name="connsiteY2523" fmla="*/ 1506703 h 1902921"/>
                <a:gd name="connsiteX2524" fmla="*/ 6624 w 1334724"/>
                <a:gd name="connsiteY2524" fmla="*/ 1511495 h 1902921"/>
                <a:gd name="connsiteX2525" fmla="*/ 4382 w 1334724"/>
                <a:gd name="connsiteY2525" fmla="*/ 1512589 h 1902921"/>
                <a:gd name="connsiteX2526" fmla="*/ 3943 w 1334724"/>
                <a:gd name="connsiteY2526" fmla="*/ 1512218 h 1902921"/>
                <a:gd name="connsiteX2527" fmla="*/ 4575 w 1334724"/>
                <a:gd name="connsiteY2527" fmla="*/ 1514503 h 1902921"/>
                <a:gd name="connsiteX2528" fmla="*/ 9859 w 1334724"/>
                <a:gd name="connsiteY2528" fmla="*/ 1515004 h 1902921"/>
                <a:gd name="connsiteX2529" fmla="*/ 10519 w 1334724"/>
                <a:gd name="connsiteY2529" fmla="*/ 1515197 h 1902921"/>
                <a:gd name="connsiteX2530" fmla="*/ 15725 w 1334724"/>
                <a:gd name="connsiteY2530" fmla="*/ 1517791 h 1902921"/>
                <a:gd name="connsiteX2531" fmla="*/ 17321 w 1334724"/>
                <a:gd name="connsiteY2531" fmla="*/ 1517173 h 1902921"/>
                <a:gd name="connsiteX2532" fmla="*/ 19963 w 1334724"/>
                <a:gd name="connsiteY2532" fmla="*/ 1511827 h 1902921"/>
                <a:gd name="connsiteX2533" fmla="*/ 21414 w 1334724"/>
                <a:gd name="connsiteY2533" fmla="*/ 1510810 h 1902921"/>
                <a:gd name="connsiteX2534" fmla="*/ 27367 w 1334724"/>
                <a:gd name="connsiteY2534" fmla="*/ 1510256 h 1902921"/>
                <a:gd name="connsiteX2535" fmla="*/ 28225 w 1334724"/>
                <a:gd name="connsiteY2535" fmla="*/ 1510352 h 1902921"/>
                <a:gd name="connsiteX2536" fmla="*/ 34169 w 1334724"/>
                <a:gd name="connsiteY2536" fmla="*/ 1512729 h 1902921"/>
                <a:gd name="connsiteX2537" fmla="*/ 35259 w 1334724"/>
                <a:gd name="connsiteY2537" fmla="*/ 1514869 h 1902921"/>
                <a:gd name="connsiteX2538" fmla="*/ 33340 w 1334724"/>
                <a:gd name="connsiteY2538" fmla="*/ 1516229 h 1902921"/>
                <a:gd name="connsiteX2539" fmla="*/ 27126 w 1334724"/>
                <a:gd name="connsiteY2539" fmla="*/ 1515655 h 1902921"/>
                <a:gd name="connsiteX2540" fmla="*/ 22315 w 1334724"/>
                <a:gd name="connsiteY2540" fmla="*/ 1517101 h 1902921"/>
                <a:gd name="connsiteX2541" fmla="*/ 19741 w 1334724"/>
                <a:gd name="connsiteY2541" fmla="*/ 1522790 h 1902921"/>
                <a:gd name="connsiteX2542" fmla="*/ 18492 w 1334724"/>
                <a:gd name="connsiteY2542" fmla="*/ 1526906 h 1902921"/>
                <a:gd name="connsiteX2543" fmla="*/ 22710 w 1334724"/>
                <a:gd name="connsiteY2543" fmla="*/ 1528155 h 1902921"/>
                <a:gd name="connsiteX2544" fmla="*/ 24002 w 1334724"/>
                <a:gd name="connsiteY2544" fmla="*/ 1529741 h 1902921"/>
                <a:gd name="connsiteX2545" fmla="*/ 24605 w 1334724"/>
                <a:gd name="connsiteY2545" fmla="*/ 1536288 h 1902921"/>
                <a:gd name="connsiteX2546" fmla="*/ 24518 w 1334724"/>
                <a:gd name="connsiteY2546" fmla="*/ 1536967 h 1902921"/>
                <a:gd name="connsiteX2547" fmla="*/ 22725 w 1334724"/>
                <a:gd name="connsiteY2547" fmla="*/ 1542897 h 1902921"/>
                <a:gd name="connsiteX2548" fmla="*/ 20970 w 1334724"/>
                <a:gd name="connsiteY2548" fmla="*/ 1544213 h 1902921"/>
                <a:gd name="connsiteX2549" fmla="*/ 19249 w 1334724"/>
                <a:gd name="connsiteY2549" fmla="*/ 1542877 h 1902921"/>
                <a:gd name="connsiteX2550" fmla="*/ 17562 w 1334724"/>
                <a:gd name="connsiteY2550" fmla="*/ 1536750 h 1902921"/>
                <a:gd name="connsiteX2551" fmla="*/ 12081 w 1334724"/>
                <a:gd name="connsiteY2551" fmla="*/ 1530710 h 1902921"/>
                <a:gd name="connsiteX2552" fmla="*/ 5148 w 1334724"/>
                <a:gd name="connsiteY2552" fmla="*/ 1526082 h 1902921"/>
                <a:gd name="connsiteX2553" fmla="*/ 0 w 1334724"/>
                <a:gd name="connsiteY2553" fmla="*/ 1523026 h 1902921"/>
                <a:gd name="connsiteX2554" fmla="*/ 1441 w 1334724"/>
                <a:gd name="connsiteY2554" fmla="*/ 1524448 h 1902921"/>
                <a:gd name="connsiteX2555" fmla="*/ 1644 w 1334724"/>
                <a:gd name="connsiteY2555" fmla="*/ 1524689 h 1902921"/>
                <a:gd name="connsiteX2556" fmla="*/ 5819 w 1334724"/>
                <a:gd name="connsiteY2556" fmla="*/ 1530652 h 1902921"/>
                <a:gd name="connsiteX2557" fmla="*/ 5862 w 1334724"/>
                <a:gd name="connsiteY2557" fmla="*/ 1530710 h 1902921"/>
                <a:gd name="connsiteX2558" fmla="*/ 10042 w 1334724"/>
                <a:gd name="connsiteY2558" fmla="*/ 1537266 h 1902921"/>
                <a:gd name="connsiteX2559" fmla="*/ 10196 w 1334724"/>
                <a:gd name="connsiteY2559" fmla="*/ 1537546 h 1902921"/>
                <a:gd name="connsiteX2560" fmla="*/ 12577 w 1334724"/>
                <a:gd name="connsiteY2560" fmla="*/ 1543504 h 1902921"/>
                <a:gd name="connsiteX2561" fmla="*/ 12148 w 1334724"/>
                <a:gd name="connsiteY2561" fmla="*/ 1545466 h 1902921"/>
                <a:gd name="connsiteX2562" fmla="*/ 10557 w 1334724"/>
                <a:gd name="connsiteY2562" fmla="*/ 1545804 h 1902921"/>
                <a:gd name="connsiteX2563" fmla="*/ 11700 w 1334724"/>
                <a:gd name="connsiteY2563" fmla="*/ 1547187 h 1902921"/>
                <a:gd name="connsiteX2564" fmla="*/ 11989 w 1334724"/>
                <a:gd name="connsiteY2564" fmla="*/ 1547742 h 1902921"/>
                <a:gd name="connsiteX2565" fmla="*/ 14023 w 1334724"/>
                <a:gd name="connsiteY2565" fmla="*/ 1553343 h 1902921"/>
                <a:gd name="connsiteX2566" fmla="*/ 32193 w 1334724"/>
                <a:gd name="connsiteY2566" fmla="*/ 1542198 h 1902921"/>
                <a:gd name="connsiteX2567" fmla="*/ 35447 w 1334724"/>
                <a:gd name="connsiteY2567" fmla="*/ 1536177 h 1902921"/>
                <a:gd name="connsiteX2568" fmla="*/ 35833 w 1334724"/>
                <a:gd name="connsiteY2568" fmla="*/ 1535680 h 1902921"/>
                <a:gd name="connsiteX2569" fmla="*/ 42384 w 1334724"/>
                <a:gd name="connsiteY2569" fmla="*/ 1529741 h 1902921"/>
                <a:gd name="connsiteX2570" fmla="*/ 44567 w 1334724"/>
                <a:gd name="connsiteY2570" fmla="*/ 1529548 h 1902921"/>
                <a:gd name="connsiteX2571" fmla="*/ 45353 w 1334724"/>
                <a:gd name="connsiteY2571" fmla="*/ 1531612 h 1902921"/>
                <a:gd name="connsiteX2572" fmla="*/ 44674 w 1334724"/>
                <a:gd name="connsiteY2572" fmla="*/ 1533858 h 1902921"/>
                <a:gd name="connsiteX2573" fmla="*/ 48251 w 1334724"/>
                <a:gd name="connsiteY2573" fmla="*/ 1532368 h 1902921"/>
                <a:gd name="connsiteX2574" fmla="*/ 50309 w 1334724"/>
                <a:gd name="connsiteY2574" fmla="*/ 1532855 h 1902921"/>
                <a:gd name="connsiteX2575" fmla="*/ 50550 w 1334724"/>
                <a:gd name="connsiteY2575" fmla="*/ 1534928 h 1902921"/>
                <a:gd name="connsiteX2576" fmla="*/ 47127 w 1334724"/>
                <a:gd name="connsiteY2576" fmla="*/ 1541234 h 1902921"/>
                <a:gd name="connsiteX2577" fmla="*/ 45975 w 1334724"/>
                <a:gd name="connsiteY2577" fmla="*/ 1547486 h 1902921"/>
                <a:gd name="connsiteX2578" fmla="*/ 44813 w 1334724"/>
                <a:gd name="connsiteY2578" fmla="*/ 1554510 h 1902921"/>
                <a:gd name="connsiteX2579" fmla="*/ 44216 w 1334724"/>
                <a:gd name="connsiteY2579" fmla="*/ 1561582 h 1902921"/>
                <a:gd name="connsiteX2580" fmla="*/ 43632 w 1334724"/>
                <a:gd name="connsiteY2580" fmla="*/ 1570466 h 1902921"/>
                <a:gd name="connsiteX2581" fmla="*/ 42350 w 1334724"/>
                <a:gd name="connsiteY2581" fmla="*/ 1572110 h 1902921"/>
                <a:gd name="connsiteX2582" fmla="*/ 17735 w 1334724"/>
                <a:gd name="connsiteY2582" fmla="*/ 1562830 h 1902921"/>
                <a:gd name="connsiteX2583" fmla="*/ 14183 w 1334724"/>
                <a:gd name="connsiteY2583" fmla="*/ 1563496 h 1902921"/>
                <a:gd name="connsiteX2584" fmla="*/ 15041 w 1334724"/>
                <a:gd name="connsiteY2584" fmla="*/ 1568215 h 1902921"/>
                <a:gd name="connsiteX2585" fmla="*/ 16222 w 1334724"/>
                <a:gd name="connsiteY2585" fmla="*/ 1574154 h 1902921"/>
                <a:gd name="connsiteX2586" fmla="*/ 15050 w 1334724"/>
                <a:gd name="connsiteY2586" fmla="*/ 1576232 h 1902921"/>
                <a:gd name="connsiteX2587" fmla="*/ 9314 w 1334724"/>
                <a:gd name="connsiteY2587" fmla="*/ 1578310 h 1902921"/>
                <a:gd name="connsiteX2588" fmla="*/ 7839 w 1334724"/>
                <a:gd name="connsiteY2588" fmla="*/ 1582417 h 1902921"/>
                <a:gd name="connsiteX2589" fmla="*/ 12124 w 1334724"/>
                <a:gd name="connsiteY2589" fmla="*/ 1584138 h 1902921"/>
                <a:gd name="connsiteX2590" fmla="*/ 13228 w 1334724"/>
                <a:gd name="connsiteY2590" fmla="*/ 1585329 h 1902921"/>
                <a:gd name="connsiteX2591" fmla="*/ 12920 w 1334724"/>
                <a:gd name="connsiteY2591" fmla="*/ 1586895 h 1902921"/>
                <a:gd name="connsiteX2592" fmla="*/ 9892 w 1334724"/>
                <a:gd name="connsiteY2592" fmla="*/ 1591104 h 1902921"/>
                <a:gd name="connsiteX2593" fmla="*/ 13585 w 1334724"/>
                <a:gd name="connsiteY2593" fmla="*/ 1591755 h 1902921"/>
                <a:gd name="connsiteX2594" fmla="*/ 14920 w 1334724"/>
                <a:gd name="connsiteY2594" fmla="*/ 1592883 h 1902921"/>
                <a:gd name="connsiteX2595" fmla="*/ 14723 w 1334724"/>
                <a:gd name="connsiteY2595" fmla="*/ 1594628 h 1902921"/>
                <a:gd name="connsiteX2596" fmla="*/ 12630 w 1334724"/>
                <a:gd name="connsiteY2596" fmla="*/ 1597501 h 1902921"/>
                <a:gd name="connsiteX2597" fmla="*/ 14708 w 1334724"/>
                <a:gd name="connsiteY2597" fmla="*/ 1597120 h 1902921"/>
                <a:gd name="connsiteX2598" fmla="*/ 16198 w 1334724"/>
                <a:gd name="connsiteY2598" fmla="*/ 1597535 h 1902921"/>
                <a:gd name="connsiteX2599" fmla="*/ 16839 w 1334724"/>
                <a:gd name="connsiteY2599" fmla="*/ 1598938 h 1902921"/>
                <a:gd name="connsiteX2600" fmla="*/ 16839 w 1334724"/>
                <a:gd name="connsiteY2600" fmla="*/ 1604178 h 1902921"/>
                <a:gd name="connsiteX2601" fmla="*/ 20319 w 1334724"/>
                <a:gd name="connsiteY2601" fmla="*/ 1608005 h 1902921"/>
                <a:gd name="connsiteX2602" fmla="*/ 23689 w 1334724"/>
                <a:gd name="connsiteY2602" fmla="*/ 1603773 h 1902921"/>
                <a:gd name="connsiteX2603" fmla="*/ 28336 w 1334724"/>
                <a:gd name="connsiteY2603" fmla="*/ 1597395 h 1902921"/>
                <a:gd name="connsiteX2604" fmla="*/ 32328 w 1334724"/>
                <a:gd name="connsiteY2604" fmla="*/ 1588780 h 1902921"/>
                <a:gd name="connsiteX2605" fmla="*/ 34116 w 1334724"/>
                <a:gd name="connsiteY2605" fmla="*/ 1581814 h 1902921"/>
                <a:gd name="connsiteX2606" fmla="*/ 34873 w 1334724"/>
                <a:gd name="connsiteY2606" fmla="*/ 1580710 h 1902921"/>
                <a:gd name="connsiteX2607" fmla="*/ 41434 w 1334724"/>
                <a:gd name="connsiteY2607" fmla="*/ 1576545 h 1902921"/>
                <a:gd name="connsiteX2608" fmla="*/ 43729 w 1334724"/>
                <a:gd name="connsiteY2608" fmla="*/ 1576849 h 1902921"/>
                <a:gd name="connsiteX2609" fmla="*/ 43878 w 1334724"/>
                <a:gd name="connsiteY2609" fmla="*/ 1579158 h 1902921"/>
                <a:gd name="connsiteX2610" fmla="*/ 39318 w 1334724"/>
                <a:gd name="connsiteY2610" fmla="*/ 1585449 h 1902921"/>
                <a:gd name="connsiteX2611" fmla="*/ 37616 w 1334724"/>
                <a:gd name="connsiteY2611" fmla="*/ 1591653 h 1902921"/>
                <a:gd name="connsiteX2612" fmla="*/ 37423 w 1334724"/>
                <a:gd name="connsiteY2612" fmla="*/ 1592131 h 1902921"/>
                <a:gd name="connsiteX2613" fmla="*/ 35061 w 1334724"/>
                <a:gd name="connsiteY2613" fmla="*/ 1596002 h 1902921"/>
                <a:gd name="connsiteX2614" fmla="*/ 39313 w 1334724"/>
                <a:gd name="connsiteY2614" fmla="*/ 1597173 h 1902921"/>
                <a:gd name="connsiteX2615" fmla="*/ 40610 w 1334724"/>
                <a:gd name="connsiteY2615" fmla="*/ 1598639 h 1902921"/>
                <a:gd name="connsiteX2616" fmla="*/ 39805 w 1334724"/>
                <a:gd name="connsiteY2616" fmla="*/ 1600437 h 1902921"/>
                <a:gd name="connsiteX2617" fmla="*/ 33798 w 1334724"/>
                <a:gd name="connsiteY2617" fmla="*/ 1604289 h 1902921"/>
                <a:gd name="connsiteX2618" fmla="*/ 32410 w 1334724"/>
                <a:gd name="connsiteY2618" fmla="*/ 1608068 h 1902921"/>
                <a:gd name="connsiteX2619" fmla="*/ 35350 w 1334724"/>
                <a:gd name="connsiteY2619" fmla="*/ 1608362 h 1902921"/>
                <a:gd name="connsiteX2620" fmla="*/ 41333 w 1334724"/>
                <a:gd name="connsiteY2620" fmla="*/ 1603990 h 1902921"/>
                <a:gd name="connsiteX2621" fmla="*/ 43358 w 1334724"/>
                <a:gd name="connsiteY2621" fmla="*/ 1603941 h 1902921"/>
                <a:gd name="connsiteX2622" fmla="*/ 44201 w 1334724"/>
                <a:gd name="connsiteY2622" fmla="*/ 1605769 h 1902921"/>
                <a:gd name="connsiteX2623" fmla="*/ 43001 w 1334724"/>
                <a:gd name="connsiteY2623" fmla="*/ 1612898 h 1902921"/>
                <a:gd name="connsiteX2624" fmla="*/ 43001 w 1334724"/>
                <a:gd name="connsiteY2624" fmla="*/ 1612932 h 1902921"/>
                <a:gd name="connsiteX2625" fmla="*/ 41815 w 1334724"/>
                <a:gd name="connsiteY2625" fmla="*/ 1619459 h 1902921"/>
                <a:gd name="connsiteX2626" fmla="*/ 41776 w 1334724"/>
                <a:gd name="connsiteY2626" fmla="*/ 1619638 h 1902921"/>
                <a:gd name="connsiteX2627" fmla="*/ 40185 w 1334724"/>
                <a:gd name="connsiteY2627" fmla="*/ 1625543 h 1902921"/>
                <a:gd name="connsiteX2628" fmla="*/ 42649 w 1334724"/>
                <a:gd name="connsiteY2628" fmla="*/ 1631053 h 1902921"/>
                <a:gd name="connsiteX2629" fmla="*/ 45368 w 1334724"/>
                <a:gd name="connsiteY2629" fmla="*/ 1631053 h 1902921"/>
                <a:gd name="connsiteX2630" fmla="*/ 45667 w 1334724"/>
                <a:gd name="connsiteY2630" fmla="*/ 1631053 h 1902921"/>
                <a:gd name="connsiteX2631" fmla="*/ 47648 w 1334724"/>
                <a:gd name="connsiteY2631" fmla="*/ 1631376 h 1902921"/>
                <a:gd name="connsiteX2632" fmla="*/ 50111 w 1334724"/>
                <a:gd name="connsiteY2632" fmla="*/ 1626478 h 1902921"/>
                <a:gd name="connsiteX2633" fmla="*/ 50111 w 1334724"/>
                <a:gd name="connsiteY2633" fmla="*/ 1613212 h 1902921"/>
                <a:gd name="connsiteX2634" fmla="*/ 50405 w 1334724"/>
                <a:gd name="connsiteY2634" fmla="*/ 1612204 h 1902921"/>
                <a:gd name="connsiteX2635" fmla="*/ 55115 w 1334724"/>
                <a:gd name="connsiteY2635" fmla="*/ 1605147 h 1902921"/>
                <a:gd name="connsiteX2636" fmla="*/ 58630 w 1334724"/>
                <a:gd name="connsiteY2636" fmla="*/ 1598113 h 1902921"/>
                <a:gd name="connsiteX2637" fmla="*/ 60071 w 1334724"/>
                <a:gd name="connsiteY2637" fmla="*/ 1597135 h 1902921"/>
                <a:gd name="connsiteX2638" fmla="*/ 65649 w 1334724"/>
                <a:gd name="connsiteY2638" fmla="*/ 1596551 h 1902921"/>
                <a:gd name="connsiteX2639" fmla="*/ 70604 w 1334724"/>
                <a:gd name="connsiteY2639" fmla="*/ 1593577 h 1902921"/>
                <a:gd name="connsiteX2640" fmla="*/ 72094 w 1334724"/>
                <a:gd name="connsiteY2640" fmla="*/ 1588052 h 1902921"/>
                <a:gd name="connsiteX2641" fmla="*/ 71535 w 1334724"/>
                <a:gd name="connsiteY2641" fmla="*/ 1581829 h 1902921"/>
                <a:gd name="connsiteX2642" fmla="*/ 72991 w 1334724"/>
                <a:gd name="connsiteY2642" fmla="*/ 1579867 h 1902921"/>
                <a:gd name="connsiteX2643" fmla="*/ 98140 w 1334724"/>
                <a:gd name="connsiteY2643" fmla="*/ 1571093 h 1902921"/>
                <a:gd name="connsiteX2644" fmla="*/ 104513 w 1334724"/>
                <a:gd name="connsiteY2644" fmla="*/ 1567044 h 1902921"/>
                <a:gd name="connsiteX2645" fmla="*/ 106022 w 1334724"/>
                <a:gd name="connsiteY2645" fmla="*/ 1566832 h 1902921"/>
                <a:gd name="connsiteX2646" fmla="*/ 107140 w 1334724"/>
                <a:gd name="connsiteY2646" fmla="*/ 1567839 h 1902921"/>
                <a:gd name="connsiteX2647" fmla="*/ 109204 w 1334724"/>
                <a:gd name="connsiteY2647" fmla="*/ 1572375 h 1902921"/>
                <a:gd name="connsiteX2648" fmla="*/ 113388 w 1334724"/>
                <a:gd name="connsiteY2648" fmla="*/ 1569478 h 1902921"/>
                <a:gd name="connsiteX2649" fmla="*/ 113928 w 1334724"/>
                <a:gd name="connsiteY2649" fmla="*/ 1569203 h 1902921"/>
                <a:gd name="connsiteX2650" fmla="*/ 119611 w 1334724"/>
                <a:gd name="connsiteY2650" fmla="*/ 1567675 h 1902921"/>
                <a:gd name="connsiteX2651" fmla="*/ 121641 w 1334724"/>
                <a:gd name="connsiteY2651" fmla="*/ 1562527 h 1902921"/>
                <a:gd name="connsiteX2652" fmla="*/ 121940 w 1334724"/>
                <a:gd name="connsiteY2652" fmla="*/ 1562064 h 1902921"/>
                <a:gd name="connsiteX2653" fmla="*/ 127291 w 1334724"/>
                <a:gd name="connsiteY2653" fmla="*/ 1555527 h 1902921"/>
                <a:gd name="connsiteX2654" fmla="*/ 129653 w 1334724"/>
                <a:gd name="connsiteY2654" fmla="*/ 1555122 h 1902921"/>
                <a:gd name="connsiteX2655" fmla="*/ 130357 w 1334724"/>
                <a:gd name="connsiteY2655" fmla="*/ 1557417 h 1902921"/>
                <a:gd name="connsiteX2656" fmla="*/ 127397 w 1334724"/>
                <a:gd name="connsiteY2656" fmla="*/ 1563954 h 1902921"/>
                <a:gd name="connsiteX2657" fmla="*/ 127354 w 1334724"/>
                <a:gd name="connsiteY2657" fmla="*/ 1564026 h 1902921"/>
                <a:gd name="connsiteX2658" fmla="*/ 125676 w 1334724"/>
                <a:gd name="connsiteY2658" fmla="*/ 1567343 h 1902921"/>
                <a:gd name="connsiteX2659" fmla="*/ 136421 w 1334724"/>
                <a:gd name="connsiteY2659" fmla="*/ 1567343 h 1902921"/>
                <a:gd name="connsiteX2660" fmla="*/ 138219 w 1334724"/>
                <a:gd name="connsiteY2660" fmla="*/ 1568851 h 1902921"/>
                <a:gd name="connsiteX2661" fmla="*/ 137048 w 1334724"/>
                <a:gd name="connsiteY2661" fmla="*/ 1570881 h 1902921"/>
                <a:gd name="connsiteX2662" fmla="*/ 130521 w 1334724"/>
                <a:gd name="connsiteY2662" fmla="*/ 1573258 h 1902921"/>
                <a:gd name="connsiteX2663" fmla="*/ 129899 w 1334724"/>
                <a:gd name="connsiteY2663" fmla="*/ 1573359 h 1902921"/>
                <a:gd name="connsiteX2664" fmla="*/ 117519 w 1334724"/>
                <a:gd name="connsiteY2664" fmla="*/ 1573359 h 1902921"/>
                <a:gd name="connsiteX2665" fmla="*/ 111643 w 1334724"/>
                <a:gd name="connsiteY2665" fmla="*/ 1578691 h 1902921"/>
                <a:gd name="connsiteX2666" fmla="*/ 107145 w 1334724"/>
                <a:gd name="connsiteY2666" fmla="*/ 1585449 h 1902921"/>
                <a:gd name="connsiteX2667" fmla="*/ 104822 w 1334724"/>
                <a:gd name="connsiteY2667" fmla="*/ 1592372 h 1902921"/>
                <a:gd name="connsiteX2668" fmla="*/ 95932 w 1334724"/>
                <a:gd name="connsiteY2668" fmla="*/ 1623793 h 1902921"/>
                <a:gd name="connsiteX2669" fmla="*/ 93859 w 1334724"/>
                <a:gd name="connsiteY2669" fmla="*/ 1625109 h 1902921"/>
                <a:gd name="connsiteX2670" fmla="*/ 92370 w 1334724"/>
                <a:gd name="connsiteY2670" fmla="*/ 1623162 h 1902921"/>
                <a:gd name="connsiteX2671" fmla="*/ 97142 w 1334724"/>
                <a:gd name="connsiteY2671" fmla="*/ 1596855 h 1902921"/>
                <a:gd name="connsiteX2672" fmla="*/ 97210 w 1334724"/>
                <a:gd name="connsiteY2672" fmla="*/ 1596599 h 1902921"/>
                <a:gd name="connsiteX2673" fmla="*/ 98993 w 1334724"/>
                <a:gd name="connsiteY2673" fmla="*/ 1590670 h 1902921"/>
                <a:gd name="connsiteX2674" fmla="*/ 99018 w 1334724"/>
                <a:gd name="connsiteY2674" fmla="*/ 1590593 h 1902921"/>
                <a:gd name="connsiteX2675" fmla="*/ 101235 w 1334724"/>
                <a:gd name="connsiteY2675" fmla="*/ 1584466 h 1902921"/>
                <a:gd name="connsiteX2676" fmla="*/ 100415 w 1334724"/>
                <a:gd name="connsiteY2676" fmla="*/ 1579457 h 1902921"/>
                <a:gd name="connsiteX2677" fmla="*/ 96308 w 1334724"/>
                <a:gd name="connsiteY2677" fmla="*/ 1579843 h 1902921"/>
                <a:gd name="connsiteX2678" fmla="*/ 91435 w 1334724"/>
                <a:gd name="connsiteY2678" fmla="*/ 1585777 h 1902921"/>
                <a:gd name="connsiteX2679" fmla="*/ 90321 w 1334724"/>
                <a:gd name="connsiteY2679" fmla="*/ 1586428 h 1902921"/>
                <a:gd name="connsiteX2680" fmla="*/ 84314 w 1334724"/>
                <a:gd name="connsiteY2680" fmla="*/ 1587440 h 1902921"/>
                <a:gd name="connsiteX2681" fmla="*/ 82825 w 1334724"/>
                <a:gd name="connsiteY2681" fmla="*/ 1592309 h 1902921"/>
                <a:gd name="connsiteX2682" fmla="*/ 82295 w 1334724"/>
                <a:gd name="connsiteY2682" fmla="*/ 1593129 h 1902921"/>
                <a:gd name="connsiteX2683" fmla="*/ 76591 w 1334724"/>
                <a:gd name="connsiteY2683" fmla="*/ 1598277 h 1902921"/>
                <a:gd name="connsiteX2684" fmla="*/ 73179 w 1334724"/>
                <a:gd name="connsiteY2684" fmla="*/ 1604563 h 1902921"/>
                <a:gd name="connsiteX2685" fmla="*/ 72446 w 1334724"/>
                <a:gd name="connsiteY2685" fmla="*/ 1605272 h 1902921"/>
                <a:gd name="connsiteX2686" fmla="*/ 67191 w 1334724"/>
                <a:gd name="connsiteY2686" fmla="*/ 1608145 h 1902921"/>
                <a:gd name="connsiteX2687" fmla="*/ 68363 w 1334724"/>
                <a:gd name="connsiteY2687" fmla="*/ 1612007 h 1902921"/>
                <a:gd name="connsiteX2688" fmla="*/ 72692 w 1334724"/>
                <a:gd name="connsiteY2688" fmla="*/ 1614605 h 1902921"/>
                <a:gd name="connsiteX2689" fmla="*/ 77686 w 1334724"/>
                <a:gd name="connsiteY2689" fmla="*/ 1611134 h 1902921"/>
                <a:gd name="connsiteX2690" fmla="*/ 80048 w 1334724"/>
                <a:gd name="connsiteY2690" fmla="*/ 1611370 h 1902921"/>
                <a:gd name="connsiteX2691" fmla="*/ 80130 w 1334724"/>
                <a:gd name="connsiteY2691" fmla="*/ 1613747 h 1902921"/>
                <a:gd name="connsiteX2692" fmla="*/ 75367 w 1334724"/>
                <a:gd name="connsiteY2692" fmla="*/ 1619691 h 1902921"/>
                <a:gd name="connsiteX2693" fmla="*/ 74268 w 1334724"/>
                <a:gd name="connsiteY2693" fmla="*/ 1620346 h 1902921"/>
                <a:gd name="connsiteX2694" fmla="*/ 68020 w 1334724"/>
                <a:gd name="connsiteY2694" fmla="*/ 1621484 h 1902921"/>
                <a:gd name="connsiteX2695" fmla="*/ 62202 w 1334724"/>
                <a:gd name="connsiteY2695" fmla="*/ 1624661 h 1902921"/>
                <a:gd name="connsiteX2696" fmla="*/ 57506 w 1334724"/>
                <a:gd name="connsiteY2696" fmla="*/ 1633034 h 1902921"/>
                <a:gd name="connsiteX2697" fmla="*/ 57834 w 1334724"/>
                <a:gd name="connsiteY2697" fmla="*/ 1634037 h 1902921"/>
                <a:gd name="connsiteX2698" fmla="*/ 57405 w 1334724"/>
                <a:gd name="connsiteY2698" fmla="*/ 1635922 h 1902921"/>
                <a:gd name="connsiteX2699" fmla="*/ 51437 w 1334724"/>
                <a:gd name="connsiteY2699" fmla="*/ 1641871 h 1902921"/>
                <a:gd name="connsiteX2700" fmla="*/ 50777 w 1334724"/>
                <a:gd name="connsiteY2700" fmla="*/ 1642271 h 1902921"/>
                <a:gd name="connsiteX2701" fmla="*/ 44953 w 1334724"/>
                <a:gd name="connsiteY2701" fmla="*/ 1644411 h 1902921"/>
                <a:gd name="connsiteX2702" fmla="*/ 42273 w 1334724"/>
                <a:gd name="connsiteY2702" fmla="*/ 1650273 h 1902921"/>
                <a:gd name="connsiteX2703" fmla="*/ 41545 w 1334724"/>
                <a:gd name="connsiteY2703" fmla="*/ 1651049 h 1902921"/>
                <a:gd name="connsiteX2704" fmla="*/ 37346 w 1334724"/>
                <a:gd name="connsiteY2704" fmla="*/ 1653595 h 1902921"/>
                <a:gd name="connsiteX2705" fmla="*/ 37650 w 1334724"/>
                <a:gd name="connsiteY2705" fmla="*/ 1654038 h 1902921"/>
                <a:gd name="connsiteX2706" fmla="*/ 43237 w 1334724"/>
                <a:gd name="connsiteY2706" fmla="*/ 1656791 h 1902921"/>
                <a:gd name="connsiteX2707" fmla="*/ 43772 w 1334724"/>
                <a:gd name="connsiteY2707" fmla="*/ 1657215 h 1902921"/>
                <a:gd name="connsiteX2708" fmla="*/ 47228 w 1334724"/>
                <a:gd name="connsiteY2708" fmla="*/ 1661067 h 1902921"/>
                <a:gd name="connsiteX2709" fmla="*/ 52257 w 1334724"/>
                <a:gd name="connsiteY2709" fmla="*/ 1654361 h 1902921"/>
                <a:gd name="connsiteX2710" fmla="*/ 54363 w 1334724"/>
                <a:gd name="connsiteY2710" fmla="*/ 1653773 h 1902921"/>
                <a:gd name="connsiteX2711" fmla="*/ 55525 w 1334724"/>
                <a:gd name="connsiteY2711" fmla="*/ 1655619 h 1902921"/>
                <a:gd name="connsiteX2712" fmla="*/ 55048 w 1334724"/>
                <a:gd name="connsiteY2712" fmla="*/ 1661568 h 1902921"/>
                <a:gd name="connsiteX2713" fmla="*/ 59550 w 1334724"/>
                <a:gd name="connsiteY2713" fmla="*/ 1664012 h 1902921"/>
                <a:gd name="connsiteX2714" fmla="*/ 65128 w 1334724"/>
                <a:gd name="connsiteY2714" fmla="*/ 1659973 h 1902921"/>
                <a:gd name="connsiteX2715" fmla="*/ 71617 w 1334724"/>
                <a:gd name="connsiteY2715" fmla="*/ 1654631 h 1902921"/>
                <a:gd name="connsiteX2716" fmla="*/ 72036 w 1334724"/>
                <a:gd name="connsiteY2716" fmla="*/ 1654390 h 1902921"/>
                <a:gd name="connsiteX2717" fmla="*/ 78563 w 1334724"/>
                <a:gd name="connsiteY2717" fmla="*/ 1651401 h 1902921"/>
                <a:gd name="connsiteX2718" fmla="*/ 80863 w 1334724"/>
                <a:gd name="connsiteY2718" fmla="*/ 1652120 h 1902921"/>
                <a:gd name="connsiteX2719" fmla="*/ 80477 w 1334724"/>
                <a:gd name="connsiteY2719" fmla="*/ 1654462 h 1902921"/>
                <a:gd name="connsiteX2720" fmla="*/ 73916 w 1334724"/>
                <a:gd name="connsiteY2720" fmla="*/ 1659828 h 1902921"/>
                <a:gd name="connsiteX2721" fmla="*/ 73839 w 1334724"/>
                <a:gd name="connsiteY2721" fmla="*/ 1659886 h 1902921"/>
                <a:gd name="connsiteX2722" fmla="*/ 67345 w 1334724"/>
                <a:gd name="connsiteY2722" fmla="*/ 1664624 h 1902921"/>
                <a:gd name="connsiteX2723" fmla="*/ 60852 w 1334724"/>
                <a:gd name="connsiteY2723" fmla="*/ 1669947 h 1902921"/>
                <a:gd name="connsiteX2724" fmla="*/ 59671 w 1334724"/>
                <a:gd name="connsiteY2724" fmla="*/ 1670366 h 1902921"/>
                <a:gd name="connsiteX2725" fmla="*/ 53717 w 1334724"/>
                <a:gd name="connsiteY2725" fmla="*/ 1670366 h 1902921"/>
                <a:gd name="connsiteX2726" fmla="*/ 53278 w 1334724"/>
                <a:gd name="connsiteY2726" fmla="*/ 1670332 h 1902921"/>
                <a:gd name="connsiteX2727" fmla="*/ 51712 w 1334724"/>
                <a:gd name="connsiteY2727" fmla="*/ 1669927 h 1902921"/>
                <a:gd name="connsiteX2728" fmla="*/ 46698 w 1334724"/>
                <a:gd name="connsiteY2728" fmla="*/ 1673393 h 1902921"/>
                <a:gd name="connsiteX2729" fmla="*/ 44519 w 1334724"/>
                <a:gd name="connsiteY2729" fmla="*/ 1676565 h 1902921"/>
                <a:gd name="connsiteX2730" fmla="*/ 47359 w 1334724"/>
                <a:gd name="connsiteY2730" fmla="*/ 1676855 h 1902921"/>
                <a:gd name="connsiteX2731" fmla="*/ 48858 w 1334724"/>
                <a:gd name="connsiteY2731" fmla="*/ 1677920 h 1902921"/>
                <a:gd name="connsiteX2732" fmla="*/ 48631 w 1334724"/>
                <a:gd name="connsiteY2732" fmla="*/ 1679718 h 1902921"/>
                <a:gd name="connsiteX2733" fmla="*/ 43897 w 1334724"/>
                <a:gd name="connsiteY2733" fmla="*/ 1686284 h 1902921"/>
                <a:gd name="connsiteX2734" fmla="*/ 42538 w 1334724"/>
                <a:gd name="connsiteY2734" fmla="*/ 1687021 h 1902921"/>
                <a:gd name="connsiteX2735" fmla="*/ 41077 w 1334724"/>
                <a:gd name="connsiteY2735" fmla="*/ 1686453 h 1902921"/>
                <a:gd name="connsiteX2736" fmla="*/ 35408 w 1334724"/>
                <a:gd name="connsiteY2736" fmla="*/ 1680181 h 1902921"/>
                <a:gd name="connsiteX2737" fmla="*/ 30245 w 1334724"/>
                <a:gd name="connsiteY2737" fmla="*/ 1678050 h 1902921"/>
                <a:gd name="connsiteX2738" fmla="*/ 27536 w 1334724"/>
                <a:gd name="connsiteY2738" fmla="*/ 1683936 h 1902921"/>
                <a:gd name="connsiteX2739" fmla="*/ 26996 w 1334724"/>
                <a:gd name="connsiteY2739" fmla="*/ 1689480 h 1902921"/>
                <a:gd name="connsiteX2740" fmla="*/ 26996 w 1334724"/>
                <a:gd name="connsiteY2740" fmla="*/ 1691143 h 1902921"/>
                <a:gd name="connsiteX2741" fmla="*/ 26461 w 1334724"/>
                <a:gd name="connsiteY2741" fmla="*/ 1692454 h 1902921"/>
                <a:gd name="connsiteX2742" fmla="*/ 20498 w 1334724"/>
                <a:gd name="connsiteY2742" fmla="*/ 1698389 h 1902921"/>
                <a:gd name="connsiteX2743" fmla="*/ 19365 w 1334724"/>
                <a:gd name="connsiteY2743" fmla="*/ 1698924 h 1902921"/>
                <a:gd name="connsiteX2744" fmla="*/ 12833 w 1334724"/>
                <a:gd name="connsiteY2744" fmla="*/ 1699527 h 1902921"/>
                <a:gd name="connsiteX2745" fmla="*/ 12235 w 1334724"/>
                <a:gd name="connsiteY2745" fmla="*/ 1699459 h 1902921"/>
                <a:gd name="connsiteX2746" fmla="*/ 9859 w 1334724"/>
                <a:gd name="connsiteY2746" fmla="*/ 1698885 h 1902921"/>
                <a:gd name="connsiteX2747" fmla="*/ 8460 w 1334724"/>
                <a:gd name="connsiteY2747" fmla="*/ 1696967 h 1902921"/>
                <a:gd name="connsiteX2748" fmla="*/ 10114 w 1334724"/>
                <a:gd name="connsiteY2748" fmla="*/ 1695304 h 1902921"/>
                <a:gd name="connsiteX2749" fmla="*/ 15446 w 1334724"/>
                <a:gd name="connsiteY2749" fmla="*/ 1694759 h 1902921"/>
                <a:gd name="connsiteX2750" fmla="*/ 20281 w 1334724"/>
                <a:gd name="connsiteY2750" fmla="*/ 1690439 h 1902921"/>
                <a:gd name="connsiteX2751" fmla="*/ 19794 w 1334724"/>
                <a:gd name="connsiteY2751" fmla="*/ 1685378 h 1902921"/>
                <a:gd name="connsiteX2752" fmla="*/ 19866 w 1334724"/>
                <a:gd name="connsiteY2752" fmla="*/ 1684587 h 1902921"/>
                <a:gd name="connsiteX2753" fmla="*/ 22185 w 1334724"/>
                <a:gd name="connsiteY2753" fmla="*/ 1678272 h 1902921"/>
                <a:gd name="connsiteX2754" fmla="*/ 22576 w 1334724"/>
                <a:gd name="connsiteY2754" fmla="*/ 1673750 h 1902921"/>
                <a:gd name="connsiteX2755" fmla="*/ 19640 w 1334724"/>
                <a:gd name="connsiteY2755" fmla="*/ 1673461 h 1902921"/>
                <a:gd name="connsiteX2756" fmla="*/ 17041 w 1334724"/>
                <a:gd name="connsiteY2756" fmla="*/ 1678190 h 1902921"/>
                <a:gd name="connsiteX2757" fmla="*/ 19110 w 1334724"/>
                <a:gd name="connsiteY2757" fmla="*/ 1683358 h 1902921"/>
                <a:gd name="connsiteX2758" fmla="*/ 18637 w 1334724"/>
                <a:gd name="connsiteY2758" fmla="*/ 1685378 h 1902921"/>
                <a:gd name="connsiteX2759" fmla="*/ 16554 w 1334724"/>
                <a:gd name="connsiteY2759" fmla="*/ 1685624 h 1902921"/>
                <a:gd name="connsiteX2760" fmla="*/ 11599 w 1334724"/>
                <a:gd name="connsiteY2760" fmla="*/ 1682924 h 1902921"/>
                <a:gd name="connsiteX2761" fmla="*/ 8899 w 1334724"/>
                <a:gd name="connsiteY2761" fmla="*/ 1687875 h 1902921"/>
                <a:gd name="connsiteX2762" fmla="*/ 8706 w 1334724"/>
                <a:gd name="connsiteY2762" fmla="*/ 1688145 h 1902921"/>
                <a:gd name="connsiteX2763" fmla="*/ 4252 w 1334724"/>
                <a:gd name="connsiteY2763" fmla="*/ 1693592 h 1902921"/>
                <a:gd name="connsiteX2764" fmla="*/ 6966 w 1334724"/>
                <a:gd name="connsiteY2764" fmla="*/ 1697213 h 1902921"/>
                <a:gd name="connsiteX2765" fmla="*/ 7072 w 1334724"/>
                <a:gd name="connsiteY2765" fmla="*/ 1699252 h 1902921"/>
                <a:gd name="connsiteX2766" fmla="*/ 3929 w 1334724"/>
                <a:gd name="connsiteY2766" fmla="*/ 1704444 h 1902921"/>
                <a:gd name="connsiteX2767" fmla="*/ 6031 w 1334724"/>
                <a:gd name="connsiteY2767" fmla="*/ 1710195 h 1902921"/>
                <a:gd name="connsiteX2768" fmla="*/ 7246 w 1334724"/>
                <a:gd name="connsiteY2768" fmla="*/ 1713791 h 1902921"/>
                <a:gd name="connsiteX2769" fmla="*/ 7260 w 1334724"/>
                <a:gd name="connsiteY2769" fmla="*/ 1713854 h 1902921"/>
                <a:gd name="connsiteX2770" fmla="*/ 7752 w 1334724"/>
                <a:gd name="connsiteY2770" fmla="*/ 1715411 h 1902921"/>
                <a:gd name="connsiteX2771" fmla="*/ 8653 w 1334724"/>
                <a:gd name="connsiteY2771" fmla="*/ 1713555 h 1902921"/>
                <a:gd name="connsiteX2772" fmla="*/ 10533 w 1334724"/>
                <a:gd name="connsiteY2772" fmla="*/ 1712562 h 1902921"/>
                <a:gd name="connsiteX2773" fmla="*/ 12076 w 1334724"/>
                <a:gd name="connsiteY2773" fmla="*/ 1714017 h 1902921"/>
                <a:gd name="connsiteX2774" fmla="*/ 12481 w 1334724"/>
                <a:gd name="connsiteY2774" fmla="*/ 1716153 h 1902921"/>
                <a:gd name="connsiteX2775" fmla="*/ 14805 w 1334724"/>
                <a:gd name="connsiteY2775" fmla="*/ 1713217 h 1902921"/>
                <a:gd name="connsiteX2776" fmla="*/ 16829 w 1334724"/>
                <a:gd name="connsiteY2776" fmla="*/ 1712639 h 1902921"/>
                <a:gd name="connsiteX2777" fmla="*/ 18044 w 1334724"/>
                <a:gd name="connsiteY2777" fmla="*/ 1714369 h 1902921"/>
                <a:gd name="connsiteX2778" fmla="*/ 18044 w 1334724"/>
                <a:gd name="connsiteY2778" fmla="*/ 1725635 h 1902921"/>
                <a:gd name="connsiteX2779" fmla="*/ 21149 w 1334724"/>
                <a:gd name="connsiteY2779" fmla="*/ 1725635 h 1902921"/>
                <a:gd name="connsiteX2780" fmla="*/ 24036 w 1334724"/>
                <a:gd name="connsiteY2780" fmla="*/ 1720848 h 1902921"/>
                <a:gd name="connsiteX2781" fmla="*/ 25102 w 1334724"/>
                <a:gd name="connsiteY2781" fmla="*/ 1714895 h 1902921"/>
                <a:gd name="connsiteX2782" fmla="*/ 24552 w 1334724"/>
                <a:gd name="connsiteY2782" fmla="*/ 1708580 h 1902921"/>
                <a:gd name="connsiteX2783" fmla="*/ 24552 w 1334724"/>
                <a:gd name="connsiteY2783" fmla="*/ 1708604 h 1902921"/>
                <a:gd name="connsiteX2784" fmla="*/ 24258 w 1334724"/>
                <a:gd name="connsiteY2784" fmla="*/ 1705813 h 1902921"/>
                <a:gd name="connsiteX2785" fmla="*/ 20276 w 1334724"/>
                <a:gd name="connsiteY2785" fmla="*/ 1708705 h 1902921"/>
                <a:gd name="connsiteX2786" fmla="*/ 17875 w 1334724"/>
                <a:gd name="connsiteY2786" fmla="*/ 1708483 h 1902921"/>
                <a:gd name="connsiteX2787" fmla="*/ 17788 w 1334724"/>
                <a:gd name="connsiteY2787" fmla="*/ 1706073 h 1902921"/>
                <a:gd name="connsiteX2788" fmla="*/ 23159 w 1334724"/>
                <a:gd name="connsiteY2788" fmla="*/ 1699531 h 1902921"/>
                <a:gd name="connsiteX2789" fmla="*/ 24677 w 1334724"/>
                <a:gd name="connsiteY2789" fmla="*/ 1698856 h 1902921"/>
                <a:gd name="connsiteX2790" fmla="*/ 26119 w 1334724"/>
                <a:gd name="connsiteY2790" fmla="*/ 1699738 h 1902921"/>
                <a:gd name="connsiteX2791" fmla="*/ 29672 w 1334724"/>
                <a:gd name="connsiteY2791" fmla="*/ 1705697 h 1902921"/>
                <a:gd name="connsiteX2792" fmla="*/ 29937 w 1334724"/>
                <a:gd name="connsiteY2792" fmla="*/ 1706468 h 1902921"/>
                <a:gd name="connsiteX2793" fmla="*/ 30530 w 1334724"/>
                <a:gd name="connsiteY2793" fmla="*/ 1712321 h 1902921"/>
                <a:gd name="connsiteX2794" fmla="*/ 31720 w 1334724"/>
                <a:gd name="connsiteY2794" fmla="*/ 1718800 h 1902921"/>
                <a:gd name="connsiteX2795" fmla="*/ 31682 w 1334724"/>
                <a:gd name="connsiteY2795" fmla="*/ 1719571 h 1902921"/>
                <a:gd name="connsiteX2796" fmla="*/ 30689 w 1334724"/>
                <a:gd name="connsiteY2796" fmla="*/ 1723611 h 1902921"/>
                <a:gd name="connsiteX2797" fmla="*/ 33408 w 1334724"/>
                <a:gd name="connsiteY2797" fmla="*/ 1722786 h 1902921"/>
                <a:gd name="connsiteX2798" fmla="*/ 38865 w 1334724"/>
                <a:gd name="connsiteY2798" fmla="*/ 1720058 h 1902921"/>
                <a:gd name="connsiteX2799" fmla="*/ 43290 w 1334724"/>
                <a:gd name="connsiteY2799" fmla="*/ 1714639 h 1902921"/>
                <a:gd name="connsiteX2800" fmla="*/ 41936 w 1334724"/>
                <a:gd name="connsiteY2800" fmla="*/ 1711260 h 1902921"/>
                <a:gd name="connsiteX2801" fmla="*/ 37568 w 1334724"/>
                <a:gd name="connsiteY2801" fmla="*/ 1712557 h 1902921"/>
                <a:gd name="connsiteX2802" fmla="*/ 36136 w 1334724"/>
                <a:gd name="connsiteY2802" fmla="*/ 1712374 h 1902921"/>
                <a:gd name="connsiteX2803" fmla="*/ 35259 w 1334724"/>
                <a:gd name="connsiteY2803" fmla="*/ 1711140 h 1902921"/>
                <a:gd name="connsiteX2804" fmla="*/ 34082 w 1334724"/>
                <a:gd name="connsiteY2804" fmla="*/ 1705205 h 1902921"/>
                <a:gd name="connsiteX2805" fmla="*/ 34584 w 1334724"/>
                <a:gd name="connsiteY2805" fmla="*/ 1703571 h 1902921"/>
                <a:gd name="connsiteX2806" fmla="*/ 36252 w 1334724"/>
                <a:gd name="connsiteY2806" fmla="*/ 1703079 h 1902921"/>
                <a:gd name="connsiteX2807" fmla="*/ 40190 w 1334724"/>
                <a:gd name="connsiteY2807" fmla="*/ 1703855 h 1902921"/>
                <a:gd name="connsiteX2808" fmla="*/ 40595 w 1334724"/>
                <a:gd name="connsiteY2808" fmla="*/ 1699319 h 1902921"/>
                <a:gd name="connsiteX2809" fmla="*/ 41646 w 1334724"/>
                <a:gd name="connsiteY2809" fmla="*/ 1697854 h 1902921"/>
                <a:gd name="connsiteX2810" fmla="*/ 43459 w 1334724"/>
                <a:gd name="connsiteY2810" fmla="*/ 1698013 h 1902921"/>
                <a:gd name="connsiteX2811" fmla="*/ 48771 w 1334724"/>
                <a:gd name="connsiteY2811" fmla="*/ 1701730 h 1902921"/>
                <a:gd name="connsiteX2812" fmla="*/ 54580 w 1334724"/>
                <a:gd name="connsiteY2812" fmla="*/ 1700679 h 1902921"/>
                <a:gd name="connsiteX2813" fmla="*/ 55250 w 1334724"/>
                <a:gd name="connsiteY2813" fmla="*/ 1700688 h 1902921"/>
                <a:gd name="connsiteX2814" fmla="*/ 60939 w 1334724"/>
                <a:gd name="connsiteY2814" fmla="*/ 1701816 h 1902921"/>
                <a:gd name="connsiteX2815" fmla="*/ 66618 w 1334724"/>
                <a:gd name="connsiteY2815" fmla="*/ 1701252 h 1902921"/>
                <a:gd name="connsiteX2816" fmla="*/ 66863 w 1334724"/>
                <a:gd name="connsiteY2816" fmla="*/ 1701291 h 1902921"/>
                <a:gd name="connsiteX2817" fmla="*/ 66863 w 1334724"/>
                <a:gd name="connsiteY2817" fmla="*/ 1701291 h 1902921"/>
                <a:gd name="connsiteX2818" fmla="*/ 67066 w 1334724"/>
                <a:gd name="connsiteY2818" fmla="*/ 1700939 h 1902921"/>
                <a:gd name="connsiteX2819" fmla="*/ 70575 w 1334724"/>
                <a:gd name="connsiteY2819" fmla="*/ 1695082 h 1902921"/>
                <a:gd name="connsiteX2820" fmla="*/ 73362 w 1334724"/>
                <a:gd name="connsiteY2820" fmla="*/ 1688902 h 1902921"/>
                <a:gd name="connsiteX2821" fmla="*/ 73902 w 1334724"/>
                <a:gd name="connsiteY2821" fmla="*/ 1683242 h 1902921"/>
                <a:gd name="connsiteX2822" fmla="*/ 75574 w 1334724"/>
                <a:gd name="connsiteY2822" fmla="*/ 1681627 h 1902921"/>
                <a:gd name="connsiteX2823" fmla="*/ 77488 w 1334724"/>
                <a:gd name="connsiteY2823" fmla="*/ 1682943 h 1902921"/>
                <a:gd name="connsiteX2824" fmla="*/ 79277 w 1334724"/>
                <a:gd name="connsiteY2824" fmla="*/ 1689475 h 1902921"/>
                <a:gd name="connsiteX2825" fmla="*/ 79161 w 1334724"/>
                <a:gd name="connsiteY2825" fmla="*/ 1690767 h 1902921"/>
                <a:gd name="connsiteX2826" fmla="*/ 77628 w 1334724"/>
                <a:gd name="connsiteY2826" fmla="*/ 1693853 h 1902921"/>
                <a:gd name="connsiteX2827" fmla="*/ 81345 w 1334724"/>
                <a:gd name="connsiteY2827" fmla="*/ 1693520 h 1902921"/>
                <a:gd name="connsiteX2828" fmla="*/ 87096 w 1334724"/>
                <a:gd name="connsiteY2828" fmla="*/ 1691813 h 1902921"/>
                <a:gd name="connsiteX2829" fmla="*/ 87809 w 1334724"/>
                <a:gd name="connsiteY2829" fmla="*/ 1691717 h 1902921"/>
                <a:gd name="connsiteX2830" fmla="*/ 93748 w 1334724"/>
                <a:gd name="connsiteY2830" fmla="*/ 1692324 h 1902921"/>
                <a:gd name="connsiteX2831" fmla="*/ 95397 w 1334724"/>
                <a:gd name="connsiteY2831" fmla="*/ 1694074 h 1902921"/>
                <a:gd name="connsiteX2832" fmla="*/ 93883 w 1334724"/>
                <a:gd name="connsiteY2832" fmla="*/ 1695930 h 1902921"/>
                <a:gd name="connsiteX2833" fmla="*/ 86927 w 1334724"/>
                <a:gd name="connsiteY2833" fmla="*/ 1697077 h 1902921"/>
                <a:gd name="connsiteX2834" fmla="*/ 75464 w 1334724"/>
                <a:gd name="connsiteY2834" fmla="*/ 1701667 h 1902921"/>
                <a:gd name="connsiteX2835" fmla="*/ 73179 w 1334724"/>
                <a:gd name="connsiteY2835" fmla="*/ 1703513 h 1902921"/>
                <a:gd name="connsiteX2836" fmla="*/ 71535 w 1334724"/>
                <a:gd name="connsiteY2836" fmla="*/ 1709476 h 1902921"/>
                <a:gd name="connsiteX2837" fmla="*/ 70701 w 1334724"/>
                <a:gd name="connsiteY2837" fmla="*/ 1710576 h 1902921"/>
                <a:gd name="connsiteX2838" fmla="*/ 64752 w 1334724"/>
                <a:gd name="connsiteY2838" fmla="*/ 1714143 h 1902921"/>
                <a:gd name="connsiteX2839" fmla="*/ 64680 w 1334724"/>
                <a:gd name="connsiteY2839" fmla="*/ 1714177 h 1902921"/>
                <a:gd name="connsiteX2840" fmla="*/ 58764 w 1334724"/>
                <a:gd name="connsiteY2840" fmla="*/ 1717426 h 1902921"/>
                <a:gd name="connsiteX2841" fmla="*/ 57270 w 1334724"/>
                <a:gd name="connsiteY2841" fmla="*/ 1721538 h 1902921"/>
                <a:gd name="connsiteX2842" fmla="*/ 62809 w 1334724"/>
                <a:gd name="connsiteY2842" fmla="*/ 1723230 h 1902921"/>
                <a:gd name="connsiteX2843" fmla="*/ 68396 w 1334724"/>
                <a:gd name="connsiteY2843" fmla="*/ 1722685 h 1902921"/>
                <a:gd name="connsiteX2844" fmla="*/ 70339 w 1334724"/>
                <a:gd name="connsiteY2844" fmla="*/ 1724045 h 1902921"/>
                <a:gd name="connsiteX2845" fmla="*/ 69240 w 1334724"/>
                <a:gd name="connsiteY2845" fmla="*/ 1726166 h 1902921"/>
                <a:gd name="connsiteX2846" fmla="*/ 64704 w 1334724"/>
                <a:gd name="connsiteY2846" fmla="*/ 1727983 h 1902921"/>
                <a:gd name="connsiteX2847" fmla="*/ 65220 w 1334724"/>
                <a:gd name="connsiteY2847" fmla="*/ 1730528 h 1902921"/>
                <a:gd name="connsiteX2848" fmla="*/ 69553 w 1334724"/>
                <a:gd name="connsiteY2848" fmla="*/ 1728803 h 1902921"/>
                <a:gd name="connsiteX2849" fmla="*/ 75372 w 1334724"/>
                <a:gd name="connsiteY2849" fmla="*/ 1725298 h 1902921"/>
                <a:gd name="connsiteX2850" fmla="*/ 75984 w 1334724"/>
                <a:gd name="connsiteY2850" fmla="*/ 1725091 h 1902921"/>
                <a:gd name="connsiteX2851" fmla="*/ 82540 w 1334724"/>
                <a:gd name="connsiteY2851" fmla="*/ 1723895 h 1902921"/>
                <a:gd name="connsiteX2852" fmla="*/ 82859 w 1334724"/>
                <a:gd name="connsiteY2852" fmla="*/ 1723861 h 1902921"/>
                <a:gd name="connsiteX2853" fmla="*/ 89405 w 1334724"/>
                <a:gd name="connsiteY2853" fmla="*/ 1723861 h 1902921"/>
                <a:gd name="connsiteX2854" fmla="*/ 91222 w 1334724"/>
                <a:gd name="connsiteY2854" fmla="*/ 1725544 h 1902921"/>
                <a:gd name="connsiteX2855" fmla="*/ 89694 w 1334724"/>
                <a:gd name="connsiteY2855" fmla="*/ 1727482 h 1902921"/>
                <a:gd name="connsiteX2856" fmla="*/ 82815 w 1334724"/>
                <a:gd name="connsiteY2856" fmla="*/ 1728619 h 1902921"/>
                <a:gd name="connsiteX2857" fmla="*/ 77122 w 1334724"/>
                <a:gd name="connsiteY2857" fmla="*/ 1731468 h 1902921"/>
                <a:gd name="connsiteX2858" fmla="*/ 77006 w 1334724"/>
                <a:gd name="connsiteY2858" fmla="*/ 1731522 h 1902921"/>
                <a:gd name="connsiteX2859" fmla="*/ 70026 w 1334724"/>
                <a:gd name="connsiteY2859" fmla="*/ 1734414 h 1902921"/>
                <a:gd name="connsiteX2860" fmla="*/ 64935 w 1334724"/>
                <a:gd name="connsiteY2860" fmla="*/ 1737846 h 1902921"/>
                <a:gd name="connsiteX2861" fmla="*/ 59280 w 1334724"/>
                <a:gd name="connsiteY2861" fmla="*/ 1742922 h 1902921"/>
                <a:gd name="connsiteX2862" fmla="*/ 57338 w 1334724"/>
                <a:gd name="connsiteY2862" fmla="*/ 1746152 h 1902921"/>
                <a:gd name="connsiteX2863" fmla="*/ 60997 w 1334724"/>
                <a:gd name="connsiteY2863" fmla="*/ 1746471 h 1902921"/>
                <a:gd name="connsiteX2864" fmla="*/ 62621 w 1334724"/>
                <a:gd name="connsiteY2864" fmla="*/ 1747951 h 1902921"/>
                <a:gd name="connsiteX2865" fmla="*/ 61643 w 1334724"/>
                <a:gd name="connsiteY2865" fmla="*/ 1749922 h 1902921"/>
                <a:gd name="connsiteX2866" fmla="*/ 55704 w 1334724"/>
                <a:gd name="connsiteY2866" fmla="*/ 1752868 h 1902921"/>
                <a:gd name="connsiteX2867" fmla="*/ 54884 w 1334724"/>
                <a:gd name="connsiteY2867" fmla="*/ 1753085 h 1902921"/>
                <a:gd name="connsiteX2868" fmla="*/ 49856 w 1334724"/>
                <a:gd name="connsiteY2868" fmla="*/ 1753085 h 1902921"/>
                <a:gd name="connsiteX2869" fmla="*/ 46327 w 1334724"/>
                <a:gd name="connsiteY2869" fmla="*/ 1757958 h 1902921"/>
                <a:gd name="connsiteX2870" fmla="*/ 48887 w 1334724"/>
                <a:gd name="connsiteY2870" fmla="*/ 1762649 h 1902921"/>
                <a:gd name="connsiteX2871" fmla="*/ 54465 w 1334724"/>
                <a:gd name="connsiteY2871" fmla="*/ 1763117 h 1902921"/>
                <a:gd name="connsiteX2872" fmla="*/ 55891 w 1334724"/>
                <a:gd name="connsiteY2872" fmla="*/ 1764032 h 1902921"/>
                <a:gd name="connsiteX2873" fmla="*/ 55949 w 1334724"/>
                <a:gd name="connsiteY2873" fmla="*/ 1765705 h 1902921"/>
                <a:gd name="connsiteX2874" fmla="*/ 53298 w 1334724"/>
                <a:gd name="connsiteY2874" fmla="*/ 1771572 h 1902921"/>
                <a:gd name="connsiteX2875" fmla="*/ 55115 w 1334724"/>
                <a:gd name="connsiteY2875" fmla="*/ 1776677 h 1902921"/>
                <a:gd name="connsiteX2876" fmla="*/ 58842 w 1334724"/>
                <a:gd name="connsiteY2876" fmla="*/ 1772122 h 1902921"/>
                <a:gd name="connsiteX2877" fmla="*/ 59039 w 1334724"/>
                <a:gd name="connsiteY2877" fmla="*/ 1771929 h 1902921"/>
                <a:gd name="connsiteX2878" fmla="*/ 64964 w 1334724"/>
                <a:gd name="connsiteY2878" fmla="*/ 1766563 h 1902921"/>
                <a:gd name="connsiteX2879" fmla="*/ 65721 w 1334724"/>
                <a:gd name="connsiteY2879" fmla="*/ 1766163 h 1902921"/>
                <a:gd name="connsiteX2880" fmla="*/ 72267 w 1334724"/>
                <a:gd name="connsiteY2880" fmla="*/ 1764394 h 1902921"/>
                <a:gd name="connsiteX2881" fmla="*/ 93247 w 1334724"/>
                <a:gd name="connsiteY2881" fmla="*/ 1760769 h 1902921"/>
                <a:gd name="connsiteX2882" fmla="*/ 95320 w 1334724"/>
                <a:gd name="connsiteY2882" fmla="*/ 1762147 h 1902921"/>
                <a:gd name="connsiteX2883" fmla="*/ 94100 w 1334724"/>
                <a:gd name="connsiteY2883" fmla="*/ 1764298 h 1902921"/>
                <a:gd name="connsiteX2884" fmla="*/ 84608 w 1334724"/>
                <a:gd name="connsiteY2884" fmla="*/ 1767277 h 1902921"/>
                <a:gd name="connsiteX2885" fmla="*/ 84531 w 1334724"/>
                <a:gd name="connsiteY2885" fmla="*/ 1767301 h 1902921"/>
                <a:gd name="connsiteX2886" fmla="*/ 77980 w 1334724"/>
                <a:gd name="connsiteY2886" fmla="*/ 1769080 h 1902921"/>
                <a:gd name="connsiteX2887" fmla="*/ 77710 w 1334724"/>
                <a:gd name="connsiteY2887" fmla="*/ 1769147 h 1902921"/>
                <a:gd name="connsiteX2888" fmla="*/ 72152 w 1334724"/>
                <a:gd name="connsiteY2888" fmla="*/ 1769682 h 1902921"/>
                <a:gd name="connsiteX2889" fmla="*/ 66058 w 1334724"/>
                <a:gd name="connsiteY2889" fmla="*/ 1773568 h 1902921"/>
                <a:gd name="connsiteX2890" fmla="*/ 60717 w 1334724"/>
                <a:gd name="connsiteY2890" fmla="*/ 1777868 h 1902921"/>
                <a:gd name="connsiteX2891" fmla="*/ 59883 w 1334724"/>
                <a:gd name="connsiteY2891" fmla="*/ 1782028 h 1902921"/>
                <a:gd name="connsiteX2892" fmla="*/ 65499 w 1334724"/>
                <a:gd name="connsiteY2892" fmla="*/ 1786063 h 1902921"/>
                <a:gd name="connsiteX2893" fmla="*/ 66126 w 1334724"/>
                <a:gd name="connsiteY2893" fmla="*/ 1788203 h 1902921"/>
                <a:gd name="connsiteX2894" fmla="*/ 64250 w 1334724"/>
                <a:gd name="connsiteY2894" fmla="*/ 1789356 h 1902921"/>
                <a:gd name="connsiteX2895" fmla="*/ 58297 w 1334724"/>
                <a:gd name="connsiteY2895" fmla="*/ 1788792 h 1902921"/>
                <a:gd name="connsiteX2896" fmla="*/ 57188 w 1334724"/>
                <a:gd name="connsiteY2896" fmla="*/ 1788232 h 1902921"/>
                <a:gd name="connsiteX2897" fmla="*/ 51832 w 1334724"/>
                <a:gd name="connsiteY2897" fmla="*/ 1782905 h 1902921"/>
                <a:gd name="connsiteX2898" fmla="*/ 51717 w 1334724"/>
                <a:gd name="connsiteY2898" fmla="*/ 1782775 h 1902921"/>
                <a:gd name="connsiteX2899" fmla="*/ 46650 w 1334724"/>
                <a:gd name="connsiteY2899" fmla="*/ 1776586 h 1902921"/>
                <a:gd name="connsiteX2900" fmla="*/ 41883 w 1334724"/>
                <a:gd name="connsiteY2900" fmla="*/ 1774672 h 1902921"/>
                <a:gd name="connsiteX2901" fmla="*/ 37404 w 1334724"/>
                <a:gd name="connsiteY2901" fmla="*/ 1776942 h 1902921"/>
                <a:gd name="connsiteX2902" fmla="*/ 35799 w 1334724"/>
                <a:gd name="connsiteY2902" fmla="*/ 1782698 h 1902921"/>
                <a:gd name="connsiteX2903" fmla="*/ 33899 w 1334724"/>
                <a:gd name="connsiteY2903" fmla="*/ 1784005 h 1902921"/>
                <a:gd name="connsiteX2904" fmla="*/ 32270 w 1334724"/>
                <a:gd name="connsiteY2904" fmla="*/ 1782385 h 1902921"/>
                <a:gd name="connsiteX2905" fmla="*/ 31711 w 1334724"/>
                <a:gd name="connsiteY2905" fmla="*/ 1776099 h 1902921"/>
                <a:gd name="connsiteX2906" fmla="*/ 29546 w 1334724"/>
                <a:gd name="connsiteY2906" fmla="*/ 1770733 h 1902921"/>
                <a:gd name="connsiteX2907" fmla="*/ 26259 w 1334724"/>
                <a:gd name="connsiteY2907" fmla="*/ 1767450 h 1902921"/>
                <a:gd name="connsiteX2908" fmla="*/ 25907 w 1334724"/>
                <a:gd name="connsiteY2908" fmla="*/ 1769229 h 1902921"/>
                <a:gd name="connsiteX2909" fmla="*/ 30125 w 1334724"/>
                <a:gd name="connsiteY2909" fmla="*/ 1774532 h 1902921"/>
                <a:gd name="connsiteX2910" fmla="*/ 30139 w 1334724"/>
                <a:gd name="connsiteY2910" fmla="*/ 1776774 h 1902921"/>
                <a:gd name="connsiteX2911" fmla="*/ 27955 w 1334724"/>
                <a:gd name="connsiteY2911" fmla="*/ 1777318 h 1902921"/>
                <a:gd name="connsiteX2912" fmla="*/ 23708 w 1334724"/>
                <a:gd name="connsiteY2912" fmla="*/ 1775371 h 1902921"/>
                <a:gd name="connsiteX2913" fmla="*/ 23381 w 1334724"/>
                <a:gd name="connsiteY2913" fmla="*/ 1778808 h 1902921"/>
                <a:gd name="connsiteX2914" fmla="*/ 23236 w 1334724"/>
                <a:gd name="connsiteY2914" fmla="*/ 1779391 h 1902921"/>
                <a:gd name="connsiteX2915" fmla="*/ 20368 w 1334724"/>
                <a:gd name="connsiteY2915" fmla="*/ 1785663 h 1902921"/>
                <a:gd name="connsiteX2916" fmla="*/ 19808 w 1334724"/>
                <a:gd name="connsiteY2916" fmla="*/ 1791289 h 1902921"/>
                <a:gd name="connsiteX2917" fmla="*/ 19664 w 1334724"/>
                <a:gd name="connsiteY2917" fmla="*/ 1791862 h 1902921"/>
                <a:gd name="connsiteX2918" fmla="*/ 16906 w 1334724"/>
                <a:gd name="connsiteY2918" fmla="*/ 1797941 h 1902921"/>
                <a:gd name="connsiteX2919" fmla="*/ 17986 w 1334724"/>
                <a:gd name="connsiteY2919" fmla="*/ 1804522 h 1902921"/>
                <a:gd name="connsiteX2920" fmla="*/ 18010 w 1334724"/>
                <a:gd name="connsiteY2920" fmla="*/ 1804666 h 1902921"/>
                <a:gd name="connsiteX2921" fmla="*/ 18574 w 1334724"/>
                <a:gd name="connsiteY2921" fmla="*/ 1810774 h 1902921"/>
                <a:gd name="connsiteX2922" fmla="*/ 22484 w 1334724"/>
                <a:gd name="connsiteY2922" fmla="*/ 1816915 h 1902921"/>
                <a:gd name="connsiteX2923" fmla="*/ 22653 w 1334724"/>
                <a:gd name="connsiteY2923" fmla="*/ 1817229 h 1902921"/>
                <a:gd name="connsiteX2924" fmla="*/ 25429 w 1334724"/>
                <a:gd name="connsiteY2924" fmla="*/ 1823853 h 1902921"/>
                <a:gd name="connsiteX2925" fmla="*/ 31552 w 1334724"/>
                <a:gd name="connsiteY2925" fmla="*/ 1828350 h 1902921"/>
                <a:gd name="connsiteX2926" fmla="*/ 32164 w 1334724"/>
                <a:gd name="connsiteY2926" fmla="*/ 1829068 h 1902921"/>
                <a:gd name="connsiteX2927" fmla="*/ 34849 w 1334724"/>
                <a:gd name="connsiteY2927" fmla="*/ 1835017 h 1902921"/>
                <a:gd name="connsiteX2928" fmla="*/ 39756 w 1334724"/>
                <a:gd name="connsiteY2928" fmla="*/ 1837461 h 1902921"/>
                <a:gd name="connsiteX2929" fmla="*/ 45802 w 1334724"/>
                <a:gd name="connsiteY2929" fmla="*/ 1836941 h 1902921"/>
                <a:gd name="connsiteX2930" fmla="*/ 47745 w 1334724"/>
                <a:gd name="connsiteY2930" fmla="*/ 1838411 h 1902921"/>
                <a:gd name="connsiteX2931" fmla="*/ 48887 w 1334724"/>
                <a:gd name="connsiteY2931" fmla="*/ 1844683 h 1902921"/>
                <a:gd name="connsiteX2932" fmla="*/ 52097 w 1334724"/>
                <a:gd name="connsiteY2932" fmla="*/ 1850525 h 1902921"/>
                <a:gd name="connsiteX2933" fmla="*/ 59256 w 1334724"/>
                <a:gd name="connsiteY2933" fmla="*/ 1854941 h 1902921"/>
                <a:gd name="connsiteX2934" fmla="*/ 65649 w 1334724"/>
                <a:gd name="connsiteY2934" fmla="*/ 1857255 h 1902921"/>
                <a:gd name="connsiteX2935" fmla="*/ 66164 w 1334724"/>
                <a:gd name="connsiteY2935" fmla="*/ 1857554 h 1902921"/>
                <a:gd name="connsiteX2936" fmla="*/ 72638 w 1334724"/>
                <a:gd name="connsiteY2936" fmla="*/ 1862871 h 1902921"/>
                <a:gd name="connsiteX2937" fmla="*/ 74118 w 1334724"/>
                <a:gd name="connsiteY2937" fmla="*/ 1863840 h 1902921"/>
                <a:gd name="connsiteX2938" fmla="*/ 80386 w 1334724"/>
                <a:gd name="connsiteY2938" fmla="*/ 1865547 h 1902921"/>
                <a:gd name="connsiteX2939" fmla="*/ 80612 w 1334724"/>
                <a:gd name="connsiteY2939" fmla="*/ 1865677 h 1902921"/>
                <a:gd name="connsiteX2940" fmla="*/ 86975 w 1334724"/>
                <a:gd name="connsiteY2940" fmla="*/ 1868531 h 1902921"/>
                <a:gd name="connsiteX2941" fmla="*/ 90928 w 1334724"/>
                <a:gd name="connsiteY2941" fmla="*/ 1869268 h 1902921"/>
                <a:gd name="connsiteX2942" fmla="*/ 90572 w 1334724"/>
                <a:gd name="connsiteY2942" fmla="*/ 1865696 h 1902921"/>
                <a:gd name="connsiteX2943" fmla="*/ 91767 w 1334724"/>
                <a:gd name="connsiteY2943" fmla="*/ 1863831 h 1902921"/>
                <a:gd name="connsiteX2944" fmla="*/ 93878 w 1334724"/>
                <a:gd name="connsiteY2944" fmla="*/ 1864477 h 1902921"/>
                <a:gd name="connsiteX2945" fmla="*/ 97287 w 1334724"/>
                <a:gd name="connsiteY2945" fmla="*/ 1869350 h 1902921"/>
                <a:gd name="connsiteX2946" fmla="*/ 101862 w 1334724"/>
                <a:gd name="connsiteY2946" fmla="*/ 1867986 h 1902921"/>
                <a:gd name="connsiteX2947" fmla="*/ 108307 w 1334724"/>
                <a:gd name="connsiteY2947" fmla="*/ 1865060 h 1902921"/>
                <a:gd name="connsiteX2948" fmla="*/ 108471 w 1334724"/>
                <a:gd name="connsiteY2948" fmla="*/ 1864973 h 1902921"/>
                <a:gd name="connsiteX2949" fmla="*/ 110250 w 1334724"/>
                <a:gd name="connsiteY2949" fmla="*/ 1864376 h 1902921"/>
                <a:gd name="connsiteX2950" fmla="*/ 112463 w 1334724"/>
                <a:gd name="connsiteY2950" fmla="*/ 1865262 h 1902921"/>
                <a:gd name="connsiteX2951" fmla="*/ 111918 w 1334724"/>
                <a:gd name="connsiteY2951" fmla="*/ 1867591 h 1902921"/>
                <a:gd name="connsiteX2952" fmla="*/ 105347 w 1334724"/>
                <a:gd name="connsiteY2952" fmla="*/ 1872315 h 1902921"/>
                <a:gd name="connsiteX2953" fmla="*/ 105217 w 1334724"/>
                <a:gd name="connsiteY2953" fmla="*/ 1872436 h 1902921"/>
                <a:gd name="connsiteX2954" fmla="*/ 98164 w 1334724"/>
                <a:gd name="connsiteY2954" fmla="*/ 1876543 h 1902921"/>
                <a:gd name="connsiteX2955" fmla="*/ 92649 w 1334724"/>
                <a:gd name="connsiteY2955" fmla="*/ 1880973 h 1902921"/>
                <a:gd name="connsiteX2956" fmla="*/ 90133 w 1334724"/>
                <a:gd name="connsiteY2956" fmla="*/ 1885996 h 1902921"/>
                <a:gd name="connsiteX2957" fmla="*/ 91010 w 1334724"/>
                <a:gd name="connsiteY2957" fmla="*/ 1890431 h 1902921"/>
                <a:gd name="connsiteX2958" fmla="*/ 113841 w 1334724"/>
                <a:gd name="connsiteY2958" fmla="*/ 1893844 h 1902921"/>
                <a:gd name="connsiteX2959" fmla="*/ 116430 w 1334724"/>
                <a:gd name="connsiteY2959" fmla="*/ 1889564 h 1902921"/>
                <a:gd name="connsiteX2960" fmla="*/ 118773 w 1334724"/>
                <a:gd name="connsiteY2960" fmla="*/ 1888870 h 1902921"/>
                <a:gd name="connsiteX2961" fmla="*/ 119684 w 1334724"/>
                <a:gd name="connsiteY2961" fmla="*/ 1891125 h 1902921"/>
                <a:gd name="connsiteX2962" fmla="*/ 118295 w 1334724"/>
                <a:gd name="connsiteY2962" fmla="*/ 1894992 h 1902921"/>
                <a:gd name="connsiteX2963" fmla="*/ 120634 w 1334724"/>
                <a:gd name="connsiteY2963" fmla="*/ 1894732 h 1902921"/>
                <a:gd name="connsiteX2964" fmla="*/ 125502 w 1334724"/>
                <a:gd name="connsiteY2964" fmla="*/ 1888763 h 1902921"/>
                <a:gd name="connsiteX2965" fmla="*/ 127358 w 1334724"/>
                <a:gd name="connsiteY2965" fmla="*/ 1888170 h 1902921"/>
                <a:gd name="connsiteX2966" fmla="*/ 128708 w 1334724"/>
                <a:gd name="connsiteY2966" fmla="*/ 1889573 h 1902921"/>
                <a:gd name="connsiteX2967" fmla="*/ 129889 w 1334724"/>
                <a:gd name="connsiteY2967" fmla="*/ 1896129 h 1902921"/>
                <a:gd name="connsiteX2968" fmla="*/ 128583 w 1334724"/>
                <a:gd name="connsiteY2968" fmla="*/ 1898202 h 1902921"/>
                <a:gd name="connsiteX2969" fmla="*/ 127662 w 1334724"/>
                <a:gd name="connsiteY2969" fmla="*/ 1898472 h 1902921"/>
                <a:gd name="connsiteX2970" fmla="*/ 131254 w 1334724"/>
                <a:gd name="connsiteY2970" fmla="*/ 1898800 h 1902921"/>
                <a:gd name="connsiteX2971" fmla="*/ 131254 w 1334724"/>
                <a:gd name="connsiteY2971" fmla="*/ 1898800 h 1902921"/>
                <a:gd name="connsiteX2972" fmla="*/ 137795 w 1334724"/>
                <a:gd name="connsiteY2972" fmla="*/ 1899398 h 1902921"/>
                <a:gd name="connsiteX2973" fmla="*/ 137940 w 1334724"/>
                <a:gd name="connsiteY2973" fmla="*/ 1899412 h 1902921"/>
                <a:gd name="connsiteX2974" fmla="*/ 144477 w 1334724"/>
                <a:gd name="connsiteY2974" fmla="*/ 1900627 h 1902921"/>
                <a:gd name="connsiteX2975" fmla="*/ 144506 w 1334724"/>
                <a:gd name="connsiteY2975" fmla="*/ 1900627 h 1902921"/>
                <a:gd name="connsiteX2976" fmla="*/ 150445 w 1334724"/>
                <a:gd name="connsiteY2976" fmla="*/ 1901808 h 1902921"/>
                <a:gd name="connsiteX2977" fmla="*/ 156644 w 1334724"/>
                <a:gd name="connsiteY2977" fmla="*/ 1902922 h 1902921"/>
                <a:gd name="connsiteX2978" fmla="*/ 161465 w 1334724"/>
                <a:gd name="connsiteY2978" fmla="*/ 1901963 h 1902921"/>
                <a:gd name="connsiteX2979" fmla="*/ 164603 w 1334724"/>
                <a:gd name="connsiteY2979" fmla="*/ 1896727 h 1902921"/>
                <a:gd name="connsiteX2980" fmla="*/ 165644 w 1334724"/>
                <a:gd name="connsiteY2980" fmla="*/ 1895883 h 1902921"/>
                <a:gd name="connsiteX2981" fmla="*/ 171598 w 1334724"/>
                <a:gd name="connsiteY2981" fmla="*/ 1894114 h 1902921"/>
                <a:gd name="connsiteX2982" fmla="*/ 172297 w 1334724"/>
                <a:gd name="connsiteY2982" fmla="*/ 1894037 h 1902921"/>
                <a:gd name="connsiteX2983" fmla="*/ 178593 w 1334724"/>
                <a:gd name="connsiteY2983" fmla="*/ 1894635 h 1902921"/>
                <a:gd name="connsiteX2984" fmla="*/ 183785 w 1334724"/>
                <a:gd name="connsiteY2984" fmla="*/ 1893681 h 1902921"/>
                <a:gd name="connsiteX2985" fmla="*/ 185241 w 1334724"/>
                <a:gd name="connsiteY2985" fmla="*/ 1888228 h 1902921"/>
                <a:gd name="connsiteX2986" fmla="*/ 185718 w 1334724"/>
                <a:gd name="connsiteY2986" fmla="*/ 1887457 h 1902921"/>
                <a:gd name="connsiteX2987" fmla="*/ 188818 w 1334724"/>
                <a:gd name="connsiteY2987" fmla="*/ 1884319 h 1902921"/>
                <a:gd name="connsiteX2988" fmla="*/ 189377 w 1334724"/>
                <a:gd name="connsiteY2988" fmla="*/ 1877854 h 1902921"/>
                <a:gd name="connsiteX2989" fmla="*/ 190919 w 1334724"/>
                <a:gd name="connsiteY2989" fmla="*/ 1876210 h 1902921"/>
                <a:gd name="connsiteX2990" fmla="*/ 192896 w 1334724"/>
                <a:gd name="connsiteY2990" fmla="*/ 1877406 h 1902921"/>
                <a:gd name="connsiteX2991" fmla="*/ 195273 w 1334724"/>
                <a:gd name="connsiteY2991" fmla="*/ 1883952 h 1902921"/>
                <a:gd name="connsiteX2992" fmla="*/ 194969 w 1334724"/>
                <a:gd name="connsiteY2992" fmla="*/ 1885259 h 1902921"/>
                <a:gd name="connsiteX2993" fmla="*/ 196232 w 1334724"/>
                <a:gd name="connsiteY2993" fmla="*/ 1888431 h 1902921"/>
                <a:gd name="connsiteX2994" fmla="*/ 199274 w 1334724"/>
                <a:gd name="connsiteY2994" fmla="*/ 1886623 h 1902921"/>
                <a:gd name="connsiteX2995" fmla="*/ 198912 w 1334724"/>
                <a:gd name="connsiteY2995" fmla="*/ 1884916 h 1902921"/>
                <a:gd name="connsiteX2996" fmla="*/ 200243 w 1334724"/>
                <a:gd name="connsiteY2996" fmla="*/ 1882810 h 1902921"/>
                <a:gd name="connsiteX2997" fmla="*/ 201607 w 1334724"/>
                <a:gd name="connsiteY2997" fmla="*/ 1882993 h 1902921"/>
                <a:gd name="connsiteX2998" fmla="*/ 202615 w 1334724"/>
                <a:gd name="connsiteY2998" fmla="*/ 1882197 h 1902921"/>
                <a:gd name="connsiteX2999" fmla="*/ 208525 w 1334724"/>
                <a:gd name="connsiteY2999" fmla="*/ 1880578 h 1902921"/>
                <a:gd name="connsiteX3000" fmla="*/ 212892 w 1334724"/>
                <a:gd name="connsiteY3000" fmla="*/ 1874562 h 1902921"/>
                <a:gd name="connsiteX3001" fmla="*/ 217062 w 1334724"/>
                <a:gd name="connsiteY3001" fmla="*/ 1868627 h 1902921"/>
                <a:gd name="connsiteX3002" fmla="*/ 219294 w 1334724"/>
                <a:gd name="connsiteY3002" fmla="*/ 1868000 h 1902921"/>
                <a:gd name="connsiteX3003" fmla="*/ 223917 w 1334724"/>
                <a:gd name="connsiteY3003" fmla="*/ 1870117 h 1902921"/>
                <a:gd name="connsiteX3004" fmla="*/ 225137 w 1334724"/>
                <a:gd name="connsiteY3004" fmla="*/ 1865629 h 1902921"/>
                <a:gd name="connsiteX3005" fmla="*/ 225402 w 1334724"/>
                <a:gd name="connsiteY3005" fmla="*/ 1865103 h 1902921"/>
                <a:gd name="connsiteX3006" fmla="*/ 229567 w 1334724"/>
                <a:gd name="connsiteY3006" fmla="*/ 1859131 h 1902921"/>
                <a:gd name="connsiteX3007" fmla="*/ 230570 w 1334724"/>
                <a:gd name="connsiteY3007" fmla="*/ 1858383 h 1902921"/>
                <a:gd name="connsiteX3008" fmla="*/ 236008 w 1334724"/>
                <a:gd name="connsiteY3008" fmla="*/ 1856942 h 1902921"/>
                <a:gd name="connsiteX3009" fmla="*/ 236972 w 1334724"/>
                <a:gd name="connsiteY3009" fmla="*/ 1851653 h 1902921"/>
                <a:gd name="connsiteX3010" fmla="*/ 236972 w 1334724"/>
                <a:gd name="connsiteY3010" fmla="*/ 1850043 h 1902921"/>
                <a:gd name="connsiteX3011" fmla="*/ 237700 w 1334724"/>
                <a:gd name="connsiteY3011" fmla="*/ 1848563 h 1902921"/>
                <a:gd name="connsiteX3012" fmla="*/ 244092 w 1334724"/>
                <a:gd name="connsiteY3012" fmla="*/ 1843969 h 1902921"/>
                <a:gd name="connsiteX3013" fmla="*/ 249279 w 1334724"/>
                <a:gd name="connsiteY3013" fmla="*/ 1837592 h 1902921"/>
                <a:gd name="connsiteX3014" fmla="*/ 249346 w 1334724"/>
                <a:gd name="connsiteY3014" fmla="*/ 1837510 h 1902921"/>
                <a:gd name="connsiteX3015" fmla="*/ 254582 w 1334724"/>
                <a:gd name="connsiteY3015" fmla="*/ 1831778 h 1902921"/>
                <a:gd name="connsiteX3016" fmla="*/ 252523 w 1334724"/>
                <a:gd name="connsiteY3016" fmla="*/ 1825617 h 1902921"/>
                <a:gd name="connsiteX3017" fmla="*/ 252943 w 1334724"/>
                <a:gd name="connsiteY3017" fmla="*/ 1823795 h 1902921"/>
                <a:gd name="connsiteX3018" fmla="*/ 254789 w 1334724"/>
                <a:gd name="connsiteY3018" fmla="*/ 1823322 h 1902921"/>
                <a:gd name="connsiteX3019" fmla="*/ 259880 w 1334724"/>
                <a:gd name="connsiteY3019" fmla="*/ 1824855 h 1902921"/>
                <a:gd name="connsiteX3020" fmla="*/ 265684 w 1334724"/>
                <a:gd name="connsiteY3020" fmla="*/ 1820632 h 1902921"/>
                <a:gd name="connsiteX3021" fmla="*/ 265954 w 1334724"/>
                <a:gd name="connsiteY3021" fmla="*/ 1820449 h 1902921"/>
                <a:gd name="connsiteX3022" fmla="*/ 266913 w 1334724"/>
                <a:gd name="connsiteY3022" fmla="*/ 1819972 h 1902921"/>
                <a:gd name="connsiteX3023" fmla="*/ 269618 w 1334724"/>
                <a:gd name="connsiteY3023" fmla="*/ 1817532 h 1902921"/>
                <a:gd name="connsiteX3024" fmla="*/ 267776 w 1334724"/>
                <a:gd name="connsiteY3024" fmla="*/ 1817369 h 1902921"/>
                <a:gd name="connsiteX3025" fmla="*/ 266156 w 1334724"/>
                <a:gd name="connsiteY3025" fmla="*/ 1815754 h 1902921"/>
                <a:gd name="connsiteX3026" fmla="*/ 267318 w 1334724"/>
                <a:gd name="connsiteY3026" fmla="*/ 1813850 h 1902921"/>
                <a:gd name="connsiteX3027" fmla="*/ 268967 w 1334724"/>
                <a:gd name="connsiteY3027" fmla="*/ 1813242 h 1902921"/>
                <a:gd name="connsiteX3028" fmla="*/ 266759 w 1334724"/>
                <a:gd name="connsiteY3028" fmla="*/ 1812495 h 1902921"/>
                <a:gd name="connsiteX3029" fmla="*/ 265544 w 1334724"/>
                <a:gd name="connsiteY3029" fmla="*/ 1810909 h 1902921"/>
                <a:gd name="connsiteX3030" fmla="*/ 266547 w 1334724"/>
                <a:gd name="connsiteY3030" fmla="*/ 1809154 h 1902921"/>
                <a:gd name="connsiteX3031" fmla="*/ 272495 w 1334724"/>
                <a:gd name="connsiteY3031" fmla="*/ 1806185 h 1902921"/>
                <a:gd name="connsiteX3032" fmla="*/ 273498 w 1334724"/>
                <a:gd name="connsiteY3032" fmla="*/ 1805992 h 1902921"/>
                <a:gd name="connsiteX3033" fmla="*/ 278801 w 1334724"/>
                <a:gd name="connsiteY3033" fmla="*/ 1806536 h 1902921"/>
                <a:gd name="connsiteX3034" fmla="*/ 284335 w 1334724"/>
                <a:gd name="connsiteY3034" fmla="*/ 1803008 h 1902921"/>
                <a:gd name="connsiteX3035" fmla="*/ 285815 w 1334724"/>
                <a:gd name="connsiteY3035" fmla="*/ 1799296 h 1902921"/>
                <a:gd name="connsiteX3036" fmla="*/ 281582 w 1334724"/>
                <a:gd name="connsiteY3036" fmla="*/ 1797570 h 1902921"/>
                <a:gd name="connsiteX3037" fmla="*/ 280541 w 1334724"/>
                <a:gd name="connsiteY3037" fmla="*/ 1796577 h 1902921"/>
                <a:gd name="connsiteX3038" fmla="*/ 278145 w 1334724"/>
                <a:gd name="connsiteY3038" fmla="*/ 1790614 h 1902921"/>
                <a:gd name="connsiteX3039" fmla="*/ 278507 w 1334724"/>
                <a:gd name="connsiteY3039" fmla="*/ 1788734 h 1902921"/>
                <a:gd name="connsiteX3040" fmla="*/ 280305 w 1334724"/>
                <a:gd name="connsiteY3040" fmla="*/ 1788184 h 1902921"/>
                <a:gd name="connsiteX3041" fmla="*/ 285868 w 1334724"/>
                <a:gd name="connsiteY3041" fmla="*/ 1789688 h 1902921"/>
                <a:gd name="connsiteX3042" fmla="*/ 291070 w 1334724"/>
                <a:gd name="connsiteY3042" fmla="*/ 1784501 h 1902921"/>
                <a:gd name="connsiteX3043" fmla="*/ 291648 w 1334724"/>
                <a:gd name="connsiteY3043" fmla="*/ 1784106 h 1902921"/>
                <a:gd name="connsiteX3044" fmla="*/ 298503 w 1334724"/>
                <a:gd name="connsiteY3044" fmla="*/ 1781266 h 1902921"/>
                <a:gd name="connsiteX3045" fmla="*/ 304095 w 1334724"/>
                <a:gd name="connsiteY3045" fmla="*/ 1776234 h 1902921"/>
                <a:gd name="connsiteX3046" fmla="*/ 307639 w 1334724"/>
                <a:gd name="connsiteY3046" fmla="*/ 1771369 h 1902921"/>
                <a:gd name="connsiteX3047" fmla="*/ 303835 w 1334724"/>
                <a:gd name="connsiteY3047" fmla="*/ 1768843 h 1902921"/>
                <a:gd name="connsiteX3048" fmla="*/ 303324 w 1334724"/>
                <a:gd name="connsiteY3048" fmla="*/ 1768313 h 1902921"/>
                <a:gd name="connsiteX3049" fmla="*/ 299135 w 1334724"/>
                <a:gd name="connsiteY3049" fmla="*/ 1761757 h 1902921"/>
                <a:gd name="connsiteX3050" fmla="*/ 298889 w 1334724"/>
                <a:gd name="connsiteY3050" fmla="*/ 1760537 h 1902921"/>
                <a:gd name="connsiteX3051" fmla="*/ 299492 w 1334724"/>
                <a:gd name="connsiteY3051" fmla="*/ 1756382 h 1902921"/>
                <a:gd name="connsiteX3052" fmla="*/ 301102 w 1334724"/>
                <a:gd name="connsiteY3052" fmla="*/ 1754820 h 1902921"/>
                <a:gd name="connsiteX3053" fmla="*/ 303006 w 1334724"/>
                <a:gd name="connsiteY3053" fmla="*/ 1756040 h 1902921"/>
                <a:gd name="connsiteX3054" fmla="*/ 305083 w 1334724"/>
                <a:gd name="connsiteY3054" fmla="*/ 1762302 h 1902921"/>
                <a:gd name="connsiteX3055" fmla="*/ 306028 w 1334724"/>
                <a:gd name="connsiteY3055" fmla="*/ 1762654 h 1902921"/>
                <a:gd name="connsiteX3056" fmla="*/ 306303 w 1334724"/>
                <a:gd name="connsiteY3056" fmla="*/ 1762784 h 1902921"/>
                <a:gd name="connsiteX3057" fmla="*/ 312604 w 1334724"/>
                <a:gd name="connsiteY3057" fmla="*/ 1766197 h 1902921"/>
                <a:gd name="connsiteX3058" fmla="*/ 315829 w 1334724"/>
                <a:gd name="connsiteY3058" fmla="*/ 1766727 h 1902921"/>
                <a:gd name="connsiteX3059" fmla="*/ 317164 w 1334724"/>
                <a:gd name="connsiteY3059" fmla="*/ 1767691 h 1902921"/>
                <a:gd name="connsiteX3060" fmla="*/ 319897 w 1334724"/>
                <a:gd name="connsiteY3060" fmla="*/ 1773187 h 1902921"/>
                <a:gd name="connsiteX3061" fmla="*/ 325244 w 1334724"/>
                <a:gd name="connsiteY3061" fmla="*/ 1776354 h 1902921"/>
                <a:gd name="connsiteX3062" fmla="*/ 325417 w 1334724"/>
                <a:gd name="connsiteY3062" fmla="*/ 1776451 h 1902921"/>
                <a:gd name="connsiteX3063" fmla="*/ 328522 w 1334724"/>
                <a:gd name="connsiteY3063" fmla="*/ 1771143 h 1902921"/>
                <a:gd name="connsiteX3064" fmla="*/ 328030 w 1334724"/>
                <a:gd name="connsiteY3064" fmla="*/ 1768217 h 1902921"/>
                <a:gd name="connsiteX3065" fmla="*/ 328459 w 1334724"/>
                <a:gd name="connsiteY3065" fmla="*/ 1766727 h 1902921"/>
                <a:gd name="connsiteX3066" fmla="*/ 329823 w 1334724"/>
                <a:gd name="connsiteY3066" fmla="*/ 1766120 h 1902921"/>
                <a:gd name="connsiteX3067" fmla="*/ 331000 w 1334724"/>
                <a:gd name="connsiteY3067" fmla="*/ 1766120 h 1902921"/>
                <a:gd name="connsiteX3068" fmla="*/ 331202 w 1334724"/>
                <a:gd name="connsiteY3068" fmla="*/ 1766120 h 1902921"/>
                <a:gd name="connsiteX3069" fmla="*/ 337141 w 1334724"/>
                <a:gd name="connsiteY3069" fmla="*/ 1766708 h 1902921"/>
                <a:gd name="connsiteX3070" fmla="*/ 341494 w 1334724"/>
                <a:gd name="connsiteY3070" fmla="*/ 1767122 h 1902921"/>
                <a:gd name="connsiteX3071" fmla="*/ 341104 w 1334724"/>
                <a:gd name="connsiteY3071" fmla="*/ 1763348 h 1902921"/>
                <a:gd name="connsiteX3072" fmla="*/ 341089 w 1334724"/>
                <a:gd name="connsiteY3072" fmla="*/ 1763189 h 1902921"/>
                <a:gd name="connsiteX3073" fmla="*/ 341089 w 1334724"/>
                <a:gd name="connsiteY3073" fmla="*/ 1756035 h 1902921"/>
                <a:gd name="connsiteX3074" fmla="*/ 342555 w 1334724"/>
                <a:gd name="connsiteY3074" fmla="*/ 1754266 h 1902921"/>
                <a:gd name="connsiteX3075" fmla="*/ 344599 w 1334724"/>
                <a:gd name="connsiteY3075" fmla="*/ 1755341 h 1902921"/>
                <a:gd name="connsiteX3076" fmla="*/ 345780 w 1334724"/>
                <a:gd name="connsiteY3076" fmla="*/ 1758156 h 1902921"/>
                <a:gd name="connsiteX3077" fmla="*/ 352538 w 1334724"/>
                <a:gd name="connsiteY3077" fmla="*/ 1737523 h 1902921"/>
                <a:gd name="connsiteX3078" fmla="*/ 354655 w 1334724"/>
                <a:gd name="connsiteY3078" fmla="*/ 1736424 h 1902921"/>
                <a:gd name="connsiteX3079" fmla="*/ 355388 w 1334724"/>
                <a:gd name="connsiteY3079" fmla="*/ 1736906 h 1902921"/>
                <a:gd name="connsiteX3080" fmla="*/ 355547 w 1334724"/>
                <a:gd name="connsiteY3080" fmla="*/ 1736689 h 1902921"/>
                <a:gd name="connsiteX3081" fmla="*/ 360647 w 1334724"/>
                <a:gd name="connsiteY3081" fmla="*/ 1733136 h 1902921"/>
                <a:gd name="connsiteX3082" fmla="*/ 360165 w 1334724"/>
                <a:gd name="connsiteY3082" fmla="*/ 1727704 h 1902921"/>
                <a:gd name="connsiteX3083" fmla="*/ 358993 w 1334724"/>
                <a:gd name="connsiteY3083" fmla="*/ 1720728 h 1902921"/>
                <a:gd name="connsiteX3084" fmla="*/ 357499 w 1334724"/>
                <a:gd name="connsiteY3084" fmla="*/ 1715252 h 1902921"/>
                <a:gd name="connsiteX3085" fmla="*/ 351970 w 1334724"/>
                <a:gd name="connsiteY3085" fmla="*/ 1713752 h 1902921"/>
                <a:gd name="connsiteX3086" fmla="*/ 350885 w 1334724"/>
                <a:gd name="connsiteY3086" fmla="*/ 1712923 h 1902921"/>
                <a:gd name="connsiteX3087" fmla="*/ 347303 w 1334724"/>
                <a:gd name="connsiteY3087" fmla="*/ 1706989 h 1902921"/>
                <a:gd name="connsiteX3088" fmla="*/ 347294 w 1334724"/>
                <a:gd name="connsiteY3088" fmla="*/ 1706970 h 1902921"/>
                <a:gd name="connsiteX3089" fmla="*/ 343138 w 1334724"/>
                <a:gd name="connsiteY3089" fmla="*/ 1699830 h 1902921"/>
                <a:gd name="connsiteX3090" fmla="*/ 343263 w 1334724"/>
                <a:gd name="connsiteY3090" fmla="*/ 1697805 h 1902921"/>
                <a:gd name="connsiteX3091" fmla="*/ 345177 w 1334724"/>
                <a:gd name="connsiteY3091" fmla="*/ 1697155 h 1902921"/>
                <a:gd name="connsiteX3092" fmla="*/ 350326 w 1334724"/>
                <a:gd name="connsiteY3092" fmla="*/ 1698577 h 1902921"/>
                <a:gd name="connsiteX3093" fmla="*/ 353136 w 1334724"/>
                <a:gd name="connsiteY3093" fmla="*/ 1693419 h 1902921"/>
                <a:gd name="connsiteX3094" fmla="*/ 354289 w 1334724"/>
                <a:gd name="connsiteY3094" fmla="*/ 1690020 h 1902921"/>
                <a:gd name="connsiteX3095" fmla="*/ 356202 w 1334724"/>
                <a:gd name="connsiteY3095" fmla="*/ 1688776 h 1902921"/>
                <a:gd name="connsiteX3096" fmla="*/ 357812 w 1334724"/>
                <a:gd name="connsiteY3096" fmla="*/ 1690430 h 1902921"/>
                <a:gd name="connsiteX3097" fmla="*/ 358343 w 1334724"/>
                <a:gd name="connsiteY3097" fmla="*/ 1696186 h 1902921"/>
                <a:gd name="connsiteX3098" fmla="*/ 363086 w 1334724"/>
                <a:gd name="connsiteY3098" fmla="*/ 1700071 h 1902921"/>
                <a:gd name="connsiteX3099" fmla="*/ 367275 w 1334724"/>
                <a:gd name="connsiteY3099" fmla="*/ 1696297 h 1902921"/>
                <a:gd name="connsiteX3100" fmla="*/ 367275 w 1334724"/>
                <a:gd name="connsiteY3100" fmla="*/ 1690063 h 1902921"/>
                <a:gd name="connsiteX3101" fmla="*/ 366745 w 1334724"/>
                <a:gd name="connsiteY3101" fmla="*/ 1684809 h 1902921"/>
                <a:gd name="connsiteX3102" fmla="*/ 361235 w 1334724"/>
                <a:gd name="connsiteY3102" fmla="*/ 1678720 h 1902921"/>
                <a:gd name="connsiteX3103" fmla="*/ 360734 w 1334724"/>
                <a:gd name="connsiteY3103" fmla="*/ 1677650 h 1902921"/>
                <a:gd name="connsiteX3104" fmla="*/ 360160 w 1334724"/>
                <a:gd name="connsiteY3104" fmla="*/ 1671210 h 1902921"/>
                <a:gd name="connsiteX3105" fmla="*/ 358989 w 1334724"/>
                <a:gd name="connsiteY3105" fmla="*/ 1665343 h 1902921"/>
                <a:gd name="connsiteX3106" fmla="*/ 358955 w 1334724"/>
                <a:gd name="connsiteY3106" fmla="*/ 1664991 h 1902921"/>
                <a:gd name="connsiteX3107" fmla="*/ 358955 w 1334724"/>
                <a:gd name="connsiteY3107" fmla="*/ 1659047 h 1902921"/>
                <a:gd name="connsiteX3108" fmla="*/ 359346 w 1334724"/>
                <a:gd name="connsiteY3108" fmla="*/ 1657900 h 1902921"/>
                <a:gd name="connsiteX3109" fmla="*/ 364711 w 1334724"/>
                <a:gd name="connsiteY3109" fmla="*/ 1651339 h 1902921"/>
                <a:gd name="connsiteX3110" fmla="*/ 365482 w 1334724"/>
                <a:gd name="connsiteY3110" fmla="*/ 1650794 h 1902921"/>
                <a:gd name="connsiteX3111" fmla="*/ 370255 w 1334724"/>
                <a:gd name="connsiteY3111" fmla="*/ 1649015 h 1902921"/>
                <a:gd name="connsiteX3112" fmla="*/ 371055 w 1334724"/>
                <a:gd name="connsiteY3112" fmla="*/ 1648899 h 1902921"/>
                <a:gd name="connsiteX3113" fmla="*/ 377037 w 1334724"/>
                <a:gd name="connsiteY3113" fmla="*/ 1649478 h 1902921"/>
                <a:gd name="connsiteX3114" fmla="*/ 378488 w 1334724"/>
                <a:gd name="connsiteY3114" fmla="*/ 1650534 h 1902921"/>
                <a:gd name="connsiteX3115" fmla="*/ 381472 w 1334724"/>
                <a:gd name="connsiteY3115" fmla="*/ 1657104 h 1902921"/>
                <a:gd name="connsiteX3116" fmla="*/ 381588 w 1334724"/>
                <a:gd name="connsiteY3116" fmla="*/ 1658281 h 1902921"/>
                <a:gd name="connsiteX3117" fmla="*/ 380966 w 1334724"/>
                <a:gd name="connsiteY3117" fmla="*/ 1660662 h 1902921"/>
                <a:gd name="connsiteX3118" fmla="*/ 380947 w 1334724"/>
                <a:gd name="connsiteY3118" fmla="*/ 1660744 h 1902921"/>
                <a:gd name="connsiteX3119" fmla="*/ 379202 w 1334724"/>
                <a:gd name="connsiteY3119" fmla="*/ 1666519 h 1902921"/>
                <a:gd name="connsiteX3120" fmla="*/ 378647 w 1334724"/>
                <a:gd name="connsiteY3120" fmla="*/ 1672882 h 1902921"/>
                <a:gd name="connsiteX3121" fmla="*/ 376975 w 1334724"/>
                <a:gd name="connsiteY3121" fmla="*/ 1674531 h 1902921"/>
                <a:gd name="connsiteX3122" fmla="*/ 375061 w 1334724"/>
                <a:gd name="connsiteY3122" fmla="*/ 1673172 h 1902921"/>
                <a:gd name="connsiteX3123" fmla="*/ 373306 w 1334724"/>
                <a:gd name="connsiteY3123" fmla="*/ 1666023 h 1902921"/>
                <a:gd name="connsiteX3124" fmla="*/ 373244 w 1334724"/>
                <a:gd name="connsiteY3124" fmla="*/ 1665724 h 1902921"/>
                <a:gd name="connsiteX3125" fmla="*/ 372978 w 1334724"/>
                <a:gd name="connsiteY3125" fmla="*/ 1662797 h 1902921"/>
                <a:gd name="connsiteX3126" fmla="*/ 370182 w 1334724"/>
                <a:gd name="connsiteY3126" fmla="*/ 1665343 h 1902921"/>
                <a:gd name="connsiteX3127" fmla="*/ 369165 w 1334724"/>
                <a:gd name="connsiteY3127" fmla="*/ 1670940 h 1902921"/>
                <a:gd name="connsiteX3128" fmla="*/ 370264 w 1334724"/>
                <a:gd name="connsiteY3128" fmla="*/ 1677052 h 1902921"/>
                <a:gd name="connsiteX3129" fmla="*/ 372029 w 1334724"/>
                <a:gd name="connsiteY3129" fmla="*/ 1682905 h 1902921"/>
                <a:gd name="connsiteX3130" fmla="*/ 372082 w 1334724"/>
                <a:gd name="connsiteY3130" fmla="*/ 1683102 h 1902921"/>
                <a:gd name="connsiteX3131" fmla="*/ 373861 w 1334724"/>
                <a:gd name="connsiteY3131" fmla="*/ 1692614 h 1902921"/>
                <a:gd name="connsiteX3132" fmla="*/ 373885 w 1334724"/>
                <a:gd name="connsiteY3132" fmla="*/ 1692970 h 1902921"/>
                <a:gd name="connsiteX3133" fmla="*/ 373885 w 1334724"/>
                <a:gd name="connsiteY3133" fmla="*/ 1698582 h 1902921"/>
                <a:gd name="connsiteX3134" fmla="*/ 375991 w 1334724"/>
                <a:gd name="connsiteY3134" fmla="*/ 1703827 h 1902921"/>
                <a:gd name="connsiteX3135" fmla="*/ 376348 w 1334724"/>
                <a:gd name="connsiteY3135" fmla="*/ 1704159 h 1902921"/>
                <a:gd name="connsiteX3136" fmla="*/ 376844 w 1334724"/>
                <a:gd name="connsiteY3136" fmla="*/ 1705827 h 1902921"/>
                <a:gd name="connsiteX3137" fmla="*/ 375673 w 1334724"/>
                <a:gd name="connsiteY3137" fmla="*/ 1711665 h 1902921"/>
                <a:gd name="connsiteX3138" fmla="*/ 375085 w 1334724"/>
                <a:gd name="connsiteY3138" fmla="*/ 1717966 h 1902921"/>
                <a:gd name="connsiteX3139" fmla="*/ 375673 w 1334724"/>
                <a:gd name="connsiteY3139" fmla="*/ 1724228 h 1902921"/>
                <a:gd name="connsiteX3140" fmla="*/ 376526 w 1334724"/>
                <a:gd name="connsiteY3140" fmla="*/ 1728663 h 1902921"/>
                <a:gd name="connsiteX3141" fmla="*/ 381010 w 1334724"/>
                <a:gd name="connsiteY3141" fmla="*/ 1728663 h 1902921"/>
                <a:gd name="connsiteX3142" fmla="*/ 382408 w 1334724"/>
                <a:gd name="connsiteY3142" fmla="*/ 1729294 h 1902921"/>
                <a:gd name="connsiteX3143" fmla="*/ 382789 w 1334724"/>
                <a:gd name="connsiteY3143" fmla="*/ 1730794 h 1902921"/>
                <a:gd name="connsiteX3144" fmla="*/ 381680 w 1334724"/>
                <a:gd name="connsiteY3144" fmla="*/ 1736318 h 1902921"/>
                <a:gd name="connsiteX3145" fmla="*/ 383304 w 1334724"/>
                <a:gd name="connsiteY3145" fmla="*/ 1741703 h 1902921"/>
                <a:gd name="connsiteX3146" fmla="*/ 385262 w 1334724"/>
                <a:gd name="connsiteY3146" fmla="*/ 1745998 h 1902921"/>
                <a:gd name="connsiteX3147" fmla="*/ 389957 w 1334724"/>
                <a:gd name="connsiteY3147" fmla="*/ 1742146 h 1902921"/>
                <a:gd name="connsiteX3148" fmla="*/ 391909 w 1334724"/>
                <a:gd name="connsiteY3148" fmla="*/ 1741901 h 1902921"/>
                <a:gd name="connsiteX3149" fmla="*/ 392570 w 1334724"/>
                <a:gd name="connsiteY3149" fmla="*/ 1742961 h 1902921"/>
                <a:gd name="connsiteX3150" fmla="*/ 392599 w 1334724"/>
                <a:gd name="connsiteY3150" fmla="*/ 1742942 h 1902921"/>
                <a:gd name="connsiteX3151" fmla="*/ 394377 w 1334724"/>
                <a:gd name="connsiteY3151" fmla="*/ 1743684 h 1902921"/>
                <a:gd name="connsiteX3152" fmla="*/ 398957 w 1334724"/>
                <a:gd name="connsiteY3152" fmla="*/ 1749970 h 1902921"/>
                <a:gd name="connsiteX3153" fmla="*/ 401411 w 1334724"/>
                <a:gd name="connsiteY3153" fmla="*/ 1751686 h 1902921"/>
                <a:gd name="connsiteX3154" fmla="*/ 401218 w 1334724"/>
                <a:gd name="connsiteY3154" fmla="*/ 1749662 h 1902921"/>
                <a:gd name="connsiteX3155" fmla="*/ 402211 w 1334724"/>
                <a:gd name="connsiteY3155" fmla="*/ 1747878 h 1902921"/>
                <a:gd name="connsiteX3156" fmla="*/ 408170 w 1334724"/>
                <a:gd name="connsiteY3156" fmla="*/ 1744875 h 1902921"/>
                <a:gd name="connsiteX3157" fmla="*/ 409577 w 1334724"/>
                <a:gd name="connsiteY3157" fmla="*/ 1744793 h 1902921"/>
                <a:gd name="connsiteX3158" fmla="*/ 410609 w 1334724"/>
                <a:gd name="connsiteY3158" fmla="*/ 1745781 h 1902921"/>
                <a:gd name="connsiteX3159" fmla="*/ 413583 w 1334724"/>
                <a:gd name="connsiteY3159" fmla="*/ 1752328 h 1902921"/>
                <a:gd name="connsiteX3160" fmla="*/ 413752 w 1334724"/>
                <a:gd name="connsiteY3160" fmla="*/ 1753273 h 1902921"/>
                <a:gd name="connsiteX3161" fmla="*/ 413202 w 1334724"/>
                <a:gd name="connsiteY3161" fmla="*/ 1758170 h 1902921"/>
                <a:gd name="connsiteX3162" fmla="*/ 421470 w 1334724"/>
                <a:gd name="connsiteY3162" fmla="*/ 1760036 h 1902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Lst>
              <a:rect l="l" t="t" r="r" b="b"/>
              <a:pathLst>
                <a:path w="1334724" h="1902921">
                  <a:moveTo>
                    <a:pt x="421470" y="1760036"/>
                  </a:moveTo>
                  <a:cubicBezTo>
                    <a:pt x="422323" y="1763300"/>
                    <a:pt x="427317" y="1771750"/>
                    <a:pt x="427317" y="1771750"/>
                  </a:cubicBezTo>
                  <a:lnTo>
                    <a:pt x="430075" y="1785002"/>
                  </a:lnTo>
                  <a:lnTo>
                    <a:pt x="436120" y="1785002"/>
                  </a:lnTo>
                  <a:cubicBezTo>
                    <a:pt x="436120" y="1785002"/>
                    <a:pt x="444026" y="1783296"/>
                    <a:pt x="444354" y="1778282"/>
                  </a:cubicBezTo>
                  <a:cubicBezTo>
                    <a:pt x="444706" y="1773293"/>
                    <a:pt x="445733" y="1765016"/>
                    <a:pt x="445733" y="1765016"/>
                  </a:cubicBezTo>
                  <a:lnTo>
                    <a:pt x="449011" y="1758151"/>
                  </a:lnTo>
                  <a:cubicBezTo>
                    <a:pt x="449011" y="1758151"/>
                    <a:pt x="446243" y="1748500"/>
                    <a:pt x="449353" y="1743173"/>
                  </a:cubicBezTo>
                  <a:cubicBezTo>
                    <a:pt x="452453" y="1737846"/>
                    <a:pt x="452279" y="1728017"/>
                    <a:pt x="447810" y="1717349"/>
                  </a:cubicBezTo>
                  <a:cubicBezTo>
                    <a:pt x="443341" y="1706656"/>
                    <a:pt x="440753" y="1691336"/>
                    <a:pt x="440753" y="1691336"/>
                  </a:cubicBezTo>
                  <a:lnTo>
                    <a:pt x="445217" y="1683580"/>
                  </a:lnTo>
                  <a:lnTo>
                    <a:pt x="450558" y="1681844"/>
                  </a:lnTo>
                  <a:lnTo>
                    <a:pt x="455032" y="1674632"/>
                  </a:lnTo>
                  <a:lnTo>
                    <a:pt x="454694" y="1663434"/>
                  </a:lnTo>
                  <a:lnTo>
                    <a:pt x="451416" y="1657924"/>
                  </a:lnTo>
                  <a:lnTo>
                    <a:pt x="451416" y="1651729"/>
                  </a:lnTo>
                  <a:lnTo>
                    <a:pt x="458127" y="1648615"/>
                  </a:lnTo>
                  <a:lnTo>
                    <a:pt x="469489" y="1648615"/>
                  </a:lnTo>
                  <a:cubicBezTo>
                    <a:pt x="469489" y="1648615"/>
                    <a:pt x="504275" y="1627086"/>
                    <a:pt x="493771" y="1600601"/>
                  </a:cubicBezTo>
                  <a:cubicBezTo>
                    <a:pt x="492917" y="1596985"/>
                    <a:pt x="492059" y="1594030"/>
                    <a:pt x="492059" y="1594030"/>
                  </a:cubicBezTo>
                  <a:cubicBezTo>
                    <a:pt x="492059" y="1594030"/>
                    <a:pt x="504815" y="1579062"/>
                    <a:pt x="497902" y="1564084"/>
                  </a:cubicBezTo>
                  <a:cubicBezTo>
                    <a:pt x="493255" y="1555797"/>
                    <a:pt x="491727" y="1552389"/>
                    <a:pt x="491370" y="1550137"/>
                  </a:cubicBezTo>
                  <a:cubicBezTo>
                    <a:pt x="491038" y="1547891"/>
                    <a:pt x="488960" y="1542545"/>
                    <a:pt x="485696" y="1538428"/>
                  </a:cubicBezTo>
                  <a:cubicBezTo>
                    <a:pt x="482408" y="1534297"/>
                    <a:pt x="477405" y="1524477"/>
                    <a:pt x="477593" y="1516026"/>
                  </a:cubicBezTo>
                  <a:cubicBezTo>
                    <a:pt x="477593" y="1512772"/>
                    <a:pt x="477771" y="1511365"/>
                    <a:pt x="475370" y="1508120"/>
                  </a:cubicBezTo>
                  <a:cubicBezTo>
                    <a:pt x="472955" y="1504837"/>
                    <a:pt x="472087" y="1497621"/>
                    <a:pt x="476402" y="1496425"/>
                  </a:cubicBezTo>
                  <a:cubicBezTo>
                    <a:pt x="480697" y="1495210"/>
                    <a:pt x="493771" y="1491416"/>
                    <a:pt x="493771" y="1491416"/>
                  </a:cubicBezTo>
                  <a:lnTo>
                    <a:pt x="495680" y="1492091"/>
                  </a:lnTo>
                  <a:cubicBezTo>
                    <a:pt x="495680" y="1492091"/>
                    <a:pt x="501855" y="1493986"/>
                    <a:pt x="503070" y="1489536"/>
                  </a:cubicBezTo>
                  <a:cubicBezTo>
                    <a:pt x="504275" y="1485034"/>
                    <a:pt x="505996" y="1475026"/>
                    <a:pt x="505996" y="1475026"/>
                  </a:cubicBezTo>
                  <a:cubicBezTo>
                    <a:pt x="505996" y="1475026"/>
                    <a:pt x="513917" y="1464184"/>
                    <a:pt x="512017" y="1449211"/>
                  </a:cubicBezTo>
                  <a:cubicBezTo>
                    <a:pt x="504097" y="1439232"/>
                    <a:pt x="492059" y="1422548"/>
                    <a:pt x="492059" y="1422548"/>
                  </a:cubicBezTo>
                  <a:lnTo>
                    <a:pt x="480697" y="1421825"/>
                  </a:lnTo>
                  <a:lnTo>
                    <a:pt x="462957" y="1401346"/>
                  </a:lnTo>
                  <a:cubicBezTo>
                    <a:pt x="462957" y="1401346"/>
                    <a:pt x="470202" y="1335736"/>
                    <a:pt x="470202" y="1332449"/>
                  </a:cubicBezTo>
                  <a:cubicBezTo>
                    <a:pt x="470202" y="1329200"/>
                    <a:pt x="470699" y="1321944"/>
                    <a:pt x="463135" y="1307844"/>
                  </a:cubicBezTo>
                  <a:cubicBezTo>
                    <a:pt x="455548" y="1293734"/>
                    <a:pt x="455210" y="1278240"/>
                    <a:pt x="455210" y="1278240"/>
                  </a:cubicBezTo>
                  <a:lnTo>
                    <a:pt x="458295" y="1266844"/>
                  </a:lnTo>
                  <a:lnTo>
                    <a:pt x="453128" y="1240176"/>
                  </a:lnTo>
                  <a:lnTo>
                    <a:pt x="460542" y="1227594"/>
                  </a:lnTo>
                  <a:lnTo>
                    <a:pt x="445718" y="1188874"/>
                  </a:lnTo>
                  <a:lnTo>
                    <a:pt x="458474" y="1161825"/>
                  </a:lnTo>
                  <a:lnTo>
                    <a:pt x="455716" y="1146856"/>
                  </a:lnTo>
                  <a:lnTo>
                    <a:pt x="464152" y="1134959"/>
                  </a:lnTo>
                  <a:lnTo>
                    <a:pt x="465194" y="1130842"/>
                  </a:lnTo>
                  <a:cubicBezTo>
                    <a:pt x="465194" y="1130842"/>
                    <a:pt x="487557" y="1071952"/>
                    <a:pt x="515811" y="1077293"/>
                  </a:cubicBezTo>
                  <a:cubicBezTo>
                    <a:pt x="544070" y="1082620"/>
                    <a:pt x="559549" y="1086429"/>
                    <a:pt x="561454" y="1082620"/>
                  </a:cubicBezTo>
                  <a:cubicBezTo>
                    <a:pt x="563343" y="1078822"/>
                    <a:pt x="570748" y="1059707"/>
                    <a:pt x="570748" y="1059707"/>
                  </a:cubicBezTo>
                  <a:lnTo>
                    <a:pt x="564544" y="1023875"/>
                  </a:lnTo>
                  <a:lnTo>
                    <a:pt x="551108" y="1019411"/>
                  </a:lnTo>
                  <a:lnTo>
                    <a:pt x="536482" y="1008049"/>
                  </a:lnTo>
                  <a:lnTo>
                    <a:pt x="571611" y="934369"/>
                  </a:lnTo>
                  <a:lnTo>
                    <a:pt x="573337" y="916099"/>
                  </a:lnTo>
                  <a:lnTo>
                    <a:pt x="579006" y="908877"/>
                  </a:lnTo>
                  <a:lnTo>
                    <a:pt x="579705" y="893894"/>
                  </a:lnTo>
                  <a:lnTo>
                    <a:pt x="579705" y="849317"/>
                  </a:lnTo>
                  <a:lnTo>
                    <a:pt x="583658" y="836210"/>
                  </a:lnTo>
                  <a:lnTo>
                    <a:pt x="574200" y="793489"/>
                  </a:lnTo>
                  <a:lnTo>
                    <a:pt x="601200" y="788379"/>
                  </a:lnTo>
                  <a:lnTo>
                    <a:pt x="624485" y="768874"/>
                  </a:lnTo>
                  <a:lnTo>
                    <a:pt x="624668" y="758727"/>
                  </a:lnTo>
                  <a:lnTo>
                    <a:pt x="619292" y="739420"/>
                  </a:lnTo>
                  <a:lnTo>
                    <a:pt x="624986" y="732550"/>
                  </a:lnTo>
                  <a:cubicBezTo>
                    <a:pt x="624986" y="732550"/>
                    <a:pt x="635500" y="718242"/>
                    <a:pt x="645657" y="687433"/>
                  </a:cubicBezTo>
                  <a:cubicBezTo>
                    <a:pt x="649967" y="674528"/>
                    <a:pt x="658056" y="664891"/>
                    <a:pt x="666815" y="658687"/>
                  </a:cubicBezTo>
                  <a:cubicBezTo>
                    <a:pt x="666670" y="648511"/>
                    <a:pt x="666319" y="637163"/>
                    <a:pt x="666319" y="637163"/>
                  </a:cubicBezTo>
                  <a:lnTo>
                    <a:pt x="646530" y="607376"/>
                  </a:lnTo>
                  <a:lnTo>
                    <a:pt x="648067" y="596331"/>
                  </a:lnTo>
                  <a:lnTo>
                    <a:pt x="660818" y="590831"/>
                  </a:lnTo>
                  <a:lnTo>
                    <a:pt x="668579" y="575159"/>
                  </a:lnTo>
                  <a:lnTo>
                    <a:pt x="674417" y="536082"/>
                  </a:lnTo>
                  <a:lnTo>
                    <a:pt x="689308" y="521765"/>
                  </a:lnTo>
                  <a:lnTo>
                    <a:pt x="697995" y="509033"/>
                  </a:lnTo>
                  <a:lnTo>
                    <a:pt x="707989" y="508532"/>
                  </a:lnTo>
                  <a:lnTo>
                    <a:pt x="719356" y="513352"/>
                  </a:lnTo>
                  <a:lnTo>
                    <a:pt x="727281" y="519176"/>
                  </a:lnTo>
                  <a:lnTo>
                    <a:pt x="734343" y="517117"/>
                  </a:lnTo>
                  <a:lnTo>
                    <a:pt x="743643" y="489586"/>
                  </a:lnTo>
                  <a:lnTo>
                    <a:pt x="736243" y="454993"/>
                  </a:lnTo>
                  <a:lnTo>
                    <a:pt x="736397" y="441524"/>
                  </a:lnTo>
                  <a:lnTo>
                    <a:pt x="750879" y="434307"/>
                  </a:lnTo>
                  <a:lnTo>
                    <a:pt x="762742" y="443438"/>
                  </a:lnTo>
                  <a:lnTo>
                    <a:pt x="778588" y="439475"/>
                  </a:lnTo>
                  <a:lnTo>
                    <a:pt x="831090" y="454993"/>
                  </a:lnTo>
                  <a:lnTo>
                    <a:pt x="842805" y="434992"/>
                  </a:lnTo>
                  <a:lnTo>
                    <a:pt x="828892" y="427746"/>
                  </a:lnTo>
                  <a:cubicBezTo>
                    <a:pt x="828892" y="427746"/>
                    <a:pt x="841093" y="416745"/>
                    <a:pt x="842294" y="390550"/>
                  </a:cubicBezTo>
                  <a:cubicBezTo>
                    <a:pt x="842294" y="383338"/>
                    <a:pt x="839199" y="373677"/>
                    <a:pt x="839199" y="373677"/>
                  </a:cubicBezTo>
                  <a:lnTo>
                    <a:pt x="825764" y="359914"/>
                  </a:lnTo>
                  <a:lnTo>
                    <a:pt x="850547" y="353874"/>
                  </a:lnTo>
                  <a:cubicBezTo>
                    <a:pt x="850547" y="353874"/>
                    <a:pt x="850662" y="353903"/>
                    <a:pt x="850739" y="353927"/>
                  </a:cubicBezTo>
                  <a:lnTo>
                    <a:pt x="854828" y="343273"/>
                  </a:lnTo>
                  <a:lnTo>
                    <a:pt x="868518" y="349714"/>
                  </a:lnTo>
                  <a:lnTo>
                    <a:pt x="875229" y="342092"/>
                  </a:lnTo>
                  <a:lnTo>
                    <a:pt x="868268" y="330088"/>
                  </a:lnTo>
                  <a:lnTo>
                    <a:pt x="869290" y="322207"/>
                  </a:lnTo>
                  <a:lnTo>
                    <a:pt x="879235" y="312527"/>
                  </a:lnTo>
                  <a:lnTo>
                    <a:pt x="896411" y="313573"/>
                  </a:lnTo>
                  <a:cubicBezTo>
                    <a:pt x="896411" y="313573"/>
                    <a:pt x="916677" y="341711"/>
                    <a:pt x="920813" y="345466"/>
                  </a:cubicBezTo>
                  <a:cubicBezTo>
                    <a:pt x="924940" y="349217"/>
                    <a:pt x="928835" y="352702"/>
                    <a:pt x="928835" y="352702"/>
                  </a:cubicBezTo>
                  <a:cubicBezTo>
                    <a:pt x="928835" y="352702"/>
                    <a:pt x="931400" y="358126"/>
                    <a:pt x="932682" y="360068"/>
                  </a:cubicBezTo>
                  <a:cubicBezTo>
                    <a:pt x="933988" y="361992"/>
                    <a:pt x="937348" y="364812"/>
                    <a:pt x="937348" y="364812"/>
                  </a:cubicBezTo>
                  <a:lnTo>
                    <a:pt x="947573" y="384317"/>
                  </a:lnTo>
                  <a:lnTo>
                    <a:pt x="956337" y="380190"/>
                  </a:lnTo>
                  <a:lnTo>
                    <a:pt x="970664" y="385883"/>
                  </a:lnTo>
                  <a:lnTo>
                    <a:pt x="977114" y="383695"/>
                  </a:lnTo>
                  <a:lnTo>
                    <a:pt x="988472" y="390280"/>
                  </a:lnTo>
                  <a:lnTo>
                    <a:pt x="1001907" y="377481"/>
                  </a:lnTo>
                  <a:lnTo>
                    <a:pt x="1011206" y="374526"/>
                  </a:lnTo>
                  <a:lnTo>
                    <a:pt x="1014436" y="367666"/>
                  </a:lnTo>
                  <a:lnTo>
                    <a:pt x="1013410" y="361727"/>
                  </a:lnTo>
                  <a:lnTo>
                    <a:pt x="1018476" y="355662"/>
                  </a:lnTo>
                  <a:cubicBezTo>
                    <a:pt x="1018476" y="355662"/>
                    <a:pt x="1031497" y="357740"/>
                    <a:pt x="1033305" y="360073"/>
                  </a:cubicBezTo>
                  <a:cubicBezTo>
                    <a:pt x="1035122" y="362392"/>
                    <a:pt x="1042088" y="367290"/>
                    <a:pt x="1049840" y="367290"/>
                  </a:cubicBezTo>
                  <a:cubicBezTo>
                    <a:pt x="1057582" y="367290"/>
                    <a:pt x="1070882" y="372077"/>
                    <a:pt x="1072950" y="380330"/>
                  </a:cubicBezTo>
                  <a:cubicBezTo>
                    <a:pt x="1073336" y="382273"/>
                    <a:pt x="1077458" y="383945"/>
                    <a:pt x="1077202" y="379428"/>
                  </a:cubicBezTo>
                  <a:cubicBezTo>
                    <a:pt x="1076946" y="374911"/>
                    <a:pt x="1077202" y="372458"/>
                    <a:pt x="1079815" y="372593"/>
                  </a:cubicBezTo>
                  <a:cubicBezTo>
                    <a:pt x="1082380" y="372732"/>
                    <a:pt x="1085855" y="367420"/>
                    <a:pt x="1085094" y="364817"/>
                  </a:cubicBezTo>
                  <a:cubicBezTo>
                    <a:pt x="1084308" y="362257"/>
                    <a:pt x="1076869" y="338814"/>
                    <a:pt x="1096933" y="328970"/>
                  </a:cubicBezTo>
                  <a:cubicBezTo>
                    <a:pt x="1098919" y="328285"/>
                    <a:pt x="1103947" y="330614"/>
                    <a:pt x="1103947" y="328285"/>
                  </a:cubicBezTo>
                  <a:cubicBezTo>
                    <a:pt x="1103947" y="325962"/>
                    <a:pt x="1104834" y="323007"/>
                    <a:pt x="1104834" y="323007"/>
                  </a:cubicBezTo>
                  <a:lnTo>
                    <a:pt x="1107809" y="310863"/>
                  </a:lnTo>
                  <a:lnTo>
                    <a:pt x="1104583" y="303232"/>
                  </a:lnTo>
                  <a:lnTo>
                    <a:pt x="1101484" y="291879"/>
                  </a:lnTo>
                  <a:cubicBezTo>
                    <a:pt x="1099175" y="287989"/>
                    <a:pt x="1098138" y="285531"/>
                    <a:pt x="1098138" y="285531"/>
                  </a:cubicBezTo>
                  <a:lnTo>
                    <a:pt x="1097883" y="271213"/>
                  </a:lnTo>
                  <a:lnTo>
                    <a:pt x="1099180" y="257498"/>
                  </a:lnTo>
                  <a:lnTo>
                    <a:pt x="1096475" y="252856"/>
                  </a:lnTo>
                  <a:cubicBezTo>
                    <a:pt x="1096475" y="252856"/>
                    <a:pt x="1097372" y="240847"/>
                    <a:pt x="1097627" y="238664"/>
                  </a:cubicBezTo>
                  <a:cubicBezTo>
                    <a:pt x="1097883" y="236470"/>
                    <a:pt x="1100713" y="227803"/>
                    <a:pt x="1098389" y="224688"/>
                  </a:cubicBezTo>
                  <a:cubicBezTo>
                    <a:pt x="1096090" y="221613"/>
                    <a:pt x="1094909" y="214647"/>
                    <a:pt x="1097627" y="212849"/>
                  </a:cubicBezTo>
                  <a:cubicBezTo>
                    <a:pt x="1100317" y="211007"/>
                    <a:pt x="1105504" y="207016"/>
                    <a:pt x="1107167" y="196569"/>
                  </a:cubicBezTo>
                  <a:cubicBezTo>
                    <a:pt x="1107929" y="193074"/>
                    <a:pt x="1111178" y="190215"/>
                    <a:pt x="1111178" y="190215"/>
                  </a:cubicBezTo>
                  <a:cubicBezTo>
                    <a:pt x="1111178" y="190215"/>
                    <a:pt x="1111684" y="176549"/>
                    <a:pt x="1113762" y="175382"/>
                  </a:cubicBezTo>
                  <a:cubicBezTo>
                    <a:pt x="1115835" y="174216"/>
                    <a:pt x="1118940" y="173073"/>
                    <a:pt x="1118940" y="173073"/>
                  </a:cubicBezTo>
                  <a:lnTo>
                    <a:pt x="1124614" y="172813"/>
                  </a:lnTo>
                  <a:cubicBezTo>
                    <a:pt x="1124614" y="172813"/>
                    <a:pt x="1129396" y="168411"/>
                    <a:pt x="1131175" y="169062"/>
                  </a:cubicBezTo>
                  <a:cubicBezTo>
                    <a:pt x="1133007" y="169684"/>
                    <a:pt x="1144870" y="172948"/>
                    <a:pt x="1149416" y="165047"/>
                  </a:cubicBezTo>
                  <a:cubicBezTo>
                    <a:pt x="1150077" y="162472"/>
                    <a:pt x="1150313" y="159623"/>
                    <a:pt x="1150313" y="159623"/>
                  </a:cubicBezTo>
                  <a:lnTo>
                    <a:pt x="1158821" y="150835"/>
                  </a:lnTo>
                  <a:lnTo>
                    <a:pt x="1159988" y="144120"/>
                  </a:lnTo>
                  <a:lnTo>
                    <a:pt x="1172252" y="138465"/>
                  </a:lnTo>
                  <a:lnTo>
                    <a:pt x="1192653" y="160144"/>
                  </a:lnTo>
                  <a:lnTo>
                    <a:pt x="1203264" y="162198"/>
                  </a:lnTo>
                  <a:lnTo>
                    <a:pt x="1209058" y="170735"/>
                  </a:lnTo>
                  <a:cubicBezTo>
                    <a:pt x="1209058" y="170735"/>
                    <a:pt x="1237245" y="174871"/>
                    <a:pt x="1242133" y="176428"/>
                  </a:cubicBezTo>
                  <a:cubicBezTo>
                    <a:pt x="1247045" y="177976"/>
                    <a:pt x="1247561" y="179128"/>
                    <a:pt x="1248351" y="181726"/>
                  </a:cubicBezTo>
                  <a:cubicBezTo>
                    <a:pt x="1249113" y="184301"/>
                    <a:pt x="1255674" y="196695"/>
                    <a:pt x="1260861" y="199804"/>
                  </a:cubicBezTo>
                  <a:cubicBezTo>
                    <a:pt x="1262390" y="200580"/>
                    <a:pt x="1263826" y="214271"/>
                    <a:pt x="1258147" y="225763"/>
                  </a:cubicBezTo>
                  <a:cubicBezTo>
                    <a:pt x="1252464" y="237251"/>
                    <a:pt x="1249619" y="244092"/>
                    <a:pt x="1249619" y="244092"/>
                  </a:cubicBezTo>
                  <a:lnTo>
                    <a:pt x="1252979" y="261398"/>
                  </a:lnTo>
                  <a:lnTo>
                    <a:pt x="1265865" y="269989"/>
                  </a:lnTo>
                  <a:cubicBezTo>
                    <a:pt x="1274576" y="260926"/>
                    <a:pt x="1274248" y="253791"/>
                    <a:pt x="1274041" y="250045"/>
                  </a:cubicBezTo>
                  <a:cubicBezTo>
                    <a:pt x="1273771" y="245639"/>
                    <a:pt x="1273347" y="236586"/>
                    <a:pt x="1273347" y="236586"/>
                  </a:cubicBezTo>
                  <a:lnTo>
                    <a:pt x="1270917" y="229755"/>
                  </a:lnTo>
                  <a:lnTo>
                    <a:pt x="1275950" y="222023"/>
                  </a:lnTo>
                  <a:lnTo>
                    <a:pt x="1283061" y="219554"/>
                  </a:lnTo>
                  <a:lnTo>
                    <a:pt x="1288744" y="212058"/>
                  </a:lnTo>
                  <a:lnTo>
                    <a:pt x="1296742" y="206644"/>
                  </a:lnTo>
                  <a:cubicBezTo>
                    <a:pt x="1296742" y="206644"/>
                    <a:pt x="1298930" y="201062"/>
                    <a:pt x="1300632" y="197210"/>
                  </a:cubicBezTo>
                  <a:cubicBezTo>
                    <a:pt x="1302290" y="193349"/>
                    <a:pt x="1301538" y="191021"/>
                    <a:pt x="1300632" y="189083"/>
                  </a:cubicBezTo>
                  <a:cubicBezTo>
                    <a:pt x="1299697" y="187140"/>
                    <a:pt x="1300131" y="185858"/>
                    <a:pt x="1301649" y="183259"/>
                  </a:cubicBezTo>
                  <a:cubicBezTo>
                    <a:pt x="1303226" y="180685"/>
                    <a:pt x="1300863" y="174100"/>
                    <a:pt x="1298280" y="169829"/>
                  </a:cubicBezTo>
                  <a:cubicBezTo>
                    <a:pt x="1295734" y="165562"/>
                    <a:pt x="1303467" y="169973"/>
                    <a:pt x="1303467" y="169973"/>
                  </a:cubicBezTo>
                  <a:lnTo>
                    <a:pt x="1315466" y="177981"/>
                  </a:lnTo>
                  <a:lnTo>
                    <a:pt x="1322195" y="176433"/>
                  </a:lnTo>
                  <a:lnTo>
                    <a:pt x="1327884" y="176669"/>
                  </a:lnTo>
                  <a:lnTo>
                    <a:pt x="1334348" y="171887"/>
                  </a:lnTo>
                  <a:lnTo>
                    <a:pt x="1334724" y="165567"/>
                  </a:lnTo>
                  <a:lnTo>
                    <a:pt x="1330593" y="152146"/>
                  </a:lnTo>
                  <a:lnTo>
                    <a:pt x="1322923" y="142105"/>
                  </a:lnTo>
                  <a:cubicBezTo>
                    <a:pt x="1317259" y="142153"/>
                    <a:pt x="1312004" y="140075"/>
                    <a:pt x="1305800" y="142751"/>
                  </a:cubicBezTo>
                  <a:lnTo>
                    <a:pt x="1307535" y="147465"/>
                  </a:lnTo>
                  <a:lnTo>
                    <a:pt x="1309902" y="154624"/>
                  </a:lnTo>
                  <a:lnTo>
                    <a:pt x="1309946" y="155694"/>
                  </a:lnTo>
                  <a:lnTo>
                    <a:pt x="1308167" y="162231"/>
                  </a:lnTo>
                  <a:cubicBezTo>
                    <a:pt x="1307945" y="163133"/>
                    <a:pt x="1307073" y="163682"/>
                    <a:pt x="1306161" y="163547"/>
                  </a:cubicBezTo>
                  <a:cubicBezTo>
                    <a:pt x="1305265" y="163441"/>
                    <a:pt x="1304628" y="162660"/>
                    <a:pt x="1304628" y="161730"/>
                  </a:cubicBezTo>
                  <a:lnTo>
                    <a:pt x="1304628" y="154875"/>
                  </a:lnTo>
                  <a:lnTo>
                    <a:pt x="1302908" y="148743"/>
                  </a:lnTo>
                  <a:lnTo>
                    <a:pt x="1299924" y="143247"/>
                  </a:lnTo>
                  <a:lnTo>
                    <a:pt x="1294958" y="142732"/>
                  </a:lnTo>
                  <a:cubicBezTo>
                    <a:pt x="1294066" y="142650"/>
                    <a:pt x="1293396" y="141970"/>
                    <a:pt x="1293310" y="141117"/>
                  </a:cubicBezTo>
                  <a:lnTo>
                    <a:pt x="1292934" y="137154"/>
                  </a:lnTo>
                  <a:lnTo>
                    <a:pt x="1290624" y="137626"/>
                  </a:lnTo>
                  <a:lnTo>
                    <a:pt x="1291502" y="143247"/>
                  </a:lnTo>
                  <a:lnTo>
                    <a:pt x="1295435" y="149461"/>
                  </a:lnTo>
                  <a:lnTo>
                    <a:pt x="1295667" y="150932"/>
                  </a:lnTo>
                  <a:lnTo>
                    <a:pt x="1294018" y="157015"/>
                  </a:lnTo>
                  <a:lnTo>
                    <a:pt x="1295667" y="163085"/>
                  </a:lnTo>
                  <a:lnTo>
                    <a:pt x="1295759" y="163552"/>
                  </a:lnTo>
                  <a:lnTo>
                    <a:pt x="1295759" y="164719"/>
                  </a:lnTo>
                  <a:cubicBezTo>
                    <a:pt x="1295759" y="165572"/>
                    <a:pt x="1295180" y="166310"/>
                    <a:pt x="1294370" y="166507"/>
                  </a:cubicBezTo>
                  <a:cubicBezTo>
                    <a:pt x="1293584" y="166690"/>
                    <a:pt x="1292726" y="166343"/>
                    <a:pt x="1292321" y="165596"/>
                  </a:cubicBezTo>
                  <a:lnTo>
                    <a:pt x="1289949" y="161200"/>
                  </a:lnTo>
                  <a:lnTo>
                    <a:pt x="1286281" y="164839"/>
                  </a:lnTo>
                  <a:lnTo>
                    <a:pt x="1284324" y="165206"/>
                  </a:lnTo>
                  <a:lnTo>
                    <a:pt x="1283177" y="163552"/>
                  </a:lnTo>
                  <a:lnTo>
                    <a:pt x="1283177" y="161735"/>
                  </a:lnTo>
                  <a:lnTo>
                    <a:pt x="1283287" y="161094"/>
                  </a:lnTo>
                  <a:lnTo>
                    <a:pt x="1284695" y="157613"/>
                  </a:lnTo>
                  <a:lnTo>
                    <a:pt x="1284194" y="157613"/>
                  </a:lnTo>
                  <a:lnTo>
                    <a:pt x="1282357" y="160371"/>
                  </a:lnTo>
                  <a:lnTo>
                    <a:pt x="1281205" y="161166"/>
                  </a:lnTo>
                  <a:lnTo>
                    <a:pt x="1275810" y="162231"/>
                  </a:lnTo>
                  <a:lnTo>
                    <a:pt x="1270937" y="167635"/>
                  </a:lnTo>
                  <a:lnTo>
                    <a:pt x="1266212" y="174134"/>
                  </a:lnTo>
                  <a:cubicBezTo>
                    <a:pt x="1265716" y="174842"/>
                    <a:pt x="1264800" y="175078"/>
                    <a:pt x="1264004" y="174736"/>
                  </a:cubicBezTo>
                  <a:cubicBezTo>
                    <a:pt x="1263223" y="174375"/>
                    <a:pt x="1262799" y="173497"/>
                    <a:pt x="1262992" y="172654"/>
                  </a:cubicBezTo>
                  <a:lnTo>
                    <a:pt x="1264747" y="165022"/>
                  </a:lnTo>
                  <a:lnTo>
                    <a:pt x="1265335" y="159194"/>
                  </a:lnTo>
                  <a:lnTo>
                    <a:pt x="1265552" y="158519"/>
                  </a:lnTo>
                  <a:lnTo>
                    <a:pt x="1268893" y="152358"/>
                  </a:lnTo>
                  <a:lnTo>
                    <a:pt x="1268893" y="147191"/>
                  </a:lnTo>
                  <a:lnTo>
                    <a:pt x="1267051" y="142158"/>
                  </a:lnTo>
                  <a:lnTo>
                    <a:pt x="1262742" y="142158"/>
                  </a:lnTo>
                  <a:lnTo>
                    <a:pt x="1256932" y="144819"/>
                  </a:lnTo>
                  <a:lnTo>
                    <a:pt x="1251837" y="150493"/>
                  </a:lnTo>
                  <a:cubicBezTo>
                    <a:pt x="1251201" y="151177"/>
                    <a:pt x="1250126" y="151269"/>
                    <a:pt x="1249359" y="150710"/>
                  </a:cubicBezTo>
                  <a:cubicBezTo>
                    <a:pt x="1248622" y="150141"/>
                    <a:pt x="1248443" y="149076"/>
                    <a:pt x="1248945" y="148285"/>
                  </a:cubicBezTo>
                  <a:lnTo>
                    <a:pt x="1253042" y="141830"/>
                  </a:lnTo>
                  <a:lnTo>
                    <a:pt x="1255833" y="136257"/>
                  </a:lnTo>
                  <a:lnTo>
                    <a:pt x="1256267" y="132290"/>
                  </a:lnTo>
                  <a:lnTo>
                    <a:pt x="1251933" y="131403"/>
                  </a:lnTo>
                  <a:lnTo>
                    <a:pt x="1245228" y="130284"/>
                  </a:lnTo>
                  <a:lnTo>
                    <a:pt x="1239689" y="131962"/>
                  </a:lnTo>
                  <a:lnTo>
                    <a:pt x="1238353" y="131846"/>
                  </a:lnTo>
                  <a:lnTo>
                    <a:pt x="1232708" y="129031"/>
                  </a:lnTo>
                  <a:lnTo>
                    <a:pt x="1226591" y="128457"/>
                  </a:lnTo>
                  <a:lnTo>
                    <a:pt x="1212996" y="128457"/>
                  </a:lnTo>
                  <a:lnTo>
                    <a:pt x="1212490" y="128395"/>
                  </a:lnTo>
                  <a:lnTo>
                    <a:pt x="1205953" y="126626"/>
                  </a:lnTo>
                  <a:lnTo>
                    <a:pt x="1204748" y="125498"/>
                  </a:lnTo>
                  <a:lnTo>
                    <a:pt x="1204951" y="123839"/>
                  </a:lnTo>
                  <a:lnTo>
                    <a:pt x="1207892" y="119573"/>
                  </a:lnTo>
                  <a:lnTo>
                    <a:pt x="1204353" y="120113"/>
                  </a:lnTo>
                  <a:cubicBezTo>
                    <a:pt x="1203471" y="120253"/>
                    <a:pt x="1202622" y="119722"/>
                    <a:pt x="1202338" y="118912"/>
                  </a:cubicBezTo>
                  <a:cubicBezTo>
                    <a:pt x="1202044" y="118050"/>
                    <a:pt x="1202430" y="117153"/>
                    <a:pt x="1203186" y="116729"/>
                  </a:cubicBezTo>
                  <a:lnTo>
                    <a:pt x="1209718" y="113137"/>
                  </a:lnTo>
                  <a:lnTo>
                    <a:pt x="1211227" y="113031"/>
                  </a:lnTo>
                  <a:lnTo>
                    <a:pt x="1217557" y="115331"/>
                  </a:lnTo>
                  <a:lnTo>
                    <a:pt x="1223636" y="115880"/>
                  </a:lnTo>
                  <a:lnTo>
                    <a:pt x="1230563" y="114733"/>
                  </a:lnTo>
                  <a:lnTo>
                    <a:pt x="1230689" y="114733"/>
                  </a:lnTo>
                  <a:lnTo>
                    <a:pt x="1237818" y="114130"/>
                  </a:lnTo>
                  <a:lnTo>
                    <a:pt x="1238320" y="114164"/>
                  </a:lnTo>
                  <a:lnTo>
                    <a:pt x="1243946" y="115282"/>
                  </a:lnTo>
                  <a:lnTo>
                    <a:pt x="1249513" y="114164"/>
                  </a:lnTo>
                  <a:lnTo>
                    <a:pt x="1249870" y="114130"/>
                  </a:lnTo>
                  <a:lnTo>
                    <a:pt x="1257024" y="114130"/>
                  </a:lnTo>
                  <a:lnTo>
                    <a:pt x="1257183" y="114130"/>
                  </a:lnTo>
                  <a:lnTo>
                    <a:pt x="1263556" y="114709"/>
                  </a:lnTo>
                  <a:lnTo>
                    <a:pt x="1269129" y="114169"/>
                  </a:lnTo>
                  <a:lnTo>
                    <a:pt x="1270512" y="113701"/>
                  </a:lnTo>
                  <a:lnTo>
                    <a:pt x="1276582" y="109845"/>
                  </a:lnTo>
                  <a:lnTo>
                    <a:pt x="1281133" y="103558"/>
                  </a:lnTo>
                  <a:lnTo>
                    <a:pt x="1285447" y="97668"/>
                  </a:lnTo>
                  <a:lnTo>
                    <a:pt x="1284396" y="91878"/>
                  </a:lnTo>
                  <a:lnTo>
                    <a:pt x="1284632" y="90576"/>
                  </a:lnTo>
                  <a:lnTo>
                    <a:pt x="1289390" y="82834"/>
                  </a:lnTo>
                  <a:lnTo>
                    <a:pt x="1289925" y="82328"/>
                  </a:lnTo>
                  <a:lnTo>
                    <a:pt x="1295869" y="78139"/>
                  </a:lnTo>
                  <a:lnTo>
                    <a:pt x="1295903" y="78115"/>
                  </a:lnTo>
                  <a:lnTo>
                    <a:pt x="1302464" y="73926"/>
                  </a:lnTo>
                  <a:lnTo>
                    <a:pt x="1302551" y="73882"/>
                  </a:lnTo>
                  <a:lnTo>
                    <a:pt x="1308495" y="70647"/>
                  </a:lnTo>
                  <a:lnTo>
                    <a:pt x="1310413" y="65398"/>
                  </a:lnTo>
                  <a:lnTo>
                    <a:pt x="1308350" y="60268"/>
                  </a:lnTo>
                  <a:lnTo>
                    <a:pt x="1304064" y="53823"/>
                  </a:lnTo>
                  <a:lnTo>
                    <a:pt x="1299461" y="52440"/>
                  </a:lnTo>
                  <a:lnTo>
                    <a:pt x="1293575" y="55660"/>
                  </a:lnTo>
                  <a:cubicBezTo>
                    <a:pt x="1292774" y="56094"/>
                    <a:pt x="1291757" y="55848"/>
                    <a:pt x="1291232" y="55110"/>
                  </a:cubicBezTo>
                  <a:lnTo>
                    <a:pt x="1287337" y="49499"/>
                  </a:lnTo>
                  <a:lnTo>
                    <a:pt x="1281798" y="46746"/>
                  </a:lnTo>
                  <a:lnTo>
                    <a:pt x="1281619" y="46655"/>
                  </a:lnTo>
                  <a:lnTo>
                    <a:pt x="1275786" y="42938"/>
                  </a:lnTo>
                  <a:lnTo>
                    <a:pt x="1271062" y="44360"/>
                  </a:lnTo>
                  <a:lnTo>
                    <a:pt x="1264858" y="50569"/>
                  </a:lnTo>
                  <a:lnTo>
                    <a:pt x="1263715" y="51114"/>
                  </a:lnTo>
                  <a:lnTo>
                    <a:pt x="1257178" y="51697"/>
                  </a:lnTo>
                  <a:cubicBezTo>
                    <a:pt x="1256412" y="51770"/>
                    <a:pt x="1255650" y="51341"/>
                    <a:pt x="1255371" y="50627"/>
                  </a:cubicBezTo>
                  <a:lnTo>
                    <a:pt x="1255804" y="48549"/>
                  </a:lnTo>
                  <a:lnTo>
                    <a:pt x="1262187" y="42711"/>
                  </a:lnTo>
                  <a:lnTo>
                    <a:pt x="1265277" y="38325"/>
                  </a:lnTo>
                  <a:lnTo>
                    <a:pt x="1260534" y="34434"/>
                  </a:lnTo>
                  <a:lnTo>
                    <a:pt x="1255231" y="34434"/>
                  </a:lnTo>
                  <a:lnTo>
                    <a:pt x="1253756" y="33697"/>
                  </a:lnTo>
                  <a:lnTo>
                    <a:pt x="1253486" y="32101"/>
                  </a:lnTo>
                  <a:lnTo>
                    <a:pt x="1254758" y="27888"/>
                  </a:lnTo>
                  <a:lnTo>
                    <a:pt x="1251172" y="26832"/>
                  </a:lnTo>
                  <a:lnTo>
                    <a:pt x="1247204" y="28582"/>
                  </a:lnTo>
                  <a:lnTo>
                    <a:pt x="1245662" y="33745"/>
                  </a:lnTo>
                  <a:lnTo>
                    <a:pt x="1245449" y="34198"/>
                  </a:lnTo>
                  <a:lnTo>
                    <a:pt x="1241299" y="40740"/>
                  </a:lnTo>
                  <a:cubicBezTo>
                    <a:pt x="1240841" y="41400"/>
                    <a:pt x="1240026" y="41728"/>
                    <a:pt x="1239265" y="41511"/>
                  </a:cubicBezTo>
                  <a:cubicBezTo>
                    <a:pt x="1238479" y="41299"/>
                    <a:pt x="1237939" y="40581"/>
                    <a:pt x="1237939" y="39756"/>
                  </a:cubicBezTo>
                  <a:lnTo>
                    <a:pt x="1237939" y="32868"/>
                  </a:lnTo>
                  <a:lnTo>
                    <a:pt x="1236753" y="28519"/>
                  </a:lnTo>
                  <a:lnTo>
                    <a:pt x="1232858" y="30076"/>
                  </a:lnTo>
                  <a:lnTo>
                    <a:pt x="1226654" y="34000"/>
                  </a:lnTo>
                  <a:lnTo>
                    <a:pt x="1221471" y="39790"/>
                  </a:lnTo>
                  <a:lnTo>
                    <a:pt x="1219456" y="40267"/>
                  </a:lnTo>
                  <a:cubicBezTo>
                    <a:pt x="1218777" y="40002"/>
                    <a:pt x="1218294" y="39313"/>
                    <a:pt x="1218294" y="38580"/>
                  </a:cubicBezTo>
                  <a:lnTo>
                    <a:pt x="1218294" y="33514"/>
                  </a:lnTo>
                  <a:lnTo>
                    <a:pt x="1213811" y="32617"/>
                  </a:lnTo>
                  <a:lnTo>
                    <a:pt x="1212553" y="31633"/>
                  </a:lnTo>
                  <a:lnTo>
                    <a:pt x="1212553" y="30019"/>
                  </a:lnTo>
                  <a:lnTo>
                    <a:pt x="1214785" y="25535"/>
                  </a:lnTo>
                  <a:lnTo>
                    <a:pt x="1209637" y="22248"/>
                  </a:lnTo>
                  <a:lnTo>
                    <a:pt x="1203939" y="18825"/>
                  </a:lnTo>
                  <a:lnTo>
                    <a:pt x="1197377" y="17191"/>
                  </a:lnTo>
                  <a:lnTo>
                    <a:pt x="1191988" y="17673"/>
                  </a:lnTo>
                  <a:lnTo>
                    <a:pt x="1187900" y="23800"/>
                  </a:lnTo>
                  <a:lnTo>
                    <a:pt x="1186189" y="31821"/>
                  </a:lnTo>
                  <a:lnTo>
                    <a:pt x="1186034" y="32222"/>
                  </a:lnTo>
                  <a:lnTo>
                    <a:pt x="1183262" y="37809"/>
                  </a:lnTo>
                  <a:lnTo>
                    <a:pt x="1183262" y="51514"/>
                  </a:lnTo>
                  <a:lnTo>
                    <a:pt x="1184414" y="58490"/>
                  </a:lnTo>
                  <a:lnTo>
                    <a:pt x="1184414" y="59116"/>
                  </a:lnTo>
                  <a:lnTo>
                    <a:pt x="1183378" y="64954"/>
                  </a:lnTo>
                  <a:lnTo>
                    <a:pt x="1187143" y="70908"/>
                  </a:lnTo>
                  <a:lnTo>
                    <a:pt x="1187196" y="71009"/>
                  </a:lnTo>
                  <a:lnTo>
                    <a:pt x="1190759" y="77570"/>
                  </a:lnTo>
                  <a:lnTo>
                    <a:pt x="1190513" y="79677"/>
                  </a:lnTo>
                  <a:lnTo>
                    <a:pt x="1188425" y="80086"/>
                  </a:lnTo>
                  <a:lnTo>
                    <a:pt x="1184043" y="78095"/>
                  </a:lnTo>
                  <a:lnTo>
                    <a:pt x="1183238" y="82873"/>
                  </a:lnTo>
                  <a:lnTo>
                    <a:pt x="1183094" y="83345"/>
                  </a:lnTo>
                  <a:lnTo>
                    <a:pt x="1180370" y="89386"/>
                  </a:lnTo>
                  <a:lnTo>
                    <a:pt x="1181459" y="95363"/>
                  </a:lnTo>
                  <a:lnTo>
                    <a:pt x="1181479" y="95546"/>
                  </a:lnTo>
                  <a:lnTo>
                    <a:pt x="1182052" y="103910"/>
                  </a:lnTo>
                  <a:lnTo>
                    <a:pt x="1182052" y="104021"/>
                  </a:lnTo>
                  <a:lnTo>
                    <a:pt x="1182052" y="105800"/>
                  </a:lnTo>
                  <a:cubicBezTo>
                    <a:pt x="1182052" y="106697"/>
                    <a:pt x="1181431" y="107463"/>
                    <a:pt x="1180539" y="107598"/>
                  </a:cubicBezTo>
                  <a:cubicBezTo>
                    <a:pt x="1179637" y="107743"/>
                    <a:pt x="1178784" y="107198"/>
                    <a:pt x="1178538" y="106350"/>
                  </a:cubicBezTo>
                  <a:lnTo>
                    <a:pt x="1176157" y="98617"/>
                  </a:lnTo>
                  <a:lnTo>
                    <a:pt x="1176094" y="98386"/>
                  </a:lnTo>
                  <a:lnTo>
                    <a:pt x="1174884" y="91854"/>
                  </a:lnTo>
                  <a:lnTo>
                    <a:pt x="1174976" y="90861"/>
                  </a:lnTo>
                  <a:lnTo>
                    <a:pt x="1177887" y="83369"/>
                  </a:lnTo>
                  <a:lnTo>
                    <a:pt x="1178283" y="78886"/>
                  </a:lnTo>
                  <a:lnTo>
                    <a:pt x="1175251" y="78553"/>
                  </a:lnTo>
                  <a:lnTo>
                    <a:pt x="1171674" y="84160"/>
                  </a:lnTo>
                  <a:cubicBezTo>
                    <a:pt x="1171138" y="84955"/>
                    <a:pt x="1170092" y="85264"/>
                    <a:pt x="1169248" y="84758"/>
                  </a:cubicBezTo>
                  <a:cubicBezTo>
                    <a:pt x="1168386" y="84300"/>
                    <a:pt x="1168058" y="83258"/>
                    <a:pt x="1168511" y="82381"/>
                  </a:cubicBezTo>
                  <a:lnTo>
                    <a:pt x="1169866" y="79672"/>
                  </a:lnTo>
                  <a:lnTo>
                    <a:pt x="1167716" y="80082"/>
                  </a:lnTo>
                  <a:lnTo>
                    <a:pt x="1164544" y="85307"/>
                  </a:lnTo>
                  <a:cubicBezTo>
                    <a:pt x="1164139" y="86021"/>
                    <a:pt x="1163314" y="86349"/>
                    <a:pt x="1162495" y="86127"/>
                  </a:cubicBezTo>
                  <a:cubicBezTo>
                    <a:pt x="1162345" y="86079"/>
                    <a:pt x="1162249" y="85939"/>
                    <a:pt x="1162090" y="85852"/>
                  </a:cubicBezTo>
                  <a:lnTo>
                    <a:pt x="1161723" y="86802"/>
                  </a:lnTo>
                  <a:cubicBezTo>
                    <a:pt x="1161420" y="87578"/>
                    <a:pt x="1160677" y="88041"/>
                    <a:pt x="1159853" y="87954"/>
                  </a:cubicBezTo>
                  <a:cubicBezTo>
                    <a:pt x="1159058" y="87906"/>
                    <a:pt x="1158368" y="87279"/>
                    <a:pt x="1158243" y="86488"/>
                  </a:cubicBezTo>
                  <a:lnTo>
                    <a:pt x="1157038" y="79942"/>
                  </a:lnTo>
                  <a:lnTo>
                    <a:pt x="1157351" y="78549"/>
                  </a:lnTo>
                  <a:lnTo>
                    <a:pt x="1163309" y="70233"/>
                  </a:lnTo>
                  <a:lnTo>
                    <a:pt x="1167325" y="64501"/>
                  </a:lnTo>
                  <a:lnTo>
                    <a:pt x="1170087" y="56749"/>
                  </a:lnTo>
                  <a:lnTo>
                    <a:pt x="1169716" y="52594"/>
                  </a:lnTo>
                  <a:lnTo>
                    <a:pt x="1165768" y="53303"/>
                  </a:lnTo>
                  <a:lnTo>
                    <a:pt x="1161439" y="58726"/>
                  </a:lnTo>
                  <a:lnTo>
                    <a:pt x="1161140" y="59044"/>
                  </a:lnTo>
                  <a:lnTo>
                    <a:pt x="1153398" y="64988"/>
                  </a:lnTo>
                  <a:lnTo>
                    <a:pt x="1153095" y="65176"/>
                  </a:lnTo>
                  <a:lnTo>
                    <a:pt x="1145965" y="68724"/>
                  </a:lnTo>
                  <a:cubicBezTo>
                    <a:pt x="1145160" y="69139"/>
                    <a:pt x="1144176" y="68893"/>
                    <a:pt x="1143689" y="68189"/>
                  </a:cubicBezTo>
                  <a:lnTo>
                    <a:pt x="1143868" y="65836"/>
                  </a:lnTo>
                  <a:lnTo>
                    <a:pt x="1150289" y="59381"/>
                  </a:lnTo>
                  <a:lnTo>
                    <a:pt x="1154367" y="53573"/>
                  </a:lnTo>
                  <a:lnTo>
                    <a:pt x="1154430" y="53471"/>
                  </a:lnTo>
                  <a:lnTo>
                    <a:pt x="1158667" y="48332"/>
                  </a:lnTo>
                  <a:lnTo>
                    <a:pt x="1154107" y="44611"/>
                  </a:lnTo>
                  <a:lnTo>
                    <a:pt x="1148891" y="45098"/>
                  </a:lnTo>
                  <a:lnTo>
                    <a:pt x="1148216" y="45045"/>
                  </a:lnTo>
                  <a:lnTo>
                    <a:pt x="1142219" y="43266"/>
                  </a:lnTo>
                  <a:cubicBezTo>
                    <a:pt x="1141501" y="43044"/>
                    <a:pt x="1140961" y="42393"/>
                    <a:pt x="1140937" y="41598"/>
                  </a:cubicBezTo>
                  <a:cubicBezTo>
                    <a:pt x="1140893" y="40836"/>
                    <a:pt x="1141385" y="40108"/>
                    <a:pt x="1142089" y="39848"/>
                  </a:cubicBezTo>
                  <a:lnTo>
                    <a:pt x="1148042" y="37442"/>
                  </a:lnTo>
                  <a:lnTo>
                    <a:pt x="1148201" y="37414"/>
                  </a:lnTo>
                  <a:lnTo>
                    <a:pt x="1154150" y="35606"/>
                  </a:lnTo>
                  <a:lnTo>
                    <a:pt x="1154902" y="35548"/>
                  </a:lnTo>
                  <a:lnTo>
                    <a:pt x="1159549" y="36126"/>
                  </a:lnTo>
                  <a:lnTo>
                    <a:pt x="1160518" y="36126"/>
                  </a:lnTo>
                  <a:lnTo>
                    <a:pt x="1165411" y="31720"/>
                  </a:lnTo>
                  <a:lnTo>
                    <a:pt x="1165932" y="25897"/>
                  </a:lnTo>
                  <a:lnTo>
                    <a:pt x="1166236" y="25082"/>
                  </a:lnTo>
                  <a:lnTo>
                    <a:pt x="1170155" y="18902"/>
                  </a:lnTo>
                  <a:lnTo>
                    <a:pt x="1170642" y="13956"/>
                  </a:lnTo>
                  <a:lnTo>
                    <a:pt x="1166747" y="7135"/>
                  </a:lnTo>
                  <a:lnTo>
                    <a:pt x="1161169" y="7612"/>
                  </a:lnTo>
                  <a:lnTo>
                    <a:pt x="1155587" y="10948"/>
                  </a:lnTo>
                  <a:lnTo>
                    <a:pt x="1153764" y="10962"/>
                  </a:lnTo>
                  <a:lnTo>
                    <a:pt x="1152853" y="9386"/>
                  </a:lnTo>
                  <a:lnTo>
                    <a:pt x="1152853" y="3452"/>
                  </a:lnTo>
                  <a:lnTo>
                    <a:pt x="1152853" y="3249"/>
                  </a:lnTo>
                  <a:lnTo>
                    <a:pt x="1153176" y="0"/>
                  </a:lnTo>
                  <a:lnTo>
                    <a:pt x="1149826" y="1012"/>
                  </a:lnTo>
                  <a:lnTo>
                    <a:pt x="1149450" y="1061"/>
                  </a:lnTo>
                  <a:lnTo>
                    <a:pt x="1143468" y="1615"/>
                  </a:lnTo>
                  <a:lnTo>
                    <a:pt x="1137957" y="6040"/>
                  </a:lnTo>
                  <a:lnTo>
                    <a:pt x="1136974" y="6426"/>
                  </a:lnTo>
                  <a:lnTo>
                    <a:pt x="1130423" y="7029"/>
                  </a:lnTo>
                  <a:lnTo>
                    <a:pt x="1128697" y="6142"/>
                  </a:lnTo>
                  <a:lnTo>
                    <a:pt x="1126412" y="2324"/>
                  </a:lnTo>
                  <a:lnTo>
                    <a:pt x="1123659" y="5361"/>
                  </a:lnTo>
                  <a:lnTo>
                    <a:pt x="1128195" y="11922"/>
                  </a:lnTo>
                  <a:lnTo>
                    <a:pt x="1128490" y="13281"/>
                  </a:lnTo>
                  <a:lnTo>
                    <a:pt x="1127313" y="19818"/>
                  </a:lnTo>
                  <a:lnTo>
                    <a:pt x="1126224" y="21197"/>
                  </a:lnTo>
                  <a:lnTo>
                    <a:pt x="1124503" y="20994"/>
                  </a:lnTo>
                  <a:lnTo>
                    <a:pt x="1117652" y="16439"/>
                  </a:lnTo>
                  <a:lnTo>
                    <a:pt x="1115233" y="15961"/>
                  </a:lnTo>
                  <a:lnTo>
                    <a:pt x="1116515" y="19490"/>
                  </a:lnTo>
                  <a:lnTo>
                    <a:pt x="1116616" y="19900"/>
                  </a:lnTo>
                  <a:lnTo>
                    <a:pt x="1117185" y="25873"/>
                  </a:lnTo>
                  <a:lnTo>
                    <a:pt x="1116635" y="27372"/>
                  </a:lnTo>
                  <a:lnTo>
                    <a:pt x="1115078" y="27840"/>
                  </a:lnTo>
                  <a:lnTo>
                    <a:pt x="1111241" y="27131"/>
                  </a:lnTo>
                  <a:lnTo>
                    <a:pt x="1112123" y="30930"/>
                  </a:lnTo>
                  <a:lnTo>
                    <a:pt x="1116737" y="31397"/>
                  </a:lnTo>
                  <a:lnTo>
                    <a:pt x="1123871" y="31976"/>
                  </a:lnTo>
                  <a:lnTo>
                    <a:pt x="1124059" y="31995"/>
                  </a:lnTo>
                  <a:lnTo>
                    <a:pt x="1130037" y="33200"/>
                  </a:lnTo>
                  <a:cubicBezTo>
                    <a:pt x="1130958" y="33393"/>
                    <a:pt x="1131580" y="34217"/>
                    <a:pt x="1131473" y="35143"/>
                  </a:cubicBezTo>
                  <a:lnTo>
                    <a:pt x="1131049" y="39564"/>
                  </a:lnTo>
                  <a:lnTo>
                    <a:pt x="1136116" y="40942"/>
                  </a:lnTo>
                  <a:cubicBezTo>
                    <a:pt x="1137003" y="41217"/>
                    <a:pt x="1137581" y="42094"/>
                    <a:pt x="1137422" y="43010"/>
                  </a:cubicBezTo>
                  <a:cubicBezTo>
                    <a:pt x="1137258" y="43950"/>
                    <a:pt x="1136429" y="44606"/>
                    <a:pt x="1135480" y="44519"/>
                  </a:cubicBezTo>
                  <a:lnTo>
                    <a:pt x="1128403" y="43979"/>
                  </a:lnTo>
                  <a:lnTo>
                    <a:pt x="1123153" y="47802"/>
                  </a:lnTo>
                  <a:lnTo>
                    <a:pt x="1123153" y="53409"/>
                  </a:lnTo>
                  <a:lnTo>
                    <a:pt x="1122203" y="55014"/>
                  </a:lnTo>
                  <a:lnTo>
                    <a:pt x="1117349" y="57680"/>
                  </a:lnTo>
                  <a:lnTo>
                    <a:pt x="1119937" y="61994"/>
                  </a:lnTo>
                  <a:lnTo>
                    <a:pt x="1120121" y="63474"/>
                  </a:lnTo>
                  <a:lnTo>
                    <a:pt x="1118612" y="68420"/>
                  </a:lnTo>
                  <a:lnTo>
                    <a:pt x="1123871" y="74215"/>
                  </a:lnTo>
                  <a:lnTo>
                    <a:pt x="1124146" y="76331"/>
                  </a:lnTo>
                  <a:cubicBezTo>
                    <a:pt x="1123770" y="76987"/>
                    <a:pt x="1123023" y="77363"/>
                    <a:pt x="1122237" y="77233"/>
                  </a:cubicBezTo>
                  <a:lnTo>
                    <a:pt x="1116684" y="76302"/>
                  </a:lnTo>
                  <a:lnTo>
                    <a:pt x="1115517" y="80135"/>
                  </a:lnTo>
                  <a:lnTo>
                    <a:pt x="1117575" y="85216"/>
                  </a:lnTo>
                  <a:lnTo>
                    <a:pt x="1122763" y="91536"/>
                  </a:lnTo>
                  <a:lnTo>
                    <a:pt x="1123095" y="93257"/>
                  </a:lnTo>
                  <a:lnTo>
                    <a:pt x="1121827" y="94467"/>
                  </a:lnTo>
                  <a:lnTo>
                    <a:pt x="1115536" y="96163"/>
                  </a:lnTo>
                  <a:lnTo>
                    <a:pt x="1109491" y="100044"/>
                  </a:lnTo>
                  <a:lnTo>
                    <a:pt x="1104921" y="105588"/>
                  </a:lnTo>
                  <a:lnTo>
                    <a:pt x="1106415" y="110621"/>
                  </a:lnTo>
                  <a:cubicBezTo>
                    <a:pt x="1106676" y="111503"/>
                    <a:pt x="1106276" y="112429"/>
                    <a:pt x="1105451" y="112805"/>
                  </a:cubicBezTo>
                  <a:lnTo>
                    <a:pt x="1098909" y="115793"/>
                  </a:lnTo>
                  <a:lnTo>
                    <a:pt x="1097203" y="115692"/>
                  </a:lnTo>
                  <a:lnTo>
                    <a:pt x="1096311" y="114256"/>
                  </a:lnTo>
                  <a:lnTo>
                    <a:pt x="1095738" y="106523"/>
                  </a:lnTo>
                  <a:lnTo>
                    <a:pt x="1095776" y="105921"/>
                  </a:lnTo>
                  <a:lnTo>
                    <a:pt x="1097531" y="99601"/>
                  </a:lnTo>
                  <a:lnTo>
                    <a:pt x="1097531" y="98878"/>
                  </a:lnTo>
                  <a:lnTo>
                    <a:pt x="1095776" y="92562"/>
                  </a:lnTo>
                  <a:lnTo>
                    <a:pt x="1095738" y="92283"/>
                  </a:lnTo>
                  <a:lnTo>
                    <a:pt x="1095140" y="86329"/>
                  </a:lnTo>
                  <a:lnTo>
                    <a:pt x="1095140" y="85973"/>
                  </a:lnTo>
                  <a:lnTo>
                    <a:pt x="1095675" y="79865"/>
                  </a:lnTo>
                  <a:lnTo>
                    <a:pt x="1093944" y="75468"/>
                  </a:lnTo>
                  <a:lnTo>
                    <a:pt x="1089018" y="75468"/>
                  </a:lnTo>
                  <a:lnTo>
                    <a:pt x="1082842" y="78288"/>
                  </a:lnTo>
                  <a:cubicBezTo>
                    <a:pt x="1082047" y="78626"/>
                    <a:pt x="1081092" y="78394"/>
                    <a:pt x="1080596" y="77662"/>
                  </a:cubicBezTo>
                  <a:lnTo>
                    <a:pt x="1080803" y="75333"/>
                  </a:lnTo>
                  <a:lnTo>
                    <a:pt x="1086646" y="69476"/>
                  </a:lnTo>
                  <a:lnTo>
                    <a:pt x="1091606" y="62838"/>
                  </a:lnTo>
                  <a:lnTo>
                    <a:pt x="1092190" y="56822"/>
                  </a:lnTo>
                  <a:lnTo>
                    <a:pt x="1092701" y="50858"/>
                  </a:lnTo>
                  <a:lnTo>
                    <a:pt x="1088834" y="44211"/>
                  </a:lnTo>
                  <a:lnTo>
                    <a:pt x="1088618" y="42957"/>
                  </a:lnTo>
                  <a:lnTo>
                    <a:pt x="1089620" y="37997"/>
                  </a:lnTo>
                  <a:lnTo>
                    <a:pt x="1085879" y="34646"/>
                  </a:lnTo>
                  <a:cubicBezTo>
                    <a:pt x="1076787" y="50068"/>
                    <a:pt x="1066539" y="69158"/>
                    <a:pt x="1068992" y="87747"/>
                  </a:cubicBezTo>
                  <a:cubicBezTo>
                    <a:pt x="1066018" y="95055"/>
                    <a:pt x="1057471" y="103515"/>
                    <a:pt x="1057095" y="113272"/>
                  </a:cubicBezTo>
                  <a:lnTo>
                    <a:pt x="1057047" y="113407"/>
                  </a:lnTo>
                  <a:lnTo>
                    <a:pt x="1055249" y="119968"/>
                  </a:lnTo>
                  <a:lnTo>
                    <a:pt x="1055065" y="120407"/>
                  </a:lnTo>
                  <a:lnTo>
                    <a:pt x="1051657" y="126100"/>
                  </a:lnTo>
                  <a:lnTo>
                    <a:pt x="1050770" y="130588"/>
                  </a:lnTo>
                  <a:lnTo>
                    <a:pt x="1056381" y="134681"/>
                  </a:lnTo>
                  <a:cubicBezTo>
                    <a:pt x="1057128" y="135231"/>
                    <a:pt x="1057326" y="136277"/>
                    <a:pt x="1056844" y="137091"/>
                  </a:cubicBezTo>
                  <a:lnTo>
                    <a:pt x="1053431" y="142780"/>
                  </a:lnTo>
                  <a:lnTo>
                    <a:pt x="1051700" y="149673"/>
                  </a:lnTo>
                  <a:lnTo>
                    <a:pt x="1051700" y="149702"/>
                  </a:lnTo>
                  <a:lnTo>
                    <a:pt x="1049936" y="156099"/>
                  </a:lnTo>
                  <a:lnTo>
                    <a:pt x="1049367" y="162472"/>
                  </a:lnTo>
                  <a:lnTo>
                    <a:pt x="1049194" y="163123"/>
                  </a:lnTo>
                  <a:lnTo>
                    <a:pt x="1045612" y="170263"/>
                  </a:lnTo>
                  <a:lnTo>
                    <a:pt x="1043925" y="171280"/>
                  </a:lnTo>
                  <a:lnTo>
                    <a:pt x="1042305" y="170128"/>
                  </a:lnTo>
                  <a:lnTo>
                    <a:pt x="1039952" y="164246"/>
                  </a:lnTo>
                  <a:lnTo>
                    <a:pt x="1038641" y="161609"/>
                  </a:lnTo>
                  <a:lnTo>
                    <a:pt x="1037561" y="163759"/>
                  </a:lnTo>
                  <a:lnTo>
                    <a:pt x="1038641" y="169110"/>
                  </a:lnTo>
                  <a:cubicBezTo>
                    <a:pt x="1038776" y="169940"/>
                    <a:pt x="1038361" y="170783"/>
                    <a:pt x="1037561" y="171135"/>
                  </a:cubicBezTo>
                  <a:cubicBezTo>
                    <a:pt x="1036771" y="171492"/>
                    <a:pt x="1035845" y="171183"/>
                    <a:pt x="1035344" y="170513"/>
                  </a:cubicBezTo>
                  <a:lnTo>
                    <a:pt x="1031184" y="164540"/>
                  </a:lnTo>
                  <a:lnTo>
                    <a:pt x="1030851" y="163509"/>
                  </a:lnTo>
                  <a:lnTo>
                    <a:pt x="1030851" y="157811"/>
                  </a:lnTo>
                  <a:lnTo>
                    <a:pt x="1029144" y="152122"/>
                  </a:lnTo>
                  <a:lnTo>
                    <a:pt x="1029318" y="150734"/>
                  </a:lnTo>
                  <a:lnTo>
                    <a:pt x="1032852" y="144226"/>
                  </a:lnTo>
                  <a:lnTo>
                    <a:pt x="1035464" y="138967"/>
                  </a:lnTo>
                  <a:lnTo>
                    <a:pt x="1033367" y="133196"/>
                  </a:lnTo>
                  <a:lnTo>
                    <a:pt x="1033281" y="132873"/>
                  </a:lnTo>
                  <a:lnTo>
                    <a:pt x="1032104" y="126327"/>
                  </a:lnTo>
                  <a:cubicBezTo>
                    <a:pt x="1031902" y="125406"/>
                    <a:pt x="1032480" y="124524"/>
                    <a:pt x="1033367" y="124283"/>
                  </a:cubicBezTo>
                  <a:lnTo>
                    <a:pt x="1037450" y="123053"/>
                  </a:lnTo>
                  <a:lnTo>
                    <a:pt x="1035724" y="118286"/>
                  </a:lnTo>
                  <a:lnTo>
                    <a:pt x="1035691" y="118170"/>
                  </a:lnTo>
                  <a:lnTo>
                    <a:pt x="1034428" y="113542"/>
                  </a:lnTo>
                  <a:lnTo>
                    <a:pt x="1029737" y="115215"/>
                  </a:lnTo>
                  <a:cubicBezTo>
                    <a:pt x="1028845" y="115543"/>
                    <a:pt x="1027857" y="115157"/>
                    <a:pt x="1027438" y="114285"/>
                  </a:cubicBezTo>
                  <a:cubicBezTo>
                    <a:pt x="1027062" y="113426"/>
                    <a:pt x="1027380" y="112424"/>
                    <a:pt x="1028190" y="111956"/>
                  </a:cubicBezTo>
                  <a:lnTo>
                    <a:pt x="1030889" y="110418"/>
                  </a:lnTo>
                  <a:lnTo>
                    <a:pt x="1028677" y="106007"/>
                  </a:lnTo>
                  <a:lnTo>
                    <a:pt x="1028759" y="104224"/>
                  </a:lnTo>
                  <a:lnTo>
                    <a:pt x="1032871" y="97730"/>
                  </a:lnTo>
                  <a:lnTo>
                    <a:pt x="1036269" y="90991"/>
                  </a:lnTo>
                  <a:lnTo>
                    <a:pt x="1036814" y="84791"/>
                  </a:lnTo>
                  <a:lnTo>
                    <a:pt x="1037277" y="83741"/>
                  </a:lnTo>
                  <a:lnTo>
                    <a:pt x="1042657" y="77797"/>
                  </a:lnTo>
                  <a:lnTo>
                    <a:pt x="1042763" y="77671"/>
                  </a:lnTo>
                  <a:lnTo>
                    <a:pt x="1048311" y="72610"/>
                  </a:lnTo>
                  <a:lnTo>
                    <a:pt x="1045887" y="67244"/>
                  </a:lnTo>
                  <a:lnTo>
                    <a:pt x="1046012" y="65547"/>
                  </a:lnTo>
                  <a:lnTo>
                    <a:pt x="1050167" y="59020"/>
                  </a:lnTo>
                  <a:lnTo>
                    <a:pt x="1053195" y="53987"/>
                  </a:lnTo>
                  <a:lnTo>
                    <a:pt x="1050833" y="49639"/>
                  </a:lnTo>
                  <a:lnTo>
                    <a:pt x="1046489" y="50950"/>
                  </a:lnTo>
                  <a:lnTo>
                    <a:pt x="1040854" y="54310"/>
                  </a:lnTo>
                  <a:lnTo>
                    <a:pt x="1034428" y="59603"/>
                  </a:lnTo>
                  <a:lnTo>
                    <a:pt x="1033777" y="59565"/>
                  </a:lnTo>
                  <a:lnTo>
                    <a:pt x="1033893" y="60992"/>
                  </a:lnTo>
                  <a:lnTo>
                    <a:pt x="1033531" y="62240"/>
                  </a:lnTo>
                  <a:lnTo>
                    <a:pt x="1028171" y="69380"/>
                  </a:lnTo>
                  <a:lnTo>
                    <a:pt x="1026286" y="70055"/>
                  </a:lnTo>
                  <a:lnTo>
                    <a:pt x="1024936" y="68618"/>
                  </a:lnTo>
                  <a:lnTo>
                    <a:pt x="1023813" y="62404"/>
                  </a:lnTo>
                  <a:lnTo>
                    <a:pt x="1020303" y="56451"/>
                  </a:lnTo>
                  <a:lnTo>
                    <a:pt x="1017223" y="56451"/>
                  </a:lnTo>
                  <a:lnTo>
                    <a:pt x="1017223" y="61151"/>
                  </a:lnTo>
                  <a:lnTo>
                    <a:pt x="1016509" y="62607"/>
                  </a:lnTo>
                  <a:lnTo>
                    <a:pt x="1014933" y="62925"/>
                  </a:lnTo>
                  <a:lnTo>
                    <a:pt x="1008396" y="61146"/>
                  </a:lnTo>
                  <a:lnTo>
                    <a:pt x="1007162" y="59950"/>
                  </a:lnTo>
                  <a:lnTo>
                    <a:pt x="1007451" y="58253"/>
                  </a:lnTo>
                  <a:lnTo>
                    <a:pt x="1011443" y="53278"/>
                  </a:lnTo>
                  <a:lnTo>
                    <a:pt x="1009235" y="49465"/>
                  </a:lnTo>
                  <a:lnTo>
                    <a:pt x="1006130" y="53385"/>
                  </a:lnTo>
                  <a:lnTo>
                    <a:pt x="1004920" y="54040"/>
                  </a:lnTo>
                  <a:lnTo>
                    <a:pt x="1003585" y="53645"/>
                  </a:lnTo>
                  <a:lnTo>
                    <a:pt x="998253" y="49398"/>
                  </a:lnTo>
                  <a:lnTo>
                    <a:pt x="993760" y="50241"/>
                  </a:lnTo>
                  <a:lnTo>
                    <a:pt x="992897" y="55014"/>
                  </a:lnTo>
                  <a:lnTo>
                    <a:pt x="994744" y="59642"/>
                  </a:lnTo>
                  <a:lnTo>
                    <a:pt x="1000422" y="61180"/>
                  </a:lnTo>
                  <a:lnTo>
                    <a:pt x="1001628" y="62264"/>
                  </a:lnTo>
                  <a:lnTo>
                    <a:pt x="1001507" y="63889"/>
                  </a:lnTo>
                  <a:lnTo>
                    <a:pt x="998094" y="69563"/>
                  </a:lnTo>
                  <a:lnTo>
                    <a:pt x="996980" y="75208"/>
                  </a:lnTo>
                  <a:lnTo>
                    <a:pt x="995833" y="76543"/>
                  </a:lnTo>
                  <a:lnTo>
                    <a:pt x="994093" y="76297"/>
                  </a:lnTo>
                  <a:lnTo>
                    <a:pt x="987421" y="71298"/>
                  </a:lnTo>
                  <a:lnTo>
                    <a:pt x="983724" y="71298"/>
                  </a:lnTo>
                  <a:lnTo>
                    <a:pt x="983367" y="75126"/>
                  </a:lnTo>
                  <a:lnTo>
                    <a:pt x="985739" y="80371"/>
                  </a:lnTo>
                  <a:lnTo>
                    <a:pt x="991331" y="81378"/>
                  </a:lnTo>
                  <a:lnTo>
                    <a:pt x="991678" y="81499"/>
                  </a:lnTo>
                  <a:lnTo>
                    <a:pt x="997627" y="83871"/>
                  </a:lnTo>
                  <a:lnTo>
                    <a:pt x="998316" y="84333"/>
                  </a:lnTo>
                  <a:lnTo>
                    <a:pt x="1004245" y="90866"/>
                  </a:lnTo>
                  <a:lnTo>
                    <a:pt x="1004544" y="91285"/>
                  </a:lnTo>
                  <a:lnTo>
                    <a:pt x="1007504" y="97243"/>
                  </a:lnTo>
                  <a:lnTo>
                    <a:pt x="1007234" y="99268"/>
                  </a:lnTo>
                  <a:lnTo>
                    <a:pt x="1005224" y="99740"/>
                  </a:lnTo>
                  <a:lnTo>
                    <a:pt x="999275" y="97359"/>
                  </a:lnTo>
                  <a:lnTo>
                    <a:pt x="999261" y="97320"/>
                  </a:lnTo>
                  <a:lnTo>
                    <a:pt x="992782" y="94655"/>
                  </a:lnTo>
                  <a:lnTo>
                    <a:pt x="988549" y="96337"/>
                  </a:lnTo>
                  <a:lnTo>
                    <a:pt x="988072" y="101789"/>
                  </a:lnTo>
                  <a:lnTo>
                    <a:pt x="987970" y="102194"/>
                  </a:lnTo>
                  <a:lnTo>
                    <a:pt x="985604" y="109276"/>
                  </a:lnTo>
                  <a:lnTo>
                    <a:pt x="984316" y="114487"/>
                  </a:lnTo>
                  <a:lnTo>
                    <a:pt x="988380" y="115321"/>
                  </a:lnTo>
                  <a:lnTo>
                    <a:pt x="989094" y="115625"/>
                  </a:lnTo>
                  <a:lnTo>
                    <a:pt x="995664" y="120378"/>
                  </a:lnTo>
                  <a:cubicBezTo>
                    <a:pt x="996349" y="120865"/>
                    <a:pt x="996595" y="121805"/>
                    <a:pt x="996267" y="122552"/>
                  </a:cubicBezTo>
                  <a:cubicBezTo>
                    <a:pt x="995915" y="123357"/>
                    <a:pt x="995077" y="123801"/>
                    <a:pt x="994218" y="123622"/>
                  </a:cubicBezTo>
                  <a:lnTo>
                    <a:pt x="988380" y="122485"/>
                  </a:lnTo>
                  <a:lnTo>
                    <a:pt x="981400" y="121882"/>
                  </a:lnTo>
                  <a:lnTo>
                    <a:pt x="978305" y="121882"/>
                  </a:lnTo>
                  <a:lnTo>
                    <a:pt x="972771" y="124403"/>
                  </a:lnTo>
                  <a:lnTo>
                    <a:pt x="970105" y="130877"/>
                  </a:lnTo>
                  <a:lnTo>
                    <a:pt x="969927" y="131152"/>
                  </a:lnTo>
                  <a:lnTo>
                    <a:pt x="965762" y="137728"/>
                  </a:lnTo>
                  <a:lnTo>
                    <a:pt x="965762" y="137728"/>
                  </a:lnTo>
                  <a:lnTo>
                    <a:pt x="960565" y="145812"/>
                  </a:lnTo>
                  <a:lnTo>
                    <a:pt x="959283" y="150454"/>
                  </a:lnTo>
                  <a:lnTo>
                    <a:pt x="964253" y="152267"/>
                  </a:lnTo>
                  <a:cubicBezTo>
                    <a:pt x="964981" y="152546"/>
                    <a:pt x="965448" y="153217"/>
                    <a:pt x="965448" y="153993"/>
                  </a:cubicBezTo>
                  <a:cubicBezTo>
                    <a:pt x="965448" y="154759"/>
                    <a:pt x="964986" y="155434"/>
                    <a:pt x="964253" y="155680"/>
                  </a:cubicBezTo>
                  <a:lnTo>
                    <a:pt x="958058" y="157970"/>
                  </a:lnTo>
                  <a:lnTo>
                    <a:pt x="955402" y="160327"/>
                  </a:lnTo>
                  <a:lnTo>
                    <a:pt x="957277" y="160496"/>
                  </a:lnTo>
                  <a:lnTo>
                    <a:pt x="958815" y="161812"/>
                  </a:lnTo>
                  <a:lnTo>
                    <a:pt x="958232" y="163755"/>
                  </a:lnTo>
                  <a:lnTo>
                    <a:pt x="954399" y="166792"/>
                  </a:lnTo>
                  <a:lnTo>
                    <a:pt x="958545" y="169062"/>
                  </a:lnTo>
                  <a:cubicBezTo>
                    <a:pt x="959244" y="169409"/>
                    <a:pt x="959596" y="170181"/>
                    <a:pt x="959476" y="170938"/>
                  </a:cubicBezTo>
                  <a:lnTo>
                    <a:pt x="958280" y="178077"/>
                  </a:lnTo>
                  <a:lnTo>
                    <a:pt x="958020" y="178786"/>
                  </a:lnTo>
                  <a:lnTo>
                    <a:pt x="953676" y="185308"/>
                  </a:lnTo>
                  <a:lnTo>
                    <a:pt x="954500" y="189459"/>
                  </a:lnTo>
                  <a:lnTo>
                    <a:pt x="960772" y="191377"/>
                  </a:lnTo>
                  <a:lnTo>
                    <a:pt x="966880" y="190283"/>
                  </a:lnTo>
                  <a:cubicBezTo>
                    <a:pt x="967820" y="190114"/>
                    <a:pt x="968746" y="190698"/>
                    <a:pt x="968962" y="191618"/>
                  </a:cubicBezTo>
                  <a:lnTo>
                    <a:pt x="970168" y="196376"/>
                  </a:lnTo>
                  <a:cubicBezTo>
                    <a:pt x="970370" y="197234"/>
                    <a:pt x="969970" y="198078"/>
                    <a:pt x="969194" y="198454"/>
                  </a:cubicBezTo>
                  <a:lnTo>
                    <a:pt x="963467" y="201332"/>
                  </a:lnTo>
                  <a:lnTo>
                    <a:pt x="957725" y="206505"/>
                  </a:lnTo>
                  <a:lnTo>
                    <a:pt x="957359" y="206741"/>
                  </a:lnTo>
                  <a:lnTo>
                    <a:pt x="950808" y="210313"/>
                  </a:lnTo>
                  <a:lnTo>
                    <a:pt x="948730" y="210072"/>
                  </a:lnTo>
                  <a:lnTo>
                    <a:pt x="948243" y="208057"/>
                  </a:lnTo>
                  <a:lnTo>
                    <a:pt x="950287" y="202942"/>
                  </a:lnTo>
                  <a:lnTo>
                    <a:pt x="948966" y="200725"/>
                  </a:lnTo>
                  <a:lnTo>
                    <a:pt x="947568" y="198382"/>
                  </a:lnTo>
                  <a:lnTo>
                    <a:pt x="941730" y="196791"/>
                  </a:lnTo>
                  <a:cubicBezTo>
                    <a:pt x="940964" y="196564"/>
                    <a:pt x="940395" y="195856"/>
                    <a:pt x="940395" y="195060"/>
                  </a:cubicBezTo>
                  <a:lnTo>
                    <a:pt x="940395" y="188287"/>
                  </a:lnTo>
                  <a:lnTo>
                    <a:pt x="938833" y="184508"/>
                  </a:lnTo>
                  <a:lnTo>
                    <a:pt x="936567" y="187767"/>
                  </a:lnTo>
                  <a:lnTo>
                    <a:pt x="936158" y="188167"/>
                  </a:lnTo>
                  <a:lnTo>
                    <a:pt x="929013" y="193532"/>
                  </a:lnTo>
                  <a:lnTo>
                    <a:pt x="928604" y="193754"/>
                  </a:lnTo>
                  <a:lnTo>
                    <a:pt x="922713" y="196102"/>
                  </a:lnTo>
                  <a:lnTo>
                    <a:pt x="917077" y="198951"/>
                  </a:lnTo>
                  <a:lnTo>
                    <a:pt x="911297" y="204118"/>
                  </a:lnTo>
                  <a:lnTo>
                    <a:pt x="908887" y="204167"/>
                  </a:lnTo>
                  <a:cubicBezTo>
                    <a:pt x="908183" y="203564"/>
                    <a:pt x="908058" y="202552"/>
                    <a:pt x="908535" y="201790"/>
                  </a:cubicBezTo>
                  <a:lnTo>
                    <a:pt x="912700" y="195248"/>
                  </a:lnTo>
                  <a:lnTo>
                    <a:pt x="913476" y="194564"/>
                  </a:lnTo>
                  <a:lnTo>
                    <a:pt x="920018" y="191585"/>
                  </a:lnTo>
                  <a:lnTo>
                    <a:pt x="926319" y="188740"/>
                  </a:lnTo>
                  <a:lnTo>
                    <a:pt x="931723" y="183867"/>
                  </a:lnTo>
                  <a:lnTo>
                    <a:pt x="933656" y="178564"/>
                  </a:lnTo>
                  <a:lnTo>
                    <a:pt x="931144" y="174355"/>
                  </a:lnTo>
                  <a:lnTo>
                    <a:pt x="926309" y="174833"/>
                  </a:lnTo>
                  <a:lnTo>
                    <a:pt x="925841" y="174833"/>
                  </a:lnTo>
                  <a:lnTo>
                    <a:pt x="918138" y="173623"/>
                  </a:lnTo>
                  <a:lnTo>
                    <a:pt x="917738" y="173512"/>
                  </a:lnTo>
                  <a:lnTo>
                    <a:pt x="912367" y="171381"/>
                  </a:lnTo>
                  <a:lnTo>
                    <a:pt x="908463" y="172562"/>
                  </a:lnTo>
                  <a:lnTo>
                    <a:pt x="908873" y="176636"/>
                  </a:lnTo>
                  <a:lnTo>
                    <a:pt x="912021" y="182401"/>
                  </a:lnTo>
                  <a:lnTo>
                    <a:pt x="918085" y="185713"/>
                  </a:lnTo>
                  <a:cubicBezTo>
                    <a:pt x="918890" y="186147"/>
                    <a:pt x="919237" y="187077"/>
                    <a:pt x="918923" y="187926"/>
                  </a:cubicBezTo>
                  <a:cubicBezTo>
                    <a:pt x="918605" y="188779"/>
                    <a:pt x="917733" y="189266"/>
                    <a:pt x="916856" y="189073"/>
                  </a:cubicBezTo>
                  <a:lnTo>
                    <a:pt x="911061" y="187959"/>
                  </a:lnTo>
                  <a:lnTo>
                    <a:pt x="904129" y="187959"/>
                  </a:lnTo>
                  <a:lnTo>
                    <a:pt x="902779" y="187352"/>
                  </a:lnTo>
                  <a:lnTo>
                    <a:pt x="902311" y="185959"/>
                  </a:lnTo>
                  <a:lnTo>
                    <a:pt x="902875" y="179658"/>
                  </a:lnTo>
                  <a:lnTo>
                    <a:pt x="901733" y="173975"/>
                  </a:lnTo>
                  <a:lnTo>
                    <a:pt x="901714" y="173787"/>
                  </a:lnTo>
                  <a:lnTo>
                    <a:pt x="901275" y="169062"/>
                  </a:lnTo>
                  <a:lnTo>
                    <a:pt x="897785" y="169361"/>
                  </a:lnTo>
                  <a:lnTo>
                    <a:pt x="896353" y="174698"/>
                  </a:lnTo>
                  <a:lnTo>
                    <a:pt x="894878" y="175994"/>
                  </a:lnTo>
                  <a:lnTo>
                    <a:pt x="893075" y="175180"/>
                  </a:lnTo>
                  <a:lnTo>
                    <a:pt x="889281" y="169221"/>
                  </a:lnTo>
                  <a:lnTo>
                    <a:pt x="885328" y="168050"/>
                  </a:lnTo>
                  <a:lnTo>
                    <a:pt x="882301" y="173271"/>
                  </a:lnTo>
                  <a:lnTo>
                    <a:pt x="883848" y="178467"/>
                  </a:lnTo>
                  <a:lnTo>
                    <a:pt x="883940" y="178993"/>
                  </a:lnTo>
                  <a:lnTo>
                    <a:pt x="883940" y="184947"/>
                  </a:lnTo>
                  <a:cubicBezTo>
                    <a:pt x="883940" y="185708"/>
                    <a:pt x="883424" y="186431"/>
                    <a:pt x="882682" y="186672"/>
                  </a:cubicBezTo>
                  <a:cubicBezTo>
                    <a:pt x="881910" y="186880"/>
                    <a:pt x="881105" y="186643"/>
                    <a:pt x="880638" y="186017"/>
                  </a:cubicBezTo>
                  <a:lnTo>
                    <a:pt x="876024" y="179697"/>
                  </a:lnTo>
                  <a:lnTo>
                    <a:pt x="869849" y="175175"/>
                  </a:lnTo>
                  <a:lnTo>
                    <a:pt x="867795" y="174143"/>
                  </a:lnTo>
                  <a:lnTo>
                    <a:pt x="868378" y="176086"/>
                  </a:lnTo>
                  <a:lnTo>
                    <a:pt x="868417" y="176877"/>
                  </a:lnTo>
                  <a:lnTo>
                    <a:pt x="867226" y="184040"/>
                  </a:lnTo>
                  <a:lnTo>
                    <a:pt x="866180" y="185376"/>
                  </a:lnTo>
                  <a:lnTo>
                    <a:pt x="864474" y="185274"/>
                  </a:lnTo>
                  <a:lnTo>
                    <a:pt x="859017" y="181799"/>
                  </a:lnTo>
                  <a:lnTo>
                    <a:pt x="855276" y="184812"/>
                  </a:lnTo>
                  <a:lnTo>
                    <a:pt x="857647" y="189145"/>
                  </a:lnTo>
                  <a:lnTo>
                    <a:pt x="863216" y="189642"/>
                  </a:lnTo>
                  <a:lnTo>
                    <a:pt x="864556" y="190476"/>
                  </a:lnTo>
                  <a:lnTo>
                    <a:pt x="868663" y="196593"/>
                  </a:lnTo>
                  <a:lnTo>
                    <a:pt x="873397" y="195634"/>
                  </a:lnTo>
                  <a:lnTo>
                    <a:pt x="874978" y="196073"/>
                  </a:lnTo>
                  <a:lnTo>
                    <a:pt x="879987" y="200556"/>
                  </a:lnTo>
                  <a:lnTo>
                    <a:pt x="885396" y="197601"/>
                  </a:lnTo>
                  <a:lnTo>
                    <a:pt x="885911" y="197432"/>
                  </a:lnTo>
                  <a:lnTo>
                    <a:pt x="891098" y="196367"/>
                  </a:lnTo>
                  <a:lnTo>
                    <a:pt x="894854" y="190481"/>
                  </a:lnTo>
                  <a:cubicBezTo>
                    <a:pt x="895307" y="189753"/>
                    <a:pt x="896261" y="189444"/>
                    <a:pt x="897071" y="189772"/>
                  </a:cubicBezTo>
                  <a:cubicBezTo>
                    <a:pt x="897891" y="190105"/>
                    <a:pt x="898334" y="190977"/>
                    <a:pt x="898170" y="191826"/>
                  </a:cubicBezTo>
                  <a:lnTo>
                    <a:pt x="896965" y="197765"/>
                  </a:lnTo>
                  <a:lnTo>
                    <a:pt x="896122" y="198970"/>
                  </a:lnTo>
                  <a:lnTo>
                    <a:pt x="890655" y="202277"/>
                  </a:lnTo>
                  <a:lnTo>
                    <a:pt x="889069" y="205396"/>
                  </a:lnTo>
                  <a:lnTo>
                    <a:pt x="891836" y="205651"/>
                  </a:lnTo>
                  <a:lnTo>
                    <a:pt x="897891" y="202349"/>
                  </a:lnTo>
                  <a:lnTo>
                    <a:pt x="899588" y="202349"/>
                  </a:lnTo>
                  <a:lnTo>
                    <a:pt x="900576" y="203786"/>
                  </a:lnTo>
                  <a:lnTo>
                    <a:pt x="901150" y="209002"/>
                  </a:lnTo>
                  <a:lnTo>
                    <a:pt x="901719" y="211248"/>
                  </a:lnTo>
                  <a:lnTo>
                    <a:pt x="901791" y="211711"/>
                  </a:lnTo>
                  <a:lnTo>
                    <a:pt x="901791" y="217636"/>
                  </a:lnTo>
                  <a:cubicBezTo>
                    <a:pt x="901791" y="218552"/>
                    <a:pt x="901111" y="219318"/>
                    <a:pt x="900239" y="219453"/>
                  </a:cubicBezTo>
                  <a:cubicBezTo>
                    <a:pt x="899342" y="219593"/>
                    <a:pt x="898489" y="219043"/>
                    <a:pt x="898219" y="218166"/>
                  </a:cubicBezTo>
                  <a:lnTo>
                    <a:pt x="896903" y="213765"/>
                  </a:lnTo>
                  <a:lnTo>
                    <a:pt x="893591" y="214401"/>
                  </a:lnTo>
                  <a:lnTo>
                    <a:pt x="893986" y="218952"/>
                  </a:lnTo>
                  <a:lnTo>
                    <a:pt x="897192" y="225821"/>
                  </a:lnTo>
                  <a:lnTo>
                    <a:pt x="902543" y="228497"/>
                  </a:lnTo>
                  <a:lnTo>
                    <a:pt x="903555" y="230213"/>
                  </a:lnTo>
                  <a:lnTo>
                    <a:pt x="902427" y="231838"/>
                  </a:lnTo>
                  <a:lnTo>
                    <a:pt x="899323" y="233072"/>
                  </a:lnTo>
                  <a:lnTo>
                    <a:pt x="903840" y="235718"/>
                  </a:lnTo>
                  <a:lnTo>
                    <a:pt x="904592" y="236538"/>
                  </a:lnTo>
                  <a:lnTo>
                    <a:pt x="907561" y="243070"/>
                  </a:lnTo>
                  <a:lnTo>
                    <a:pt x="907195" y="245162"/>
                  </a:lnTo>
                  <a:lnTo>
                    <a:pt x="905093" y="245461"/>
                  </a:lnTo>
                  <a:lnTo>
                    <a:pt x="897958" y="241869"/>
                  </a:lnTo>
                  <a:lnTo>
                    <a:pt x="897173" y="241103"/>
                  </a:lnTo>
                  <a:lnTo>
                    <a:pt x="893007" y="233395"/>
                  </a:lnTo>
                  <a:lnTo>
                    <a:pt x="892916" y="233014"/>
                  </a:lnTo>
                  <a:lnTo>
                    <a:pt x="887372" y="229490"/>
                  </a:lnTo>
                  <a:lnTo>
                    <a:pt x="881751" y="228367"/>
                  </a:lnTo>
                  <a:lnTo>
                    <a:pt x="880498" y="227427"/>
                  </a:lnTo>
                  <a:lnTo>
                    <a:pt x="877075" y="221116"/>
                  </a:lnTo>
                  <a:lnTo>
                    <a:pt x="871449" y="215495"/>
                  </a:lnTo>
                  <a:lnTo>
                    <a:pt x="867819" y="213244"/>
                  </a:lnTo>
                  <a:lnTo>
                    <a:pt x="862121" y="216739"/>
                  </a:lnTo>
                  <a:cubicBezTo>
                    <a:pt x="864170" y="223907"/>
                    <a:pt x="864488" y="231621"/>
                    <a:pt x="862468" y="238818"/>
                  </a:cubicBezTo>
                  <a:cubicBezTo>
                    <a:pt x="862304" y="239739"/>
                    <a:pt x="861442" y="240365"/>
                    <a:pt x="860530" y="240283"/>
                  </a:cubicBezTo>
                  <a:cubicBezTo>
                    <a:pt x="859595" y="240211"/>
                    <a:pt x="858858" y="239420"/>
                    <a:pt x="858858" y="238485"/>
                  </a:cubicBezTo>
                  <a:lnTo>
                    <a:pt x="858858" y="234961"/>
                  </a:lnTo>
                  <a:lnTo>
                    <a:pt x="856158" y="235781"/>
                  </a:lnTo>
                  <a:lnTo>
                    <a:pt x="854283" y="241392"/>
                  </a:lnTo>
                  <a:lnTo>
                    <a:pt x="856438" y="247370"/>
                  </a:lnTo>
                  <a:cubicBezTo>
                    <a:pt x="856722" y="248156"/>
                    <a:pt x="856438" y="249076"/>
                    <a:pt x="855705" y="249529"/>
                  </a:cubicBezTo>
                  <a:lnTo>
                    <a:pt x="853429" y="249298"/>
                  </a:lnTo>
                  <a:lnTo>
                    <a:pt x="848069" y="243933"/>
                  </a:lnTo>
                  <a:lnTo>
                    <a:pt x="847640" y="243094"/>
                  </a:lnTo>
                  <a:lnTo>
                    <a:pt x="845832" y="236567"/>
                  </a:lnTo>
                  <a:lnTo>
                    <a:pt x="845851" y="235549"/>
                  </a:lnTo>
                  <a:lnTo>
                    <a:pt x="847587" y="229929"/>
                  </a:lnTo>
                  <a:lnTo>
                    <a:pt x="844637" y="234822"/>
                  </a:lnTo>
                  <a:lnTo>
                    <a:pt x="844637" y="240872"/>
                  </a:lnTo>
                  <a:lnTo>
                    <a:pt x="844579" y="241334"/>
                  </a:lnTo>
                  <a:lnTo>
                    <a:pt x="842776" y="247866"/>
                  </a:lnTo>
                  <a:lnTo>
                    <a:pt x="842009" y="248937"/>
                  </a:lnTo>
                  <a:lnTo>
                    <a:pt x="835988" y="252759"/>
                  </a:lnTo>
                  <a:lnTo>
                    <a:pt x="833949" y="258366"/>
                  </a:lnTo>
                  <a:lnTo>
                    <a:pt x="834518" y="265134"/>
                  </a:lnTo>
                  <a:lnTo>
                    <a:pt x="834475" y="265592"/>
                  </a:lnTo>
                  <a:lnTo>
                    <a:pt x="833486" y="271131"/>
                  </a:lnTo>
                  <a:lnTo>
                    <a:pt x="838673" y="275788"/>
                  </a:lnTo>
                  <a:lnTo>
                    <a:pt x="838876" y="276005"/>
                  </a:lnTo>
                  <a:lnTo>
                    <a:pt x="843967" y="282238"/>
                  </a:lnTo>
                  <a:lnTo>
                    <a:pt x="849573" y="285053"/>
                  </a:lnTo>
                  <a:cubicBezTo>
                    <a:pt x="850359" y="285444"/>
                    <a:pt x="850754" y="286355"/>
                    <a:pt x="850503" y="287170"/>
                  </a:cubicBezTo>
                  <a:cubicBezTo>
                    <a:pt x="850291" y="288013"/>
                    <a:pt x="849462" y="288558"/>
                    <a:pt x="848609" y="288471"/>
                  </a:cubicBezTo>
                  <a:lnTo>
                    <a:pt x="841464" y="287907"/>
                  </a:lnTo>
                  <a:lnTo>
                    <a:pt x="840279" y="287305"/>
                  </a:lnTo>
                  <a:lnTo>
                    <a:pt x="835868" y="282397"/>
                  </a:lnTo>
                  <a:lnTo>
                    <a:pt x="831442" y="284836"/>
                  </a:lnTo>
                  <a:cubicBezTo>
                    <a:pt x="831765" y="311533"/>
                    <a:pt x="825248" y="302610"/>
                    <a:pt x="815332" y="326116"/>
                  </a:cubicBezTo>
                  <a:lnTo>
                    <a:pt x="813668" y="327177"/>
                  </a:lnTo>
                  <a:lnTo>
                    <a:pt x="813071" y="327177"/>
                  </a:lnTo>
                  <a:lnTo>
                    <a:pt x="811653" y="326526"/>
                  </a:lnTo>
                  <a:lnTo>
                    <a:pt x="811292" y="324993"/>
                  </a:lnTo>
                  <a:lnTo>
                    <a:pt x="813071" y="316075"/>
                  </a:lnTo>
                  <a:lnTo>
                    <a:pt x="813321" y="315419"/>
                  </a:lnTo>
                  <a:lnTo>
                    <a:pt x="817968" y="308468"/>
                  </a:lnTo>
                  <a:lnTo>
                    <a:pt x="820195" y="302340"/>
                  </a:lnTo>
                  <a:lnTo>
                    <a:pt x="820769" y="296030"/>
                  </a:lnTo>
                  <a:lnTo>
                    <a:pt x="820784" y="296006"/>
                  </a:lnTo>
                  <a:lnTo>
                    <a:pt x="821372" y="290255"/>
                  </a:lnTo>
                  <a:lnTo>
                    <a:pt x="820784" y="284489"/>
                  </a:lnTo>
                  <a:lnTo>
                    <a:pt x="821034" y="283371"/>
                  </a:lnTo>
                  <a:lnTo>
                    <a:pt x="824182" y="278087"/>
                  </a:lnTo>
                  <a:cubicBezTo>
                    <a:pt x="818359" y="261514"/>
                    <a:pt x="819709" y="261880"/>
                    <a:pt x="820769" y="244285"/>
                  </a:cubicBezTo>
                  <a:lnTo>
                    <a:pt x="820769" y="244285"/>
                  </a:lnTo>
                  <a:lnTo>
                    <a:pt x="821328" y="237097"/>
                  </a:lnTo>
                  <a:lnTo>
                    <a:pt x="818055" y="230965"/>
                  </a:lnTo>
                  <a:lnTo>
                    <a:pt x="814150" y="231683"/>
                  </a:lnTo>
                  <a:lnTo>
                    <a:pt x="813736" y="236437"/>
                  </a:lnTo>
                  <a:lnTo>
                    <a:pt x="815924" y="241985"/>
                  </a:lnTo>
                  <a:cubicBezTo>
                    <a:pt x="816295" y="242838"/>
                    <a:pt x="815910" y="243822"/>
                    <a:pt x="815095" y="244261"/>
                  </a:cubicBezTo>
                  <a:cubicBezTo>
                    <a:pt x="814266" y="244690"/>
                    <a:pt x="813239" y="244396"/>
                    <a:pt x="812748" y="243624"/>
                  </a:cubicBezTo>
                  <a:lnTo>
                    <a:pt x="810530" y="240173"/>
                  </a:lnTo>
                  <a:lnTo>
                    <a:pt x="809494" y="243055"/>
                  </a:lnTo>
                  <a:lnTo>
                    <a:pt x="808944" y="249337"/>
                  </a:lnTo>
                  <a:lnTo>
                    <a:pt x="808910" y="249486"/>
                  </a:lnTo>
                  <a:lnTo>
                    <a:pt x="807719" y="256650"/>
                  </a:lnTo>
                  <a:cubicBezTo>
                    <a:pt x="807575" y="257493"/>
                    <a:pt x="806833" y="258154"/>
                    <a:pt x="805945" y="258154"/>
                  </a:cubicBezTo>
                  <a:cubicBezTo>
                    <a:pt x="805049" y="258154"/>
                    <a:pt x="804292" y="257522"/>
                    <a:pt x="804147" y="256669"/>
                  </a:cubicBezTo>
                  <a:lnTo>
                    <a:pt x="803463" y="252899"/>
                  </a:lnTo>
                  <a:lnTo>
                    <a:pt x="802918" y="254987"/>
                  </a:lnTo>
                  <a:lnTo>
                    <a:pt x="802841" y="255218"/>
                  </a:lnTo>
                  <a:lnTo>
                    <a:pt x="800537" y="260988"/>
                  </a:lnTo>
                  <a:lnTo>
                    <a:pt x="799466" y="266932"/>
                  </a:lnTo>
                  <a:lnTo>
                    <a:pt x="801559" y="273710"/>
                  </a:lnTo>
                  <a:lnTo>
                    <a:pt x="807517" y="278613"/>
                  </a:lnTo>
                  <a:lnTo>
                    <a:pt x="808515" y="279100"/>
                  </a:lnTo>
                  <a:lnTo>
                    <a:pt x="809571" y="279616"/>
                  </a:lnTo>
                  <a:lnTo>
                    <a:pt x="815380" y="281365"/>
                  </a:lnTo>
                  <a:cubicBezTo>
                    <a:pt x="816272" y="281640"/>
                    <a:pt x="816807" y="282522"/>
                    <a:pt x="816628" y="283448"/>
                  </a:cubicBezTo>
                  <a:cubicBezTo>
                    <a:pt x="816474" y="284345"/>
                    <a:pt x="815640" y="285005"/>
                    <a:pt x="814700" y="284933"/>
                  </a:cubicBezTo>
                  <a:lnTo>
                    <a:pt x="807551" y="284325"/>
                  </a:lnTo>
                  <a:lnTo>
                    <a:pt x="807290" y="284287"/>
                  </a:lnTo>
                  <a:lnTo>
                    <a:pt x="801270" y="282903"/>
                  </a:lnTo>
                  <a:lnTo>
                    <a:pt x="800011" y="287570"/>
                  </a:lnTo>
                  <a:lnTo>
                    <a:pt x="800011" y="300427"/>
                  </a:lnTo>
                  <a:lnTo>
                    <a:pt x="799693" y="301463"/>
                  </a:lnTo>
                  <a:lnTo>
                    <a:pt x="795528" y="307431"/>
                  </a:lnTo>
                  <a:cubicBezTo>
                    <a:pt x="795012" y="308111"/>
                    <a:pt x="794101" y="308371"/>
                    <a:pt x="793296" y="308019"/>
                  </a:cubicBezTo>
                  <a:cubicBezTo>
                    <a:pt x="792510" y="307662"/>
                    <a:pt x="792062" y="306800"/>
                    <a:pt x="792274" y="305946"/>
                  </a:cubicBezTo>
                  <a:lnTo>
                    <a:pt x="793947" y="298725"/>
                  </a:lnTo>
                  <a:lnTo>
                    <a:pt x="791715" y="292087"/>
                  </a:lnTo>
                  <a:lnTo>
                    <a:pt x="791753" y="290829"/>
                  </a:lnTo>
                  <a:lnTo>
                    <a:pt x="794014" y="285188"/>
                  </a:lnTo>
                  <a:lnTo>
                    <a:pt x="794014" y="279529"/>
                  </a:lnTo>
                  <a:lnTo>
                    <a:pt x="790134" y="273435"/>
                  </a:lnTo>
                  <a:lnTo>
                    <a:pt x="789854" y="272278"/>
                  </a:lnTo>
                  <a:lnTo>
                    <a:pt x="790423" y="265303"/>
                  </a:lnTo>
                  <a:lnTo>
                    <a:pt x="789854" y="258911"/>
                  </a:lnTo>
                  <a:lnTo>
                    <a:pt x="789854" y="258588"/>
                  </a:lnTo>
                  <a:lnTo>
                    <a:pt x="790153" y="255170"/>
                  </a:lnTo>
                  <a:lnTo>
                    <a:pt x="786566" y="256799"/>
                  </a:lnTo>
                  <a:lnTo>
                    <a:pt x="780714" y="260328"/>
                  </a:lnTo>
                  <a:lnTo>
                    <a:pt x="780077" y="260550"/>
                  </a:lnTo>
                  <a:lnTo>
                    <a:pt x="773801" y="261692"/>
                  </a:lnTo>
                  <a:lnTo>
                    <a:pt x="768571" y="264315"/>
                  </a:lnTo>
                  <a:lnTo>
                    <a:pt x="764777" y="270794"/>
                  </a:lnTo>
                  <a:lnTo>
                    <a:pt x="763056" y="276540"/>
                  </a:lnTo>
                  <a:cubicBezTo>
                    <a:pt x="760959" y="282807"/>
                    <a:pt x="758582" y="282971"/>
                    <a:pt x="759995" y="291605"/>
                  </a:cubicBezTo>
                  <a:lnTo>
                    <a:pt x="764025" y="292019"/>
                  </a:lnTo>
                  <a:lnTo>
                    <a:pt x="769564" y="289778"/>
                  </a:lnTo>
                  <a:cubicBezTo>
                    <a:pt x="770378" y="289474"/>
                    <a:pt x="771313" y="289778"/>
                    <a:pt x="771800" y="290515"/>
                  </a:cubicBezTo>
                  <a:cubicBezTo>
                    <a:pt x="772263" y="291258"/>
                    <a:pt x="772114" y="292241"/>
                    <a:pt x="771477" y="292810"/>
                  </a:cubicBezTo>
                  <a:lnTo>
                    <a:pt x="765268" y="298484"/>
                  </a:lnTo>
                  <a:lnTo>
                    <a:pt x="763350" y="303705"/>
                  </a:lnTo>
                  <a:lnTo>
                    <a:pt x="767548" y="309441"/>
                  </a:lnTo>
                  <a:lnTo>
                    <a:pt x="767790" y="309914"/>
                  </a:lnTo>
                  <a:lnTo>
                    <a:pt x="769780" y="315371"/>
                  </a:lnTo>
                  <a:lnTo>
                    <a:pt x="774331" y="315838"/>
                  </a:lnTo>
                  <a:lnTo>
                    <a:pt x="780637" y="314706"/>
                  </a:lnTo>
                  <a:lnTo>
                    <a:pt x="782348" y="315332"/>
                  </a:lnTo>
                  <a:lnTo>
                    <a:pt x="788311" y="322462"/>
                  </a:lnTo>
                  <a:lnTo>
                    <a:pt x="788731" y="323474"/>
                  </a:lnTo>
                  <a:lnTo>
                    <a:pt x="789266" y="329987"/>
                  </a:lnTo>
                  <a:lnTo>
                    <a:pt x="794197" y="335483"/>
                  </a:lnTo>
                  <a:lnTo>
                    <a:pt x="794419" y="337671"/>
                  </a:lnTo>
                  <a:cubicBezTo>
                    <a:pt x="794019" y="338332"/>
                    <a:pt x="793195" y="338660"/>
                    <a:pt x="792428" y="338467"/>
                  </a:cubicBezTo>
                  <a:lnTo>
                    <a:pt x="785260" y="336683"/>
                  </a:lnTo>
                  <a:lnTo>
                    <a:pt x="784040" y="335671"/>
                  </a:lnTo>
                  <a:lnTo>
                    <a:pt x="781090" y="329139"/>
                  </a:lnTo>
                  <a:lnTo>
                    <a:pt x="780916" y="328555"/>
                  </a:lnTo>
                  <a:lnTo>
                    <a:pt x="780468" y="323638"/>
                  </a:lnTo>
                  <a:lnTo>
                    <a:pt x="774404" y="323638"/>
                  </a:lnTo>
                  <a:lnTo>
                    <a:pt x="774076" y="323605"/>
                  </a:lnTo>
                  <a:lnTo>
                    <a:pt x="767534" y="322433"/>
                  </a:lnTo>
                  <a:lnTo>
                    <a:pt x="766329" y="321614"/>
                  </a:lnTo>
                  <a:lnTo>
                    <a:pt x="762255" y="315192"/>
                  </a:lnTo>
                  <a:lnTo>
                    <a:pt x="756982" y="309364"/>
                  </a:lnTo>
                  <a:lnTo>
                    <a:pt x="756620" y="308762"/>
                  </a:lnTo>
                  <a:lnTo>
                    <a:pt x="754244" y="302210"/>
                  </a:lnTo>
                  <a:lnTo>
                    <a:pt x="754171" y="301926"/>
                  </a:lnTo>
                  <a:lnTo>
                    <a:pt x="753347" y="297428"/>
                  </a:lnTo>
                  <a:lnTo>
                    <a:pt x="748246" y="299135"/>
                  </a:lnTo>
                  <a:lnTo>
                    <a:pt x="742423" y="301453"/>
                  </a:lnTo>
                  <a:lnTo>
                    <a:pt x="737776" y="303801"/>
                  </a:lnTo>
                  <a:lnTo>
                    <a:pt x="738615" y="308472"/>
                  </a:lnTo>
                  <a:lnTo>
                    <a:pt x="744212" y="314643"/>
                  </a:lnTo>
                  <a:lnTo>
                    <a:pt x="744409" y="314913"/>
                  </a:lnTo>
                  <a:lnTo>
                    <a:pt x="748271" y="320982"/>
                  </a:lnTo>
                  <a:lnTo>
                    <a:pt x="754070" y="323600"/>
                  </a:lnTo>
                  <a:lnTo>
                    <a:pt x="759691" y="324183"/>
                  </a:lnTo>
                  <a:lnTo>
                    <a:pt x="760670" y="324593"/>
                  </a:lnTo>
                  <a:lnTo>
                    <a:pt x="767235" y="329953"/>
                  </a:lnTo>
                  <a:cubicBezTo>
                    <a:pt x="767891" y="330464"/>
                    <a:pt x="768088" y="331376"/>
                    <a:pt x="767727" y="332108"/>
                  </a:cubicBezTo>
                  <a:cubicBezTo>
                    <a:pt x="767385" y="332889"/>
                    <a:pt x="766580" y="333289"/>
                    <a:pt x="765770" y="333150"/>
                  </a:cubicBezTo>
                  <a:lnTo>
                    <a:pt x="759199" y="331949"/>
                  </a:lnTo>
                  <a:lnTo>
                    <a:pt x="758915" y="331872"/>
                  </a:lnTo>
                  <a:lnTo>
                    <a:pt x="754186" y="330141"/>
                  </a:lnTo>
                  <a:lnTo>
                    <a:pt x="752956" y="334244"/>
                  </a:lnTo>
                  <a:lnTo>
                    <a:pt x="751929" y="335391"/>
                  </a:lnTo>
                  <a:lnTo>
                    <a:pt x="750406" y="335362"/>
                  </a:lnTo>
                  <a:lnTo>
                    <a:pt x="744694" y="332518"/>
                  </a:lnTo>
                  <a:lnTo>
                    <a:pt x="744694" y="339089"/>
                  </a:lnTo>
                  <a:lnTo>
                    <a:pt x="744660" y="339470"/>
                  </a:lnTo>
                  <a:lnTo>
                    <a:pt x="743450" y="344821"/>
                  </a:lnTo>
                  <a:cubicBezTo>
                    <a:pt x="743276" y="345616"/>
                    <a:pt x="742601" y="346218"/>
                    <a:pt x="741782" y="346257"/>
                  </a:cubicBezTo>
                  <a:cubicBezTo>
                    <a:pt x="740953" y="346300"/>
                    <a:pt x="740220" y="345785"/>
                    <a:pt x="739974" y="345013"/>
                  </a:cubicBezTo>
                  <a:lnTo>
                    <a:pt x="739367" y="343239"/>
                  </a:lnTo>
                  <a:lnTo>
                    <a:pt x="739256" y="342666"/>
                  </a:lnTo>
                  <a:lnTo>
                    <a:pt x="739256" y="336862"/>
                  </a:lnTo>
                  <a:lnTo>
                    <a:pt x="738099" y="330527"/>
                  </a:lnTo>
                  <a:lnTo>
                    <a:pt x="736474" y="322891"/>
                  </a:lnTo>
                  <a:lnTo>
                    <a:pt x="731123" y="319150"/>
                  </a:lnTo>
                  <a:lnTo>
                    <a:pt x="730367" y="318003"/>
                  </a:lnTo>
                  <a:lnTo>
                    <a:pt x="729455" y="312951"/>
                  </a:lnTo>
                  <a:lnTo>
                    <a:pt x="725811" y="312951"/>
                  </a:lnTo>
                  <a:lnTo>
                    <a:pt x="724408" y="318148"/>
                  </a:lnTo>
                  <a:lnTo>
                    <a:pt x="724379" y="318191"/>
                  </a:lnTo>
                  <a:lnTo>
                    <a:pt x="722634" y="323961"/>
                  </a:lnTo>
                  <a:lnTo>
                    <a:pt x="722056" y="330339"/>
                  </a:lnTo>
                  <a:lnTo>
                    <a:pt x="721713" y="331241"/>
                  </a:lnTo>
                  <a:lnTo>
                    <a:pt x="717432" y="337180"/>
                  </a:lnTo>
                  <a:lnTo>
                    <a:pt x="718344" y="342699"/>
                  </a:lnTo>
                  <a:lnTo>
                    <a:pt x="722923" y="345245"/>
                  </a:lnTo>
                  <a:cubicBezTo>
                    <a:pt x="723613" y="345621"/>
                    <a:pt x="723998" y="346402"/>
                    <a:pt x="723825" y="347183"/>
                  </a:cubicBezTo>
                  <a:lnTo>
                    <a:pt x="722730" y="352693"/>
                  </a:lnTo>
                  <a:lnTo>
                    <a:pt x="724384" y="358217"/>
                  </a:lnTo>
                  <a:lnTo>
                    <a:pt x="724003" y="359967"/>
                  </a:lnTo>
                  <a:lnTo>
                    <a:pt x="722292" y="360493"/>
                  </a:lnTo>
                  <a:lnTo>
                    <a:pt x="716984" y="359437"/>
                  </a:lnTo>
                  <a:lnTo>
                    <a:pt x="711011" y="362734"/>
                  </a:lnTo>
                  <a:lnTo>
                    <a:pt x="710674" y="362864"/>
                  </a:lnTo>
                  <a:lnTo>
                    <a:pt x="705892" y="364282"/>
                  </a:lnTo>
                  <a:lnTo>
                    <a:pt x="705419" y="369618"/>
                  </a:lnTo>
                  <a:lnTo>
                    <a:pt x="705024" y="370592"/>
                  </a:lnTo>
                  <a:lnTo>
                    <a:pt x="699793" y="376994"/>
                  </a:lnTo>
                  <a:lnTo>
                    <a:pt x="697181" y="382191"/>
                  </a:lnTo>
                  <a:lnTo>
                    <a:pt x="698241" y="387527"/>
                  </a:lnTo>
                  <a:lnTo>
                    <a:pt x="698241" y="388231"/>
                  </a:lnTo>
                  <a:lnTo>
                    <a:pt x="697581" y="391523"/>
                  </a:lnTo>
                  <a:lnTo>
                    <a:pt x="700869" y="390858"/>
                  </a:lnTo>
                  <a:lnTo>
                    <a:pt x="700912" y="390858"/>
                  </a:lnTo>
                  <a:lnTo>
                    <a:pt x="708056" y="389658"/>
                  </a:lnTo>
                  <a:lnTo>
                    <a:pt x="709772" y="390309"/>
                  </a:lnTo>
                  <a:lnTo>
                    <a:pt x="715119" y="396846"/>
                  </a:lnTo>
                  <a:lnTo>
                    <a:pt x="715123" y="399116"/>
                  </a:lnTo>
                  <a:cubicBezTo>
                    <a:pt x="714627" y="399762"/>
                    <a:pt x="713725" y="399989"/>
                    <a:pt x="712969" y="399656"/>
                  </a:cubicBezTo>
                  <a:lnTo>
                    <a:pt x="707492" y="397169"/>
                  </a:lnTo>
                  <a:lnTo>
                    <a:pt x="703264" y="400972"/>
                  </a:lnTo>
                  <a:lnTo>
                    <a:pt x="704551" y="405711"/>
                  </a:lnTo>
                  <a:lnTo>
                    <a:pt x="710413" y="408907"/>
                  </a:lnTo>
                  <a:cubicBezTo>
                    <a:pt x="711190" y="409346"/>
                    <a:pt x="711570" y="410266"/>
                    <a:pt x="711257" y="411125"/>
                  </a:cubicBezTo>
                  <a:cubicBezTo>
                    <a:pt x="710934" y="411968"/>
                    <a:pt x="710067" y="412455"/>
                    <a:pt x="709194" y="412277"/>
                  </a:cubicBezTo>
                  <a:lnTo>
                    <a:pt x="703240" y="411100"/>
                  </a:lnTo>
                  <a:lnTo>
                    <a:pt x="703158" y="411067"/>
                  </a:lnTo>
                  <a:lnTo>
                    <a:pt x="696376" y="409505"/>
                  </a:lnTo>
                  <a:lnTo>
                    <a:pt x="692813" y="412735"/>
                  </a:lnTo>
                  <a:lnTo>
                    <a:pt x="697046" y="415820"/>
                  </a:lnTo>
                  <a:lnTo>
                    <a:pt x="697634" y="415820"/>
                  </a:lnTo>
                  <a:lnTo>
                    <a:pt x="698926" y="416341"/>
                  </a:lnTo>
                  <a:lnTo>
                    <a:pt x="699591" y="417006"/>
                  </a:lnTo>
                  <a:lnTo>
                    <a:pt x="705521" y="423562"/>
                  </a:lnTo>
                  <a:lnTo>
                    <a:pt x="705718" y="425775"/>
                  </a:lnTo>
                  <a:cubicBezTo>
                    <a:pt x="705231" y="426488"/>
                    <a:pt x="704359" y="426782"/>
                    <a:pt x="703568" y="426488"/>
                  </a:cubicBezTo>
                  <a:lnTo>
                    <a:pt x="691034" y="421933"/>
                  </a:lnTo>
                  <a:lnTo>
                    <a:pt x="685659" y="423393"/>
                  </a:lnTo>
                  <a:lnTo>
                    <a:pt x="681889" y="428783"/>
                  </a:lnTo>
                  <a:lnTo>
                    <a:pt x="680684" y="429554"/>
                  </a:lnTo>
                  <a:lnTo>
                    <a:pt x="679310" y="429221"/>
                  </a:lnTo>
                  <a:lnTo>
                    <a:pt x="673887" y="425288"/>
                  </a:lnTo>
                  <a:lnTo>
                    <a:pt x="669018" y="429168"/>
                  </a:lnTo>
                  <a:lnTo>
                    <a:pt x="668657" y="429424"/>
                  </a:lnTo>
                  <a:lnTo>
                    <a:pt x="662501" y="432220"/>
                  </a:lnTo>
                  <a:lnTo>
                    <a:pt x="658191" y="437605"/>
                  </a:lnTo>
                  <a:lnTo>
                    <a:pt x="656214" y="442469"/>
                  </a:lnTo>
                  <a:lnTo>
                    <a:pt x="659333" y="447632"/>
                  </a:lnTo>
                  <a:lnTo>
                    <a:pt x="659232" y="449690"/>
                  </a:lnTo>
                  <a:lnTo>
                    <a:pt x="657318" y="450336"/>
                  </a:lnTo>
                  <a:lnTo>
                    <a:pt x="655612" y="449912"/>
                  </a:lnTo>
                  <a:lnTo>
                    <a:pt x="653013" y="451223"/>
                  </a:lnTo>
                  <a:lnTo>
                    <a:pt x="655240" y="456140"/>
                  </a:lnTo>
                  <a:lnTo>
                    <a:pt x="657569" y="460787"/>
                  </a:lnTo>
                  <a:lnTo>
                    <a:pt x="662014" y="459920"/>
                  </a:lnTo>
                  <a:lnTo>
                    <a:pt x="667519" y="457765"/>
                  </a:lnTo>
                  <a:lnTo>
                    <a:pt x="674388" y="451426"/>
                  </a:lnTo>
                  <a:lnTo>
                    <a:pt x="675820" y="450958"/>
                  </a:lnTo>
                  <a:lnTo>
                    <a:pt x="681745" y="451527"/>
                  </a:lnTo>
                  <a:lnTo>
                    <a:pt x="683022" y="452250"/>
                  </a:lnTo>
                  <a:lnTo>
                    <a:pt x="683369" y="453653"/>
                  </a:lnTo>
                  <a:lnTo>
                    <a:pt x="682651" y="457649"/>
                  </a:lnTo>
                  <a:lnTo>
                    <a:pt x="686373" y="456960"/>
                  </a:lnTo>
                  <a:lnTo>
                    <a:pt x="692910" y="453691"/>
                  </a:lnTo>
                  <a:lnTo>
                    <a:pt x="698632" y="446851"/>
                  </a:lnTo>
                  <a:lnTo>
                    <a:pt x="700391" y="446224"/>
                  </a:lnTo>
                  <a:lnTo>
                    <a:pt x="706321" y="447400"/>
                  </a:lnTo>
                  <a:lnTo>
                    <a:pt x="707579" y="448360"/>
                  </a:lnTo>
                  <a:lnTo>
                    <a:pt x="707637" y="449946"/>
                  </a:lnTo>
                  <a:lnTo>
                    <a:pt x="706249" y="452954"/>
                  </a:lnTo>
                  <a:lnTo>
                    <a:pt x="709064" y="452216"/>
                  </a:lnTo>
                  <a:lnTo>
                    <a:pt x="710409" y="452356"/>
                  </a:lnTo>
                  <a:lnTo>
                    <a:pt x="716946" y="455933"/>
                  </a:lnTo>
                  <a:lnTo>
                    <a:pt x="717124" y="456034"/>
                  </a:lnTo>
                  <a:lnTo>
                    <a:pt x="723077" y="460195"/>
                  </a:lnTo>
                  <a:cubicBezTo>
                    <a:pt x="723849" y="460744"/>
                    <a:pt x="724080" y="461785"/>
                    <a:pt x="723598" y="462571"/>
                  </a:cubicBezTo>
                  <a:cubicBezTo>
                    <a:pt x="723135" y="463395"/>
                    <a:pt x="722152" y="463718"/>
                    <a:pt x="721284" y="463333"/>
                  </a:cubicBezTo>
                  <a:lnTo>
                    <a:pt x="715104" y="460518"/>
                  </a:lnTo>
                  <a:lnTo>
                    <a:pt x="713104" y="460518"/>
                  </a:lnTo>
                  <a:lnTo>
                    <a:pt x="712621" y="460440"/>
                  </a:lnTo>
                  <a:lnTo>
                    <a:pt x="706480" y="458796"/>
                  </a:lnTo>
                  <a:lnTo>
                    <a:pt x="702720" y="459457"/>
                  </a:lnTo>
                  <a:lnTo>
                    <a:pt x="704484" y="462981"/>
                  </a:lnTo>
                  <a:lnTo>
                    <a:pt x="704764" y="463251"/>
                  </a:lnTo>
                  <a:lnTo>
                    <a:pt x="710577" y="467329"/>
                  </a:lnTo>
                  <a:cubicBezTo>
                    <a:pt x="711344" y="467850"/>
                    <a:pt x="711594" y="468896"/>
                    <a:pt x="711141" y="469711"/>
                  </a:cubicBezTo>
                  <a:cubicBezTo>
                    <a:pt x="710688" y="470511"/>
                    <a:pt x="709671" y="470853"/>
                    <a:pt x="708832" y="470511"/>
                  </a:cubicBezTo>
                  <a:lnTo>
                    <a:pt x="701693" y="467522"/>
                  </a:lnTo>
                  <a:lnTo>
                    <a:pt x="701119" y="467141"/>
                  </a:lnTo>
                  <a:lnTo>
                    <a:pt x="699615" y="465666"/>
                  </a:lnTo>
                  <a:lnTo>
                    <a:pt x="695402" y="467580"/>
                  </a:lnTo>
                  <a:lnTo>
                    <a:pt x="695865" y="472198"/>
                  </a:lnTo>
                  <a:lnTo>
                    <a:pt x="696347" y="476112"/>
                  </a:lnTo>
                  <a:lnTo>
                    <a:pt x="702185" y="479776"/>
                  </a:lnTo>
                  <a:lnTo>
                    <a:pt x="702994" y="481497"/>
                  </a:lnTo>
                  <a:lnTo>
                    <a:pt x="702426" y="487875"/>
                  </a:lnTo>
                  <a:lnTo>
                    <a:pt x="702994" y="494243"/>
                  </a:lnTo>
                  <a:cubicBezTo>
                    <a:pt x="703081" y="495149"/>
                    <a:pt x="702517" y="495959"/>
                    <a:pt x="701635" y="496196"/>
                  </a:cubicBezTo>
                  <a:cubicBezTo>
                    <a:pt x="700758" y="496408"/>
                    <a:pt x="699875" y="495940"/>
                    <a:pt x="699519" y="495121"/>
                  </a:cubicBezTo>
                  <a:lnTo>
                    <a:pt x="696544" y="487991"/>
                  </a:lnTo>
                  <a:lnTo>
                    <a:pt x="696443" y="487620"/>
                  </a:lnTo>
                  <a:lnTo>
                    <a:pt x="695315" y="481979"/>
                  </a:lnTo>
                  <a:lnTo>
                    <a:pt x="691299" y="475110"/>
                  </a:lnTo>
                  <a:lnTo>
                    <a:pt x="691044" y="474170"/>
                  </a:lnTo>
                  <a:lnTo>
                    <a:pt x="691044" y="474073"/>
                  </a:lnTo>
                  <a:lnTo>
                    <a:pt x="686450" y="471547"/>
                  </a:lnTo>
                  <a:lnTo>
                    <a:pt x="681398" y="475081"/>
                  </a:lnTo>
                  <a:lnTo>
                    <a:pt x="681007" y="475288"/>
                  </a:lnTo>
                  <a:lnTo>
                    <a:pt x="674456" y="477679"/>
                  </a:lnTo>
                  <a:lnTo>
                    <a:pt x="672856" y="477496"/>
                  </a:lnTo>
                  <a:lnTo>
                    <a:pt x="672012" y="476137"/>
                  </a:lnTo>
                  <a:lnTo>
                    <a:pt x="671510" y="470511"/>
                  </a:lnTo>
                  <a:cubicBezTo>
                    <a:pt x="663214" y="463868"/>
                    <a:pt x="653679" y="472560"/>
                    <a:pt x="645729" y="475597"/>
                  </a:cubicBezTo>
                  <a:lnTo>
                    <a:pt x="648815" y="479810"/>
                  </a:lnTo>
                  <a:lnTo>
                    <a:pt x="653939" y="481897"/>
                  </a:lnTo>
                  <a:lnTo>
                    <a:pt x="656556" y="481897"/>
                  </a:lnTo>
                  <a:lnTo>
                    <a:pt x="657969" y="482543"/>
                  </a:lnTo>
                  <a:lnTo>
                    <a:pt x="663344" y="489104"/>
                  </a:lnTo>
                  <a:lnTo>
                    <a:pt x="663484" y="489297"/>
                  </a:lnTo>
                  <a:lnTo>
                    <a:pt x="666849" y="494952"/>
                  </a:lnTo>
                  <a:lnTo>
                    <a:pt x="672494" y="498895"/>
                  </a:lnTo>
                  <a:cubicBezTo>
                    <a:pt x="673222" y="499387"/>
                    <a:pt x="673468" y="500375"/>
                    <a:pt x="673077" y="501185"/>
                  </a:cubicBezTo>
                  <a:cubicBezTo>
                    <a:pt x="672677" y="502014"/>
                    <a:pt x="671727" y="502376"/>
                    <a:pt x="670864" y="502096"/>
                  </a:cubicBezTo>
                  <a:lnTo>
                    <a:pt x="663730" y="499710"/>
                  </a:lnTo>
                  <a:lnTo>
                    <a:pt x="663643" y="499623"/>
                  </a:lnTo>
                  <a:cubicBezTo>
                    <a:pt x="663624" y="499676"/>
                    <a:pt x="663662" y="499739"/>
                    <a:pt x="663643" y="499763"/>
                  </a:cubicBezTo>
                  <a:cubicBezTo>
                    <a:pt x="663383" y="500558"/>
                    <a:pt x="662587" y="501045"/>
                    <a:pt x="661753" y="500992"/>
                  </a:cubicBezTo>
                  <a:lnTo>
                    <a:pt x="655303" y="500394"/>
                  </a:lnTo>
                  <a:lnTo>
                    <a:pt x="654811" y="500394"/>
                  </a:lnTo>
                  <a:lnTo>
                    <a:pt x="654811" y="505726"/>
                  </a:lnTo>
                  <a:cubicBezTo>
                    <a:pt x="654811" y="506020"/>
                    <a:pt x="654653" y="506266"/>
                    <a:pt x="654503" y="506522"/>
                  </a:cubicBezTo>
                  <a:lnTo>
                    <a:pt x="655554" y="506435"/>
                  </a:lnTo>
                  <a:lnTo>
                    <a:pt x="662925" y="509838"/>
                  </a:lnTo>
                  <a:lnTo>
                    <a:pt x="668468" y="509838"/>
                  </a:lnTo>
                  <a:cubicBezTo>
                    <a:pt x="669307" y="509838"/>
                    <a:pt x="670059" y="510426"/>
                    <a:pt x="670233" y="511251"/>
                  </a:cubicBezTo>
                  <a:cubicBezTo>
                    <a:pt x="670445" y="512060"/>
                    <a:pt x="670045" y="512923"/>
                    <a:pt x="669283" y="513309"/>
                  </a:cubicBezTo>
                  <a:lnTo>
                    <a:pt x="663339" y="516264"/>
                  </a:lnTo>
                  <a:lnTo>
                    <a:pt x="661344" y="516062"/>
                  </a:lnTo>
                  <a:lnTo>
                    <a:pt x="656730" y="512268"/>
                  </a:lnTo>
                  <a:lnTo>
                    <a:pt x="655650" y="514972"/>
                  </a:lnTo>
                  <a:lnTo>
                    <a:pt x="659806" y="520723"/>
                  </a:lnTo>
                  <a:lnTo>
                    <a:pt x="660138" y="521625"/>
                  </a:lnTo>
                  <a:lnTo>
                    <a:pt x="660755" y="527545"/>
                  </a:lnTo>
                  <a:lnTo>
                    <a:pt x="659840" y="529328"/>
                  </a:lnTo>
                  <a:lnTo>
                    <a:pt x="657829" y="529203"/>
                  </a:lnTo>
                  <a:lnTo>
                    <a:pt x="653611" y="526021"/>
                  </a:lnTo>
                  <a:lnTo>
                    <a:pt x="653611" y="527776"/>
                  </a:lnTo>
                  <a:lnTo>
                    <a:pt x="659097" y="530235"/>
                  </a:lnTo>
                  <a:lnTo>
                    <a:pt x="660148" y="531907"/>
                  </a:lnTo>
                  <a:lnTo>
                    <a:pt x="660148" y="538435"/>
                  </a:lnTo>
                  <a:lnTo>
                    <a:pt x="659030" y="540131"/>
                  </a:lnTo>
                  <a:lnTo>
                    <a:pt x="657063" y="539717"/>
                  </a:lnTo>
                  <a:lnTo>
                    <a:pt x="651104" y="533797"/>
                  </a:lnTo>
                  <a:lnTo>
                    <a:pt x="650752" y="533334"/>
                  </a:lnTo>
                  <a:lnTo>
                    <a:pt x="648863" y="529497"/>
                  </a:lnTo>
                  <a:lnTo>
                    <a:pt x="649374" y="535788"/>
                  </a:lnTo>
                  <a:lnTo>
                    <a:pt x="654797" y="540686"/>
                  </a:lnTo>
                  <a:lnTo>
                    <a:pt x="654908" y="540792"/>
                  </a:lnTo>
                  <a:lnTo>
                    <a:pt x="660881" y="547353"/>
                  </a:lnTo>
                  <a:lnTo>
                    <a:pt x="660977" y="549672"/>
                  </a:lnTo>
                  <a:cubicBezTo>
                    <a:pt x="660457" y="550356"/>
                    <a:pt x="659512" y="550578"/>
                    <a:pt x="658726" y="550192"/>
                  </a:cubicBezTo>
                  <a:lnTo>
                    <a:pt x="652772" y="547213"/>
                  </a:lnTo>
                  <a:lnTo>
                    <a:pt x="652719" y="547184"/>
                  </a:lnTo>
                  <a:lnTo>
                    <a:pt x="646144" y="543588"/>
                  </a:lnTo>
                  <a:lnTo>
                    <a:pt x="645257" y="542479"/>
                  </a:lnTo>
                  <a:lnTo>
                    <a:pt x="643493" y="535966"/>
                  </a:lnTo>
                  <a:lnTo>
                    <a:pt x="641795" y="530326"/>
                  </a:lnTo>
                  <a:lnTo>
                    <a:pt x="637809" y="524614"/>
                  </a:lnTo>
                  <a:lnTo>
                    <a:pt x="637496" y="523876"/>
                  </a:lnTo>
                  <a:cubicBezTo>
                    <a:pt x="634131" y="514312"/>
                    <a:pt x="638493" y="502472"/>
                    <a:pt x="631291" y="494503"/>
                  </a:cubicBezTo>
                  <a:lnTo>
                    <a:pt x="629638" y="498119"/>
                  </a:lnTo>
                  <a:lnTo>
                    <a:pt x="629522" y="498326"/>
                  </a:lnTo>
                  <a:lnTo>
                    <a:pt x="625800" y="504217"/>
                  </a:lnTo>
                  <a:lnTo>
                    <a:pt x="627338" y="509361"/>
                  </a:lnTo>
                  <a:cubicBezTo>
                    <a:pt x="627599" y="510089"/>
                    <a:pt x="627290" y="510918"/>
                    <a:pt x="626654" y="511381"/>
                  </a:cubicBezTo>
                  <a:lnTo>
                    <a:pt x="620821" y="515430"/>
                  </a:lnTo>
                  <a:lnTo>
                    <a:pt x="619741" y="516534"/>
                  </a:lnTo>
                  <a:lnTo>
                    <a:pt x="618661" y="517045"/>
                  </a:lnTo>
                  <a:lnTo>
                    <a:pt x="613305" y="517648"/>
                  </a:lnTo>
                  <a:cubicBezTo>
                    <a:pt x="612433" y="517730"/>
                    <a:pt x="611579" y="517180"/>
                    <a:pt x="611358" y="516312"/>
                  </a:cubicBezTo>
                  <a:lnTo>
                    <a:pt x="609940" y="511106"/>
                  </a:lnTo>
                  <a:lnTo>
                    <a:pt x="605669" y="511106"/>
                  </a:lnTo>
                  <a:lnTo>
                    <a:pt x="601490" y="516312"/>
                  </a:lnTo>
                  <a:lnTo>
                    <a:pt x="597267" y="522594"/>
                  </a:lnTo>
                  <a:lnTo>
                    <a:pt x="598930" y="526720"/>
                  </a:lnTo>
                  <a:lnTo>
                    <a:pt x="602401" y="527443"/>
                  </a:lnTo>
                  <a:lnTo>
                    <a:pt x="604228" y="522396"/>
                  </a:lnTo>
                  <a:lnTo>
                    <a:pt x="606007" y="516500"/>
                  </a:lnTo>
                  <a:lnTo>
                    <a:pt x="607328" y="515233"/>
                  </a:lnTo>
                  <a:lnTo>
                    <a:pt x="609068" y="515777"/>
                  </a:lnTo>
                  <a:lnTo>
                    <a:pt x="614476" y="521726"/>
                  </a:lnTo>
                  <a:lnTo>
                    <a:pt x="619562" y="521726"/>
                  </a:lnTo>
                  <a:lnTo>
                    <a:pt x="625415" y="521167"/>
                  </a:lnTo>
                  <a:lnTo>
                    <a:pt x="626673" y="521528"/>
                  </a:lnTo>
                  <a:lnTo>
                    <a:pt x="633808" y="526855"/>
                  </a:lnTo>
                  <a:cubicBezTo>
                    <a:pt x="634574" y="527439"/>
                    <a:pt x="634772" y="528441"/>
                    <a:pt x="634309" y="529266"/>
                  </a:cubicBezTo>
                  <a:lnTo>
                    <a:pt x="630718" y="535190"/>
                  </a:lnTo>
                  <a:lnTo>
                    <a:pt x="629344" y="536073"/>
                  </a:lnTo>
                  <a:lnTo>
                    <a:pt x="623390" y="536675"/>
                  </a:lnTo>
                  <a:lnTo>
                    <a:pt x="623048" y="536675"/>
                  </a:lnTo>
                  <a:lnTo>
                    <a:pt x="617986" y="536159"/>
                  </a:lnTo>
                  <a:lnTo>
                    <a:pt x="612650" y="542055"/>
                  </a:lnTo>
                  <a:lnTo>
                    <a:pt x="611681" y="542619"/>
                  </a:lnTo>
                  <a:lnTo>
                    <a:pt x="605891" y="543762"/>
                  </a:lnTo>
                  <a:lnTo>
                    <a:pt x="599349" y="546500"/>
                  </a:lnTo>
                  <a:lnTo>
                    <a:pt x="594292" y="552680"/>
                  </a:lnTo>
                  <a:lnTo>
                    <a:pt x="592258" y="553254"/>
                  </a:lnTo>
                  <a:cubicBezTo>
                    <a:pt x="591515" y="552979"/>
                    <a:pt x="591038" y="552304"/>
                    <a:pt x="591038" y="551537"/>
                  </a:cubicBezTo>
                  <a:lnTo>
                    <a:pt x="591038" y="547401"/>
                  </a:lnTo>
                  <a:lnTo>
                    <a:pt x="587148" y="547401"/>
                  </a:lnTo>
                  <a:lnTo>
                    <a:pt x="582385" y="548693"/>
                  </a:lnTo>
                  <a:lnTo>
                    <a:pt x="582539" y="549739"/>
                  </a:lnTo>
                  <a:lnTo>
                    <a:pt x="586921" y="549739"/>
                  </a:lnTo>
                  <a:cubicBezTo>
                    <a:pt x="587818" y="549739"/>
                    <a:pt x="588589" y="550395"/>
                    <a:pt x="588720" y="551287"/>
                  </a:cubicBezTo>
                  <a:cubicBezTo>
                    <a:pt x="588845" y="552154"/>
                    <a:pt x="588290" y="553008"/>
                    <a:pt x="587442" y="553287"/>
                  </a:cubicBezTo>
                  <a:lnTo>
                    <a:pt x="581464" y="555056"/>
                  </a:lnTo>
                  <a:lnTo>
                    <a:pt x="581450" y="555095"/>
                  </a:lnTo>
                  <a:lnTo>
                    <a:pt x="575872" y="556580"/>
                  </a:lnTo>
                  <a:lnTo>
                    <a:pt x="574817" y="560113"/>
                  </a:lnTo>
                  <a:lnTo>
                    <a:pt x="578668" y="562032"/>
                  </a:lnTo>
                  <a:lnTo>
                    <a:pt x="580891" y="561159"/>
                  </a:lnTo>
                  <a:lnTo>
                    <a:pt x="582168" y="561131"/>
                  </a:lnTo>
                  <a:lnTo>
                    <a:pt x="588720" y="563502"/>
                  </a:lnTo>
                  <a:cubicBezTo>
                    <a:pt x="589428" y="563777"/>
                    <a:pt x="589915" y="564438"/>
                    <a:pt x="589915" y="565199"/>
                  </a:cubicBezTo>
                  <a:cubicBezTo>
                    <a:pt x="589939" y="565932"/>
                    <a:pt x="589491" y="566621"/>
                    <a:pt x="588758" y="566891"/>
                  </a:cubicBezTo>
                  <a:lnTo>
                    <a:pt x="582891" y="569244"/>
                  </a:lnTo>
                  <a:lnTo>
                    <a:pt x="582212" y="569596"/>
                  </a:lnTo>
                  <a:lnTo>
                    <a:pt x="578557" y="575347"/>
                  </a:lnTo>
                  <a:lnTo>
                    <a:pt x="578239" y="578842"/>
                  </a:lnTo>
                  <a:cubicBezTo>
                    <a:pt x="588324" y="577256"/>
                    <a:pt x="600149" y="559125"/>
                    <a:pt x="605573" y="550583"/>
                  </a:cubicBezTo>
                  <a:cubicBezTo>
                    <a:pt x="605997" y="549879"/>
                    <a:pt x="606831" y="549561"/>
                    <a:pt x="607626" y="549783"/>
                  </a:cubicBezTo>
                  <a:cubicBezTo>
                    <a:pt x="608393" y="549985"/>
                    <a:pt x="608957" y="550737"/>
                    <a:pt x="608957" y="551528"/>
                  </a:cubicBezTo>
                  <a:lnTo>
                    <a:pt x="608957" y="556373"/>
                  </a:lnTo>
                  <a:lnTo>
                    <a:pt x="613758" y="558744"/>
                  </a:lnTo>
                  <a:lnTo>
                    <a:pt x="620126" y="560504"/>
                  </a:lnTo>
                  <a:lnTo>
                    <a:pt x="620613" y="560711"/>
                  </a:lnTo>
                  <a:lnTo>
                    <a:pt x="627150" y="564871"/>
                  </a:lnTo>
                  <a:lnTo>
                    <a:pt x="627893" y="565778"/>
                  </a:lnTo>
                  <a:lnTo>
                    <a:pt x="630264" y="572339"/>
                  </a:lnTo>
                  <a:cubicBezTo>
                    <a:pt x="630568" y="573182"/>
                    <a:pt x="630221" y="574113"/>
                    <a:pt x="629435" y="574556"/>
                  </a:cubicBezTo>
                  <a:cubicBezTo>
                    <a:pt x="628669" y="574956"/>
                    <a:pt x="627666" y="574773"/>
                    <a:pt x="627141" y="574089"/>
                  </a:cubicBezTo>
                  <a:lnTo>
                    <a:pt x="622672" y="568511"/>
                  </a:lnTo>
                  <a:lnTo>
                    <a:pt x="617350" y="566375"/>
                  </a:lnTo>
                  <a:lnTo>
                    <a:pt x="613132" y="565614"/>
                  </a:lnTo>
                  <a:lnTo>
                    <a:pt x="613132" y="568892"/>
                  </a:lnTo>
                  <a:lnTo>
                    <a:pt x="618728" y="571958"/>
                  </a:lnTo>
                  <a:cubicBezTo>
                    <a:pt x="619384" y="572319"/>
                    <a:pt x="619765" y="573081"/>
                    <a:pt x="619649" y="573848"/>
                  </a:cubicBezTo>
                  <a:cubicBezTo>
                    <a:pt x="619533" y="574576"/>
                    <a:pt x="618950" y="575188"/>
                    <a:pt x="618179" y="575356"/>
                  </a:cubicBezTo>
                  <a:lnTo>
                    <a:pt x="612254" y="576528"/>
                  </a:lnTo>
                  <a:lnTo>
                    <a:pt x="611078" y="576364"/>
                  </a:lnTo>
                  <a:lnTo>
                    <a:pt x="605139" y="573385"/>
                  </a:lnTo>
                  <a:lnTo>
                    <a:pt x="605009" y="573322"/>
                  </a:lnTo>
                  <a:lnTo>
                    <a:pt x="604074" y="572748"/>
                  </a:lnTo>
                  <a:lnTo>
                    <a:pt x="604642" y="573983"/>
                  </a:lnTo>
                  <a:lnTo>
                    <a:pt x="604642" y="575482"/>
                  </a:lnTo>
                  <a:lnTo>
                    <a:pt x="603480" y="576499"/>
                  </a:lnTo>
                  <a:lnTo>
                    <a:pt x="599098" y="577815"/>
                  </a:lnTo>
                  <a:lnTo>
                    <a:pt x="599865" y="581898"/>
                  </a:lnTo>
                  <a:lnTo>
                    <a:pt x="605645" y="585051"/>
                  </a:lnTo>
                  <a:cubicBezTo>
                    <a:pt x="606359" y="585466"/>
                    <a:pt x="606749" y="586299"/>
                    <a:pt x="606513" y="587076"/>
                  </a:cubicBezTo>
                  <a:cubicBezTo>
                    <a:pt x="606315" y="587900"/>
                    <a:pt x="605597" y="588478"/>
                    <a:pt x="604782" y="588478"/>
                  </a:cubicBezTo>
                  <a:lnTo>
                    <a:pt x="599865" y="588478"/>
                  </a:lnTo>
                  <a:lnTo>
                    <a:pt x="599547" y="591540"/>
                  </a:lnTo>
                  <a:lnTo>
                    <a:pt x="603992" y="593752"/>
                  </a:lnTo>
                  <a:lnTo>
                    <a:pt x="615426" y="593752"/>
                  </a:lnTo>
                  <a:lnTo>
                    <a:pt x="621462" y="588811"/>
                  </a:lnTo>
                  <a:lnTo>
                    <a:pt x="622089" y="588478"/>
                  </a:lnTo>
                  <a:lnTo>
                    <a:pt x="628028" y="586695"/>
                  </a:lnTo>
                  <a:cubicBezTo>
                    <a:pt x="628919" y="586425"/>
                    <a:pt x="629860" y="586859"/>
                    <a:pt x="630221" y="587683"/>
                  </a:cubicBezTo>
                  <a:cubicBezTo>
                    <a:pt x="630602" y="588541"/>
                    <a:pt x="630264" y="589515"/>
                    <a:pt x="629484" y="589978"/>
                  </a:cubicBezTo>
                  <a:lnTo>
                    <a:pt x="623819" y="593386"/>
                  </a:lnTo>
                  <a:lnTo>
                    <a:pt x="619601" y="598689"/>
                  </a:lnTo>
                  <a:lnTo>
                    <a:pt x="619076" y="604478"/>
                  </a:lnTo>
                  <a:lnTo>
                    <a:pt x="619423" y="607954"/>
                  </a:lnTo>
                  <a:lnTo>
                    <a:pt x="623766" y="606368"/>
                  </a:lnTo>
                  <a:lnTo>
                    <a:pt x="625294" y="606479"/>
                  </a:lnTo>
                  <a:lnTo>
                    <a:pt x="626176" y="607713"/>
                  </a:lnTo>
                  <a:lnTo>
                    <a:pt x="627377" y="613671"/>
                  </a:lnTo>
                  <a:lnTo>
                    <a:pt x="626784" y="615397"/>
                  </a:lnTo>
                  <a:lnTo>
                    <a:pt x="625010" y="615744"/>
                  </a:lnTo>
                  <a:lnTo>
                    <a:pt x="623757" y="615306"/>
                  </a:lnTo>
                  <a:lnTo>
                    <a:pt x="617750" y="616959"/>
                  </a:lnTo>
                  <a:cubicBezTo>
                    <a:pt x="616921" y="617162"/>
                    <a:pt x="616048" y="616815"/>
                    <a:pt x="615677" y="616077"/>
                  </a:cubicBezTo>
                  <a:cubicBezTo>
                    <a:pt x="611546" y="607048"/>
                    <a:pt x="604416" y="593130"/>
                    <a:pt x="596871" y="611261"/>
                  </a:cubicBezTo>
                  <a:cubicBezTo>
                    <a:pt x="596462" y="612057"/>
                    <a:pt x="595575" y="612447"/>
                    <a:pt x="594755" y="612191"/>
                  </a:cubicBezTo>
                  <a:cubicBezTo>
                    <a:pt x="593892" y="611941"/>
                    <a:pt x="593338" y="611155"/>
                    <a:pt x="593434" y="610268"/>
                  </a:cubicBezTo>
                  <a:lnTo>
                    <a:pt x="594027" y="604314"/>
                  </a:lnTo>
                  <a:lnTo>
                    <a:pt x="594037" y="604170"/>
                  </a:lnTo>
                  <a:lnTo>
                    <a:pt x="594644" y="600853"/>
                  </a:lnTo>
                  <a:lnTo>
                    <a:pt x="591872" y="601981"/>
                  </a:lnTo>
                  <a:lnTo>
                    <a:pt x="585398" y="605496"/>
                  </a:lnTo>
                  <a:lnTo>
                    <a:pt x="583590" y="605496"/>
                  </a:lnTo>
                  <a:lnTo>
                    <a:pt x="582694" y="603900"/>
                  </a:lnTo>
                  <a:lnTo>
                    <a:pt x="582694" y="602714"/>
                  </a:lnTo>
                  <a:lnTo>
                    <a:pt x="583046" y="601653"/>
                  </a:lnTo>
                  <a:lnTo>
                    <a:pt x="587211" y="595690"/>
                  </a:lnTo>
                  <a:lnTo>
                    <a:pt x="587741" y="595203"/>
                  </a:lnTo>
                  <a:lnTo>
                    <a:pt x="591154" y="593150"/>
                  </a:lnTo>
                  <a:lnTo>
                    <a:pt x="588040" y="591159"/>
                  </a:lnTo>
                  <a:lnTo>
                    <a:pt x="585046" y="592851"/>
                  </a:lnTo>
                  <a:lnTo>
                    <a:pt x="579237" y="598645"/>
                  </a:lnTo>
                  <a:lnTo>
                    <a:pt x="574224" y="603654"/>
                  </a:lnTo>
                  <a:lnTo>
                    <a:pt x="578104" y="606363"/>
                  </a:lnTo>
                  <a:lnTo>
                    <a:pt x="583200" y="607371"/>
                  </a:lnTo>
                  <a:lnTo>
                    <a:pt x="584555" y="606937"/>
                  </a:lnTo>
                  <a:lnTo>
                    <a:pt x="586179" y="607178"/>
                  </a:lnTo>
                  <a:lnTo>
                    <a:pt x="586941" y="608663"/>
                  </a:lnTo>
                  <a:lnTo>
                    <a:pt x="586941" y="611044"/>
                  </a:lnTo>
                  <a:lnTo>
                    <a:pt x="586685" y="611979"/>
                  </a:lnTo>
                  <a:lnTo>
                    <a:pt x="582515" y="619085"/>
                  </a:lnTo>
                  <a:cubicBezTo>
                    <a:pt x="582110" y="619799"/>
                    <a:pt x="581325" y="620155"/>
                    <a:pt x="580549" y="619958"/>
                  </a:cubicBezTo>
                  <a:cubicBezTo>
                    <a:pt x="579772" y="619799"/>
                    <a:pt x="579213" y="619129"/>
                    <a:pt x="579126" y="618343"/>
                  </a:cubicBezTo>
                  <a:lnTo>
                    <a:pt x="578683" y="613623"/>
                  </a:lnTo>
                  <a:lnTo>
                    <a:pt x="570117" y="614491"/>
                  </a:lnTo>
                  <a:lnTo>
                    <a:pt x="569649" y="619567"/>
                  </a:lnTo>
                  <a:lnTo>
                    <a:pt x="569191" y="620589"/>
                  </a:lnTo>
                  <a:lnTo>
                    <a:pt x="563252" y="627155"/>
                  </a:lnTo>
                  <a:lnTo>
                    <a:pt x="557992" y="632983"/>
                  </a:lnTo>
                  <a:lnTo>
                    <a:pt x="556941" y="634622"/>
                  </a:lnTo>
                  <a:lnTo>
                    <a:pt x="557650" y="634357"/>
                  </a:lnTo>
                  <a:lnTo>
                    <a:pt x="557853" y="634285"/>
                  </a:lnTo>
                  <a:lnTo>
                    <a:pt x="564269" y="632520"/>
                  </a:lnTo>
                  <a:lnTo>
                    <a:pt x="571302" y="629594"/>
                  </a:lnTo>
                  <a:lnTo>
                    <a:pt x="572739" y="629623"/>
                  </a:lnTo>
                  <a:lnTo>
                    <a:pt x="573722" y="630664"/>
                  </a:lnTo>
                  <a:lnTo>
                    <a:pt x="575434" y="635389"/>
                  </a:lnTo>
                  <a:lnTo>
                    <a:pt x="580544" y="632130"/>
                  </a:lnTo>
                  <a:lnTo>
                    <a:pt x="580650" y="632087"/>
                  </a:lnTo>
                  <a:lnTo>
                    <a:pt x="585928" y="629127"/>
                  </a:lnTo>
                  <a:lnTo>
                    <a:pt x="591781" y="625015"/>
                  </a:lnTo>
                  <a:lnTo>
                    <a:pt x="593820" y="624990"/>
                  </a:lnTo>
                  <a:lnTo>
                    <a:pt x="594605" y="626875"/>
                  </a:lnTo>
                  <a:lnTo>
                    <a:pt x="593753" y="631200"/>
                  </a:lnTo>
                  <a:lnTo>
                    <a:pt x="597778" y="632405"/>
                  </a:lnTo>
                  <a:lnTo>
                    <a:pt x="603977" y="631855"/>
                  </a:lnTo>
                  <a:lnTo>
                    <a:pt x="604324" y="631855"/>
                  </a:lnTo>
                  <a:lnTo>
                    <a:pt x="610249" y="632434"/>
                  </a:lnTo>
                  <a:lnTo>
                    <a:pt x="610591" y="632520"/>
                  </a:lnTo>
                  <a:lnTo>
                    <a:pt x="614057" y="633504"/>
                  </a:lnTo>
                  <a:lnTo>
                    <a:pt x="614665" y="633224"/>
                  </a:lnTo>
                  <a:lnTo>
                    <a:pt x="615904" y="633094"/>
                  </a:lnTo>
                  <a:lnTo>
                    <a:pt x="622975" y="634839"/>
                  </a:lnTo>
                  <a:lnTo>
                    <a:pt x="629464" y="636044"/>
                  </a:lnTo>
                  <a:cubicBezTo>
                    <a:pt x="630351" y="636194"/>
                    <a:pt x="630992" y="636999"/>
                    <a:pt x="630930" y="637876"/>
                  </a:cubicBezTo>
                  <a:cubicBezTo>
                    <a:pt x="630910" y="638802"/>
                    <a:pt x="630226" y="639539"/>
                    <a:pt x="629315" y="639645"/>
                  </a:cubicBezTo>
                  <a:lnTo>
                    <a:pt x="623361" y="640224"/>
                  </a:lnTo>
                  <a:lnTo>
                    <a:pt x="622710" y="640166"/>
                  </a:lnTo>
                  <a:lnTo>
                    <a:pt x="616622" y="638527"/>
                  </a:lnTo>
                  <a:lnTo>
                    <a:pt x="616545" y="638527"/>
                  </a:lnTo>
                  <a:lnTo>
                    <a:pt x="617803" y="642649"/>
                  </a:lnTo>
                  <a:lnTo>
                    <a:pt x="617841" y="643521"/>
                  </a:lnTo>
                  <a:lnTo>
                    <a:pt x="616699" y="649219"/>
                  </a:lnTo>
                  <a:lnTo>
                    <a:pt x="617258" y="654879"/>
                  </a:lnTo>
                  <a:cubicBezTo>
                    <a:pt x="617340" y="655732"/>
                    <a:pt x="616872" y="656499"/>
                    <a:pt x="616087" y="656793"/>
                  </a:cubicBezTo>
                  <a:cubicBezTo>
                    <a:pt x="615311" y="657101"/>
                    <a:pt x="614448" y="656817"/>
                    <a:pt x="613970" y="656132"/>
                  </a:cubicBezTo>
                  <a:lnTo>
                    <a:pt x="609815" y="650179"/>
                  </a:lnTo>
                  <a:lnTo>
                    <a:pt x="609526" y="649504"/>
                  </a:lnTo>
                  <a:lnTo>
                    <a:pt x="608571" y="644741"/>
                  </a:lnTo>
                  <a:lnTo>
                    <a:pt x="603856" y="643782"/>
                  </a:lnTo>
                  <a:lnTo>
                    <a:pt x="598004" y="643208"/>
                  </a:lnTo>
                  <a:lnTo>
                    <a:pt x="597580" y="643102"/>
                  </a:lnTo>
                  <a:lnTo>
                    <a:pt x="592354" y="641207"/>
                  </a:lnTo>
                  <a:lnTo>
                    <a:pt x="589423" y="645406"/>
                  </a:lnTo>
                  <a:lnTo>
                    <a:pt x="589857" y="647624"/>
                  </a:lnTo>
                  <a:lnTo>
                    <a:pt x="589891" y="647778"/>
                  </a:lnTo>
                  <a:lnTo>
                    <a:pt x="590489" y="653707"/>
                  </a:lnTo>
                  <a:cubicBezTo>
                    <a:pt x="590575" y="654638"/>
                    <a:pt x="589973" y="655457"/>
                    <a:pt x="589052" y="655674"/>
                  </a:cubicBezTo>
                  <a:cubicBezTo>
                    <a:pt x="588160" y="655872"/>
                    <a:pt x="587240" y="655342"/>
                    <a:pt x="586955" y="654474"/>
                  </a:cubicBezTo>
                  <a:lnTo>
                    <a:pt x="586415" y="652893"/>
                  </a:lnTo>
                  <a:lnTo>
                    <a:pt x="582939" y="647098"/>
                  </a:lnTo>
                  <a:lnTo>
                    <a:pt x="582858" y="645406"/>
                  </a:lnTo>
                  <a:lnTo>
                    <a:pt x="584381" y="642007"/>
                  </a:lnTo>
                  <a:cubicBezTo>
                    <a:pt x="581059" y="642519"/>
                    <a:pt x="578842" y="637577"/>
                    <a:pt x="567851" y="648708"/>
                  </a:cubicBezTo>
                  <a:lnTo>
                    <a:pt x="566477" y="649176"/>
                  </a:lnTo>
                  <a:lnTo>
                    <a:pt x="561063" y="648617"/>
                  </a:lnTo>
                  <a:lnTo>
                    <a:pt x="556353" y="650955"/>
                  </a:lnTo>
                  <a:lnTo>
                    <a:pt x="555404" y="656340"/>
                  </a:lnTo>
                  <a:lnTo>
                    <a:pt x="555751" y="659844"/>
                  </a:lnTo>
                  <a:lnTo>
                    <a:pt x="562066" y="660408"/>
                  </a:lnTo>
                  <a:lnTo>
                    <a:pt x="562717" y="660606"/>
                  </a:lnTo>
                  <a:lnTo>
                    <a:pt x="568656" y="663580"/>
                  </a:lnTo>
                  <a:cubicBezTo>
                    <a:pt x="569504" y="663985"/>
                    <a:pt x="569861" y="664973"/>
                    <a:pt x="569552" y="665860"/>
                  </a:cubicBezTo>
                  <a:cubicBezTo>
                    <a:pt x="569215" y="666738"/>
                    <a:pt x="568256" y="667220"/>
                    <a:pt x="567354" y="666969"/>
                  </a:cubicBezTo>
                  <a:lnTo>
                    <a:pt x="561116" y="665258"/>
                  </a:lnTo>
                  <a:lnTo>
                    <a:pt x="555871" y="665750"/>
                  </a:lnTo>
                  <a:lnTo>
                    <a:pt x="554063" y="668859"/>
                  </a:lnTo>
                  <a:lnTo>
                    <a:pt x="552338" y="675222"/>
                  </a:lnTo>
                  <a:lnTo>
                    <a:pt x="551330" y="676398"/>
                  </a:lnTo>
                  <a:lnTo>
                    <a:pt x="549778" y="676365"/>
                  </a:lnTo>
                  <a:lnTo>
                    <a:pt x="543829" y="673385"/>
                  </a:lnTo>
                  <a:lnTo>
                    <a:pt x="543164" y="672802"/>
                  </a:lnTo>
                  <a:lnTo>
                    <a:pt x="540884" y="669727"/>
                  </a:lnTo>
                  <a:lnTo>
                    <a:pt x="540527" y="671853"/>
                  </a:lnTo>
                  <a:lnTo>
                    <a:pt x="541081" y="678148"/>
                  </a:lnTo>
                  <a:cubicBezTo>
                    <a:pt x="541149" y="678929"/>
                    <a:pt x="540701" y="679705"/>
                    <a:pt x="539939" y="680000"/>
                  </a:cubicBezTo>
                  <a:lnTo>
                    <a:pt x="533985" y="682381"/>
                  </a:lnTo>
                  <a:lnTo>
                    <a:pt x="532231" y="682130"/>
                  </a:lnTo>
                  <a:lnTo>
                    <a:pt x="531522" y="680491"/>
                  </a:lnTo>
                  <a:lnTo>
                    <a:pt x="531840" y="677194"/>
                  </a:lnTo>
                  <a:lnTo>
                    <a:pt x="528711" y="678042"/>
                  </a:lnTo>
                  <a:lnTo>
                    <a:pt x="526687" y="683152"/>
                  </a:lnTo>
                  <a:cubicBezTo>
                    <a:pt x="526397" y="683890"/>
                    <a:pt x="525660" y="684357"/>
                    <a:pt x="524869" y="684304"/>
                  </a:cubicBezTo>
                  <a:lnTo>
                    <a:pt x="518299" y="683779"/>
                  </a:lnTo>
                  <a:lnTo>
                    <a:pt x="516192" y="687636"/>
                  </a:lnTo>
                  <a:lnTo>
                    <a:pt x="522830" y="690971"/>
                  </a:lnTo>
                  <a:lnTo>
                    <a:pt x="523544" y="691598"/>
                  </a:lnTo>
                  <a:lnTo>
                    <a:pt x="527362" y="697590"/>
                  </a:lnTo>
                  <a:lnTo>
                    <a:pt x="532655" y="699176"/>
                  </a:lnTo>
                  <a:lnTo>
                    <a:pt x="532756" y="699205"/>
                  </a:lnTo>
                  <a:lnTo>
                    <a:pt x="539298" y="701616"/>
                  </a:lnTo>
                  <a:cubicBezTo>
                    <a:pt x="540161" y="701914"/>
                    <a:pt x="540652" y="702816"/>
                    <a:pt x="540450" y="703679"/>
                  </a:cubicBezTo>
                  <a:cubicBezTo>
                    <a:pt x="540252" y="704600"/>
                    <a:pt x="539428" y="705197"/>
                    <a:pt x="538531" y="705111"/>
                  </a:cubicBezTo>
                  <a:lnTo>
                    <a:pt x="531392" y="704508"/>
                  </a:lnTo>
                  <a:lnTo>
                    <a:pt x="531368" y="704508"/>
                  </a:lnTo>
                  <a:lnTo>
                    <a:pt x="525563" y="703934"/>
                  </a:lnTo>
                  <a:lnTo>
                    <a:pt x="519634" y="704436"/>
                  </a:lnTo>
                  <a:lnTo>
                    <a:pt x="518419" y="706841"/>
                  </a:lnTo>
                  <a:lnTo>
                    <a:pt x="521437" y="706841"/>
                  </a:lnTo>
                  <a:cubicBezTo>
                    <a:pt x="522276" y="706841"/>
                    <a:pt x="523008" y="707425"/>
                    <a:pt x="523196" y="708239"/>
                  </a:cubicBezTo>
                  <a:cubicBezTo>
                    <a:pt x="523389" y="709059"/>
                    <a:pt x="523008" y="709907"/>
                    <a:pt x="522237" y="710293"/>
                  </a:cubicBezTo>
                  <a:lnTo>
                    <a:pt x="518381" y="712197"/>
                  </a:lnTo>
                  <a:lnTo>
                    <a:pt x="520058" y="714087"/>
                  </a:lnTo>
                  <a:lnTo>
                    <a:pt x="525313" y="711252"/>
                  </a:lnTo>
                  <a:lnTo>
                    <a:pt x="526354" y="711026"/>
                  </a:lnTo>
                  <a:lnTo>
                    <a:pt x="532891" y="711609"/>
                  </a:lnTo>
                  <a:cubicBezTo>
                    <a:pt x="533802" y="711715"/>
                    <a:pt x="534501" y="712453"/>
                    <a:pt x="534544" y="713340"/>
                  </a:cubicBezTo>
                  <a:cubicBezTo>
                    <a:pt x="534588" y="714251"/>
                    <a:pt x="533947" y="715051"/>
                    <a:pt x="533045" y="715210"/>
                  </a:cubicBezTo>
                  <a:lnTo>
                    <a:pt x="526711" y="716353"/>
                  </a:lnTo>
                  <a:lnTo>
                    <a:pt x="519735" y="719298"/>
                  </a:lnTo>
                  <a:lnTo>
                    <a:pt x="518226" y="719240"/>
                  </a:lnTo>
                  <a:lnTo>
                    <a:pt x="512586" y="716391"/>
                  </a:lnTo>
                  <a:lnTo>
                    <a:pt x="507375" y="715866"/>
                  </a:lnTo>
                  <a:lnTo>
                    <a:pt x="505206" y="716666"/>
                  </a:lnTo>
                  <a:lnTo>
                    <a:pt x="507365" y="717765"/>
                  </a:lnTo>
                  <a:lnTo>
                    <a:pt x="507606" y="717890"/>
                  </a:lnTo>
                  <a:lnTo>
                    <a:pt x="513546" y="722046"/>
                  </a:lnTo>
                  <a:cubicBezTo>
                    <a:pt x="514230" y="722538"/>
                    <a:pt x="514505" y="723391"/>
                    <a:pt x="514206" y="724148"/>
                  </a:cubicBezTo>
                  <a:cubicBezTo>
                    <a:pt x="513926" y="724948"/>
                    <a:pt x="513160" y="725444"/>
                    <a:pt x="512340" y="725358"/>
                  </a:cubicBezTo>
                  <a:lnTo>
                    <a:pt x="506382" y="724803"/>
                  </a:lnTo>
                  <a:lnTo>
                    <a:pt x="505543" y="725358"/>
                  </a:lnTo>
                  <a:cubicBezTo>
                    <a:pt x="506247" y="725444"/>
                    <a:pt x="506840" y="725849"/>
                    <a:pt x="507057" y="726476"/>
                  </a:cubicBezTo>
                  <a:lnTo>
                    <a:pt x="506512" y="728525"/>
                  </a:lnTo>
                  <a:lnTo>
                    <a:pt x="500626" y="733317"/>
                  </a:lnTo>
                  <a:lnTo>
                    <a:pt x="500626" y="736431"/>
                  </a:lnTo>
                  <a:lnTo>
                    <a:pt x="505051" y="736026"/>
                  </a:lnTo>
                  <a:lnTo>
                    <a:pt x="510904" y="734440"/>
                  </a:lnTo>
                  <a:lnTo>
                    <a:pt x="515908" y="728862"/>
                  </a:lnTo>
                  <a:lnTo>
                    <a:pt x="517253" y="728260"/>
                  </a:lnTo>
                  <a:lnTo>
                    <a:pt x="523809" y="728260"/>
                  </a:lnTo>
                  <a:cubicBezTo>
                    <a:pt x="524551" y="728260"/>
                    <a:pt x="525269" y="728732"/>
                    <a:pt x="525506" y="729441"/>
                  </a:cubicBezTo>
                  <a:lnTo>
                    <a:pt x="525048" y="731432"/>
                  </a:lnTo>
                  <a:lnTo>
                    <a:pt x="518843" y="737154"/>
                  </a:lnTo>
                  <a:lnTo>
                    <a:pt x="523163" y="740577"/>
                  </a:lnTo>
                  <a:cubicBezTo>
                    <a:pt x="523862" y="741150"/>
                    <a:pt x="524055" y="742153"/>
                    <a:pt x="523592" y="742929"/>
                  </a:cubicBezTo>
                  <a:cubicBezTo>
                    <a:pt x="523129" y="743686"/>
                    <a:pt x="522146" y="744014"/>
                    <a:pt x="521345" y="743662"/>
                  </a:cubicBezTo>
                  <a:lnTo>
                    <a:pt x="514645" y="740895"/>
                  </a:lnTo>
                  <a:lnTo>
                    <a:pt x="508271" y="741960"/>
                  </a:lnTo>
                  <a:lnTo>
                    <a:pt x="503928" y="743937"/>
                  </a:lnTo>
                  <a:lnTo>
                    <a:pt x="508064" y="749900"/>
                  </a:lnTo>
                  <a:lnTo>
                    <a:pt x="508156" y="751756"/>
                  </a:lnTo>
                  <a:lnTo>
                    <a:pt x="506555" y="752749"/>
                  </a:lnTo>
                  <a:lnTo>
                    <a:pt x="500597" y="752749"/>
                  </a:lnTo>
                  <a:lnTo>
                    <a:pt x="498953" y="751674"/>
                  </a:lnTo>
                  <a:lnTo>
                    <a:pt x="495752" y="744761"/>
                  </a:lnTo>
                  <a:lnTo>
                    <a:pt x="490146" y="743334"/>
                  </a:lnTo>
                  <a:lnTo>
                    <a:pt x="489071" y="743966"/>
                  </a:lnTo>
                  <a:lnTo>
                    <a:pt x="493337" y="747089"/>
                  </a:lnTo>
                  <a:lnTo>
                    <a:pt x="493920" y="747788"/>
                  </a:lnTo>
                  <a:lnTo>
                    <a:pt x="496909" y="754330"/>
                  </a:lnTo>
                  <a:lnTo>
                    <a:pt x="497068" y="755082"/>
                  </a:lnTo>
                  <a:lnTo>
                    <a:pt x="497068" y="761016"/>
                  </a:lnTo>
                  <a:lnTo>
                    <a:pt x="496364" y="762448"/>
                  </a:lnTo>
                  <a:lnTo>
                    <a:pt x="491679" y="766218"/>
                  </a:lnTo>
                  <a:lnTo>
                    <a:pt x="494026" y="770190"/>
                  </a:lnTo>
                  <a:lnTo>
                    <a:pt x="499334" y="771603"/>
                  </a:lnTo>
                  <a:lnTo>
                    <a:pt x="505331" y="769438"/>
                  </a:lnTo>
                  <a:lnTo>
                    <a:pt x="506367" y="769390"/>
                  </a:lnTo>
                  <a:lnTo>
                    <a:pt x="514109" y="771164"/>
                  </a:lnTo>
                  <a:cubicBezTo>
                    <a:pt x="514943" y="771357"/>
                    <a:pt x="515527" y="772123"/>
                    <a:pt x="515498" y="772967"/>
                  </a:cubicBezTo>
                  <a:cubicBezTo>
                    <a:pt x="515488" y="773849"/>
                    <a:pt x="514842" y="774592"/>
                    <a:pt x="513989" y="774755"/>
                  </a:cubicBezTo>
                  <a:lnTo>
                    <a:pt x="507192" y="775869"/>
                  </a:lnTo>
                  <a:lnTo>
                    <a:pt x="500525" y="779750"/>
                  </a:lnTo>
                  <a:lnTo>
                    <a:pt x="495212" y="785057"/>
                  </a:lnTo>
                  <a:lnTo>
                    <a:pt x="494991" y="787251"/>
                  </a:lnTo>
                  <a:lnTo>
                    <a:pt x="498389" y="785120"/>
                  </a:lnTo>
                  <a:lnTo>
                    <a:pt x="504897" y="780386"/>
                  </a:lnTo>
                  <a:lnTo>
                    <a:pt x="505760" y="780058"/>
                  </a:lnTo>
                  <a:lnTo>
                    <a:pt x="511362" y="779513"/>
                  </a:lnTo>
                  <a:lnTo>
                    <a:pt x="517571" y="776100"/>
                  </a:lnTo>
                  <a:lnTo>
                    <a:pt x="519118" y="776018"/>
                  </a:lnTo>
                  <a:lnTo>
                    <a:pt x="524397" y="778120"/>
                  </a:lnTo>
                  <a:lnTo>
                    <a:pt x="530828" y="775435"/>
                  </a:lnTo>
                  <a:lnTo>
                    <a:pt x="531213" y="775305"/>
                  </a:lnTo>
                  <a:lnTo>
                    <a:pt x="537254" y="774211"/>
                  </a:lnTo>
                  <a:lnTo>
                    <a:pt x="543419" y="768638"/>
                  </a:lnTo>
                  <a:lnTo>
                    <a:pt x="543641" y="768440"/>
                  </a:lnTo>
                  <a:lnTo>
                    <a:pt x="550178" y="764261"/>
                  </a:lnTo>
                  <a:lnTo>
                    <a:pt x="552290" y="764376"/>
                  </a:lnTo>
                  <a:lnTo>
                    <a:pt x="552887" y="766387"/>
                  </a:lnTo>
                  <a:lnTo>
                    <a:pt x="551123" y="771723"/>
                  </a:lnTo>
                  <a:lnTo>
                    <a:pt x="550337" y="772707"/>
                  </a:lnTo>
                  <a:lnTo>
                    <a:pt x="544750" y="776038"/>
                  </a:lnTo>
                  <a:lnTo>
                    <a:pt x="541433" y="781625"/>
                  </a:lnTo>
                  <a:lnTo>
                    <a:pt x="540951" y="782141"/>
                  </a:lnTo>
                  <a:lnTo>
                    <a:pt x="534332" y="787092"/>
                  </a:lnTo>
                  <a:lnTo>
                    <a:pt x="534448" y="787198"/>
                  </a:lnTo>
                  <a:lnTo>
                    <a:pt x="536820" y="793734"/>
                  </a:lnTo>
                  <a:cubicBezTo>
                    <a:pt x="537090" y="794549"/>
                    <a:pt x="536801" y="795427"/>
                    <a:pt x="536073" y="795899"/>
                  </a:cubicBezTo>
                  <a:lnTo>
                    <a:pt x="533802" y="795658"/>
                  </a:lnTo>
                  <a:lnTo>
                    <a:pt x="531440" y="793301"/>
                  </a:lnTo>
                  <a:lnTo>
                    <a:pt x="526749" y="793744"/>
                  </a:lnTo>
                  <a:lnTo>
                    <a:pt x="520449" y="796598"/>
                  </a:lnTo>
                  <a:lnTo>
                    <a:pt x="518520" y="796314"/>
                  </a:lnTo>
                  <a:lnTo>
                    <a:pt x="517956" y="794458"/>
                  </a:lnTo>
                  <a:lnTo>
                    <a:pt x="519518" y="788692"/>
                  </a:lnTo>
                  <a:lnTo>
                    <a:pt x="516520" y="783953"/>
                  </a:lnTo>
                  <a:lnTo>
                    <a:pt x="511246" y="785375"/>
                  </a:lnTo>
                  <a:lnTo>
                    <a:pt x="510962" y="785457"/>
                  </a:lnTo>
                  <a:lnTo>
                    <a:pt x="505905" y="785944"/>
                  </a:lnTo>
                  <a:lnTo>
                    <a:pt x="502810" y="791117"/>
                  </a:lnTo>
                  <a:lnTo>
                    <a:pt x="502005" y="791840"/>
                  </a:lnTo>
                  <a:lnTo>
                    <a:pt x="496803" y="794164"/>
                  </a:lnTo>
                  <a:lnTo>
                    <a:pt x="490994" y="798208"/>
                  </a:lnTo>
                  <a:lnTo>
                    <a:pt x="490131" y="798531"/>
                  </a:lnTo>
                  <a:lnTo>
                    <a:pt x="484105" y="799071"/>
                  </a:lnTo>
                  <a:lnTo>
                    <a:pt x="478812" y="803390"/>
                  </a:lnTo>
                  <a:lnTo>
                    <a:pt x="479564" y="807358"/>
                  </a:lnTo>
                  <a:lnTo>
                    <a:pt x="484737" y="806847"/>
                  </a:lnTo>
                  <a:lnTo>
                    <a:pt x="491621" y="803974"/>
                  </a:lnTo>
                  <a:cubicBezTo>
                    <a:pt x="492407" y="803646"/>
                    <a:pt x="493313" y="803882"/>
                    <a:pt x="493814" y="804591"/>
                  </a:cubicBezTo>
                  <a:lnTo>
                    <a:pt x="493675" y="806866"/>
                  </a:lnTo>
                  <a:lnTo>
                    <a:pt x="488068" y="813027"/>
                  </a:lnTo>
                  <a:lnTo>
                    <a:pt x="487147" y="818566"/>
                  </a:lnTo>
                  <a:cubicBezTo>
                    <a:pt x="498548" y="830902"/>
                    <a:pt x="498727" y="810703"/>
                    <a:pt x="504222" y="839203"/>
                  </a:cubicBezTo>
                  <a:cubicBezTo>
                    <a:pt x="504400" y="840076"/>
                    <a:pt x="503923" y="840939"/>
                    <a:pt x="503084" y="841276"/>
                  </a:cubicBezTo>
                  <a:cubicBezTo>
                    <a:pt x="502265" y="841580"/>
                    <a:pt x="501310" y="841243"/>
                    <a:pt x="500862" y="840481"/>
                  </a:cubicBezTo>
                  <a:lnTo>
                    <a:pt x="498553" y="836432"/>
                  </a:lnTo>
                  <a:lnTo>
                    <a:pt x="492373" y="829133"/>
                  </a:lnTo>
                  <a:lnTo>
                    <a:pt x="491524" y="828689"/>
                  </a:lnTo>
                  <a:lnTo>
                    <a:pt x="485600" y="825749"/>
                  </a:lnTo>
                  <a:lnTo>
                    <a:pt x="480104" y="823261"/>
                  </a:lnTo>
                  <a:lnTo>
                    <a:pt x="474797" y="827581"/>
                  </a:lnTo>
                  <a:lnTo>
                    <a:pt x="472078" y="834682"/>
                  </a:lnTo>
                  <a:lnTo>
                    <a:pt x="471244" y="840524"/>
                  </a:lnTo>
                  <a:lnTo>
                    <a:pt x="474898" y="840153"/>
                  </a:lnTo>
                  <a:lnTo>
                    <a:pt x="476204" y="840539"/>
                  </a:lnTo>
                  <a:lnTo>
                    <a:pt x="476879" y="841773"/>
                  </a:lnTo>
                  <a:lnTo>
                    <a:pt x="477448" y="847731"/>
                  </a:lnTo>
                  <a:lnTo>
                    <a:pt x="476903" y="849231"/>
                  </a:lnTo>
                  <a:lnTo>
                    <a:pt x="475336" y="849679"/>
                  </a:lnTo>
                  <a:lnTo>
                    <a:pt x="470434" y="848801"/>
                  </a:lnTo>
                  <a:lnTo>
                    <a:pt x="469335" y="852769"/>
                  </a:lnTo>
                  <a:lnTo>
                    <a:pt x="475230" y="859161"/>
                  </a:lnTo>
                  <a:lnTo>
                    <a:pt x="475515" y="859605"/>
                  </a:lnTo>
                  <a:lnTo>
                    <a:pt x="478484" y="865539"/>
                  </a:lnTo>
                  <a:lnTo>
                    <a:pt x="478282" y="867477"/>
                  </a:lnTo>
                  <a:lnTo>
                    <a:pt x="476489" y="868133"/>
                  </a:lnTo>
                  <a:lnTo>
                    <a:pt x="470530" y="866951"/>
                  </a:lnTo>
                  <a:lnTo>
                    <a:pt x="469127" y="865592"/>
                  </a:lnTo>
                  <a:lnTo>
                    <a:pt x="467585" y="858857"/>
                  </a:lnTo>
                  <a:lnTo>
                    <a:pt x="464027" y="857802"/>
                  </a:lnTo>
                  <a:cubicBezTo>
                    <a:pt x="454926" y="874047"/>
                    <a:pt x="461149" y="866219"/>
                    <a:pt x="461732" y="879104"/>
                  </a:cubicBezTo>
                  <a:lnTo>
                    <a:pt x="465994" y="877210"/>
                  </a:lnTo>
                  <a:lnTo>
                    <a:pt x="467806" y="877388"/>
                  </a:lnTo>
                  <a:lnTo>
                    <a:pt x="468077" y="878015"/>
                  </a:lnTo>
                  <a:lnTo>
                    <a:pt x="468149" y="877923"/>
                  </a:lnTo>
                  <a:cubicBezTo>
                    <a:pt x="468592" y="877157"/>
                    <a:pt x="469527" y="876829"/>
                    <a:pt x="470332" y="877157"/>
                  </a:cubicBezTo>
                  <a:cubicBezTo>
                    <a:pt x="471157" y="877432"/>
                    <a:pt x="471668" y="878280"/>
                    <a:pt x="471514" y="879157"/>
                  </a:cubicBezTo>
                  <a:lnTo>
                    <a:pt x="470443" y="885502"/>
                  </a:lnTo>
                  <a:lnTo>
                    <a:pt x="474223" y="890207"/>
                  </a:lnTo>
                  <a:lnTo>
                    <a:pt x="479979" y="890732"/>
                  </a:lnTo>
                  <a:cubicBezTo>
                    <a:pt x="480813" y="890809"/>
                    <a:pt x="481473" y="891407"/>
                    <a:pt x="481618" y="892260"/>
                  </a:cubicBezTo>
                  <a:cubicBezTo>
                    <a:pt x="481748" y="893051"/>
                    <a:pt x="481319" y="893866"/>
                    <a:pt x="480572" y="894198"/>
                  </a:cubicBezTo>
                  <a:lnTo>
                    <a:pt x="475269" y="896599"/>
                  </a:lnTo>
                  <a:lnTo>
                    <a:pt x="475679" y="899424"/>
                  </a:lnTo>
                  <a:cubicBezTo>
                    <a:pt x="475799" y="900219"/>
                    <a:pt x="475361" y="901000"/>
                    <a:pt x="474594" y="901362"/>
                  </a:cubicBezTo>
                  <a:cubicBezTo>
                    <a:pt x="473837" y="901665"/>
                    <a:pt x="472969" y="901444"/>
                    <a:pt x="472449" y="900812"/>
                  </a:cubicBezTo>
                  <a:lnTo>
                    <a:pt x="468626" y="896025"/>
                  </a:lnTo>
                  <a:lnTo>
                    <a:pt x="463439" y="898903"/>
                  </a:lnTo>
                  <a:lnTo>
                    <a:pt x="461699" y="898903"/>
                  </a:lnTo>
                  <a:lnTo>
                    <a:pt x="460744" y="897414"/>
                  </a:lnTo>
                  <a:lnTo>
                    <a:pt x="460195" y="889165"/>
                  </a:lnTo>
                  <a:lnTo>
                    <a:pt x="454728" y="883694"/>
                  </a:lnTo>
                  <a:lnTo>
                    <a:pt x="454482" y="883390"/>
                  </a:lnTo>
                  <a:lnTo>
                    <a:pt x="452453" y="880199"/>
                  </a:lnTo>
                  <a:lnTo>
                    <a:pt x="451884" y="882093"/>
                  </a:lnTo>
                  <a:lnTo>
                    <a:pt x="451884" y="887198"/>
                  </a:lnTo>
                  <a:lnTo>
                    <a:pt x="456290" y="893244"/>
                  </a:lnTo>
                  <a:lnTo>
                    <a:pt x="456637" y="894608"/>
                  </a:lnTo>
                  <a:lnTo>
                    <a:pt x="455904" y="895813"/>
                  </a:lnTo>
                  <a:lnTo>
                    <a:pt x="449902" y="900157"/>
                  </a:lnTo>
                  <a:cubicBezTo>
                    <a:pt x="448996" y="910502"/>
                    <a:pt x="442753" y="909494"/>
                    <a:pt x="447810" y="921382"/>
                  </a:cubicBezTo>
                  <a:lnTo>
                    <a:pt x="451228" y="917959"/>
                  </a:lnTo>
                  <a:lnTo>
                    <a:pt x="451228" y="912772"/>
                  </a:lnTo>
                  <a:lnTo>
                    <a:pt x="452226" y="911128"/>
                  </a:lnTo>
                  <a:lnTo>
                    <a:pt x="458179" y="908168"/>
                  </a:lnTo>
                  <a:lnTo>
                    <a:pt x="459341" y="908005"/>
                  </a:lnTo>
                  <a:lnTo>
                    <a:pt x="465305" y="909200"/>
                  </a:lnTo>
                  <a:cubicBezTo>
                    <a:pt x="466061" y="909374"/>
                    <a:pt x="466659" y="909981"/>
                    <a:pt x="466731" y="910743"/>
                  </a:cubicBezTo>
                  <a:cubicBezTo>
                    <a:pt x="466833" y="911509"/>
                    <a:pt x="466433" y="912276"/>
                    <a:pt x="465767" y="912604"/>
                  </a:cubicBezTo>
                  <a:lnTo>
                    <a:pt x="460464" y="915255"/>
                  </a:lnTo>
                  <a:lnTo>
                    <a:pt x="459322" y="918755"/>
                  </a:lnTo>
                  <a:lnTo>
                    <a:pt x="462836" y="918123"/>
                  </a:lnTo>
                  <a:cubicBezTo>
                    <a:pt x="463665" y="917955"/>
                    <a:pt x="464528" y="918427"/>
                    <a:pt x="464822" y="919222"/>
                  </a:cubicBezTo>
                  <a:cubicBezTo>
                    <a:pt x="465160" y="919984"/>
                    <a:pt x="464904" y="920914"/>
                    <a:pt x="464220" y="921406"/>
                  </a:cubicBezTo>
                  <a:lnTo>
                    <a:pt x="462976" y="922255"/>
                  </a:lnTo>
                  <a:lnTo>
                    <a:pt x="463164" y="922255"/>
                  </a:lnTo>
                  <a:cubicBezTo>
                    <a:pt x="463984" y="922255"/>
                    <a:pt x="464678" y="922804"/>
                    <a:pt x="464909" y="923532"/>
                  </a:cubicBezTo>
                  <a:lnTo>
                    <a:pt x="466703" y="929500"/>
                  </a:lnTo>
                  <a:cubicBezTo>
                    <a:pt x="466982" y="930455"/>
                    <a:pt x="466413" y="931467"/>
                    <a:pt x="465473" y="931771"/>
                  </a:cubicBezTo>
                  <a:lnTo>
                    <a:pt x="462417" y="932682"/>
                  </a:lnTo>
                  <a:lnTo>
                    <a:pt x="463767" y="934012"/>
                  </a:lnTo>
                  <a:lnTo>
                    <a:pt x="468829" y="933082"/>
                  </a:lnTo>
                  <a:lnTo>
                    <a:pt x="474975" y="926955"/>
                  </a:lnTo>
                  <a:lnTo>
                    <a:pt x="480745" y="921180"/>
                  </a:lnTo>
                  <a:lnTo>
                    <a:pt x="484780" y="914204"/>
                  </a:lnTo>
                  <a:lnTo>
                    <a:pt x="485142" y="913809"/>
                  </a:lnTo>
                  <a:lnTo>
                    <a:pt x="491693" y="907846"/>
                  </a:lnTo>
                  <a:lnTo>
                    <a:pt x="494055" y="907768"/>
                  </a:lnTo>
                  <a:cubicBezTo>
                    <a:pt x="494759" y="908352"/>
                    <a:pt x="494942" y="909369"/>
                    <a:pt x="494475" y="910140"/>
                  </a:cubicBezTo>
                  <a:lnTo>
                    <a:pt x="490898" y="916075"/>
                  </a:lnTo>
                  <a:lnTo>
                    <a:pt x="486742" y="923200"/>
                  </a:lnTo>
                  <a:lnTo>
                    <a:pt x="486530" y="923503"/>
                  </a:lnTo>
                  <a:lnTo>
                    <a:pt x="481170" y="929471"/>
                  </a:lnTo>
                  <a:lnTo>
                    <a:pt x="475235" y="935998"/>
                  </a:lnTo>
                  <a:lnTo>
                    <a:pt x="474816" y="936331"/>
                  </a:lnTo>
                  <a:lnTo>
                    <a:pt x="469258" y="939672"/>
                  </a:lnTo>
                  <a:lnTo>
                    <a:pt x="465926" y="945220"/>
                  </a:lnTo>
                  <a:lnTo>
                    <a:pt x="464557" y="946122"/>
                  </a:lnTo>
                  <a:lnTo>
                    <a:pt x="458883" y="946671"/>
                  </a:lnTo>
                  <a:lnTo>
                    <a:pt x="452602" y="949525"/>
                  </a:lnTo>
                  <a:lnTo>
                    <a:pt x="452014" y="949680"/>
                  </a:lnTo>
                  <a:lnTo>
                    <a:pt x="445482" y="950287"/>
                  </a:lnTo>
                  <a:lnTo>
                    <a:pt x="444585" y="950118"/>
                  </a:lnTo>
                  <a:lnTo>
                    <a:pt x="439210" y="947737"/>
                  </a:lnTo>
                  <a:cubicBezTo>
                    <a:pt x="438381" y="947375"/>
                    <a:pt x="437937" y="946435"/>
                    <a:pt x="438198" y="945553"/>
                  </a:cubicBezTo>
                  <a:cubicBezTo>
                    <a:pt x="438357" y="945119"/>
                    <a:pt x="438651" y="944748"/>
                    <a:pt x="439012" y="944517"/>
                  </a:cubicBezTo>
                  <a:cubicBezTo>
                    <a:pt x="438829" y="944411"/>
                    <a:pt x="438612" y="944372"/>
                    <a:pt x="438487" y="944194"/>
                  </a:cubicBezTo>
                  <a:lnTo>
                    <a:pt x="435185" y="939638"/>
                  </a:lnTo>
                  <a:lnTo>
                    <a:pt x="431314" y="944753"/>
                  </a:lnTo>
                  <a:lnTo>
                    <a:pt x="429226" y="948065"/>
                  </a:lnTo>
                  <a:lnTo>
                    <a:pt x="430711" y="947939"/>
                  </a:lnTo>
                  <a:lnTo>
                    <a:pt x="433208" y="944926"/>
                  </a:lnTo>
                  <a:lnTo>
                    <a:pt x="435185" y="944358"/>
                  </a:lnTo>
                  <a:lnTo>
                    <a:pt x="436969" y="944951"/>
                  </a:lnTo>
                  <a:lnTo>
                    <a:pt x="438145" y="946185"/>
                  </a:lnTo>
                  <a:lnTo>
                    <a:pt x="437802" y="947853"/>
                  </a:lnTo>
                  <a:lnTo>
                    <a:pt x="432442" y="954385"/>
                  </a:lnTo>
                  <a:lnTo>
                    <a:pt x="431651" y="954963"/>
                  </a:lnTo>
                  <a:lnTo>
                    <a:pt x="425124" y="957311"/>
                  </a:lnTo>
                  <a:lnTo>
                    <a:pt x="424820" y="957402"/>
                  </a:lnTo>
                  <a:lnTo>
                    <a:pt x="423904" y="957552"/>
                  </a:lnTo>
                  <a:lnTo>
                    <a:pt x="425105" y="958979"/>
                  </a:lnTo>
                  <a:lnTo>
                    <a:pt x="424179" y="960762"/>
                  </a:lnTo>
                  <a:lnTo>
                    <a:pt x="417642" y="964349"/>
                  </a:lnTo>
                  <a:lnTo>
                    <a:pt x="417233" y="964508"/>
                  </a:lnTo>
                  <a:lnTo>
                    <a:pt x="417131" y="964542"/>
                  </a:lnTo>
                  <a:lnTo>
                    <a:pt x="417233" y="964561"/>
                  </a:lnTo>
                  <a:cubicBezTo>
                    <a:pt x="417970" y="964788"/>
                    <a:pt x="418495" y="965419"/>
                    <a:pt x="418578" y="966152"/>
                  </a:cubicBezTo>
                  <a:cubicBezTo>
                    <a:pt x="418645" y="966880"/>
                    <a:pt x="418235" y="967603"/>
                    <a:pt x="417560" y="967955"/>
                  </a:cubicBezTo>
                  <a:lnTo>
                    <a:pt x="412614" y="970452"/>
                  </a:lnTo>
                  <a:lnTo>
                    <a:pt x="416235" y="969348"/>
                  </a:lnTo>
                  <a:cubicBezTo>
                    <a:pt x="417131" y="969064"/>
                    <a:pt x="418100" y="969541"/>
                    <a:pt x="418442" y="970428"/>
                  </a:cubicBezTo>
                  <a:cubicBezTo>
                    <a:pt x="418814" y="971286"/>
                    <a:pt x="418428" y="972298"/>
                    <a:pt x="417555" y="972703"/>
                  </a:cubicBezTo>
                  <a:lnTo>
                    <a:pt x="410421" y="976300"/>
                  </a:lnTo>
                  <a:lnTo>
                    <a:pt x="409948" y="976435"/>
                  </a:lnTo>
                  <a:lnTo>
                    <a:pt x="403792" y="977558"/>
                  </a:lnTo>
                  <a:lnTo>
                    <a:pt x="400533" y="979828"/>
                  </a:lnTo>
                  <a:lnTo>
                    <a:pt x="404525" y="981988"/>
                  </a:lnTo>
                  <a:lnTo>
                    <a:pt x="405426" y="983145"/>
                  </a:lnTo>
                  <a:lnTo>
                    <a:pt x="405205" y="984562"/>
                  </a:lnTo>
                  <a:lnTo>
                    <a:pt x="403600" y="987050"/>
                  </a:lnTo>
                  <a:lnTo>
                    <a:pt x="405562" y="985705"/>
                  </a:lnTo>
                  <a:lnTo>
                    <a:pt x="411438" y="980976"/>
                  </a:lnTo>
                  <a:cubicBezTo>
                    <a:pt x="423635" y="969960"/>
                    <a:pt x="427930" y="965978"/>
                    <a:pt x="442652" y="958198"/>
                  </a:cubicBezTo>
                  <a:lnTo>
                    <a:pt x="443693" y="957971"/>
                  </a:lnTo>
                  <a:lnTo>
                    <a:pt x="450235" y="958579"/>
                  </a:lnTo>
                  <a:lnTo>
                    <a:pt x="450529" y="958603"/>
                  </a:lnTo>
                  <a:lnTo>
                    <a:pt x="457678" y="960411"/>
                  </a:lnTo>
                  <a:lnTo>
                    <a:pt x="458199" y="960628"/>
                  </a:lnTo>
                  <a:lnTo>
                    <a:pt x="464760" y="964788"/>
                  </a:lnTo>
                  <a:cubicBezTo>
                    <a:pt x="465497" y="965279"/>
                    <a:pt x="465801" y="966268"/>
                    <a:pt x="465425" y="967063"/>
                  </a:cubicBezTo>
                  <a:cubicBezTo>
                    <a:pt x="465040" y="967907"/>
                    <a:pt x="464143" y="968312"/>
                    <a:pt x="463285" y="968090"/>
                  </a:cubicBezTo>
                  <a:lnTo>
                    <a:pt x="456883" y="966345"/>
                  </a:lnTo>
                  <a:lnTo>
                    <a:pt x="451103" y="965742"/>
                  </a:lnTo>
                  <a:lnTo>
                    <a:pt x="449975" y="965217"/>
                  </a:lnTo>
                  <a:lnTo>
                    <a:pt x="448813" y="964050"/>
                  </a:lnTo>
                  <a:lnTo>
                    <a:pt x="443380" y="964547"/>
                  </a:lnTo>
                  <a:lnTo>
                    <a:pt x="437754" y="966783"/>
                  </a:lnTo>
                  <a:lnTo>
                    <a:pt x="431381" y="970259"/>
                  </a:lnTo>
                  <a:lnTo>
                    <a:pt x="427187" y="973214"/>
                  </a:lnTo>
                  <a:cubicBezTo>
                    <a:pt x="427327" y="973320"/>
                    <a:pt x="427505" y="973320"/>
                    <a:pt x="427660" y="973479"/>
                  </a:cubicBezTo>
                  <a:lnTo>
                    <a:pt x="427607" y="975890"/>
                  </a:lnTo>
                  <a:lnTo>
                    <a:pt x="422738" y="981275"/>
                  </a:lnTo>
                  <a:lnTo>
                    <a:pt x="422829" y="981328"/>
                  </a:lnTo>
                  <a:lnTo>
                    <a:pt x="429265" y="983651"/>
                  </a:lnTo>
                  <a:cubicBezTo>
                    <a:pt x="429978" y="983921"/>
                    <a:pt x="430485" y="984610"/>
                    <a:pt x="430485" y="985377"/>
                  </a:cubicBezTo>
                  <a:cubicBezTo>
                    <a:pt x="430485" y="986134"/>
                    <a:pt x="429993" y="986818"/>
                    <a:pt x="429265" y="987069"/>
                  </a:cubicBezTo>
                  <a:lnTo>
                    <a:pt x="422969" y="989373"/>
                  </a:lnTo>
                  <a:lnTo>
                    <a:pt x="417189" y="993394"/>
                  </a:lnTo>
                  <a:lnTo>
                    <a:pt x="416914" y="993572"/>
                  </a:lnTo>
                  <a:lnTo>
                    <a:pt x="410705" y="996378"/>
                  </a:lnTo>
                  <a:lnTo>
                    <a:pt x="406193" y="1001401"/>
                  </a:lnTo>
                  <a:lnTo>
                    <a:pt x="407143" y="1006492"/>
                  </a:lnTo>
                  <a:lnTo>
                    <a:pt x="412219" y="1011573"/>
                  </a:lnTo>
                  <a:lnTo>
                    <a:pt x="418939" y="1012093"/>
                  </a:lnTo>
                  <a:lnTo>
                    <a:pt x="424550" y="1010406"/>
                  </a:lnTo>
                  <a:cubicBezTo>
                    <a:pt x="425461" y="1010126"/>
                    <a:pt x="426430" y="1010623"/>
                    <a:pt x="426773" y="1011500"/>
                  </a:cubicBezTo>
                  <a:cubicBezTo>
                    <a:pt x="427110" y="1012373"/>
                    <a:pt x="426739" y="1013356"/>
                    <a:pt x="425886" y="1013795"/>
                  </a:cubicBezTo>
                  <a:lnTo>
                    <a:pt x="419947" y="1016745"/>
                  </a:lnTo>
                  <a:lnTo>
                    <a:pt x="419754" y="1016832"/>
                  </a:lnTo>
                  <a:lnTo>
                    <a:pt x="413940" y="1018958"/>
                  </a:lnTo>
                  <a:lnTo>
                    <a:pt x="411693" y="1023861"/>
                  </a:lnTo>
                  <a:lnTo>
                    <a:pt x="414687" y="1028127"/>
                  </a:lnTo>
                  <a:lnTo>
                    <a:pt x="420414" y="1027664"/>
                  </a:lnTo>
                  <a:lnTo>
                    <a:pt x="420501" y="1027664"/>
                  </a:lnTo>
                  <a:lnTo>
                    <a:pt x="420925" y="1027606"/>
                  </a:lnTo>
                  <a:lnTo>
                    <a:pt x="421518" y="1027606"/>
                  </a:lnTo>
                  <a:cubicBezTo>
                    <a:pt x="422501" y="1027606"/>
                    <a:pt x="423302" y="1028373"/>
                    <a:pt x="423326" y="1029361"/>
                  </a:cubicBezTo>
                  <a:cubicBezTo>
                    <a:pt x="423374" y="1030316"/>
                    <a:pt x="422627" y="1031159"/>
                    <a:pt x="421663" y="1031212"/>
                  </a:cubicBezTo>
                  <a:lnTo>
                    <a:pt x="420968" y="1031275"/>
                  </a:lnTo>
                  <a:lnTo>
                    <a:pt x="414721" y="1032837"/>
                  </a:lnTo>
                  <a:lnTo>
                    <a:pt x="412099" y="1035455"/>
                  </a:lnTo>
                  <a:lnTo>
                    <a:pt x="410816" y="1035999"/>
                  </a:lnTo>
                  <a:lnTo>
                    <a:pt x="406203" y="1035999"/>
                  </a:lnTo>
                  <a:lnTo>
                    <a:pt x="404824" y="1040656"/>
                  </a:lnTo>
                  <a:lnTo>
                    <a:pt x="404303" y="1041480"/>
                  </a:lnTo>
                  <a:lnTo>
                    <a:pt x="398330" y="1046827"/>
                  </a:lnTo>
                  <a:lnTo>
                    <a:pt x="395949" y="1046846"/>
                  </a:lnTo>
                  <a:cubicBezTo>
                    <a:pt x="395240" y="1046282"/>
                    <a:pt x="395096" y="1045255"/>
                    <a:pt x="395578" y="1044508"/>
                  </a:cubicBezTo>
                  <a:lnTo>
                    <a:pt x="399227" y="1038790"/>
                  </a:lnTo>
                  <a:lnTo>
                    <a:pt x="397309" y="1034553"/>
                  </a:lnTo>
                  <a:lnTo>
                    <a:pt x="392242" y="1035912"/>
                  </a:lnTo>
                  <a:lnTo>
                    <a:pt x="390593" y="1035565"/>
                  </a:lnTo>
                  <a:lnTo>
                    <a:pt x="389947" y="1034003"/>
                  </a:lnTo>
                  <a:lnTo>
                    <a:pt x="390477" y="1028787"/>
                  </a:lnTo>
                  <a:lnTo>
                    <a:pt x="385613" y="1022810"/>
                  </a:lnTo>
                  <a:lnTo>
                    <a:pt x="385382" y="1022468"/>
                  </a:lnTo>
                  <a:lnTo>
                    <a:pt x="382321" y="1016369"/>
                  </a:lnTo>
                  <a:lnTo>
                    <a:pt x="380320" y="1016369"/>
                  </a:lnTo>
                  <a:lnTo>
                    <a:pt x="382123" y="1020327"/>
                  </a:lnTo>
                  <a:lnTo>
                    <a:pt x="382263" y="1020896"/>
                  </a:lnTo>
                  <a:lnTo>
                    <a:pt x="382875" y="1026840"/>
                  </a:lnTo>
                  <a:cubicBezTo>
                    <a:pt x="382967" y="1027799"/>
                    <a:pt x="382330" y="1028619"/>
                    <a:pt x="381419" y="1028807"/>
                  </a:cubicBezTo>
                  <a:lnTo>
                    <a:pt x="375471" y="1030017"/>
                  </a:lnTo>
                  <a:lnTo>
                    <a:pt x="374506" y="1029940"/>
                  </a:lnTo>
                  <a:lnTo>
                    <a:pt x="370144" y="1028344"/>
                  </a:lnTo>
                  <a:lnTo>
                    <a:pt x="369777" y="1031964"/>
                  </a:lnTo>
                  <a:lnTo>
                    <a:pt x="368505" y="1033545"/>
                  </a:lnTo>
                  <a:lnTo>
                    <a:pt x="365829" y="1034346"/>
                  </a:lnTo>
                  <a:lnTo>
                    <a:pt x="369724" y="1037537"/>
                  </a:lnTo>
                  <a:cubicBezTo>
                    <a:pt x="370448" y="1038140"/>
                    <a:pt x="370616" y="1039176"/>
                    <a:pt x="370086" y="1039938"/>
                  </a:cubicBezTo>
                  <a:cubicBezTo>
                    <a:pt x="369551" y="1040738"/>
                    <a:pt x="368529" y="1040984"/>
                    <a:pt x="367695" y="1040521"/>
                  </a:cubicBezTo>
                  <a:lnTo>
                    <a:pt x="361544" y="1037180"/>
                  </a:lnTo>
                  <a:lnTo>
                    <a:pt x="359051" y="1037180"/>
                  </a:lnTo>
                  <a:lnTo>
                    <a:pt x="361698" y="1040854"/>
                  </a:lnTo>
                  <a:lnTo>
                    <a:pt x="361987" y="1042406"/>
                  </a:lnTo>
                  <a:lnTo>
                    <a:pt x="360926" y="1043573"/>
                  </a:lnTo>
                  <a:lnTo>
                    <a:pt x="356805" y="1045245"/>
                  </a:lnTo>
                  <a:lnTo>
                    <a:pt x="358883" y="1049430"/>
                  </a:lnTo>
                  <a:lnTo>
                    <a:pt x="358502" y="1051565"/>
                  </a:lnTo>
                  <a:lnTo>
                    <a:pt x="356323" y="1051811"/>
                  </a:lnTo>
                  <a:lnTo>
                    <a:pt x="352833" y="1049709"/>
                  </a:lnTo>
                  <a:lnTo>
                    <a:pt x="352524" y="1052799"/>
                  </a:lnTo>
                  <a:lnTo>
                    <a:pt x="351854" y="1054033"/>
                  </a:lnTo>
                  <a:lnTo>
                    <a:pt x="345515" y="1059230"/>
                  </a:lnTo>
                  <a:lnTo>
                    <a:pt x="342646" y="1063309"/>
                  </a:lnTo>
                  <a:lnTo>
                    <a:pt x="347438" y="1065907"/>
                  </a:lnTo>
                  <a:cubicBezTo>
                    <a:pt x="348132" y="1066283"/>
                    <a:pt x="348494" y="1067078"/>
                    <a:pt x="348330" y="1067850"/>
                  </a:cubicBezTo>
                  <a:cubicBezTo>
                    <a:pt x="348190" y="1068640"/>
                    <a:pt x="347539" y="1069238"/>
                    <a:pt x="346734" y="1069315"/>
                  </a:cubicBezTo>
                  <a:lnTo>
                    <a:pt x="341827" y="1069812"/>
                  </a:lnTo>
                  <a:lnTo>
                    <a:pt x="339257" y="1075399"/>
                  </a:lnTo>
                  <a:lnTo>
                    <a:pt x="338554" y="1076218"/>
                  </a:lnTo>
                  <a:lnTo>
                    <a:pt x="335444" y="1078074"/>
                  </a:lnTo>
                  <a:lnTo>
                    <a:pt x="338443" y="1079554"/>
                  </a:lnTo>
                  <a:lnTo>
                    <a:pt x="339436" y="1081198"/>
                  </a:lnTo>
                  <a:lnTo>
                    <a:pt x="338443" y="1082804"/>
                  </a:lnTo>
                  <a:lnTo>
                    <a:pt x="332494" y="1085788"/>
                  </a:lnTo>
                  <a:lnTo>
                    <a:pt x="331674" y="1085990"/>
                  </a:lnTo>
                  <a:lnTo>
                    <a:pt x="328160" y="1085990"/>
                  </a:lnTo>
                  <a:lnTo>
                    <a:pt x="329255" y="1089591"/>
                  </a:lnTo>
                  <a:lnTo>
                    <a:pt x="329071" y="1091042"/>
                  </a:lnTo>
                  <a:lnTo>
                    <a:pt x="325538" y="1096947"/>
                  </a:lnTo>
                  <a:lnTo>
                    <a:pt x="324506" y="1099025"/>
                  </a:lnTo>
                  <a:lnTo>
                    <a:pt x="327485" y="1097936"/>
                  </a:lnTo>
                  <a:lnTo>
                    <a:pt x="327591" y="1097907"/>
                  </a:lnTo>
                  <a:lnTo>
                    <a:pt x="333530" y="1096123"/>
                  </a:lnTo>
                  <a:cubicBezTo>
                    <a:pt x="334398" y="1095848"/>
                    <a:pt x="335305" y="1096263"/>
                    <a:pt x="335690" y="1097083"/>
                  </a:cubicBezTo>
                  <a:cubicBezTo>
                    <a:pt x="336076" y="1097873"/>
                    <a:pt x="335825" y="1098871"/>
                    <a:pt x="335102" y="1099348"/>
                  </a:cubicBezTo>
                  <a:lnTo>
                    <a:pt x="329177" y="1103436"/>
                  </a:lnTo>
                  <a:lnTo>
                    <a:pt x="333974" y="1101546"/>
                  </a:lnTo>
                  <a:cubicBezTo>
                    <a:pt x="334861" y="1101180"/>
                    <a:pt x="335854" y="1101566"/>
                    <a:pt x="336278" y="1102414"/>
                  </a:cubicBezTo>
                  <a:cubicBezTo>
                    <a:pt x="336712" y="1103267"/>
                    <a:pt x="336384" y="1104280"/>
                    <a:pt x="335574" y="1104767"/>
                  </a:cubicBezTo>
                  <a:lnTo>
                    <a:pt x="329611" y="1108339"/>
                  </a:lnTo>
                  <a:lnTo>
                    <a:pt x="329587" y="1108339"/>
                  </a:lnTo>
                  <a:lnTo>
                    <a:pt x="322457" y="1112494"/>
                  </a:lnTo>
                  <a:lnTo>
                    <a:pt x="321156" y="1112716"/>
                  </a:lnTo>
                  <a:lnTo>
                    <a:pt x="319295" y="1112335"/>
                  </a:lnTo>
                  <a:lnTo>
                    <a:pt x="315226" y="1117450"/>
                  </a:lnTo>
                  <a:lnTo>
                    <a:pt x="314720" y="1117860"/>
                  </a:lnTo>
                  <a:lnTo>
                    <a:pt x="308776" y="1121446"/>
                  </a:lnTo>
                  <a:lnTo>
                    <a:pt x="308665" y="1121495"/>
                  </a:lnTo>
                  <a:lnTo>
                    <a:pt x="304037" y="1123799"/>
                  </a:lnTo>
                  <a:lnTo>
                    <a:pt x="305026" y="1127332"/>
                  </a:lnTo>
                  <a:lnTo>
                    <a:pt x="310521" y="1126402"/>
                  </a:lnTo>
                  <a:cubicBezTo>
                    <a:pt x="311432" y="1126233"/>
                    <a:pt x="312305" y="1126807"/>
                    <a:pt x="312560" y="1127655"/>
                  </a:cubicBezTo>
                  <a:cubicBezTo>
                    <a:pt x="312840" y="1128562"/>
                    <a:pt x="312406" y="1129497"/>
                    <a:pt x="311567" y="1129839"/>
                  </a:cubicBezTo>
                  <a:lnTo>
                    <a:pt x="305064" y="1132823"/>
                  </a:lnTo>
                  <a:lnTo>
                    <a:pt x="300947" y="1134877"/>
                  </a:lnTo>
                  <a:lnTo>
                    <a:pt x="303117" y="1138290"/>
                  </a:lnTo>
                  <a:lnTo>
                    <a:pt x="308183" y="1135532"/>
                  </a:lnTo>
                  <a:lnTo>
                    <a:pt x="308294" y="1135484"/>
                  </a:lnTo>
                  <a:lnTo>
                    <a:pt x="314686" y="1132573"/>
                  </a:lnTo>
                  <a:lnTo>
                    <a:pt x="320510" y="1128504"/>
                  </a:lnTo>
                  <a:lnTo>
                    <a:pt x="320669" y="1128398"/>
                  </a:lnTo>
                  <a:lnTo>
                    <a:pt x="327215" y="1124811"/>
                  </a:lnTo>
                  <a:lnTo>
                    <a:pt x="329317" y="1125091"/>
                  </a:lnTo>
                  <a:lnTo>
                    <a:pt x="329722" y="1127169"/>
                  </a:lnTo>
                  <a:lnTo>
                    <a:pt x="328560" y="1129762"/>
                  </a:lnTo>
                  <a:lnTo>
                    <a:pt x="331024" y="1128865"/>
                  </a:lnTo>
                  <a:cubicBezTo>
                    <a:pt x="331858" y="1128562"/>
                    <a:pt x="332836" y="1128957"/>
                    <a:pt x="333237" y="1129733"/>
                  </a:cubicBezTo>
                  <a:cubicBezTo>
                    <a:pt x="333680" y="1130529"/>
                    <a:pt x="333449" y="1131517"/>
                    <a:pt x="332745" y="1132057"/>
                  </a:cubicBezTo>
                  <a:lnTo>
                    <a:pt x="326179" y="1136834"/>
                  </a:lnTo>
                  <a:lnTo>
                    <a:pt x="324791" y="1137147"/>
                  </a:lnTo>
                  <a:lnTo>
                    <a:pt x="322327" y="1136728"/>
                  </a:lnTo>
                  <a:lnTo>
                    <a:pt x="321204" y="1138218"/>
                  </a:lnTo>
                  <a:lnTo>
                    <a:pt x="320211" y="1138868"/>
                  </a:lnTo>
                  <a:lnTo>
                    <a:pt x="315014" y="1140315"/>
                  </a:lnTo>
                  <a:lnTo>
                    <a:pt x="315014" y="1145405"/>
                  </a:lnTo>
                  <a:lnTo>
                    <a:pt x="319955" y="1151441"/>
                  </a:lnTo>
                  <a:lnTo>
                    <a:pt x="320356" y="1152424"/>
                  </a:lnTo>
                  <a:lnTo>
                    <a:pt x="320905" y="1158055"/>
                  </a:lnTo>
                  <a:lnTo>
                    <a:pt x="323344" y="1163396"/>
                  </a:lnTo>
                  <a:lnTo>
                    <a:pt x="328102" y="1163791"/>
                  </a:lnTo>
                  <a:lnTo>
                    <a:pt x="333497" y="1159486"/>
                  </a:lnTo>
                  <a:lnTo>
                    <a:pt x="334249" y="1159226"/>
                  </a:lnTo>
                  <a:lnTo>
                    <a:pt x="336813" y="1156165"/>
                  </a:lnTo>
                  <a:lnTo>
                    <a:pt x="337638" y="1155620"/>
                  </a:lnTo>
                  <a:lnTo>
                    <a:pt x="345211" y="1153268"/>
                  </a:lnTo>
                  <a:lnTo>
                    <a:pt x="351502" y="1149855"/>
                  </a:lnTo>
                  <a:lnTo>
                    <a:pt x="357658" y="1145362"/>
                  </a:lnTo>
                  <a:lnTo>
                    <a:pt x="361654" y="1139124"/>
                  </a:lnTo>
                  <a:lnTo>
                    <a:pt x="362218" y="1138555"/>
                  </a:lnTo>
                  <a:lnTo>
                    <a:pt x="368755" y="1134385"/>
                  </a:lnTo>
                  <a:lnTo>
                    <a:pt x="369050" y="1134260"/>
                  </a:lnTo>
                  <a:lnTo>
                    <a:pt x="374849" y="1131902"/>
                  </a:lnTo>
                  <a:lnTo>
                    <a:pt x="380744" y="1128162"/>
                  </a:lnTo>
                  <a:lnTo>
                    <a:pt x="382919" y="1122743"/>
                  </a:lnTo>
                  <a:lnTo>
                    <a:pt x="383010" y="1122560"/>
                  </a:lnTo>
                  <a:lnTo>
                    <a:pt x="386264" y="1116587"/>
                  </a:lnTo>
                  <a:lnTo>
                    <a:pt x="385459" y="1112485"/>
                  </a:lnTo>
                  <a:lnTo>
                    <a:pt x="380947" y="1111694"/>
                  </a:lnTo>
                  <a:lnTo>
                    <a:pt x="374473" y="1117079"/>
                  </a:lnTo>
                  <a:lnTo>
                    <a:pt x="373995" y="1117383"/>
                  </a:lnTo>
                  <a:lnTo>
                    <a:pt x="368153" y="1119711"/>
                  </a:lnTo>
                  <a:lnTo>
                    <a:pt x="361110" y="1123808"/>
                  </a:lnTo>
                  <a:cubicBezTo>
                    <a:pt x="360319" y="1124271"/>
                    <a:pt x="359350" y="1124083"/>
                    <a:pt x="358772" y="1123355"/>
                  </a:cubicBezTo>
                  <a:lnTo>
                    <a:pt x="358902" y="1120945"/>
                  </a:lnTo>
                  <a:lnTo>
                    <a:pt x="364865" y="1115016"/>
                  </a:lnTo>
                  <a:lnTo>
                    <a:pt x="365473" y="1114596"/>
                  </a:lnTo>
                  <a:lnTo>
                    <a:pt x="371335" y="1112273"/>
                  </a:lnTo>
                  <a:lnTo>
                    <a:pt x="378059" y="1108334"/>
                  </a:lnTo>
                  <a:lnTo>
                    <a:pt x="383189" y="1102038"/>
                  </a:lnTo>
                  <a:lnTo>
                    <a:pt x="383449" y="1101802"/>
                  </a:lnTo>
                  <a:lnTo>
                    <a:pt x="390391" y="1096003"/>
                  </a:lnTo>
                  <a:lnTo>
                    <a:pt x="395009" y="1089104"/>
                  </a:lnTo>
                  <a:lnTo>
                    <a:pt x="395052" y="1089032"/>
                  </a:lnTo>
                  <a:lnTo>
                    <a:pt x="399796" y="1082490"/>
                  </a:lnTo>
                  <a:cubicBezTo>
                    <a:pt x="400288" y="1081839"/>
                    <a:pt x="401155" y="1081565"/>
                    <a:pt x="401917" y="1081868"/>
                  </a:cubicBezTo>
                  <a:cubicBezTo>
                    <a:pt x="402669" y="1082167"/>
                    <a:pt x="403170" y="1082929"/>
                    <a:pt x="403074" y="1083724"/>
                  </a:cubicBezTo>
                  <a:lnTo>
                    <a:pt x="402645" y="1088015"/>
                  </a:lnTo>
                  <a:lnTo>
                    <a:pt x="407461" y="1088892"/>
                  </a:lnTo>
                  <a:lnTo>
                    <a:pt x="413935" y="1089495"/>
                  </a:lnTo>
                  <a:lnTo>
                    <a:pt x="415386" y="1090497"/>
                  </a:lnTo>
                  <a:lnTo>
                    <a:pt x="415328" y="1092247"/>
                  </a:lnTo>
                  <a:lnTo>
                    <a:pt x="412330" y="1097015"/>
                  </a:lnTo>
                  <a:lnTo>
                    <a:pt x="411529" y="1097724"/>
                  </a:lnTo>
                  <a:lnTo>
                    <a:pt x="406164" y="1100105"/>
                  </a:lnTo>
                  <a:lnTo>
                    <a:pt x="406106" y="1100134"/>
                  </a:lnTo>
                  <a:lnTo>
                    <a:pt x="400606" y="1102313"/>
                  </a:lnTo>
                  <a:lnTo>
                    <a:pt x="396156" y="1107919"/>
                  </a:lnTo>
                  <a:lnTo>
                    <a:pt x="396021" y="1108064"/>
                  </a:lnTo>
                  <a:lnTo>
                    <a:pt x="392083" y="1111964"/>
                  </a:lnTo>
                  <a:lnTo>
                    <a:pt x="395718" y="1113304"/>
                  </a:lnTo>
                  <a:lnTo>
                    <a:pt x="402611" y="1113878"/>
                  </a:lnTo>
                  <a:lnTo>
                    <a:pt x="403122" y="1113984"/>
                  </a:lnTo>
                  <a:lnTo>
                    <a:pt x="409105" y="1116370"/>
                  </a:lnTo>
                  <a:lnTo>
                    <a:pt x="410204" y="1117893"/>
                  </a:lnTo>
                  <a:lnTo>
                    <a:pt x="410835" y="1124435"/>
                  </a:lnTo>
                  <a:cubicBezTo>
                    <a:pt x="410884" y="1125231"/>
                    <a:pt x="410431" y="1125992"/>
                    <a:pt x="409698" y="1126296"/>
                  </a:cubicBezTo>
                  <a:lnTo>
                    <a:pt x="403739" y="1128673"/>
                  </a:lnTo>
                  <a:lnTo>
                    <a:pt x="403416" y="1128779"/>
                  </a:lnTo>
                  <a:lnTo>
                    <a:pt x="398094" y="1129815"/>
                  </a:lnTo>
                  <a:lnTo>
                    <a:pt x="393129" y="1135860"/>
                  </a:lnTo>
                  <a:lnTo>
                    <a:pt x="391745" y="1136540"/>
                  </a:lnTo>
                  <a:lnTo>
                    <a:pt x="385729" y="1136540"/>
                  </a:lnTo>
                  <a:lnTo>
                    <a:pt x="380556" y="1139630"/>
                  </a:lnTo>
                  <a:lnTo>
                    <a:pt x="376637" y="1145825"/>
                  </a:lnTo>
                  <a:lnTo>
                    <a:pt x="375943" y="1146447"/>
                  </a:lnTo>
                  <a:lnTo>
                    <a:pt x="369054" y="1150139"/>
                  </a:lnTo>
                  <a:lnTo>
                    <a:pt x="368857" y="1152603"/>
                  </a:lnTo>
                  <a:lnTo>
                    <a:pt x="379081" y="1147946"/>
                  </a:lnTo>
                  <a:lnTo>
                    <a:pt x="380817" y="1148052"/>
                  </a:lnTo>
                  <a:lnTo>
                    <a:pt x="381646" y="1149619"/>
                  </a:lnTo>
                  <a:lnTo>
                    <a:pt x="381646" y="1156146"/>
                  </a:lnTo>
                  <a:cubicBezTo>
                    <a:pt x="381646" y="1156941"/>
                    <a:pt x="381140" y="1157650"/>
                    <a:pt x="380359" y="1157862"/>
                  </a:cubicBezTo>
                  <a:lnTo>
                    <a:pt x="373576" y="1159983"/>
                  </a:lnTo>
                  <a:lnTo>
                    <a:pt x="372313" y="1164119"/>
                  </a:lnTo>
                  <a:lnTo>
                    <a:pt x="376541" y="1169962"/>
                  </a:lnTo>
                  <a:lnTo>
                    <a:pt x="376898" y="1171022"/>
                  </a:lnTo>
                  <a:lnTo>
                    <a:pt x="376898" y="1171630"/>
                  </a:lnTo>
                  <a:cubicBezTo>
                    <a:pt x="376898" y="1172565"/>
                    <a:pt x="376184" y="1173322"/>
                    <a:pt x="375249" y="1173399"/>
                  </a:cubicBezTo>
                  <a:cubicBezTo>
                    <a:pt x="364335" y="1175395"/>
                    <a:pt x="361756" y="1171076"/>
                    <a:pt x="348142" y="1175766"/>
                  </a:cubicBezTo>
                  <a:lnTo>
                    <a:pt x="346879" y="1175621"/>
                  </a:lnTo>
                  <a:lnTo>
                    <a:pt x="345703" y="1175019"/>
                  </a:lnTo>
                  <a:lnTo>
                    <a:pt x="345467" y="1174879"/>
                  </a:lnTo>
                  <a:lnTo>
                    <a:pt x="340516" y="1171413"/>
                  </a:lnTo>
                  <a:lnTo>
                    <a:pt x="334027" y="1175376"/>
                  </a:lnTo>
                  <a:lnTo>
                    <a:pt x="330614" y="1179671"/>
                  </a:lnTo>
                  <a:lnTo>
                    <a:pt x="334895" y="1183098"/>
                  </a:lnTo>
                  <a:lnTo>
                    <a:pt x="341726" y="1185359"/>
                  </a:lnTo>
                  <a:cubicBezTo>
                    <a:pt x="342463" y="1185605"/>
                    <a:pt x="342960" y="1186285"/>
                    <a:pt x="342974" y="1187080"/>
                  </a:cubicBezTo>
                  <a:cubicBezTo>
                    <a:pt x="342989" y="1187837"/>
                    <a:pt x="342512" y="1188517"/>
                    <a:pt x="341784" y="1188801"/>
                  </a:cubicBezTo>
                  <a:lnTo>
                    <a:pt x="335237" y="1191159"/>
                  </a:lnTo>
                  <a:lnTo>
                    <a:pt x="333670" y="1191009"/>
                  </a:lnTo>
                  <a:lnTo>
                    <a:pt x="328083" y="1187649"/>
                  </a:lnTo>
                  <a:lnTo>
                    <a:pt x="322549" y="1187157"/>
                  </a:lnTo>
                  <a:lnTo>
                    <a:pt x="317082" y="1190436"/>
                  </a:lnTo>
                  <a:lnTo>
                    <a:pt x="316827" y="1190551"/>
                  </a:lnTo>
                  <a:lnTo>
                    <a:pt x="313872" y="1191718"/>
                  </a:lnTo>
                  <a:cubicBezTo>
                    <a:pt x="313047" y="1192041"/>
                    <a:pt x="312136" y="1191780"/>
                    <a:pt x="311649" y="1191067"/>
                  </a:cubicBezTo>
                  <a:lnTo>
                    <a:pt x="311895" y="1188772"/>
                  </a:lnTo>
                  <a:lnTo>
                    <a:pt x="318191" y="1182481"/>
                  </a:lnTo>
                  <a:lnTo>
                    <a:pt x="320302" y="1177203"/>
                  </a:lnTo>
                  <a:lnTo>
                    <a:pt x="320302" y="1173312"/>
                  </a:lnTo>
                  <a:lnTo>
                    <a:pt x="320105" y="1173240"/>
                  </a:lnTo>
                  <a:lnTo>
                    <a:pt x="319642" y="1172878"/>
                  </a:lnTo>
                  <a:lnTo>
                    <a:pt x="313674" y="1166944"/>
                  </a:lnTo>
                  <a:lnTo>
                    <a:pt x="313192" y="1166096"/>
                  </a:lnTo>
                  <a:lnTo>
                    <a:pt x="311476" y="1159197"/>
                  </a:lnTo>
                  <a:lnTo>
                    <a:pt x="307446" y="1152284"/>
                  </a:lnTo>
                  <a:lnTo>
                    <a:pt x="307344" y="1152111"/>
                  </a:lnTo>
                  <a:lnTo>
                    <a:pt x="305170" y="1147309"/>
                  </a:lnTo>
                  <a:lnTo>
                    <a:pt x="301068" y="1149315"/>
                  </a:lnTo>
                  <a:lnTo>
                    <a:pt x="296503" y="1152998"/>
                  </a:lnTo>
                  <a:lnTo>
                    <a:pt x="299270" y="1157587"/>
                  </a:lnTo>
                  <a:lnTo>
                    <a:pt x="299135" y="1159612"/>
                  </a:lnTo>
                  <a:lnTo>
                    <a:pt x="297177" y="1160272"/>
                  </a:lnTo>
                  <a:lnTo>
                    <a:pt x="292569" y="1158884"/>
                  </a:lnTo>
                  <a:lnTo>
                    <a:pt x="289117" y="1164264"/>
                  </a:lnTo>
                  <a:cubicBezTo>
                    <a:pt x="288708" y="1164920"/>
                    <a:pt x="287859" y="1165242"/>
                    <a:pt x="287088" y="1164997"/>
                  </a:cubicBezTo>
                  <a:cubicBezTo>
                    <a:pt x="286297" y="1164780"/>
                    <a:pt x="285781" y="1164061"/>
                    <a:pt x="285781" y="1163247"/>
                  </a:cubicBezTo>
                  <a:lnTo>
                    <a:pt x="285781" y="1160224"/>
                  </a:lnTo>
                  <a:lnTo>
                    <a:pt x="282667" y="1162374"/>
                  </a:lnTo>
                  <a:lnTo>
                    <a:pt x="282296" y="1162572"/>
                  </a:lnTo>
                  <a:lnTo>
                    <a:pt x="277625" y="1164452"/>
                  </a:lnTo>
                  <a:lnTo>
                    <a:pt x="277900" y="1167822"/>
                  </a:lnTo>
                  <a:lnTo>
                    <a:pt x="281587" y="1166346"/>
                  </a:lnTo>
                  <a:lnTo>
                    <a:pt x="282860" y="1166346"/>
                  </a:lnTo>
                  <a:lnTo>
                    <a:pt x="289402" y="1168728"/>
                  </a:lnTo>
                  <a:cubicBezTo>
                    <a:pt x="290158" y="1168969"/>
                    <a:pt x="290631" y="1169678"/>
                    <a:pt x="290631" y="1170468"/>
                  </a:cubicBezTo>
                  <a:cubicBezTo>
                    <a:pt x="290588" y="1171264"/>
                    <a:pt x="290062" y="1171929"/>
                    <a:pt x="289305" y="1172165"/>
                  </a:cubicBezTo>
                  <a:lnTo>
                    <a:pt x="283381" y="1173949"/>
                  </a:lnTo>
                  <a:lnTo>
                    <a:pt x="283164" y="1174007"/>
                  </a:lnTo>
                  <a:lnTo>
                    <a:pt x="277981" y="1174937"/>
                  </a:lnTo>
                  <a:lnTo>
                    <a:pt x="277649" y="1178095"/>
                  </a:lnTo>
                  <a:lnTo>
                    <a:pt x="282561" y="1179907"/>
                  </a:lnTo>
                  <a:lnTo>
                    <a:pt x="288192" y="1179907"/>
                  </a:lnTo>
                  <a:cubicBezTo>
                    <a:pt x="289088" y="1179907"/>
                    <a:pt x="289855" y="1180572"/>
                    <a:pt x="290004" y="1181479"/>
                  </a:cubicBezTo>
                  <a:cubicBezTo>
                    <a:pt x="290125" y="1182341"/>
                    <a:pt x="289575" y="1183219"/>
                    <a:pt x="288736" y="1183460"/>
                  </a:cubicBezTo>
                  <a:lnTo>
                    <a:pt x="282894" y="1185219"/>
                  </a:lnTo>
                  <a:lnTo>
                    <a:pt x="276757" y="1187996"/>
                  </a:lnTo>
                  <a:lnTo>
                    <a:pt x="270533" y="1194225"/>
                  </a:lnTo>
                  <a:lnTo>
                    <a:pt x="265853" y="1200651"/>
                  </a:lnTo>
                  <a:cubicBezTo>
                    <a:pt x="265351" y="1201383"/>
                    <a:pt x="264353" y="1201605"/>
                    <a:pt x="263534" y="1201190"/>
                  </a:cubicBezTo>
                  <a:cubicBezTo>
                    <a:pt x="262743" y="1200752"/>
                    <a:pt x="262367" y="1199797"/>
                    <a:pt x="262714" y="1198944"/>
                  </a:cubicBezTo>
                  <a:lnTo>
                    <a:pt x="265062" y="1192407"/>
                  </a:lnTo>
                  <a:lnTo>
                    <a:pt x="265197" y="1192108"/>
                  </a:lnTo>
                  <a:lnTo>
                    <a:pt x="269251" y="1185195"/>
                  </a:lnTo>
                  <a:lnTo>
                    <a:pt x="270784" y="1179589"/>
                  </a:lnTo>
                  <a:lnTo>
                    <a:pt x="267815" y="1174146"/>
                  </a:lnTo>
                  <a:lnTo>
                    <a:pt x="263746" y="1171934"/>
                  </a:lnTo>
                  <a:lnTo>
                    <a:pt x="262589" y="1176282"/>
                  </a:lnTo>
                  <a:cubicBezTo>
                    <a:pt x="262314" y="1177232"/>
                    <a:pt x="261316" y="1177781"/>
                    <a:pt x="260342" y="1177535"/>
                  </a:cubicBezTo>
                  <a:lnTo>
                    <a:pt x="254114" y="1175838"/>
                  </a:lnTo>
                  <a:lnTo>
                    <a:pt x="249236" y="1176330"/>
                  </a:lnTo>
                  <a:lnTo>
                    <a:pt x="245572" y="1180404"/>
                  </a:lnTo>
                  <a:lnTo>
                    <a:pt x="247115" y="1186020"/>
                  </a:lnTo>
                  <a:cubicBezTo>
                    <a:pt x="247346" y="1186892"/>
                    <a:pt x="246859" y="1187842"/>
                    <a:pt x="246025" y="1188179"/>
                  </a:cubicBezTo>
                  <a:lnTo>
                    <a:pt x="240119" y="1190561"/>
                  </a:lnTo>
                  <a:lnTo>
                    <a:pt x="235347" y="1192740"/>
                  </a:lnTo>
                  <a:lnTo>
                    <a:pt x="238052" y="1198187"/>
                  </a:lnTo>
                  <a:lnTo>
                    <a:pt x="238066" y="1198240"/>
                  </a:lnTo>
                  <a:lnTo>
                    <a:pt x="240529" y="1203601"/>
                  </a:lnTo>
                  <a:lnTo>
                    <a:pt x="252345" y="1202540"/>
                  </a:lnTo>
                  <a:lnTo>
                    <a:pt x="259484" y="1201933"/>
                  </a:lnTo>
                  <a:cubicBezTo>
                    <a:pt x="260410" y="1201841"/>
                    <a:pt x="261205" y="1202449"/>
                    <a:pt x="261427" y="1203350"/>
                  </a:cubicBezTo>
                  <a:cubicBezTo>
                    <a:pt x="261615" y="1204257"/>
                    <a:pt x="261109" y="1205168"/>
                    <a:pt x="260251" y="1205471"/>
                  </a:cubicBezTo>
                  <a:cubicBezTo>
                    <a:pt x="252253" y="1209400"/>
                    <a:pt x="250007" y="1206913"/>
                    <a:pt x="239300" y="1210793"/>
                  </a:cubicBezTo>
                  <a:lnTo>
                    <a:pt x="242125" y="1215272"/>
                  </a:lnTo>
                  <a:lnTo>
                    <a:pt x="241908" y="1217499"/>
                  </a:lnTo>
                  <a:lnTo>
                    <a:pt x="239724" y="1217817"/>
                  </a:lnTo>
                  <a:lnTo>
                    <a:pt x="233520" y="1214447"/>
                  </a:lnTo>
                  <a:lnTo>
                    <a:pt x="227340" y="1213884"/>
                  </a:lnTo>
                  <a:lnTo>
                    <a:pt x="227166" y="1213859"/>
                  </a:lnTo>
                  <a:lnTo>
                    <a:pt x="222996" y="1213107"/>
                  </a:lnTo>
                  <a:lnTo>
                    <a:pt x="223353" y="1216646"/>
                  </a:lnTo>
                  <a:lnTo>
                    <a:pt x="222399" y="1218454"/>
                  </a:lnTo>
                  <a:lnTo>
                    <a:pt x="220393" y="1218261"/>
                  </a:lnTo>
                  <a:lnTo>
                    <a:pt x="216219" y="1214886"/>
                  </a:lnTo>
                  <a:lnTo>
                    <a:pt x="214676" y="1217981"/>
                  </a:lnTo>
                  <a:lnTo>
                    <a:pt x="217602" y="1223404"/>
                  </a:lnTo>
                  <a:lnTo>
                    <a:pt x="222770" y="1227536"/>
                  </a:lnTo>
                  <a:lnTo>
                    <a:pt x="228670" y="1227536"/>
                  </a:lnTo>
                  <a:cubicBezTo>
                    <a:pt x="229615" y="1227536"/>
                    <a:pt x="230401" y="1228240"/>
                    <a:pt x="230483" y="1229170"/>
                  </a:cubicBezTo>
                  <a:cubicBezTo>
                    <a:pt x="230584" y="1230091"/>
                    <a:pt x="229938" y="1230915"/>
                    <a:pt x="229022" y="1231093"/>
                  </a:cubicBezTo>
                  <a:lnTo>
                    <a:pt x="228608" y="1231185"/>
                  </a:lnTo>
                  <a:lnTo>
                    <a:pt x="229090" y="1231412"/>
                  </a:lnTo>
                  <a:lnTo>
                    <a:pt x="234180" y="1227830"/>
                  </a:lnTo>
                  <a:lnTo>
                    <a:pt x="236099" y="1227743"/>
                  </a:lnTo>
                  <a:lnTo>
                    <a:pt x="242631" y="1231296"/>
                  </a:lnTo>
                  <a:lnTo>
                    <a:pt x="243600" y="1232911"/>
                  </a:lnTo>
                  <a:lnTo>
                    <a:pt x="242631" y="1234511"/>
                  </a:lnTo>
                  <a:lnTo>
                    <a:pt x="236099" y="1238083"/>
                  </a:lnTo>
                  <a:lnTo>
                    <a:pt x="235405" y="1238281"/>
                  </a:lnTo>
                  <a:lnTo>
                    <a:pt x="231389" y="1238686"/>
                  </a:lnTo>
                  <a:lnTo>
                    <a:pt x="232113" y="1243029"/>
                  </a:lnTo>
                  <a:lnTo>
                    <a:pt x="237878" y="1246197"/>
                  </a:lnTo>
                  <a:lnTo>
                    <a:pt x="238230" y="1246414"/>
                  </a:lnTo>
                  <a:lnTo>
                    <a:pt x="244781" y="1252386"/>
                  </a:lnTo>
                  <a:cubicBezTo>
                    <a:pt x="245490" y="1253004"/>
                    <a:pt x="245591" y="1254103"/>
                    <a:pt x="244984" y="1254879"/>
                  </a:cubicBezTo>
                  <a:cubicBezTo>
                    <a:pt x="244405" y="1255611"/>
                    <a:pt x="243292" y="1255775"/>
                    <a:pt x="242525" y="1255226"/>
                  </a:cubicBezTo>
                  <a:lnTo>
                    <a:pt x="236779" y="1251205"/>
                  </a:lnTo>
                  <a:lnTo>
                    <a:pt x="230121" y="1248988"/>
                  </a:lnTo>
                  <a:lnTo>
                    <a:pt x="223778" y="1248380"/>
                  </a:lnTo>
                  <a:lnTo>
                    <a:pt x="222283" y="1247349"/>
                  </a:lnTo>
                  <a:lnTo>
                    <a:pt x="218716" y="1239607"/>
                  </a:lnTo>
                  <a:lnTo>
                    <a:pt x="218663" y="1239534"/>
                  </a:lnTo>
                  <a:lnTo>
                    <a:pt x="216445" y="1234015"/>
                  </a:lnTo>
                  <a:lnTo>
                    <a:pt x="210284" y="1228934"/>
                  </a:lnTo>
                  <a:lnTo>
                    <a:pt x="209624" y="1227724"/>
                  </a:lnTo>
                  <a:lnTo>
                    <a:pt x="209103" y="1222566"/>
                  </a:lnTo>
                  <a:lnTo>
                    <a:pt x="204172" y="1219027"/>
                  </a:lnTo>
                  <a:lnTo>
                    <a:pt x="201414" y="1220584"/>
                  </a:lnTo>
                  <a:lnTo>
                    <a:pt x="197774" y="1226292"/>
                  </a:lnTo>
                  <a:lnTo>
                    <a:pt x="197774" y="1229903"/>
                  </a:lnTo>
                  <a:lnTo>
                    <a:pt x="202508" y="1229903"/>
                  </a:lnTo>
                  <a:lnTo>
                    <a:pt x="203666" y="1230327"/>
                  </a:lnTo>
                  <a:lnTo>
                    <a:pt x="210815" y="1236276"/>
                  </a:lnTo>
                  <a:lnTo>
                    <a:pt x="211133" y="1236603"/>
                  </a:lnTo>
                  <a:lnTo>
                    <a:pt x="215303" y="1242605"/>
                  </a:lnTo>
                  <a:lnTo>
                    <a:pt x="215558" y="1244075"/>
                  </a:lnTo>
                  <a:lnTo>
                    <a:pt x="214059" y="1250154"/>
                  </a:lnTo>
                  <a:lnTo>
                    <a:pt x="220846" y="1256436"/>
                  </a:lnTo>
                  <a:lnTo>
                    <a:pt x="227827" y="1260514"/>
                  </a:lnTo>
                  <a:lnTo>
                    <a:pt x="228217" y="1260789"/>
                  </a:lnTo>
                  <a:lnTo>
                    <a:pt x="234118" y="1266714"/>
                  </a:lnTo>
                  <a:lnTo>
                    <a:pt x="234595" y="1267514"/>
                  </a:lnTo>
                  <a:lnTo>
                    <a:pt x="236388" y="1273453"/>
                  </a:lnTo>
                  <a:lnTo>
                    <a:pt x="235916" y="1275261"/>
                  </a:lnTo>
                  <a:lnTo>
                    <a:pt x="235342" y="1275858"/>
                  </a:lnTo>
                  <a:lnTo>
                    <a:pt x="233621" y="1276316"/>
                  </a:lnTo>
                  <a:lnTo>
                    <a:pt x="232324" y="1275160"/>
                  </a:lnTo>
                  <a:lnTo>
                    <a:pt x="231293" y="1272084"/>
                  </a:lnTo>
                  <a:lnTo>
                    <a:pt x="225778" y="1267678"/>
                  </a:lnTo>
                  <a:lnTo>
                    <a:pt x="218831" y="1262447"/>
                  </a:lnTo>
                  <a:lnTo>
                    <a:pt x="212473" y="1259555"/>
                  </a:lnTo>
                  <a:lnTo>
                    <a:pt x="211716" y="1258938"/>
                  </a:lnTo>
                  <a:lnTo>
                    <a:pt x="206929" y="1251764"/>
                  </a:lnTo>
                  <a:lnTo>
                    <a:pt x="206669" y="1251080"/>
                  </a:lnTo>
                  <a:lnTo>
                    <a:pt x="204981" y="1241588"/>
                  </a:lnTo>
                  <a:lnTo>
                    <a:pt x="200074" y="1237177"/>
                  </a:lnTo>
                  <a:lnTo>
                    <a:pt x="195292" y="1237645"/>
                  </a:lnTo>
                  <a:lnTo>
                    <a:pt x="189627" y="1240503"/>
                  </a:lnTo>
                  <a:lnTo>
                    <a:pt x="189435" y="1240547"/>
                  </a:lnTo>
                  <a:lnTo>
                    <a:pt x="182898" y="1242948"/>
                  </a:lnTo>
                  <a:lnTo>
                    <a:pt x="181172" y="1242682"/>
                  </a:lnTo>
                  <a:lnTo>
                    <a:pt x="180449" y="1241087"/>
                  </a:lnTo>
                  <a:lnTo>
                    <a:pt x="180762" y="1237326"/>
                  </a:lnTo>
                  <a:lnTo>
                    <a:pt x="177330" y="1239183"/>
                  </a:lnTo>
                  <a:lnTo>
                    <a:pt x="171497" y="1243849"/>
                  </a:lnTo>
                  <a:lnTo>
                    <a:pt x="169149" y="1243772"/>
                  </a:lnTo>
                  <a:lnTo>
                    <a:pt x="162019" y="1237230"/>
                  </a:lnTo>
                  <a:lnTo>
                    <a:pt x="161643" y="1236801"/>
                  </a:lnTo>
                  <a:lnTo>
                    <a:pt x="158071" y="1230674"/>
                  </a:lnTo>
                  <a:cubicBezTo>
                    <a:pt x="143252" y="1231238"/>
                    <a:pt x="146902" y="1235601"/>
                    <a:pt x="136609" y="1240653"/>
                  </a:cubicBezTo>
                  <a:lnTo>
                    <a:pt x="139550" y="1245281"/>
                  </a:lnTo>
                  <a:lnTo>
                    <a:pt x="145533" y="1249084"/>
                  </a:lnTo>
                  <a:lnTo>
                    <a:pt x="151250" y="1250800"/>
                  </a:lnTo>
                  <a:cubicBezTo>
                    <a:pt x="152007" y="1251037"/>
                    <a:pt x="152547" y="1251760"/>
                    <a:pt x="152547" y="1252555"/>
                  </a:cubicBezTo>
                  <a:cubicBezTo>
                    <a:pt x="152547" y="1253341"/>
                    <a:pt x="152007" y="1254054"/>
                    <a:pt x="151250" y="1254266"/>
                  </a:cubicBezTo>
                  <a:lnTo>
                    <a:pt x="145306" y="1256074"/>
                  </a:lnTo>
                  <a:lnTo>
                    <a:pt x="145104" y="1256132"/>
                  </a:lnTo>
                  <a:lnTo>
                    <a:pt x="139897" y="1257062"/>
                  </a:lnTo>
                  <a:lnTo>
                    <a:pt x="139468" y="1261377"/>
                  </a:lnTo>
                  <a:lnTo>
                    <a:pt x="140259" y="1265316"/>
                  </a:lnTo>
                  <a:cubicBezTo>
                    <a:pt x="166816" y="1262428"/>
                    <a:pt x="156582" y="1258928"/>
                    <a:pt x="178945" y="1256711"/>
                  </a:cubicBezTo>
                  <a:cubicBezTo>
                    <a:pt x="179890" y="1256518"/>
                    <a:pt x="180796" y="1257087"/>
                    <a:pt x="181051" y="1258017"/>
                  </a:cubicBezTo>
                  <a:cubicBezTo>
                    <a:pt x="181302" y="1258952"/>
                    <a:pt x="180786" y="1259926"/>
                    <a:pt x="179890" y="1260206"/>
                  </a:cubicBezTo>
                  <a:lnTo>
                    <a:pt x="172861" y="1262553"/>
                  </a:lnTo>
                  <a:lnTo>
                    <a:pt x="166927" y="1265812"/>
                  </a:lnTo>
                  <a:lnTo>
                    <a:pt x="164623" y="1269592"/>
                  </a:lnTo>
                  <a:lnTo>
                    <a:pt x="168629" y="1271385"/>
                  </a:lnTo>
                  <a:lnTo>
                    <a:pt x="173854" y="1269293"/>
                  </a:lnTo>
                  <a:lnTo>
                    <a:pt x="173907" y="1269293"/>
                  </a:lnTo>
                  <a:lnTo>
                    <a:pt x="180391" y="1266940"/>
                  </a:lnTo>
                  <a:lnTo>
                    <a:pt x="186846" y="1263985"/>
                  </a:lnTo>
                  <a:lnTo>
                    <a:pt x="186995" y="1263927"/>
                  </a:lnTo>
                  <a:lnTo>
                    <a:pt x="193547" y="1261546"/>
                  </a:lnTo>
                  <a:lnTo>
                    <a:pt x="193821" y="1261464"/>
                  </a:lnTo>
                  <a:lnTo>
                    <a:pt x="199780" y="1260288"/>
                  </a:lnTo>
                  <a:lnTo>
                    <a:pt x="201274" y="1260668"/>
                  </a:lnTo>
                  <a:lnTo>
                    <a:pt x="207830" y="1266010"/>
                  </a:lnTo>
                  <a:lnTo>
                    <a:pt x="208356" y="1266752"/>
                  </a:lnTo>
                  <a:lnTo>
                    <a:pt x="210718" y="1272677"/>
                  </a:lnTo>
                  <a:cubicBezTo>
                    <a:pt x="211041" y="1273472"/>
                    <a:pt x="210781" y="1274378"/>
                    <a:pt x="210077" y="1274870"/>
                  </a:cubicBezTo>
                  <a:lnTo>
                    <a:pt x="207826" y="1274730"/>
                  </a:lnTo>
                  <a:lnTo>
                    <a:pt x="201954" y="1269370"/>
                  </a:lnTo>
                  <a:lnTo>
                    <a:pt x="196285" y="1270416"/>
                  </a:lnTo>
                  <a:lnTo>
                    <a:pt x="195760" y="1270416"/>
                  </a:lnTo>
                  <a:lnTo>
                    <a:pt x="190134" y="1269857"/>
                  </a:lnTo>
                  <a:lnTo>
                    <a:pt x="183515" y="1271515"/>
                  </a:lnTo>
                  <a:lnTo>
                    <a:pt x="177190" y="1274981"/>
                  </a:lnTo>
                  <a:lnTo>
                    <a:pt x="177128" y="1274995"/>
                  </a:lnTo>
                  <a:lnTo>
                    <a:pt x="172524" y="1277309"/>
                  </a:lnTo>
                  <a:lnTo>
                    <a:pt x="173883" y="1281788"/>
                  </a:lnTo>
                  <a:lnTo>
                    <a:pt x="173367" y="1283625"/>
                  </a:lnTo>
                  <a:lnTo>
                    <a:pt x="171482" y="1283986"/>
                  </a:lnTo>
                  <a:lnTo>
                    <a:pt x="167211" y="1282280"/>
                  </a:lnTo>
                  <a:lnTo>
                    <a:pt x="166021" y="1285235"/>
                  </a:lnTo>
                  <a:lnTo>
                    <a:pt x="170740" y="1288648"/>
                  </a:lnTo>
                  <a:lnTo>
                    <a:pt x="177012" y="1287096"/>
                  </a:lnTo>
                  <a:lnTo>
                    <a:pt x="182917" y="1285321"/>
                  </a:lnTo>
                  <a:cubicBezTo>
                    <a:pt x="183717" y="1285071"/>
                    <a:pt x="184571" y="1285394"/>
                    <a:pt x="185000" y="1286117"/>
                  </a:cubicBezTo>
                  <a:lnTo>
                    <a:pt x="184720" y="1288325"/>
                  </a:lnTo>
                  <a:lnTo>
                    <a:pt x="182343" y="1290735"/>
                  </a:lnTo>
                  <a:lnTo>
                    <a:pt x="181803" y="1291087"/>
                  </a:lnTo>
                  <a:lnTo>
                    <a:pt x="175276" y="1294057"/>
                  </a:lnTo>
                  <a:lnTo>
                    <a:pt x="174659" y="1294235"/>
                  </a:lnTo>
                  <a:lnTo>
                    <a:pt x="167525" y="1294828"/>
                  </a:lnTo>
                  <a:lnTo>
                    <a:pt x="166237" y="1294418"/>
                  </a:lnTo>
                  <a:lnTo>
                    <a:pt x="160289" y="1289660"/>
                  </a:lnTo>
                  <a:lnTo>
                    <a:pt x="160202" y="1289612"/>
                  </a:lnTo>
                  <a:lnTo>
                    <a:pt x="154639" y="1284570"/>
                  </a:lnTo>
                  <a:lnTo>
                    <a:pt x="150208" y="1283784"/>
                  </a:lnTo>
                  <a:lnTo>
                    <a:pt x="148902" y="1288180"/>
                  </a:lnTo>
                  <a:lnTo>
                    <a:pt x="147359" y="1289472"/>
                  </a:lnTo>
                  <a:lnTo>
                    <a:pt x="145605" y="1288600"/>
                  </a:lnTo>
                  <a:lnTo>
                    <a:pt x="142226" y="1282993"/>
                  </a:lnTo>
                  <a:lnTo>
                    <a:pt x="137202" y="1279648"/>
                  </a:lnTo>
                  <a:cubicBezTo>
                    <a:pt x="132748" y="1294703"/>
                    <a:pt x="128973" y="1273781"/>
                    <a:pt x="115644" y="1281735"/>
                  </a:cubicBezTo>
                  <a:lnTo>
                    <a:pt x="115644" y="1287674"/>
                  </a:lnTo>
                  <a:cubicBezTo>
                    <a:pt x="115644" y="1288513"/>
                    <a:pt x="115061" y="1289270"/>
                    <a:pt x="114222" y="1289424"/>
                  </a:cubicBezTo>
                  <a:cubicBezTo>
                    <a:pt x="113398" y="1289617"/>
                    <a:pt x="112515" y="1289183"/>
                    <a:pt x="112173" y="1288412"/>
                  </a:cubicBezTo>
                  <a:lnTo>
                    <a:pt x="109681" y="1282906"/>
                  </a:lnTo>
                  <a:lnTo>
                    <a:pt x="98738" y="1282906"/>
                  </a:lnTo>
                  <a:lnTo>
                    <a:pt x="93734" y="1285206"/>
                  </a:lnTo>
                  <a:lnTo>
                    <a:pt x="94076" y="1288604"/>
                  </a:lnTo>
                  <a:lnTo>
                    <a:pt x="99119" y="1289998"/>
                  </a:lnTo>
                  <a:lnTo>
                    <a:pt x="107145" y="1289424"/>
                  </a:lnTo>
                  <a:lnTo>
                    <a:pt x="108211" y="1289665"/>
                  </a:lnTo>
                  <a:lnTo>
                    <a:pt x="114135" y="1293256"/>
                  </a:lnTo>
                  <a:cubicBezTo>
                    <a:pt x="114834" y="1293628"/>
                    <a:pt x="115172" y="1294423"/>
                    <a:pt x="115003" y="1295223"/>
                  </a:cubicBezTo>
                  <a:cubicBezTo>
                    <a:pt x="114834" y="1295966"/>
                    <a:pt x="114155" y="1296530"/>
                    <a:pt x="113393" y="1296612"/>
                  </a:cubicBezTo>
                  <a:cubicBezTo>
                    <a:pt x="107603" y="1296255"/>
                    <a:pt x="102310" y="1298622"/>
                    <a:pt x="96882" y="1300420"/>
                  </a:cubicBezTo>
                  <a:lnTo>
                    <a:pt x="101722" y="1303042"/>
                  </a:lnTo>
                  <a:lnTo>
                    <a:pt x="107367" y="1302546"/>
                  </a:lnTo>
                  <a:lnTo>
                    <a:pt x="113017" y="1299706"/>
                  </a:lnTo>
                  <a:lnTo>
                    <a:pt x="113504" y="1299533"/>
                  </a:lnTo>
                  <a:lnTo>
                    <a:pt x="120031" y="1298352"/>
                  </a:lnTo>
                  <a:lnTo>
                    <a:pt x="121034" y="1298468"/>
                  </a:lnTo>
                  <a:lnTo>
                    <a:pt x="127011" y="1300844"/>
                  </a:lnTo>
                  <a:lnTo>
                    <a:pt x="127465" y="1301119"/>
                  </a:lnTo>
                  <a:lnTo>
                    <a:pt x="133408" y="1305882"/>
                  </a:lnTo>
                  <a:lnTo>
                    <a:pt x="133924" y="1306537"/>
                  </a:lnTo>
                  <a:lnTo>
                    <a:pt x="136904" y="1313103"/>
                  </a:lnTo>
                  <a:lnTo>
                    <a:pt x="137029" y="1314164"/>
                  </a:lnTo>
                  <a:lnTo>
                    <a:pt x="136074" y="1319375"/>
                  </a:lnTo>
                  <a:lnTo>
                    <a:pt x="140818" y="1321713"/>
                  </a:lnTo>
                  <a:lnTo>
                    <a:pt x="141290" y="1322075"/>
                  </a:lnTo>
                  <a:lnTo>
                    <a:pt x="142712" y="1323492"/>
                  </a:lnTo>
                  <a:lnTo>
                    <a:pt x="149052" y="1325102"/>
                  </a:lnTo>
                  <a:lnTo>
                    <a:pt x="155295" y="1324528"/>
                  </a:lnTo>
                  <a:lnTo>
                    <a:pt x="156437" y="1324813"/>
                  </a:lnTo>
                  <a:lnTo>
                    <a:pt x="162815" y="1328857"/>
                  </a:lnTo>
                  <a:lnTo>
                    <a:pt x="162887" y="1328915"/>
                  </a:lnTo>
                  <a:lnTo>
                    <a:pt x="162887" y="1328915"/>
                  </a:lnTo>
                  <a:lnTo>
                    <a:pt x="163012" y="1328992"/>
                  </a:lnTo>
                  <a:cubicBezTo>
                    <a:pt x="163813" y="1329498"/>
                    <a:pt x="164068" y="1330569"/>
                    <a:pt x="163596" y="1331427"/>
                  </a:cubicBezTo>
                  <a:cubicBezTo>
                    <a:pt x="163085" y="1332270"/>
                    <a:pt x="162019" y="1332574"/>
                    <a:pt x="161137" y="1332102"/>
                  </a:cubicBezTo>
                  <a:lnTo>
                    <a:pt x="161036" y="1332029"/>
                  </a:lnTo>
                  <a:lnTo>
                    <a:pt x="161036" y="1332029"/>
                  </a:lnTo>
                  <a:lnTo>
                    <a:pt x="155367" y="1328935"/>
                  </a:lnTo>
                  <a:lnTo>
                    <a:pt x="150204" y="1330983"/>
                  </a:lnTo>
                  <a:lnTo>
                    <a:pt x="148999" y="1331065"/>
                  </a:lnTo>
                  <a:lnTo>
                    <a:pt x="144149" y="1329585"/>
                  </a:lnTo>
                  <a:lnTo>
                    <a:pt x="140032" y="1334151"/>
                  </a:lnTo>
                  <a:lnTo>
                    <a:pt x="140032" y="1340012"/>
                  </a:lnTo>
                  <a:lnTo>
                    <a:pt x="139796" y="1340875"/>
                  </a:lnTo>
                  <a:lnTo>
                    <a:pt x="136971" y="1346101"/>
                  </a:lnTo>
                  <a:lnTo>
                    <a:pt x="140934" y="1349244"/>
                  </a:lnTo>
                  <a:lnTo>
                    <a:pt x="146516" y="1347248"/>
                  </a:lnTo>
                  <a:cubicBezTo>
                    <a:pt x="147403" y="1346896"/>
                    <a:pt x="148391" y="1347306"/>
                    <a:pt x="148786" y="1348155"/>
                  </a:cubicBezTo>
                  <a:cubicBezTo>
                    <a:pt x="149201" y="1349008"/>
                    <a:pt x="148897" y="1350015"/>
                    <a:pt x="148049" y="1350502"/>
                  </a:cubicBezTo>
                  <a:lnTo>
                    <a:pt x="142119" y="1354060"/>
                  </a:lnTo>
                  <a:lnTo>
                    <a:pt x="141044" y="1354311"/>
                  </a:lnTo>
                  <a:lnTo>
                    <a:pt x="133905" y="1353747"/>
                  </a:lnTo>
                  <a:cubicBezTo>
                    <a:pt x="133129" y="1353655"/>
                    <a:pt x="132507" y="1353130"/>
                    <a:pt x="132304" y="1352392"/>
                  </a:cubicBezTo>
                  <a:lnTo>
                    <a:pt x="130521" y="1345860"/>
                  </a:lnTo>
                  <a:lnTo>
                    <a:pt x="130810" y="1344303"/>
                  </a:lnTo>
                  <a:lnTo>
                    <a:pt x="135168" y="1338316"/>
                  </a:lnTo>
                  <a:lnTo>
                    <a:pt x="134604" y="1331861"/>
                  </a:lnTo>
                  <a:lnTo>
                    <a:pt x="134074" y="1326326"/>
                  </a:lnTo>
                  <a:lnTo>
                    <a:pt x="130135" y="1320151"/>
                  </a:lnTo>
                  <a:lnTo>
                    <a:pt x="129899" y="1319548"/>
                  </a:lnTo>
                  <a:lnTo>
                    <a:pt x="128718" y="1313643"/>
                  </a:lnTo>
                  <a:lnTo>
                    <a:pt x="127209" y="1308167"/>
                  </a:lnTo>
                  <a:lnTo>
                    <a:pt x="121964" y="1306754"/>
                  </a:lnTo>
                  <a:lnTo>
                    <a:pt x="115538" y="1307251"/>
                  </a:lnTo>
                  <a:lnTo>
                    <a:pt x="112703" y="1312419"/>
                  </a:lnTo>
                  <a:lnTo>
                    <a:pt x="113243" y="1317832"/>
                  </a:lnTo>
                  <a:cubicBezTo>
                    <a:pt x="113335" y="1318734"/>
                    <a:pt x="112752" y="1319553"/>
                    <a:pt x="111860" y="1319770"/>
                  </a:cubicBezTo>
                  <a:cubicBezTo>
                    <a:pt x="110997" y="1319992"/>
                    <a:pt x="110067" y="1319529"/>
                    <a:pt x="109758" y="1318681"/>
                  </a:cubicBezTo>
                  <a:lnTo>
                    <a:pt x="107685" y="1313571"/>
                  </a:lnTo>
                  <a:lnTo>
                    <a:pt x="103804" y="1312496"/>
                  </a:lnTo>
                  <a:lnTo>
                    <a:pt x="102599" y="1317394"/>
                  </a:lnTo>
                  <a:lnTo>
                    <a:pt x="104229" y="1323304"/>
                  </a:lnTo>
                  <a:lnTo>
                    <a:pt x="107680" y="1330270"/>
                  </a:lnTo>
                  <a:lnTo>
                    <a:pt x="107907" y="1331099"/>
                  </a:lnTo>
                  <a:lnTo>
                    <a:pt x="107907" y="1332478"/>
                  </a:lnTo>
                  <a:lnTo>
                    <a:pt x="110105" y="1337491"/>
                  </a:lnTo>
                  <a:lnTo>
                    <a:pt x="110245" y="1338373"/>
                  </a:lnTo>
                  <a:lnTo>
                    <a:pt x="109666" y="1345542"/>
                  </a:lnTo>
                  <a:cubicBezTo>
                    <a:pt x="109604" y="1346434"/>
                    <a:pt x="108842" y="1347152"/>
                    <a:pt x="107945" y="1347210"/>
                  </a:cubicBezTo>
                  <a:cubicBezTo>
                    <a:pt x="107034" y="1347253"/>
                    <a:pt x="106234" y="1346588"/>
                    <a:pt x="106070" y="1345706"/>
                  </a:cubicBezTo>
                  <a:cubicBezTo>
                    <a:pt x="104913" y="1332989"/>
                    <a:pt x="97658" y="1328611"/>
                    <a:pt x="94679" y="1314742"/>
                  </a:cubicBezTo>
                  <a:lnTo>
                    <a:pt x="90196" y="1315543"/>
                  </a:lnTo>
                  <a:lnTo>
                    <a:pt x="84016" y="1320590"/>
                  </a:lnTo>
                  <a:lnTo>
                    <a:pt x="83842" y="1320725"/>
                  </a:lnTo>
                  <a:lnTo>
                    <a:pt x="77855" y="1324548"/>
                  </a:lnTo>
                  <a:lnTo>
                    <a:pt x="75979" y="1330144"/>
                  </a:lnTo>
                  <a:lnTo>
                    <a:pt x="80106" y="1335307"/>
                  </a:lnTo>
                  <a:lnTo>
                    <a:pt x="80347" y="1337245"/>
                  </a:lnTo>
                  <a:lnTo>
                    <a:pt x="78713" y="1338282"/>
                  </a:lnTo>
                  <a:lnTo>
                    <a:pt x="75941" y="1338282"/>
                  </a:lnTo>
                  <a:lnTo>
                    <a:pt x="78269" y="1341184"/>
                  </a:lnTo>
                  <a:lnTo>
                    <a:pt x="84560" y="1347470"/>
                  </a:lnTo>
                  <a:lnTo>
                    <a:pt x="90875" y="1350917"/>
                  </a:lnTo>
                  <a:cubicBezTo>
                    <a:pt x="91700" y="1351365"/>
                    <a:pt x="92032" y="1352344"/>
                    <a:pt x="91700" y="1353187"/>
                  </a:cubicBezTo>
                  <a:cubicBezTo>
                    <a:pt x="91362" y="1354065"/>
                    <a:pt x="90417" y="1354503"/>
                    <a:pt x="89516" y="1354253"/>
                  </a:cubicBezTo>
                  <a:lnTo>
                    <a:pt x="82993" y="1352484"/>
                  </a:lnTo>
                  <a:lnTo>
                    <a:pt x="82950" y="1352484"/>
                  </a:lnTo>
                  <a:lnTo>
                    <a:pt x="77088" y="1350714"/>
                  </a:lnTo>
                  <a:lnTo>
                    <a:pt x="71872" y="1349789"/>
                  </a:lnTo>
                  <a:lnTo>
                    <a:pt x="68955" y="1354653"/>
                  </a:lnTo>
                  <a:lnTo>
                    <a:pt x="68743" y="1354952"/>
                  </a:lnTo>
                  <a:lnTo>
                    <a:pt x="62790" y="1361489"/>
                  </a:lnTo>
                  <a:cubicBezTo>
                    <a:pt x="62129" y="1362193"/>
                    <a:pt x="61079" y="1362270"/>
                    <a:pt x="60341" y="1361696"/>
                  </a:cubicBezTo>
                  <a:cubicBezTo>
                    <a:pt x="59589" y="1361132"/>
                    <a:pt x="59386" y="1360052"/>
                    <a:pt x="59907" y="1359291"/>
                  </a:cubicBezTo>
                  <a:lnTo>
                    <a:pt x="64029" y="1352840"/>
                  </a:lnTo>
                  <a:lnTo>
                    <a:pt x="66796" y="1346713"/>
                  </a:lnTo>
                  <a:lnTo>
                    <a:pt x="67321" y="1340451"/>
                  </a:lnTo>
                  <a:lnTo>
                    <a:pt x="64945" y="1336517"/>
                  </a:lnTo>
                  <a:lnTo>
                    <a:pt x="59936" y="1339212"/>
                  </a:lnTo>
                  <a:lnTo>
                    <a:pt x="59247" y="1339434"/>
                  </a:lnTo>
                  <a:lnTo>
                    <a:pt x="54628" y="1339902"/>
                  </a:lnTo>
                  <a:lnTo>
                    <a:pt x="53688" y="1344549"/>
                  </a:lnTo>
                  <a:cubicBezTo>
                    <a:pt x="53553" y="1345320"/>
                    <a:pt x="52917" y="1345932"/>
                    <a:pt x="52131" y="1346014"/>
                  </a:cubicBezTo>
                  <a:cubicBezTo>
                    <a:pt x="51326" y="1346087"/>
                    <a:pt x="50598" y="1345643"/>
                    <a:pt x="50261" y="1344939"/>
                  </a:cubicBezTo>
                  <a:lnTo>
                    <a:pt x="47595" y="1339068"/>
                  </a:lnTo>
                  <a:lnTo>
                    <a:pt x="43112" y="1337279"/>
                  </a:lnTo>
                  <a:lnTo>
                    <a:pt x="38276" y="1339902"/>
                  </a:lnTo>
                  <a:lnTo>
                    <a:pt x="38276" y="1343985"/>
                  </a:lnTo>
                  <a:lnTo>
                    <a:pt x="43473" y="1345402"/>
                  </a:lnTo>
                  <a:lnTo>
                    <a:pt x="44129" y="1345730"/>
                  </a:lnTo>
                  <a:lnTo>
                    <a:pt x="50097" y="1350512"/>
                  </a:lnTo>
                  <a:lnTo>
                    <a:pt x="50709" y="1352349"/>
                  </a:lnTo>
                  <a:lnTo>
                    <a:pt x="49287" y="1353723"/>
                  </a:lnTo>
                  <a:lnTo>
                    <a:pt x="43999" y="1354783"/>
                  </a:lnTo>
                  <a:lnTo>
                    <a:pt x="39646" y="1360202"/>
                  </a:lnTo>
                  <a:cubicBezTo>
                    <a:pt x="39106" y="1360891"/>
                    <a:pt x="38127" y="1361103"/>
                    <a:pt x="37385" y="1360674"/>
                  </a:cubicBezTo>
                  <a:cubicBezTo>
                    <a:pt x="36946" y="1360457"/>
                    <a:pt x="36666" y="1360062"/>
                    <a:pt x="36531" y="1359623"/>
                  </a:cubicBezTo>
                  <a:lnTo>
                    <a:pt x="36445" y="1359681"/>
                  </a:lnTo>
                  <a:lnTo>
                    <a:pt x="31296" y="1359681"/>
                  </a:lnTo>
                  <a:lnTo>
                    <a:pt x="26499" y="1365042"/>
                  </a:lnTo>
                  <a:lnTo>
                    <a:pt x="24388" y="1365475"/>
                  </a:lnTo>
                  <a:lnTo>
                    <a:pt x="19963" y="1363475"/>
                  </a:lnTo>
                  <a:lnTo>
                    <a:pt x="19307" y="1367172"/>
                  </a:lnTo>
                  <a:lnTo>
                    <a:pt x="20951" y="1370918"/>
                  </a:lnTo>
                  <a:lnTo>
                    <a:pt x="25931" y="1370918"/>
                  </a:lnTo>
                  <a:lnTo>
                    <a:pt x="32101" y="1368136"/>
                  </a:lnTo>
                  <a:lnTo>
                    <a:pt x="33142" y="1367987"/>
                  </a:lnTo>
                  <a:lnTo>
                    <a:pt x="40894" y="1369168"/>
                  </a:lnTo>
                  <a:lnTo>
                    <a:pt x="41111" y="1369221"/>
                  </a:lnTo>
                  <a:cubicBezTo>
                    <a:pt x="54175" y="1374283"/>
                    <a:pt x="56769" y="1370325"/>
                    <a:pt x="67138" y="1373362"/>
                  </a:cubicBezTo>
                  <a:cubicBezTo>
                    <a:pt x="68020" y="1373545"/>
                    <a:pt x="68642" y="1374341"/>
                    <a:pt x="68623" y="1375208"/>
                  </a:cubicBezTo>
                  <a:cubicBezTo>
                    <a:pt x="68555" y="1376086"/>
                    <a:pt x="67910" y="1376751"/>
                    <a:pt x="67075" y="1376891"/>
                  </a:cubicBezTo>
                  <a:lnTo>
                    <a:pt x="67374" y="1376891"/>
                  </a:lnTo>
                  <a:lnTo>
                    <a:pt x="67558" y="1376910"/>
                  </a:lnTo>
                  <a:lnTo>
                    <a:pt x="74094" y="1377489"/>
                  </a:lnTo>
                  <a:lnTo>
                    <a:pt x="74870" y="1377734"/>
                  </a:lnTo>
                  <a:lnTo>
                    <a:pt x="80323" y="1381017"/>
                  </a:lnTo>
                  <a:lnTo>
                    <a:pt x="86884" y="1380463"/>
                  </a:lnTo>
                  <a:lnTo>
                    <a:pt x="87703" y="1380574"/>
                  </a:lnTo>
                  <a:lnTo>
                    <a:pt x="96381" y="1384050"/>
                  </a:lnTo>
                  <a:lnTo>
                    <a:pt x="102209" y="1384541"/>
                  </a:lnTo>
                  <a:lnTo>
                    <a:pt x="106379" y="1378814"/>
                  </a:lnTo>
                  <a:lnTo>
                    <a:pt x="107521" y="1378115"/>
                  </a:lnTo>
                  <a:lnTo>
                    <a:pt x="114082" y="1376905"/>
                  </a:lnTo>
                  <a:lnTo>
                    <a:pt x="115606" y="1377339"/>
                  </a:lnTo>
                  <a:lnTo>
                    <a:pt x="121578" y="1382700"/>
                  </a:lnTo>
                  <a:cubicBezTo>
                    <a:pt x="122224" y="1383273"/>
                    <a:pt x="122350" y="1384252"/>
                    <a:pt x="121906" y="1384999"/>
                  </a:cubicBezTo>
                  <a:cubicBezTo>
                    <a:pt x="121453" y="1385732"/>
                    <a:pt x="120547" y="1386060"/>
                    <a:pt x="119727" y="1385766"/>
                  </a:cubicBezTo>
                  <a:lnTo>
                    <a:pt x="113581" y="1383548"/>
                  </a:lnTo>
                  <a:lnTo>
                    <a:pt x="108876" y="1383987"/>
                  </a:lnTo>
                  <a:lnTo>
                    <a:pt x="104609" y="1390418"/>
                  </a:lnTo>
                  <a:lnTo>
                    <a:pt x="103096" y="1391237"/>
                  </a:lnTo>
                  <a:lnTo>
                    <a:pt x="96515" y="1391237"/>
                  </a:lnTo>
                  <a:lnTo>
                    <a:pt x="95445" y="1390871"/>
                  </a:lnTo>
                  <a:lnTo>
                    <a:pt x="89024" y="1386055"/>
                  </a:lnTo>
                  <a:lnTo>
                    <a:pt x="83331" y="1387593"/>
                  </a:lnTo>
                  <a:lnTo>
                    <a:pt x="82849" y="1387641"/>
                  </a:lnTo>
                  <a:lnTo>
                    <a:pt x="78640" y="1387641"/>
                  </a:lnTo>
                  <a:lnTo>
                    <a:pt x="79855" y="1392549"/>
                  </a:lnTo>
                  <a:cubicBezTo>
                    <a:pt x="80062" y="1393411"/>
                    <a:pt x="79595" y="1394356"/>
                    <a:pt x="78746" y="1394674"/>
                  </a:cubicBezTo>
                  <a:cubicBezTo>
                    <a:pt x="77883" y="1395002"/>
                    <a:pt x="76914" y="1394650"/>
                    <a:pt x="76476" y="1393850"/>
                  </a:cubicBezTo>
                  <a:lnTo>
                    <a:pt x="74152" y="1389550"/>
                  </a:lnTo>
                  <a:lnTo>
                    <a:pt x="69920" y="1394217"/>
                  </a:lnTo>
                  <a:lnTo>
                    <a:pt x="64549" y="1400146"/>
                  </a:lnTo>
                  <a:cubicBezTo>
                    <a:pt x="63937" y="1400850"/>
                    <a:pt x="62877" y="1400941"/>
                    <a:pt x="62115" y="1400392"/>
                  </a:cubicBezTo>
                  <a:cubicBezTo>
                    <a:pt x="61368" y="1399818"/>
                    <a:pt x="61160" y="1398816"/>
                    <a:pt x="61676" y="1398010"/>
                  </a:cubicBezTo>
                  <a:lnTo>
                    <a:pt x="65089" y="1392274"/>
                  </a:lnTo>
                  <a:lnTo>
                    <a:pt x="66526" y="1387058"/>
                  </a:lnTo>
                  <a:lnTo>
                    <a:pt x="62202" y="1383167"/>
                  </a:lnTo>
                  <a:lnTo>
                    <a:pt x="56701" y="1385163"/>
                  </a:lnTo>
                  <a:lnTo>
                    <a:pt x="56547" y="1385187"/>
                  </a:lnTo>
                  <a:lnTo>
                    <a:pt x="50000" y="1386995"/>
                  </a:lnTo>
                  <a:lnTo>
                    <a:pt x="48111" y="1386388"/>
                  </a:lnTo>
                  <a:lnTo>
                    <a:pt x="47913" y="1384373"/>
                  </a:lnTo>
                  <a:lnTo>
                    <a:pt x="50656" y="1379364"/>
                  </a:lnTo>
                  <a:lnTo>
                    <a:pt x="46641" y="1376973"/>
                  </a:lnTo>
                  <a:lnTo>
                    <a:pt x="41198" y="1376973"/>
                  </a:lnTo>
                  <a:lnTo>
                    <a:pt x="40489" y="1376794"/>
                  </a:lnTo>
                  <a:lnTo>
                    <a:pt x="34198" y="1374196"/>
                  </a:lnTo>
                  <a:lnTo>
                    <a:pt x="29739" y="1376857"/>
                  </a:lnTo>
                  <a:lnTo>
                    <a:pt x="28703" y="1382589"/>
                  </a:lnTo>
                  <a:lnTo>
                    <a:pt x="27391" y="1384011"/>
                  </a:lnTo>
                  <a:lnTo>
                    <a:pt x="21144" y="1385732"/>
                  </a:lnTo>
                  <a:lnTo>
                    <a:pt x="17846" y="1388142"/>
                  </a:lnTo>
                  <a:lnTo>
                    <a:pt x="20295" y="1388856"/>
                  </a:lnTo>
                  <a:cubicBezTo>
                    <a:pt x="21071" y="1389092"/>
                    <a:pt x="21587" y="1389801"/>
                    <a:pt x="21587" y="1390606"/>
                  </a:cubicBezTo>
                  <a:lnTo>
                    <a:pt x="21587" y="1397167"/>
                  </a:lnTo>
                  <a:lnTo>
                    <a:pt x="20777" y="1398637"/>
                  </a:lnTo>
                  <a:lnTo>
                    <a:pt x="19090" y="1398840"/>
                  </a:lnTo>
                  <a:lnTo>
                    <a:pt x="13228" y="1396482"/>
                  </a:lnTo>
                  <a:lnTo>
                    <a:pt x="8287" y="1395152"/>
                  </a:lnTo>
                  <a:lnTo>
                    <a:pt x="6171" y="1399823"/>
                  </a:lnTo>
                  <a:lnTo>
                    <a:pt x="6604" y="1404340"/>
                  </a:lnTo>
                  <a:lnTo>
                    <a:pt x="11975" y="1407266"/>
                  </a:lnTo>
                  <a:lnTo>
                    <a:pt x="18150" y="1407849"/>
                  </a:lnTo>
                  <a:lnTo>
                    <a:pt x="18169" y="1407849"/>
                  </a:lnTo>
                  <a:lnTo>
                    <a:pt x="23940" y="1408414"/>
                  </a:lnTo>
                  <a:lnTo>
                    <a:pt x="30915" y="1407849"/>
                  </a:lnTo>
                  <a:cubicBezTo>
                    <a:pt x="31860" y="1407758"/>
                    <a:pt x="32709" y="1408414"/>
                    <a:pt x="32868" y="1409339"/>
                  </a:cubicBezTo>
                  <a:cubicBezTo>
                    <a:pt x="33012" y="1410265"/>
                    <a:pt x="32429" y="1411166"/>
                    <a:pt x="31508" y="1411417"/>
                  </a:cubicBezTo>
                  <a:lnTo>
                    <a:pt x="26201" y="1412728"/>
                  </a:lnTo>
                  <a:lnTo>
                    <a:pt x="31446" y="1417023"/>
                  </a:lnTo>
                  <a:lnTo>
                    <a:pt x="31614" y="1417158"/>
                  </a:lnTo>
                  <a:lnTo>
                    <a:pt x="31614" y="1417158"/>
                  </a:lnTo>
                  <a:lnTo>
                    <a:pt x="31639" y="1417158"/>
                  </a:lnTo>
                  <a:cubicBezTo>
                    <a:pt x="32386" y="1417790"/>
                    <a:pt x="32535" y="1418932"/>
                    <a:pt x="31894" y="1419694"/>
                  </a:cubicBezTo>
                  <a:cubicBezTo>
                    <a:pt x="31272" y="1420480"/>
                    <a:pt x="30120" y="1420600"/>
                    <a:pt x="29354" y="1420002"/>
                  </a:cubicBezTo>
                  <a:lnTo>
                    <a:pt x="24123" y="1415842"/>
                  </a:lnTo>
                  <a:lnTo>
                    <a:pt x="23019" y="1416175"/>
                  </a:lnTo>
                  <a:lnTo>
                    <a:pt x="23270" y="1416223"/>
                  </a:lnTo>
                  <a:lnTo>
                    <a:pt x="23708" y="1416440"/>
                  </a:lnTo>
                  <a:lnTo>
                    <a:pt x="30289" y="1420595"/>
                  </a:lnTo>
                  <a:cubicBezTo>
                    <a:pt x="30939" y="1421039"/>
                    <a:pt x="31258" y="1421859"/>
                    <a:pt x="31021" y="1422649"/>
                  </a:cubicBezTo>
                  <a:cubicBezTo>
                    <a:pt x="30800" y="1423425"/>
                    <a:pt x="30096" y="1423970"/>
                    <a:pt x="29305" y="1423970"/>
                  </a:cubicBezTo>
                  <a:lnTo>
                    <a:pt x="22749" y="1423970"/>
                  </a:lnTo>
                  <a:lnTo>
                    <a:pt x="22272" y="1423888"/>
                  </a:lnTo>
                  <a:lnTo>
                    <a:pt x="18994" y="1423015"/>
                  </a:lnTo>
                  <a:lnTo>
                    <a:pt x="20059" y="1426149"/>
                  </a:lnTo>
                  <a:lnTo>
                    <a:pt x="25887" y="1428805"/>
                  </a:lnTo>
                  <a:lnTo>
                    <a:pt x="31397" y="1431341"/>
                  </a:lnTo>
                  <a:lnTo>
                    <a:pt x="31614" y="1431432"/>
                  </a:lnTo>
                  <a:lnTo>
                    <a:pt x="31725" y="1431505"/>
                  </a:lnTo>
                  <a:lnTo>
                    <a:pt x="33345" y="1432252"/>
                  </a:lnTo>
                  <a:lnTo>
                    <a:pt x="39004" y="1432777"/>
                  </a:lnTo>
                  <a:lnTo>
                    <a:pt x="45064" y="1429461"/>
                  </a:lnTo>
                  <a:lnTo>
                    <a:pt x="45430" y="1429316"/>
                  </a:lnTo>
                  <a:lnTo>
                    <a:pt x="51384" y="1427513"/>
                  </a:lnTo>
                  <a:lnTo>
                    <a:pt x="53370" y="1428202"/>
                  </a:lnTo>
                  <a:lnTo>
                    <a:pt x="58119" y="1434735"/>
                  </a:lnTo>
                  <a:lnTo>
                    <a:pt x="57969" y="1437082"/>
                  </a:lnTo>
                  <a:lnTo>
                    <a:pt x="55665" y="1437338"/>
                  </a:lnTo>
                  <a:lnTo>
                    <a:pt x="49538" y="1433264"/>
                  </a:lnTo>
                  <a:lnTo>
                    <a:pt x="44616" y="1436701"/>
                  </a:lnTo>
                  <a:lnTo>
                    <a:pt x="44153" y="1436938"/>
                  </a:lnTo>
                  <a:lnTo>
                    <a:pt x="36999" y="1439329"/>
                  </a:lnTo>
                  <a:lnTo>
                    <a:pt x="35268" y="1439025"/>
                  </a:lnTo>
                  <a:lnTo>
                    <a:pt x="29917" y="1434735"/>
                  </a:lnTo>
                  <a:lnTo>
                    <a:pt x="24788" y="1435246"/>
                  </a:lnTo>
                  <a:lnTo>
                    <a:pt x="17702" y="1436427"/>
                  </a:lnTo>
                  <a:lnTo>
                    <a:pt x="17239" y="1436427"/>
                  </a:lnTo>
                  <a:lnTo>
                    <a:pt x="10794" y="1435901"/>
                  </a:lnTo>
                  <a:lnTo>
                    <a:pt x="9863" y="1436615"/>
                  </a:lnTo>
                  <a:cubicBezTo>
                    <a:pt x="10133" y="1436754"/>
                    <a:pt x="10408" y="1436918"/>
                    <a:pt x="10567" y="1437203"/>
                  </a:cubicBezTo>
                  <a:lnTo>
                    <a:pt x="10490" y="1439329"/>
                  </a:lnTo>
                  <a:lnTo>
                    <a:pt x="6412" y="1444540"/>
                  </a:lnTo>
                  <a:lnTo>
                    <a:pt x="7930" y="1448811"/>
                  </a:lnTo>
                  <a:cubicBezTo>
                    <a:pt x="10639" y="1448180"/>
                    <a:pt x="13021" y="1447519"/>
                    <a:pt x="15306" y="1446892"/>
                  </a:cubicBezTo>
                  <a:lnTo>
                    <a:pt x="16236" y="1446541"/>
                  </a:lnTo>
                  <a:lnTo>
                    <a:pt x="16588" y="1446541"/>
                  </a:lnTo>
                  <a:cubicBezTo>
                    <a:pt x="24350" y="1444342"/>
                    <a:pt x="30727" y="1442592"/>
                    <a:pt x="41955" y="1444164"/>
                  </a:cubicBezTo>
                  <a:cubicBezTo>
                    <a:pt x="42919" y="1444241"/>
                    <a:pt x="43628" y="1445003"/>
                    <a:pt x="43647" y="1445962"/>
                  </a:cubicBezTo>
                  <a:cubicBezTo>
                    <a:pt x="43647" y="1446921"/>
                    <a:pt x="42919" y="1447702"/>
                    <a:pt x="41974" y="1447794"/>
                  </a:cubicBezTo>
                  <a:lnTo>
                    <a:pt x="35437" y="1448382"/>
                  </a:lnTo>
                  <a:lnTo>
                    <a:pt x="35452" y="1448382"/>
                  </a:lnTo>
                  <a:lnTo>
                    <a:pt x="29580" y="1448965"/>
                  </a:lnTo>
                  <a:lnTo>
                    <a:pt x="23111" y="1450151"/>
                  </a:lnTo>
                  <a:lnTo>
                    <a:pt x="22788" y="1450175"/>
                  </a:lnTo>
                  <a:lnTo>
                    <a:pt x="18328" y="1450175"/>
                  </a:lnTo>
                  <a:cubicBezTo>
                    <a:pt x="17576" y="1450445"/>
                    <a:pt x="16805" y="1450691"/>
                    <a:pt x="16067" y="1450942"/>
                  </a:cubicBezTo>
                  <a:lnTo>
                    <a:pt x="11493" y="1455078"/>
                  </a:lnTo>
                  <a:lnTo>
                    <a:pt x="10760" y="1455478"/>
                  </a:lnTo>
                  <a:lnTo>
                    <a:pt x="5284" y="1456958"/>
                  </a:lnTo>
                  <a:lnTo>
                    <a:pt x="4609" y="1460434"/>
                  </a:lnTo>
                  <a:lnTo>
                    <a:pt x="10442" y="1463365"/>
                  </a:lnTo>
                  <a:lnTo>
                    <a:pt x="16323" y="1465703"/>
                  </a:lnTo>
                  <a:cubicBezTo>
                    <a:pt x="17085" y="1466040"/>
                    <a:pt x="17552" y="1466836"/>
                    <a:pt x="17451" y="1467655"/>
                  </a:cubicBezTo>
                  <a:cubicBezTo>
                    <a:pt x="17321" y="1468494"/>
                    <a:pt x="16637" y="1469130"/>
                    <a:pt x="15826" y="1469203"/>
                  </a:cubicBezTo>
                  <a:lnTo>
                    <a:pt x="11339" y="1469641"/>
                  </a:lnTo>
                  <a:lnTo>
                    <a:pt x="11088" y="1472307"/>
                  </a:lnTo>
                  <a:lnTo>
                    <a:pt x="15798" y="1472741"/>
                  </a:lnTo>
                  <a:lnTo>
                    <a:pt x="17046" y="1473392"/>
                  </a:lnTo>
                  <a:lnTo>
                    <a:pt x="17451" y="1474708"/>
                  </a:lnTo>
                  <a:lnTo>
                    <a:pt x="17133" y="1477991"/>
                  </a:lnTo>
                  <a:lnTo>
                    <a:pt x="20479" y="1476978"/>
                  </a:lnTo>
                  <a:cubicBezTo>
                    <a:pt x="21264" y="1476723"/>
                    <a:pt x="22089" y="1477022"/>
                    <a:pt x="22513" y="1477711"/>
                  </a:cubicBezTo>
                  <a:lnTo>
                    <a:pt x="26336" y="1483727"/>
                  </a:lnTo>
                  <a:lnTo>
                    <a:pt x="26837" y="1483896"/>
                  </a:lnTo>
                  <a:lnTo>
                    <a:pt x="32598" y="1481269"/>
                  </a:lnTo>
                  <a:lnTo>
                    <a:pt x="39617" y="1476617"/>
                  </a:lnTo>
                  <a:lnTo>
                    <a:pt x="40615" y="1476284"/>
                  </a:lnTo>
                  <a:lnTo>
                    <a:pt x="46047" y="1476284"/>
                  </a:lnTo>
                  <a:lnTo>
                    <a:pt x="52165" y="1472442"/>
                  </a:lnTo>
                  <a:lnTo>
                    <a:pt x="53597" y="1472196"/>
                  </a:lnTo>
                  <a:lnTo>
                    <a:pt x="59565" y="1473802"/>
                  </a:lnTo>
                  <a:lnTo>
                    <a:pt x="64969" y="1471666"/>
                  </a:lnTo>
                  <a:lnTo>
                    <a:pt x="66511" y="1471758"/>
                  </a:lnTo>
                  <a:lnTo>
                    <a:pt x="72296" y="1474906"/>
                  </a:lnTo>
                  <a:lnTo>
                    <a:pt x="78626" y="1472273"/>
                  </a:lnTo>
                  <a:cubicBezTo>
                    <a:pt x="79402" y="1471946"/>
                    <a:pt x="80308" y="1472196"/>
                    <a:pt x="80800" y="1472886"/>
                  </a:cubicBezTo>
                  <a:lnTo>
                    <a:pt x="85302" y="1479085"/>
                  </a:lnTo>
                  <a:lnTo>
                    <a:pt x="90200" y="1481524"/>
                  </a:lnTo>
                  <a:lnTo>
                    <a:pt x="94814" y="1480150"/>
                  </a:lnTo>
                  <a:lnTo>
                    <a:pt x="98429" y="1474457"/>
                  </a:lnTo>
                  <a:lnTo>
                    <a:pt x="98950" y="1471261"/>
                  </a:lnTo>
                  <a:lnTo>
                    <a:pt x="98950" y="1471208"/>
                  </a:lnTo>
                  <a:lnTo>
                    <a:pt x="100150" y="1465356"/>
                  </a:lnTo>
                  <a:lnTo>
                    <a:pt x="100739" y="1459470"/>
                  </a:lnTo>
                  <a:lnTo>
                    <a:pt x="101452" y="1458216"/>
                  </a:lnTo>
                  <a:lnTo>
                    <a:pt x="102884" y="1457888"/>
                  </a:lnTo>
                  <a:lnTo>
                    <a:pt x="107757" y="1458771"/>
                  </a:lnTo>
                  <a:lnTo>
                    <a:pt x="109122" y="1453844"/>
                  </a:lnTo>
                  <a:lnTo>
                    <a:pt x="109223" y="1453574"/>
                  </a:lnTo>
                  <a:lnTo>
                    <a:pt x="112202" y="1447008"/>
                  </a:lnTo>
                  <a:cubicBezTo>
                    <a:pt x="112544" y="1446256"/>
                    <a:pt x="113427" y="1445808"/>
                    <a:pt x="114251" y="1446001"/>
                  </a:cubicBezTo>
                  <a:cubicBezTo>
                    <a:pt x="115094" y="1446198"/>
                    <a:pt x="115673" y="1446926"/>
                    <a:pt x="115673" y="1447765"/>
                  </a:cubicBezTo>
                  <a:lnTo>
                    <a:pt x="115673" y="1454914"/>
                  </a:lnTo>
                  <a:lnTo>
                    <a:pt x="115466" y="1455743"/>
                  </a:lnTo>
                  <a:lnTo>
                    <a:pt x="111898" y="1462873"/>
                  </a:lnTo>
                  <a:lnTo>
                    <a:pt x="111648" y="1463259"/>
                  </a:lnTo>
                  <a:lnTo>
                    <a:pt x="106750" y="1468701"/>
                  </a:lnTo>
                  <a:lnTo>
                    <a:pt x="106750" y="1469405"/>
                  </a:lnTo>
                  <a:lnTo>
                    <a:pt x="107627" y="1469984"/>
                  </a:lnTo>
                  <a:lnTo>
                    <a:pt x="114193" y="1473295"/>
                  </a:lnTo>
                  <a:lnTo>
                    <a:pt x="120238" y="1472755"/>
                  </a:lnTo>
                  <a:lnTo>
                    <a:pt x="121154" y="1472900"/>
                  </a:lnTo>
                  <a:lnTo>
                    <a:pt x="126848" y="1475489"/>
                  </a:lnTo>
                  <a:lnTo>
                    <a:pt x="132854" y="1471984"/>
                  </a:lnTo>
                  <a:lnTo>
                    <a:pt x="136209" y="1467539"/>
                  </a:lnTo>
                  <a:lnTo>
                    <a:pt x="137670" y="1466797"/>
                  </a:lnTo>
                  <a:lnTo>
                    <a:pt x="139449" y="1466797"/>
                  </a:lnTo>
                  <a:lnTo>
                    <a:pt x="141093" y="1467809"/>
                  </a:lnTo>
                  <a:lnTo>
                    <a:pt x="140856" y="1469738"/>
                  </a:lnTo>
                  <a:lnTo>
                    <a:pt x="136103" y="1475672"/>
                  </a:lnTo>
                  <a:lnTo>
                    <a:pt x="135824" y="1475971"/>
                  </a:lnTo>
                  <a:lnTo>
                    <a:pt x="130309" y="1480377"/>
                  </a:lnTo>
                  <a:lnTo>
                    <a:pt x="129913" y="1481761"/>
                  </a:lnTo>
                  <a:lnTo>
                    <a:pt x="132088" y="1480657"/>
                  </a:lnTo>
                  <a:lnTo>
                    <a:pt x="132893" y="1480464"/>
                  </a:lnTo>
                  <a:lnTo>
                    <a:pt x="138865" y="1480464"/>
                  </a:lnTo>
                  <a:lnTo>
                    <a:pt x="144351" y="1476631"/>
                  </a:lnTo>
                  <a:lnTo>
                    <a:pt x="145918" y="1476385"/>
                  </a:lnTo>
                  <a:lnTo>
                    <a:pt x="150083" y="1477658"/>
                  </a:lnTo>
                  <a:lnTo>
                    <a:pt x="151274" y="1473247"/>
                  </a:lnTo>
                  <a:lnTo>
                    <a:pt x="150194" y="1466103"/>
                  </a:lnTo>
                  <a:lnTo>
                    <a:pt x="147861" y="1460362"/>
                  </a:lnTo>
                  <a:lnTo>
                    <a:pt x="148049" y="1458693"/>
                  </a:lnTo>
                  <a:lnTo>
                    <a:pt x="152190" y="1452152"/>
                  </a:lnTo>
                  <a:lnTo>
                    <a:pt x="152397" y="1451916"/>
                  </a:lnTo>
                  <a:lnTo>
                    <a:pt x="158351" y="1445350"/>
                  </a:lnTo>
                  <a:lnTo>
                    <a:pt x="165476" y="1437641"/>
                  </a:lnTo>
                  <a:cubicBezTo>
                    <a:pt x="166126" y="1436928"/>
                    <a:pt x="167163" y="1436836"/>
                    <a:pt x="167901" y="1437396"/>
                  </a:cubicBezTo>
                  <a:cubicBezTo>
                    <a:pt x="168662" y="1437960"/>
                    <a:pt x="168850" y="1439006"/>
                    <a:pt x="168363" y="1439796"/>
                  </a:cubicBezTo>
                  <a:lnTo>
                    <a:pt x="164791" y="1445740"/>
                  </a:lnTo>
                  <a:lnTo>
                    <a:pt x="164700" y="1445933"/>
                  </a:lnTo>
                  <a:lnTo>
                    <a:pt x="158857" y="1453482"/>
                  </a:lnTo>
                  <a:lnTo>
                    <a:pt x="156162" y="1459417"/>
                  </a:lnTo>
                  <a:lnTo>
                    <a:pt x="156702" y="1465394"/>
                  </a:lnTo>
                  <a:lnTo>
                    <a:pt x="157743" y="1471550"/>
                  </a:lnTo>
                  <a:lnTo>
                    <a:pt x="169559" y="1471550"/>
                  </a:lnTo>
                  <a:lnTo>
                    <a:pt x="175845" y="1469824"/>
                  </a:lnTo>
                  <a:cubicBezTo>
                    <a:pt x="176746" y="1469583"/>
                    <a:pt x="177696" y="1470080"/>
                    <a:pt x="178053" y="1470924"/>
                  </a:cubicBezTo>
                  <a:cubicBezTo>
                    <a:pt x="178352" y="1471796"/>
                    <a:pt x="177985" y="1472784"/>
                    <a:pt x="177147" y="1473209"/>
                  </a:cubicBezTo>
                  <a:lnTo>
                    <a:pt x="170012" y="1476781"/>
                  </a:lnTo>
                  <a:lnTo>
                    <a:pt x="169559" y="1476935"/>
                  </a:lnTo>
                  <a:lnTo>
                    <a:pt x="163895" y="1478053"/>
                  </a:lnTo>
                  <a:lnTo>
                    <a:pt x="158447" y="1481254"/>
                  </a:lnTo>
                  <a:lnTo>
                    <a:pt x="160723" y="1486316"/>
                  </a:lnTo>
                  <a:lnTo>
                    <a:pt x="160327" y="1488365"/>
                  </a:lnTo>
                  <a:lnTo>
                    <a:pt x="158269" y="1488664"/>
                  </a:lnTo>
                  <a:lnTo>
                    <a:pt x="152339" y="1485742"/>
                  </a:lnTo>
                  <a:lnTo>
                    <a:pt x="146622" y="1483106"/>
                  </a:lnTo>
                  <a:lnTo>
                    <a:pt x="146304" y="1483236"/>
                  </a:lnTo>
                  <a:lnTo>
                    <a:pt x="140481" y="1487338"/>
                  </a:lnTo>
                  <a:lnTo>
                    <a:pt x="140326" y="1487420"/>
                  </a:lnTo>
                  <a:lnTo>
                    <a:pt x="134223" y="1491016"/>
                  </a:lnTo>
                  <a:lnTo>
                    <a:pt x="134666" y="1495606"/>
                  </a:lnTo>
                  <a:lnTo>
                    <a:pt x="136831" y="1502032"/>
                  </a:lnTo>
                  <a:lnTo>
                    <a:pt x="142949" y="1507069"/>
                  </a:lnTo>
                  <a:cubicBezTo>
                    <a:pt x="143628" y="1507609"/>
                    <a:pt x="143812" y="1508593"/>
                    <a:pt x="143402" y="1509335"/>
                  </a:cubicBezTo>
                  <a:lnTo>
                    <a:pt x="139815" y="1515872"/>
                  </a:lnTo>
                  <a:cubicBezTo>
                    <a:pt x="139425" y="1516629"/>
                    <a:pt x="138523" y="1516995"/>
                    <a:pt x="137713" y="1516744"/>
                  </a:cubicBezTo>
                  <a:cubicBezTo>
                    <a:pt x="136894" y="1516499"/>
                    <a:pt x="136320" y="1515708"/>
                    <a:pt x="136431" y="1514860"/>
                  </a:cubicBezTo>
                  <a:lnTo>
                    <a:pt x="136932" y="1509258"/>
                  </a:lnTo>
                  <a:lnTo>
                    <a:pt x="132131" y="1505310"/>
                  </a:lnTo>
                  <a:lnTo>
                    <a:pt x="127493" y="1508096"/>
                  </a:lnTo>
                  <a:lnTo>
                    <a:pt x="121728" y="1514445"/>
                  </a:lnTo>
                  <a:cubicBezTo>
                    <a:pt x="121106" y="1515149"/>
                    <a:pt x="120026" y="1515236"/>
                    <a:pt x="119288" y="1514662"/>
                  </a:cubicBezTo>
                  <a:cubicBezTo>
                    <a:pt x="118537" y="1514117"/>
                    <a:pt x="118329" y="1513057"/>
                    <a:pt x="118859" y="1512232"/>
                  </a:cubicBezTo>
                  <a:lnTo>
                    <a:pt x="123005" y="1505686"/>
                  </a:lnTo>
                  <a:lnTo>
                    <a:pt x="123333" y="1505310"/>
                  </a:lnTo>
                  <a:lnTo>
                    <a:pt x="128607" y="1500585"/>
                  </a:lnTo>
                  <a:lnTo>
                    <a:pt x="128120" y="1495707"/>
                  </a:lnTo>
                  <a:lnTo>
                    <a:pt x="126621" y="1490269"/>
                  </a:lnTo>
                  <a:lnTo>
                    <a:pt x="121622" y="1488789"/>
                  </a:lnTo>
                  <a:lnTo>
                    <a:pt x="120537" y="1487854"/>
                  </a:lnTo>
                  <a:lnTo>
                    <a:pt x="117466" y="1481746"/>
                  </a:lnTo>
                  <a:lnTo>
                    <a:pt x="112024" y="1481746"/>
                  </a:lnTo>
                  <a:lnTo>
                    <a:pt x="111879" y="1481717"/>
                  </a:lnTo>
                  <a:lnTo>
                    <a:pt x="106234" y="1481216"/>
                  </a:lnTo>
                  <a:lnTo>
                    <a:pt x="100874" y="1487063"/>
                  </a:lnTo>
                  <a:lnTo>
                    <a:pt x="100357" y="1487483"/>
                  </a:lnTo>
                  <a:lnTo>
                    <a:pt x="94877" y="1490240"/>
                  </a:lnTo>
                  <a:lnTo>
                    <a:pt x="90967" y="1496343"/>
                  </a:lnTo>
                  <a:cubicBezTo>
                    <a:pt x="90514" y="1497052"/>
                    <a:pt x="89646" y="1497356"/>
                    <a:pt x="88855" y="1497071"/>
                  </a:cubicBezTo>
                  <a:cubicBezTo>
                    <a:pt x="88065" y="1496840"/>
                    <a:pt x="87539" y="1496011"/>
                    <a:pt x="87631" y="1495186"/>
                  </a:cubicBezTo>
                  <a:lnTo>
                    <a:pt x="87920" y="1492212"/>
                  </a:lnTo>
                  <a:lnTo>
                    <a:pt x="84743" y="1493499"/>
                  </a:lnTo>
                  <a:lnTo>
                    <a:pt x="82998" y="1493253"/>
                  </a:lnTo>
                  <a:lnTo>
                    <a:pt x="82256" y="1491638"/>
                  </a:lnTo>
                  <a:lnTo>
                    <a:pt x="82724" y="1486716"/>
                  </a:lnTo>
                  <a:lnTo>
                    <a:pt x="72590" y="1484701"/>
                  </a:lnTo>
                  <a:lnTo>
                    <a:pt x="69206" y="1484701"/>
                  </a:lnTo>
                  <a:lnTo>
                    <a:pt x="68666" y="1484638"/>
                  </a:lnTo>
                  <a:lnTo>
                    <a:pt x="63060" y="1482951"/>
                  </a:lnTo>
                  <a:lnTo>
                    <a:pt x="57150" y="1483433"/>
                  </a:lnTo>
                  <a:lnTo>
                    <a:pt x="53466" y="1489204"/>
                  </a:lnTo>
                  <a:cubicBezTo>
                    <a:pt x="53028" y="1489912"/>
                    <a:pt x="52160" y="1490245"/>
                    <a:pt x="51331" y="1489946"/>
                  </a:cubicBezTo>
                  <a:cubicBezTo>
                    <a:pt x="50545" y="1489700"/>
                    <a:pt x="50039" y="1488905"/>
                    <a:pt x="50126" y="1488056"/>
                  </a:cubicBezTo>
                  <a:lnTo>
                    <a:pt x="50444" y="1484465"/>
                  </a:lnTo>
                  <a:lnTo>
                    <a:pt x="47301" y="1485728"/>
                  </a:lnTo>
                  <a:lnTo>
                    <a:pt x="40783" y="1488673"/>
                  </a:lnTo>
                  <a:lnTo>
                    <a:pt x="40407" y="1488818"/>
                  </a:lnTo>
                  <a:lnTo>
                    <a:pt x="34873" y="1489941"/>
                  </a:lnTo>
                  <a:lnTo>
                    <a:pt x="29276" y="1494391"/>
                  </a:lnTo>
                  <a:lnTo>
                    <a:pt x="27801" y="1494781"/>
                  </a:lnTo>
                  <a:lnTo>
                    <a:pt x="21269" y="1493600"/>
                  </a:lnTo>
                  <a:lnTo>
                    <a:pt x="20421" y="1493200"/>
                  </a:lnTo>
                  <a:lnTo>
                    <a:pt x="14101" y="1488032"/>
                  </a:lnTo>
                  <a:lnTo>
                    <a:pt x="9010" y="1485993"/>
                  </a:lnTo>
                  <a:lnTo>
                    <a:pt x="4484" y="1487333"/>
                  </a:lnTo>
                  <a:lnTo>
                    <a:pt x="2709" y="1491792"/>
                  </a:lnTo>
                  <a:lnTo>
                    <a:pt x="4932" y="1497119"/>
                  </a:lnTo>
                  <a:lnTo>
                    <a:pt x="10731" y="1497119"/>
                  </a:lnTo>
                  <a:lnTo>
                    <a:pt x="17109" y="1495953"/>
                  </a:lnTo>
                  <a:cubicBezTo>
                    <a:pt x="18044" y="1495779"/>
                    <a:pt x="18994" y="1496382"/>
                    <a:pt x="19191" y="1497346"/>
                  </a:cubicBezTo>
                  <a:cubicBezTo>
                    <a:pt x="19418" y="1498276"/>
                    <a:pt x="18830" y="1499231"/>
                    <a:pt x="17880" y="1499501"/>
                  </a:cubicBezTo>
                  <a:lnTo>
                    <a:pt x="11353" y="1501280"/>
                  </a:lnTo>
                  <a:lnTo>
                    <a:pt x="11339" y="1501280"/>
                  </a:lnTo>
                  <a:lnTo>
                    <a:pt x="9931" y="1501631"/>
                  </a:lnTo>
                  <a:lnTo>
                    <a:pt x="8441" y="1506592"/>
                  </a:lnTo>
                  <a:lnTo>
                    <a:pt x="8422" y="1506703"/>
                  </a:lnTo>
                  <a:lnTo>
                    <a:pt x="6624" y="1511495"/>
                  </a:lnTo>
                  <a:cubicBezTo>
                    <a:pt x="6291" y="1512391"/>
                    <a:pt x="5332" y="1512864"/>
                    <a:pt x="4382" y="1512589"/>
                  </a:cubicBezTo>
                  <a:cubicBezTo>
                    <a:pt x="4199" y="1512531"/>
                    <a:pt x="4078" y="1512348"/>
                    <a:pt x="3943" y="1512218"/>
                  </a:cubicBezTo>
                  <a:lnTo>
                    <a:pt x="4575" y="1514503"/>
                  </a:lnTo>
                  <a:lnTo>
                    <a:pt x="9859" y="1515004"/>
                  </a:lnTo>
                  <a:lnTo>
                    <a:pt x="10519" y="1515197"/>
                  </a:lnTo>
                  <a:lnTo>
                    <a:pt x="15725" y="1517791"/>
                  </a:lnTo>
                  <a:lnTo>
                    <a:pt x="17321" y="1517173"/>
                  </a:lnTo>
                  <a:lnTo>
                    <a:pt x="19963" y="1511827"/>
                  </a:lnTo>
                  <a:lnTo>
                    <a:pt x="21414" y="1510810"/>
                  </a:lnTo>
                  <a:lnTo>
                    <a:pt x="27367" y="1510256"/>
                  </a:lnTo>
                  <a:lnTo>
                    <a:pt x="28225" y="1510352"/>
                  </a:lnTo>
                  <a:lnTo>
                    <a:pt x="34169" y="1512729"/>
                  </a:lnTo>
                  <a:cubicBezTo>
                    <a:pt x="34989" y="1513090"/>
                    <a:pt x="35481" y="1513977"/>
                    <a:pt x="35259" y="1514869"/>
                  </a:cubicBezTo>
                  <a:cubicBezTo>
                    <a:pt x="35037" y="1515747"/>
                    <a:pt x="34242" y="1516320"/>
                    <a:pt x="33340" y="1516229"/>
                  </a:cubicBezTo>
                  <a:lnTo>
                    <a:pt x="27126" y="1515655"/>
                  </a:lnTo>
                  <a:lnTo>
                    <a:pt x="22315" y="1517101"/>
                  </a:lnTo>
                  <a:lnTo>
                    <a:pt x="19741" y="1522790"/>
                  </a:lnTo>
                  <a:lnTo>
                    <a:pt x="18492" y="1526906"/>
                  </a:lnTo>
                  <a:lnTo>
                    <a:pt x="22710" y="1528155"/>
                  </a:lnTo>
                  <a:lnTo>
                    <a:pt x="24002" y="1529741"/>
                  </a:lnTo>
                  <a:lnTo>
                    <a:pt x="24605" y="1536288"/>
                  </a:lnTo>
                  <a:lnTo>
                    <a:pt x="24518" y="1536967"/>
                  </a:lnTo>
                  <a:lnTo>
                    <a:pt x="22725" y="1542897"/>
                  </a:lnTo>
                  <a:cubicBezTo>
                    <a:pt x="22508" y="1543716"/>
                    <a:pt x="21790" y="1544237"/>
                    <a:pt x="20970" y="1544213"/>
                  </a:cubicBezTo>
                  <a:cubicBezTo>
                    <a:pt x="20151" y="1544213"/>
                    <a:pt x="19447" y="1543673"/>
                    <a:pt x="19249" y="1542877"/>
                  </a:cubicBezTo>
                  <a:lnTo>
                    <a:pt x="17562" y="1536750"/>
                  </a:lnTo>
                  <a:lnTo>
                    <a:pt x="12081" y="1530710"/>
                  </a:lnTo>
                  <a:lnTo>
                    <a:pt x="5148" y="1526082"/>
                  </a:lnTo>
                  <a:lnTo>
                    <a:pt x="0" y="1523026"/>
                  </a:lnTo>
                  <a:lnTo>
                    <a:pt x="1441" y="1524448"/>
                  </a:lnTo>
                  <a:lnTo>
                    <a:pt x="1644" y="1524689"/>
                  </a:lnTo>
                  <a:lnTo>
                    <a:pt x="5819" y="1530652"/>
                  </a:lnTo>
                  <a:lnTo>
                    <a:pt x="5862" y="1530710"/>
                  </a:lnTo>
                  <a:lnTo>
                    <a:pt x="10042" y="1537266"/>
                  </a:lnTo>
                  <a:lnTo>
                    <a:pt x="10196" y="1537546"/>
                  </a:lnTo>
                  <a:lnTo>
                    <a:pt x="12577" y="1543504"/>
                  </a:lnTo>
                  <a:lnTo>
                    <a:pt x="12148" y="1545466"/>
                  </a:lnTo>
                  <a:lnTo>
                    <a:pt x="10557" y="1545804"/>
                  </a:lnTo>
                  <a:lnTo>
                    <a:pt x="11700" y="1547187"/>
                  </a:lnTo>
                  <a:lnTo>
                    <a:pt x="11989" y="1547742"/>
                  </a:lnTo>
                  <a:lnTo>
                    <a:pt x="14023" y="1553343"/>
                  </a:lnTo>
                  <a:cubicBezTo>
                    <a:pt x="18936" y="1547992"/>
                    <a:pt x="25699" y="1545148"/>
                    <a:pt x="32193" y="1542198"/>
                  </a:cubicBezTo>
                  <a:lnTo>
                    <a:pt x="35447" y="1536177"/>
                  </a:lnTo>
                  <a:lnTo>
                    <a:pt x="35833" y="1535680"/>
                  </a:lnTo>
                  <a:lnTo>
                    <a:pt x="42384" y="1529741"/>
                  </a:lnTo>
                  <a:lnTo>
                    <a:pt x="44567" y="1529548"/>
                  </a:lnTo>
                  <a:cubicBezTo>
                    <a:pt x="45267" y="1529992"/>
                    <a:pt x="45570" y="1530811"/>
                    <a:pt x="45353" y="1531612"/>
                  </a:cubicBezTo>
                  <a:lnTo>
                    <a:pt x="44674" y="1533858"/>
                  </a:lnTo>
                  <a:lnTo>
                    <a:pt x="48251" y="1532368"/>
                  </a:lnTo>
                  <a:lnTo>
                    <a:pt x="50309" y="1532855"/>
                  </a:lnTo>
                  <a:lnTo>
                    <a:pt x="50550" y="1534928"/>
                  </a:lnTo>
                  <a:lnTo>
                    <a:pt x="47127" y="1541234"/>
                  </a:lnTo>
                  <a:lnTo>
                    <a:pt x="45975" y="1547486"/>
                  </a:lnTo>
                  <a:lnTo>
                    <a:pt x="44813" y="1554510"/>
                  </a:lnTo>
                  <a:lnTo>
                    <a:pt x="44216" y="1561582"/>
                  </a:lnTo>
                  <a:lnTo>
                    <a:pt x="43632" y="1570466"/>
                  </a:lnTo>
                  <a:cubicBezTo>
                    <a:pt x="43584" y="1571228"/>
                    <a:pt x="43059" y="1571893"/>
                    <a:pt x="42350" y="1572110"/>
                  </a:cubicBezTo>
                  <a:cubicBezTo>
                    <a:pt x="10316" y="1580860"/>
                    <a:pt x="29464" y="1575171"/>
                    <a:pt x="17735" y="1562830"/>
                  </a:cubicBezTo>
                  <a:lnTo>
                    <a:pt x="14183" y="1563496"/>
                  </a:lnTo>
                  <a:lnTo>
                    <a:pt x="15041" y="1568215"/>
                  </a:lnTo>
                  <a:lnTo>
                    <a:pt x="16222" y="1574154"/>
                  </a:lnTo>
                  <a:cubicBezTo>
                    <a:pt x="16381" y="1575061"/>
                    <a:pt x="15909" y="1575919"/>
                    <a:pt x="15050" y="1576232"/>
                  </a:cubicBezTo>
                  <a:lnTo>
                    <a:pt x="9314" y="1578310"/>
                  </a:lnTo>
                  <a:lnTo>
                    <a:pt x="7839" y="1582417"/>
                  </a:lnTo>
                  <a:lnTo>
                    <a:pt x="12124" y="1584138"/>
                  </a:lnTo>
                  <a:lnTo>
                    <a:pt x="13228" y="1585329"/>
                  </a:lnTo>
                  <a:lnTo>
                    <a:pt x="12920" y="1586895"/>
                  </a:lnTo>
                  <a:lnTo>
                    <a:pt x="9892" y="1591104"/>
                  </a:lnTo>
                  <a:lnTo>
                    <a:pt x="13585" y="1591755"/>
                  </a:lnTo>
                  <a:lnTo>
                    <a:pt x="14920" y="1592883"/>
                  </a:lnTo>
                  <a:lnTo>
                    <a:pt x="14723" y="1594628"/>
                  </a:lnTo>
                  <a:lnTo>
                    <a:pt x="12630" y="1597501"/>
                  </a:lnTo>
                  <a:lnTo>
                    <a:pt x="14708" y="1597120"/>
                  </a:lnTo>
                  <a:lnTo>
                    <a:pt x="16198" y="1597535"/>
                  </a:lnTo>
                  <a:lnTo>
                    <a:pt x="16839" y="1598938"/>
                  </a:lnTo>
                  <a:lnTo>
                    <a:pt x="16839" y="1604178"/>
                  </a:lnTo>
                  <a:lnTo>
                    <a:pt x="20319" y="1608005"/>
                  </a:lnTo>
                  <a:lnTo>
                    <a:pt x="23689" y="1603773"/>
                  </a:lnTo>
                  <a:lnTo>
                    <a:pt x="28336" y="1597395"/>
                  </a:lnTo>
                  <a:lnTo>
                    <a:pt x="32328" y="1588780"/>
                  </a:lnTo>
                  <a:lnTo>
                    <a:pt x="34116" y="1581814"/>
                  </a:lnTo>
                  <a:lnTo>
                    <a:pt x="34873" y="1580710"/>
                  </a:lnTo>
                  <a:lnTo>
                    <a:pt x="41434" y="1576545"/>
                  </a:lnTo>
                  <a:lnTo>
                    <a:pt x="43729" y="1576849"/>
                  </a:lnTo>
                  <a:lnTo>
                    <a:pt x="43878" y="1579158"/>
                  </a:lnTo>
                  <a:lnTo>
                    <a:pt x="39318" y="1585449"/>
                  </a:lnTo>
                  <a:lnTo>
                    <a:pt x="37616" y="1591653"/>
                  </a:lnTo>
                  <a:lnTo>
                    <a:pt x="37423" y="1592131"/>
                  </a:lnTo>
                  <a:lnTo>
                    <a:pt x="35061" y="1596002"/>
                  </a:lnTo>
                  <a:lnTo>
                    <a:pt x="39313" y="1597173"/>
                  </a:lnTo>
                  <a:lnTo>
                    <a:pt x="40610" y="1598639"/>
                  </a:lnTo>
                  <a:lnTo>
                    <a:pt x="39805" y="1600437"/>
                  </a:lnTo>
                  <a:lnTo>
                    <a:pt x="33798" y="1604289"/>
                  </a:lnTo>
                  <a:lnTo>
                    <a:pt x="32410" y="1608068"/>
                  </a:lnTo>
                  <a:lnTo>
                    <a:pt x="35350" y="1608362"/>
                  </a:lnTo>
                  <a:lnTo>
                    <a:pt x="41333" y="1603990"/>
                  </a:lnTo>
                  <a:lnTo>
                    <a:pt x="43358" y="1603941"/>
                  </a:lnTo>
                  <a:lnTo>
                    <a:pt x="44201" y="1605769"/>
                  </a:lnTo>
                  <a:lnTo>
                    <a:pt x="43001" y="1612898"/>
                  </a:lnTo>
                  <a:lnTo>
                    <a:pt x="43001" y="1612932"/>
                  </a:lnTo>
                  <a:lnTo>
                    <a:pt x="41815" y="1619459"/>
                  </a:lnTo>
                  <a:lnTo>
                    <a:pt x="41776" y="1619638"/>
                  </a:lnTo>
                  <a:lnTo>
                    <a:pt x="40185" y="1625543"/>
                  </a:lnTo>
                  <a:lnTo>
                    <a:pt x="42649" y="1631053"/>
                  </a:lnTo>
                  <a:lnTo>
                    <a:pt x="45368" y="1631053"/>
                  </a:lnTo>
                  <a:lnTo>
                    <a:pt x="45667" y="1631053"/>
                  </a:lnTo>
                  <a:lnTo>
                    <a:pt x="47648" y="1631376"/>
                  </a:lnTo>
                  <a:lnTo>
                    <a:pt x="50111" y="1626478"/>
                  </a:lnTo>
                  <a:lnTo>
                    <a:pt x="50111" y="1613212"/>
                  </a:lnTo>
                  <a:lnTo>
                    <a:pt x="50405" y="1612204"/>
                  </a:lnTo>
                  <a:lnTo>
                    <a:pt x="55115" y="1605147"/>
                  </a:lnTo>
                  <a:lnTo>
                    <a:pt x="58630" y="1598113"/>
                  </a:lnTo>
                  <a:lnTo>
                    <a:pt x="60071" y="1597135"/>
                  </a:lnTo>
                  <a:lnTo>
                    <a:pt x="65649" y="1596551"/>
                  </a:lnTo>
                  <a:lnTo>
                    <a:pt x="70604" y="1593577"/>
                  </a:lnTo>
                  <a:lnTo>
                    <a:pt x="72094" y="1588052"/>
                  </a:lnTo>
                  <a:lnTo>
                    <a:pt x="71535" y="1581829"/>
                  </a:lnTo>
                  <a:cubicBezTo>
                    <a:pt x="71438" y="1580903"/>
                    <a:pt x="72079" y="1580069"/>
                    <a:pt x="72991" y="1579867"/>
                  </a:cubicBezTo>
                  <a:cubicBezTo>
                    <a:pt x="82641" y="1578917"/>
                    <a:pt x="89275" y="1573609"/>
                    <a:pt x="98140" y="1571093"/>
                  </a:cubicBezTo>
                  <a:lnTo>
                    <a:pt x="104513" y="1567044"/>
                  </a:lnTo>
                  <a:lnTo>
                    <a:pt x="106022" y="1566832"/>
                  </a:lnTo>
                  <a:lnTo>
                    <a:pt x="107140" y="1567839"/>
                  </a:lnTo>
                  <a:lnTo>
                    <a:pt x="109204" y="1572375"/>
                  </a:lnTo>
                  <a:lnTo>
                    <a:pt x="113388" y="1569478"/>
                  </a:lnTo>
                  <a:lnTo>
                    <a:pt x="113928" y="1569203"/>
                  </a:lnTo>
                  <a:lnTo>
                    <a:pt x="119611" y="1567675"/>
                  </a:lnTo>
                  <a:lnTo>
                    <a:pt x="121641" y="1562527"/>
                  </a:lnTo>
                  <a:lnTo>
                    <a:pt x="121940" y="1562064"/>
                  </a:lnTo>
                  <a:lnTo>
                    <a:pt x="127291" y="1555527"/>
                  </a:lnTo>
                  <a:cubicBezTo>
                    <a:pt x="127869" y="1554814"/>
                    <a:pt x="128872" y="1554655"/>
                    <a:pt x="129653" y="1555122"/>
                  </a:cubicBezTo>
                  <a:cubicBezTo>
                    <a:pt x="130425" y="1555609"/>
                    <a:pt x="130718" y="1556602"/>
                    <a:pt x="130357" y="1557417"/>
                  </a:cubicBezTo>
                  <a:lnTo>
                    <a:pt x="127397" y="1563954"/>
                  </a:lnTo>
                  <a:lnTo>
                    <a:pt x="127354" y="1564026"/>
                  </a:lnTo>
                  <a:lnTo>
                    <a:pt x="125676" y="1567343"/>
                  </a:lnTo>
                  <a:lnTo>
                    <a:pt x="136421" y="1567343"/>
                  </a:lnTo>
                  <a:cubicBezTo>
                    <a:pt x="137308" y="1567343"/>
                    <a:pt x="138075" y="1567969"/>
                    <a:pt x="138219" y="1568851"/>
                  </a:cubicBezTo>
                  <a:cubicBezTo>
                    <a:pt x="138383" y="1569729"/>
                    <a:pt x="137882" y="1570573"/>
                    <a:pt x="137048" y="1570881"/>
                  </a:cubicBezTo>
                  <a:lnTo>
                    <a:pt x="130521" y="1573258"/>
                  </a:lnTo>
                  <a:lnTo>
                    <a:pt x="129899" y="1573359"/>
                  </a:lnTo>
                  <a:lnTo>
                    <a:pt x="117519" y="1573359"/>
                  </a:lnTo>
                  <a:lnTo>
                    <a:pt x="111643" y="1578691"/>
                  </a:lnTo>
                  <a:lnTo>
                    <a:pt x="107145" y="1585449"/>
                  </a:lnTo>
                  <a:lnTo>
                    <a:pt x="104822" y="1592372"/>
                  </a:lnTo>
                  <a:cubicBezTo>
                    <a:pt x="102011" y="1602842"/>
                    <a:pt x="99133" y="1613236"/>
                    <a:pt x="95932" y="1623793"/>
                  </a:cubicBezTo>
                  <a:cubicBezTo>
                    <a:pt x="95667" y="1624724"/>
                    <a:pt x="94785" y="1625302"/>
                    <a:pt x="93859" y="1625109"/>
                  </a:cubicBezTo>
                  <a:cubicBezTo>
                    <a:pt x="92924" y="1624945"/>
                    <a:pt x="92293" y="1624092"/>
                    <a:pt x="92370" y="1623162"/>
                  </a:cubicBezTo>
                  <a:cubicBezTo>
                    <a:pt x="92249" y="1614571"/>
                    <a:pt x="96569" y="1606183"/>
                    <a:pt x="97142" y="1596855"/>
                  </a:cubicBezTo>
                  <a:lnTo>
                    <a:pt x="97210" y="1596599"/>
                  </a:lnTo>
                  <a:lnTo>
                    <a:pt x="98993" y="1590670"/>
                  </a:lnTo>
                  <a:lnTo>
                    <a:pt x="99018" y="1590593"/>
                  </a:lnTo>
                  <a:lnTo>
                    <a:pt x="101235" y="1584466"/>
                  </a:lnTo>
                  <a:lnTo>
                    <a:pt x="100415" y="1579457"/>
                  </a:lnTo>
                  <a:lnTo>
                    <a:pt x="96308" y="1579843"/>
                  </a:lnTo>
                  <a:lnTo>
                    <a:pt x="91435" y="1585777"/>
                  </a:lnTo>
                  <a:lnTo>
                    <a:pt x="90321" y="1586428"/>
                  </a:lnTo>
                  <a:lnTo>
                    <a:pt x="84314" y="1587440"/>
                  </a:lnTo>
                  <a:lnTo>
                    <a:pt x="82825" y="1592309"/>
                  </a:lnTo>
                  <a:lnTo>
                    <a:pt x="82295" y="1593129"/>
                  </a:lnTo>
                  <a:lnTo>
                    <a:pt x="76591" y="1598277"/>
                  </a:lnTo>
                  <a:lnTo>
                    <a:pt x="73179" y="1604563"/>
                  </a:lnTo>
                  <a:lnTo>
                    <a:pt x="72446" y="1605272"/>
                  </a:lnTo>
                  <a:lnTo>
                    <a:pt x="67191" y="1608145"/>
                  </a:lnTo>
                  <a:lnTo>
                    <a:pt x="68363" y="1612007"/>
                  </a:lnTo>
                  <a:lnTo>
                    <a:pt x="72692" y="1614605"/>
                  </a:lnTo>
                  <a:lnTo>
                    <a:pt x="77686" y="1611134"/>
                  </a:lnTo>
                  <a:lnTo>
                    <a:pt x="80048" y="1611370"/>
                  </a:lnTo>
                  <a:lnTo>
                    <a:pt x="80130" y="1613747"/>
                  </a:lnTo>
                  <a:lnTo>
                    <a:pt x="75367" y="1619691"/>
                  </a:lnTo>
                  <a:lnTo>
                    <a:pt x="74268" y="1620346"/>
                  </a:lnTo>
                  <a:lnTo>
                    <a:pt x="68020" y="1621484"/>
                  </a:lnTo>
                  <a:lnTo>
                    <a:pt x="62202" y="1624661"/>
                  </a:lnTo>
                  <a:lnTo>
                    <a:pt x="57506" y="1633034"/>
                  </a:lnTo>
                  <a:lnTo>
                    <a:pt x="57834" y="1634037"/>
                  </a:lnTo>
                  <a:lnTo>
                    <a:pt x="57405" y="1635922"/>
                  </a:lnTo>
                  <a:lnTo>
                    <a:pt x="51437" y="1641871"/>
                  </a:lnTo>
                  <a:lnTo>
                    <a:pt x="50777" y="1642271"/>
                  </a:lnTo>
                  <a:lnTo>
                    <a:pt x="44953" y="1644411"/>
                  </a:lnTo>
                  <a:lnTo>
                    <a:pt x="42273" y="1650273"/>
                  </a:lnTo>
                  <a:lnTo>
                    <a:pt x="41545" y="1651049"/>
                  </a:lnTo>
                  <a:lnTo>
                    <a:pt x="37346" y="1653595"/>
                  </a:lnTo>
                  <a:lnTo>
                    <a:pt x="37650" y="1654038"/>
                  </a:lnTo>
                  <a:lnTo>
                    <a:pt x="43237" y="1656791"/>
                  </a:lnTo>
                  <a:lnTo>
                    <a:pt x="43772" y="1657215"/>
                  </a:lnTo>
                  <a:lnTo>
                    <a:pt x="47228" y="1661067"/>
                  </a:lnTo>
                  <a:lnTo>
                    <a:pt x="52257" y="1654361"/>
                  </a:lnTo>
                  <a:cubicBezTo>
                    <a:pt x="52758" y="1653706"/>
                    <a:pt x="53587" y="1653484"/>
                    <a:pt x="54363" y="1653773"/>
                  </a:cubicBezTo>
                  <a:cubicBezTo>
                    <a:pt x="55130" y="1654043"/>
                    <a:pt x="55602" y="1654800"/>
                    <a:pt x="55525" y="1655619"/>
                  </a:cubicBezTo>
                  <a:lnTo>
                    <a:pt x="55048" y="1661568"/>
                  </a:lnTo>
                  <a:lnTo>
                    <a:pt x="59550" y="1664012"/>
                  </a:lnTo>
                  <a:lnTo>
                    <a:pt x="65128" y="1659973"/>
                  </a:lnTo>
                  <a:lnTo>
                    <a:pt x="71617" y="1654631"/>
                  </a:lnTo>
                  <a:lnTo>
                    <a:pt x="72036" y="1654390"/>
                  </a:lnTo>
                  <a:lnTo>
                    <a:pt x="78563" y="1651401"/>
                  </a:lnTo>
                  <a:cubicBezTo>
                    <a:pt x="79402" y="1651025"/>
                    <a:pt x="80376" y="1651348"/>
                    <a:pt x="80863" y="1652120"/>
                  </a:cubicBezTo>
                  <a:cubicBezTo>
                    <a:pt x="81359" y="1652876"/>
                    <a:pt x="81186" y="1653894"/>
                    <a:pt x="80477" y="1654462"/>
                  </a:cubicBezTo>
                  <a:lnTo>
                    <a:pt x="73916" y="1659828"/>
                  </a:lnTo>
                  <a:lnTo>
                    <a:pt x="73839" y="1659886"/>
                  </a:lnTo>
                  <a:lnTo>
                    <a:pt x="67345" y="1664624"/>
                  </a:lnTo>
                  <a:lnTo>
                    <a:pt x="60852" y="1669947"/>
                  </a:lnTo>
                  <a:lnTo>
                    <a:pt x="59671" y="1670366"/>
                  </a:lnTo>
                  <a:lnTo>
                    <a:pt x="53717" y="1670366"/>
                  </a:lnTo>
                  <a:lnTo>
                    <a:pt x="53278" y="1670332"/>
                  </a:lnTo>
                  <a:lnTo>
                    <a:pt x="51712" y="1669927"/>
                  </a:lnTo>
                  <a:lnTo>
                    <a:pt x="46698" y="1673393"/>
                  </a:lnTo>
                  <a:lnTo>
                    <a:pt x="44519" y="1676565"/>
                  </a:lnTo>
                  <a:lnTo>
                    <a:pt x="47359" y="1676855"/>
                  </a:lnTo>
                  <a:lnTo>
                    <a:pt x="48858" y="1677920"/>
                  </a:lnTo>
                  <a:lnTo>
                    <a:pt x="48631" y="1679718"/>
                  </a:lnTo>
                  <a:lnTo>
                    <a:pt x="43897" y="1686284"/>
                  </a:lnTo>
                  <a:lnTo>
                    <a:pt x="42538" y="1687021"/>
                  </a:lnTo>
                  <a:lnTo>
                    <a:pt x="41077" y="1686453"/>
                  </a:lnTo>
                  <a:lnTo>
                    <a:pt x="35408" y="1680181"/>
                  </a:lnTo>
                  <a:lnTo>
                    <a:pt x="30245" y="1678050"/>
                  </a:lnTo>
                  <a:lnTo>
                    <a:pt x="27536" y="1683936"/>
                  </a:lnTo>
                  <a:lnTo>
                    <a:pt x="26996" y="1689480"/>
                  </a:lnTo>
                  <a:lnTo>
                    <a:pt x="26996" y="1691143"/>
                  </a:lnTo>
                  <a:lnTo>
                    <a:pt x="26461" y="1692454"/>
                  </a:lnTo>
                  <a:lnTo>
                    <a:pt x="20498" y="1698389"/>
                  </a:lnTo>
                  <a:lnTo>
                    <a:pt x="19365" y="1698924"/>
                  </a:lnTo>
                  <a:lnTo>
                    <a:pt x="12833" y="1699527"/>
                  </a:lnTo>
                  <a:lnTo>
                    <a:pt x="12235" y="1699459"/>
                  </a:lnTo>
                  <a:lnTo>
                    <a:pt x="9859" y="1698885"/>
                  </a:lnTo>
                  <a:cubicBezTo>
                    <a:pt x="8981" y="1698668"/>
                    <a:pt x="8412" y="1697849"/>
                    <a:pt x="8460" y="1696967"/>
                  </a:cubicBezTo>
                  <a:cubicBezTo>
                    <a:pt x="8528" y="1696089"/>
                    <a:pt x="9242" y="1695385"/>
                    <a:pt x="10114" y="1695304"/>
                  </a:cubicBezTo>
                  <a:lnTo>
                    <a:pt x="15446" y="1694759"/>
                  </a:lnTo>
                  <a:lnTo>
                    <a:pt x="20281" y="1690439"/>
                  </a:lnTo>
                  <a:lnTo>
                    <a:pt x="19794" y="1685378"/>
                  </a:lnTo>
                  <a:lnTo>
                    <a:pt x="19866" y="1684587"/>
                  </a:lnTo>
                  <a:lnTo>
                    <a:pt x="22185" y="1678272"/>
                  </a:lnTo>
                  <a:lnTo>
                    <a:pt x="22576" y="1673750"/>
                  </a:lnTo>
                  <a:lnTo>
                    <a:pt x="19640" y="1673461"/>
                  </a:lnTo>
                  <a:lnTo>
                    <a:pt x="17041" y="1678190"/>
                  </a:lnTo>
                  <a:lnTo>
                    <a:pt x="19110" y="1683358"/>
                  </a:lnTo>
                  <a:lnTo>
                    <a:pt x="18637" y="1685378"/>
                  </a:lnTo>
                  <a:lnTo>
                    <a:pt x="16554" y="1685624"/>
                  </a:lnTo>
                  <a:lnTo>
                    <a:pt x="11599" y="1682924"/>
                  </a:lnTo>
                  <a:lnTo>
                    <a:pt x="8899" y="1687875"/>
                  </a:lnTo>
                  <a:lnTo>
                    <a:pt x="8706" y="1688145"/>
                  </a:lnTo>
                  <a:lnTo>
                    <a:pt x="4252" y="1693592"/>
                  </a:lnTo>
                  <a:lnTo>
                    <a:pt x="6966" y="1697213"/>
                  </a:lnTo>
                  <a:lnTo>
                    <a:pt x="7072" y="1699252"/>
                  </a:lnTo>
                  <a:lnTo>
                    <a:pt x="3929" y="1704444"/>
                  </a:lnTo>
                  <a:lnTo>
                    <a:pt x="6031" y="1710195"/>
                  </a:lnTo>
                  <a:lnTo>
                    <a:pt x="7246" y="1713791"/>
                  </a:lnTo>
                  <a:lnTo>
                    <a:pt x="7260" y="1713854"/>
                  </a:lnTo>
                  <a:lnTo>
                    <a:pt x="7752" y="1715411"/>
                  </a:lnTo>
                  <a:lnTo>
                    <a:pt x="8653" y="1713555"/>
                  </a:lnTo>
                  <a:cubicBezTo>
                    <a:pt x="8986" y="1712861"/>
                    <a:pt x="9743" y="1712460"/>
                    <a:pt x="10533" y="1712562"/>
                  </a:cubicBezTo>
                  <a:cubicBezTo>
                    <a:pt x="11295" y="1712692"/>
                    <a:pt x="11931" y="1713280"/>
                    <a:pt x="12076" y="1714017"/>
                  </a:cubicBezTo>
                  <a:lnTo>
                    <a:pt x="12481" y="1716153"/>
                  </a:lnTo>
                  <a:lnTo>
                    <a:pt x="14805" y="1713217"/>
                  </a:lnTo>
                  <a:lnTo>
                    <a:pt x="16829" y="1712639"/>
                  </a:lnTo>
                  <a:cubicBezTo>
                    <a:pt x="17552" y="1712918"/>
                    <a:pt x="18044" y="1713608"/>
                    <a:pt x="18044" y="1714369"/>
                  </a:cubicBezTo>
                  <a:lnTo>
                    <a:pt x="18044" y="1725635"/>
                  </a:lnTo>
                  <a:lnTo>
                    <a:pt x="21149" y="1725635"/>
                  </a:lnTo>
                  <a:lnTo>
                    <a:pt x="24036" y="1720848"/>
                  </a:lnTo>
                  <a:lnTo>
                    <a:pt x="25102" y="1714895"/>
                  </a:lnTo>
                  <a:lnTo>
                    <a:pt x="24552" y="1708580"/>
                  </a:lnTo>
                  <a:lnTo>
                    <a:pt x="24552" y="1708604"/>
                  </a:lnTo>
                  <a:lnTo>
                    <a:pt x="24258" y="1705813"/>
                  </a:lnTo>
                  <a:lnTo>
                    <a:pt x="20276" y="1708705"/>
                  </a:lnTo>
                  <a:lnTo>
                    <a:pt x="17875" y="1708483"/>
                  </a:lnTo>
                  <a:lnTo>
                    <a:pt x="17788" y="1706073"/>
                  </a:lnTo>
                  <a:lnTo>
                    <a:pt x="23159" y="1699531"/>
                  </a:lnTo>
                  <a:lnTo>
                    <a:pt x="24677" y="1698856"/>
                  </a:lnTo>
                  <a:lnTo>
                    <a:pt x="26119" y="1699738"/>
                  </a:lnTo>
                  <a:lnTo>
                    <a:pt x="29672" y="1705697"/>
                  </a:lnTo>
                  <a:lnTo>
                    <a:pt x="29937" y="1706468"/>
                  </a:lnTo>
                  <a:lnTo>
                    <a:pt x="30530" y="1712321"/>
                  </a:lnTo>
                  <a:lnTo>
                    <a:pt x="31720" y="1718800"/>
                  </a:lnTo>
                  <a:lnTo>
                    <a:pt x="31682" y="1719571"/>
                  </a:lnTo>
                  <a:lnTo>
                    <a:pt x="30689" y="1723611"/>
                  </a:lnTo>
                  <a:lnTo>
                    <a:pt x="33408" y="1722786"/>
                  </a:lnTo>
                  <a:lnTo>
                    <a:pt x="38865" y="1720058"/>
                  </a:lnTo>
                  <a:lnTo>
                    <a:pt x="43290" y="1714639"/>
                  </a:lnTo>
                  <a:lnTo>
                    <a:pt x="41936" y="1711260"/>
                  </a:lnTo>
                  <a:lnTo>
                    <a:pt x="37568" y="1712557"/>
                  </a:lnTo>
                  <a:lnTo>
                    <a:pt x="36136" y="1712374"/>
                  </a:lnTo>
                  <a:lnTo>
                    <a:pt x="35259" y="1711140"/>
                  </a:lnTo>
                  <a:lnTo>
                    <a:pt x="34082" y="1705205"/>
                  </a:lnTo>
                  <a:lnTo>
                    <a:pt x="34584" y="1703571"/>
                  </a:lnTo>
                  <a:lnTo>
                    <a:pt x="36252" y="1703079"/>
                  </a:lnTo>
                  <a:lnTo>
                    <a:pt x="40190" y="1703855"/>
                  </a:lnTo>
                  <a:lnTo>
                    <a:pt x="40595" y="1699319"/>
                  </a:lnTo>
                  <a:lnTo>
                    <a:pt x="41646" y="1697854"/>
                  </a:lnTo>
                  <a:lnTo>
                    <a:pt x="43459" y="1698013"/>
                  </a:lnTo>
                  <a:lnTo>
                    <a:pt x="48771" y="1701730"/>
                  </a:lnTo>
                  <a:lnTo>
                    <a:pt x="54580" y="1700679"/>
                  </a:lnTo>
                  <a:lnTo>
                    <a:pt x="55250" y="1700688"/>
                  </a:lnTo>
                  <a:lnTo>
                    <a:pt x="60939" y="1701816"/>
                  </a:lnTo>
                  <a:lnTo>
                    <a:pt x="66618" y="1701252"/>
                  </a:lnTo>
                  <a:cubicBezTo>
                    <a:pt x="66719" y="1701238"/>
                    <a:pt x="66786" y="1701291"/>
                    <a:pt x="66863" y="1701291"/>
                  </a:cubicBezTo>
                  <a:lnTo>
                    <a:pt x="66863" y="1701291"/>
                  </a:lnTo>
                  <a:lnTo>
                    <a:pt x="67066" y="1700939"/>
                  </a:lnTo>
                  <a:lnTo>
                    <a:pt x="70575" y="1695082"/>
                  </a:lnTo>
                  <a:lnTo>
                    <a:pt x="73362" y="1688902"/>
                  </a:lnTo>
                  <a:lnTo>
                    <a:pt x="73902" y="1683242"/>
                  </a:lnTo>
                  <a:cubicBezTo>
                    <a:pt x="74003" y="1682374"/>
                    <a:pt x="74731" y="1681680"/>
                    <a:pt x="75574" y="1681627"/>
                  </a:cubicBezTo>
                  <a:cubicBezTo>
                    <a:pt x="76457" y="1681550"/>
                    <a:pt x="77257" y="1682085"/>
                    <a:pt x="77488" y="1682943"/>
                  </a:cubicBezTo>
                  <a:lnTo>
                    <a:pt x="79277" y="1689475"/>
                  </a:lnTo>
                  <a:lnTo>
                    <a:pt x="79161" y="1690767"/>
                  </a:lnTo>
                  <a:lnTo>
                    <a:pt x="77628" y="1693853"/>
                  </a:lnTo>
                  <a:lnTo>
                    <a:pt x="81345" y="1693520"/>
                  </a:lnTo>
                  <a:lnTo>
                    <a:pt x="87096" y="1691813"/>
                  </a:lnTo>
                  <a:lnTo>
                    <a:pt x="87809" y="1691717"/>
                  </a:lnTo>
                  <a:lnTo>
                    <a:pt x="93748" y="1692324"/>
                  </a:lnTo>
                  <a:cubicBezTo>
                    <a:pt x="94679" y="1692406"/>
                    <a:pt x="95354" y="1693173"/>
                    <a:pt x="95397" y="1694074"/>
                  </a:cubicBezTo>
                  <a:cubicBezTo>
                    <a:pt x="95421" y="1694980"/>
                    <a:pt x="94785" y="1695776"/>
                    <a:pt x="93883" y="1695930"/>
                  </a:cubicBezTo>
                  <a:lnTo>
                    <a:pt x="86927" y="1697077"/>
                  </a:lnTo>
                  <a:lnTo>
                    <a:pt x="75464" y="1701667"/>
                  </a:lnTo>
                  <a:lnTo>
                    <a:pt x="73179" y="1703513"/>
                  </a:lnTo>
                  <a:lnTo>
                    <a:pt x="71535" y="1709476"/>
                  </a:lnTo>
                  <a:lnTo>
                    <a:pt x="70701" y="1710576"/>
                  </a:lnTo>
                  <a:lnTo>
                    <a:pt x="64752" y="1714143"/>
                  </a:lnTo>
                  <a:lnTo>
                    <a:pt x="64680" y="1714177"/>
                  </a:lnTo>
                  <a:lnTo>
                    <a:pt x="58764" y="1717426"/>
                  </a:lnTo>
                  <a:lnTo>
                    <a:pt x="57270" y="1721538"/>
                  </a:lnTo>
                  <a:lnTo>
                    <a:pt x="62809" y="1723230"/>
                  </a:lnTo>
                  <a:lnTo>
                    <a:pt x="68396" y="1722685"/>
                  </a:lnTo>
                  <a:cubicBezTo>
                    <a:pt x="69303" y="1722574"/>
                    <a:pt x="70117" y="1723162"/>
                    <a:pt x="70339" y="1724045"/>
                  </a:cubicBezTo>
                  <a:cubicBezTo>
                    <a:pt x="70566" y="1724927"/>
                    <a:pt x="70112" y="1725843"/>
                    <a:pt x="69240" y="1726166"/>
                  </a:cubicBezTo>
                  <a:lnTo>
                    <a:pt x="64704" y="1727983"/>
                  </a:lnTo>
                  <a:lnTo>
                    <a:pt x="65220" y="1730528"/>
                  </a:lnTo>
                  <a:lnTo>
                    <a:pt x="69553" y="1728803"/>
                  </a:lnTo>
                  <a:lnTo>
                    <a:pt x="75372" y="1725298"/>
                  </a:lnTo>
                  <a:lnTo>
                    <a:pt x="75984" y="1725091"/>
                  </a:lnTo>
                  <a:lnTo>
                    <a:pt x="82540" y="1723895"/>
                  </a:lnTo>
                  <a:lnTo>
                    <a:pt x="82859" y="1723861"/>
                  </a:lnTo>
                  <a:lnTo>
                    <a:pt x="89405" y="1723861"/>
                  </a:lnTo>
                  <a:cubicBezTo>
                    <a:pt x="90359" y="1723861"/>
                    <a:pt x="91136" y="1724599"/>
                    <a:pt x="91222" y="1725544"/>
                  </a:cubicBezTo>
                  <a:cubicBezTo>
                    <a:pt x="91314" y="1726460"/>
                    <a:pt x="90625" y="1727313"/>
                    <a:pt x="89694" y="1727482"/>
                  </a:cubicBezTo>
                  <a:lnTo>
                    <a:pt x="82815" y="1728619"/>
                  </a:lnTo>
                  <a:lnTo>
                    <a:pt x="77122" y="1731468"/>
                  </a:lnTo>
                  <a:lnTo>
                    <a:pt x="77006" y="1731522"/>
                  </a:lnTo>
                  <a:lnTo>
                    <a:pt x="70026" y="1734414"/>
                  </a:lnTo>
                  <a:lnTo>
                    <a:pt x="64935" y="1737846"/>
                  </a:lnTo>
                  <a:lnTo>
                    <a:pt x="59280" y="1742922"/>
                  </a:lnTo>
                  <a:lnTo>
                    <a:pt x="57338" y="1746152"/>
                  </a:lnTo>
                  <a:lnTo>
                    <a:pt x="60997" y="1746471"/>
                  </a:lnTo>
                  <a:cubicBezTo>
                    <a:pt x="61811" y="1746557"/>
                    <a:pt x="62481" y="1747155"/>
                    <a:pt x="62621" y="1747951"/>
                  </a:cubicBezTo>
                  <a:cubicBezTo>
                    <a:pt x="62785" y="1748741"/>
                    <a:pt x="62375" y="1749565"/>
                    <a:pt x="61643" y="1749922"/>
                  </a:cubicBezTo>
                  <a:lnTo>
                    <a:pt x="55704" y="1752868"/>
                  </a:lnTo>
                  <a:lnTo>
                    <a:pt x="54884" y="1753085"/>
                  </a:lnTo>
                  <a:lnTo>
                    <a:pt x="49856" y="1753085"/>
                  </a:lnTo>
                  <a:lnTo>
                    <a:pt x="46327" y="1757958"/>
                  </a:lnTo>
                  <a:lnTo>
                    <a:pt x="48887" y="1762649"/>
                  </a:lnTo>
                  <a:lnTo>
                    <a:pt x="54465" y="1763117"/>
                  </a:lnTo>
                  <a:lnTo>
                    <a:pt x="55891" y="1764032"/>
                  </a:lnTo>
                  <a:lnTo>
                    <a:pt x="55949" y="1765705"/>
                  </a:lnTo>
                  <a:lnTo>
                    <a:pt x="53298" y="1771572"/>
                  </a:lnTo>
                  <a:lnTo>
                    <a:pt x="55115" y="1776677"/>
                  </a:lnTo>
                  <a:lnTo>
                    <a:pt x="58842" y="1772122"/>
                  </a:lnTo>
                  <a:lnTo>
                    <a:pt x="59039" y="1771929"/>
                  </a:lnTo>
                  <a:lnTo>
                    <a:pt x="64964" y="1766563"/>
                  </a:lnTo>
                  <a:lnTo>
                    <a:pt x="65721" y="1766163"/>
                  </a:lnTo>
                  <a:lnTo>
                    <a:pt x="72267" y="1764394"/>
                  </a:lnTo>
                  <a:cubicBezTo>
                    <a:pt x="79171" y="1762644"/>
                    <a:pt x="86305" y="1762355"/>
                    <a:pt x="93247" y="1760769"/>
                  </a:cubicBezTo>
                  <a:cubicBezTo>
                    <a:pt x="94182" y="1760600"/>
                    <a:pt x="95122" y="1761212"/>
                    <a:pt x="95320" y="1762147"/>
                  </a:cubicBezTo>
                  <a:cubicBezTo>
                    <a:pt x="95571" y="1763063"/>
                    <a:pt x="95021" y="1764013"/>
                    <a:pt x="94100" y="1764298"/>
                  </a:cubicBezTo>
                  <a:lnTo>
                    <a:pt x="84608" y="1767277"/>
                  </a:lnTo>
                  <a:lnTo>
                    <a:pt x="84531" y="1767301"/>
                  </a:lnTo>
                  <a:lnTo>
                    <a:pt x="77980" y="1769080"/>
                  </a:lnTo>
                  <a:lnTo>
                    <a:pt x="77710" y="1769147"/>
                  </a:lnTo>
                  <a:lnTo>
                    <a:pt x="72152" y="1769682"/>
                  </a:lnTo>
                  <a:lnTo>
                    <a:pt x="66058" y="1773568"/>
                  </a:lnTo>
                  <a:lnTo>
                    <a:pt x="60717" y="1777868"/>
                  </a:lnTo>
                  <a:lnTo>
                    <a:pt x="59883" y="1782028"/>
                  </a:lnTo>
                  <a:lnTo>
                    <a:pt x="65499" y="1786063"/>
                  </a:lnTo>
                  <a:cubicBezTo>
                    <a:pt x="66150" y="1786598"/>
                    <a:pt x="66405" y="1787451"/>
                    <a:pt x="66126" y="1788203"/>
                  </a:cubicBezTo>
                  <a:cubicBezTo>
                    <a:pt x="65817" y="1788970"/>
                    <a:pt x="65065" y="1789457"/>
                    <a:pt x="64250" y="1789356"/>
                  </a:cubicBezTo>
                  <a:lnTo>
                    <a:pt x="58297" y="1788792"/>
                  </a:lnTo>
                  <a:lnTo>
                    <a:pt x="57188" y="1788232"/>
                  </a:lnTo>
                  <a:lnTo>
                    <a:pt x="51832" y="1782905"/>
                  </a:lnTo>
                  <a:lnTo>
                    <a:pt x="51717" y="1782775"/>
                  </a:lnTo>
                  <a:lnTo>
                    <a:pt x="46650" y="1776586"/>
                  </a:lnTo>
                  <a:lnTo>
                    <a:pt x="41883" y="1774672"/>
                  </a:lnTo>
                  <a:lnTo>
                    <a:pt x="37404" y="1776942"/>
                  </a:lnTo>
                  <a:lnTo>
                    <a:pt x="35799" y="1782698"/>
                  </a:lnTo>
                  <a:cubicBezTo>
                    <a:pt x="35596" y="1783537"/>
                    <a:pt x="34796" y="1784106"/>
                    <a:pt x="33899" y="1784005"/>
                  </a:cubicBezTo>
                  <a:cubicBezTo>
                    <a:pt x="33032" y="1783947"/>
                    <a:pt x="32323" y="1783257"/>
                    <a:pt x="32270" y="1782385"/>
                  </a:cubicBezTo>
                  <a:lnTo>
                    <a:pt x="31711" y="1776099"/>
                  </a:lnTo>
                  <a:lnTo>
                    <a:pt x="29546" y="1770733"/>
                  </a:lnTo>
                  <a:lnTo>
                    <a:pt x="26259" y="1767450"/>
                  </a:lnTo>
                  <a:lnTo>
                    <a:pt x="25907" y="1769229"/>
                  </a:lnTo>
                  <a:lnTo>
                    <a:pt x="30125" y="1774532"/>
                  </a:lnTo>
                  <a:lnTo>
                    <a:pt x="30139" y="1776774"/>
                  </a:lnTo>
                  <a:cubicBezTo>
                    <a:pt x="29619" y="1777434"/>
                    <a:pt x="28722" y="1777651"/>
                    <a:pt x="27955" y="1777318"/>
                  </a:cubicBezTo>
                  <a:lnTo>
                    <a:pt x="23708" y="1775371"/>
                  </a:lnTo>
                  <a:lnTo>
                    <a:pt x="23381" y="1778808"/>
                  </a:lnTo>
                  <a:lnTo>
                    <a:pt x="23236" y="1779391"/>
                  </a:lnTo>
                  <a:lnTo>
                    <a:pt x="20368" y="1785663"/>
                  </a:lnTo>
                  <a:lnTo>
                    <a:pt x="19808" y="1791289"/>
                  </a:lnTo>
                  <a:lnTo>
                    <a:pt x="19664" y="1791862"/>
                  </a:lnTo>
                  <a:lnTo>
                    <a:pt x="16906" y="1797941"/>
                  </a:lnTo>
                  <a:lnTo>
                    <a:pt x="17986" y="1804522"/>
                  </a:lnTo>
                  <a:lnTo>
                    <a:pt x="18010" y="1804666"/>
                  </a:lnTo>
                  <a:lnTo>
                    <a:pt x="18574" y="1810774"/>
                  </a:lnTo>
                  <a:lnTo>
                    <a:pt x="22484" y="1816915"/>
                  </a:lnTo>
                  <a:lnTo>
                    <a:pt x="22653" y="1817229"/>
                  </a:lnTo>
                  <a:lnTo>
                    <a:pt x="25429" y="1823853"/>
                  </a:lnTo>
                  <a:lnTo>
                    <a:pt x="31552" y="1828350"/>
                  </a:lnTo>
                  <a:lnTo>
                    <a:pt x="32164" y="1829068"/>
                  </a:lnTo>
                  <a:lnTo>
                    <a:pt x="34849" y="1835017"/>
                  </a:lnTo>
                  <a:lnTo>
                    <a:pt x="39756" y="1837461"/>
                  </a:lnTo>
                  <a:lnTo>
                    <a:pt x="45802" y="1836941"/>
                  </a:lnTo>
                  <a:cubicBezTo>
                    <a:pt x="46727" y="1836811"/>
                    <a:pt x="47595" y="1837481"/>
                    <a:pt x="47745" y="1838411"/>
                  </a:cubicBezTo>
                  <a:lnTo>
                    <a:pt x="48887" y="1844683"/>
                  </a:lnTo>
                  <a:lnTo>
                    <a:pt x="52097" y="1850525"/>
                  </a:lnTo>
                  <a:lnTo>
                    <a:pt x="59256" y="1854941"/>
                  </a:lnTo>
                  <a:lnTo>
                    <a:pt x="65649" y="1857255"/>
                  </a:lnTo>
                  <a:lnTo>
                    <a:pt x="66164" y="1857554"/>
                  </a:lnTo>
                  <a:lnTo>
                    <a:pt x="72638" y="1862871"/>
                  </a:lnTo>
                  <a:lnTo>
                    <a:pt x="74118" y="1863840"/>
                  </a:lnTo>
                  <a:lnTo>
                    <a:pt x="80386" y="1865547"/>
                  </a:lnTo>
                  <a:lnTo>
                    <a:pt x="80612" y="1865677"/>
                  </a:lnTo>
                  <a:lnTo>
                    <a:pt x="86975" y="1868531"/>
                  </a:lnTo>
                  <a:lnTo>
                    <a:pt x="90928" y="1869268"/>
                  </a:lnTo>
                  <a:lnTo>
                    <a:pt x="90572" y="1865696"/>
                  </a:lnTo>
                  <a:cubicBezTo>
                    <a:pt x="90475" y="1864901"/>
                    <a:pt x="90986" y="1864101"/>
                    <a:pt x="91767" y="1863831"/>
                  </a:cubicBezTo>
                  <a:cubicBezTo>
                    <a:pt x="92534" y="1863527"/>
                    <a:pt x="93387" y="1863802"/>
                    <a:pt x="93878" y="1864477"/>
                  </a:cubicBezTo>
                  <a:lnTo>
                    <a:pt x="97287" y="1869350"/>
                  </a:lnTo>
                  <a:lnTo>
                    <a:pt x="101862" y="1867986"/>
                  </a:lnTo>
                  <a:lnTo>
                    <a:pt x="108307" y="1865060"/>
                  </a:lnTo>
                  <a:lnTo>
                    <a:pt x="108471" y="1864973"/>
                  </a:lnTo>
                  <a:lnTo>
                    <a:pt x="110250" y="1864376"/>
                  </a:lnTo>
                  <a:cubicBezTo>
                    <a:pt x="111122" y="1864096"/>
                    <a:pt x="112029" y="1864477"/>
                    <a:pt x="112463" y="1865262"/>
                  </a:cubicBezTo>
                  <a:cubicBezTo>
                    <a:pt x="112867" y="1866067"/>
                    <a:pt x="112636" y="1867051"/>
                    <a:pt x="111918" y="1867591"/>
                  </a:cubicBezTo>
                  <a:lnTo>
                    <a:pt x="105347" y="1872315"/>
                  </a:lnTo>
                  <a:lnTo>
                    <a:pt x="105217" y="1872436"/>
                  </a:lnTo>
                  <a:lnTo>
                    <a:pt x="98164" y="1876543"/>
                  </a:lnTo>
                  <a:lnTo>
                    <a:pt x="92649" y="1880973"/>
                  </a:lnTo>
                  <a:lnTo>
                    <a:pt x="90133" y="1885996"/>
                  </a:lnTo>
                  <a:lnTo>
                    <a:pt x="91010" y="1890431"/>
                  </a:lnTo>
                  <a:cubicBezTo>
                    <a:pt x="110491" y="1900859"/>
                    <a:pt x="102633" y="1883880"/>
                    <a:pt x="113841" y="1893844"/>
                  </a:cubicBezTo>
                  <a:lnTo>
                    <a:pt x="116430" y="1889564"/>
                  </a:lnTo>
                  <a:cubicBezTo>
                    <a:pt x="116912" y="1888763"/>
                    <a:pt x="117910" y="1888469"/>
                    <a:pt x="118773" y="1888870"/>
                  </a:cubicBezTo>
                  <a:cubicBezTo>
                    <a:pt x="119626" y="1889279"/>
                    <a:pt x="120007" y="1890239"/>
                    <a:pt x="119684" y="1891125"/>
                  </a:cubicBezTo>
                  <a:lnTo>
                    <a:pt x="118295" y="1894992"/>
                  </a:lnTo>
                  <a:lnTo>
                    <a:pt x="120634" y="1894732"/>
                  </a:lnTo>
                  <a:lnTo>
                    <a:pt x="125502" y="1888763"/>
                  </a:lnTo>
                  <a:lnTo>
                    <a:pt x="127358" y="1888170"/>
                  </a:lnTo>
                  <a:lnTo>
                    <a:pt x="128708" y="1889573"/>
                  </a:lnTo>
                  <a:lnTo>
                    <a:pt x="129889" y="1896129"/>
                  </a:lnTo>
                  <a:cubicBezTo>
                    <a:pt x="130029" y="1897050"/>
                    <a:pt x="129484" y="1897961"/>
                    <a:pt x="128583" y="1898202"/>
                  </a:cubicBezTo>
                  <a:lnTo>
                    <a:pt x="127662" y="1898472"/>
                  </a:lnTo>
                  <a:lnTo>
                    <a:pt x="131254" y="1898800"/>
                  </a:lnTo>
                  <a:lnTo>
                    <a:pt x="131254" y="1898800"/>
                  </a:lnTo>
                  <a:lnTo>
                    <a:pt x="137795" y="1899398"/>
                  </a:lnTo>
                  <a:lnTo>
                    <a:pt x="137940" y="1899412"/>
                  </a:lnTo>
                  <a:lnTo>
                    <a:pt x="144477" y="1900627"/>
                  </a:lnTo>
                  <a:lnTo>
                    <a:pt x="144506" y="1900627"/>
                  </a:lnTo>
                  <a:lnTo>
                    <a:pt x="150445" y="1901808"/>
                  </a:lnTo>
                  <a:lnTo>
                    <a:pt x="156644" y="1902922"/>
                  </a:lnTo>
                  <a:lnTo>
                    <a:pt x="161465" y="1901963"/>
                  </a:lnTo>
                  <a:lnTo>
                    <a:pt x="164603" y="1896727"/>
                  </a:lnTo>
                  <a:lnTo>
                    <a:pt x="165644" y="1895883"/>
                  </a:lnTo>
                  <a:lnTo>
                    <a:pt x="171598" y="1894114"/>
                  </a:lnTo>
                  <a:lnTo>
                    <a:pt x="172297" y="1894037"/>
                  </a:lnTo>
                  <a:lnTo>
                    <a:pt x="178593" y="1894635"/>
                  </a:lnTo>
                  <a:lnTo>
                    <a:pt x="183785" y="1893681"/>
                  </a:lnTo>
                  <a:lnTo>
                    <a:pt x="185241" y="1888228"/>
                  </a:lnTo>
                  <a:lnTo>
                    <a:pt x="185718" y="1887457"/>
                  </a:lnTo>
                  <a:lnTo>
                    <a:pt x="188818" y="1884319"/>
                  </a:lnTo>
                  <a:lnTo>
                    <a:pt x="189377" y="1877854"/>
                  </a:lnTo>
                  <a:cubicBezTo>
                    <a:pt x="189430" y="1877010"/>
                    <a:pt x="190090" y="1876316"/>
                    <a:pt x="190919" y="1876210"/>
                  </a:cubicBezTo>
                  <a:cubicBezTo>
                    <a:pt x="191802" y="1876104"/>
                    <a:pt x="192597" y="1876586"/>
                    <a:pt x="192896" y="1877406"/>
                  </a:cubicBezTo>
                  <a:lnTo>
                    <a:pt x="195273" y="1883952"/>
                  </a:lnTo>
                  <a:lnTo>
                    <a:pt x="194969" y="1885259"/>
                  </a:lnTo>
                  <a:lnTo>
                    <a:pt x="196232" y="1888431"/>
                  </a:lnTo>
                  <a:lnTo>
                    <a:pt x="199274" y="1886623"/>
                  </a:lnTo>
                  <a:lnTo>
                    <a:pt x="198912" y="1884916"/>
                  </a:lnTo>
                  <a:cubicBezTo>
                    <a:pt x="198734" y="1883952"/>
                    <a:pt x="199312" y="1883017"/>
                    <a:pt x="200243" y="1882810"/>
                  </a:cubicBezTo>
                  <a:cubicBezTo>
                    <a:pt x="200730" y="1882656"/>
                    <a:pt x="201207" y="1882767"/>
                    <a:pt x="201607" y="1882993"/>
                  </a:cubicBezTo>
                  <a:cubicBezTo>
                    <a:pt x="201843" y="1882636"/>
                    <a:pt x="202171" y="1882294"/>
                    <a:pt x="202615" y="1882197"/>
                  </a:cubicBezTo>
                  <a:lnTo>
                    <a:pt x="208525" y="1880578"/>
                  </a:lnTo>
                  <a:lnTo>
                    <a:pt x="212892" y="1874562"/>
                  </a:lnTo>
                  <a:lnTo>
                    <a:pt x="217062" y="1868627"/>
                  </a:lnTo>
                  <a:cubicBezTo>
                    <a:pt x="217583" y="1867919"/>
                    <a:pt x="218499" y="1867658"/>
                    <a:pt x="219294" y="1868000"/>
                  </a:cubicBezTo>
                  <a:lnTo>
                    <a:pt x="223917" y="1870117"/>
                  </a:lnTo>
                  <a:lnTo>
                    <a:pt x="225137" y="1865629"/>
                  </a:lnTo>
                  <a:lnTo>
                    <a:pt x="225402" y="1865103"/>
                  </a:lnTo>
                  <a:lnTo>
                    <a:pt x="229567" y="1859131"/>
                  </a:lnTo>
                  <a:lnTo>
                    <a:pt x="230570" y="1858383"/>
                  </a:lnTo>
                  <a:lnTo>
                    <a:pt x="236008" y="1856942"/>
                  </a:lnTo>
                  <a:lnTo>
                    <a:pt x="236972" y="1851653"/>
                  </a:lnTo>
                  <a:lnTo>
                    <a:pt x="236972" y="1850043"/>
                  </a:lnTo>
                  <a:lnTo>
                    <a:pt x="237700" y="1848563"/>
                  </a:lnTo>
                  <a:lnTo>
                    <a:pt x="244092" y="1843969"/>
                  </a:lnTo>
                  <a:lnTo>
                    <a:pt x="249279" y="1837592"/>
                  </a:lnTo>
                  <a:lnTo>
                    <a:pt x="249346" y="1837510"/>
                  </a:lnTo>
                  <a:lnTo>
                    <a:pt x="254582" y="1831778"/>
                  </a:lnTo>
                  <a:lnTo>
                    <a:pt x="252523" y="1825617"/>
                  </a:lnTo>
                  <a:lnTo>
                    <a:pt x="252943" y="1823795"/>
                  </a:lnTo>
                  <a:lnTo>
                    <a:pt x="254789" y="1823322"/>
                  </a:lnTo>
                  <a:lnTo>
                    <a:pt x="259880" y="1824855"/>
                  </a:lnTo>
                  <a:lnTo>
                    <a:pt x="265684" y="1820632"/>
                  </a:lnTo>
                  <a:lnTo>
                    <a:pt x="265954" y="1820449"/>
                  </a:lnTo>
                  <a:lnTo>
                    <a:pt x="266913" y="1819972"/>
                  </a:lnTo>
                  <a:lnTo>
                    <a:pt x="269618" y="1817532"/>
                  </a:lnTo>
                  <a:lnTo>
                    <a:pt x="267776" y="1817369"/>
                  </a:lnTo>
                  <a:cubicBezTo>
                    <a:pt x="266918" y="1817253"/>
                    <a:pt x="266257" y="1816592"/>
                    <a:pt x="266156" y="1815754"/>
                  </a:cubicBezTo>
                  <a:cubicBezTo>
                    <a:pt x="266041" y="1814929"/>
                    <a:pt x="266547" y="1814110"/>
                    <a:pt x="267318" y="1813850"/>
                  </a:cubicBezTo>
                  <a:lnTo>
                    <a:pt x="268967" y="1813242"/>
                  </a:lnTo>
                  <a:lnTo>
                    <a:pt x="266759" y="1812495"/>
                  </a:lnTo>
                  <a:lnTo>
                    <a:pt x="265544" y="1810909"/>
                  </a:lnTo>
                  <a:lnTo>
                    <a:pt x="266547" y="1809154"/>
                  </a:lnTo>
                  <a:lnTo>
                    <a:pt x="272495" y="1806185"/>
                  </a:lnTo>
                  <a:lnTo>
                    <a:pt x="273498" y="1805992"/>
                  </a:lnTo>
                  <a:lnTo>
                    <a:pt x="278801" y="1806536"/>
                  </a:lnTo>
                  <a:lnTo>
                    <a:pt x="284335" y="1803008"/>
                  </a:lnTo>
                  <a:lnTo>
                    <a:pt x="285815" y="1799296"/>
                  </a:lnTo>
                  <a:lnTo>
                    <a:pt x="281582" y="1797570"/>
                  </a:lnTo>
                  <a:lnTo>
                    <a:pt x="280541" y="1796577"/>
                  </a:lnTo>
                  <a:lnTo>
                    <a:pt x="278145" y="1790614"/>
                  </a:lnTo>
                  <a:lnTo>
                    <a:pt x="278507" y="1788734"/>
                  </a:lnTo>
                  <a:lnTo>
                    <a:pt x="280305" y="1788184"/>
                  </a:lnTo>
                  <a:lnTo>
                    <a:pt x="285868" y="1789688"/>
                  </a:lnTo>
                  <a:lnTo>
                    <a:pt x="291070" y="1784501"/>
                  </a:lnTo>
                  <a:lnTo>
                    <a:pt x="291648" y="1784106"/>
                  </a:lnTo>
                  <a:lnTo>
                    <a:pt x="298503" y="1781266"/>
                  </a:lnTo>
                  <a:lnTo>
                    <a:pt x="304095" y="1776234"/>
                  </a:lnTo>
                  <a:lnTo>
                    <a:pt x="307639" y="1771369"/>
                  </a:lnTo>
                  <a:lnTo>
                    <a:pt x="303835" y="1768843"/>
                  </a:lnTo>
                  <a:lnTo>
                    <a:pt x="303324" y="1768313"/>
                  </a:lnTo>
                  <a:lnTo>
                    <a:pt x="299135" y="1761757"/>
                  </a:lnTo>
                  <a:lnTo>
                    <a:pt x="298889" y="1760537"/>
                  </a:lnTo>
                  <a:lnTo>
                    <a:pt x="299492" y="1756382"/>
                  </a:lnTo>
                  <a:cubicBezTo>
                    <a:pt x="299597" y="1755529"/>
                    <a:pt x="300268" y="1754887"/>
                    <a:pt x="301102" y="1754820"/>
                  </a:cubicBezTo>
                  <a:cubicBezTo>
                    <a:pt x="301950" y="1754728"/>
                    <a:pt x="302731" y="1755220"/>
                    <a:pt x="303006" y="1756040"/>
                  </a:cubicBezTo>
                  <a:lnTo>
                    <a:pt x="305083" y="1762302"/>
                  </a:lnTo>
                  <a:lnTo>
                    <a:pt x="306028" y="1762654"/>
                  </a:lnTo>
                  <a:lnTo>
                    <a:pt x="306303" y="1762784"/>
                  </a:lnTo>
                  <a:lnTo>
                    <a:pt x="312604" y="1766197"/>
                  </a:lnTo>
                  <a:lnTo>
                    <a:pt x="315829" y="1766727"/>
                  </a:lnTo>
                  <a:lnTo>
                    <a:pt x="317164" y="1767691"/>
                  </a:lnTo>
                  <a:lnTo>
                    <a:pt x="319897" y="1773187"/>
                  </a:lnTo>
                  <a:lnTo>
                    <a:pt x="325244" y="1776354"/>
                  </a:lnTo>
                  <a:lnTo>
                    <a:pt x="325417" y="1776451"/>
                  </a:lnTo>
                  <a:lnTo>
                    <a:pt x="328522" y="1771143"/>
                  </a:lnTo>
                  <a:lnTo>
                    <a:pt x="328030" y="1768217"/>
                  </a:lnTo>
                  <a:lnTo>
                    <a:pt x="328459" y="1766727"/>
                  </a:lnTo>
                  <a:lnTo>
                    <a:pt x="329823" y="1766120"/>
                  </a:lnTo>
                  <a:lnTo>
                    <a:pt x="331000" y="1766120"/>
                  </a:lnTo>
                  <a:lnTo>
                    <a:pt x="331202" y="1766120"/>
                  </a:lnTo>
                  <a:lnTo>
                    <a:pt x="337141" y="1766708"/>
                  </a:lnTo>
                  <a:lnTo>
                    <a:pt x="341494" y="1767122"/>
                  </a:lnTo>
                  <a:lnTo>
                    <a:pt x="341104" y="1763348"/>
                  </a:lnTo>
                  <a:lnTo>
                    <a:pt x="341089" y="1763189"/>
                  </a:lnTo>
                  <a:lnTo>
                    <a:pt x="341089" y="1756035"/>
                  </a:lnTo>
                  <a:cubicBezTo>
                    <a:pt x="341089" y="1755167"/>
                    <a:pt x="341706" y="1754405"/>
                    <a:pt x="342555" y="1754266"/>
                  </a:cubicBezTo>
                  <a:cubicBezTo>
                    <a:pt x="343408" y="1754097"/>
                    <a:pt x="344261" y="1754516"/>
                    <a:pt x="344599" y="1755341"/>
                  </a:cubicBezTo>
                  <a:lnTo>
                    <a:pt x="345780" y="1758156"/>
                  </a:lnTo>
                  <a:cubicBezTo>
                    <a:pt x="351121" y="1746345"/>
                    <a:pt x="347954" y="1746875"/>
                    <a:pt x="352538" y="1737523"/>
                  </a:cubicBezTo>
                  <a:cubicBezTo>
                    <a:pt x="352886" y="1736675"/>
                    <a:pt x="353773" y="1736198"/>
                    <a:pt x="354655" y="1736424"/>
                  </a:cubicBezTo>
                  <a:cubicBezTo>
                    <a:pt x="354978" y="1736496"/>
                    <a:pt x="355175" y="1736713"/>
                    <a:pt x="355388" y="1736906"/>
                  </a:cubicBezTo>
                  <a:cubicBezTo>
                    <a:pt x="355479" y="1736853"/>
                    <a:pt x="355489" y="1736752"/>
                    <a:pt x="355547" y="1736689"/>
                  </a:cubicBezTo>
                  <a:lnTo>
                    <a:pt x="360647" y="1733136"/>
                  </a:lnTo>
                  <a:lnTo>
                    <a:pt x="360165" y="1727704"/>
                  </a:lnTo>
                  <a:lnTo>
                    <a:pt x="358993" y="1720728"/>
                  </a:lnTo>
                  <a:lnTo>
                    <a:pt x="357499" y="1715252"/>
                  </a:lnTo>
                  <a:lnTo>
                    <a:pt x="351970" y="1713752"/>
                  </a:lnTo>
                  <a:lnTo>
                    <a:pt x="350885" y="1712923"/>
                  </a:lnTo>
                  <a:lnTo>
                    <a:pt x="347303" y="1706989"/>
                  </a:lnTo>
                  <a:lnTo>
                    <a:pt x="347294" y="1706970"/>
                  </a:lnTo>
                  <a:lnTo>
                    <a:pt x="343138" y="1699830"/>
                  </a:lnTo>
                  <a:lnTo>
                    <a:pt x="343263" y="1697805"/>
                  </a:lnTo>
                  <a:lnTo>
                    <a:pt x="345177" y="1697155"/>
                  </a:lnTo>
                  <a:lnTo>
                    <a:pt x="350326" y="1698577"/>
                  </a:lnTo>
                  <a:lnTo>
                    <a:pt x="353136" y="1693419"/>
                  </a:lnTo>
                  <a:lnTo>
                    <a:pt x="354289" y="1690020"/>
                  </a:lnTo>
                  <a:cubicBezTo>
                    <a:pt x="354573" y="1689162"/>
                    <a:pt x="355368" y="1688665"/>
                    <a:pt x="356202" y="1688776"/>
                  </a:cubicBezTo>
                  <a:cubicBezTo>
                    <a:pt x="357070" y="1688863"/>
                    <a:pt x="357745" y="1689557"/>
                    <a:pt x="357812" y="1690430"/>
                  </a:cubicBezTo>
                  <a:lnTo>
                    <a:pt x="358343" y="1696186"/>
                  </a:lnTo>
                  <a:lnTo>
                    <a:pt x="363086" y="1700071"/>
                  </a:lnTo>
                  <a:lnTo>
                    <a:pt x="367275" y="1696297"/>
                  </a:lnTo>
                  <a:lnTo>
                    <a:pt x="367275" y="1690063"/>
                  </a:lnTo>
                  <a:lnTo>
                    <a:pt x="366745" y="1684809"/>
                  </a:lnTo>
                  <a:lnTo>
                    <a:pt x="361235" y="1678720"/>
                  </a:lnTo>
                  <a:lnTo>
                    <a:pt x="360734" y="1677650"/>
                  </a:lnTo>
                  <a:lnTo>
                    <a:pt x="360160" y="1671210"/>
                  </a:lnTo>
                  <a:lnTo>
                    <a:pt x="358989" y="1665343"/>
                  </a:lnTo>
                  <a:lnTo>
                    <a:pt x="358955" y="1664991"/>
                  </a:lnTo>
                  <a:lnTo>
                    <a:pt x="358955" y="1659047"/>
                  </a:lnTo>
                  <a:lnTo>
                    <a:pt x="359346" y="1657900"/>
                  </a:lnTo>
                  <a:lnTo>
                    <a:pt x="364711" y="1651339"/>
                  </a:lnTo>
                  <a:lnTo>
                    <a:pt x="365482" y="1650794"/>
                  </a:lnTo>
                  <a:lnTo>
                    <a:pt x="370255" y="1649015"/>
                  </a:lnTo>
                  <a:lnTo>
                    <a:pt x="371055" y="1648899"/>
                  </a:lnTo>
                  <a:lnTo>
                    <a:pt x="377037" y="1649478"/>
                  </a:lnTo>
                  <a:lnTo>
                    <a:pt x="378488" y="1650534"/>
                  </a:lnTo>
                  <a:lnTo>
                    <a:pt x="381472" y="1657104"/>
                  </a:lnTo>
                  <a:lnTo>
                    <a:pt x="381588" y="1658281"/>
                  </a:lnTo>
                  <a:lnTo>
                    <a:pt x="380966" y="1660662"/>
                  </a:lnTo>
                  <a:lnTo>
                    <a:pt x="380947" y="1660744"/>
                  </a:lnTo>
                  <a:lnTo>
                    <a:pt x="379202" y="1666519"/>
                  </a:lnTo>
                  <a:lnTo>
                    <a:pt x="378647" y="1672882"/>
                  </a:lnTo>
                  <a:cubicBezTo>
                    <a:pt x="378556" y="1673755"/>
                    <a:pt x="377862" y="1674478"/>
                    <a:pt x="376975" y="1674531"/>
                  </a:cubicBezTo>
                  <a:cubicBezTo>
                    <a:pt x="376088" y="1674613"/>
                    <a:pt x="375268" y="1674034"/>
                    <a:pt x="375061" y="1673172"/>
                  </a:cubicBezTo>
                  <a:lnTo>
                    <a:pt x="373306" y="1666023"/>
                  </a:lnTo>
                  <a:lnTo>
                    <a:pt x="373244" y="1665724"/>
                  </a:lnTo>
                  <a:lnTo>
                    <a:pt x="372978" y="1662797"/>
                  </a:lnTo>
                  <a:lnTo>
                    <a:pt x="370182" y="1665343"/>
                  </a:lnTo>
                  <a:lnTo>
                    <a:pt x="369165" y="1670940"/>
                  </a:lnTo>
                  <a:lnTo>
                    <a:pt x="370264" y="1677052"/>
                  </a:lnTo>
                  <a:lnTo>
                    <a:pt x="372029" y="1682905"/>
                  </a:lnTo>
                  <a:lnTo>
                    <a:pt x="372082" y="1683102"/>
                  </a:lnTo>
                  <a:lnTo>
                    <a:pt x="373861" y="1692614"/>
                  </a:lnTo>
                  <a:lnTo>
                    <a:pt x="373885" y="1692970"/>
                  </a:lnTo>
                  <a:lnTo>
                    <a:pt x="373885" y="1698582"/>
                  </a:lnTo>
                  <a:lnTo>
                    <a:pt x="375991" y="1703827"/>
                  </a:lnTo>
                  <a:lnTo>
                    <a:pt x="376348" y="1704159"/>
                  </a:lnTo>
                  <a:lnTo>
                    <a:pt x="376844" y="1705827"/>
                  </a:lnTo>
                  <a:lnTo>
                    <a:pt x="375673" y="1711665"/>
                  </a:lnTo>
                  <a:lnTo>
                    <a:pt x="375085" y="1717966"/>
                  </a:lnTo>
                  <a:lnTo>
                    <a:pt x="375673" y="1724228"/>
                  </a:lnTo>
                  <a:lnTo>
                    <a:pt x="376526" y="1728663"/>
                  </a:lnTo>
                  <a:lnTo>
                    <a:pt x="381010" y="1728663"/>
                  </a:lnTo>
                  <a:lnTo>
                    <a:pt x="382408" y="1729294"/>
                  </a:lnTo>
                  <a:lnTo>
                    <a:pt x="382789" y="1730794"/>
                  </a:lnTo>
                  <a:lnTo>
                    <a:pt x="381680" y="1736318"/>
                  </a:lnTo>
                  <a:lnTo>
                    <a:pt x="383304" y="1741703"/>
                  </a:lnTo>
                  <a:lnTo>
                    <a:pt x="385262" y="1745998"/>
                  </a:lnTo>
                  <a:lnTo>
                    <a:pt x="389957" y="1742146"/>
                  </a:lnTo>
                  <a:lnTo>
                    <a:pt x="391909" y="1741901"/>
                  </a:lnTo>
                  <a:lnTo>
                    <a:pt x="392570" y="1742961"/>
                  </a:lnTo>
                  <a:lnTo>
                    <a:pt x="392599" y="1742942"/>
                  </a:lnTo>
                  <a:lnTo>
                    <a:pt x="394377" y="1743684"/>
                  </a:lnTo>
                  <a:lnTo>
                    <a:pt x="398957" y="1749970"/>
                  </a:lnTo>
                  <a:lnTo>
                    <a:pt x="401411" y="1751686"/>
                  </a:lnTo>
                  <a:lnTo>
                    <a:pt x="401218" y="1749662"/>
                  </a:lnTo>
                  <a:cubicBezTo>
                    <a:pt x="401141" y="1748924"/>
                    <a:pt x="401556" y="1748192"/>
                    <a:pt x="402211" y="1747878"/>
                  </a:cubicBezTo>
                  <a:lnTo>
                    <a:pt x="408170" y="1744875"/>
                  </a:lnTo>
                  <a:lnTo>
                    <a:pt x="409577" y="1744793"/>
                  </a:lnTo>
                  <a:lnTo>
                    <a:pt x="410609" y="1745781"/>
                  </a:lnTo>
                  <a:lnTo>
                    <a:pt x="413583" y="1752328"/>
                  </a:lnTo>
                  <a:lnTo>
                    <a:pt x="413752" y="1753273"/>
                  </a:lnTo>
                  <a:lnTo>
                    <a:pt x="413202" y="1758170"/>
                  </a:lnTo>
                  <a:cubicBezTo>
                    <a:pt x="415960" y="1757876"/>
                    <a:pt x="420843" y="1757688"/>
                    <a:pt x="421470" y="176003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18" name="Freihandform: Form 617">
              <a:extLst>
                <a:ext uri="{FF2B5EF4-FFF2-40B4-BE49-F238E27FC236}">
                  <a16:creationId xmlns:a16="http://schemas.microsoft.com/office/drawing/2014/main" id="{AA923914-CFA4-5B64-7991-7FD67501F03F}"/>
                </a:ext>
              </a:extLst>
            </p:cNvPr>
            <p:cNvSpPr/>
            <p:nvPr/>
          </p:nvSpPr>
          <p:spPr>
            <a:xfrm>
              <a:off x="6648424" y="5346765"/>
              <a:ext cx="220638" cy="244484"/>
            </a:xfrm>
            <a:custGeom>
              <a:avLst/>
              <a:gdLst>
                <a:gd name="connsiteX0" fmla="*/ 78546 w 172413"/>
                <a:gd name="connsiteY0" fmla="*/ 186865 h 190596"/>
                <a:gd name="connsiteX1" fmla="*/ 81776 w 172413"/>
                <a:gd name="connsiteY1" fmla="*/ 189574 h 190596"/>
                <a:gd name="connsiteX2" fmla="*/ 86939 w 172413"/>
                <a:gd name="connsiteY2" fmla="*/ 185848 h 190596"/>
                <a:gd name="connsiteX3" fmla="*/ 89508 w 172413"/>
                <a:gd name="connsiteY3" fmla="*/ 178574 h 190596"/>
                <a:gd name="connsiteX4" fmla="*/ 87194 w 172413"/>
                <a:gd name="connsiteY4" fmla="*/ 172012 h 190596"/>
                <a:gd name="connsiteX5" fmla="*/ 88115 w 172413"/>
                <a:gd name="connsiteY5" fmla="*/ 158577 h 190596"/>
                <a:gd name="connsiteX6" fmla="*/ 99593 w 172413"/>
                <a:gd name="connsiteY6" fmla="*/ 150218 h 190596"/>
                <a:gd name="connsiteX7" fmla="*/ 116114 w 172413"/>
                <a:gd name="connsiteY7" fmla="*/ 138706 h 190596"/>
                <a:gd name="connsiteX8" fmla="*/ 130986 w 172413"/>
                <a:gd name="connsiteY8" fmla="*/ 146704 h 190596"/>
                <a:gd name="connsiteX9" fmla="*/ 139109 w 172413"/>
                <a:gd name="connsiteY9" fmla="*/ 148131 h 190596"/>
                <a:gd name="connsiteX10" fmla="*/ 137306 w 172413"/>
                <a:gd name="connsiteY10" fmla="*/ 141194 h 190596"/>
                <a:gd name="connsiteX11" fmla="*/ 142748 w 172413"/>
                <a:gd name="connsiteY11" fmla="*/ 129421 h 190596"/>
                <a:gd name="connsiteX12" fmla="*/ 148287 w 172413"/>
                <a:gd name="connsiteY12" fmla="*/ 129518 h 190596"/>
                <a:gd name="connsiteX13" fmla="*/ 154337 w 172413"/>
                <a:gd name="connsiteY13" fmla="*/ 124514 h 190596"/>
                <a:gd name="connsiteX14" fmla="*/ 161240 w 172413"/>
                <a:gd name="connsiteY14" fmla="*/ 123309 h 190596"/>
                <a:gd name="connsiteX15" fmla="*/ 157611 w 172413"/>
                <a:gd name="connsiteY15" fmla="*/ 115451 h 190596"/>
                <a:gd name="connsiteX16" fmla="*/ 153590 w 172413"/>
                <a:gd name="connsiteY16" fmla="*/ 111729 h 190596"/>
                <a:gd name="connsiteX17" fmla="*/ 156941 w 172413"/>
                <a:gd name="connsiteY17" fmla="*/ 106138 h 190596"/>
                <a:gd name="connsiteX18" fmla="*/ 161197 w 172413"/>
                <a:gd name="connsiteY18" fmla="*/ 105004 h 190596"/>
                <a:gd name="connsiteX19" fmla="*/ 161602 w 172413"/>
                <a:gd name="connsiteY19" fmla="*/ 93618 h 190596"/>
                <a:gd name="connsiteX20" fmla="*/ 167001 w 172413"/>
                <a:gd name="connsiteY20" fmla="*/ 84459 h 190596"/>
                <a:gd name="connsiteX21" fmla="*/ 168043 w 172413"/>
                <a:gd name="connsiteY21" fmla="*/ 80862 h 190596"/>
                <a:gd name="connsiteX22" fmla="*/ 169884 w 172413"/>
                <a:gd name="connsiteY22" fmla="*/ 75733 h 190596"/>
                <a:gd name="connsiteX23" fmla="*/ 169846 w 172413"/>
                <a:gd name="connsiteY23" fmla="*/ 71573 h 190596"/>
                <a:gd name="connsiteX24" fmla="*/ 169175 w 172413"/>
                <a:gd name="connsiteY24" fmla="*/ 69129 h 190596"/>
                <a:gd name="connsiteX25" fmla="*/ 171538 w 172413"/>
                <a:gd name="connsiteY25" fmla="*/ 65894 h 190596"/>
                <a:gd name="connsiteX26" fmla="*/ 167739 w 172413"/>
                <a:gd name="connsiteY26" fmla="*/ 60186 h 190596"/>
                <a:gd name="connsiteX27" fmla="*/ 158850 w 172413"/>
                <a:gd name="connsiteY27" fmla="*/ 65243 h 190596"/>
                <a:gd name="connsiteX28" fmla="*/ 155658 w 172413"/>
                <a:gd name="connsiteY28" fmla="*/ 61348 h 190596"/>
                <a:gd name="connsiteX29" fmla="*/ 153436 w 172413"/>
                <a:gd name="connsiteY29" fmla="*/ 62149 h 190596"/>
                <a:gd name="connsiteX30" fmla="*/ 150100 w 172413"/>
                <a:gd name="connsiteY30" fmla="*/ 57612 h 190596"/>
                <a:gd name="connsiteX31" fmla="*/ 145308 w 172413"/>
                <a:gd name="connsiteY31" fmla="*/ 59945 h 190596"/>
                <a:gd name="connsiteX32" fmla="*/ 137306 w 172413"/>
                <a:gd name="connsiteY32" fmla="*/ 57217 h 190596"/>
                <a:gd name="connsiteX33" fmla="*/ 134722 w 172413"/>
                <a:gd name="connsiteY33" fmla="*/ 53365 h 190596"/>
                <a:gd name="connsiteX34" fmla="*/ 132278 w 172413"/>
                <a:gd name="connsiteY34" fmla="*/ 45599 h 190596"/>
                <a:gd name="connsiteX35" fmla="*/ 131492 w 172413"/>
                <a:gd name="connsiteY35" fmla="*/ 40682 h 190596"/>
                <a:gd name="connsiteX36" fmla="*/ 121682 w 172413"/>
                <a:gd name="connsiteY36" fmla="*/ 37992 h 190596"/>
                <a:gd name="connsiteX37" fmla="*/ 113009 w 172413"/>
                <a:gd name="connsiteY37" fmla="*/ 30139 h 190596"/>
                <a:gd name="connsiteX38" fmla="*/ 101001 w 172413"/>
                <a:gd name="connsiteY38" fmla="*/ 17330 h 190596"/>
                <a:gd name="connsiteX39" fmla="*/ 93635 w 172413"/>
                <a:gd name="connsiteY39" fmla="*/ 18348 h 190596"/>
                <a:gd name="connsiteX40" fmla="*/ 88732 w 172413"/>
                <a:gd name="connsiteY40" fmla="*/ 18743 h 190596"/>
                <a:gd name="connsiteX41" fmla="*/ 83184 w 172413"/>
                <a:gd name="connsiteY41" fmla="*/ 16183 h 190596"/>
                <a:gd name="connsiteX42" fmla="*/ 77375 w 172413"/>
                <a:gd name="connsiteY42" fmla="*/ 15108 h 190596"/>
                <a:gd name="connsiteX43" fmla="*/ 71951 w 172413"/>
                <a:gd name="connsiteY43" fmla="*/ 12659 h 190596"/>
                <a:gd name="connsiteX44" fmla="*/ 69642 w 172413"/>
                <a:gd name="connsiteY44" fmla="*/ 7896 h 190596"/>
                <a:gd name="connsiteX45" fmla="*/ 70283 w 172413"/>
                <a:gd name="connsiteY45" fmla="*/ 5409 h 190596"/>
                <a:gd name="connsiteX46" fmla="*/ 67309 w 172413"/>
                <a:gd name="connsiteY46" fmla="*/ 530 h 190596"/>
                <a:gd name="connsiteX47" fmla="*/ 55431 w 172413"/>
                <a:gd name="connsiteY47" fmla="*/ 7115 h 190596"/>
                <a:gd name="connsiteX48" fmla="*/ 48701 w 172413"/>
                <a:gd name="connsiteY48" fmla="*/ 10061 h 190596"/>
                <a:gd name="connsiteX49" fmla="*/ 48966 w 172413"/>
                <a:gd name="connsiteY49" fmla="*/ 18232 h 190596"/>
                <a:gd name="connsiteX50" fmla="*/ 53387 w 172413"/>
                <a:gd name="connsiteY50" fmla="*/ 22079 h 190596"/>
                <a:gd name="connsiteX51" fmla="*/ 55175 w 172413"/>
                <a:gd name="connsiteY51" fmla="*/ 25043 h 190596"/>
                <a:gd name="connsiteX52" fmla="*/ 53903 w 172413"/>
                <a:gd name="connsiteY52" fmla="*/ 33060 h 190596"/>
                <a:gd name="connsiteX53" fmla="*/ 48904 w 172413"/>
                <a:gd name="connsiteY53" fmla="*/ 37934 h 190596"/>
                <a:gd name="connsiteX54" fmla="*/ 45630 w 172413"/>
                <a:gd name="connsiteY54" fmla="*/ 40841 h 190596"/>
                <a:gd name="connsiteX55" fmla="*/ 42656 w 172413"/>
                <a:gd name="connsiteY55" fmla="*/ 43401 h 190596"/>
                <a:gd name="connsiteX56" fmla="*/ 38279 w 172413"/>
                <a:gd name="connsiteY56" fmla="*/ 46645 h 190596"/>
                <a:gd name="connsiteX57" fmla="*/ 41567 w 172413"/>
                <a:gd name="connsiteY57" fmla="*/ 52671 h 190596"/>
                <a:gd name="connsiteX58" fmla="*/ 42531 w 172413"/>
                <a:gd name="connsiteY58" fmla="*/ 58282 h 190596"/>
                <a:gd name="connsiteX59" fmla="*/ 31226 w 172413"/>
                <a:gd name="connsiteY59" fmla="*/ 64091 h 190596"/>
                <a:gd name="connsiteX60" fmla="*/ 31269 w 172413"/>
                <a:gd name="connsiteY60" fmla="*/ 68840 h 190596"/>
                <a:gd name="connsiteX61" fmla="*/ 31226 w 172413"/>
                <a:gd name="connsiteY61" fmla="*/ 64091 h 190596"/>
                <a:gd name="connsiteX62" fmla="*/ 30503 w 172413"/>
                <a:gd name="connsiteY62" fmla="*/ 64477 h 190596"/>
                <a:gd name="connsiteX63" fmla="*/ 19787 w 172413"/>
                <a:gd name="connsiteY63" fmla="*/ 69370 h 190596"/>
                <a:gd name="connsiteX64" fmla="*/ 18649 w 172413"/>
                <a:gd name="connsiteY64" fmla="*/ 75926 h 190596"/>
                <a:gd name="connsiteX65" fmla="*/ 8559 w 172413"/>
                <a:gd name="connsiteY65" fmla="*/ 77102 h 190596"/>
                <a:gd name="connsiteX66" fmla="*/ 937 w 172413"/>
                <a:gd name="connsiteY66" fmla="*/ 79677 h 190596"/>
                <a:gd name="connsiteX67" fmla="*/ 4033 w 172413"/>
                <a:gd name="connsiteY67" fmla="*/ 86647 h 190596"/>
                <a:gd name="connsiteX68" fmla="*/ 9972 w 172413"/>
                <a:gd name="connsiteY68" fmla="*/ 90668 h 190596"/>
                <a:gd name="connsiteX69" fmla="*/ 8313 w 172413"/>
                <a:gd name="connsiteY69" fmla="*/ 97012 h 190596"/>
                <a:gd name="connsiteX70" fmla="*/ 9195 w 172413"/>
                <a:gd name="connsiteY70" fmla="*/ 102907 h 190596"/>
                <a:gd name="connsiteX71" fmla="*/ 9485 w 172413"/>
                <a:gd name="connsiteY71" fmla="*/ 106668 h 190596"/>
                <a:gd name="connsiteX72" fmla="*/ 8959 w 172413"/>
                <a:gd name="connsiteY72" fmla="*/ 106725 h 190596"/>
                <a:gd name="connsiteX73" fmla="*/ 23527 w 172413"/>
                <a:gd name="connsiteY73" fmla="*/ 119833 h 190596"/>
                <a:gd name="connsiteX74" fmla="*/ 27027 w 172413"/>
                <a:gd name="connsiteY74" fmla="*/ 129662 h 190596"/>
                <a:gd name="connsiteX75" fmla="*/ 38910 w 172413"/>
                <a:gd name="connsiteY75" fmla="*/ 134068 h 190596"/>
                <a:gd name="connsiteX76" fmla="*/ 66682 w 172413"/>
                <a:gd name="connsiteY76" fmla="*/ 163909 h 190596"/>
                <a:gd name="connsiteX77" fmla="*/ 73402 w 172413"/>
                <a:gd name="connsiteY77" fmla="*/ 175536 h 190596"/>
                <a:gd name="connsiteX78" fmla="*/ 70549 w 172413"/>
                <a:gd name="connsiteY78" fmla="*/ 181977 h 190596"/>
                <a:gd name="connsiteX79" fmla="*/ 71648 w 172413"/>
                <a:gd name="connsiteY79" fmla="*/ 188118 h 190596"/>
                <a:gd name="connsiteX80" fmla="*/ 76883 w 172413"/>
                <a:gd name="connsiteY80" fmla="*/ 190596 h 190596"/>
                <a:gd name="connsiteX81" fmla="*/ 78546 w 172413"/>
                <a:gd name="connsiteY81" fmla="*/ 186865 h 19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72413" h="190596">
                  <a:moveTo>
                    <a:pt x="78546" y="186865"/>
                  </a:moveTo>
                  <a:lnTo>
                    <a:pt x="81776" y="189574"/>
                  </a:lnTo>
                  <a:lnTo>
                    <a:pt x="86939" y="185848"/>
                  </a:lnTo>
                  <a:lnTo>
                    <a:pt x="89508" y="178574"/>
                  </a:lnTo>
                  <a:cubicBezTo>
                    <a:pt x="89508" y="178574"/>
                    <a:pt x="89402" y="175874"/>
                    <a:pt x="87194" y="172012"/>
                  </a:cubicBezTo>
                  <a:cubicBezTo>
                    <a:pt x="84996" y="168161"/>
                    <a:pt x="88115" y="158577"/>
                    <a:pt x="88115" y="158577"/>
                  </a:cubicBezTo>
                  <a:cubicBezTo>
                    <a:pt x="88115" y="158577"/>
                    <a:pt x="95081" y="153443"/>
                    <a:pt x="99593" y="150218"/>
                  </a:cubicBezTo>
                  <a:cubicBezTo>
                    <a:pt x="104231" y="149794"/>
                    <a:pt x="112653" y="143507"/>
                    <a:pt x="116114" y="138706"/>
                  </a:cubicBezTo>
                  <a:cubicBezTo>
                    <a:pt x="119599" y="133934"/>
                    <a:pt x="128778" y="143628"/>
                    <a:pt x="130986" y="146704"/>
                  </a:cubicBezTo>
                  <a:cubicBezTo>
                    <a:pt x="133169" y="149794"/>
                    <a:pt x="137190" y="149051"/>
                    <a:pt x="139109" y="148131"/>
                  </a:cubicBezTo>
                  <a:cubicBezTo>
                    <a:pt x="141051" y="147224"/>
                    <a:pt x="137687" y="143228"/>
                    <a:pt x="137306" y="141194"/>
                  </a:cubicBezTo>
                  <a:cubicBezTo>
                    <a:pt x="136934" y="139106"/>
                    <a:pt x="142748" y="129421"/>
                    <a:pt x="142748" y="129421"/>
                  </a:cubicBezTo>
                  <a:lnTo>
                    <a:pt x="148287" y="129518"/>
                  </a:lnTo>
                  <a:lnTo>
                    <a:pt x="154337" y="124514"/>
                  </a:lnTo>
                  <a:lnTo>
                    <a:pt x="161240" y="123309"/>
                  </a:lnTo>
                  <a:cubicBezTo>
                    <a:pt x="161723" y="118724"/>
                    <a:pt x="159245" y="115976"/>
                    <a:pt x="157611" y="115451"/>
                  </a:cubicBezTo>
                  <a:cubicBezTo>
                    <a:pt x="155509" y="114791"/>
                    <a:pt x="154202" y="114704"/>
                    <a:pt x="153590" y="111729"/>
                  </a:cubicBezTo>
                  <a:cubicBezTo>
                    <a:pt x="152935" y="108755"/>
                    <a:pt x="156415" y="108890"/>
                    <a:pt x="156941" y="106138"/>
                  </a:cubicBezTo>
                  <a:cubicBezTo>
                    <a:pt x="157437" y="103443"/>
                    <a:pt x="158102" y="105004"/>
                    <a:pt x="161197" y="105004"/>
                  </a:cubicBezTo>
                  <a:cubicBezTo>
                    <a:pt x="164297" y="105004"/>
                    <a:pt x="161602" y="93618"/>
                    <a:pt x="161602" y="93618"/>
                  </a:cubicBezTo>
                  <a:cubicBezTo>
                    <a:pt x="161602" y="93618"/>
                    <a:pt x="167797" y="85741"/>
                    <a:pt x="167001" y="84459"/>
                  </a:cubicBezTo>
                  <a:cubicBezTo>
                    <a:pt x="166230" y="83205"/>
                    <a:pt x="166230" y="82270"/>
                    <a:pt x="168043" y="80862"/>
                  </a:cubicBezTo>
                  <a:cubicBezTo>
                    <a:pt x="169846" y="79436"/>
                    <a:pt x="171003" y="77661"/>
                    <a:pt x="169884" y="75733"/>
                  </a:cubicBezTo>
                  <a:cubicBezTo>
                    <a:pt x="168799" y="73795"/>
                    <a:pt x="168043" y="72884"/>
                    <a:pt x="169846" y="71573"/>
                  </a:cubicBezTo>
                  <a:cubicBezTo>
                    <a:pt x="171634" y="70315"/>
                    <a:pt x="170602" y="70903"/>
                    <a:pt x="169175" y="69129"/>
                  </a:cubicBezTo>
                  <a:cubicBezTo>
                    <a:pt x="167797" y="67326"/>
                    <a:pt x="169175" y="66902"/>
                    <a:pt x="171538" y="65894"/>
                  </a:cubicBezTo>
                  <a:cubicBezTo>
                    <a:pt x="173847" y="64814"/>
                    <a:pt x="171249" y="62153"/>
                    <a:pt x="167739" y="60186"/>
                  </a:cubicBezTo>
                  <a:cubicBezTo>
                    <a:pt x="164225" y="58234"/>
                    <a:pt x="158850" y="65243"/>
                    <a:pt x="158850" y="65243"/>
                  </a:cubicBezTo>
                  <a:lnTo>
                    <a:pt x="155658" y="61348"/>
                  </a:lnTo>
                  <a:lnTo>
                    <a:pt x="153436" y="62149"/>
                  </a:lnTo>
                  <a:lnTo>
                    <a:pt x="150100" y="57612"/>
                  </a:lnTo>
                  <a:lnTo>
                    <a:pt x="145308" y="59945"/>
                  </a:lnTo>
                  <a:lnTo>
                    <a:pt x="137306" y="57217"/>
                  </a:lnTo>
                  <a:lnTo>
                    <a:pt x="134722" y="53365"/>
                  </a:lnTo>
                  <a:lnTo>
                    <a:pt x="132278" y="45599"/>
                  </a:lnTo>
                  <a:lnTo>
                    <a:pt x="131492" y="40682"/>
                  </a:lnTo>
                  <a:cubicBezTo>
                    <a:pt x="131492" y="40682"/>
                    <a:pt x="123354" y="37992"/>
                    <a:pt x="121682" y="37992"/>
                  </a:cubicBezTo>
                  <a:cubicBezTo>
                    <a:pt x="119995" y="37992"/>
                    <a:pt x="115208" y="37360"/>
                    <a:pt x="113009" y="30139"/>
                  </a:cubicBezTo>
                  <a:cubicBezTo>
                    <a:pt x="110806" y="22884"/>
                    <a:pt x="101001" y="17330"/>
                    <a:pt x="101001" y="17330"/>
                  </a:cubicBezTo>
                  <a:cubicBezTo>
                    <a:pt x="99478" y="16284"/>
                    <a:pt x="94691" y="16911"/>
                    <a:pt x="93635" y="18348"/>
                  </a:cubicBezTo>
                  <a:cubicBezTo>
                    <a:pt x="92647" y="19770"/>
                    <a:pt x="90044" y="21452"/>
                    <a:pt x="88732" y="18743"/>
                  </a:cubicBezTo>
                  <a:cubicBezTo>
                    <a:pt x="87460" y="16009"/>
                    <a:pt x="85001" y="18348"/>
                    <a:pt x="83184" y="16183"/>
                  </a:cubicBezTo>
                  <a:cubicBezTo>
                    <a:pt x="81390" y="13961"/>
                    <a:pt x="78035" y="16409"/>
                    <a:pt x="77375" y="15108"/>
                  </a:cubicBezTo>
                  <a:cubicBezTo>
                    <a:pt x="76738" y="13845"/>
                    <a:pt x="74680" y="12659"/>
                    <a:pt x="71951" y="12659"/>
                  </a:cubicBezTo>
                  <a:cubicBezTo>
                    <a:pt x="69242" y="12659"/>
                    <a:pt x="70163" y="8031"/>
                    <a:pt x="69642" y="7896"/>
                  </a:cubicBezTo>
                  <a:cubicBezTo>
                    <a:pt x="69122" y="7756"/>
                    <a:pt x="67830" y="5698"/>
                    <a:pt x="70283" y="5409"/>
                  </a:cubicBezTo>
                  <a:cubicBezTo>
                    <a:pt x="72698" y="5144"/>
                    <a:pt x="71556" y="2998"/>
                    <a:pt x="67309" y="530"/>
                  </a:cubicBezTo>
                  <a:cubicBezTo>
                    <a:pt x="63076" y="-1967"/>
                    <a:pt x="55826" y="5057"/>
                    <a:pt x="55431" y="7115"/>
                  </a:cubicBezTo>
                  <a:cubicBezTo>
                    <a:pt x="55040" y="9203"/>
                    <a:pt x="52080" y="10215"/>
                    <a:pt x="48701" y="10061"/>
                  </a:cubicBezTo>
                  <a:cubicBezTo>
                    <a:pt x="45370" y="9969"/>
                    <a:pt x="46267" y="17051"/>
                    <a:pt x="48966" y="18232"/>
                  </a:cubicBezTo>
                  <a:cubicBezTo>
                    <a:pt x="51685" y="19355"/>
                    <a:pt x="50398" y="23009"/>
                    <a:pt x="53387" y="22079"/>
                  </a:cubicBezTo>
                  <a:cubicBezTo>
                    <a:pt x="56342" y="21173"/>
                    <a:pt x="55947" y="23641"/>
                    <a:pt x="55175" y="25043"/>
                  </a:cubicBezTo>
                  <a:cubicBezTo>
                    <a:pt x="54409" y="26490"/>
                    <a:pt x="52977" y="29565"/>
                    <a:pt x="53903" y="33060"/>
                  </a:cubicBezTo>
                  <a:cubicBezTo>
                    <a:pt x="54794" y="36551"/>
                    <a:pt x="50393" y="40046"/>
                    <a:pt x="48904" y="37934"/>
                  </a:cubicBezTo>
                  <a:cubicBezTo>
                    <a:pt x="47443" y="35847"/>
                    <a:pt x="45731" y="37862"/>
                    <a:pt x="45630" y="40841"/>
                  </a:cubicBezTo>
                  <a:cubicBezTo>
                    <a:pt x="45505" y="43777"/>
                    <a:pt x="44189" y="44056"/>
                    <a:pt x="42656" y="43401"/>
                  </a:cubicBezTo>
                  <a:cubicBezTo>
                    <a:pt x="41089" y="42726"/>
                    <a:pt x="40062" y="43921"/>
                    <a:pt x="38279" y="46645"/>
                  </a:cubicBezTo>
                  <a:cubicBezTo>
                    <a:pt x="36456" y="49316"/>
                    <a:pt x="38515" y="50502"/>
                    <a:pt x="41567" y="52671"/>
                  </a:cubicBezTo>
                  <a:cubicBezTo>
                    <a:pt x="44623" y="54797"/>
                    <a:pt x="43557" y="55959"/>
                    <a:pt x="42531" y="58282"/>
                  </a:cubicBezTo>
                  <a:cubicBezTo>
                    <a:pt x="41567" y="60442"/>
                    <a:pt x="34755" y="62602"/>
                    <a:pt x="31226" y="64091"/>
                  </a:cubicBezTo>
                  <a:cubicBezTo>
                    <a:pt x="31323" y="65619"/>
                    <a:pt x="31371" y="67172"/>
                    <a:pt x="31269" y="68840"/>
                  </a:cubicBezTo>
                  <a:cubicBezTo>
                    <a:pt x="31371" y="67167"/>
                    <a:pt x="31323" y="65619"/>
                    <a:pt x="31226" y="64091"/>
                  </a:cubicBezTo>
                  <a:cubicBezTo>
                    <a:pt x="31004" y="64246"/>
                    <a:pt x="30725" y="64366"/>
                    <a:pt x="30503" y="64477"/>
                  </a:cubicBezTo>
                  <a:cubicBezTo>
                    <a:pt x="27287" y="65986"/>
                    <a:pt x="22375" y="68329"/>
                    <a:pt x="19787" y="69370"/>
                  </a:cubicBezTo>
                  <a:cubicBezTo>
                    <a:pt x="17203" y="70382"/>
                    <a:pt x="16860" y="72446"/>
                    <a:pt x="18649" y="75926"/>
                  </a:cubicBezTo>
                  <a:cubicBezTo>
                    <a:pt x="20408" y="79474"/>
                    <a:pt x="11018" y="79677"/>
                    <a:pt x="8559" y="77102"/>
                  </a:cubicBezTo>
                  <a:cubicBezTo>
                    <a:pt x="6096" y="74518"/>
                    <a:pt x="2750" y="76437"/>
                    <a:pt x="937" y="79677"/>
                  </a:cubicBezTo>
                  <a:cubicBezTo>
                    <a:pt x="-880" y="82887"/>
                    <a:pt x="-161" y="86054"/>
                    <a:pt x="4033" y="86647"/>
                  </a:cubicBezTo>
                  <a:cubicBezTo>
                    <a:pt x="8241" y="87269"/>
                    <a:pt x="6901" y="89125"/>
                    <a:pt x="9972" y="90668"/>
                  </a:cubicBezTo>
                  <a:cubicBezTo>
                    <a:pt x="13076" y="92196"/>
                    <a:pt x="9480" y="95590"/>
                    <a:pt x="8313" y="97012"/>
                  </a:cubicBezTo>
                  <a:cubicBezTo>
                    <a:pt x="7151" y="98390"/>
                    <a:pt x="7648" y="100314"/>
                    <a:pt x="9195" y="102907"/>
                  </a:cubicBezTo>
                  <a:cubicBezTo>
                    <a:pt x="10752" y="105506"/>
                    <a:pt x="9485" y="106668"/>
                    <a:pt x="9485" y="106668"/>
                  </a:cubicBezTo>
                  <a:lnTo>
                    <a:pt x="8959" y="106725"/>
                  </a:lnTo>
                  <a:cubicBezTo>
                    <a:pt x="16532" y="110196"/>
                    <a:pt x="23368" y="116945"/>
                    <a:pt x="23527" y="119833"/>
                  </a:cubicBezTo>
                  <a:cubicBezTo>
                    <a:pt x="23793" y="124008"/>
                    <a:pt x="25480" y="127233"/>
                    <a:pt x="27027" y="129662"/>
                  </a:cubicBezTo>
                  <a:cubicBezTo>
                    <a:pt x="28584" y="132112"/>
                    <a:pt x="35695" y="133562"/>
                    <a:pt x="38910" y="134068"/>
                  </a:cubicBezTo>
                  <a:cubicBezTo>
                    <a:pt x="64349" y="137785"/>
                    <a:pt x="66682" y="163909"/>
                    <a:pt x="66682" y="163909"/>
                  </a:cubicBezTo>
                  <a:lnTo>
                    <a:pt x="73402" y="175536"/>
                  </a:lnTo>
                  <a:lnTo>
                    <a:pt x="70549" y="181977"/>
                  </a:lnTo>
                  <a:lnTo>
                    <a:pt x="71648" y="188118"/>
                  </a:lnTo>
                  <a:lnTo>
                    <a:pt x="76883" y="190596"/>
                  </a:lnTo>
                  <a:lnTo>
                    <a:pt x="78546" y="18686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19" name="Freihandform: Form 618">
              <a:extLst>
                <a:ext uri="{FF2B5EF4-FFF2-40B4-BE49-F238E27FC236}">
                  <a16:creationId xmlns:a16="http://schemas.microsoft.com/office/drawing/2014/main" id="{4F4C2BE2-981B-C06C-A2B1-501404FEAA84}"/>
                </a:ext>
              </a:extLst>
            </p:cNvPr>
            <p:cNvSpPr/>
            <p:nvPr/>
          </p:nvSpPr>
          <p:spPr>
            <a:xfrm>
              <a:off x="5605555" y="4111643"/>
              <a:ext cx="747627" cy="420704"/>
            </a:xfrm>
            <a:custGeom>
              <a:avLst/>
              <a:gdLst>
                <a:gd name="connsiteX0" fmla="*/ 178376 w 586607"/>
                <a:gd name="connsiteY0" fmla="*/ 316128 h 329818"/>
                <a:gd name="connsiteX1" fmla="*/ 177470 w 586607"/>
                <a:gd name="connsiteY1" fmla="*/ 321806 h 329818"/>
                <a:gd name="connsiteX2" fmla="*/ 183009 w 586607"/>
                <a:gd name="connsiteY2" fmla="*/ 327124 h 329818"/>
                <a:gd name="connsiteX3" fmla="*/ 201342 w 586607"/>
                <a:gd name="connsiteY3" fmla="*/ 329818 h 329818"/>
                <a:gd name="connsiteX4" fmla="*/ 214252 w 586607"/>
                <a:gd name="connsiteY4" fmla="*/ 323499 h 329818"/>
                <a:gd name="connsiteX5" fmla="*/ 216460 w 586607"/>
                <a:gd name="connsiteY5" fmla="*/ 319348 h 329818"/>
                <a:gd name="connsiteX6" fmla="*/ 222784 w 586607"/>
                <a:gd name="connsiteY6" fmla="*/ 321811 h 329818"/>
                <a:gd name="connsiteX7" fmla="*/ 228839 w 586607"/>
                <a:gd name="connsiteY7" fmla="*/ 320394 h 329818"/>
                <a:gd name="connsiteX8" fmla="*/ 236326 w 586607"/>
                <a:gd name="connsiteY8" fmla="*/ 327370 h 329818"/>
                <a:gd name="connsiteX9" fmla="*/ 238534 w 586607"/>
                <a:gd name="connsiteY9" fmla="*/ 319777 h 329818"/>
                <a:gd name="connsiteX10" fmla="*/ 238399 w 586607"/>
                <a:gd name="connsiteY10" fmla="*/ 314604 h 329818"/>
                <a:gd name="connsiteX11" fmla="*/ 244979 w 586607"/>
                <a:gd name="connsiteY11" fmla="*/ 301945 h 329818"/>
                <a:gd name="connsiteX12" fmla="*/ 252610 w 586607"/>
                <a:gd name="connsiteY12" fmla="*/ 298715 h 329818"/>
                <a:gd name="connsiteX13" fmla="*/ 259586 w 586607"/>
                <a:gd name="connsiteY13" fmla="*/ 300002 h 329818"/>
                <a:gd name="connsiteX14" fmla="*/ 257937 w 586607"/>
                <a:gd name="connsiteY14" fmla="*/ 293292 h 329818"/>
                <a:gd name="connsiteX15" fmla="*/ 258429 w 586607"/>
                <a:gd name="connsiteY15" fmla="*/ 291725 h 329818"/>
                <a:gd name="connsiteX16" fmla="*/ 257783 w 586607"/>
                <a:gd name="connsiteY16" fmla="*/ 285010 h 329818"/>
                <a:gd name="connsiteX17" fmla="*/ 260762 w 586607"/>
                <a:gd name="connsiteY17" fmla="*/ 279071 h 329818"/>
                <a:gd name="connsiteX18" fmla="*/ 258429 w 586607"/>
                <a:gd name="connsiteY18" fmla="*/ 272992 h 329818"/>
                <a:gd name="connsiteX19" fmla="*/ 259586 w 586607"/>
                <a:gd name="connsiteY19" fmla="*/ 266026 h 329818"/>
                <a:gd name="connsiteX20" fmla="*/ 271594 w 586607"/>
                <a:gd name="connsiteY20" fmla="*/ 267062 h 329818"/>
                <a:gd name="connsiteX21" fmla="*/ 275595 w 586607"/>
                <a:gd name="connsiteY21" fmla="*/ 274284 h 329818"/>
                <a:gd name="connsiteX22" fmla="*/ 281033 w 586607"/>
                <a:gd name="connsiteY22" fmla="*/ 273657 h 329818"/>
                <a:gd name="connsiteX23" fmla="*/ 287102 w 586607"/>
                <a:gd name="connsiteY23" fmla="*/ 268619 h 329818"/>
                <a:gd name="connsiteX24" fmla="*/ 293668 w 586607"/>
                <a:gd name="connsiteY24" fmla="*/ 268109 h 329818"/>
                <a:gd name="connsiteX25" fmla="*/ 306221 w 586607"/>
                <a:gd name="connsiteY25" fmla="*/ 276646 h 329818"/>
                <a:gd name="connsiteX26" fmla="*/ 315380 w 586607"/>
                <a:gd name="connsiteY26" fmla="*/ 278454 h 329818"/>
                <a:gd name="connsiteX27" fmla="*/ 331776 w 586607"/>
                <a:gd name="connsiteY27" fmla="*/ 280488 h 329818"/>
                <a:gd name="connsiteX28" fmla="*/ 337990 w 586607"/>
                <a:gd name="connsiteY28" fmla="*/ 281279 h 329818"/>
                <a:gd name="connsiteX29" fmla="*/ 349858 w 586607"/>
                <a:gd name="connsiteY29" fmla="*/ 289566 h 329818"/>
                <a:gd name="connsiteX30" fmla="*/ 364706 w 586607"/>
                <a:gd name="connsiteY30" fmla="*/ 294565 h 329818"/>
                <a:gd name="connsiteX31" fmla="*/ 376473 w 586607"/>
                <a:gd name="connsiteY31" fmla="*/ 293547 h 329818"/>
                <a:gd name="connsiteX32" fmla="*/ 384717 w 586607"/>
                <a:gd name="connsiteY32" fmla="*/ 290448 h 329818"/>
                <a:gd name="connsiteX33" fmla="*/ 387821 w 586607"/>
                <a:gd name="connsiteY33" fmla="*/ 286422 h 329818"/>
                <a:gd name="connsiteX34" fmla="*/ 390685 w 586607"/>
                <a:gd name="connsiteY34" fmla="*/ 282826 h 329818"/>
                <a:gd name="connsiteX35" fmla="*/ 395819 w 586607"/>
                <a:gd name="connsiteY35" fmla="*/ 282421 h 329818"/>
                <a:gd name="connsiteX36" fmla="*/ 402298 w 586607"/>
                <a:gd name="connsiteY36" fmla="*/ 285521 h 329818"/>
                <a:gd name="connsiteX37" fmla="*/ 405123 w 586607"/>
                <a:gd name="connsiteY37" fmla="*/ 284889 h 329818"/>
                <a:gd name="connsiteX38" fmla="*/ 409404 w 586607"/>
                <a:gd name="connsiteY38" fmla="*/ 290969 h 329818"/>
                <a:gd name="connsiteX39" fmla="*/ 415984 w 586607"/>
                <a:gd name="connsiteY39" fmla="*/ 289903 h 329818"/>
                <a:gd name="connsiteX40" fmla="*/ 422555 w 586607"/>
                <a:gd name="connsiteY40" fmla="*/ 292617 h 329818"/>
                <a:gd name="connsiteX41" fmla="*/ 427766 w 586607"/>
                <a:gd name="connsiteY41" fmla="*/ 289845 h 329818"/>
                <a:gd name="connsiteX42" fmla="*/ 431087 w 586607"/>
                <a:gd name="connsiteY42" fmla="*/ 295866 h 329818"/>
                <a:gd name="connsiteX43" fmla="*/ 434872 w 586607"/>
                <a:gd name="connsiteY43" fmla="*/ 304447 h 329818"/>
                <a:gd name="connsiteX44" fmla="*/ 434847 w 586607"/>
                <a:gd name="connsiteY44" fmla="*/ 304119 h 329818"/>
                <a:gd name="connsiteX45" fmla="*/ 440116 w 586607"/>
                <a:gd name="connsiteY45" fmla="*/ 285415 h 329818"/>
                <a:gd name="connsiteX46" fmla="*/ 445564 w 586607"/>
                <a:gd name="connsiteY46" fmla="*/ 279611 h 329818"/>
                <a:gd name="connsiteX47" fmla="*/ 447747 w 586607"/>
                <a:gd name="connsiteY47" fmla="*/ 273522 h 329818"/>
                <a:gd name="connsiteX48" fmla="*/ 451903 w 586607"/>
                <a:gd name="connsiteY48" fmla="*/ 268870 h 329818"/>
                <a:gd name="connsiteX49" fmla="*/ 457042 w 586607"/>
                <a:gd name="connsiteY49" fmla="*/ 267733 h 329818"/>
                <a:gd name="connsiteX50" fmla="*/ 469561 w 586607"/>
                <a:gd name="connsiteY50" fmla="*/ 272751 h 329818"/>
                <a:gd name="connsiteX51" fmla="*/ 475650 w 586607"/>
                <a:gd name="connsiteY51" fmla="*/ 269892 h 329818"/>
                <a:gd name="connsiteX52" fmla="*/ 483527 w 586607"/>
                <a:gd name="connsiteY52" fmla="*/ 272365 h 329818"/>
                <a:gd name="connsiteX53" fmla="*/ 495656 w 586607"/>
                <a:gd name="connsiteY53" fmla="*/ 266537 h 329818"/>
                <a:gd name="connsiteX54" fmla="*/ 500568 w 586607"/>
                <a:gd name="connsiteY54" fmla="*/ 262950 h 329818"/>
                <a:gd name="connsiteX55" fmla="*/ 504049 w 586607"/>
                <a:gd name="connsiteY55" fmla="*/ 258689 h 329818"/>
                <a:gd name="connsiteX56" fmla="*/ 510253 w 586607"/>
                <a:gd name="connsiteY56" fmla="*/ 255208 h 329818"/>
                <a:gd name="connsiteX57" fmla="*/ 513878 w 586607"/>
                <a:gd name="connsiteY57" fmla="*/ 245639 h 329818"/>
                <a:gd name="connsiteX58" fmla="*/ 520078 w 586607"/>
                <a:gd name="connsiteY58" fmla="*/ 239435 h 329818"/>
                <a:gd name="connsiteX59" fmla="*/ 524729 w 586607"/>
                <a:gd name="connsiteY59" fmla="*/ 239536 h 329818"/>
                <a:gd name="connsiteX60" fmla="*/ 530408 w 586607"/>
                <a:gd name="connsiteY60" fmla="*/ 229866 h 329818"/>
                <a:gd name="connsiteX61" fmla="*/ 532978 w 586607"/>
                <a:gd name="connsiteY61" fmla="*/ 205189 h 329818"/>
                <a:gd name="connsiteX62" fmla="*/ 543853 w 586607"/>
                <a:gd name="connsiteY62" fmla="*/ 198743 h 329818"/>
                <a:gd name="connsiteX63" fmla="*/ 548500 w 586607"/>
                <a:gd name="connsiteY63" fmla="*/ 194868 h 329818"/>
                <a:gd name="connsiteX64" fmla="*/ 550038 w 586607"/>
                <a:gd name="connsiteY64" fmla="*/ 186976 h 329818"/>
                <a:gd name="connsiteX65" fmla="*/ 556233 w 586607"/>
                <a:gd name="connsiteY65" fmla="*/ 182864 h 329818"/>
                <a:gd name="connsiteX66" fmla="*/ 561020 w 586607"/>
                <a:gd name="connsiteY66" fmla="*/ 176761 h 329818"/>
                <a:gd name="connsiteX67" fmla="*/ 567475 w 586607"/>
                <a:gd name="connsiteY67" fmla="*/ 171752 h 329818"/>
                <a:gd name="connsiteX68" fmla="*/ 579507 w 586607"/>
                <a:gd name="connsiteY68" fmla="*/ 170195 h 329818"/>
                <a:gd name="connsiteX69" fmla="*/ 586328 w 586607"/>
                <a:gd name="connsiteY69" fmla="*/ 166454 h 329818"/>
                <a:gd name="connsiteX70" fmla="*/ 586608 w 586607"/>
                <a:gd name="connsiteY70" fmla="*/ 166454 h 329818"/>
                <a:gd name="connsiteX71" fmla="*/ 578461 w 586607"/>
                <a:gd name="connsiteY71" fmla="*/ 147359 h 329818"/>
                <a:gd name="connsiteX72" fmla="*/ 563854 w 586607"/>
                <a:gd name="connsiteY72" fmla="*/ 140090 h 329818"/>
                <a:gd name="connsiteX73" fmla="*/ 558320 w 586607"/>
                <a:gd name="connsiteY73" fmla="*/ 129374 h 329818"/>
                <a:gd name="connsiteX74" fmla="*/ 559477 w 586607"/>
                <a:gd name="connsiteY74" fmla="*/ 123820 h 329818"/>
                <a:gd name="connsiteX75" fmla="*/ 556243 w 586607"/>
                <a:gd name="connsiteY75" fmla="*/ 120368 h 329818"/>
                <a:gd name="connsiteX76" fmla="*/ 545777 w 586607"/>
                <a:gd name="connsiteY76" fmla="*/ 116859 h 329818"/>
                <a:gd name="connsiteX77" fmla="*/ 534164 w 586607"/>
                <a:gd name="connsiteY77" fmla="*/ 119554 h 329818"/>
                <a:gd name="connsiteX78" fmla="*/ 528215 w 586607"/>
                <a:gd name="connsiteY78" fmla="*/ 113499 h 329818"/>
                <a:gd name="connsiteX79" fmla="*/ 522280 w 586607"/>
                <a:gd name="connsiteY79" fmla="*/ 110153 h 329818"/>
                <a:gd name="connsiteX80" fmla="*/ 516852 w 586607"/>
                <a:gd name="connsiteY80" fmla="*/ 112106 h 329818"/>
                <a:gd name="connsiteX81" fmla="*/ 510923 w 586607"/>
                <a:gd name="connsiteY81" fmla="*/ 102922 h 329818"/>
                <a:gd name="connsiteX82" fmla="*/ 508845 w 586607"/>
                <a:gd name="connsiteY82" fmla="*/ 104985 h 329818"/>
                <a:gd name="connsiteX83" fmla="*/ 509612 w 586607"/>
                <a:gd name="connsiteY83" fmla="*/ 109252 h 329818"/>
                <a:gd name="connsiteX84" fmla="*/ 504058 w 586607"/>
                <a:gd name="connsiteY84" fmla="*/ 110404 h 329818"/>
                <a:gd name="connsiteX85" fmla="*/ 496707 w 586607"/>
                <a:gd name="connsiteY85" fmla="*/ 115442 h 329818"/>
                <a:gd name="connsiteX86" fmla="*/ 483672 w 586607"/>
                <a:gd name="connsiteY86" fmla="*/ 102667 h 329818"/>
                <a:gd name="connsiteX87" fmla="*/ 471649 w 586607"/>
                <a:gd name="connsiteY87" fmla="*/ 96838 h 329818"/>
                <a:gd name="connsiteX88" fmla="*/ 474628 w 586607"/>
                <a:gd name="connsiteY88" fmla="*/ 91584 h 329818"/>
                <a:gd name="connsiteX89" fmla="*/ 481729 w 586607"/>
                <a:gd name="connsiteY89" fmla="*/ 87048 h 329818"/>
                <a:gd name="connsiteX90" fmla="*/ 479916 w 586607"/>
                <a:gd name="connsiteY90" fmla="*/ 81590 h 329818"/>
                <a:gd name="connsiteX91" fmla="*/ 479015 w 586607"/>
                <a:gd name="connsiteY91" fmla="*/ 74003 h 329818"/>
                <a:gd name="connsiteX92" fmla="*/ 468944 w 586607"/>
                <a:gd name="connsiteY92" fmla="*/ 78761 h 329818"/>
                <a:gd name="connsiteX93" fmla="*/ 447752 w 586607"/>
                <a:gd name="connsiteY93" fmla="*/ 81480 h 329818"/>
                <a:gd name="connsiteX94" fmla="*/ 443886 w 586607"/>
                <a:gd name="connsiteY94" fmla="*/ 76572 h 329818"/>
                <a:gd name="connsiteX95" fmla="*/ 436901 w 586607"/>
                <a:gd name="connsiteY95" fmla="*/ 73733 h 329818"/>
                <a:gd name="connsiteX96" fmla="*/ 408097 w 586607"/>
                <a:gd name="connsiteY96" fmla="*/ 63672 h 329818"/>
                <a:gd name="connsiteX97" fmla="*/ 412503 w 586607"/>
                <a:gd name="connsiteY97" fmla="*/ 77324 h 329818"/>
                <a:gd name="connsiteX98" fmla="*/ 415854 w 586607"/>
                <a:gd name="connsiteY98" fmla="*/ 88966 h 329818"/>
                <a:gd name="connsiteX99" fmla="*/ 397072 w 586607"/>
                <a:gd name="connsiteY99" fmla="*/ 105868 h 329818"/>
                <a:gd name="connsiteX100" fmla="*/ 392594 w 586607"/>
                <a:gd name="connsiteY100" fmla="*/ 110664 h 329818"/>
                <a:gd name="connsiteX101" fmla="*/ 387050 w 586607"/>
                <a:gd name="connsiteY101" fmla="*/ 108360 h 329818"/>
                <a:gd name="connsiteX102" fmla="*/ 381395 w 586607"/>
                <a:gd name="connsiteY102" fmla="*/ 102122 h 329818"/>
                <a:gd name="connsiteX103" fmla="*/ 380470 w 586607"/>
                <a:gd name="connsiteY103" fmla="*/ 96347 h 329818"/>
                <a:gd name="connsiteX104" fmla="*/ 369628 w 586607"/>
                <a:gd name="connsiteY104" fmla="*/ 83924 h 329818"/>
                <a:gd name="connsiteX105" fmla="*/ 363164 w 586607"/>
                <a:gd name="connsiteY105" fmla="*/ 81590 h 329818"/>
                <a:gd name="connsiteX106" fmla="*/ 348460 w 586607"/>
                <a:gd name="connsiteY106" fmla="*/ 72306 h 329818"/>
                <a:gd name="connsiteX107" fmla="*/ 352828 w 586607"/>
                <a:gd name="connsiteY107" fmla="*/ 63672 h 329818"/>
                <a:gd name="connsiteX108" fmla="*/ 365227 w 586607"/>
                <a:gd name="connsiteY108" fmla="*/ 49210 h 329818"/>
                <a:gd name="connsiteX109" fmla="*/ 347149 w 586607"/>
                <a:gd name="connsiteY109" fmla="*/ 40918 h 329818"/>
                <a:gd name="connsiteX110" fmla="*/ 342762 w 586607"/>
                <a:gd name="connsiteY110" fmla="*/ 42350 h 329818"/>
                <a:gd name="connsiteX111" fmla="*/ 334880 w 586607"/>
                <a:gd name="connsiteY111" fmla="*/ 42461 h 329818"/>
                <a:gd name="connsiteX112" fmla="*/ 330108 w 586607"/>
                <a:gd name="connsiteY112" fmla="*/ 47913 h 329818"/>
                <a:gd name="connsiteX113" fmla="*/ 325851 w 586607"/>
                <a:gd name="connsiteY113" fmla="*/ 37568 h 329818"/>
                <a:gd name="connsiteX114" fmla="*/ 320148 w 586607"/>
                <a:gd name="connsiteY114" fmla="*/ 38455 h 329818"/>
                <a:gd name="connsiteX115" fmla="*/ 314735 w 586607"/>
                <a:gd name="connsiteY115" fmla="*/ 37717 h 329818"/>
                <a:gd name="connsiteX116" fmla="*/ 309962 w 586607"/>
                <a:gd name="connsiteY116" fmla="*/ 30607 h 329818"/>
                <a:gd name="connsiteX117" fmla="*/ 304519 w 586607"/>
                <a:gd name="connsiteY117" fmla="*/ 32926 h 329818"/>
                <a:gd name="connsiteX118" fmla="*/ 285280 w 586607"/>
                <a:gd name="connsiteY118" fmla="*/ 27893 h 329818"/>
                <a:gd name="connsiteX119" fmla="*/ 278304 w 586607"/>
                <a:gd name="connsiteY119" fmla="*/ 24894 h 329818"/>
                <a:gd name="connsiteX120" fmla="*/ 274057 w 586607"/>
                <a:gd name="connsiteY120" fmla="*/ 29030 h 329818"/>
                <a:gd name="connsiteX121" fmla="*/ 271840 w 586607"/>
                <a:gd name="connsiteY121" fmla="*/ 22441 h 329818"/>
                <a:gd name="connsiteX122" fmla="*/ 265809 w 586607"/>
                <a:gd name="connsiteY122" fmla="*/ 18324 h 329818"/>
                <a:gd name="connsiteX123" fmla="*/ 263977 w 586607"/>
                <a:gd name="connsiteY123" fmla="*/ 13276 h 329818"/>
                <a:gd name="connsiteX124" fmla="*/ 263727 w 586607"/>
                <a:gd name="connsiteY124" fmla="*/ 5795 h 329818"/>
                <a:gd name="connsiteX125" fmla="*/ 252880 w 586607"/>
                <a:gd name="connsiteY125" fmla="*/ 1287 h 329818"/>
                <a:gd name="connsiteX126" fmla="*/ 248493 w 586607"/>
                <a:gd name="connsiteY126" fmla="*/ 3090 h 329818"/>
                <a:gd name="connsiteX127" fmla="*/ 244984 w 586607"/>
                <a:gd name="connsiteY127" fmla="*/ 0 h 329818"/>
                <a:gd name="connsiteX128" fmla="*/ 243562 w 586607"/>
                <a:gd name="connsiteY128" fmla="*/ 241 h 329818"/>
                <a:gd name="connsiteX129" fmla="*/ 239835 w 586607"/>
                <a:gd name="connsiteY129" fmla="*/ 2685 h 329818"/>
                <a:gd name="connsiteX130" fmla="*/ 241633 w 586607"/>
                <a:gd name="connsiteY130" fmla="*/ 10822 h 329818"/>
                <a:gd name="connsiteX131" fmla="*/ 241633 w 586607"/>
                <a:gd name="connsiteY131" fmla="*/ 21312 h 329818"/>
                <a:gd name="connsiteX132" fmla="*/ 227571 w 586607"/>
                <a:gd name="connsiteY132" fmla="*/ 22874 h 329818"/>
                <a:gd name="connsiteX133" fmla="*/ 231317 w 586607"/>
                <a:gd name="connsiteY133" fmla="*/ 27888 h 329818"/>
                <a:gd name="connsiteX134" fmla="*/ 227571 w 586607"/>
                <a:gd name="connsiteY134" fmla="*/ 22874 h 329818"/>
                <a:gd name="connsiteX135" fmla="*/ 222789 w 586607"/>
                <a:gd name="connsiteY135" fmla="*/ 26847 h 329818"/>
                <a:gd name="connsiteX136" fmla="*/ 218518 w 586607"/>
                <a:gd name="connsiteY136" fmla="*/ 28162 h 329818"/>
                <a:gd name="connsiteX137" fmla="*/ 213736 w 586607"/>
                <a:gd name="connsiteY137" fmla="*/ 25661 h 329818"/>
                <a:gd name="connsiteX138" fmla="*/ 210771 w 586607"/>
                <a:gd name="connsiteY138" fmla="*/ 20541 h 329818"/>
                <a:gd name="connsiteX139" fmla="*/ 209995 w 586607"/>
                <a:gd name="connsiteY139" fmla="*/ 18189 h 329818"/>
                <a:gd name="connsiteX140" fmla="*/ 207811 w 586607"/>
                <a:gd name="connsiteY140" fmla="*/ 15730 h 329818"/>
                <a:gd name="connsiteX141" fmla="*/ 205357 w 586607"/>
                <a:gd name="connsiteY141" fmla="*/ 6947 h 329818"/>
                <a:gd name="connsiteX142" fmla="*/ 199409 w 586607"/>
                <a:gd name="connsiteY142" fmla="*/ 3876 h 329818"/>
                <a:gd name="connsiteX143" fmla="*/ 196960 w 586607"/>
                <a:gd name="connsiteY143" fmla="*/ 742 h 329818"/>
                <a:gd name="connsiteX144" fmla="*/ 191011 w 586607"/>
                <a:gd name="connsiteY144" fmla="*/ 3746 h 329818"/>
                <a:gd name="connsiteX145" fmla="*/ 184701 w 586607"/>
                <a:gd name="connsiteY145" fmla="*/ 1432 h 329818"/>
                <a:gd name="connsiteX146" fmla="*/ 179789 w 586607"/>
                <a:gd name="connsiteY146" fmla="*/ 6590 h 329818"/>
                <a:gd name="connsiteX147" fmla="*/ 183129 w 586607"/>
                <a:gd name="connsiteY147" fmla="*/ 12519 h 329818"/>
                <a:gd name="connsiteX148" fmla="*/ 187911 w 586607"/>
                <a:gd name="connsiteY148" fmla="*/ 16887 h 329818"/>
                <a:gd name="connsiteX149" fmla="*/ 184566 w 586607"/>
                <a:gd name="connsiteY149" fmla="*/ 22431 h 329818"/>
                <a:gd name="connsiteX150" fmla="*/ 176944 w 586607"/>
                <a:gd name="connsiteY150" fmla="*/ 23858 h 329818"/>
                <a:gd name="connsiteX151" fmla="*/ 172929 w 586607"/>
                <a:gd name="connsiteY151" fmla="*/ 29021 h 329818"/>
                <a:gd name="connsiteX152" fmla="*/ 162858 w 586607"/>
                <a:gd name="connsiteY152" fmla="*/ 34319 h 329818"/>
                <a:gd name="connsiteX153" fmla="*/ 156278 w 586607"/>
                <a:gd name="connsiteY153" fmla="*/ 33967 h 329818"/>
                <a:gd name="connsiteX154" fmla="*/ 150715 w 586607"/>
                <a:gd name="connsiteY154" fmla="*/ 38349 h 329818"/>
                <a:gd name="connsiteX155" fmla="*/ 148531 w 586607"/>
                <a:gd name="connsiteY155" fmla="*/ 42225 h 329818"/>
                <a:gd name="connsiteX156" fmla="*/ 142066 w 586607"/>
                <a:gd name="connsiteY156" fmla="*/ 45440 h 329818"/>
                <a:gd name="connsiteX157" fmla="*/ 137173 w 586607"/>
                <a:gd name="connsiteY157" fmla="*/ 46346 h 329818"/>
                <a:gd name="connsiteX158" fmla="*/ 131716 w 586607"/>
                <a:gd name="connsiteY158" fmla="*/ 47378 h 329818"/>
                <a:gd name="connsiteX159" fmla="*/ 126838 w 586607"/>
                <a:gd name="connsiteY159" fmla="*/ 47759 h 329818"/>
                <a:gd name="connsiteX160" fmla="*/ 121786 w 586607"/>
                <a:gd name="connsiteY160" fmla="*/ 51133 h 329818"/>
                <a:gd name="connsiteX161" fmla="*/ 114829 w 586607"/>
                <a:gd name="connsiteY161" fmla="*/ 62987 h 329818"/>
                <a:gd name="connsiteX162" fmla="*/ 110047 w 586607"/>
                <a:gd name="connsiteY162" fmla="*/ 64164 h 329818"/>
                <a:gd name="connsiteX163" fmla="*/ 102146 w 586607"/>
                <a:gd name="connsiteY163" fmla="*/ 64718 h 329818"/>
                <a:gd name="connsiteX164" fmla="*/ 94153 w 586607"/>
                <a:gd name="connsiteY164" fmla="*/ 72682 h 329818"/>
                <a:gd name="connsiteX165" fmla="*/ 90147 w 586607"/>
                <a:gd name="connsiteY165" fmla="*/ 77695 h 329818"/>
                <a:gd name="connsiteX166" fmla="*/ 80458 w 586607"/>
                <a:gd name="connsiteY166" fmla="*/ 79643 h 329818"/>
                <a:gd name="connsiteX167" fmla="*/ 73892 w 586607"/>
                <a:gd name="connsiteY167" fmla="*/ 90750 h 329818"/>
                <a:gd name="connsiteX168" fmla="*/ 67678 w 586607"/>
                <a:gd name="connsiteY168" fmla="*/ 89983 h 329818"/>
                <a:gd name="connsiteX169" fmla="*/ 62775 w 586607"/>
                <a:gd name="connsiteY169" fmla="*/ 88556 h 329818"/>
                <a:gd name="connsiteX170" fmla="*/ 55930 w 586607"/>
                <a:gd name="connsiteY170" fmla="*/ 89834 h 329818"/>
                <a:gd name="connsiteX171" fmla="*/ 46626 w 586607"/>
                <a:gd name="connsiteY171" fmla="*/ 93507 h 329818"/>
                <a:gd name="connsiteX172" fmla="*/ 32424 w 586607"/>
                <a:gd name="connsiteY172" fmla="*/ 99668 h 329818"/>
                <a:gd name="connsiteX173" fmla="*/ 21062 w 586607"/>
                <a:gd name="connsiteY173" fmla="*/ 120069 h 329818"/>
                <a:gd name="connsiteX174" fmla="*/ 20397 w 586607"/>
                <a:gd name="connsiteY174" fmla="*/ 126404 h 329818"/>
                <a:gd name="connsiteX175" fmla="*/ 15638 w 586607"/>
                <a:gd name="connsiteY175" fmla="*/ 119838 h 329818"/>
                <a:gd name="connsiteX176" fmla="*/ 0 w 586607"/>
                <a:gd name="connsiteY176" fmla="*/ 107025 h 329818"/>
                <a:gd name="connsiteX177" fmla="*/ 3365 w 586607"/>
                <a:gd name="connsiteY177" fmla="*/ 113624 h 329818"/>
                <a:gd name="connsiteX178" fmla="*/ 5809 w 586607"/>
                <a:gd name="connsiteY178" fmla="*/ 119544 h 329818"/>
                <a:gd name="connsiteX179" fmla="*/ 10075 w 586607"/>
                <a:gd name="connsiteY179" fmla="*/ 129132 h 329818"/>
                <a:gd name="connsiteX180" fmla="*/ 10827 w 586607"/>
                <a:gd name="connsiteY180" fmla="*/ 134893 h 329818"/>
                <a:gd name="connsiteX181" fmla="*/ 14327 w 586607"/>
                <a:gd name="connsiteY181" fmla="*/ 137776 h 329818"/>
                <a:gd name="connsiteX182" fmla="*/ 34227 w 586607"/>
                <a:gd name="connsiteY182" fmla="*/ 150045 h 329818"/>
                <a:gd name="connsiteX183" fmla="*/ 38749 w 586607"/>
                <a:gd name="connsiteY183" fmla="*/ 163475 h 329818"/>
                <a:gd name="connsiteX184" fmla="*/ 37833 w 586607"/>
                <a:gd name="connsiteY184" fmla="*/ 169028 h 329818"/>
                <a:gd name="connsiteX185" fmla="*/ 35394 w 586607"/>
                <a:gd name="connsiteY185" fmla="*/ 170576 h 329818"/>
                <a:gd name="connsiteX186" fmla="*/ 35133 w 586607"/>
                <a:gd name="connsiteY186" fmla="*/ 175349 h 329818"/>
                <a:gd name="connsiteX187" fmla="*/ 29324 w 586607"/>
                <a:gd name="connsiteY187" fmla="*/ 181177 h 329818"/>
                <a:gd name="connsiteX188" fmla="*/ 31894 w 586607"/>
                <a:gd name="connsiteY188" fmla="*/ 186210 h 329818"/>
                <a:gd name="connsiteX189" fmla="*/ 38354 w 586607"/>
                <a:gd name="connsiteY189" fmla="*/ 190462 h 329818"/>
                <a:gd name="connsiteX190" fmla="*/ 43782 w 586607"/>
                <a:gd name="connsiteY190" fmla="*/ 200016 h 329818"/>
                <a:gd name="connsiteX191" fmla="*/ 45580 w 586607"/>
                <a:gd name="connsiteY191" fmla="*/ 206847 h 329818"/>
                <a:gd name="connsiteX192" fmla="*/ 51418 w 586607"/>
                <a:gd name="connsiteY192" fmla="*/ 212131 h 329818"/>
                <a:gd name="connsiteX193" fmla="*/ 50733 w 586607"/>
                <a:gd name="connsiteY193" fmla="*/ 217713 h 329818"/>
                <a:gd name="connsiteX194" fmla="*/ 59531 w 586607"/>
                <a:gd name="connsiteY194" fmla="*/ 226381 h 329818"/>
                <a:gd name="connsiteX195" fmla="*/ 63527 w 586607"/>
                <a:gd name="connsiteY195" fmla="*/ 232189 h 329818"/>
                <a:gd name="connsiteX196" fmla="*/ 73097 w 586607"/>
                <a:gd name="connsiteY196" fmla="*/ 236306 h 329818"/>
                <a:gd name="connsiteX197" fmla="*/ 78915 w 586607"/>
                <a:gd name="connsiteY197" fmla="*/ 234243 h 329818"/>
                <a:gd name="connsiteX198" fmla="*/ 84965 w 586607"/>
                <a:gd name="connsiteY198" fmla="*/ 239411 h 329818"/>
                <a:gd name="connsiteX199" fmla="*/ 89487 w 586607"/>
                <a:gd name="connsiteY199" fmla="*/ 246637 h 329818"/>
                <a:gd name="connsiteX200" fmla="*/ 99953 w 586607"/>
                <a:gd name="connsiteY200" fmla="*/ 257339 h 329818"/>
                <a:gd name="connsiteX201" fmla="*/ 102411 w 586607"/>
                <a:gd name="connsiteY201" fmla="*/ 262926 h 329818"/>
                <a:gd name="connsiteX202" fmla="*/ 111701 w 586607"/>
                <a:gd name="connsiteY202" fmla="*/ 264455 h 329818"/>
                <a:gd name="connsiteX203" fmla="*/ 119838 w 586607"/>
                <a:gd name="connsiteY203" fmla="*/ 274694 h 329818"/>
                <a:gd name="connsiteX204" fmla="*/ 125782 w 586607"/>
                <a:gd name="connsiteY204" fmla="*/ 281129 h 329818"/>
                <a:gd name="connsiteX205" fmla="*/ 131702 w 586607"/>
                <a:gd name="connsiteY205" fmla="*/ 279587 h 329818"/>
                <a:gd name="connsiteX206" fmla="*/ 136874 w 586607"/>
                <a:gd name="connsiteY206" fmla="*/ 281616 h 329818"/>
                <a:gd name="connsiteX207" fmla="*/ 142052 w 586607"/>
                <a:gd name="connsiteY207" fmla="*/ 289002 h 329818"/>
                <a:gd name="connsiteX208" fmla="*/ 148382 w 586607"/>
                <a:gd name="connsiteY208" fmla="*/ 292366 h 329818"/>
                <a:gd name="connsiteX209" fmla="*/ 150961 w 586607"/>
                <a:gd name="connsiteY209" fmla="*/ 292246 h 329818"/>
                <a:gd name="connsiteX210" fmla="*/ 160004 w 586607"/>
                <a:gd name="connsiteY210" fmla="*/ 305888 h 329818"/>
                <a:gd name="connsiteX211" fmla="*/ 160207 w 586607"/>
                <a:gd name="connsiteY211" fmla="*/ 305941 h 329818"/>
                <a:gd name="connsiteX212" fmla="*/ 163085 w 586607"/>
                <a:gd name="connsiteY212" fmla="*/ 302046 h 329818"/>
                <a:gd name="connsiteX213" fmla="*/ 160207 w 586607"/>
                <a:gd name="connsiteY213" fmla="*/ 305941 h 329818"/>
                <a:gd name="connsiteX214" fmla="*/ 165938 w 586607"/>
                <a:gd name="connsiteY214" fmla="*/ 307325 h 329818"/>
                <a:gd name="connsiteX215" fmla="*/ 178376 w 586607"/>
                <a:gd name="connsiteY215" fmla="*/ 316128 h 329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Lst>
              <a:rect l="l" t="t" r="r" b="b"/>
              <a:pathLst>
                <a:path w="586607" h="329818">
                  <a:moveTo>
                    <a:pt x="178376" y="316128"/>
                  </a:moveTo>
                  <a:lnTo>
                    <a:pt x="177470" y="321806"/>
                  </a:lnTo>
                  <a:lnTo>
                    <a:pt x="183009" y="327124"/>
                  </a:lnTo>
                  <a:cubicBezTo>
                    <a:pt x="183009" y="327124"/>
                    <a:pt x="197215" y="328175"/>
                    <a:pt x="201342" y="329818"/>
                  </a:cubicBezTo>
                  <a:cubicBezTo>
                    <a:pt x="208843" y="328661"/>
                    <a:pt x="212834" y="327273"/>
                    <a:pt x="214252" y="323499"/>
                  </a:cubicBezTo>
                  <a:cubicBezTo>
                    <a:pt x="215664" y="319777"/>
                    <a:pt x="216460" y="319348"/>
                    <a:pt x="216460" y="319348"/>
                  </a:cubicBezTo>
                  <a:lnTo>
                    <a:pt x="222784" y="321811"/>
                  </a:lnTo>
                  <a:lnTo>
                    <a:pt x="228839" y="320394"/>
                  </a:lnTo>
                  <a:lnTo>
                    <a:pt x="236326" y="327370"/>
                  </a:lnTo>
                  <a:lnTo>
                    <a:pt x="238534" y="319777"/>
                  </a:lnTo>
                  <a:lnTo>
                    <a:pt x="238399" y="314604"/>
                  </a:lnTo>
                  <a:lnTo>
                    <a:pt x="244979" y="301945"/>
                  </a:lnTo>
                  <a:lnTo>
                    <a:pt x="252610" y="298715"/>
                  </a:lnTo>
                  <a:lnTo>
                    <a:pt x="259586" y="300002"/>
                  </a:lnTo>
                  <a:lnTo>
                    <a:pt x="257937" y="293292"/>
                  </a:lnTo>
                  <a:lnTo>
                    <a:pt x="258429" y="291725"/>
                  </a:lnTo>
                  <a:lnTo>
                    <a:pt x="257783" y="285010"/>
                  </a:lnTo>
                  <a:lnTo>
                    <a:pt x="260762" y="279071"/>
                  </a:lnTo>
                  <a:lnTo>
                    <a:pt x="258429" y="272992"/>
                  </a:lnTo>
                  <a:lnTo>
                    <a:pt x="259586" y="266026"/>
                  </a:lnTo>
                  <a:lnTo>
                    <a:pt x="271594" y="267062"/>
                  </a:lnTo>
                  <a:lnTo>
                    <a:pt x="275595" y="274284"/>
                  </a:lnTo>
                  <a:lnTo>
                    <a:pt x="281033" y="273657"/>
                  </a:lnTo>
                  <a:lnTo>
                    <a:pt x="287102" y="268619"/>
                  </a:lnTo>
                  <a:lnTo>
                    <a:pt x="293668" y="268109"/>
                  </a:lnTo>
                  <a:lnTo>
                    <a:pt x="306221" y="276646"/>
                  </a:lnTo>
                  <a:cubicBezTo>
                    <a:pt x="306221" y="276646"/>
                    <a:pt x="314238" y="277263"/>
                    <a:pt x="315380" y="278454"/>
                  </a:cubicBezTo>
                  <a:cubicBezTo>
                    <a:pt x="316547" y="279606"/>
                    <a:pt x="324024" y="285410"/>
                    <a:pt x="331776" y="280488"/>
                  </a:cubicBezTo>
                  <a:cubicBezTo>
                    <a:pt x="334745" y="278685"/>
                    <a:pt x="337324" y="280122"/>
                    <a:pt x="337990" y="281279"/>
                  </a:cubicBezTo>
                  <a:cubicBezTo>
                    <a:pt x="338645" y="282421"/>
                    <a:pt x="347530" y="285410"/>
                    <a:pt x="349858" y="289566"/>
                  </a:cubicBezTo>
                  <a:cubicBezTo>
                    <a:pt x="352196" y="293687"/>
                    <a:pt x="360705" y="294950"/>
                    <a:pt x="364706" y="294565"/>
                  </a:cubicBezTo>
                  <a:cubicBezTo>
                    <a:pt x="368722" y="294198"/>
                    <a:pt x="373885" y="293143"/>
                    <a:pt x="376473" y="293547"/>
                  </a:cubicBezTo>
                  <a:cubicBezTo>
                    <a:pt x="379033" y="293914"/>
                    <a:pt x="382919" y="293008"/>
                    <a:pt x="384717" y="290448"/>
                  </a:cubicBezTo>
                  <a:cubicBezTo>
                    <a:pt x="386534" y="287854"/>
                    <a:pt x="387821" y="286422"/>
                    <a:pt x="387821" y="286422"/>
                  </a:cubicBezTo>
                  <a:lnTo>
                    <a:pt x="390685" y="282826"/>
                  </a:lnTo>
                  <a:lnTo>
                    <a:pt x="395819" y="282421"/>
                  </a:lnTo>
                  <a:lnTo>
                    <a:pt x="402298" y="285521"/>
                  </a:lnTo>
                  <a:lnTo>
                    <a:pt x="405123" y="284889"/>
                  </a:lnTo>
                  <a:lnTo>
                    <a:pt x="409404" y="290969"/>
                  </a:lnTo>
                  <a:lnTo>
                    <a:pt x="415984" y="289903"/>
                  </a:lnTo>
                  <a:lnTo>
                    <a:pt x="422555" y="292617"/>
                  </a:lnTo>
                  <a:lnTo>
                    <a:pt x="427766" y="289845"/>
                  </a:lnTo>
                  <a:lnTo>
                    <a:pt x="431087" y="295866"/>
                  </a:lnTo>
                  <a:cubicBezTo>
                    <a:pt x="431087" y="295866"/>
                    <a:pt x="432066" y="301974"/>
                    <a:pt x="434872" y="304447"/>
                  </a:cubicBezTo>
                  <a:cubicBezTo>
                    <a:pt x="434857" y="304336"/>
                    <a:pt x="434847" y="304119"/>
                    <a:pt x="434847" y="304119"/>
                  </a:cubicBezTo>
                  <a:lnTo>
                    <a:pt x="440116" y="285415"/>
                  </a:lnTo>
                  <a:lnTo>
                    <a:pt x="445564" y="279611"/>
                  </a:lnTo>
                  <a:lnTo>
                    <a:pt x="447747" y="273522"/>
                  </a:lnTo>
                  <a:lnTo>
                    <a:pt x="451903" y="268870"/>
                  </a:lnTo>
                  <a:lnTo>
                    <a:pt x="457042" y="267733"/>
                  </a:lnTo>
                  <a:lnTo>
                    <a:pt x="469561" y="272751"/>
                  </a:lnTo>
                  <a:lnTo>
                    <a:pt x="475650" y="269892"/>
                  </a:lnTo>
                  <a:cubicBezTo>
                    <a:pt x="475650" y="269892"/>
                    <a:pt x="480307" y="270037"/>
                    <a:pt x="483527" y="272365"/>
                  </a:cubicBezTo>
                  <a:cubicBezTo>
                    <a:pt x="487798" y="267598"/>
                    <a:pt x="495656" y="266537"/>
                    <a:pt x="495656" y="266537"/>
                  </a:cubicBezTo>
                  <a:lnTo>
                    <a:pt x="500568" y="262950"/>
                  </a:lnTo>
                  <a:cubicBezTo>
                    <a:pt x="500568" y="262950"/>
                    <a:pt x="503017" y="261138"/>
                    <a:pt x="504049" y="258689"/>
                  </a:cubicBezTo>
                  <a:cubicBezTo>
                    <a:pt x="505104" y="256230"/>
                    <a:pt x="506416" y="255705"/>
                    <a:pt x="510253" y="255208"/>
                  </a:cubicBezTo>
                  <a:cubicBezTo>
                    <a:pt x="514143" y="254678"/>
                    <a:pt x="513878" y="245639"/>
                    <a:pt x="513878" y="245639"/>
                  </a:cubicBezTo>
                  <a:lnTo>
                    <a:pt x="520078" y="239435"/>
                  </a:lnTo>
                  <a:lnTo>
                    <a:pt x="524729" y="239536"/>
                  </a:lnTo>
                  <a:cubicBezTo>
                    <a:pt x="524729" y="239536"/>
                    <a:pt x="527815" y="235424"/>
                    <a:pt x="530408" y="229866"/>
                  </a:cubicBezTo>
                  <a:cubicBezTo>
                    <a:pt x="527034" y="215924"/>
                    <a:pt x="531686" y="206770"/>
                    <a:pt x="532978" y="205189"/>
                  </a:cubicBezTo>
                  <a:cubicBezTo>
                    <a:pt x="534308" y="203665"/>
                    <a:pt x="543853" y="198743"/>
                    <a:pt x="543853" y="198743"/>
                  </a:cubicBezTo>
                  <a:cubicBezTo>
                    <a:pt x="543853" y="198743"/>
                    <a:pt x="545126" y="197577"/>
                    <a:pt x="548500" y="194868"/>
                  </a:cubicBezTo>
                  <a:cubicBezTo>
                    <a:pt x="551846" y="192153"/>
                    <a:pt x="550038" y="186976"/>
                    <a:pt x="550038" y="186976"/>
                  </a:cubicBezTo>
                  <a:lnTo>
                    <a:pt x="556233" y="182864"/>
                  </a:lnTo>
                  <a:lnTo>
                    <a:pt x="561020" y="176761"/>
                  </a:lnTo>
                  <a:lnTo>
                    <a:pt x="567475" y="171752"/>
                  </a:lnTo>
                  <a:lnTo>
                    <a:pt x="579507" y="170195"/>
                  </a:lnTo>
                  <a:lnTo>
                    <a:pt x="586328" y="166454"/>
                  </a:lnTo>
                  <a:lnTo>
                    <a:pt x="586608" y="166454"/>
                  </a:lnTo>
                  <a:cubicBezTo>
                    <a:pt x="584448" y="157656"/>
                    <a:pt x="581301" y="147085"/>
                    <a:pt x="578461" y="147359"/>
                  </a:cubicBezTo>
                  <a:cubicBezTo>
                    <a:pt x="575347" y="147605"/>
                    <a:pt x="566173" y="144645"/>
                    <a:pt x="563854" y="140090"/>
                  </a:cubicBezTo>
                  <a:cubicBezTo>
                    <a:pt x="561545" y="135597"/>
                    <a:pt x="558320" y="129374"/>
                    <a:pt x="558320" y="129374"/>
                  </a:cubicBezTo>
                  <a:lnTo>
                    <a:pt x="559477" y="123820"/>
                  </a:lnTo>
                  <a:lnTo>
                    <a:pt x="556243" y="120368"/>
                  </a:lnTo>
                  <a:cubicBezTo>
                    <a:pt x="556243" y="120368"/>
                    <a:pt x="547329" y="120079"/>
                    <a:pt x="545777" y="116859"/>
                  </a:cubicBezTo>
                  <a:cubicBezTo>
                    <a:pt x="540098" y="115567"/>
                    <a:pt x="536873" y="116999"/>
                    <a:pt x="534164" y="119554"/>
                  </a:cubicBezTo>
                  <a:cubicBezTo>
                    <a:pt x="530683" y="115326"/>
                    <a:pt x="528215" y="113499"/>
                    <a:pt x="528215" y="113499"/>
                  </a:cubicBezTo>
                  <a:lnTo>
                    <a:pt x="522280" y="110153"/>
                  </a:lnTo>
                  <a:lnTo>
                    <a:pt x="516852" y="112106"/>
                  </a:lnTo>
                  <a:lnTo>
                    <a:pt x="510923" y="102922"/>
                  </a:lnTo>
                  <a:lnTo>
                    <a:pt x="508845" y="104985"/>
                  </a:lnTo>
                  <a:lnTo>
                    <a:pt x="509612" y="109252"/>
                  </a:lnTo>
                  <a:lnTo>
                    <a:pt x="504058" y="110404"/>
                  </a:lnTo>
                  <a:lnTo>
                    <a:pt x="496707" y="115442"/>
                  </a:lnTo>
                  <a:cubicBezTo>
                    <a:pt x="496707" y="115442"/>
                    <a:pt x="487152" y="114159"/>
                    <a:pt x="483672" y="102667"/>
                  </a:cubicBezTo>
                  <a:cubicBezTo>
                    <a:pt x="477207" y="99442"/>
                    <a:pt x="471649" y="96838"/>
                    <a:pt x="471649" y="96838"/>
                  </a:cubicBezTo>
                  <a:lnTo>
                    <a:pt x="474628" y="91584"/>
                  </a:lnTo>
                  <a:lnTo>
                    <a:pt x="481729" y="87048"/>
                  </a:lnTo>
                  <a:lnTo>
                    <a:pt x="479916" y="81590"/>
                  </a:lnTo>
                  <a:lnTo>
                    <a:pt x="479015" y="74003"/>
                  </a:lnTo>
                  <a:cubicBezTo>
                    <a:pt x="479015" y="74003"/>
                    <a:pt x="471914" y="75786"/>
                    <a:pt x="468944" y="78761"/>
                  </a:cubicBezTo>
                  <a:cubicBezTo>
                    <a:pt x="459631" y="81354"/>
                    <a:pt x="447752" y="81480"/>
                    <a:pt x="447752" y="81480"/>
                  </a:cubicBezTo>
                  <a:cubicBezTo>
                    <a:pt x="447752" y="81480"/>
                    <a:pt x="446971" y="76832"/>
                    <a:pt x="443886" y="76572"/>
                  </a:cubicBezTo>
                  <a:cubicBezTo>
                    <a:pt x="440772" y="76302"/>
                    <a:pt x="439229" y="76182"/>
                    <a:pt x="436901" y="73733"/>
                  </a:cubicBezTo>
                  <a:cubicBezTo>
                    <a:pt x="434582" y="71269"/>
                    <a:pt x="417416" y="63672"/>
                    <a:pt x="408097" y="63672"/>
                  </a:cubicBezTo>
                  <a:cubicBezTo>
                    <a:pt x="404757" y="70204"/>
                    <a:pt x="410416" y="75782"/>
                    <a:pt x="412503" y="77324"/>
                  </a:cubicBezTo>
                  <a:cubicBezTo>
                    <a:pt x="414557" y="78901"/>
                    <a:pt x="420255" y="86002"/>
                    <a:pt x="415854" y="88966"/>
                  </a:cubicBezTo>
                  <a:cubicBezTo>
                    <a:pt x="411452" y="91921"/>
                    <a:pt x="401541" y="98617"/>
                    <a:pt x="397072" y="105868"/>
                  </a:cubicBezTo>
                  <a:cubicBezTo>
                    <a:pt x="395453" y="108977"/>
                    <a:pt x="392594" y="110664"/>
                    <a:pt x="392594" y="110664"/>
                  </a:cubicBezTo>
                  <a:lnTo>
                    <a:pt x="387050" y="108360"/>
                  </a:lnTo>
                  <a:lnTo>
                    <a:pt x="381395" y="102122"/>
                  </a:lnTo>
                  <a:lnTo>
                    <a:pt x="380470" y="96347"/>
                  </a:lnTo>
                  <a:lnTo>
                    <a:pt x="369628" y="83924"/>
                  </a:lnTo>
                  <a:lnTo>
                    <a:pt x="363164" y="81590"/>
                  </a:lnTo>
                  <a:cubicBezTo>
                    <a:pt x="363164" y="81590"/>
                    <a:pt x="356824" y="71679"/>
                    <a:pt x="348460" y="72306"/>
                  </a:cubicBezTo>
                  <a:cubicBezTo>
                    <a:pt x="349463" y="66873"/>
                    <a:pt x="350504" y="64964"/>
                    <a:pt x="352828" y="63672"/>
                  </a:cubicBezTo>
                  <a:cubicBezTo>
                    <a:pt x="355151" y="62361"/>
                    <a:pt x="364706" y="53847"/>
                    <a:pt x="365227" y="49210"/>
                  </a:cubicBezTo>
                  <a:cubicBezTo>
                    <a:pt x="365362" y="47238"/>
                    <a:pt x="347424" y="32516"/>
                    <a:pt x="347149" y="40918"/>
                  </a:cubicBezTo>
                  <a:cubicBezTo>
                    <a:pt x="346633" y="44167"/>
                    <a:pt x="344184" y="43362"/>
                    <a:pt x="342762" y="42350"/>
                  </a:cubicBezTo>
                  <a:cubicBezTo>
                    <a:pt x="341326" y="41309"/>
                    <a:pt x="337464" y="38850"/>
                    <a:pt x="334880" y="42461"/>
                  </a:cubicBezTo>
                  <a:cubicBezTo>
                    <a:pt x="332311" y="46105"/>
                    <a:pt x="330108" y="47913"/>
                    <a:pt x="330108" y="47913"/>
                  </a:cubicBezTo>
                  <a:lnTo>
                    <a:pt x="325851" y="37568"/>
                  </a:lnTo>
                  <a:lnTo>
                    <a:pt x="320148" y="38455"/>
                  </a:lnTo>
                  <a:lnTo>
                    <a:pt x="314735" y="37717"/>
                  </a:lnTo>
                  <a:lnTo>
                    <a:pt x="309962" y="30607"/>
                  </a:lnTo>
                  <a:lnTo>
                    <a:pt x="304519" y="32926"/>
                  </a:lnTo>
                  <a:lnTo>
                    <a:pt x="285280" y="27893"/>
                  </a:lnTo>
                  <a:lnTo>
                    <a:pt x="278304" y="24894"/>
                  </a:lnTo>
                  <a:lnTo>
                    <a:pt x="274057" y="29030"/>
                  </a:lnTo>
                  <a:cubicBezTo>
                    <a:pt x="274057" y="29030"/>
                    <a:pt x="274834" y="23983"/>
                    <a:pt x="271840" y="22441"/>
                  </a:cubicBezTo>
                  <a:cubicBezTo>
                    <a:pt x="268890" y="20927"/>
                    <a:pt x="265809" y="18324"/>
                    <a:pt x="265809" y="18324"/>
                  </a:cubicBezTo>
                  <a:lnTo>
                    <a:pt x="263977" y="13276"/>
                  </a:lnTo>
                  <a:cubicBezTo>
                    <a:pt x="263977" y="13276"/>
                    <a:pt x="266450" y="7867"/>
                    <a:pt x="263727" y="5795"/>
                  </a:cubicBezTo>
                  <a:cubicBezTo>
                    <a:pt x="261013" y="3755"/>
                    <a:pt x="255204" y="5"/>
                    <a:pt x="252880" y="1287"/>
                  </a:cubicBezTo>
                  <a:cubicBezTo>
                    <a:pt x="250557" y="2574"/>
                    <a:pt x="248493" y="3090"/>
                    <a:pt x="248493" y="3090"/>
                  </a:cubicBezTo>
                  <a:lnTo>
                    <a:pt x="244984" y="0"/>
                  </a:lnTo>
                  <a:lnTo>
                    <a:pt x="243562" y="241"/>
                  </a:lnTo>
                  <a:lnTo>
                    <a:pt x="239835" y="2685"/>
                  </a:lnTo>
                  <a:cubicBezTo>
                    <a:pt x="239835" y="2685"/>
                    <a:pt x="242410" y="7723"/>
                    <a:pt x="241633" y="10822"/>
                  </a:cubicBezTo>
                  <a:cubicBezTo>
                    <a:pt x="240867" y="13942"/>
                    <a:pt x="240086" y="19760"/>
                    <a:pt x="241633" y="21312"/>
                  </a:cubicBezTo>
                  <a:cubicBezTo>
                    <a:pt x="235656" y="20445"/>
                    <a:pt x="231100" y="21009"/>
                    <a:pt x="227571" y="22874"/>
                  </a:cubicBezTo>
                  <a:cubicBezTo>
                    <a:pt x="228155" y="24383"/>
                    <a:pt x="229312" y="26065"/>
                    <a:pt x="231317" y="27888"/>
                  </a:cubicBezTo>
                  <a:cubicBezTo>
                    <a:pt x="229312" y="26065"/>
                    <a:pt x="228155" y="24383"/>
                    <a:pt x="227571" y="22874"/>
                  </a:cubicBezTo>
                  <a:cubicBezTo>
                    <a:pt x="225701" y="23829"/>
                    <a:pt x="224043" y="25024"/>
                    <a:pt x="222789" y="26847"/>
                  </a:cubicBezTo>
                  <a:cubicBezTo>
                    <a:pt x="221878" y="28408"/>
                    <a:pt x="220225" y="28818"/>
                    <a:pt x="218518" y="28162"/>
                  </a:cubicBezTo>
                  <a:cubicBezTo>
                    <a:pt x="216845" y="27493"/>
                    <a:pt x="213736" y="25661"/>
                    <a:pt x="213736" y="25661"/>
                  </a:cubicBezTo>
                  <a:lnTo>
                    <a:pt x="210771" y="20541"/>
                  </a:lnTo>
                  <a:lnTo>
                    <a:pt x="209995" y="18189"/>
                  </a:lnTo>
                  <a:lnTo>
                    <a:pt x="207811" y="15730"/>
                  </a:lnTo>
                  <a:lnTo>
                    <a:pt x="205357" y="6947"/>
                  </a:lnTo>
                  <a:cubicBezTo>
                    <a:pt x="205357" y="6947"/>
                    <a:pt x="199409" y="6585"/>
                    <a:pt x="199409" y="3876"/>
                  </a:cubicBezTo>
                  <a:cubicBezTo>
                    <a:pt x="199409" y="1152"/>
                    <a:pt x="198883" y="-926"/>
                    <a:pt x="196960" y="742"/>
                  </a:cubicBezTo>
                  <a:cubicBezTo>
                    <a:pt x="195017" y="2430"/>
                    <a:pt x="191011" y="3746"/>
                    <a:pt x="191011" y="3746"/>
                  </a:cubicBezTo>
                  <a:lnTo>
                    <a:pt x="184701" y="1432"/>
                  </a:lnTo>
                  <a:cubicBezTo>
                    <a:pt x="184701" y="1432"/>
                    <a:pt x="179518" y="3881"/>
                    <a:pt x="179789" y="6590"/>
                  </a:cubicBezTo>
                  <a:cubicBezTo>
                    <a:pt x="180025" y="9265"/>
                    <a:pt x="183129" y="12519"/>
                    <a:pt x="183129" y="12519"/>
                  </a:cubicBezTo>
                  <a:cubicBezTo>
                    <a:pt x="183129" y="12519"/>
                    <a:pt x="188422" y="14308"/>
                    <a:pt x="187911" y="16887"/>
                  </a:cubicBezTo>
                  <a:cubicBezTo>
                    <a:pt x="187405" y="19500"/>
                    <a:pt x="187405" y="22812"/>
                    <a:pt x="184566" y="22431"/>
                  </a:cubicBezTo>
                  <a:cubicBezTo>
                    <a:pt x="181717" y="22045"/>
                    <a:pt x="178101" y="21307"/>
                    <a:pt x="176944" y="23858"/>
                  </a:cubicBezTo>
                  <a:cubicBezTo>
                    <a:pt x="175783" y="26456"/>
                    <a:pt x="175903" y="27372"/>
                    <a:pt x="172929" y="29021"/>
                  </a:cubicBezTo>
                  <a:cubicBezTo>
                    <a:pt x="169969" y="30689"/>
                    <a:pt x="165177" y="35239"/>
                    <a:pt x="162858" y="34319"/>
                  </a:cubicBezTo>
                  <a:cubicBezTo>
                    <a:pt x="160539" y="33441"/>
                    <a:pt x="158982" y="32260"/>
                    <a:pt x="156278" y="33967"/>
                  </a:cubicBezTo>
                  <a:cubicBezTo>
                    <a:pt x="153564" y="35611"/>
                    <a:pt x="151626" y="36262"/>
                    <a:pt x="150715" y="38349"/>
                  </a:cubicBezTo>
                  <a:cubicBezTo>
                    <a:pt x="149823" y="40417"/>
                    <a:pt x="148531" y="42225"/>
                    <a:pt x="148531" y="42225"/>
                  </a:cubicBezTo>
                  <a:cubicBezTo>
                    <a:pt x="148531" y="42225"/>
                    <a:pt x="144009" y="46476"/>
                    <a:pt x="142066" y="45440"/>
                  </a:cubicBezTo>
                  <a:cubicBezTo>
                    <a:pt x="140124" y="44399"/>
                    <a:pt x="138451" y="45194"/>
                    <a:pt x="137173" y="46346"/>
                  </a:cubicBezTo>
                  <a:cubicBezTo>
                    <a:pt x="135877" y="47494"/>
                    <a:pt x="133543" y="48279"/>
                    <a:pt x="131716" y="47378"/>
                  </a:cubicBezTo>
                  <a:cubicBezTo>
                    <a:pt x="129928" y="46472"/>
                    <a:pt x="128761" y="46717"/>
                    <a:pt x="126838" y="47759"/>
                  </a:cubicBezTo>
                  <a:cubicBezTo>
                    <a:pt x="124890" y="48781"/>
                    <a:pt x="122957" y="48675"/>
                    <a:pt x="121786" y="51133"/>
                  </a:cubicBezTo>
                  <a:cubicBezTo>
                    <a:pt x="120619" y="53572"/>
                    <a:pt x="117780" y="62751"/>
                    <a:pt x="114829" y="62987"/>
                  </a:cubicBezTo>
                  <a:cubicBezTo>
                    <a:pt x="111831" y="63238"/>
                    <a:pt x="110047" y="64164"/>
                    <a:pt x="110047" y="64164"/>
                  </a:cubicBezTo>
                  <a:cubicBezTo>
                    <a:pt x="110047" y="64164"/>
                    <a:pt x="105125" y="62987"/>
                    <a:pt x="102146" y="64718"/>
                  </a:cubicBezTo>
                  <a:cubicBezTo>
                    <a:pt x="99201" y="66352"/>
                    <a:pt x="94274" y="70247"/>
                    <a:pt x="94153" y="72682"/>
                  </a:cubicBezTo>
                  <a:cubicBezTo>
                    <a:pt x="94023" y="75145"/>
                    <a:pt x="92331" y="77584"/>
                    <a:pt x="90147" y="77695"/>
                  </a:cubicBezTo>
                  <a:cubicBezTo>
                    <a:pt x="87969" y="77859"/>
                    <a:pt x="80458" y="79643"/>
                    <a:pt x="80458" y="79643"/>
                  </a:cubicBezTo>
                  <a:cubicBezTo>
                    <a:pt x="80458" y="79643"/>
                    <a:pt x="76823" y="88696"/>
                    <a:pt x="73892" y="90750"/>
                  </a:cubicBezTo>
                  <a:cubicBezTo>
                    <a:pt x="70917" y="92827"/>
                    <a:pt x="69876" y="91430"/>
                    <a:pt x="67678" y="89983"/>
                  </a:cubicBezTo>
                  <a:cubicBezTo>
                    <a:pt x="65485" y="88556"/>
                    <a:pt x="64328" y="88330"/>
                    <a:pt x="62775" y="88556"/>
                  </a:cubicBezTo>
                  <a:cubicBezTo>
                    <a:pt x="61218" y="88855"/>
                    <a:pt x="58620" y="87395"/>
                    <a:pt x="55930" y="89834"/>
                  </a:cubicBezTo>
                  <a:cubicBezTo>
                    <a:pt x="53231" y="92288"/>
                    <a:pt x="51423" y="92972"/>
                    <a:pt x="46626" y="93507"/>
                  </a:cubicBezTo>
                  <a:cubicBezTo>
                    <a:pt x="41849" y="93999"/>
                    <a:pt x="35249" y="95812"/>
                    <a:pt x="32424" y="99668"/>
                  </a:cubicBezTo>
                  <a:cubicBezTo>
                    <a:pt x="29580" y="103558"/>
                    <a:pt x="20927" y="117866"/>
                    <a:pt x="21062" y="120069"/>
                  </a:cubicBezTo>
                  <a:cubicBezTo>
                    <a:pt x="21192" y="122287"/>
                    <a:pt x="21312" y="125763"/>
                    <a:pt x="20397" y="126404"/>
                  </a:cubicBezTo>
                  <a:cubicBezTo>
                    <a:pt x="19519" y="127059"/>
                    <a:pt x="15638" y="123690"/>
                    <a:pt x="15638" y="119838"/>
                  </a:cubicBezTo>
                  <a:cubicBezTo>
                    <a:pt x="15638" y="115943"/>
                    <a:pt x="12529" y="107179"/>
                    <a:pt x="0" y="107025"/>
                  </a:cubicBezTo>
                  <a:cubicBezTo>
                    <a:pt x="3510" y="110756"/>
                    <a:pt x="3365" y="111291"/>
                    <a:pt x="3365" y="113624"/>
                  </a:cubicBezTo>
                  <a:cubicBezTo>
                    <a:pt x="3365" y="115943"/>
                    <a:pt x="4136" y="118262"/>
                    <a:pt x="5809" y="119544"/>
                  </a:cubicBezTo>
                  <a:cubicBezTo>
                    <a:pt x="7506" y="120865"/>
                    <a:pt x="10210" y="126519"/>
                    <a:pt x="10075" y="129132"/>
                  </a:cubicBezTo>
                  <a:cubicBezTo>
                    <a:pt x="9940" y="131678"/>
                    <a:pt x="9555" y="134826"/>
                    <a:pt x="10827" y="134893"/>
                  </a:cubicBezTo>
                  <a:cubicBezTo>
                    <a:pt x="12134" y="135071"/>
                    <a:pt x="13546" y="135308"/>
                    <a:pt x="14327" y="137776"/>
                  </a:cubicBezTo>
                  <a:cubicBezTo>
                    <a:pt x="15118" y="140235"/>
                    <a:pt x="25830" y="149293"/>
                    <a:pt x="34227" y="150045"/>
                  </a:cubicBezTo>
                  <a:cubicBezTo>
                    <a:pt x="37216" y="158312"/>
                    <a:pt x="38749" y="163475"/>
                    <a:pt x="38749" y="163475"/>
                  </a:cubicBezTo>
                  <a:lnTo>
                    <a:pt x="37833" y="169028"/>
                  </a:lnTo>
                  <a:lnTo>
                    <a:pt x="35394" y="170576"/>
                  </a:lnTo>
                  <a:lnTo>
                    <a:pt x="35133" y="175349"/>
                  </a:lnTo>
                  <a:lnTo>
                    <a:pt x="29324" y="181177"/>
                  </a:lnTo>
                  <a:lnTo>
                    <a:pt x="31894" y="186210"/>
                  </a:lnTo>
                  <a:lnTo>
                    <a:pt x="38354" y="190462"/>
                  </a:lnTo>
                  <a:lnTo>
                    <a:pt x="43782" y="200016"/>
                  </a:lnTo>
                  <a:lnTo>
                    <a:pt x="45580" y="206847"/>
                  </a:lnTo>
                  <a:lnTo>
                    <a:pt x="51418" y="212131"/>
                  </a:lnTo>
                  <a:lnTo>
                    <a:pt x="50733" y="217713"/>
                  </a:lnTo>
                  <a:lnTo>
                    <a:pt x="59531" y="226381"/>
                  </a:lnTo>
                  <a:lnTo>
                    <a:pt x="63527" y="232189"/>
                  </a:lnTo>
                  <a:lnTo>
                    <a:pt x="73097" y="236306"/>
                  </a:lnTo>
                  <a:lnTo>
                    <a:pt x="78915" y="234243"/>
                  </a:lnTo>
                  <a:lnTo>
                    <a:pt x="84965" y="239411"/>
                  </a:lnTo>
                  <a:lnTo>
                    <a:pt x="89487" y="246637"/>
                  </a:lnTo>
                  <a:lnTo>
                    <a:pt x="99953" y="257339"/>
                  </a:lnTo>
                  <a:lnTo>
                    <a:pt x="102411" y="262926"/>
                  </a:lnTo>
                  <a:cubicBezTo>
                    <a:pt x="102411" y="262926"/>
                    <a:pt x="108225" y="262010"/>
                    <a:pt x="111701" y="264455"/>
                  </a:cubicBezTo>
                  <a:cubicBezTo>
                    <a:pt x="115201" y="266904"/>
                    <a:pt x="119703" y="272597"/>
                    <a:pt x="119838" y="274694"/>
                  </a:cubicBezTo>
                  <a:cubicBezTo>
                    <a:pt x="119963" y="276728"/>
                    <a:pt x="123328" y="282137"/>
                    <a:pt x="125782" y="281129"/>
                  </a:cubicBezTo>
                  <a:cubicBezTo>
                    <a:pt x="128231" y="280098"/>
                    <a:pt x="131702" y="279587"/>
                    <a:pt x="131702" y="279587"/>
                  </a:cubicBezTo>
                  <a:lnTo>
                    <a:pt x="136874" y="281616"/>
                  </a:lnTo>
                  <a:lnTo>
                    <a:pt x="142052" y="289002"/>
                  </a:lnTo>
                  <a:lnTo>
                    <a:pt x="148382" y="292366"/>
                  </a:lnTo>
                  <a:lnTo>
                    <a:pt x="150961" y="292246"/>
                  </a:lnTo>
                  <a:lnTo>
                    <a:pt x="160004" y="305888"/>
                  </a:lnTo>
                  <a:lnTo>
                    <a:pt x="160207" y="305941"/>
                  </a:lnTo>
                  <a:cubicBezTo>
                    <a:pt x="160930" y="304953"/>
                    <a:pt x="161831" y="303733"/>
                    <a:pt x="163085" y="302046"/>
                  </a:cubicBezTo>
                  <a:cubicBezTo>
                    <a:pt x="161836" y="303733"/>
                    <a:pt x="160935" y="304953"/>
                    <a:pt x="160207" y="305941"/>
                  </a:cubicBezTo>
                  <a:lnTo>
                    <a:pt x="165938" y="307325"/>
                  </a:lnTo>
                  <a:lnTo>
                    <a:pt x="178376" y="31612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20" name="Freihandform: Form 619">
              <a:extLst>
                <a:ext uri="{FF2B5EF4-FFF2-40B4-BE49-F238E27FC236}">
                  <a16:creationId xmlns:a16="http://schemas.microsoft.com/office/drawing/2014/main" id="{AD2A402F-318D-6BD7-F79C-173B9B5A97E6}"/>
                </a:ext>
              </a:extLst>
            </p:cNvPr>
            <p:cNvSpPr/>
            <p:nvPr/>
          </p:nvSpPr>
          <p:spPr>
            <a:xfrm>
              <a:off x="4911895" y="4268812"/>
              <a:ext cx="84128" cy="125417"/>
            </a:xfrm>
            <a:custGeom>
              <a:avLst/>
              <a:gdLst>
                <a:gd name="connsiteX0" fmla="*/ 50632 w 65489"/>
                <a:gd name="connsiteY0" fmla="*/ 88495 h 98028"/>
                <a:gd name="connsiteX1" fmla="*/ 52594 w 65489"/>
                <a:gd name="connsiteY1" fmla="*/ 80738 h 98028"/>
                <a:gd name="connsiteX2" fmla="*/ 57087 w 65489"/>
                <a:gd name="connsiteY2" fmla="*/ 73888 h 98028"/>
                <a:gd name="connsiteX3" fmla="*/ 60061 w 65489"/>
                <a:gd name="connsiteY3" fmla="*/ 67823 h 98028"/>
                <a:gd name="connsiteX4" fmla="*/ 65094 w 65489"/>
                <a:gd name="connsiteY4" fmla="*/ 65235 h 98028"/>
                <a:gd name="connsiteX5" fmla="*/ 64212 w 65489"/>
                <a:gd name="connsiteY5" fmla="*/ 61344 h 98028"/>
                <a:gd name="connsiteX6" fmla="*/ 65489 w 65489"/>
                <a:gd name="connsiteY6" fmla="*/ 57358 h 98028"/>
                <a:gd name="connsiteX7" fmla="*/ 63306 w 65489"/>
                <a:gd name="connsiteY7" fmla="*/ 50262 h 98028"/>
                <a:gd name="connsiteX8" fmla="*/ 57608 w 65489"/>
                <a:gd name="connsiteY8" fmla="*/ 50888 h 98028"/>
                <a:gd name="connsiteX9" fmla="*/ 43266 w 65489"/>
                <a:gd name="connsiteY9" fmla="*/ 39415 h 98028"/>
                <a:gd name="connsiteX10" fmla="*/ 41203 w 65489"/>
                <a:gd name="connsiteY10" fmla="*/ 33857 h 98028"/>
                <a:gd name="connsiteX11" fmla="*/ 34613 w 65489"/>
                <a:gd name="connsiteY11" fmla="*/ 24181 h 98028"/>
                <a:gd name="connsiteX12" fmla="*/ 33321 w 65489"/>
                <a:gd name="connsiteY12" fmla="*/ 14116 h 98028"/>
                <a:gd name="connsiteX13" fmla="*/ 35263 w 65489"/>
                <a:gd name="connsiteY13" fmla="*/ 6861 h 98028"/>
                <a:gd name="connsiteX14" fmla="*/ 32800 w 65489"/>
                <a:gd name="connsiteY14" fmla="*/ 1939 h 98028"/>
                <a:gd name="connsiteX15" fmla="*/ 27507 w 65489"/>
                <a:gd name="connsiteY15" fmla="*/ 2228 h 98028"/>
                <a:gd name="connsiteX16" fmla="*/ 9690 w 65489"/>
                <a:gd name="connsiteY16" fmla="*/ 18213 h 98028"/>
                <a:gd name="connsiteX17" fmla="*/ 8913 w 65489"/>
                <a:gd name="connsiteY17" fmla="*/ 26505 h 98028"/>
                <a:gd name="connsiteX18" fmla="*/ 140 w 65489"/>
                <a:gd name="connsiteY18" fmla="*/ 37467 h 98028"/>
                <a:gd name="connsiteX19" fmla="*/ 2083 w 65489"/>
                <a:gd name="connsiteY19" fmla="*/ 40051 h 98028"/>
                <a:gd name="connsiteX20" fmla="*/ 0 w 65489"/>
                <a:gd name="connsiteY20" fmla="*/ 42129 h 98028"/>
                <a:gd name="connsiteX21" fmla="*/ 0 w 65489"/>
                <a:gd name="connsiteY21" fmla="*/ 47311 h 98028"/>
                <a:gd name="connsiteX22" fmla="*/ 2083 w 65489"/>
                <a:gd name="connsiteY22" fmla="*/ 51814 h 98028"/>
                <a:gd name="connsiteX23" fmla="*/ 5043 w 65489"/>
                <a:gd name="connsiteY23" fmla="*/ 57237 h 98028"/>
                <a:gd name="connsiteX24" fmla="*/ 8504 w 65489"/>
                <a:gd name="connsiteY24" fmla="*/ 61619 h 98028"/>
                <a:gd name="connsiteX25" fmla="*/ 12134 w 65489"/>
                <a:gd name="connsiteY25" fmla="*/ 68344 h 98028"/>
                <a:gd name="connsiteX26" fmla="*/ 9815 w 65489"/>
                <a:gd name="connsiteY26" fmla="*/ 73015 h 98028"/>
                <a:gd name="connsiteX27" fmla="*/ 8263 w 65489"/>
                <a:gd name="connsiteY27" fmla="*/ 79051 h 98028"/>
                <a:gd name="connsiteX28" fmla="*/ 3939 w 65489"/>
                <a:gd name="connsiteY28" fmla="*/ 81601 h 98028"/>
                <a:gd name="connsiteX29" fmla="*/ 8002 w 65489"/>
                <a:gd name="connsiteY29" fmla="*/ 89497 h 98028"/>
                <a:gd name="connsiteX30" fmla="*/ 15099 w 65489"/>
                <a:gd name="connsiteY30" fmla="*/ 91223 h 98028"/>
                <a:gd name="connsiteX31" fmla="*/ 21954 w 65489"/>
                <a:gd name="connsiteY31" fmla="*/ 97403 h 98028"/>
                <a:gd name="connsiteX32" fmla="*/ 28929 w 65489"/>
                <a:gd name="connsiteY32" fmla="*/ 95181 h 98028"/>
                <a:gd name="connsiteX33" fmla="*/ 31108 w 65489"/>
                <a:gd name="connsiteY33" fmla="*/ 92351 h 98028"/>
                <a:gd name="connsiteX34" fmla="*/ 41198 w 65489"/>
                <a:gd name="connsiteY34" fmla="*/ 90283 h 98028"/>
                <a:gd name="connsiteX35" fmla="*/ 50328 w 65489"/>
                <a:gd name="connsiteY35" fmla="*/ 96733 h 98028"/>
                <a:gd name="connsiteX36" fmla="*/ 50632 w 65489"/>
                <a:gd name="connsiteY36" fmla="*/ 88495 h 98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5489" h="98028">
                  <a:moveTo>
                    <a:pt x="50632" y="88495"/>
                  </a:moveTo>
                  <a:cubicBezTo>
                    <a:pt x="51519" y="85781"/>
                    <a:pt x="52594" y="84113"/>
                    <a:pt x="52594" y="80738"/>
                  </a:cubicBezTo>
                  <a:cubicBezTo>
                    <a:pt x="52594" y="77383"/>
                    <a:pt x="57087" y="73888"/>
                    <a:pt x="57087" y="73888"/>
                  </a:cubicBezTo>
                  <a:lnTo>
                    <a:pt x="60061" y="67823"/>
                  </a:lnTo>
                  <a:lnTo>
                    <a:pt x="65094" y="65235"/>
                  </a:lnTo>
                  <a:lnTo>
                    <a:pt x="64212" y="61344"/>
                  </a:lnTo>
                  <a:lnTo>
                    <a:pt x="65489" y="57358"/>
                  </a:lnTo>
                  <a:lnTo>
                    <a:pt x="63306" y="50262"/>
                  </a:lnTo>
                  <a:lnTo>
                    <a:pt x="57608" y="50888"/>
                  </a:lnTo>
                  <a:lnTo>
                    <a:pt x="43266" y="39415"/>
                  </a:lnTo>
                  <a:lnTo>
                    <a:pt x="41203" y="33857"/>
                  </a:lnTo>
                  <a:lnTo>
                    <a:pt x="34613" y="24181"/>
                  </a:lnTo>
                  <a:lnTo>
                    <a:pt x="33321" y="14116"/>
                  </a:lnTo>
                  <a:lnTo>
                    <a:pt x="35263" y="6861"/>
                  </a:lnTo>
                  <a:lnTo>
                    <a:pt x="32800" y="1939"/>
                  </a:lnTo>
                  <a:cubicBezTo>
                    <a:pt x="32800" y="1939"/>
                    <a:pt x="30611" y="2604"/>
                    <a:pt x="27507" y="2228"/>
                  </a:cubicBezTo>
                  <a:cubicBezTo>
                    <a:pt x="24518" y="-6570"/>
                    <a:pt x="12399" y="13185"/>
                    <a:pt x="9690" y="18213"/>
                  </a:cubicBezTo>
                  <a:cubicBezTo>
                    <a:pt x="6971" y="23270"/>
                    <a:pt x="7491" y="23425"/>
                    <a:pt x="8913" y="26505"/>
                  </a:cubicBezTo>
                  <a:cubicBezTo>
                    <a:pt x="521" y="29219"/>
                    <a:pt x="140" y="37467"/>
                    <a:pt x="140" y="37467"/>
                  </a:cubicBezTo>
                  <a:lnTo>
                    <a:pt x="2083" y="40051"/>
                  </a:lnTo>
                  <a:lnTo>
                    <a:pt x="0" y="42129"/>
                  </a:lnTo>
                  <a:lnTo>
                    <a:pt x="0" y="47311"/>
                  </a:lnTo>
                  <a:cubicBezTo>
                    <a:pt x="0" y="47311"/>
                    <a:pt x="135" y="50021"/>
                    <a:pt x="2083" y="51814"/>
                  </a:cubicBezTo>
                  <a:cubicBezTo>
                    <a:pt x="3996" y="53612"/>
                    <a:pt x="4652" y="54644"/>
                    <a:pt x="5043" y="57237"/>
                  </a:cubicBezTo>
                  <a:cubicBezTo>
                    <a:pt x="5414" y="59835"/>
                    <a:pt x="6966" y="61619"/>
                    <a:pt x="8504" y="61619"/>
                  </a:cubicBezTo>
                  <a:cubicBezTo>
                    <a:pt x="10066" y="61619"/>
                    <a:pt x="10982" y="65760"/>
                    <a:pt x="12134" y="68344"/>
                  </a:cubicBezTo>
                  <a:cubicBezTo>
                    <a:pt x="13286" y="70914"/>
                    <a:pt x="9815" y="73015"/>
                    <a:pt x="9815" y="73015"/>
                  </a:cubicBezTo>
                  <a:lnTo>
                    <a:pt x="8263" y="79051"/>
                  </a:lnTo>
                  <a:lnTo>
                    <a:pt x="3939" y="81601"/>
                  </a:lnTo>
                  <a:lnTo>
                    <a:pt x="8002" y="89497"/>
                  </a:lnTo>
                  <a:cubicBezTo>
                    <a:pt x="8002" y="89497"/>
                    <a:pt x="13040" y="91064"/>
                    <a:pt x="15099" y="91223"/>
                  </a:cubicBezTo>
                  <a:cubicBezTo>
                    <a:pt x="17186" y="91310"/>
                    <a:pt x="20141" y="95596"/>
                    <a:pt x="21954" y="97403"/>
                  </a:cubicBezTo>
                  <a:cubicBezTo>
                    <a:pt x="23747" y="99192"/>
                    <a:pt x="27237" y="96733"/>
                    <a:pt x="28929" y="95181"/>
                  </a:cubicBezTo>
                  <a:cubicBezTo>
                    <a:pt x="30611" y="93638"/>
                    <a:pt x="31108" y="92351"/>
                    <a:pt x="31108" y="92351"/>
                  </a:cubicBezTo>
                  <a:lnTo>
                    <a:pt x="41198" y="90283"/>
                  </a:lnTo>
                  <a:lnTo>
                    <a:pt x="50328" y="96733"/>
                  </a:lnTo>
                  <a:cubicBezTo>
                    <a:pt x="50188" y="93634"/>
                    <a:pt x="50150" y="89950"/>
                    <a:pt x="50632" y="8849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21" name="Freihandform: Form 620">
              <a:extLst>
                <a:ext uri="{FF2B5EF4-FFF2-40B4-BE49-F238E27FC236}">
                  <a16:creationId xmlns:a16="http://schemas.microsoft.com/office/drawing/2014/main" id="{D1ECD2B7-8D84-7538-1C86-C6EDB61047D9}"/>
                </a:ext>
              </a:extLst>
            </p:cNvPr>
            <p:cNvSpPr/>
            <p:nvPr/>
          </p:nvSpPr>
          <p:spPr>
            <a:xfrm>
              <a:off x="6273816" y="5449957"/>
              <a:ext cx="188892" cy="77790"/>
            </a:xfrm>
            <a:custGeom>
              <a:avLst/>
              <a:gdLst>
                <a:gd name="connsiteX0" fmla="*/ 141782 w 148202"/>
                <a:gd name="connsiteY0" fmla="*/ 45324 h 61488"/>
                <a:gd name="connsiteX1" fmla="*/ 135770 w 148202"/>
                <a:gd name="connsiteY1" fmla="*/ 44452 h 61488"/>
                <a:gd name="connsiteX2" fmla="*/ 129316 w 148202"/>
                <a:gd name="connsiteY2" fmla="*/ 40566 h 61488"/>
                <a:gd name="connsiteX3" fmla="*/ 123362 w 148202"/>
                <a:gd name="connsiteY3" fmla="*/ 43174 h 61488"/>
                <a:gd name="connsiteX4" fmla="*/ 87515 w 148202"/>
                <a:gd name="connsiteY4" fmla="*/ 19953 h 61488"/>
                <a:gd name="connsiteX5" fmla="*/ 81147 w 148202"/>
                <a:gd name="connsiteY5" fmla="*/ 17191 h 61488"/>
                <a:gd name="connsiteX6" fmla="*/ 78043 w 148202"/>
                <a:gd name="connsiteY6" fmla="*/ 7400 h 61488"/>
                <a:gd name="connsiteX7" fmla="*/ 70821 w 148202"/>
                <a:gd name="connsiteY7" fmla="*/ 7752 h 61488"/>
                <a:gd name="connsiteX8" fmla="*/ 64275 w 148202"/>
                <a:gd name="connsiteY8" fmla="*/ 4980 h 61488"/>
                <a:gd name="connsiteX9" fmla="*/ 60240 w 148202"/>
                <a:gd name="connsiteY9" fmla="*/ 9892 h 61488"/>
                <a:gd name="connsiteX10" fmla="*/ 66188 w 148202"/>
                <a:gd name="connsiteY10" fmla="*/ 14587 h 61488"/>
                <a:gd name="connsiteX11" fmla="*/ 66613 w 148202"/>
                <a:gd name="connsiteY11" fmla="*/ 16930 h 61488"/>
                <a:gd name="connsiteX12" fmla="*/ 64366 w 148202"/>
                <a:gd name="connsiteY12" fmla="*/ 17692 h 61488"/>
                <a:gd name="connsiteX13" fmla="*/ 58432 w 148202"/>
                <a:gd name="connsiteY13" fmla="*/ 15330 h 61488"/>
                <a:gd name="connsiteX14" fmla="*/ 51905 w 148202"/>
                <a:gd name="connsiteY14" fmla="*/ 12963 h 61488"/>
                <a:gd name="connsiteX15" fmla="*/ 51876 w 148202"/>
                <a:gd name="connsiteY15" fmla="*/ 12963 h 61488"/>
                <a:gd name="connsiteX16" fmla="*/ 46399 w 148202"/>
                <a:gd name="connsiteY16" fmla="*/ 10745 h 61488"/>
                <a:gd name="connsiteX17" fmla="*/ 40383 w 148202"/>
                <a:gd name="connsiteY17" fmla="*/ 11878 h 61488"/>
                <a:gd name="connsiteX18" fmla="*/ 38778 w 148202"/>
                <a:gd name="connsiteY18" fmla="*/ 11353 h 61488"/>
                <a:gd name="connsiteX19" fmla="*/ 33152 w 148202"/>
                <a:gd name="connsiteY19" fmla="*/ 5756 h 61488"/>
                <a:gd name="connsiteX20" fmla="*/ 27608 w 148202"/>
                <a:gd name="connsiteY20" fmla="*/ 4078 h 61488"/>
                <a:gd name="connsiteX21" fmla="*/ 27348 w 148202"/>
                <a:gd name="connsiteY21" fmla="*/ 3958 h 61488"/>
                <a:gd name="connsiteX22" fmla="*/ 21703 w 148202"/>
                <a:gd name="connsiteY22" fmla="*/ 1143 h 61488"/>
                <a:gd name="connsiteX23" fmla="*/ 16092 w 148202"/>
                <a:gd name="connsiteY23" fmla="*/ 569 h 61488"/>
                <a:gd name="connsiteX24" fmla="*/ 9781 w 148202"/>
                <a:gd name="connsiteY24" fmla="*/ 0 h 61488"/>
                <a:gd name="connsiteX25" fmla="*/ 3466 w 148202"/>
                <a:gd name="connsiteY25" fmla="*/ 1143 h 61488"/>
                <a:gd name="connsiteX26" fmla="*/ 2811 w 148202"/>
                <a:gd name="connsiteY26" fmla="*/ 1143 h 61488"/>
                <a:gd name="connsiteX27" fmla="*/ 0 w 148202"/>
                <a:gd name="connsiteY27" fmla="*/ 569 h 61488"/>
                <a:gd name="connsiteX28" fmla="*/ 858 w 148202"/>
                <a:gd name="connsiteY28" fmla="*/ 2897 h 61488"/>
                <a:gd name="connsiteX29" fmla="*/ 6031 w 148202"/>
                <a:gd name="connsiteY29" fmla="*/ 2897 h 61488"/>
                <a:gd name="connsiteX30" fmla="*/ 11898 w 148202"/>
                <a:gd name="connsiteY30" fmla="*/ 2328 h 61488"/>
                <a:gd name="connsiteX31" fmla="*/ 12548 w 148202"/>
                <a:gd name="connsiteY31" fmla="*/ 2396 h 61488"/>
                <a:gd name="connsiteX32" fmla="*/ 19100 w 148202"/>
                <a:gd name="connsiteY32" fmla="*/ 4151 h 61488"/>
                <a:gd name="connsiteX33" fmla="*/ 19432 w 148202"/>
                <a:gd name="connsiteY33" fmla="*/ 4252 h 61488"/>
                <a:gd name="connsiteX34" fmla="*/ 25294 w 148202"/>
                <a:gd name="connsiteY34" fmla="*/ 7168 h 61488"/>
                <a:gd name="connsiteX35" fmla="*/ 31590 w 148202"/>
                <a:gd name="connsiteY35" fmla="*/ 9502 h 61488"/>
                <a:gd name="connsiteX36" fmla="*/ 37428 w 148202"/>
                <a:gd name="connsiteY36" fmla="*/ 10668 h 61488"/>
                <a:gd name="connsiteX37" fmla="*/ 38228 w 148202"/>
                <a:gd name="connsiteY37" fmla="*/ 11054 h 61488"/>
                <a:gd name="connsiteX38" fmla="*/ 44404 w 148202"/>
                <a:gd name="connsiteY38" fmla="*/ 16077 h 61488"/>
                <a:gd name="connsiteX39" fmla="*/ 50478 w 148202"/>
                <a:gd name="connsiteY39" fmla="*/ 17191 h 61488"/>
                <a:gd name="connsiteX40" fmla="*/ 50512 w 148202"/>
                <a:gd name="connsiteY40" fmla="*/ 17210 h 61488"/>
                <a:gd name="connsiteX41" fmla="*/ 56431 w 148202"/>
                <a:gd name="connsiteY41" fmla="*/ 18410 h 61488"/>
                <a:gd name="connsiteX42" fmla="*/ 56431 w 148202"/>
                <a:gd name="connsiteY42" fmla="*/ 18410 h 61488"/>
                <a:gd name="connsiteX43" fmla="*/ 62978 w 148202"/>
                <a:gd name="connsiteY43" fmla="*/ 19567 h 61488"/>
                <a:gd name="connsiteX44" fmla="*/ 63195 w 148202"/>
                <a:gd name="connsiteY44" fmla="*/ 19635 h 61488"/>
                <a:gd name="connsiteX45" fmla="*/ 68430 w 148202"/>
                <a:gd name="connsiteY45" fmla="*/ 21197 h 61488"/>
                <a:gd name="connsiteX46" fmla="*/ 73752 w 148202"/>
                <a:gd name="connsiteY46" fmla="*/ 18565 h 61488"/>
                <a:gd name="connsiteX47" fmla="*/ 75299 w 148202"/>
                <a:gd name="connsiteY47" fmla="*/ 18521 h 61488"/>
                <a:gd name="connsiteX48" fmla="*/ 98005 w 148202"/>
                <a:gd name="connsiteY48" fmla="*/ 32019 h 61488"/>
                <a:gd name="connsiteX49" fmla="*/ 98260 w 148202"/>
                <a:gd name="connsiteY49" fmla="*/ 31373 h 61488"/>
                <a:gd name="connsiteX50" fmla="*/ 99533 w 148202"/>
                <a:gd name="connsiteY50" fmla="*/ 30862 h 61488"/>
                <a:gd name="connsiteX51" fmla="*/ 100150 w 148202"/>
                <a:gd name="connsiteY51" fmla="*/ 30862 h 61488"/>
                <a:gd name="connsiteX52" fmla="*/ 101693 w 148202"/>
                <a:gd name="connsiteY52" fmla="*/ 31720 h 61488"/>
                <a:gd name="connsiteX53" fmla="*/ 104889 w 148202"/>
                <a:gd name="connsiteY53" fmla="*/ 37028 h 61488"/>
                <a:gd name="connsiteX54" fmla="*/ 110013 w 148202"/>
                <a:gd name="connsiteY54" fmla="*/ 38035 h 61488"/>
                <a:gd name="connsiteX55" fmla="*/ 116001 w 148202"/>
                <a:gd name="connsiteY55" fmla="*/ 39260 h 61488"/>
                <a:gd name="connsiteX56" fmla="*/ 117187 w 148202"/>
                <a:gd name="connsiteY56" fmla="*/ 40084 h 61488"/>
                <a:gd name="connsiteX57" fmla="*/ 120527 w 148202"/>
                <a:gd name="connsiteY57" fmla="*/ 45696 h 61488"/>
                <a:gd name="connsiteX58" fmla="*/ 126086 w 148202"/>
                <a:gd name="connsiteY58" fmla="*/ 49596 h 61488"/>
                <a:gd name="connsiteX59" fmla="*/ 131909 w 148202"/>
                <a:gd name="connsiteY59" fmla="*/ 52478 h 61488"/>
                <a:gd name="connsiteX60" fmla="*/ 131972 w 148202"/>
                <a:gd name="connsiteY60" fmla="*/ 52526 h 61488"/>
                <a:gd name="connsiteX61" fmla="*/ 138441 w 148202"/>
                <a:gd name="connsiteY61" fmla="*/ 56070 h 61488"/>
                <a:gd name="connsiteX62" fmla="*/ 144963 w 148202"/>
                <a:gd name="connsiteY62" fmla="*/ 59039 h 61488"/>
                <a:gd name="connsiteX63" fmla="*/ 145417 w 148202"/>
                <a:gd name="connsiteY63" fmla="*/ 59333 h 61488"/>
                <a:gd name="connsiteX64" fmla="*/ 147818 w 148202"/>
                <a:gd name="connsiteY64" fmla="*/ 61488 h 61488"/>
                <a:gd name="connsiteX65" fmla="*/ 147745 w 148202"/>
                <a:gd name="connsiteY65" fmla="*/ 60900 h 61488"/>
                <a:gd name="connsiteX66" fmla="*/ 148203 w 148202"/>
                <a:gd name="connsiteY66" fmla="*/ 59536 h 61488"/>
                <a:gd name="connsiteX67" fmla="*/ 141782 w 148202"/>
                <a:gd name="connsiteY67" fmla="*/ 45324 h 6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48202" h="61488">
                  <a:moveTo>
                    <a:pt x="141782" y="45324"/>
                  </a:moveTo>
                  <a:cubicBezTo>
                    <a:pt x="138870" y="45074"/>
                    <a:pt x="135770" y="44452"/>
                    <a:pt x="135770" y="44452"/>
                  </a:cubicBezTo>
                  <a:lnTo>
                    <a:pt x="129316" y="40566"/>
                  </a:lnTo>
                  <a:lnTo>
                    <a:pt x="123362" y="43174"/>
                  </a:lnTo>
                  <a:lnTo>
                    <a:pt x="87515" y="19953"/>
                  </a:lnTo>
                  <a:lnTo>
                    <a:pt x="81147" y="17191"/>
                  </a:lnTo>
                  <a:cubicBezTo>
                    <a:pt x="81147" y="17191"/>
                    <a:pt x="78211" y="10663"/>
                    <a:pt x="78043" y="7400"/>
                  </a:cubicBezTo>
                  <a:cubicBezTo>
                    <a:pt x="73733" y="7221"/>
                    <a:pt x="70821" y="7752"/>
                    <a:pt x="70821" y="7752"/>
                  </a:cubicBezTo>
                  <a:lnTo>
                    <a:pt x="64275" y="4980"/>
                  </a:lnTo>
                  <a:lnTo>
                    <a:pt x="60240" y="9892"/>
                  </a:lnTo>
                  <a:lnTo>
                    <a:pt x="66188" y="14587"/>
                  </a:lnTo>
                  <a:cubicBezTo>
                    <a:pt x="66892" y="15176"/>
                    <a:pt x="67066" y="16164"/>
                    <a:pt x="66613" y="16930"/>
                  </a:cubicBezTo>
                  <a:cubicBezTo>
                    <a:pt x="66155" y="17692"/>
                    <a:pt x="65224" y="18058"/>
                    <a:pt x="64366" y="17692"/>
                  </a:cubicBezTo>
                  <a:lnTo>
                    <a:pt x="58432" y="15330"/>
                  </a:lnTo>
                  <a:lnTo>
                    <a:pt x="51905" y="12963"/>
                  </a:lnTo>
                  <a:lnTo>
                    <a:pt x="51876" y="12963"/>
                  </a:lnTo>
                  <a:lnTo>
                    <a:pt x="46399" y="10745"/>
                  </a:lnTo>
                  <a:lnTo>
                    <a:pt x="40383" y="11878"/>
                  </a:lnTo>
                  <a:lnTo>
                    <a:pt x="38778" y="11353"/>
                  </a:lnTo>
                  <a:lnTo>
                    <a:pt x="33152" y="5756"/>
                  </a:lnTo>
                  <a:lnTo>
                    <a:pt x="27608" y="4078"/>
                  </a:lnTo>
                  <a:lnTo>
                    <a:pt x="27348" y="3958"/>
                  </a:lnTo>
                  <a:lnTo>
                    <a:pt x="21703" y="1143"/>
                  </a:lnTo>
                  <a:lnTo>
                    <a:pt x="16092" y="569"/>
                  </a:lnTo>
                  <a:lnTo>
                    <a:pt x="9781" y="0"/>
                  </a:lnTo>
                  <a:lnTo>
                    <a:pt x="3466" y="1143"/>
                  </a:lnTo>
                  <a:lnTo>
                    <a:pt x="2811" y="1143"/>
                  </a:lnTo>
                  <a:lnTo>
                    <a:pt x="0" y="569"/>
                  </a:lnTo>
                  <a:lnTo>
                    <a:pt x="858" y="2897"/>
                  </a:lnTo>
                  <a:lnTo>
                    <a:pt x="6031" y="2897"/>
                  </a:lnTo>
                  <a:lnTo>
                    <a:pt x="11898" y="2328"/>
                  </a:lnTo>
                  <a:lnTo>
                    <a:pt x="12548" y="2396"/>
                  </a:lnTo>
                  <a:lnTo>
                    <a:pt x="19100" y="4151"/>
                  </a:lnTo>
                  <a:lnTo>
                    <a:pt x="19432" y="4252"/>
                  </a:lnTo>
                  <a:lnTo>
                    <a:pt x="25294" y="7168"/>
                  </a:lnTo>
                  <a:lnTo>
                    <a:pt x="31590" y="9502"/>
                  </a:lnTo>
                  <a:lnTo>
                    <a:pt x="37428" y="10668"/>
                  </a:lnTo>
                  <a:lnTo>
                    <a:pt x="38228" y="11054"/>
                  </a:lnTo>
                  <a:lnTo>
                    <a:pt x="44404" y="16077"/>
                  </a:lnTo>
                  <a:lnTo>
                    <a:pt x="50478" y="17191"/>
                  </a:lnTo>
                  <a:lnTo>
                    <a:pt x="50512" y="17210"/>
                  </a:lnTo>
                  <a:lnTo>
                    <a:pt x="56431" y="18410"/>
                  </a:lnTo>
                  <a:lnTo>
                    <a:pt x="56431" y="18410"/>
                  </a:lnTo>
                  <a:lnTo>
                    <a:pt x="62978" y="19567"/>
                  </a:lnTo>
                  <a:lnTo>
                    <a:pt x="63195" y="19635"/>
                  </a:lnTo>
                  <a:lnTo>
                    <a:pt x="68430" y="21197"/>
                  </a:lnTo>
                  <a:lnTo>
                    <a:pt x="73752" y="18565"/>
                  </a:lnTo>
                  <a:lnTo>
                    <a:pt x="75299" y="18521"/>
                  </a:lnTo>
                  <a:cubicBezTo>
                    <a:pt x="87308" y="22368"/>
                    <a:pt x="83413" y="26760"/>
                    <a:pt x="98005" y="32019"/>
                  </a:cubicBezTo>
                  <a:lnTo>
                    <a:pt x="98260" y="31373"/>
                  </a:lnTo>
                  <a:lnTo>
                    <a:pt x="99533" y="30862"/>
                  </a:lnTo>
                  <a:lnTo>
                    <a:pt x="100150" y="30862"/>
                  </a:lnTo>
                  <a:lnTo>
                    <a:pt x="101693" y="31720"/>
                  </a:lnTo>
                  <a:lnTo>
                    <a:pt x="104889" y="37028"/>
                  </a:lnTo>
                  <a:lnTo>
                    <a:pt x="110013" y="38035"/>
                  </a:lnTo>
                  <a:lnTo>
                    <a:pt x="116001" y="39260"/>
                  </a:lnTo>
                  <a:lnTo>
                    <a:pt x="117187" y="40084"/>
                  </a:lnTo>
                  <a:lnTo>
                    <a:pt x="120527" y="45696"/>
                  </a:lnTo>
                  <a:lnTo>
                    <a:pt x="126086" y="49596"/>
                  </a:lnTo>
                  <a:lnTo>
                    <a:pt x="131909" y="52478"/>
                  </a:lnTo>
                  <a:lnTo>
                    <a:pt x="131972" y="52526"/>
                  </a:lnTo>
                  <a:lnTo>
                    <a:pt x="138441" y="56070"/>
                  </a:lnTo>
                  <a:lnTo>
                    <a:pt x="144963" y="59039"/>
                  </a:lnTo>
                  <a:lnTo>
                    <a:pt x="145417" y="59333"/>
                  </a:lnTo>
                  <a:lnTo>
                    <a:pt x="147818" y="61488"/>
                  </a:lnTo>
                  <a:lnTo>
                    <a:pt x="147745" y="60900"/>
                  </a:lnTo>
                  <a:cubicBezTo>
                    <a:pt x="147682" y="60374"/>
                    <a:pt x="147909" y="59878"/>
                    <a:pt x="148203" y="59536"/>
                  </a:cubicBezTo>
                  <a:cubicBezTo>
                    <a:pt x="143922" y="56272"/>
                    <a:pt x="142346" y="49663"/>
                    <a:pt x="141782" y="4532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22" name="Freihandform: Form 621">
              <a:extLst>
                <a:ext uri="{FF2B5EF4-FFF2-40B4-BE49-F238E27FC236}">
                  <a16:creationId xmlns:a16="http://schemas.microsoft.com/office/drawing/2014/main" id="{D15A0B2E-8A31-6C18-FB84-83409CB0B432}"/>
                </a:ext>
              </a:extLst>
            </p:cNvPr>
            <p:cNvSpPr/>
            <p:nvPr/>
          </p:nvSpPr>
          <p:spPr>
            <a:xfrm>
              <a:off x="6570646" y="5473770"/>
              <a:ext cx="261907" cy="503257"/>
            </a:xfrm>
            <a:custGeom>
              <a:avLst/>
              <a:gdLst>
                <a:gd name="connsiteX0" fmla="*/ 139127 w 205484"/>
                <a:gd name="connsiteY0" fmla="*/ 392160 h 394446"/>
                <a:gd name="connsiteX1" fmla="*/ 146613 w 205484"/>
                <a:gd name="connsiteY1" fmla="*/ 381685 h 394446"/>
                <a:gd name="connsiteX2" fmla="*/ 145317 w 205484"/>
                <a:gd name="connsiteY2" fmla="*/ 370862 h 394446"/>
                <a:gd name="connsiteX3" fmla="*/ 149829 w 205484"/>
                <a:gd name="connsiteY3" fmla="*/ 370954 h 394446"/>
                <a:gd name="connsiteX4" fmla="*/ 156028 w 205484"/>
                <a:gd name="connsiteY4" fmla="*/ 369161 h 394446"/>
                <a:gd name="connsiteX5" fmla="*/ 155006 w 205484"/>
                <a:gd name="connsiteY5" fmla="*/ 362850 h 394446"/>
                <a:gd name="connsiteX6" fmla="*/ 146218 w 205484"/>
                <a:gd name="connsiteY6" fmla="*/ 345530 h 394446"/>
                <a:gd name="connsiteX7" fmla="*/ 150865 w 205484"/>
                <a:gd name="connsiteY7" fmla="*/ 342960 h 394446"/>
                <a:gd name="connsiteX8" fmla="*/ 152143 w 205484"/>
                <a:gd name="connsiteY8" fmla="*/ 337667 h 394446"/>
                <a:gd name="connsiteX9" fmla="*/ 156829 w 205484"/>
                <a:gd name="connsiteY9" fmla="*/ 332625 h 394446"/>
                <a:gd name="connsiteX10" fmla="*/ 163004 w 205484"/>
                <a:gd name="connsiteY10" fmla="*/ 331554 h 394446"/>
                <a:gd name="connsiteX11" fmla="*/ 177341 w 205484"/>
                <a:gd name="connsiteY11" fmla="*/ 323186 h 394446"/>
                <a:gd name="connsiteX12" fmla="*/ 176589 w 205484"/>
                <a:gd name="connsiteY12" fmla="*/ 316215 h 394446"/>
                <a:gd name="connsiteX13" fmla="*/ 179679 w 205484"/>
                <a:gd name="connsiteY13" fmla="*/ 309895 h 394446"/>
                <a:gd name="connsiteX14" fmla="*/ 178517 w 205484"/>
                <a:gd name="connsiteY14" fmla="*/ 304047 h 394446"/>
                <a:gd name="connsiteX15" fmla="*/ 179293 w 205484"/>
                <a:gd name="connsiteY15" fmla="*/ 298007 h 394446"/>
                <a:gd name="connsiteX16" fmla="*/ 183810 w 205484"/>
                <a:gd name="connsiteY16" fmla="*/ 285618 h 394446"/>
                <a:gd name="connsiteX17" fmla="*/ 183810 w 205484"/>
                <a:gd name="connsiteY17" fmla="*/ 279423 h 394446"/>
                <a:gd name="connsiteX18" fmla="*/ 187435 w 205484"/>
                <a:gd name="connsiteY18" fmla="*/ 273556 h 394446"/>
                <a:gd name="connsiteX19" fmla="*/ 199588 w 205484"/>
                <a:gd name="connsiteY19" fmla="*/ 268952 h 394446"/>
                <a:gd name="connsiteX20" fmla="*/ 201762 w 205484"/>
                <a:gd name="connsiteY20" fmla="*/ 263515 h 394446"/>
                <a:gd name="connsiteX21" fmla="*/ 205484 w 205484"/>
                <a:gd name="connsiteY21" fmla="*/ 257706 h 394446"/>
                <a:gd name="connsiteX22" fmla="*/ 205122 w 205484"/>
                <a:gd name="connsiteY22" fmla="*/ 250229 h 394446"/>
                <a:gd name="connsiteX23" fmla="*/ 198653 w 205484"/>
                <a:gd name="connsiteY23" fmla="*/ 237569 h 394446"/>
                <a:gd name="connsiteX24" fmla="*/ 195307 w 205484"/>
                <a:gd name="connsiteY24" fmla="*/ 228656 h 394446"/>
                <a:gd name="connsiteX25" fmla="*/ 194078 w 205484"/>
                <a:gd name="connsiteY25" fmla="*/ 219545 h 394446"/>
                <a:gd name="connsiteX26" fmla="*/ 190270 w 205484"/>
                <a:gd name="connsiteY26" fmla="*/ 219742 h 394446"/>
                <a:gd name="connsiteX27" fmla="*/ 194078 w 205484"/>
                <a:gd name="connsiteY27" fmla="*/ 219545 h 394446"/>
                <a:gd name="connsiteX28" fmla="*/ 191166 w 205484"/>
                <a:gd name="connsiteY28" fmla="*/ 213442 h 394446"/>
                <a:gd name="connsiteX29" fmla="*/ 186886 w 205484"/>
                <a:gd name="connsiteY29" fmla="*/ 211499 h 394446"/>
                <a:gd name="connsiteX30" fmla="*/ 179944 w 205484"/>
                <a:gd name="connsiteY30" fmla="*/ 211731 h 394446"/>
                <a:gd name="connsiteX31" fmla="*/ 176700 w 205484"/>
                <a:gd name="connsiteY31" fmla="*/ 215341 h 394446"/>
                <a:gd name="connsiteX32" fmla="*/ 168567 w 205484"/>
                <a:gd name="connsiteY32" fmla="*/ 216522 h 394446"/>
                <a:gd name="connsiteX33" fmla="*/ 158901 w 205484"/>
                <a:gd name="connsiteY33" fmla="*/ 196757 h 394446"/>
                <a:gd name="connsiteX34" fmla="*/ 155407 w 205484"/>
                <a:gd name="connsiteY34" fmla="*/ 193793 h 394446"/>
                <a:gd name="connsiteX35" fmla="*/ 149718 w 205484"/>
                <a:gd name="connsiteY35" fmla="*/ 192973 h 394446"/>
                <a:gd name="connsiteX36" fmla="*/ 148682 w 205484"/>
                <a:gd name="connsiteY36" fmla="*/ 187584 h 394446"/>
                <a:gd name="connsiteX37" fmla="*/ 138722 w 205484"/>
                <a:gd name="connsiteY37" fmla="*/ 176327 h 394446"/>
                <a:gd name="connsiteX38" fmla="*/ 136794 w 205484"/>
                <a:gd name="connsiteY38" fmla="*/ 169270 h 394446"/>
                <a:gd name="connsiteX39" fmla="*/ 136037 w 205484"/>
                <a:gd name="connsiteY39" fmla="*/ 166787 h 394446"/>
                <a:gd name="connsiteX40" fmla="*/ 139007 w 205484"/>
                <a:gd name="connsiteY40" fmla="*/ 153603 h 394446"/>
                <a:gd name="connsiteX41" fmla="*/ 133443 w 205484"/>
                <a:gd name="connsiteY41" fmla="*/ 147813 h 394446"/>
                <a:gd name="connsiteX42" fmla="*/ 127895 w 205484"/>
                <a:gd name="connsiteY42" fmla="*/ 133606 h 394446"/>
                <a:gd name="connsiteX43" fmla="*/ 134490 w 205484"/>
                <a:gd name="connsiteY43" fmla="*/ 128419 h 394446"/>
                <a:gd name="connsiteX44" fmla="*/ 128912 w 205484"/>
                <a:gd name="connsiteY44" fmla="*/ 111146 h 394446"/>
                <a:gd name="connsiteX45" fmla="*/ 129196 w 205484"/>
                <a:gd name="connsiteY45" fmla="*/ 105304 h 394446"/>
                <a:gd name="connsiteX46" fmla="*/ 131761 w 205484"/>
                <a:gd name="connsiteY46" fmla="*/ 98854 h 394446"/>
                <a:gd name="connsiteX47" fmla="*/ 131004 w 205484"/>
                <a:gd name="connsiteY47" fmla="*/ 91632 h 394446"/>
                <a:gd name="connsiteX48" fmla="*/ 132918 w 205484"/>
                <a:gd name="connsiteY48" fmla="*/ 89323 h 394446"/>
                <a:gd name="connsiteX49" fmla="*/ 132855 w 205484"/>
                <a:gd name="connsiteY49" fmla="*/ 88865 h 394446"/>
                <a:gd name="connsiteX50" fmla="*/ 126733 w 205484"/>
                <a:gd name="connsiteY50" fmla="*/ 85925 h 394446"/>
                <a:gd name="connsiteX51" fmla="*/ 132855 w 205484"/>
                <a:gd name="connsiteY51" fmla="*/ 88865 h 394446"/>
                <a:gd name="connsiteX52" fmla="*/ 131756 w 205484"/>
                <a:gd name="connsiteY52" fmla="*/ 82724 h 394446"/>
                <a:gd name="connsiteX53" fmla="*/ 134610 w 205484"/>
                <a:gd name="connsiteY53" fmla="*/ 76283 h 394446"/>
                <a:gd name="connsiteX54" fmla="*/ 127890 w 205484"/>
                <a:gd name="connsiteY54" fmla="*/ 64656 h 394446"/>
                <a:gd name="connsiteX55" fmla="*/ 100118 w 205484"/>
                <a:gd name="connsiteY55" fmla="*/ 34815 h 394446"/>
                <a:gd name="connsiteX56" fmla="*/ 88235 w 205484"/>
                <a:gd name="connsiteY56" fmla="*/ 30409 h 394446"/>
                <a:gd name="connsiteX57" fmla="*/ 84735 w 205484"/>
                <a:gd name="connsiteY57" fmla="*/ 20580 h 394446"/>
                <a:gd name="connsiteX58" fmla="*/ 70167 w 205484"/>
                <a:gd name="connsiteY58" fmla="*/ 7472 h 394446"/>
                <a:gd name="connsiteX59" fmla="*/ 63451 w 205484"/>
                <a:gd name="connsiteY59" fmla="*/ 8576 h 394446"/>
                <a:gd name="connsiteX60" fmla="*/ 60867 w 205484"/>
                <a:gd name="connsiteY60" fmla="*/ 12958 h 394446"/>
                <a:gd name="connsiteX61" fmla="*/ 55189 w 205484"/>
                <a:gd name="connsiteY61" fmla="*/ 13484 h 394446"/>
                <a:gd name="connsiteX62" fmla="*/ 50117 w 205484"/>
                <a:gd name="connsiteY62" fmla="*/ 18671 h 394446"/>
                <a:gd name="connsiteX63" fmla="*/ 45615 w 205484"/>
                <a:gd name="connsiteY63" fmla="*/ 21250 h 394446"/>
                <a:gd name="connsiteX64" fmla="*/ 39430 w 205484"/>
                <a:gd name="connsiteY64" fmla="*/ 18261 h 394446"/>
                <a:gd name="connsiteX65" fmla="*/ 36817 w 205484"/>
                <a:gd name="connsiteY65" fmla="*/ 12322 h 394446"/>
                <a:gd name="connsiteX66" fmla="*/ 37608 w 205484"/>
                <a:gd name="connsiteY66" fmla="*/ 5467 h 394446"/>
                <a:gd name="connsiteX67" fmla="*/ 33607 w 205484"/>
                <a:gd name="connsiteY67" fmla="*/ 92 h 394446"/>
                <a:gd name="connsiteX68" fmla="*/ 21468 w 205484"/>
                <a:gd name="connsiteY68" fmla="*/ 16323 h 394446"/>
                <a:gd name="connsiteX69" fmla="*/ 8428 w 205484"/>
                <a:gd name="connsiteY69" fmla="*/ 40128 h 394446"/>
                <a:gd name="connsiteX70" fmla="*/ 7917 w 205484"/>
                <a:gd name="connsiteY70" fmla="*/ 46684 h 394446"/>
                <a:gd name="connsiteX71" fmla="*/ 295 w 205484"/>
                <a:gd name="connsiteY71" fmla="*/ 62452 h 394446"/>
                <a:gd name="connsiteX72" fmla="*/ 1 w 205484"/>
                <a:gd name="connsiteY72" fmla="*/ 66724 h 394446"/>
                <a:gd name="connsiteX73" fmla="*/ 6210 w 205484"/>
                <a:gd name="connsiteY73" fmla="*/ 72634 h 394446"/>
                <a:gd name="connsiteX74" fmla="*/ 9440 w 205484"/>
                <a:gd name="connsiteY74" fmla="*/ 78602 h 394446"/>
                <a:gd name="connsiteX75" fmla="*/ 9821 w 205484"/>
                <a:gd name="connsiteY75" fmla="*/ 90210 h 394446"/>
                <a:gd name="connsiteX76" fmla="*/ 8013 w 205484"/>
                <a:gd name="connsiteY76" fmla="*/ 96135 h 394446"/>
                <a:gd name="connsiteX77" fmla="*/ 10216 w 205484"/>
                <a:gd name="connsiteY77" fmla="*/ 106114 h 394446"/>
                <a:gd name="connsiteX78" fmla="*/ 11330 w 205484"/>
                <a:gd name="connsiteY78" fmla="*/ 108350 h 394446"/>
                <a:gd name="connsiteX79" fmla="*/ 11976 w 205484"/>
                <a:gd name="connsiteY79" fmla="*/ 108712 h 394446"/>
                <a:gd name="connsiteX80" fmla="*/ 14738 w 205484"/>
                <a:gd name="connsiteY80" fmla="*/ 107309 h 394446"/>
                <a:gd name="connsiteX81" fmla="*/ 15360 w 205484"/>
                <a:gd name="connsiteY81" fmla="*/ 107155 h 394446"/>
                <a:gd name="connsiteX82" fmla="*/ 21333 w 205484"/>
                <a:gd name="connsiteY82" fmla="*/ 106552 h 394446"/>
                <a:gd name="connsiteX83" fmla="*/ 21993 w 205484"/>
                <a:gd name="connsiteY83" fmla="*/ 106605 h 394446"/>
                <a:gd name="connsiteX84" fmla="*/ 28521 w 205484"/>
                <a:gd name="connsiteY84" fmla="*/ 108375 h 394446"/>
                <a:gd name="connsiteX85" fmla="*/ 29061 w 205484"/>
                <a:gd name="connsiteY85" fmla="*/ 108630 h 394446"/>
                <a:gd name="connsiteX86" fmla="*/ 30695 w 205484"/>
                <a:gd name="connsiteY86" fmla="*/ 109744 h 394446"/>
                <a:gd name="connsiteX87" fmla="*/ 37126 w 205484"/>
                <a:gd name="connsiteY87" fmla="*/ 112651 h 394446"/>
                <a:gd name="connsiteX88" fmla="*/ 38090 w 205484"/>
                <a:gd name="connsiteY88" fmla="*/ 113663 h 394446"/>
                <a:gd name="connsiteX89" fmla="*/ 38027 w 205484"/>
                <a:gd name="connsiteY89" fmla="*/ 115080 h 394446"/>
                <a:gd name="connsiteX90" fmla="*/ 35405 w 205484"/>
                <a:gd name="connsiteY90" fmla="*/ 120836 h 394446"/>
                <a:gd name="connsiteX91" fmla="*/ 35621 w 205484"/>
                <a:gd name="connsiteY91" fmla="*/ 121246 h 394446"/>
                <a:gd name="connsiteX92" fmla="*/ 35674 w 205484"/>
                <a:gd name="connsiteY92" fmla="*/ 121362 h 394446"/>
                <a:gd name="connsiteX93" fmla="*/ 38090 w 205484"/>
                <a:gd name="connsiteY93" fmla="*/ 127320 h 394446"/>
                <a:gd name="connsiteX94" fmla="*/ 38181 w 205484"/>
                <a:gd name="connsiteY94" fmla="*/ 128323 h 394446"/>
                <a:gd name="connsiteX95" fmla="*/ 37232 w 205484"/>
                <a:gd name="connsiteY95" fmla="*/ 133519 h 394446"/>
                <a:gd name="connsiteX96" fmla="*/ 40770 w 205484"/>
                <a:gd name="connsiteY96" fmla="*/ 135284 h 394446"/>
                <a:gd name="connsiteX97" fmla="*/ 41618 w 205484"/>
                <a:gd name="connsiteY97" fmla="*/ 137675 h 394446"/>
                <a:gd name="connsiteX98" fmla="*/ 38634 w 205484"/>
                <a:gd name="connsiteY98" fmla="*/ 144236 h 394446"/>
                <a:gd name="connsiteX99" fmla="*/ 37772 w 205484"/>
                <a:gd name="connsiteY99" fmla="*/ 145089 h 394446"/>
                <a:gd name="connsiteX100" fmla="*/ 33033 w 205484"/>
                <a:gd name="connsiteY100" fmla="*/ 147456 h 394446"/>
                <a:gd name="connsiteX101" fmla="*/ 32907 w 205484"/>
                <a:gd name="connsiteY101" fmla="*/ 147509 h 394446"/>
                <a:gd name="connsiteX102" fmla="*/ 30700 w 205484"/>
                <a:gd name="connsiteY102" fmla="*/ 148406 h 394446"/>
                <a:gd name="connsiteX103" fmla="*/ 33033 w 205484"/>
                <a:gd name="connsiteY103" fmla="*/ 149563 h 394446"/>
                <a:gd name="connsiteX104" fmla="*/ 34031 w 205484"/>
                <a:gd name="connsiteY104" fmla="*/ 151173 h 394446"/>
                <a:gd name="connsiteX105" fmla="*/ 34031 w 205484"/>
                <a:gd name="connsiteY105" fmla="*/ 157146 h 394446"/>
                <a:gd name="connsiteX106" fmla="*/ 33809 w 205484"/>
                <a:gd name="connsiteY106" fmla="*/ 158023 h 394446"/>
                <a:gd name="connsiteX107" fmla="*/ 30237 w 205484"/>
                <a:gd name="connsiteY107" fmla="*/ 164555 h 394446"/>
                <a:gd name="connsiteX108" fmla="*/ 29933 w 205484"/>
                <a:gd name="connsiteY108" fmla="*/ 164999 h 394446"/>
                <a:gd name="connsiteX109" fmla="*/ 24905 w 205484"/>
                <a:gd name="connsiteY109" fmla="*/ 170002 h 394446"/>
                <a:gd name="connsiteX110" fmla="*/ 27267 w 205484"/>
                <a:gd name="connsiteY110" fmla="*/ 174708 h 394446"/>
                <a:gd name="connsiteX111" fmla="*/ 30984 w 205484"/>
                <a:gd name="connsiteY111" fmla="*/ 180584 h 394446"/>
                <a:gd name="connsiteX112" fmla="*/ 36292 w 205484"/>
                <a:gd name="connsiteY112" fmla="*/ 182199 h 394446"/>
                <a:gd name="connsiteX113" fmla="*/ 37526 w 205484"/>
                <a:gd name="connsiteY113" fmla="*/ 183467 h 394446"/>
                <a:gd name="connsiteX114" fmla="*/ 39319 w 205484"/>
                <a:gd name="connsiteY114" fmla="*/ 189999 h 394446"/>
                <a:gd name="connsiteX115" fmla="*/ 39261 w 205484"/>
                <a:gd name="connsiteY115" fmla="*/ 191122 h 394446"/>
                <a:gd name="connsiteX116" fmla="*/ 35911 w 205484"/>
                <a:gd name="connsiteY116" fmla="*/ 219747 h 394446"/>
                <a:gd name="connsiteX117" fmla="*/ 37217 w 205484"/>
                <a:gd name="connsiteY117" fmla="*/ 220408 h 394446"/>
                <a:gd name="connsiteX118" fmla="*/ 37656 w 205484"/>
                <a:gd name="connsiteY118" fmla="*/ 220745 h 394446"/>
                <a:gd name="connsiteX119" fmla="*/ 38866 w 205484"/>
                <a:gd name="connsiteY119" fmla="*/ 221907 h 394446"/>
                <a:gd name="connsiteX120" fmla="*/ 38885 w 205484"/>
                <a:gd name="connsiteY120" fmla="*/ 222008 h 394446"/>
                <a:gd name="connsiteX121" fmla="*/ 40322 w 205484"/>
                <a:gd name="connsiteY121" fmla="*/ 220822 h 394446"/>
                <a:gd name="connsiteX122" fmla="*/ 42187 w 205484"/>
                <a:gd name="connsiteY122" fmla="*/ 221825 h 394446"/>
                <a:gd name="connsiteX123" fmla="*/ 45118 w 205484"/>
                <a:gd name="connsiteY123" fmla="*/ 227769 h 394446"/>
                <a:gd name="connsiteX124" fmla="*/ 45345 w 205484"/>
                <a:gd name="connsiteY124" fmla="*/ 228405 h 394446"/>
                <a:gd name="connsiteX125" fmla="*/ 45923 w 205484"/>
                <a:gd name="connsiteY125" fmla="*/ 234957 h 394446"/>
                <a:gd name="connsiteX126" fmla="*/ 45060 w 205484"/>
                <a:gd name="connsiteY126" fmla="*/ 236663 h 394446"/>
                <a:gd name="connsiteX127" fmla="*/ 39276 w 205484"/>
                <a:gd name="connsiteY127" fmla="*/ 240139 h 394446"/>
                <a:gd name="connsiteX128" fmla="*/ 37077 w 205484"/>
                <a:gd name="connsiteY128" fmla="*/ 242328 h 394446"/>
                <a:gd name="connsiteX129" fmla="*/ 35853 w 205484"/>
                <a:gd name="connsiteY129" fmla="*/ 242578 h 394446"/>
                <a:gd name="connsiteX130" fmla="*/ 36378 w 205484"/>
                <a:gd name="connsiteY130" fmla="*/ 247992 h 394446"/>
                <a:gd name="connsiteX131" fmla="*/ 36200 w 205484"/>
                <a:gd name="connsiteY131" fmla="*/ 249062 h 394446"/>
                <a:gd name="connsiteX132" fmla="*/ 32936 w 205484"/>
                <a:gd name="connsiteY132" fmla="*/ 255040 h 394446"/>
                <a:gd name="connsiteX133" fmla="*/ 33987 w 205484"/>
                <a:gd name="connsiteY133" fmla="*/ 260323 h 394446"/>
                <a:gd name="connsiteX134" fmla="*/ 33987 w 205484"/>
                <a:gd name="connsiteY134" fmla="*/ 261032 h 394446"/>
                <a:gd name="connsiteX135" fmla="*/ 32802 w 205484"/>
                <a:gd name="connsiteY135" fmla="*/ 266995 h 394446"/>
                <a:gd name="connsiteX136" fmla="*/ 32642 w 205484"/>
                <a:gd name="connsiteY136" fmla="*/ 267472 h 394446"/>
                <a:gd name="connsiteX137" fmla="*/ 30256 w 205484"/>
                <a:gd name="connsiteY137" fmla="*/ 272245 h 394446"/>
                <a:gd name="connsiteX138" fmla="*/ 47109 w 205484"/>
                <a:gd name="connsiteY138" fmla="*/ 287117 h 394446"/>
                <a:gd name="connsiteX139" fmla="*/ 46126 w 205484"/>
                <a:gd name="connsiteY139" fmla="*/ 289117 h 394446"/>
                <a:gd name="connsiteX140" fmla="*/ 42891 w 205484"/>
                <a:gd name="connsiteY140" fmla="*/ 290698 h 394446"/>
                <a:gd name="connsiteX141" fmla="*/ 46357 w 205484"/>
                <a:gd name="connsiteY141" fmla="*/ 293124 h 394446"/>
                <a:gd name="connsiteX142" fmla="*/ 46786 w 205484"/>
                <a:gd name="connsiteY142" fmla="*/ 293538 h 394446"/>
                <a:gd name="connsiteX143" fmla="*/ 50966 w 205484"/>
                <a:gd name="connsiteY143" fmla="*/ 299520 h 394446"/>
                <a:gd name="connsiteX144" fmla="*/ 51289 w 205484"/>
                <a:gd name="connsiteY144" fmla="*/ 300398 h 394446"/>
                <a:gd name="connsiteX145" fmla="*/ 51882 w 205484"/>
                <a:gd name="connsiteY145" fmla="*/ 306361 h 394446"/>
                <a:gd name="connsiteX146" fmla="*/ 51853 w 205484"/>
                <a:gd name="connsiteY146" fmla="*/ 306882 h 394446"/>
                <a:gd name="connsiteX147" fmla="*/ 50667 w 205484"/>
                <a:gd name="connsiteY147" fmla="*/ 312806 h 394446"/>
                <a:gd name="connsiteX148" fmla="*/ 49881 w 205484"/>
                <a:gd name="connsiteY148" fmla="*/ 313988 h 394446"/>
                <a:gd name="connsiteX149" fmla="*/ 48093 w 205484"/>
                <a:gd name="connsiteY149" fmla="*/ 315173 h 394446"/>
                <a:gd name="connsiteX150" fmla="*/ 45711 w 205484"/>
                <a:gd name="connsiteY150" fmla="*/ 314870 h 394446"/>
                <a:gd name="connsiteX151" fmla="*/ 41001 w 205484"/>
                <a:gd name="connsiteY151" fmla="*/ 309543 h 394446"/>
                <a:gd name="connsiteX152" fmla="*/ 35626 w 205484"/>
                <a:gd name="connsiteY152" fmla="*/ 304173 h 394446"/>
                <a:gd name="connsiteX153" fmla="*/ 34532 w 205484"/>
                <a:gd name="connsiteY153" fmla="*/ 304173 h 394446"/>
                <a:gd name="connsiteX154" fmla="*/ 69203 w 205484"/>
                <a:gd name="connsiteY154" fmla="*/ 333386 h 394446"/>
                <a:gd name="connsiteX155" fmla="*/ 75682 w 205484"/>
                <a:gd name="connsiteY155" fmla="*/ 335743 h 394446"/>
                <a:gd name="connsiteX156" fmla="*/ 75744 w 205484"/>
                <a:gd name="connsiteY156" fmla="*/ 335801 h 394446"/>
                <a:gd name="connsiteX157" fmla="*/ 81679 w 205484"/>
                <a:gd name="connsiteY157" fmla="*/ 338130 h 394446"/>
                <a:gd name="connsiteX158" fmla="*/ 81881 w 205484"/>
                <a:gd name="connsiteY158" fmla="*/ 338250 h 394446"/>
                <a:gd name="connsiteX159" fmla="*/ 88278 w 205484"/>
                <a:gd name="connsiteY159" fmla="*/ 341711 h 394446"/>
                <a:gd name="connsiteX160" fmla="*/ 93769 w 205484"/>
                <a:gd name="connsiteY160" fmla="*/ 343355 h 394446"/>
                <a:gd name="connsiteX161" fmla="*/ 94704 w 205484"/>
                <a:gd name="connsiteY161" fmla="*/ 343355 h 394446"/>
                <a:gd name="connsiteX162" fmla="*/ 96097 w 205484"/>
                <a:gd name="connsiteY162" fmla="*/ 344074 h 394446"/>
                <a:gd name="connsiteX163" fmla="*/ 100860 w 205484"/>
                <a:gd name="connsiteY163" fmla="*/ 349998 h 394446"/>
                <a:gd name="connsiteX164" fmla="*/ 100966 w 205484"/>
                <a:gd name="connsiteY164" fmla="*/ 350138 h 394446"/>
                <a:gd name="connsiteX165" fmla="*/ 102104 w 205484"/>
                <a:gd name="connsiteY165" fmla="*/ 351869 h 394446"/>
                <a:gd name="connsiteX166" fmla="*/ 106823 w 205484"/>
                <a:gd name="connsiteY166" fmla="*/ 357740 h 394446"/>
                <a:gd name="connsiteX167" fmla="*/ 107127 w 205484"/>
                <a:gd name="connsiteY167" fmla="*/ 358367 h 394446"/>
                <a:gd name="connsiteX168" fmla="*/ 108708 w 205484"/>
                <a:gd name="connsiteY168" fmla="*/ 363487 h 394446"/>
                <a:gd name="connsiteX169" fmla="*/ 113813 w 205484"/>
                <a:gd name="connsiteY169" fmla="*/ 365530 h 394446"/>
                <a:gd name="connsiteX170" fmla="*/ 114402 w 205484"/>
                <a:gd name="connsiteY170" fmla="*/ 365916 h 394446"/>
                <a:gd name="connsiteX171" fmla="*/ 116793 w 205484"/>
                <a:gd name="connsiteY171" fmla="*/ 368336 h 394446"/>
                <a:gd name="connsiteX172" fmla="*/ 117299 w 205484"/>
                <a:gd name="connsiteY172" fmla="*/ 369937 h 394446"/>
                <a:gd name="connsiteX173" fmla="*/ 116195 w 205484"/>
                <a:gd name="connsiteY173" fmla="*/ 376016 h 394446"/>
                <a:gd name="connsiteX174" fmla="*/ 116667 w 205484"/>
                <a:gd name="connsiteY174" fmla="*/ 377346 h 394446"/>
                <a:gd name="connsiteX175" fmla="*/ 116730 w 205484"/>
                <a:gd name="connsiteY175" fmla="*/ 377915 h 394446"/>
                <a:gd name="connsiteX176" fmla="*/ 116730 w 205484"/>
                <a:gd name="connsiteY176" fmla="*/ 379053 h 394446"/>
                <a:gd name="connsiteX177" fmla="*/ 117304 w 205484"/>
                <a:gd name="connsiteY177" fmla="*/ 384784 h 394446"/>
                <a:gd name="connsiteX178" fmla="*/ 118234 w 205484"/>
                <a:gd name="connsiteY178" fmla="*/ 389316 h 394446"/>
                <a:gd name="connsiteX179" fmla="*/ 119169 w 205484"/>
                <a:gd name="connsiteY179" fmla="*/ 389745 h 394446"/>
                <a:gd name="connsiteX180" fmla="*/ 119916 w 205484"/>
                <a:gd name="connsiteY180" fmla="*/ 390463 h 394446"/>
                <a:gd name="connsiteX181" fmla="*/ 120644 w 205484"/>
                <a:gd name="connsiteY181" fmla="*/ 390531 h 394446"/>
                <a:gd name="connsiteX182" fmla="*/ 124221 w 205484"/>
                <a:gd name="connsiteY182" fmla="*/ 390844 h 394446"/>
                <a:gd name="connsiteX183" fmla="*/ 125778 w 205484"/>
                <a:gd name="connsiteY183" fmla="*/ 391008 h 394446"/>
                <a:gd name="connsiteX184" fmla="*/ 126424 w 205484"/>
                <a:gd name="connsiteY184" fmla="*/ 391177 h 394446"/>
                <a:gd name="connsiteX185" fmla="*/ 132412 w 205484"/>
                <a:gd name="connsiteY185" fmla="*/ 394160 h 394446"/>
                <a:gd name="connsiteX186" fmla="*/ 132981 w 205484"/>
                <a:gd name="connsiteY186" fmla="*/ 394445 h 394446"/>
                <a:gd name="connsiteX187" fmla="*/ 139127 w 205484"/>
                <a:gd name="connsiteY187" fmla="*/ 392160 h 394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205484" h="394446">
                  <a:moveTo>
                    <a:pt x="139127" y="392160"/>
                  </a:moveTo>
                  <a:cubicBezTo>
                    <a:pt x="141976" y="389446"/>
                    <a:pt x="147790" y="384524"/>
                    <a:pt x="146613" y="381685"/>
                  </a:cubicBezTo>
                  <a:cubicBezTo>
                    <a:pt x="145456" y="378864"/>
                    <a:pt x="143788" y="372135"/>
                    <a:pt x="145317" y="370862"/>
                  </a:cubicBezTo>
                  <a:cubicBezTo>
                    <a:pt x="146888" y="369585"/>
                    <a:pt x="147896" y="370067"/>
                    <a:pt x="149829" y="370954"/>
                  </a:cubicBezTo>
                  <a:cubicBezTo>
                    <a:pt x="151772" y="371865"/>
                    <a:pt x="155638" y="371605"/>
                    <a:pt x="156028" y="369161"/>
                  </a:cubicBezTo>
                  <a:cubicBezTo>
                    <a:pt x="156404" y="366716"/>
                    <a:pt x="156824" y="364407"/>
                    <a:pt x="155006" y="362850"/>
                  </a:cubicBezTo>
                  <a:cubicBezTo>
                    <a:pt x="153199" y="361303"/>
                    <a:pt x="144285" y="352649"/>
                    <a:pt x="146218" y="345530"/>
                  </a:cubicBezTo>
                  <a:cubicBezTo>
                    <a:pt x="146893" y="343341"/>
                    <a:pt x="150865" y="342960"/>
                    <a:pt x="150865" y="342960"/>
                  </a:cubicBezTo>
                  <a:lnTo>
                    <a:pt x="152143" y="337667"/>
                  </a:lnTo>
                  <a:lnTo>
                    <a:pt x="156829" y="332625"/>
                  </a:lnTo>
                  <a:cubicBezTo>
                    <a:pt x="156829" y="332625"/>
                    <a:pt x="160319" y="330691"/>
                    <a:pt x="163004" y="331554"/>
                  </a:cubicBezTo>
                  <a:cubicBezTo>
                    <a:pt x="165713" y="332470"/>
                    <a:pt x="173571" y="333656"/>
                    <a:pt x="177341" y="323186"/>
                  </a:cubicBezTo>
                  <a:cubicBezTo>
                    <a:pt x="176839" y="319579"/>
                    <a:pt x="176589" y="316215"/>
                    <a:pt x="176589" y="316215"/>
                  </a:cubicBezTo>
                  <a:lnTo>
                    <a:pt x="179679" y="309895"/>
                  </a:lnTo>
                  <a:lnTo>
                    <a:pt x="178517" y="304047"/>
                  </a:lnTo>
                  <a:lnTo>
                    <a:pt x="179293" y="298007"/>
                  </a:lnTo>
                  <a:cubicBezTo>
                    <a:pt x="179293" y="298007"/>
                    <a:pt x="183810" y="290405"/>
                    <a:pt x="183810" y="285618"/>
                  </a:cubicBezTo>
                  <a:cubicBezTo>
                    <a:pt x="183810" y="280821"/>
                    <a:pt x="183810" y="279423"/>
                    <a:pt x="183810" y="279423"/>
                  </a:cubicBezTo>
                  <a:lnTo>
                    <a:pt x="187435" y="273556"/>
                  </a:lnTo>
                  <a:cubicBezTo>
                    <a:pt x="187435" y="273556"/>
                    <a:pt x="198258" y="272327"/>
                    <a:pt x="199588" y="268952"/>
                  </a:cubicBezTo>
                  <a:cubicBezTo>
                    <a:pt x="200856" y="265607"/>
                    <a:pt x="201762" y="263515"/>
                    <a:pt x="201762" y="263515"/>
                  </a:cubicBezTo>
                  <a:lnTo>
                    <a:pt x="205484" y="257706"/>
                  </a:lnTo>
                  <a:cubicBezTo>
                    <a:pt x="205484" y="257706"/>
                    <a:pt x="204987" y="254384"/>
                    <a:pt x="205122" y="250229"/>
                  </a:cubicBezTo>
                  <a:cubicBezTo>
                    <a:pt x="205267" y="246093"/>
                    <a:pt x="204992" y="239888"/>
                    <a:pt x="198653" y="237569"/>
                  </a:cubicBezTo>
                  <a:cubicBezTo>
                    <a:pt x="195168" y="236143"/>
                    <a:pt x="194666" y="232513"/>
                    <a:pt x="195307" y="228656"/>
                  </a:cubicBezTo>
                  <a:cubicBezTo>
                    <a:pt x="195650" y="226631"/>
                    <a:pt x="195033" y="222862"/>
                    <a:pt x="194078" y="219545"/>
                  </a:cubicBezTo>
                  <a:cubicBezTo>
                    <a:pt x="192555" y="219685"/>
                    <a:pt x="191186" y="219742"/>
                    <a:pt x="190270" y="219742"/>
                  </a:cubicBezTo>
                  <a:cubicBezTo>
                    <a:pt x="191186" y="219742"/>
                    <a:pt x="192555" y="219685"/>
                    <a:pt x="194078" y="219545"/>
                  </a:cubicBezTo>
                  <a:cubicBezTo>
                    <a:pt x="193278" y="216657"/>
                    <a:pt x="192136" y="214093"/>
                    <a:pt x="191166" y="213442"/>
                  </a:cubicBezTo>
                  <a:cubicBezTo>
                    <a:pt x="189108" y="211986"/>
                    <a:pt x="186886" y="211499"/>
                    <a:pt x="186886" y="211499"/>
                  </a:cubicBezTo>
                  <a:lnTo>
                    <a:pt x="179944" y="211731"/>
                  </a:lnTo>
                  <a:lnTo>
                    <a:pt x="176700" y="215341"/>
                  </a:lnTo>
                  <a:lnTo>
                    <a:pt x="168567" y="216522"/>
                  </a:lnTo>
                  <a:lnTo>
                    <a:pt x="158901" y="196757"/>
                  </a:lnTo>
                  <a:cubicBezTo>
                    <a:pt x="158901" y="196757"/>
                    <a:pt x="157851" y="192882"/>
                    <a:pt x="155407" y="193793"/>
                  </a:cubicBezTo>
                  <a:cubicBezTo>
                    <a:pt x="152924" y="194704"/>
                    <a:pt x="149834" y="196203"/>
                    <a:pt x="149718" y="192973"/>
                  </a:cubicBezTo>
                  <a:cubicBezTo>
                    <a:pt x="149569" y="189748"/>
                    <a:pt x="148682" y="187584"/>
                    <a:pt x="148682" y="187584"/>
                  </a:cubicBezTo>
                  <a:lnTo>
                    <a:pt x="138722" y="176327"/>
                  </a:lnTo>
                  <a:lnTo>
                    <a:pt x="136794" y="169270"/>
                  </a:lnTo>
                  <a:lnTo>
                    <a:pt x="136037" y="166787"/>
                  </a:lnTo>
                  <a:lnTo>
                    <a:pt x="139007" y="153603"/>
                  </a:lnTo>
                  <a:lnTo>
                    <a:pt x="133443" y="147813"/>
                  </a:lnTo>
                  <a:lnTo>
                    <a:pt x="127895" y="133606"/>
                  </a:lnTo>
                  <a:cubicBezTo>
                    <a:pt x="127895" y="133606"/>
                    <a:pt x="135772" y="131374"/>
                    <a:pt x="134490" y="128419"/>
                  </a:cubicBezTo>
                  <a:cubicBezTo>
                    <a:pt x="133178" y="125469"/>
                    <a:pt x="128912" y="111146"/>
                    <a:pt x="128912" y="111146"/>
                  </a:cubicBezTo>
                  <a:lnTo>
                    <a:pt x="129196" y="105304"/>
                  </a:lnTo>
                  <a:lnTo>
                    <a:pt x="131761" y="98854"/>
                  </a:lnTo>
                  <a:lnTo>
                    <a:pt x="131004" y="91632"/>
                  </a:lnTo>
                  <a:lnTo>
                    <a:pt x="132918" y="89323"/>
                  </a:lnTo>
                  <a:lnTo>
                    <a:pt x="132855" y="88865"/>
                  </a:lnTo>
                  <a:lnTo>
                    <a:pt x="126733" y="85925"/>
                  </a:lnTo>
                  <a:lnTo>
                    <a:pt x="132855" y="88865"/>
                  </a:lnTo>
                  <a:lnTo>
                    <a:pt x="131756" y="82724"/>
                  </a:lnTo>
                  <a:lnTo>
                    <a:pt x="134610" y="76283"/>
                  </a:lnTo>
                  <a:lnTo>
                    <a:pt x="127890" y="64656"/>
                  </a:lnTo>
                  <a:cubicBezTo>
                    <a:pt x="127890" y="64656"/>
                    <a:pt x="125562" y="38532"/>
                    <a:pt x="100118" y="34815"/>
                  </a:cubicBezTo>
                  <a:cubicBezTo>
                    <a:pt x="96902" y="34309"/>
                    <a:pt x="89792" y="32858"/>
                    <a:pt x="88235" y="30409"/>
                  </a:cubicBezTo>
                  <a:cubicBezTo>
                    <a:pt x="86692" y="27980"/>
                    <a:pt x="85000" y="24754"/>
                    <a:pt x="84735" y="20580"/>
                  </a:cubicBezTo>
                  <a:cubicBezTo>
                    <a:pt x="84576" y="17692"/>
                    <a:pt x="77740" y="10943"/>
                    <a:pt x="70167" y="7472"/>
                  </a:cubicBezTo>
                  <a:lnTo>
                    <a:pt x="63451" y="8576"/>
                  </a:lnTo>
                  <a:lnTo>
                    <a:pt x="60867" y="12958"/>
                  </a:lnTo>
                  <a:lnTo>
                    <a:pt x="55189" y="13484"/>
                  </a:lnTo>
                  <a:lnTo>
                    <a:pt x="50117" y="18671"/>
                  </a:lnTo>
                  <a:lnTo>
                    <a:pt x="45615" y="21250"/>
                  </a:lnTo>
                  <a:lnTo>
                    <a:pt x="39430" y="18261"/>
                  </a:lnTo>
                  <a:lnTo>
                    <a:pt x="36817" y="12322"/>
                  </a:lnTo>
                  <a:lnTo>
                    <a:pt x="37608" y="5467"/>
                  </a:lnTo>
                  <a:cubicBezTo>
                    <a:pt x="37608" y="5467"/>
                    <a:pt x="35144" y="328"/>
                    <a:pt x="33607" y="92"/>
                  </a:cubicBezTo>
                  <a:cubicBezTo>
                    <a:pt x="25980" y="-1229"/>
                    <a:pt x="21593" y="12057"/>
                    <a:pt x="21468" y="16323"/>
                  </a:cubicBezTo>
                  <a:cubicBezTo>
                    <a:pt x="21338" y="20575"/>
                    <a:pt x="10491" y="37110"/>
                    <a:pt x="8428" y="40128"/>
                  </a:cubicBezTo>
                  <a:cubicBezTo>
                    <a:pt x="6369" y="43054"/>
                    <a:pt x="7917" y="46684"/>
                    <a:pt x="7917" y="46684"/>
                  </a:cubicBezTo>
                  <a:lnTo>
                    <a:pt x="295" y="62452"/>
                  </a:lnTo>
                  <a:cubicBezTo>
                    <a:pt x="295" y="62452"/>
                    <a:pt x="161" y="64487"/>
                    <a:pt x="1" y="66724"/>
                  </a:cubicBezTo>
                  <a:cubicBezTo>
                    <a:pt x="-105" y="70349"/>
                    <a:pt x="6210" y="72634"/>
                    <a:pt x="6210" y="72634"/>
                  </a:cubicBezTo>
                  <a:lnTo>
                    <a:pt x="9440" y="78602"/>
                  </a:lnTo>
                  <a:lnTo>
                    <a:pt x="9821" y="90210"/>
                  </a:lnTo>
                  <a:cubicBezTo>
                    <a:pt x="9821" y="90210"/>
                    <a:pt x="9696" y="92669"/>
                    <a:pt x="8013" y="96135"/>
                  </a:cubicBezTo>
                  <a:cubicBezTo>
                    <a:pt x="6369" y="99639"/>
                    <a:pt x="8428" y="102884"/>
                    <a:pt x="10216" y="106114"/>
                  </a:cubicBezTo>
                  <a:cubicBezTo>
                    <a:pt x="10689" y="106904"/>
                    <a:pt x="11041" y="107656"/>
                    <a:pt x="11330" y="108350"/>
                  </a:cubicBezTo>
                  <a:lnTo>
                    <a:pt x="11976" y="108712"/>
                  </a:lnTo>
                  <a:lnTo>
                    <a:pt x="14738" y="107309"/>
                  </a:lnTo>
                  <a:lnTo>
                    <a:pt x="15360" y="107155"/>
                  </a:lnTo>
                  <a:lnTo>
                    <a:pt x="21333" y="106552"/>
                  </a:lnTo>
                  <a:lnTo>
                    <a:pt x="21993" y="106605"/>
                  </a:lnTo>
                  <a:lnTo>
                    <a:pt x="28521" y="108375"/>
                  </a:lnTo>
                  <a:lnTo>
                    <a:pt x="29061" y="108630"/>
                  </a:lnTo>
                  <a:lnTo>
                    <a:pt x="30695" y="109744"/>
                  </a:lnTo>
                  <a:lnTo>
                    <a:pt x="37126" y="112651"/>
                  </a:lnTo>
                  <a:lnTo>
                    <a:pt x="38090" y="113663"/>
                  </a:lnTo>
                  <a:lnTo>
                    <a:pt x="38027" y="115080"/>
                  </a:lnTo>
                  <a:lnTo>
                    <a:pt x="35405" y="120836"/>
                  </a:lnTo>
                  <a:lnTo>
                    <a:pt x="35621" y="121246"/>
                  </a:lnTo>
                  <a:lnTo>
                    <a:pt x="35674" y="121362"/>
                  </a:lnTo>
                  <a:lnTo>
                    <a:pt x="38090" y="127320"/>
                  </a:lnTo>
                  <a:lnTo>
                    <a:pt x="38181" y="128323"/>
                  </a:lnTo>
                  <a:lnTo>
                    <a:pt x="37232" y="133519"/>
                  </a:lnTo>
                  <a:lnTo>
                    <a:pt x="40770" y="135284"/>
                  </a:lnTo>
                  <a:cubicBezTo>
                    <a:pt x="41618" y="135742"/>
                    <a:pt x="42014" y="136773"/>
                    <a:pt x="41618" y="137675"/>
                  </a:cubicBezTo>
                  <a:lnTo>
                    <a:pt x="38634" y="144236"/>
                  </a:lnTo>
                  <a:lnTo>
                    <a:pt x="37772" y="145089"/>
                  </a:lnTo>
                  <a:lnTo>
                    <a:pt x="33033" y="147456"/>
                  </a:lnTo>
                  <a:lnTo>
                    <a:pt x="32907" y="147509"/>
                  </a:lnTo>
                  <a:lnTo>
                    <a:pt x="30700" y="148406"/>
                  </a:lnTo>
                  <a:lnTo>
                    <a:pt x="33033" y="149563"/>
                  </a:lnTo>
                  <a:lnTo>
                    <a:pt x="34031" y="151173"/>
                  </a:lnTo>
                  <a:lnTo>
                    <a:pt x="34031" y="157146"/>
                  </a:lnTo>
                  <a:lnTo>
                    <a:pt x="33809" y="158023"/>
                  </a:lnTo>
                  <a:lnTo>
                    <a:pt x="30237" y="164555"/>
                  </a:lnTo>
                  <a:lnTo>
                    <a:pt x="29933" y="164999"/>
                  </a:lnTo>
                  <a:lnTo>
                    <a:pt x="24905" y="170002"/>
                  </a:lnTo>
                  <a:lnTo>
                    <a:pt x="27267" y="174708"/>
                  </a:lnTo>
                  <a:lnTo>
                    <a:pt x="30984" y="180584"/>
                  </a:lnTo>
                  <a:lnTo>
                    <a:pt x="36292" y="182199"/>
                  </a:lnTo>
                  <a:lnTo>
                    <a:pt x="37526" y="183467"/>
                  </a:lnTo>
                  <a:lnTo>
                    <a:pt x="39319" y="189999"/>
                  </a:lnTo>
                  <a:lnTo>
                    <a:pt x="39261" y="191122"/>
                  </a:lnTo>
                  <a:cubicBezTo>
                    <a:pt x="33939" y="200388"/>
                    <a:pt x="37309" y="211340"/>
                    <a:pt x="35911" y="219747"/>
                  </a:cubicBezTo>
                  <a:lnTo>
                    <a:pt x="37217" y="220408"/>
                  </a:lnTo>
                  <a:lnTo>
                    <a:pt x="37656" y="220745"/>
                  </a:lnTo>
                  <a:lnTo>
                    <a:pt x="38866" y="221907"/>
                  </a:lnTo>
                  <a:lnTo>
                    <a:pt x="38885" y="222008"/>
                  </a:lnTo>
                  <a:cubicBezTo>
                    <a:pt x="39131" y="221396"/>
                    <a:pt x="39657" y="220890"/>
                    <a:pt x="40322" y="220822"/>
                  </a:cubicBezTo>
                  <a:cubicBezTo>
                    <a:pt x="41069" y="220702"/>
                    <a:pt x="41826" y="221112"/>
                    <a:pt x="42187" y="221825"/>
                  </a:cubicBezTo>
                  <a:lnTo>
                    <a:pt x="45118" y="227769"/>
                  </a:lnTo>
                  <a:lnTo>
                    <a:pt x="45345" y="228405"/>
                  </a:lnTo>
                  <a:lnTo>
                    <a:pt x="45923" y="234957"/>
                  </a:lnTo>
                  <a:lnTo>
                    <a:pt x="45060" y="236663"/>
                  </a:lnTo>
                  <a:lnTo>
                    <a:pt x="39276" y="240139"/>
                  </a:lnTo>
                  <a:lnTo>
                    <a:pt x="37077" y="242328"/>
                  </a:lnTo>
                  <a:lnTo>
                    <a:pt x="35853" y="242578"/>
                  </a:lnTo>
                  <a:lnTo>
                    <a:pt x="36378" y="247992"/>
                  </a:lnTo>
                  <a:lnTo>
                    <a:pt x="36200" y="249062"/>
                  </a:lnTo>
                  <a:lnTo>
                    <a:pt x="32936" y="255040"/>
                  </a:lnTo>
                  <a:lnTo>
                    <a:pt x="33987" y="260323"/>
                  </a:lnTo>
                  <a:lnTo>
                    <a:pt x="33987" y="261032"/>
                  </a:lnTo>
                  <a:lnTo>
                    <a:pt x="32802" y="266995"/>
                  </a:lnTo>
                  <a:lnTo>
                    <a:pt x="32642" y="267472"/>
                  </a:lnTo>
                  <a:lnTo>
                    <a:pt x="30256" y="272245"/>
                  </a:lnTo>
                  <a:cubicBezTo>
                    <a:pt x="42732" y="286273"/>
                    <a:pt x="45562" y="272549"/>
                    <a:pt x="47109" y="287117"/>
                  </a:cubicBezTo>
                  <a:cubicBezTo>
                    <a:pt x="47244" y="287893"/>
                    <a:pt x="46854" y="288717"/>
                    <a:pt x="46126" y="289117"/>
                  </a:cubicBezTo>
                  <a:lnTo>
                    <a:pt x="42891" y="290698"/>
                  </a:lnTo>
                  <a:lnTo>
                    <a:pt x="46357" y="293124"/>
                  </a:lnTo>
                  <a:lnTo>
                    <a:pt x="46786" y="293538"/>
                  </a:lnTo>
                  <a:lnTo>
                    <a:pt x="50966" y="299520"/>
                  </a:lnTo>
                  <a:lnTo>
                    <a:pt x="51289" y="300398"/>
                  </a:lnTo>
                  <a:lnTo>
                    <a:pt x="51882" y="306361"/>
                  </a:lnTo>
                  <a:lnTo>
                    <a:pt x="51853" y="306882"/>
                  </a:lnTo>
                  <a:lnTo>
                    <a:pt x="50667" y="312806"/>
                  </a:lnTo>
                  <a:lnTo>
                    <a:pt x="49881" y="313988"/>
                  </a:lnTo>
                  <a:lnTo>
                    <a:pt x="48093" y="315173"/>
                  </a:lnTo>
                  <a:cubicBezTo>
                    <a:pt x="47341" y="315675"/>
                    <a:pt x="46324" y="315535"/>
                    <a:pt x="45711" y="314870"/>
                  </a:cubicBezTo>
                  <a:lnTo>
                    <a:pt x="41001" y="309543"/>
                  </a:lnTo>
                  <a:lnTo>
                    <a:pt x="35626" y="304173"/>
                  </a:lnTo>
                  <a:lnTo>
                    <a:pt x="34532" y="304173"/>
                  </a:lnTo>
                  <a:cubicBezTo>
                    <a:pt x="51033" y="325369"/>
                    <a:pt x="43166" y="323156"/>
                    <a:pt x="69203" y="333386"/>
                  </a:cubicBezTo>
                  <a:lnTo>
                    <a:pt x="75682" y="335743"/>
                  </a:lnTo>
                  <a:lnTo>
                    <a:pt x="75744" y="335801"/>
                  </a:lnTo>
                  <a:lnTo>
                    <a:pt x="81679" y="338130"/>
                  </a:lnTo>
                  <a:lnTo>
                    <a:pt x="81881" y="338250"/>
                  </a:lnTo>
                  <a:lnTo>
                    <a:pt x="88278" y="341711"/>
                  </a:lnTo>
                  <a:lnTo>
                    <a:pt x="93769" y="343355"/>
                  </a:lnTo>
                  <a:lnTo>
                    <a:pt x="94704" y="343355"/>
                  </a:lnTo>
                  <a:lnTo>
                    <a:pt x="96097" y="344074"/>
                  </a:lnTo>
                  <a:lnTo>
                    <a:pt x="100860" y="349998"/>
                  </a:lnTo>
                  <a:lnTo>
                    <a:pt x="100966" y="350138"/>
                  </a:lnTo>
                  <a:lnTo>
                    <a:pt x="102104" y="351869"/>
                  </a:lnTo>
                  <a:lnTo>
                    <a:pt x="106823" y="357740"/>
                  </a:lnTo>
                  <a:lnTo>
                    <a:pt x="107127" y="358367"/>
                  </a:lnTo>
                  <a:lnTo>
                    <a:pt x="108708" y="363487"/>
                  </a:lnTo>
                  <a:lnTo>
                    <a:pt x="113813" y="365530"/>
                  </a:lnTo>
                  <a:lnTo>
                    <a:pt x="114402" y="365916"/>
                  </a:lnTo>
                  <a:lnTo>
                    <a:pt x="116793" y="368336"/>
                  </a:lnTo>
                  <a:lnTo>
                    <a:pt x="117299" y="369937"/>
                  </a:lnTo>
                  <a:lnTo>
                    <a:pt x="116195" y="376016"/>
                  </a:lnTo>
                  <a:lnTo>
                    <a:pt x="116667" y="377346"/>
                  </a:lnTo>
                  <a:lnTo>
                    <a:pt x="116730" y="377915"/>
                  </a:lnTo>
                  <a:lnTo>
                    <a:pt x="116730" y="379053"/>
                  </a:lnTo>
                  <a:lnTo>
                    <a:pt x="117304" y="384784"/>
                  </a:lnTo>
                  <a:lnTo>
                    <a:pt x="118234" y="389316"/>
                  </a:lnTo>
                  <a:lnTo>
                    <a:pt x="119169" y="389745"/>
                  </a:lnTo>
                  <a:lnTo>
                    <a:pt x="119916" y="390463"/>
                  </a:lnTo>
                  <a:lnTo>
                    <a:pt x="120644" y="390531"/>
                  </a:lnTo>
                  <a:cubicBezTo>
                    <a:pt x="121878" y="390430"/>
                    <a:pt x="123074" y="390531"/>
                    <a:pt x="124221" y="390844"/>
                  </a:cubicBezTo>
                  <a:lnTo>
                    <a:pt x="125778" y="391008"/>
                  </a:lnTo>
                  <a:lnTo>
                    <a:pt x="126424" y="391177"/>
                  </a:lnTo>
                  <a:lnTo>
                    <a:pt x="132412" y="394160"/>
                  </a:lnTo>
                  <a:lnTo>
                    <a:pt x="132981" y="394445"/>
                  </a:lnTo>
                  <a:cubicBezTo>
                    <a:pt x="135299" y="394488"/>
                    <a:pt x="137517" y="393635"/>
                    <a:pt x="139127" y="39216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23" name="Freihandform: Form 622">
              <a:extLst>
                <a:ext uri="{FF2B5EF4-FFF2-40B4-BE49-F238E27FC236}">
                  <a16:creationId xmlns:a16="http://schemas.microsoft.com/office/drawing/2014/main" id="{8436B977-35FF-6139-8D5F-C974F885D3D0}"/>
                </a:ext>
              </a:extLst>
            </p:cNvPr>
            <p:cNvSpPr/>
            <p:nvPr/>
          </p:nvSpPr>
          <p:spPr>
            <a:xfrm>
              <a:off x="6080163" y="5068943"/>
              <a:ext cx="485720" cy="438167"/>
            </a:xfrm>
            <a:custGeom>
              <a:avLst/>
              <a:gdLst>
                <a:gd name="connsiteX0" fmla="*/ 222043 w 380740"/>
                <a:gd name="connsiteY0" fmla="*/ 306497 h 344177"/>
                <a:gd name="connsiteX1" fmla="*/ 229265 w 380740"/>
                <a:gd name="connsiteY1" fmla="*/ 306145 h 344177"/>
                <a:gd name="connsiteX2" fmla="*/ 232369 w 380740"/>
                <a:gd name="connsiteY2" fmla="*/ 315936 h 344177"/>
                <a:gd name="connsiteX3" fmla="*/ 238737 w 380740"/>
                <a:gd name="connsiteY3" fmla="*/ 318698 h 344177"/>
                <a:gd name="connsiteX4" fmla="*/ 274584 w 380740"/>
                <a:gd name="connsiteY4" fmla="*/ 341919 h 344177"/>
                <a:gd name="connsiteX5" fmla="*/ 280538 w 380740"/>
                <a:gd name="connsiteY5" fmla="*/ 339311 h 344177"/>
                <a:gd name="connsiteX6" fmla="*/ 286993 w 380740"/>
                <a:gd name="connsiteY6" fmla="*/ 343197 h 344177"/>
                <a:gd name="connsiteX7" fmla="*/ 293004 w 380740"/>
                <a:gd name="connsiteY7" fmla="*/ 344069 h 344177"/>
                <a:gd name="connsiteX8" fmla="*/ 292695 w 380740"/>
                <a:gd name="connsiteY8" fmla="*/ 339967 h 344177"/>
                <a:gd name="connsiteX9" fmla="*/ 293004 w 380740"/>
                <a:gd name="connsiteY9" fmla="*/ 344069 h 344177"/>
                <a:gd name="connsiteX10" fmla="*/ 296542 w 380740"/>
                <a:gd name="connsiteY10" fmla="*/ 344123 h 344177"/>
                <a:gd name="connsiteX11" fmla="*/ 302255 w 380740"/>
                <a:gd name="connsiteY11" fmla="*/ 336376 h 344177"/>
                <a:gd name="connsiteX12" fmla="*/ 295250 w 380740"/>
                <a:gd name="connsiteY12" fmla="*/ 318414 h 344177"/>
                <a:gd name="connsiteX13" fmla="*/ 291640 w 380740"/>
                <a:gd name="connsiteY13" fmla="*/ 301643 h 344177"/>
                <a:gd name="connsiteX14" fmla="*/ 287388 w 380740"/>
                <a:gd name="connsiteY14" fmla="*/ 293476 h 344177"/>
                <a:gd name="connsiteX15" fmla="*/ 288014 w 380740"/>
                <a:gd name="connsiteY15" fmla="*/ 287812 h 344177"/>
                <a:gd name="connsiteX16" fmla="*/ 292695 w 380740"/>
                <a:gd name="connsiteY16" fmla="*/ 282639 h 344177"/>
                <a:gd name="connsiteX17" fmla="*/ 306247 w 380740"/>
                <a:gd name="connsiteY17" fmla="*/ 279920 h 344177"/>
                <a:gd name="connsiteX18" fmla="*/ 306348 w 380740"/>
                <a:gd name="connsiteY18" fmla="*/ 253050 h 344177"/>
                <a:gd name="connsiteX19" fmla="*/ 306348 w 380740"/>
                <a:gd name="connsiteY19" fmla="*/ 248012 h 344177"/>
                <a:gd name="connsiteX20" fmla="*/ 319142 w 380740"/>
                <a:gd name="connsiteY20" fmla="*/ 234625 h 344177"/>
                <a:gd name="connsiteX21" fmla="*/ 326749 w 380740"/>
                <a:gd name="connsiteY21" fmla="*/ 233719 h 344177"/>
                <a:gd name="connsiteX22" fmla="*/ 335532 w 380740"/>
                <a:gd name="connsiteY22" fmla="*/ 244546 h 344177"/>
                <a:gd name="connsiteX23" fmla="*/ 327414 w 380740"/>
                <a:gd name="connsiteY23" fmla="*/ 216528 h 344177"/>
                <a:gd name="connsiteX24" fmla="*/ 325327 w 380740"/>
                <a:gd name="connsiteY24" fmla="*/ 210059 h 344177"/>
                <a:gd name="connsiteX25" fmla="*/ 332196 w 380740"/>
                <a:gd name="connsiteY25" fmla="*/ 204491 h 344177"/>
                <a:gd name="connsiteX26" fmla="*/ 339037 w 380740"/>
                <a:gd name="connsiteY26" fmla="*/ 209789 h 344177"/>
                <a:gd name="connsiteX27" fmla="*/ 344070 w 380740"/>
                <a:gd name="connsiteY27" fmla="*/ 205026 h 344177"/>
                <a:gd name="connsiteX28" fmla="*/ 351291 w 380740"/>
                <a:gd name="connsiteY28" fmla="*/ 205190 h 344177"/>
                <a:gd name="connsiteX29" fmla="*/ 354911 w 380740"/>
                <a:gd name="connsiteY29" fmla="*/ 198180 h 344177"/>
                <a:gd name="connsiteX30" fmla="*/ 364606 w 380740"/>
                <a:gd name="connsiteY30" fmla="*/ 193147 h 344177"/>
                <a:gd name="connsiteX31" fmla="*/ 370169 w 380740"/>
                <a:gd name="connsiteY31" fmla="*/ 200263 h 344177"/>
                <a:gd name="connsiteX32" fmla="*/ 377000 w 380740"/>
                <a:gd name="connsiteY32" fmla="*/ 195336 h 344177"/>
                <a:gd name="connsiteX33" fmla="*/ 377767 w 380740"/>
                <a:gd name="connsiteY33" fmla="*/ 187483 h 344177"/>
                <a:gd name="connsiteX34" fmla="*/ 378032 w 380740"/>
                <a:gd name="connsiteY34" fmla="*/ 180773 h 344177"/>
                <a:gd name="connsiteX35" fmla="*/ 371591 w 380740"/>
                <a:gd name="connsiteY35" fmla="*/ 170919 h 344177"/>
                <a:gd name="connsiteX36" fmla="*/ 359833 w 380740"/>
                <a:gd name="connsiteY36" fmla="*/ 159205 h 344177"/>
                <a:gd name="connsiteX37" fmla="*/ 351166 w 380740"/>
                <a:gd name="connsiteY37" fmla="*/ 150889 h 344177"/>
                <a:gd name="connsiteX38" fmla="*/ 346393 w 380740"/>
                <a:gd name="connsiteY38" fmla="*/ 142371 h 344177"/>
                <a:gd name="connsiteX39" fmla="*/ 353899 w 380740"/>
                <a:gd name="connsiteY39" fmla="*/ 143538 h 344177"/>
                <a:gd name="connsiteX40" fmla="*/ 374170 w 380740"/>
                <a:gd name="connsiteY40" fmla="*/ 143803 h 344177"/>
                <a:gd name="connsiteX41" fmla="*/ 380741 w 380740"/>
                <a:gd name="connsiteY41" fmla="*/ 134407 h 344177"/>
                <a:gd name="connsiteX42" fmla="*/ 368463 w 380740"/>
                <a:gd name="connsiteY42" fmla="*/ 127258 h 344177"/>
                <a:gd name="connsiteX43" fmla="*/ 365517 w 380740"/>
                <a:gd name="connsiteY43" fmla="*/ 118639 h 344177"/>
                <a:gd name="connsiteX44" fmla="*/ 359959 w 380740"/>
                <a:gd name="connsiteY44" fmla="*/ 119776 h 344177"/>
                <a:gd name="connsiteX45" fmla="*/ 353239 w 380740"/>
                <a:gd name="connsiteY45" fmla="*/ 117217 h 344177"/>
                <a:gd name="connsiteX46" fmla="*/ 350018 w 380740"/>
                <a:gd name="connsiteY46" fmla="*/ 109576 h 344177"/>
                <a:gd name="connsiteX47" fmla="*/ 343689 w 380740"/>
                <a:gd name="connsiteY47" fmla="*/ 105709 h 344177"/>
                <a:gd name="connsiteX48" fmla="*/ 340584 w 380740"/>
                <a:gd name="connsiteY48" fmla="*/ 107628 h 344177"/>
                <a:gd name="connsiteX49" fmla="*/ 332442 w 380740"/>
                <a:gd name="connsiteY49" fmla="*/ 106196 h 344177"/>
                <a:gd name="connsiteX50" fmla="*/ 326648 w 380740"/>
                <a:gd name="connsiteY50" fmla="*/ 95268 h 344177"/>
                <a:gd name="connsiteX51" fmla="*/ 328571 w 380740"/>
                <a:gd name="connsiteY51" fmla="*/ 83640 h 344177"/>
                <a:gd name="connsiteX52" fmla="*/ 326494 w 380740"/>
                <a:gd name="connsiteY52" fmla="*/ 80767 h 344177"/>
                <a:gd name="connsiteX53" fmla="*/ 326132 w 380740"/>
                <a:gd name="connsiteY53" fmla="*/ 74158 h 344177"/>
                <a:gd name="connsiteX54" fmla="*/ 329878 w 380740"/>
                <a:gd name="connsiteY54" fmla="*/ 71859 h 344177"/>
                <a:gd name="connsiteX55" fmla="*/ 329988 w 380740"/>
                <a:gd name="connsiteY55" fmla="*/ 66826 h 344177"/>
                <a:gd name="connsiteX56" fmla="*/ 334385 w 380740"/>
                <a:gd name="connsiteY56" fmla="*/ 60496 h 344177"/>
                <a:gd name="connsiteX57" fmla="*/ 335441 w 380740"/>
                <a:gd name="connsiteY57" fmla="*/ 54436 h 344177"/>
                <a:gd name="connsiteX58" fmla="*/ 340088 w 380740"/>
                <a:gd name="connsiteY58" fmla="*/ 46020 h 344177"/>
                <a:gd name="connsiteX59" fmla="*/ 341886 w 380740"/>
                <a:gd name="connsiteY59" fmla="*/ 31427 h 344177"/>
                <a:gd name="connsiteX60" fmla="*/ 339548 w 380740"/>
                <a:gd name="connsiteY60" fmla="*/ 22548 h 344177"/>
                <a:gd name="connsiteX61" fmla="*/ 322902 w 380740"/>
                <a:gd name="connsiteY61" fmla="*/ 21641 h 344177"/>
                <a:gd name="connsiteX62" fmla="*/ 310286 w 380740"/>
                <a:gd name="connsiteY62" fmla="*/ 31119 h 344177"/>
                <a:gd name="connsiteX63" fmla="*/ 314890 w 380740"/>
                <a:gd name="connsiteY63" fmla="*/ 35708 h 344177"/>
                <a:gd name="connsiteX64" fmla="*/ 310286 w 380740"/>
                <a:gd name="connsiteY64" fmla="*/ 31119 h 344177"/>
                <a:gd name="connsiteX65" fmla="*/ 302631 w 380740"/>
                <a:gd name="connsiteY65" fmla="*/ 33741 h 344177"/>
                <a:gd name="connsiteX66" fmla="*/ 297053 w 380740"/>
                <a:gd name="connsiteY66" fmla="*/ 33640 h 344177"/>
                <a:gd name="connsiteX67" fmla="*/ 287253 w 380740"/>
                <a:gd name="connsiteY67" fmla="*/ 29499 h 344177"/>
                <a:gd name="connsiteX68" fmla="*/ 284674 w 380740"/>
                <a:gd name="connsiteY68" fmla="*/ 24982 h 344177"/>
                <a:gd name="connsiteX69" fmla="*/ 285831 w 380740"/>
                <a:gd name="connsiteY69" fmla="*/ 21386 h 344177"/>
                <a:gd name="connsiteX70" fmla="*/ 283628 w 380740"/>
                <a:gd name="connsiteY70" fmla="*/ 15972 h 344177"/>
                <a:gd name="connsiteX71" fmla="*/ 280412 w 380740"/>
                <a:gd name="connsiteY71" fmla="*/ 16565 h 344177"/>
                <a:gd name="connsiteX72" fmla="*/ 278961 w 380740"/>
                <a:gd name="connsiteY72" fmla="*/ 12328 h 344177"/>
                <a:gd name="connsiteX73" fmla="*/ 275751 w 380740"/>
                <a:gd name="connsiteY73" fmla="*/ 11450 h 344177"/>
                <a:gd name="connsiteX74" fmla="*/ 273837 w 380740"/>
                <a:gd name="connsiteY74" fmla="*/ 5116 h 344177"/>
                <a:gd name="connsiteX75" fmla="*/ 267739 w 380740"/>
                <a:gd name="connsiteY75" fmla="*/ 8982 h 344177"/>
                <a:gd name="connsiteX76" fmla="*/ 265184 w 380740"/>
                <a:gd name="connsiteY76" fmla="*/ 6384 h 344177"/>
                <a:gd name="connsiteX77" fmla="*/ 259977 w 380740"/>
                <a:gd name="connsiteY77" fmla="*/ 6765 h 344177"/>
                <a:gd name="connsiteX78" fmla="*/ 255716 w 380740"/>
                <a:gd name="connsiteY78" fmla="*/ 11942 h 344177"/>
                <a:gd name="connsiteX79" fmla="*/ 242179 w 380740"/>
                <a:gd name="connsiteY79" fmla="*/ 6138 h 344177"/>
                <a:gd name="connsiteX80" fmla="*/ 233540 w 380740"/>
                <a:gd name="connsiteY80" fmla="*/ 4065 h 344177"/>
                <a:gd name="connsiteX81" fmla="*/ 227327 w 380740"/>
                <a:gd name="connsiteY81" fmla="*/ 12193 h 344177"/>
                <a:gd name="connsiteX82" fmla="*/ 220346 w 380740"/>
                <a:gd name="connsiteY82" fmla="*/ 10375 h 344177"/>
                <a:gd name="connsiteX83" fmla="*/ 206921 w 380740"/>
                <a:gd name="connsiteY83" fmla="*/ 7290 h 344177"/>
                <a:gd name="connsiteX84" fmla="*/ 196739 w 380740"/>
                <a:gd name="connsiteY84" fmla="*/ 19303 h 344177"/>
                <a:gd name="connsiteX85" fmla="*/ 177485 w 380740"/>
                <a:gd name="connsiteY85" fmla="*/ 9985 h 344177"/>
                <a:gd name="connsiteX86" fmla="*/ 170510 w 380740"/>
                <a:gd name="connsiteY86" fmla="*/ 13735 h 344177"/>
                <a:gd name="connsiteX87" fmla="*/ 163525 w 380740"/>
                <a:gd name="connsiteY87" fmla="*/ 15422 h 344177"/>
                <a:gd name="connsiteX88" fmla="*/ 140154 w 380740"/>
                <a:gd name="connsiteY88" fmla="*/ 7545 h 344177"/>
                <a:gd name="connsiteX89" fmla="*/ 132932 w 380740"/>
                <a:gd name="connsiteY89" fmla="*/ 14020 h 344177"/>
                <a:gd name="connsiteX90" fmla="*/ 115501 w 380740"/>
                <a:gd name="connsiteY90" fmla="*/ 6379 h 344177"/>
                <a:gd name="connsiteX91" fmla="*/ 109552 w 380740"/>
                <a:gd name="connsiteY91" fmla="*/ 965 h 344177"/>
                <a:gd name="connsiteX92" fmla="*/ 102451 w 380740"/>
                <a:gd name="connsiteY92" fmla="*/ 2262 h 344177"/>
                <a:gd name="connsiteX93" fmla="*/ 98850 w 380740"/>
                <a:gd name="connsiteY93" fmla="*/ 7198 h 344177"/>
                <a:gd name="connsiteX94" fmla="*/ 96878 w 380740"/>
                <a:gd name="connsiteY94" fmla="*/ 12323 h 344177"/>
                <a:gd name="connsiteX95" fmla="*/ 91335 w 380740"/>
                <a:gd name="connsiteY95" fmla="*/ 9903 h 344177"/>
                <a:gd name="connsiteX96" fmla="*/ 85516 w 380740"/>
                <a:gd name="connsiteY96" fmla="*/ 11209 h 344177"/>
                <a:gd name="connsiteX97" fmla="*/ 75445 w 380740"/>
                <a:gd name="connsiteY97" fmla="*/ 8085 h 344177"/>
                <a:gd name="connsiteX98" fmla="*/ 69762 w 380740"/>
                <a:gd name="connsiteY98" fmla="*/ 9213 h 344177"/>
                <a:gd name="connsiteX99" fmla="*/ 65230 w 380740"/>
                <a:gd name="connsiteY99" fmla="*/ 18151 h 344177"/>
                <a:gd name="connsiteX100" fmla="*/ 60072 w 380740"/>
                <a:gd name="connsiteY100" fmla="*/ 24225 h 344177"/>
                <a:gd name="connsiteX101" fmla="*/ 55430 w 380740"/>
                <a:gd name="connsiteY101" fmla="*/ 40751 h 344177"/>
                <a:gd name="connsiteX102" fmla="*/ 47158 w 380740"/>
                <a:gd name="connsiteY102" fmla="*/ 38552 h 344177"/>
                <a:gd name="connsiteX103" fmla="*/ 42129 w 380740"/>
                <a:gd name="connsiteY103" fmla="*/ 36619 h 344177"/>
                <a:gd name="connsiteX104" fmla="*/ 35810 w 380740"/>
                <a:gd name="connsiteY104" fmla="*/ 30025 h 344177"/>
                <a:gd name="connsiteX105" fmla="*/ 32830 w 380740"/>
                <a:gd name="connsiteY105" fmla="*/ 28737 h 344177"/>
                <a:gd name="connsiteX106" fmla="*/ 27142 w 380740"/>
                <a:gd name="connsiteY106" fmla="*/ 18156 h 344177"/>
                <a:gd name="connsiteX107" fmla="*/ 21198 w 380740"/>
                <a:gd name="connsiteY107" fmla="*/ 14029 h 344177"/>
                <a:gd name="connsiteX108" fmla="*/ 12829 w 380740"/>
                <a:gd name="connsiteY108" fmla="*/ 14029 h 344177"/>
                <a:gd name="connsiteX109" fmla="*/ 4292 w 380740"/>
                <a:gd name="connsiteY109" fmla="*/ 16729 h 344177"/>
                <a:gd name="connsiteX110" fmla="*/ 1703 w 380740"/>
                <a:gd name="connsiteY110" fmla="*/ 24235 h 344177"/>
                <a:gd name="connsiteX111" fmla="*/ 1824 w 380740"/>
                <a:gd name="connsiteY111" fmla="*/ 34561 h 344177"/>
                <a:gd name="connsiteX112" fmla="*/ 676 w 380740"/>
                <a:gd name="connsiteY112" fmla="*/ 40982 h 344177"/>
                <a:gd name="connsiteX113" fmla="*/ 1438 w 380740"/>
                <a:gd name="connsiteY113" fmla="*/ 49153 h 344177"/>
                <a:gd name="connsiteX114" fmla="*/ 927 w 380740"/>
                <a:gd name="connsiteY114" fmla="*/ 58216 h 344177"/>
                <a:gd name="connsiteX115" fmla="*/ 1187 w 380740"/>
                <a:gd name="connsiteY115" fmla="*/ 73170 h 344177"/>
                <a:gd name="connsiteX116" fmla="*/ 6596 w 380740"/>
                <a:gd name="connsiteY116" fmla="*/ 80931 h 344177"/>
                <a:gd name="connsiteX117" fmla="*/ 17963 w 380740"/>
                <a:gd name="connsiteY117" fmla="*/ 85974 h 344177"/>
                <a:gd name="connsiteX118" fmla="*/ 22996 w 380740"/>
                <a:gd name="connsiteY118" fmla="*/ 86084 h 344177"/>
                <a:gd name="connsiteX119" fmla="*/ 26221 w 380740"/>
                <a:gd name="connsiteY119" fmla="*/ 91247 h 344177"/>
                <a:gd name="connsiteX120" fmla="*/ 30743 w 380740"/>
                <a:gd name="connsiteY120" fmla="*/ 104167 h 344177"/>
                <a:gd name="connsiteX121" fmla="*/ 38895 w 380740"/>
                <a:gd name="connsiteY121" fmla="*/ 103661 h 344177"/>
                <a:gd name="connsiteX122" fmla="*/ 44834 w 380740"/>
                <a:gd name="connsiteY122" fmla="*/ 118379 h 344177"/>
                <a:gd name="connsiteX123" fmla="*/ 44578 w 380740"/>
                <a:gd name="connsiteY123" fmla="*/ 123686 h 344177"/>
                <a:gd name="connsiteX124" fmla="*/ 52431 w 380740"/>
                <a:gd name="connsiteY124" fmla="*/ 128748 h 344177"/>
                <a:gd name="connsiteX125" fmla="*/ 49987 w 380740"/>
                <a:gd name="connsiteY125" fmla="*/ 134422 h 344177"/>
                <a:gd name="connsiteX126" fmla="*/ 55290 w 380740"/>
                <a:gd name="connsiteY126" fmla="*/ 149004 h 344177"/>
                <a:gd name="connsiteX127" fmla="*/ 60197 w 380740"/>
                <a:gd name="connsiteY127" fmla="*/ 152601 h 344177"/>
                <a:gd name="connsiteX128" fmla="*/ 65881 w 380740"/>
                <a:gd name="connsiteY128" fmla="*/ 163447 h 344177"/>
                <a:gd name="connsiteX129" fmla="*/ 73233 w 380740"/>
                <a:gd name="connsiteY129" fmla="*/ 165250 h 344177"/>
                <a:gd name="connsiteX130" fmla="*/ 78661 w 380740"/>
                <a:gd name="connsiteY130" fmla="*/ 171845 h 344177"/>
                <a:gd name="connsiteX131" fmla="*/ 85390 w 380740"/>
                <a:gd name="connsiteY131" fmla="*/ 173793 h 344177"/>
                <a:gd name="connsiteX132" fmla="*/ 86817 w 380740"/>
                <a:gd name="connsiteY132" fmla="*/ 177143 h 344177"/>
                <a:gd name="connsiteX133" fmla="*/ 88731 w 380740"/>
                <a:gd name="connsiteY133" fmla="*/ 178806 h 344177"/>
                <a:gd name="connsiteX134" fmla="*/ 108356 w 380740"/>
                <a:gd name="connsiteY134" fmla="*/ 200470 h 344177"/>
                <a:gd name="connsiteX135" fmla="*/ 135227 w 380740"/>
                <a:gd name="connsiteY135" fmla="*/ 221677 h 344177"/>
                <a:gd name="connsiteX136" fmla="*/ 160266 w 380740"/>
                <a:gd name="connsiteY136" fmla="*/ 234355 h 344177"/>
                <a:gd name="connsiteX137" fmla="*/ 161172 w 380740"/>
                <a:gd name="connsiteY137" fmla="*/ 234254 h 344177"/>
                <a:gd name="connsiteX138" fmla="*/ 167232 w 380740"/>
                <a:gd name="connsiteY138" fmla="*/ 243124 h 344177"/>
                <a:gd name="connsiteX139" fmla="*/ 180503 w 380740"/>
                <a:gd name="connsiteY139" fmla="*/ 268780 h 344177"/>
                <a:gd name="connsiteX140" fmla="*/ 196522 w 380740"/>
                <a:gd name="connsiteY140" fmla="*/ 280846 h 344177"/>
                <a:gd name="connsiteX141" fmla="*/ 210994 w 380740"/>
                <a:gd name="connsiteY141" fmla="*/ 298239 h 344177"/>
                <a:gd name="connsiteX142" fmla="*/ 203864 w 380740"/>
                <a:gd name="connsiteY142" fmla="*/ 303262 h 344177"/>
                <a:gd name="connsiteX143" fmla="*/ 205103 w 380740"/>
                <a:gd name="connsiteY143" fmla="*/ 306198 h 344177"/>
                <a:gd name="connsiteX144" fmla="*/ 210912 w 380740"/>
                <a:gd name="connsiteY144" fmla="*/ 308295 h 344177"/>
                <a:gd name="connsiteX145" fmla="*/ 211399 w 380740"/>
                <a:gd name="connsiteY145" fmla="*/ 308579 h 344177"/>
                <a:gd name="connsiteX146" fmla="*/ 211438 w 380740"/>
                <a:gd name="connsiteY146" fmla="*/ 308652 h 344177"/>
                <a:gd name="connsiteX147" fmla="*/ 215472 w 380740"/>
                <a:gd name="connsiteY147" fmla="*/ 303740 h 344177"/>
                <a:gd name="connsiteX148" fmla="*/ 222043 w 380740"/>
                <a:gd name="connsiteY148" fmla="*/ 306497 h 34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380740" h="344177">
                  <a:moveTo>
                    <a:pt x="222043" y="306497"/>
                  </a:moveTo>
                  <a:cubicBezTo>
                    <a:pt x="222043" y="306497"/>
                    <a:pt x="224955" y="305967"/>
                    <a:pt x="229265" y="306145"/>
                  </a:cubicBezTo>
                  <a:cubicBezTo>
                    <a:pt x="229429" y="309414"/>
                    <a:pt x="232369" y="315936"/>
                    <a:pt x="232369" y="315936"/>
                  </a:cubicBezTo>
                  <a:lnTo>
                    <a:pt x="238737" y="318698"/>
                  </a:lnTo>
                  <a:lnTo>
                    <a:pt x="274584" y="341919"/>
                  </a:lnTo>
                  <a:lnTo>
                    <a:pt x="280538" y="339311"/>
                  </a:lnTo>
                  <a:lnTo>
                    <a:pt x="286993" y="343197"/>
                  </a:lnTo>
                  <a:cubicBezTo>
                    <a:pt x="286993" y="343197"/>
                    <a:pt x="290097" y="343819"/>
                    <a:pt x="293004" y="344069"/>
                  </a:cubicBezTo>
                  <a:cubicBezTo>
                    <a:pt x="292715" y="341712"/>
                    <a:pt x="292695" y="339967"/>
                    <a:pt x="292695" y="339967"/>
                  </a:cubicBezTo>
                  <a:cubicBezTo>
                    <a:pt x="292695" y="339967"/>
                    <a:pt x="292719" y="341707"/>
                    <a:pt x="293004" y="344069"/>
                  </a:cubicBezTo>
                  <a:cubicBezTo>
                    <a:pt x="294344" y="344166"/>
                    <a:pt x="295626" y="344229"/>
                    <a:pt x="296542" y="344123"/>
                  </a:cubicBezTo>
                  <a:cubicBezTo>
                    <a:pt x="299517" y="343693"/>
                    <a:pt x="300153" y="341245"/>
                    <a:pt x="302255" y="336376"/>
                  </a:cubicBezTo>
                  <a:cubicBezTo>
                    <a:pt x="305822" y="326517"/>
                    <a:pt x="301045" y="321027"/>
                    <a:pt x="295250" y="318414"/>
                  </a:cubicBezTo>
                  <a:cubicBezTo>
                    <a:pt x="286472" y="308729"/>
                    <a:pt x="291640" y="301643"/>
                    <a:pt x="291640" y="301643"/>
                  </a:cubicBezTo>
                  <a:lnTo>
                    <a:pt x="287388" y="293476"/>
                  </a:lnTo>
                  <a:lnTo>
                    <a:pt x="288014" y="287812"/>
                  </a:lnTo>
                  <a:lnTo>
                    <a:pt x="292695" y="282639"/>
                  </a:lnTo>
                  <a:cubicBezTo>
                    <a:pt x="292695" y="282639"/>
                    <a:pt x="296022" y="281733"/>
                    <a:pt x="306247" y="279920"/>
                  </a:cubicBezTo>
                  <a:cubicBezTo>
                    <a:pt x="297584" y="265463"/>
                    <a:pt x="306348" y="253050"/>
                    <a:pt x="306348" y="253050"/>
                  </a:cubicBezTo>
                  <a:lnTo>
                    <a:pt x="306348" y="248012"/>
                  </a:lnTo>
                  <a:cubicBezTo>
                    <a:pt x="306348" y="248012"/>
                    <a:pt x="318096" y="237055"/>
                    <a:pt x="319142" y="234625"/>
                  </a:cubicBezTo>
                  <a:cubicBezTo>
                    <a:pt x="320169" y="232118"/>
                    <a:pt x="326749" y="233719"/>
                    <a:pt x="326749" y="233719"/>
                  </a:cubicBezTo>
                  <a:cubicBezTo>
                    <a:pt x="326749" y="233719"/>
                    <a:pt x="331290" y="241330"/>
                    <a:pt x="335532" y="244546"/>
                  </a:cubicBezTo>
                  <a:cubicBezTo>
                    <a:pt x="346277" y="229428"/>
                    <a:pt x="331006" y="218191"/>
                    <a:pt x="327414" y="216528"/>
                  </a:cubicBezTo>
                  <a:cubicBezTo>
                    <a:pt x="323794" y="214841"/>
                    <a:pt x="325327" y="210059"/>
                    <a:pt x="325327" y="210059"/>
                  </a:cubicBezTo>
                  <a:lnTo>
                    <a:pt x="332196" y="204491"/>
                  </a:lnTo>
                  <a:lnTo>
                    <a:pt x="339037" y="209789"/>
                  </a:lnTo>
                  <a:lnTo>
                    <a:pt x="344070" y="205026"/>
                  </a:lnTo>
                  <a:lnTo>
                    <a:pt x="351291" y="205190"/>
                  </a:lnTo>
                  <a:cubicBezTo>
                    <a:pt x="353186" y="201584"/>
                    <a:pt x="354911" y="198180"/>
                    <a:pt x="354911" y="198180"/>
                  </a:cubicBezTo>
                  <a:cubicBezTo>
                    <a:pt x="354911" y="198180"/>
                    <a:pt x="363198" y="191851"/>
                    <a:pt x="364606" y="193147"/>
                  </a:cubicBezTo>
                  <a:cubicBezTo>
                    <a:pt x="366023" y="194449"/>
                    <a:pt x="369769" y="197935"/>
                    <a:pt x="370169" y="200263"/>
                  </a:cubicBezTo>
                  <a:cubicBezTo>
                    <a:pt x="374165" y="198677"/>
                    <a:pt x="377000" y="195977"/>
                    <a:pt x="377000" y="195336"/>
                  </a:cubicBezTo>
                  <a:cubicBezTo>
                    <a:pt x="377000" y="194724"/>
                    <a:pt x="377130" y="190057"/>
                    <a:pt x="377767" y="187483"/>
                  </a:cubicBezTo>
                  <a:cubicBezTo>
                    <a:pt x="378427" y="184875"/>
                    <a:pt x="378933" y="181886"/>
                    <a:pt x="378032" y="180773"/>
                  </a:cubicBezTo>
                  <a:cubicBezTo>
                    <a:pt x="377130" y="179621"/>
                    <a:pt x="371591" y="170919"/>
                    <a:pt x="371591" y="170919"/>
                  </a:cubicBezTo>
                  <a:cubicBezTo>
                    <a:pt x="371591" y="170919"/>
                    <a:pt x="362268" y="165144"/>
                    <a:pt x="359833" y="159205"/>
                  </a:cubicBezTo>
                  <a:cubicBezTo>
                    <a:pt x="358151" y="155411"/>
                    <a:pt x="353899" y="153092"/>
                    <a:pt x="351166" y="150889"/>
                  </a:cubicBezTo>
                  <a:cubicBezTo>
                    <a:pt x="348461" y="148710"/>
                    <a:pt x="346003" y="145215"/>
                    <a:pt x="346393" y="142371"/>
                  </a:cubicBezTo>
                  <a:cubicBezTo>
                    <a:pt x="346919" y="140698"/>
                    <a:pt x="351951" y="141484"/>
                    <a:pt x="353899" y="143538"/>
                  </a:cubicBezTo>
                  <a:cubicBezTo>
                    <a:pt x="355832" y="145625"/>
                    <a:pt x="373008" y="146001"/>
                    <a:pt x="374170" y="143803"/>
                  </a:cubicBezTo>
                  <a:cubicBezTo>
                    <a:pt x="375313" y="141605"/>
                    <a:pt x="375578" y="135935"/>
                    <a:pt x="380741" y="134407"/>
                  </a:cubicBezTo>
                  <a:cubicBezTo>
                    <a:pt x="376354" y="132064"/>
                    <a:pt x="368463" y="127258"/>
                    <a:pt x="368463" y="127258"/>
                  </a:cubicBezTo>
                  <a:lnTo>
                    <a:pt x="365517" y="118639"/>
                  </a:lnTo>
                  <a:lnTo>
                    <a:pt x="359959" y="119776"/>
                  </a:lnTo>
                  <a:lnTo>
                    <a:pt x="353239" y="117217"/>
                  </a:lnTo>
                  <a:lnTo>
                    <a:pt x="350018" y="109576"/>
                  </a:lnTo>
                  <a:lnTo>
                    <a:pt x="343689" y="105709"/>
                  </a:lnTo>
                  <a:lnTo>
                    <a:pt x="340584" y="107628"/>
                  </a:lnTo>
                  <a:lnTo>
                    <a:pt x="332442" y="106196"/>
                  </a:lnTo>
                  <a:lnTo>
                    <a:pt x="326648" y="95268"/>
                  </a:lnTo>
                  <a:lnTo>
                    <a:pt x="328571" y="83640"/>
                  </a:lnTo>
                  <a:lnTo>
                    <a:pt x="326494" y="80767"/>
                  </a:lnTo>
                  <a:lnTo>
                    <a:pt x="326132" y="74158"/>
                  </a:lnTo>
                  <a:lnTo>
                    <a:pt x="329878" y="71859"/>
                  </a:lnTo>
                  <a:lnTo>
                    <a:pt x="329988" y="66826"/>
                  </a:lnTo>
                  <a:lnTo>
                    <a:pt x="334385" y="60496"/>
                  </a:lnTo>
                  <a:lnTo>
                    <a:pt x="335441" y="54436"/>
                  </a:lnTo>
                  <a:cubicBezTo>
                    <a:pt x="335441" y="54436"/>
                    <a:pt x="340088" y="50165"/>
                    <a:pt x="340088" y="46020"/>
                  </a:cubicBezTo>
                  <a:cubicBezTo>
                    <a:pt x="340088" y="41912"/>
                    <a:pt x="340710" y="35298"/>
                    <a:pt x="341886" y="31427"/>
                  </a:cubicBezTo>
                  <a:cubicBezTo>
                    <a:pt x="343038" y="27605"/>
                    <a:pt x="343038" y="24351"/>
                    <a:pt x="339548" y="22548"/>
                  </a:cubicBezTo>
                  <a:cubicBezTo>
                    <a:pt x="336048" y="20721"/>
                    <a:pt x="325712" y="19429"/>
                    <a:pt x="322902" y="21641"/>
                  </a:cubicBezTo>
                  <a:cubicBezTo>
                    <a:pt x="320993" y="23097"/>
                    <a:pt x="315680" y="27990"/>
                    <a:pt x="310286" y="31119"/>
                  </a:cubicBezTo>
                  <a:cubicBezTo>
                    <a:pt x="311120" y="33447"/>
                    <a:pt x="312518" y="35501"/>
                    <a:pt x="314890" y="35708"/>
                  </a:cubicBezTo>
                  <a:cubicBezTo>
                    <a:pt x="312518" y="35501"/>
                    <a:pt x="311120" y="33447"/>
                    <a:pt x="310286" y="31119"/>
                  </a:cubicBezTo>
                  <a:cubicBezTo>
                    <a:pt x="307644" y="32647"/>
                    <a:pt x="304921" y="33741"/>
                    <a:pt x="302631" y="33741"/>
                  </a:cubicBezTo>
                  <a:cubicBezTo>
                    <a:pt x="298856" y="33640"/>
                    <a:pt x="297053" y="33640"/>
                    <a:pt x="297053" y="33640"/>
                  </a:cubicBezTo>
                  <a:lnTo>
                    <a:pt x="287253" y="29499"/>
                  </a:lnTo>
                  <a:lnTo>
                    <a:pt x="284674" y="24982"/>
                  </a:lnTo>
                  <a:lnTo>
                    <a:pt x="285831" y="21386"/>
                  </a:lnTo>
                  <a:lnTo>
                    <a:pt x="283628" y="15972"/>
                  </a:lnTo>
                  <a:lnTo>
                    <a:pt x="280412" y="16565"/>
                  </a:lnTo>
                  <a:lnTo>
                    <a:pt x="278961" y="12328"/>
                  </a:lnTo>
                  <a:lnTo>
                    <a:pt x="275751" y="11450"/>
                  </a:lnTo>
                  <a:lnTo>
                    <a:pt x="273837" y="5116"/>
                  </a:lnTo>
                  <a:lnTo>
                    <a:pt x="267739" y="8982"/>
                  </a:lnTo>
                  <a:lnTo>
                    <a:pt x="265184" y="6384"/>
                  </a:lnTo>
                  <a:lnTo>
                    <a:pt x="259977" y="6765"/>
                  </a:lnTo>
                  <a:lnTo>
                    <a:pt x="255716" y="11942"/>
                  </a:lnTo>
                  <a:cubicBezTo>
                    <a:pt x="255716" y="11942"/>
                    <a:pt x="253170" y="5762"/>
                    <a:pt x="242179" y="6138"/>
                  </a:cubicBezTo>
                  <a:cubicBezTo>
                    <a:pt x="238168" y="6384"/>
                    <a:pt x="234447" y="5236"/>
                    <a:pt x="233540" y="4065"/>
                  </a:cubicBezTo>
                  <a:cubicBezTo>
                    <a:pt x="230947" y="7970"/>
                    <a:pt x="230050" y="12058"/>
                    <a:pt x="227327" y="12193"/>
                  </a:cubicBezTo>
                  <a:cubicBezTo>
                    <a:pt x="224613" y="12328"/>
                    <a:pt x="222289" y="12607"/>
                    <a:pt x="220346" y="10375"/>
                  </a:cubicBezTo>
                  <a:cubicBezTo>
                    <a:pt x="218427" y="8191"/>
                    <a:pt x="208998" y="1495"/>
                    <a:pt x="206921" y="7290"/>
                  </a:cubicBezTo>
                  <a:cubicBezTo>
                    <a:pt x="204857" y="13114"/>
                    <a:pt x="201507" y="20725"/>
                    <a:pt x="196739" y="19303"/>
                  </a:cubicBezTo>
                  <a:cubicBezTo>
                    <a:pt x="191938" y="17905"/>
                    <a:pt x="177485" y="9985"/>
                    <a:pt x="177485" y="9985"/>
                  </a:cubicBezTo>
                  <a:lnTo>
                    <a:pt x="170510" y="13735"/>
                  </a:lnTo>
                  <a:lnTo>
                    <a:pt x="163525" y="15422"/>
                  </a:lnTo>
                  <a:cubicBezTo>
                    <a:pt x="163525" y="15422"/>
                    <a:pt x="146999" y="11561"/>
                    <a:pt x="140154" y="7545"/>
                  </a:cubicBezTo>
                  <a:cubicBezTo>
                    <a:pt x="138486" y="11691"/>
                    <a:pt x="136143" y="15157"/>
                    <a:pt x="132932" y="14020"/>
                  </a:cubicBezTo>
                  <a:cubicBezTo>
                    <a:pt x="129688" y="12843"/>
                    <a:pt x="117284" y="8977"/>
                    <a:pt x="115501" y="6379"/>
                  </a:cubicBezTo>
                  <a:cubicBezTo>
                    <a:pt x="113683" y="3790"/>
                    <a:pt x="111625" y="2561"/>
                    <a:pt x="109552" y="965"/>
                  </a:cubicBezTo>
                  <a:cubicBezTo>
                    <a:pt x="107469" y="-616"/>
                    <a:pt x="105025" y="-303"/>
                    <a:pt x="102451" y="2262"/>
                  </a:cubicBezTo>
                  <a:cubicBezTo>
                    <a:pt x="99853" y="4836"/>
                    <a:pt x="98850" y="7198"/>
                    <a:pt x="98850" y="7198"/>
                  </a:cubicBezTo>
                  <a:lnTo>
                    <a:pt x="96878" y="12323"/>
                  </a:lnTo>
                  <a:lnTo>
                    <a:pt x="91335" y="9903"/>
                  </a:lnTo>
                  <a:lnTo>
                    <a:pt x="85516" y="11209"/>
                  </a:lnTo>
                  <a:lnTo>
                    <a:pt x="75445" y="8085"/>
                  </a:lnTo>
                  <a:lnTo>
                    <a:pt x="69762" y="9213"/>
                  </a:lnTo>
                  <a:cubicBezTo>
                    <a:pt x="69762" y="9213"/>
                    <a:pt x="65505" y="11807"/>
                    <a:pt x="65230" y="18151"/>
                  </a:cubicBezTo>
                  <a:cubicBezTo>
                    <a:pt x="65004" y="21231"/>
                    <a:pt x="62405" y="22649"/>
                    <a:pt x="60072" y="24225"/>
                  </a:cubicBezTo>
                  <a:cubicBezTo>
                    <a:pt x="57758" y="25782"/>
                    <a:pt x="56080" y="36870"/>
                    <a:pt x="55430" y="40751"/>
                  </a:cubicBezTo>
                  <a:cubicBezTo>
                    <a:pt x="50276" y="39213"/>
                    <a:pt x="47158" y="38552"/>
                    <a:pt x="47158" y="38552"/>
                  </a:cubicBezTo>
                  <a:lnTo>
                    <a:pt x="42129" y="36619"/>
                  </a:lnTo>
                  <a:lnTo>
                    <a:pt x="35810" y="30025"/>
                  </a:lnTo>
                  <a:lnTo>
                    <a:pt x="32830" y="28737"/>
                  </a:lnTo>
                  <a:lnTo>
                    <a:pt x="27142" y="18156"/>
                  </a:lnTo>
                  <a:lnTo>
                    <a:pt x="21198" y="14029"/>
                  </a:lnTo>
                  <a:lnTo>
                    <a:pt x="12829" y="14029"/>
                  </a:lnTo>
                  <a:lnTo>
                    <a:pt x="4292" y="16729"/>
                  </a:lnTo>
                  <a:cubicBezTo>
                    <a:pt x="4292" y="16729"/>
                    <a:pt x="290" y="19038"/>
                    <a:pt x="1703" y="24235"/>
                  </a:cubicBezTo>
                  <a:cubicBezTo>
                    <a:pt x="3125" y="29407"/>
                    <a:pt x="2860" y="31866"/>
                    <a:pt x="1824" y="34561"/>
                  </a:cubicBezTo>
                  <a:cubicBezTo>
                    <a:pt x="797" y="37284"/>
                    <a:pt x="-495" y="38321"/>
                    <a:pt x="676" y="40982"/>
                  </a:cubicBezTo>
                  <a:cubicBezTo>
                    <a:pt x="1824" y="43735"/>
                    <a:pt x="3000" y="45793"/>
                    <a:pt x="1438" y="49153"/>
                  </a:cubicBezTo>
                  <a:cubicBezTo>
                    <a:pt x="-86" y="52503"/>
                    <a:pt x="-616" y="55728"/>
                    <a:pt x="927" y="58216"/>
                  </a:cubicBezTo>
                  <a:cubicBezTo>
                    <a:pt x="2479" y="60665"/>
                    <a:pt x="3761" y="70070"/>
                    <a:pt x="1187" y="73170"/>
                  </a:cubicBezTo>
                  <a:cubicBezTo>
                    <a:pt x="-1411" y="76274"/>
                    <a:pt x="5564" y="80439"/>
                    <a:pt x="6596" y="80931"/>
                  </a:cubicBezTo>
                  <a:cubicBezTo>
                    <a:pt x="7628" y="81433"/>
                    <a:pt x="14998" y="86870"/>
                    <a:pt x="17963" y="85974"/>
                  </a:cubicBezTo>
                  <a:cubicBezTo>
                    <a:pt x="20938" y="85053"/>
                    <a:pt x="22996" y="83891"/>
                    <a:pt x="22996" y="86084"/>
                  </a:cubicBezTo>
                  <a:cubicBezTo>
                    <a:pt x="22996" y="88278"/>
                    <a:pt x="23396" y="91247"/>
                    <a:pt x="26221" y="91247"/>
                  </a:cubicBezTo>
                  <a:cubicBezTo>
                    <a:pt x="29085" y="91247"/>
                    <a:pt x="36427" y="93696"/>
                    <a:pt x="30743" y="104167"/>
                  </a:cubicBezTo>
                  <a:cubicBezTo>
                    <a:pt x="35284" y="104046"/>
                    <a:pt x="38895" y="103661"/>
                    <a:pt x="38895" y="103661"/>
                  </a:cubicBezTo>
                  <a:lnTo>
                    <a:pt x="44834" y="118379"/>
                  </a:lnTo>
                  <a:lnTo>
                    <a:pt x="44578" y="123686"/>
                  </a:lnTo>
                  <a:lnTo>
                    <a:pt x="52431" y="128748"/>
                  </a:lnTo>
                  <a:lnTo>
                    <a:pt x="49987" y="134422"/>
                  </a:lnTo>
                  <a:cubicBezTo>
                    <a:pt x="49987" y="134422"/>
                    <a:pt x="53097" y="148445"/>
                    <a:pt x="55290" y="149004"/>
                  </a:cubicBezTo>
                  <a:cubicBezTo>
                    <a:pt x="57503" y="149491"/>
                    <a:pt x="59147" y="151087"/>
                    <a:pt x="60197" y="152601"/>
                  </a:cubicBezTo>
                  <a:cubicBezTo>
                    <a:pt x="61224" y="154134"/>
                    <a:pt x="64835" y="161109"/>
                    <a:pt x="65881" y="163447"/>
                  </a:cubicBezTo>
                  <a:cubicBezTo>
                    <a:pt x="70798" y="164083"/>
                    <a:pt x="73233" y="165250"/>
                    <a:pt x="73233" y="165250"/>
                  </a:cubicBezTo>
                  <a:lnTo>
                    <a:pt x="78661" y="171845"/>
                  </a:lnTo>
                  <a:lnTo>
                    <a:pt x="85390" y="173793"/>
                  </a:lnTo>
                  <a:lnTo>
                    <a:pt x="86817" y="177143"/>
                  </a:lnTo>
                  <a:lnTo>
                    <a:pt x="88731" y="178806"/>
                  </a:lnTo>
                  <a:cubicBezTo>
                    <a:pt x="92356" y="181684"/>
                    <a:pt x="105271" y="195842"/>
                    <a:pt x="108356" y="200470"/>
                  </a:cubicBezTo>
                  <a:cubicBezTo>
                    <a:pt x="113008" y="202066"/>
                    <a:pt x="124125" y="211635"/>
                    <a:pt x="135227" y="221677"/>
                  </a:cubicBezTo>
                  <a:cubicBezTo>
                    <a:pt x="147611" y="235117"/>
                    <a:pt x="160266" y="234355"/>
                    <a:pt x="160266" y="234355"/>
                  </a:cubicBezTo>
                  <a:lnTo>
                    <a:pt x="161172" y="234254"/>
                  </a:lnTo>
                  <a:cubicBezTo>
                    <a:pt x="165954" y="234967"/>
                    <a:pt x="168042" y="240391"/>
                    <a:pt x="167232" y="243124"/>
                  </a:cubicBezTo>
                  <a:cubicBezTo>
                    <a:pt x="164667" y="257408"/>
                    <a:pt x="175870" y="263959"/>
                    <a:pt x="180503" y="268780"/>
                  </a:cubicBezTo>
                  <a:cubicBezTo>
                    <a:pt x="185160" y="273576"/>
                    <a:pt x="182060" y="276531"/>
                    <a:pt x="196522" y="280846"/>
                  </a:cubicBezTo>
                  <a:cubicBezTo>
                    <a:pt x="208516" y="284423"/>
                    <a:pt x="210122" y="295274"/>
                    <a:pt x="210994" y="298239"/>
                  </a:cubicBezTo>
                  <a:cubicBezTo>
                    <a:pt x="211597" y="300322"/>
                    <a:pt x="206718" y="302327"/>
                    <a:pt x="203864" y="303262"/>
                  </a:cubicBezTo>
                  <a:lnTo>
                    <a:pt x="205103" y="306198"/>
                  </a:lnTo>
                  <a:lnTo>
                    <a:pt x="210912" y="308295"/>
                  </a:lnTo>
                  <a:lnTo>
                    <a:pt x="211399" y="308579"/>
                  </a:lnTo>
                  <a:lnTo>
                    <a:pt x="211438" y="308652"/>
                  </a:lnTo>
                  <a:lnTo>
                    <a:pt x="215472" y="303740"/>
                  </a:lnTo>
                  <a:lnTo>
                    <a:pt x="222043" y="30649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24" name="Freihandform: Form 623">
              <a:extLst>
                <a:ext uri="{FF2B5EF4-FFF2-40B4-BE49-F238E27FC236}">
                  <a16:creationId xmlns:a16="http://schemas.microsoft.com/office/drawing/2014/main" id="{5BCB530D-4107-DD45-3778-5DC8BA33A845}"/>
                </a:ext>
              </a:extLst>
            </p:cNvPr>
            <p:cNvSpPr/>
            <p:nvPr/>
          </p:nvSpPr>
          <p:spPr>
            <a:xfrm>
              <a:off x="6446835" y="5329302"/>
              <a:ext cx="241273" cy="282586"/>
            </a:xfrm>
            <a:custGeom>
              <a:avLst/>
              <a:gdLst>
                <a:gd name="connsiteX0" fmla="*/ 105221 w 189641"/>
                <a:gd name="connsiteY0" fmla="*/ 209359 h 221531"/>
                <a:gd name="connsiteX1" fmla="*/ 107029 w 189641"/>
                <a:gd name="connsiteY1" fmla="*/ 203434 h 221531"/>
                <a:gd name="connsiteX2" fmla="*/ 106648 w 189641"/>
                <a:gd name="connsiteY2" fmla="*/ 191826 h 221531"/>
                <a:gd name="connsiteX3" fmla="*/ 103419 w 189641"/>
                <a:gd name="connsiteY3" fmla="*/ 185858 h 221531"/>
                <a:gd name="connsiteX4" fmla="*/ 97209 w 189641"/>
                <a:gd name="connsiteY4" fmla="*/ 179947 h 221531"/>
                <a:gd name="connsiteX5" fmla="*/ 97504 w 189641"/>
                <a:gd name="connsiteY5" fmla="*/ 175676 h 221531"/>
                <a:gd name="connsiteX6" fmla="*/ 105125 w 189641"/>
                <a:gd name="connsiteY6" fmla="*/ 159908 h 221531"/>
                <a:gd name="connsiteX7" fmla="*/ 105636 w 189641"/>
                <a:gd name="connsiteY7" fmla="*/ 153352 h 221531"/>
                <a:gd name="connsiteX8" fmla="*/ 118676 w 189641"/>
                <a:gd name="connsiteY8" fmla="*/ 129547 h 221531"/>
                <a:gd name="connsiteX9" fmla="*/ 130815 w 189641"/>
                <a:gd name="connsiteY9" fmla="*/ 113316 h 221531"/>
                <a:gd name="connsiteX10" fmla="*/ 134816 w 189641"/>
                <a:gd name="connsiteY10" fmla="*/ 118691 h 221531"/>
                <a:gd name="connsiteX11" fmla="*/ 134025 w 189641"/>
                <a:gd name="connsiteY11" fmla="*/ 125546 h 221531"/>
                <a:gd name="connsiteX12" fmla="*/ 136638 w 189641"/>
                <a:gd name="connsiteY12" fmla="*/ 131485 h 221531"/>
                <a:gd name="connsiteX13" fmla="*/ 142823 w 189641"/>
                <a:gd name="connsiteY13" fmla="*/ 134474 h 221531"/>
                <a:gd name="connsiteX14" fmla="*/ 147326 w 189641"/>
                <a:gd name="connsiteY14" fmla="*/ 131895 h 221531"/>
                <a:gd name="connsiteX15" fmla="*/ 152397 w 189641"/>
                <a:gd name="connsiteY15" fmla="*/ 126707 h 221531"/>
                <a:gd name="connsiteX16" fmla="*/ 158076 w 189641"/>
                <a:gd name="connsiteY16" fmla="*/ 126182 h 221531"/>
                <a:gd name="connsiteX17" fmla="*/ 160660 w 189641"/>
                <a:gd name="connsiteY17" fmla="*/ 121800 h 221531"/>
                <a:gd name="connsiteX18" fmla="*/ 167375 w 189641"/>
                <a:gd name="connsiteY18" fmla="*/ 120696 h 221531"/>
                <a:gd name="connsiteX19" fmla="*/ 157671 w 189641"/>
                <a:gd name="connsiteY19" fmla="*/ 118696 h 221531"/>
                <a:gd name="connsiteX20" fmla="*/ 167375 w 189641"/>
                <a:gd name="connsiteY20" fmla="*/ 120696 h 221531"/>
                <a:gd name="connsiteX21" fmla="*/ 167900 w 189641"/>
                <a:gd name="connsiteY21" fmla="*/ 120638 h 221531"/>
                <a:gd name="connsiteX22" fmla="*/ 167611 w 189641"/>
                <a:gd name="connsiteY22" fmla="*/ 116878 h 221531"/>
                <a:gd name="connsiteX23" fmla="*/ 166729 w 189641"/>
                <a:gd name="connsiteY23" fmla="*/ 110983 h 221531"/>
                <a:gd name="connsiteX24" fmla="*/ 168387 w 189641"/>
                <a:gd name="connsiteY24" fmla="*/ 104639 h 221531"/>
                <a:gd name="connsiteX25" fmla="*/ 162448 w 189641"/>
                <a:gd name="connsiteY25" fmla="*/ 100618 h 221531"/>
                <a:gd name="connsiteX26" fmla="*/ 159353 w 189641"/>
                <a:gd name="connsiteY26" fmla="*/ 93647 h 221531"/>
                <a:gd name="connsiteX27" fmla="*/ 166975 w 189641"/>
                <a:gd name="connsiteY27" fmla="*/ 91073 h 221531"/>
                <a:gd name="connsiteX28" fmla="*/ 177065 w 189641"/>
                <a:gd name="connsiteY28" fmla="*/ 89897 h 221531"/>
                <a:gd name="connsiteX29" fmla="*/ 178202 w 189641"/>
                <a:gd name="connsiteY29" fmla="*/ 83341 h 221531"/>
                <a:gd name="connsiteX30" fmla="*/ 188919 w 189641"/>
                <a:gd name="connsiteY30" fmla="*/ 78447 h 221531"/>
                <a:gd name="connsiteX31" fmla="*/ 189642 w 189641"/>
                <a:gd name="connsiteY31" fmla="*/ 78062 h 221531"/>
                <a:gd name="connsiteX32" fmla="*/ 184667 w 189641"/>
                <a:gd name="connsiteY32" fmla="*/ 67447 h 221531"/>
                <a:gd name="connsiteX33" fmla="*/ 179624 w 189641"/>
                <a:gd name="connsiteY33" fmla="*/ 65186 h 221531"/>
                <a:gd name="connsiteX34" fmla="*/ 174842 w 189641"/>
                <a:gd name="connsiteY34" fmla="*/ 63686 h 221531"/>
                <a:gd name="connsiteX35" fmla="*/ 167900 w 189641"/>
                <a:gd name="connsiteY35" fmla="*/ 63041 h 221531"/>
                <a:gd name="connsiteX36" fmla="*/ 158076 w 189641"/>
                <a:gd name="connsiteY36" fmla="*/ 58123 h 221531"/>
                <a:gd name="connsiteX37" fmla="*/ 147841 w 189641"/>
                <a:gd name="connsiteY37" fmla="*/ 51900 h 221531"/>
                <a:gd name="connsiteX38" fmla="*/ 145137 w 189641"/>
                <a:gd name="connsiteY38" fmla="*/ 49224 h 221531"/>
                <a:gd name="connsiteX39" fmla="*/ 140890 w 189641"/>
                <a:gd name="connsiteY39" fmla="*/ 46915 h 221531"/>
                <a:gd name="connsiteX40" fmla="*/ 136243 w 189641"/>
                <a:gd name="connsiteY40" fmla="*/ 50512 h 221531"/>
                <a:gd name="connsiteX41" fmla="*/ 132353 w 189641"/>
                <a:gd name="connsiteY41" fmla="*/ 50642 h 221531"/>
                <a:gd name="connsiteX42" fmla="*/ 128506 w 189641"/>
                <a:gd name="connsiteY42" fmla="*/ 51948 h 221531"/>
                <a:gd name="connsiteX43" fmla="*/ 126148 w 189641"/>
                <a:gd name="connsiteY43" fmla="*/ 49759 h 221531"/>
                <a:gd name="connsiteX44" fmla="*/ 122914 w 189641"/>
                <a:gd name="connsiteY44" fmla="*/ 47277 h 221531"/>
                <a:gd name="connsiteX45" fmla="*/ 118797 w 189641"/>
                <a:gd name="connsiteY45" fmla="*/ 43922 h 221531"/>
                <a:gd name="connsiteX46" fmla="*/ 113234 w 189641"/>
                <a:gd name="connsiteY46" fmla="*/ 44702 h 221531"/>
                <a:gd name="connsiteX47" fmla="*/ 107699 w 189641"/>
                <a:gd name="connsiteY47" fmla="*/ 42374 h 221531"/>
                <a:gd name="connsiteX48" fmla="*/ 102011 w 189641"/>
                <a:gd name="connsiteY48" fmla="*/ 37467 h 221531"/>
                <a:gd name="connsiteX49" fmla="*/ 96216 w 189641"/>
                <a:gd name="connsiteY49" fmla="*/ 32193 h 221531"/>
                <a:gd name="connsiteX50" fmla="*/ 91801 w 189641"/>
                <a:gd name="connsiteY50" fmla="*/ 26615 h 221531"/>
                <a:gd name="connsiteX51" fmla="*/ 86623 w 189641"/>
                <a:gd name="connsiteY51" fmla="*/ 22499 h 221531"/>
                <a:gd name="connsiteX52" fmla="*/ 81075 w 189641"/>
                <a:gd name="connsiteY52" fmla="*/ 18227 h 221531"/>
                <a:gd name="connsiteX53" fmla="*/ 75811 w 189641"/>
                <a:gd name="connsiteY53" fmla="*/ 17432 h 221531"/>
                <a:gd name="connsiteX54" fmla="*/ 68700 w 189641"/>
                <a:gd name="connsiteY54" fmla="*/ 14747 h 221531"/>
                <a:gd name="connsiteX55" fmla="*/ 62626 w 189641"/>
                <a:gd name="connsiteY55" fmla="*/ 3105 h 221531"/>
                <a:gd name="connsiteX56" fmla="*/ 63903 w 189641"/>
                <a:gd name="connsiteY56" fmla="*/ 699 h 221531"/>
                <a:gd name="connsiteX57" fmla="*/ 56682 w 189641"/>
                <a:gd name="connsiteY57" fmla="*/ 535 h 221531"/>
                <a:gd name="connsiteX58" fmla="*/ 51649 w 189641"/>
                <a:gd name="connsiteY58" fmla="*/ 5298 h 221531"/>
                <a:gd name="connsiteX59" fmla="*/ 44808 w 189641"/>
                <a:gd name="connsiteY59" fmla="*/ 0 h 221531"/>
                <a:gd name="connsiteX60" fmla="*/ 37939 w 189641"/>
                <a:gd name="connsiteY60" fmla="*/ 5568 h 221531"/>
                <a:gd name="connsiteX61" fmla="*/ 40026 w 189641"/>
                <a:gd name="connsiteY61" fmla="*/ 12037 h 221531"/>
                <a:gd name="connsiteX62" fmla="*/ 48144 w 189641"/>
                <a:gd name="connsiteY62" fmla="*/ 40055 h 221531"/>
                <a:gd name="connsiteX63" fmla="*/ 39361 w 189641"/>
                <a:gd name="connsiteY63" fmla="*/ 29228 h 221531"/>
                <a:gd name="connsiteX64" fmla="*/ 31754 w 189641"/>
                <a:gd name="connsiteY64" fmla="*/ 30134 h 221531"/>
                <a:gd name="connsiteX65" fmla="*/ 18960 w 189641"/>
                <a:gd name="connsiteY65" fmla="*/ 43521 h 221531"/>
                <a:gd name="connsiteX66" fmla="*/ 18960 w 189641"/>
                <a:gd name="connsiteY66" fmla="*/ 48559 h 221531"/>
                <a:gd name="connsiteX67" fmla="*/ 18859 w 189641"/>
                <a:gd name="connsiteY67" fmla="*/ 75430 h 221531"/>
                <a:gd name="connsiteX68" fmla="*/ 5308 w 189641"/>
                <a:gd name="connsiteY68" fmla="*/ 78149 h 221531"/>
                <a:gd name="connsiteX69" fmla="*/ 627 w 189641"/>
                <a:gd name="connsiteY69" fmla="*/ 83321 h 221531"/>
                <a:gd name="connsiteX70" fmla="*/ 0 w 189641"/>
                <a:gd name="connsiteY70" fmla="*/ 88986 h 221531"/>
                <a:gd name="connsiteX71" fmla="*/ 4252 w 189641"/>
                <a:gd name="connsiteY71" fmla="*/ 97152 h 221531"/>
                <a:gd name="connsiteX72" fmla="*/ 7862 w 189641"/>
                <a:gd name="connsiteY72" fmla="*/ 113923 h 221531"/>
                <a:gd name="connsiteX73" fmla="*/ 14867 w 189641"/>
                <a:gd name="connsiteY73" fmla="*/ 131885 h 221531"/>
                <a:gd name="connsiteX74" fmla="*/ 9154 w 189641"/>
                <a:gd name="connsiteY74" fmla="*/ 139632 h 221531"/>
                <a:gd name="connsiteX75" fmla="*/ 5616 w 189641"/>
                <a:gd name="connsiteY75" fmla="*/ 139579 h 221531"/>
                <a:gd name="connsiteX76" fmla="*/ 12042 w 189641"/>
                <a:gd name="connsiteY76" fmla="*/ 153781 h 221531"/>
                <a:gd name="connsiteX77" fmla="*/ 12948 w 189641"/>
                <a:gd name="connsiteY77" fmla="*/ 153125 h 221531"/>
                <a:gd name="connsiteX78" fmla="*/ 15296 w 189641"/>
                <a:gd name="connsiteY78" fmla="*/ 152561 h 221531"/>
                <a:gd name="connsiteX79" fmla="*/ 15749 w 189641"/>
                <a:gd name="connsiteY79" fmla="*/ 152498 h 221531"/>
                <a:gd name="connsiteX80" fmla="*/ 16337 w 189641"/>
                <a:gd name="connsiteY80" fmla="*/ 152498 h 221531"/>
                <a:gd name="connsiteX81" fmla="*/ 16521 w 189641"/>
                <a:gd name="connsiteY81" fmla="*/ 152498 h 221531"/>
                <a:gd name="connsiteX82" fmla="*/ 22494 w 189641"/>
                <a:gd name="connsiteY82" fmla="*/ 153058 h 221531"/>
                <a:gd name="connsiteX83" fmla="*/ 27946 w 189641"/>
                <a:gd name="connsiteY83" fmla="*/ 150103 h 221531"/>
                <a:gd name="connsiteX84" fmla="*/ 29517 w 189641"/>
                <a:gd name="connsiteY84" fmla="*/ 145422 h 221531"/>
                <a:gd name="connsiteX85" fmla="*/ 31214 w 189641"/>
                <a:gd name="connsiteY85" fmla="*/ 144144 h 221531"/>
                <a:gd name="connsiteX86" fmla="*/ 37187 w 189641"/>
                <a:gd name="connsiteY86" fmla="*/ 144144 h 221531"/>
                <a:gd name="connsiteX87" fmla="*/ 38455 w 189641"/>
                <a:gd name="connsiteY87" fmla="*/ 144708 h 221531"/>
                <a:gd name="connsiteX88" fmla="*/ 40253 w 189641"/>
                <a:gd name="connsiteY88" fmla="*/ 146463 h 221531"/>
                <a:gd name="connsiteX89" fmla="*/ 40764 w 189641"/>
                <a:gd name="connsiteY89" fmla="*/ 147601 h 221531"/>
                <a:gd name="connsiteX90" fmla="*/ 41362 w 189641"/>
                <a:gd name="connsiteY90" fmla="*/ 154118 h 221531"/>
                <a:gd name="connsiteX91" fmla="*/ 40118 w 189641"/>
                <a:gd name="connsiteY91" fmla="*/ 156047 h 221531"/>
                <a:gd name="connsiteX92" fmla="*/ 37982 w 189641"/>
                <a:gd name="connsiteY92" fmla="*/ 155184 h 221531"/>
                <a:gd name="connsiteX93" fmla="*/ 36281 w 189641"/>
                <a:gd name="connsiteY93" fmla="*/ 152267 h 221531"/>
                <a:gd name="connsiteX94" fmla="*/ 32525 w 189641"/>
                <a:gd name="connsiteY94" fmla="*/ 153328 h 221531"/>
                <a:gd name="connsiteX95" fmla="*/ 33051 w 189641"/>
                <a:gd name="connsiteY95" fmla="*/ 158283 h 221531"/>
                <a:gd name="connsiteX96" fmla="*/ 32395 w 189641"/>
                <a:gd name="connsiteY96" fmla="*/ 159884 h 221531"/>
                <a:gd name="connsiteX97" fmla="*/ 30693 w 189641"/>
                <a:gd name="connsiteY97" fmla="*/ 160236 h 221531"/>
                <a:gd name="connsiteX98" fmla="*/ 24942 w 189641"/>
                <a:gd name="connsiteY98" fmla="*/ 158476 h 221531"/>
                <a:gd name="connsiteX99" fmla="*/ 21828 w 189641"/>
                <a:gd name="connsiteY99" fmla="*/ 158182 h 221531"/>
                <a:gd name="connsiteX100" fmla="*/ 22956 w 189641"/>
                <a:gd name="connsiteY100" fmla="*/ 160491 h 221531"/>
                <a:gd name="connsiteX101" fmla="*/ 28732 w 189641"/>
                <a:gd name="connsiteY101" fmla="*/ 162073 h 221531"/>
                <a:gd name="connsiteX102" fmla="*/ 28943 w 189641"/>
                <a:gd name="connsiteY102" fmla="*/ 162150 h 221531"/>
                <a:gd name="connsiteX103" fmla="*/ 34868 w 189641"/>
                <a:gd name="connsiteY103" fmla="*/ 164502 h 221531"/>
                <a:gd name="connsiteX104" fmla="*/ 35480 w 189641"/>
                <a:gd name="connsiteY104" fmla="*/ 164897 h 221531"/>
                <a:gd name="connsiteX105" fmla="*/ 41439 w 189641"/>
                <a:gd name="connsiteY105" fmla="*/ 170861 h 221531"/>
                <a:gd name="connsiteX106" fmla="*/ 42697 w 189641"/>
                <a:gd name="connsiteY106" fmla="*/ 172123 h 221531"/>
                <a:gd name="connsiteX107" fmla="*/ 47788 w 189641"/>
                <a:gd name="connsiteY107" fmla="*/ 172123 h 221531"/>
                <a:gd name="connsiteX108" fmla="*/ 53688 w 189641"/>
                <a:gd name="connsiteY108" fmla="*/ 171526 h 221531"/>
                <a:gd name="connsiteX109" fmla="*/ 55491 w 189641"/>
                <a:gd name="connsiteY109" fmla="*/ 172490 h 221531"/>
                <a:gd name="connsiteX110" fmla="*/ 58249 w 189641"/>
                <a:gd name="connsiteY110" fmla="*/ 178058 h 221531"/>
                <a:gd name="connsiteX111" fmla="*/ 63831 w 189641"/>
                <a:gd name="connsiteY111" fmla="*/ 181967 h 221531"/>
                <a:gd name="connsiteX112" fmla="*/ 64048 w 189641"/>
                <a:gd name="connsiteY112" fmla="*/ 182170 h 221531"/>
                <a:gd name="connsiteX113" fmla="*/ 64646 w 189641"/>
                <a:gd name="connsiteY113" fmla="*/ 182768 h 221531"/>
                <a:gd name="connsiteX114" fmla="*/ 64790 w 189641"/>
                <a:gd name="connsiteY114" fmla="*/ 182888 h 221531"/>
                <a:gd name="connsiteX115" fmla="*/ 69206 w 189641"/>
                <a:gd name="connsiteY115" fmla="*/ 188422 h 221531"/>
                <a:gd name="connsiteX116" fmla="*/ 74576 w 189641"/>
                <a:gd name="connsiteY116" fmla="*/ 190037 h 221531"/>
                <a:gd name="connsiteX117" fmla="*/ 75618 w 189641"/>
                <a:gd name="connsiteY117" fmla="*/ 190847 h 221531"/>
                <a:gd name="connsiteX118" fmla="*/ 79093 w 189641"/>
                <a:gd name="connsiteY118" fmla="*/ 196584 h 221531"/>
                <a:gd name="connsiteX119" fmla="*/ 84868 w 189641"/>
                <a:gd name="connsiteY119" fmla="*/ 202398 h 221531"/>
                <a:gd name="connsiteX120" fmla="*/ 85408 w 189641"/>
                <a:gd name="connsiteY120" fmla="*/ 203511 h 221531"/>
                <a:gd name="connsiteX121" fmla="*/ 85963 w 189641"/>
                <a:gd name="connsiteY121" fmla="*/ 209561 h 221531"/>
                <a:gd name="connsiteX122" fmla="*/ 88368 w 189641"/>
                <a:gd name="connsiteY122" fmla="*/ 212955 h 221531"/>
                <a:gd name="connsiteX123" fmla="*/ 93647 w 189641"/>
                <a:gd name="connsiteY123" fmla="*/ 215558 h 221531"/>
                <a:gd name="connsiteX124" fmla="*/ 99822 w 189641"/>
                <a:gd name="connsiteY124" fmla="*/ 216146 h 221531"/>
                <a:gd name="connsiteX125" fmla="*/ 100709 w 189641"/>
                <a:gd name="connsiteY125" fmla="*/ 216479 h 221531"/>
                <a:gd name="connsiteX126" fmla="*/ 106538 w 189641"/>
                <a:gd name="connsiteY126" fmla="*/ 220591 h 221531"/>
                <a:gd name="connsiteX127" fmla="*/ 108538 w 189641"/>
                <a:gd name="connsiteY127" fmla="*/ 221531 h 221531"/>
                <a:gd name="connsiteX128" fmla="*/ 107425 w 189641"/>
                <a:gd name="connsiteY128" fmla="*/ 219294 h 221531"/>
                <a:gd name="connsiteX129" fmla="*/ 105221 w 189641"/>
                <a:gd name="connsiteY129" fmla="*/ 209359 h 22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89641" h="221531">
                  <a:moveTo>
                    <a:pt x="105221" y="209359"/>
                  </a:moveTo>
                  <a:cubicBezTo>
                    <a:pt x="106904" y="205893"/>
                    <a:pt x="107029" y="203434"/>
                    <a:pt x="107029" y="203434"/>
                  </a:cubicBezTo>
                  <a:lnTo>
                    <a:pt x="106648" y="191826"/>
                  </a:lnTo>
                  <a:lnTo>
                    <a:pt x="103419" y="185858"/>
                  </a:lnTo>
                  <a:cubicBezTo>
                    <a:pt x="103419" y="185858"/>
                    <a:pt x="97099" y="183573"/>
                    <a:pt x="97209" y="179947"/>
                  </a:cubicBezTo>
                  <a:cubicBezTo>
                    <a:pt x="97364" y="177711"/>
                    <a:pt x="97504" y="175676"/>
                    <a:pt x="97504" y="175676"/>
                  </a:cubicBezTo>
                  <a:lnTo>
                    <a:pt x="105125" y="159908"/>
                  </a:lnTo>
                  <a:cubicBezTo>
                    <a:pt x="105125" y="159908"/>
                    <a:pt x="103583" y="156278"/>
                    <a:pt x="105636" y="153352"/>
                  </a:cubicBezTo>
                  <a:cubicBezTo>
                    <a:pt x="107699" y="150334"/>
                    <a:pt x="118546" y="133799"/>
                    <a:pt x="118676" y="129547"/>
                  </a:cubicBezTo>
                  <a:cubicBezTo>
                    <a:pt x="118797" y="125281"/>
                    <a:pt x="123188" y="111990"/>
                    <a:pt x="130815" y="113316"/>
                  </a:cubicBezTo>
                  <a:cubicBezTo>
                    <a:pt x="132353" y="113552"/>
                    <a:pt x="134816" y="118691"/>
                    <a:pt x="134816" y="118691"/>
                  </a:cubicBezTo>
                  <a:lnTo>
                    <a:pt x="134025" y="125546"/>
                  </a:lnTo>
                  <a:lnTo>
                    <a:pt x="136638" y="131485"/>
                  </a:lnTo>
                  <a:lnTo>
                    <a:pt x="142823" y="134474"/>
                  </a:lnTo>
                  <a:lnTo>
                    <a:pt x="147326" y="131895"/>
                  </a:lnTo>
                  <a:lnTo>
                    <a:pt x="152397" y="126707"/>
                  </a:lnTo>
                  <a:lnTo>
                    <a:pt x="158076" y="126182"/>
                  </a:lnTo>
                  <a:lnTo>
                    <a:pt x="160660" y="121800"/>
                  </a:lnTo>
                  <a:lnTo>
                    <a:pt x="167375" y="120696"/>
                  </a:lnTo>
                  <a:cubicBezTo>
                    <a:pt x="164116" y="119250"/>
                    <a:pt x="160780" y="118358"/>
                    <a:pt x="157671" y="118696"/>
                  </a:cubicBezTo>
                  <a:cubicBezTo>
                    <a:pt x="160780" y="118358"/>
                    <a:pt x="164116" y="119250"/>
                    <a:pt x="167375" y="120696"/>
                  </a:cubicBezTo>
                  <a:lnTo>
                    <a:pt x="167900" y="120638"/>
                  </a:lnTo>
                  <a:cubicBezTo>
                    <a:pt x="167900" y="120638"/>
                    <a:pt x="169173" y="119476"/>
                    <a:pt x="167611" y="116878"/>
                  </a:cubicBezTo>
                  <a:cubicBezTo>
                    <a:pt x="166068" y="114285"/>
                    <a:pt x="165567" y="112361"/>
                    <a:pt x="166729" y="110983"/>
                  </a:cubicBezTo>
                  <a:cubicBezTo>
                    <a:pt x="167896" y="109560"/>
                    <a:pt x="171487" y="106167"/>
                    <a:pt x="168387" y="104639"/>
                  </a:cubicBezTo>
                  <a:cubicBezTo>
                    <a:pt x="165312" y="103096"/>
                    <a:pt x="166657" y="101240"/>
                    <a:pt x="162448" y="100618"/>
                  </a:cubicBezTo>
                  <a:cubicBezTo>
                    <a:pt x="158259" y="100025"/>
                    <a:pt x="157536" y="96858"/>
                    <a:pt x="159353" y="93647"/>
                  </a:cubicBezTo>
                  <a:cubicBezTo>
                    <a:pt x="161166" y="90408"/>
                    <a:pt x="164511" y="88489"/>
                    <a:pt x="166975" y="91073"/>
                  </a:cubicBezTo>
                  <a:cubicBezTo>
                    <a:pt x="169433" y="93647"/>
                    <a:pt x="178824" y="93445"/>
                    <a:pt x="177065" y="89897"/>
                  </a:cubicBezTo>
                  <a:cubicBezTo>
                    <a:pt x="175276" y="86411"/>
                    <a:pt x="175618" y="84353"/>
                    <a:pt x="178202" y="83341"/>
                  </a:cubicBezTo>
                  <a:cubicBezTo>
                    <a:pt x="180791" y="82299"/>
                    <a:pt x="185703" y="79956"/>
                    <a:pt x="188919" y="78447"/>
                  </a:cubicBezTo>
                  <a:cubicBezTo>
                    <a:pt x="189145" y="78337"/>
                    <a:pt x="189420" y="78216"/>
                    <a:pt x="189642" y="78062"/>
                  </a:cubicBezTo>
                  <a:cubicBezTo>
                    <a:pt x="189256" y="71539"/>
                    <a:pt x="187424" y="67022"/>
                    <a:pt x="184667" y="67447"/>
                  </a:cubicBezTo>
                  <a:cubicBezTo>
                    <a:pt x="181316" y="67972"/>
                    <a:pt x="180271" y="67273"/>
                    <a:pt x="179624" y="65186"/>
                  </a:cubicBezTo>
                  <a:cubicBezTo>
                    <a:pt x="178988" y="63045"/>
                    <a:pt x="176910" y="62920"/>
                    <a:pt x="174842" y="63686"/>
                  </a:cubicBezTo>
                  <a:cubicBezTo>
                    <a:pt x="172779" y="64468"/>
                    <a:pt x="170836" y="60611"/>
                    <a:pt x="167900" y="63041"/>
                  </a:cubicBezTo>
                  <a:cubicBezTo>
                    <a:pt x="164902" y="65509"/>
                    <a:pt x="159609" y="61792"/>
                    <a:pt x="158076" y="58123"/>
                  </a:cubicBezTo>
                  <a:cubicBezTo>
                    <a:pt x="156770" y="55154"/>
                    <a:pt x="148902" y="51702"/>
                    <a:pt x="147841" y="51900"/>
                  </a:cubicBezTo>
                  <a:cubicBezTo>
                    <a:pt x="146815" y="52064"/>
                    <a:pt x="145663" y="51596"/>
                    <a:pt x="145137" y="49224"/>
                  </a:cubicBezTo>
                  <a:cubicBezTo>
                    <a:pt x="144631" y="46915"/>
                    <a:pt x="142191" y="43801"/>
                    <a:pt x="140890" y="46915"/>
                  </a:cubicBezTo>
                  <a:cubicBezTo>
                    <a:pt x="139613" y="49991"/>
                    <a:pt x="137670" y="51596"/>
                    <a:pt x="136243" y="50512"/>
                  </a:cubicBezTo>
                  <a:cubicBezTo>
                    <a:pt x="134816" y="49485"/>
                    <a:pt x="134025" y="48839"/>
                    <a:pt x="132353" y="50642"/>
                  </a:cubicBezTo>
                  <a:cubicBezTo>
                    <a:pt x="130665" y="52478"/>
                    <a:pt x="128506" y="54006"/>
                    <a:pt x="128506" y="51948"/>
                  </a:cubicBezTo>
                  <a:cubicBezTo>
                    <a:pt x="128506" y="49870"/>
                    <a:pt x="127705" y="48443"/>
                    <a:pt x="126148" y="49759"/>
                  </a:cubicBezTo>
                  <a:cubicBezTo>
                    <a:pt x="124625" y="51032"/>
                    <a:pt x="123825" y="50155"/>
                    <a:pt x="122914" y="47277"/>
                  </a:cubicBezTo>
                  <a:cubicBezTo>
                    <a:pt x="122041" y="44433"/>
                    <a:pt x="120474" y="41048"/>
                    <a:pt x="118797" y="43922"/>
                  </a:cubicBezTo>
                  <a:cubicBezTo>
                    <a:pt x="117119" y="46742"/>
                    <a:pt x="116078" y="44187"/>
                    <a:pt x="113234" y="44702"/>
                  </a:cubicBezTo>
                  <a:cubicBezTo>
                    <a:pt x="110409" y="45233"/>
                    <a:pt x="108316" y="44702"/>
                    <a:pt x="107699" y="42374"/>
                  </a:cubicBezTo>
                  <a:cubicBezTo>
                    <a:pt x="107029" y="40060"/>
                    <a:pt x="104730" y="37606"/>
                    <a:pt x="102011" y="37467"/>
                  </a:cubicBezTo>
                  <a:cubicBezTo>
                    <a:pt x="99297" y="37341"/>
                    <a:pt x="96216" y="34887"/>
                    <a:pt x="96216" y="32193"/>
                  </a:cubicBezTo>
                  <a:cubicBezTo>
                    <a:pt x="96216" y="29469"/>
                    <a:pt x="95306" y="27912"/>
                    <a:pt x="91801" y="26615"/>
                  </a:cubicBezTo>
                  <a:cubicBezTo>
                    <a:pt x="88320" y="25333"/>
                    <a:pt x="86893" y="24807"/>
                    <a:pt x="86623" y="22499"/>
                  </a:cubicBezTo>
                  <a:cubicBezTo>
                    <a:pt x="86382" y="20184"/>
                    <a:pt x="84314" y="17056"/>
                    <a:pt x="81075" y="18227"/>
                  </a:cubicBezTo>
                  <a:cubicBezTo>
                    <a:pt x="77864" y="19365"/>
                    <a:pt x="77604" y="19654"/>
                    <a:pt x="75811" y="17432"/>
                  </a:cubicBezTo>
                  <a:cubicBezTo>
                    <a:pt x="74007" y="15282"/>
                    <a:pt x="72446" y="14747"/>
                    <a:pt x="68700" y="14747"/>
                  </a:cubicBezTo>
                  <a:cubicBezTo>
                    <a:pt x="64930" y="14747"/>
                    <a:pt x="60302" y="7511"/>
                    <a:pt x="62626" y="3105"/>
                  </a:cubicBezTo>
                  <a:cubicBezTo>
                    <a:pt x="63026" y="2338"/>
                    <a:pt x="63470" y="1524"/>
                    <a:pt x="63903" y="699"/>
                  </a:cubicBezTo>
                  <a:lnTo>
                    <a:pt x="56682" y="535"/>
                  </a:lnTo>
                  <a:lnTo>
                    <a:pt x="51649" y="5298"/>
                  </a:lnTo>
                  <a:lnTo>
                    <a:pt x="44808" y="0"/>
                  </a:lnTo>
                  <a:lnTo>
                    <a:pt x="37939" y="5568"/>
                  </a:lnTo>
                  <a:cubicBezTo>
                    <a:pt x="37939" y="5568"/>
                    <a:pt x="36406" y="10350"/>
                    <a:pt x="40026" y="12037"/>
                  </a:cubicBezTo>
                  <a:cubicBezTo>
                    <a:pt x="43613" y="13701"/>
                    <a:pt x="58890" y="24938"/>
                    <a:pt x="48144" y="40055"/>
                  </a:cubicBezTo>
                  <a:cubicBezTo>
                    <a:pt x="43902" y="36840"/>
                    <a:pt x="39361" y="29228"/>
                    <a:pt x="39361" y="29228"/>
                  </a:cubicBezTo>
                  <a:cubicBezTo>
                    <a:pt x="39361" y="29228"/>
                    <a:pt x="32781" y="27633"/>
                    <a:pt x="31754" y="30134"/>
                  </a:cubicBezTo>
                  <a:cubicBezTo>
                    <a:pt x="30703" y="32564"/>
                    <a:pt x="18960" y="43521"/>
                    <a:pt x="18960" y="43521"/>
                  </a:cubicBezTo>
                  <a:lnTo>
                    <a:pt x="18960" y="48559"/>
                  </a:lnTo>
                  <a:cubicBezTo>
                    <a:pt x="18960" y="48559"/>
                    <a:pt x="10196" y="60972"/>
                    <a:pt x="18859" y="75430"/>
                  </a:cubicBezTo>
                  <a:cubicBezTo>
                    <a:pt x="8639" y="77247"/>
                    <a:pt x="5308" y="78149"/>
                    <a:pt x="5308" y="78149"/>
                  </a:cubicBezTo>
                  <a:lnTo>
                    <a:pt x="627" y="83321"/>
                  </a:lnTo>
                  <a:lnTo>
                    <a:pt x="0" y="88986"/>
                  </a:lnTo>
                  <a:lnTo>
                    <a:pt x="4252" y="97152"/>
                  </a:lnTo>
                  <a:cubicBezTo>
                    <a:pt x="4252" y="97152"/>
                    <a:pt x="-916" y="104243"/>
                    <a:pt x="7862" y="113923"/>
                  </a:cubicBezTo>
                  <a:cubicBezTo>
                    <a:pt x="13657" y="116536"/>
                    <a:pt x="18434" y="122027"/>
                    <a:pt x="14867" y="131885"/>
                  </a:cubicBezTo>
                  <a:cubicBezTo>
                    <a:pt x="12765" y="136759"/>
                    <a:pt x="12134" y="139208"/>
                    <a:pt x="9154" y="139632"/>
                  </a:cubicBezTo>
                  <a:cubicBezTo>
                    <a:pt x="8239" y="139738"/>
                    <a:pt x="6956" y="139675"/>
                    <a:pt x="5616" y="139579"/>
                  </a:cubicBezTo>
                  <a:cubicBezTo>
                    <a:pt x="6180" y="143917"/>
                    <a:pt x="7757" y="150527"/>
                    <a:pt x="12042" y="153781"/>
                  </a:cubicBezTo>
                  <a:cubicBezTo>
                    <a:pt x="12274" y="153520"/>
                    <a:pt x="12548" y="153265"/>
                    <a:pt x="12948" y="153125"/>
                  </a:cubicBezTo>
                  <a:lnTo>
                    <a:pt x="15296" y="152561"/>
                  </a:lnTo>
                  <a:lnTo>
                    <a:pt x="15749" y="152498"/>
                  </a:lnTo>
                  <a:lnTo>
                    <a:pt x="16337" y="152498"/>
                  </a:lnTo>
                  <a:lnTo>
                    <a:pt x="16521" y="152498"/>
                  </a:lnTo>
                  <a:lnTo>
                    <a:pt x="22494" y="153058"/>
                  </a:lnTo>
                  <a:lnTo>
                    <a:pt x="27946" y="150103"/>
                  </a:lnTo>
                  <a:lnTo>
                    <a:pt x="29517" y="145422"/>
                  </a:lnTo>
                  <a:cubicBezTo>
                    <a:pt x="29753" y="144699"/>
                    <a:pt x="30452" y="144144"/>
                    <a:pt x="31214" y="144144"/>
                  </a:cubicBezTo>
                  <a:lnTo>
                    <a:pt x="37187" y="144144"/>
                  </a:lnTo>
                  <a:lnTo>
                    <a:pt x="38455" y="144708"/>
                  </a:lnTo>
                  <a:lnTo>
                    <a:pt x="40253" y="146463"/>
                  </a:lnTo>
                  <a:lnTo>
                    <a:pt x="40764" y="147601"/>
                  </a:lnTo>
                  <a:lnTo>
                    <a:pt x="41362" y="154118"/>
                  </a:lnTo>
                  <a:cubicBezTo>
                    <a:pt x="41444" y="154966"/>
                    <a:pt x="40923" y="155781"/>
                    <a:pt x="40118" y="156047"/>
                  </a:cubicBezTo>
                  <a:cubicBezTo>
                    <a:pt x="39284" y="156302"/>
                    <a:pt x="38416" y="155950"/>
                    <a:pt x="37982" y="155184"/>
                  </a:cubicBezTo>
                  <a:lnTo>
                    <a:pt x="36281" y="152267"/>
                  </a:lnTo>
                  <a:lnTo>
                    <a:pt x="32525" y="153328"/>
                  </a:lnTo>
                  <a:lnTo>
                    <a:pt x="33051" y="158283"/>
                  </a:lnTo>
                  <a:lnTo>
                    <a:pt x="32395" y="159884"/>
                  </a:lnTo>
                  <a:lnTo>
                    <a:pt x="30693" y="160236"/>
                  </a:lnTo>
                  <a:lnTo>
                    <a:pt x="24942" y="158476"/>
                  </a:lnTo>
                  <a:lnTo>
                    <a:pt x="21828" y="158182"/>
                  </a:lnTo>
                  <a:lnTo>
                    <a:pt x="22956" y="160491"/>
                  </a:lnTo>
                  <a:lnTo>
                    <a:pt x="28732" y="162073"/>
                  </a:lnTo>
                  <a:lnTo>
                    <a:pt x="28943" y="162150"/>
                  </a:lnTo>
                  <a:lnTo>
                    <a:pt x="34868" y="164502"/>
                  </a:lnTo>
                  <a:lnTo>
                    <a:pt x="35480" y="164897"/>
                  </a:lnTo>
                  <a:lnTo>
                    <a:pt x="41439" y="170861"/>
                  </a:lnTo>
                  <a:lnTo>
                    <a:pt x="42697" y="172123"/>
                  </a:lnTo>
                  <a:lnTo>
                    <a:pt x="47788" y="172123"/>
                  </a:lnTo>
                  <a:lnTo>
                    <a:pt x="53688" y="171526"/>
                  </a:lnTo>
                  <a:cubicBezTo>
                    <a:pt x="54435" y="171478"/>
                    <a:pt x="55135" y="171810"/>
                    <a:pt x="55491" y="172490"/>
                  </a:cubicBezTo>
                  <a:lnTo>
                    <a:pt x="58249" y="178058"/>
                  </a:lnTo>
                  <a:lnTo>
                    <a:pt x="63831" y="181967"/>
                  </a:lnTo>
                  <a:lnTo>
                    <a:pt x="64048" y="182170"/>
                  </a:lnTo>
                  <a:lnTo>
                    <a:pt x="64646" y="182768"/>
                  </a:lnTo>
                  <a:lnTo>
                    <a:pt x="64790" y="182888"/>
                  </a:lnTo>
                  <a:lnTo>
                    <a:pt x="69206" y="188422"/>
                  </a:lnTo>
                  <a:lnTo>
                    <a:pt x="74576" y="190037"/>
                  </a:lnTo>
                  <a:lnTo>
                    <a:pt x="75618" y="190847"/>
                  </a:lnTo>
                  <a:lnTo>
                    <a:pt x="79093" y="196584"/>
                  </a:lnTo>
                  <a:lnTo>
                    <a:pt x="84868" y="202398"/>
                  </a:lnTo>
                  <a:lnTo>
                    <a:pt x="85408" y="203511"/>
                  </a:lnTo>
                  <a:lnTo>
                    <a:pt x="85963" y="209561"/>
                  </a:lnTo>
                  <a:lnTo>
                    <a:pt x="88368" y="212955"/>
                  </a:lnTo>
                  <a:lnTo>
                    <a:pt x="93647" y="215558"/>
                  </a:lnTo>
                  <a:lnTo>
                    <a:pt x="99822" y="216146"/>
                  </a:lnTo>
                  <a:lnTo>
                    <a:pt x="100709" y="216479"/>
                  </a:lnTo>
                  <a:lnTo>
                    <a:pt x="106538" y="220591"/>
                  </a:lnTo>
                  <a:lnTo>
                    <a:pt x="108538" y="221531"/>
                  </a:lnTo>
                  <a:cubicBezTo>
                    <a:pt x="108244" y="220837"/>
                    <a:pt x="107892" y="220085"/>
                    <a:pt x="107425" y="219294"/>
                  </a:cubicBezTo>
                  <a:cubicBezTo>
                    <a:pt x="105636" y="216108"/>
                    <a:pt x="103578" y="212859"/>
                    <a:pt x="105221" y="20935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25" name="Freihandform: Form 624">
              <a:extLst>
                <a:ext uri="{FF2B5EF4-FFF2-40B4-BE49-F238E27FC236}">
                  <a16:creationId xmlns:a16="http://schemas.microsoft.com/office/drawing/2014/main" id="{1007FD9E-004A-70AF-387F-9AC5D0D8B228}"/>
                </a:ext>
              </a:extLst>
            </p:cNvPr>
            <p:cNvSpPr/>
            <p:nvPr/>
          </p:nvSpPr>
          <p:spPr>
            <a:xfrm>
              <a:off x="5192852" y="3106718"/>
              <a:ext cx="265082" cy="384190"/>
            </a:xfrm>
            <a:custGeom>
              <a:avLst/>
              <a:gdLst>
                <a:gd name="connsiteX0" fmla="*/ 52413 w 207175"/>
                <a:gd name="connsiteY0" fmla="*/ 285897 h 301024"/>
                <a:gd name="connsiteX1" fmla="*/ 77471 w 207175"/>
                <a:gd name="connsiteY1" fmla="*/ 293682 h 301024"/>
                <a:gd name="connsiteX2" fmla="*/ 83169 w 207175"/>
                <a:gd name="connsiteY2" fmla="*/ 300224 h 301024"/>
                <a:gd name="connsiteX3" fmla="*/ 89484 w 207175"/>
                <a:gd name="connsiteY3" fmla="*/ 301024 h 301024"/>
                <a:gd name="connsiteX4" fmla="*/ 96079 w 207175"/>
                <a:gd name="connsiteY4" fmla="*/ 298040 h 301024"/>
                <a:gd name="connsiteX5" fmla="*/ 96864 w 207175"/>
                <a:gd name="connsiteY5" fmla="*/ 298599 h 301024"/>
                <a:gd name="connsiteX6" fmla="*/ 96898 w 207175"/>
                <a:gd name="connsiteY6" fmla="*/ 298272 h 301024"/>
                <a:gd name="connsiteX7" fmla="*/ 101632 w 207175"/>
                <a:gd name="connsiteY7" fmla="*/ 292313 h 301024"/>
                <a:gd name="connsiteX8" fmla="*/ 101844 w 207175"/>
                <a:gd name="connsiteY8" fmla="*/ 292096 h 301024"/>
                <a:gd name="connsiteX9" fmla="*/ 107769 w 207175"/>
                <a:gd name="connsiteY9" fmla="*/ 286736 h 301024"/>
                <a:gd name="connsiteX10" fmla="*/ 109808 w 207175"/>
                <a:gd name="connsiteY10" fmla="*/ 286451 h 301024"/>
                <a:gd name="connsiteX11" fmla="*/ 112204 w 207175"/>
                <a:gd name="connsiteY11" fmla="*/ 287666 h 301024"/>
                <a:gd name="connsiteX12" fmla="*/ 112749 w 207175"/>
                <a:gd name="connsiteY12" fmla="*/ 288071 h 301024"/>
                <a:gd name="connsiteX13" fmla="*/ 117227 w 207175"/>
                <a:gd name="connsiteY13" fmla="*/ 293099 h 301024"/>
                <a:gd name="connsiteX14" fmla="*/ 120505 w 207175"/>
                <a:gd name="connsiteY14" fmla="*/ 294434 h 301024"/>
                <a:gd name="connsiteX15" fmla="*/ 120867 w 207175"/>
                <a:gd name="connsiteY15" fmla="*/ 290544 h 301024"/>
                <a:gd name="connsiteX16" fmla="*/ 119739 w 207175"/>
                <a:gd name="connsiteY16" fmla="*/ 284865 h 301024"/>
                <a:gd name="connsiteX17" fmla="*/ 119695 w 207175"/>
                <a:gd name="connsiteY17" fmla="*/ 284504 h 301024"/>
                <a:gd name="connsiteX18" fmla="*/ 119695 w 207175"/>
                <a:gd name="connsiteY18" fmla="*/ 282734 h 301024"/>
                <a:gd name="connsiteX19" fmla="*/ 115704 w 207175"/>
                <a:gd name="connsiteY19" fmla="*/ 277234 h 301024"/>
                <a:gd name="connsiteX20" fmla="*/ 114918 w 207175"/>
                <a:gd name="connsiteY20" fmla="*/ 276925 h 301024"/>
                <a:gd name="connsiteX21" fmla="*/ 108820 w 207175"/>
                <a:gd name="connsiteY21" fmla="*/ 271372 h 301024"/>
                <a:gd name="connsiteX22" fmla="*/ 103479 w 207175"/>
                <a:gd name="connsiteY22" fmla="*/ 270822 h 301024"/>
                <a:gd name="connsiteX23" fmla="*/ 102129 w 207175"/>
                <a:gd name="connsiteY23" fmla="*/ 270013 h 301024"/>
                <a:gd name="connsiteX24" fmla="*/ 101941 w 207175"/>
                <a:gd name="connsiteY24" fmla="*/ 268431 h 301024"/>
                <a:gd name="connsiteX25" fmla="*/ 103753 w 207175"/>
                <a:gd name="connsiteY25" fmla="*/ 263447 h 301024"/>
                <a:gd name="connsiteX26" fmla="*/ 98749 w 207175"/>
                <a:gd name="connsiteY26" fmla="*/ 261181 h 301024"/>
                <a:gd name="connsiteX27" fmla="*/ 97703 w 207175"/>
                <a:gd name="connsiteY27" fmla="*/ 259889 h 301024"/>
                <a:gd name="connsiteX28" fmla="*/ 98137 w 207175"/>
                <a:gd name="connsiteY28" fmla="*/ 258303 h 301024"/>
                <a:gd name="connsiteX29" fmla="*/ 103498 w 207175"/>
                <a:gd name="connsiteY29" fmla="*/ 252345 h 301024"/>
                <a:gd name="connsiteX30" fmla="*/ 103985 w 207175"/>
                <a:gd name="connsiteY30" fmla="*/ 251969 h 301024"/>
                <a:gd name="connsiteX31" fmla="*/ 110425 w 207175"/>
                <a:gd name="connsiteY31" fmla="*/ 248455 h 301024"/>
                <a:gd name="connsiteX32" fmla="*/ 115439 w 207175"/>
                <a:gd name="connsiteY32" fmla="*/ 244935 h 301024"/>
                <a:gd name="connsiteX33" fmla="*/ 114990 w 207175"/>
                <a:gd name="connsiteY33" fmla="*/ 239864 h 301024"/>
                <a:gd name="connsiteX34" fmla="*/ 111630 w 207175"/>
                <a:gd name="connsiteY34" fmla="*/ 234262 h 301024"/>
                <a:gd name="connsiteX35" fmla="*/ 111558 w 207175"/>
                <a:gd name="connsiteY35" fmla="*/ 234156 h 301024"/>
                <a:gd name="connsiteX36" fmla="*/ 108574 w 207175"/>
                <a:gd name="connsiteY36" fmla="*/ 228183 h 301024"/>
                <a:gd name="connsiteX37" fmla="*/ 108391 w 207175"/>
                <a:gd name="connsiteY37" fmla="*/ 227542 h 301024"/>
                <a:gd name="connsiteX38" fmla="*/ 107774 w 207175"/>
                <a:gd name="connsiteY38" fmla="*/ 221010 h 301024"/>
                <a:gd name="connsiteX39" fmla="*/ 108425 w 207175"/>
                <a:gd name="connsiteY39" fmla="*/ 219477 h 301024"/>
                <a:gd name="connsiteX40" fmla="*/ 112209 w 207175"/>
                <a:gd name="connsiteY40" fmla="*/ 216136 h 301024"/>
                <a:gd name="connsiteX41" fmla="*/ 110657 w 207175"/>
                <a:gd name="connsiteY41" fmla="*/ 212227 h 301024"/>
                <a:gd name="connsiteX42" fmla="*/ 104954 w 207175"/>
                <a:gd name="connsiteY42" fmla="*/ 210679 h 301024"/>
                <a:gd name="connsiteX43" fmla="*/ 103614 w 207175"/>
                <a:gd name="connsiteY43" fmla="*/ 208891 h 301024"/>
                <a:gd name="connsiteX44" fmla="*/ 105098 w 207175"/>
                <a:gd name="connsiteY44" fmla="*/ 207126 h 301024"/>
                <a:gd name="connsiteX45" fmla="*/ 110912 w 207175"/>
                <a:gd name="connsiteY45" fmla="*/ 205984 h 301024"/>
                <a:gd name="connsiteX46" fmla="*/ 116630 w 207175"/>
                <a:gd name="connsiteY46" fmla="*/ 203897 h 301024"/>
                <a:gd name="connsiteX47" fmla="*/ 116928 w 207175"/>
                <a:gd name="connsiteY47" fmla="*/ 203357 h 301024"/>
                <a:gd name="connsiteX48" fmla="*/ 117112 w 207175"/>
                <a:gd name="connsiteY48" fmla="*/ 203043 h 301024"/>
                <a:gd name="connsiteX49" fmla="*/ 121768 w 207175"/>
                <a:gd name="connsiteY49" fmla="*/ 197225 h 301024"/>
                <a:gd name="connsiteX50" fmla="*/ 123316 w 207175"/>
                <a:gd name="connsiteY50" fmla="*/ 194091 h 301024"/>
                <a:gd name="connsiteX51" fmla="*/ 119744 w 207175"/>
                <a:gd name="connsiteY51" fmla="*/ 194091 h 301024"/>
                <a:gd name="connsiteX52" fmla="*/ 118206 w 207175"/>
                <a:gd name="connsiteY52" fmla="*/ 193257 h 301024"/>
                <a:gd name="connsiteX53" fmla="*/ 114349 w 207175"/>
                <a:gd name="connsiteY53" fmla="*/ 187207 h 301024"/>
                <a:gd name="connsiteX54" fmla="*/ 108945 w 207175"/>
                <a:gd name="connsiteY54" fmla="*/ 184999 h 301024"/>
                <a:gd name="connsiteX55" fmla="*/ 107783 w 207175"/>
                <a:gd name="connsiteY55" fmla="*/ 183346 h 301024"/>
                <a:gd name="connsiteX56" fmla="*/ 107783 w 207175"/>
                <a:gd name="connsiteY56" fmla="*/ 181557 h 301024"/>
                <a:gd name="connsiteX57" fmla="*/ 109418 w 207175"/>
                <a:gd name="connsiteY57" fmla="*/ 179764 h 301024"/>
                <a:gd name="connsiteX58" fmla="*/ 114778 w 207175"/>
                <a:gd name="connsiteY58" fmla="*/ 179162 h 301024"/>
                <a:gd name="connsiteX59" fmla="*/ 116022 w 207175"/>
                <a:gd name="connsiteY59" fmla="*/ 179455 h 301024"/>
                <a:gd name="connsiteX60" fmla="*/ 121648 w 207175"/>
                <a:gd name="connsiteY60" fmla="*/ 183399 h 301024"/>
                <a:gd name="connsiteX61" fmla="*/ 127235 w 207175"/>
                <a:gd name="connsiteY61" fmla="*/ 184440 h 301024"/>
                <a:gd name="connsiteX62" fmla="*/ 133266 w 207175"/>
                <a:gd name="connsiteY62" fmla="*/ 181663 h 301024"/>
                <a:gd name="connsiteX63" fmla="*/ 133690 w 207175"/>
                <a:gd name="connsiteY63" fmla="*/ 181557 h 301024"/>
                <a:gd name="connsiteX64" fmla="*/ 138978 w 207175"/>
                <a:gd name="connsiteY64" fmla="*/ 180603 h 301024"/>
                <a:gd name="connsiteX65" fmla="*/ 139335 w 207175"/>
                <a:gd name="connsiteY65" fmla="*/ 178366 h 301024"/>
                <a:gd name="connsiteX66" fmla="*/ 139899 w 207175"/>
                <a:gd name="connsiteY66" fmla="*/ 172133 h 301024"/>
                <a:gd name="connsiteX67" fmla="*/ 138944 w 207175"/>
                <a:gd name="connsiteY67" fmla="*/ 167206 h 301024"/>
                <a:gd name="connsiteX68" fmla="*/ 133020 w 207175"/>
                <a:gd name="connsiteY68" fmla="*/ 163460 h 301024"/>
                <a:gd name="connsiteX69" fmla="*/ 132191 w 207175"/>
                <a:gd name="connsiteY69" fmla="*/ 161817 h 301024"/>
                <a:gd name="connsiteX70" fmla="*/ 133222 w 207175"/>
                <a:gd name="connsiteY70" fmla="*/ 160289 h 301024"/>
                <a:gd name="connsiteX71" fmla="*/ 139152 w 207175"/>
                <a:gd name="connsiteY71" fmla="*/ 157314 h 301024"/>
                <a:gd name="connsiteX72" fmla="*/ 139957 w 207175"/>
                <a:gd name="connsiteY72" fmla="*/ 157121 h 301024"/>
                <a:gd name="connsiteX73" fmla="*/ 148865 w 207175"/>
                <a:gd name="connsiteY73" fmla="*/ 157121 h 301024"/>
                <a:gd name="connsiteX74" fmla="*/ 149825 w 207175"/>
                <a:gd name="connsiteY74" fmla="*/ 157391 h 301024"/>
                <a:gd name="connsiteX75" fmla="*/ 153773 w 207175"/>
                <a:gd name="connsiteY75" fmla="*/ 159744 h 301024"/>
                <a:gd name="connsiteX76" fmla="*/ 154887 w 207175"/>
                <a:gd name="connsiteY76" fmla="*/ 156041 h 301024"/>
                <a:gd name="connsiteX77" fmla="*/ 154949 w 207175"/>
                <a:gd name="connsiteY77" fmla="*/ 155892 h 301024"/>
                <a:gd name="connsiteX78" fmla="*/ 157143 w 207175"/>
                <a:gd name="connsiteY78" fmla="*/ 150329 h 301024"/>
                <a:gd name="connsiteX79" fmla="*/ 156603 w 207175"/>
                <a:gd name="connsiteY79" fmla="*/ 144236 h 301024"/>
                <a:gd name="connsiteX80" fmla="*/ 156603 w 207175"/>
                <a:gd name="connsiteY80" fmla="*/ 143917 h 301024"/>
                <a:gd name="connsiteX81" fmla="*/ 156661 w 207175"/>
                <a:gd name="connsiteY81" fmla="*/ 117408 h 301024"/>
                <a:gd name="connsiteX82" fmla="*/ 157119 w 207175"/>
                <a:gd name="connsiteY82" fmla="*/ 116608 h 301024"/>
                <a:gd name="connsiteX83" fmla="*/ 159476 w 207175"/>
                <a:gd name="connsiteY83" fmla="*/ 114241 h 301024"/>
                <a:gd name="connsiteX84" fmla="*/ 164644 w 207175"/>
                <a:gd name="connsiteY84" fmla="*/ 108490 h 301024"/>
                <a:gd name="connsiteX85" fmla="*/ 168110 w 207175"/>
                <a:gd name="connsiteY85" fmla="*/ 102151 h 301024"/>
                <a:gd name="connsiteX86" fmla="*/ 169378 w 207175"/>
                <a:gd name="connsiteY86" fmla="*/ 101211 h 301024"/>
                <a:gd name="connsiteX87" fmla="*/ 170877 w 207175"/>
                <a:gd name="connsiteY87" fmla="*/ 101596 h 301024"/>
                <a:gd name="connsiteX88" fmla="*/ 177419 w 207175"/>
                <a:gd name="connsiteY88" fmla="*/ 106947 h 301024"/>
                <a:gd name="connsiteX89" fmla="*/ 178079 w 207175"/>
                <a:gd name="connsiteY89" fmla="*/ 108524 h 301024"/>
                <a:gd name="connsiteX90" fmla="*/ 177481 w 207175"/>
                <a:gd name="connsiteY90" fmla="*/ 115075 h 301024"/>
                <a:gd name="connsiteX91" fmla="*/ 175669 w 207175"/>
                <a:gd name="connsiteY91" fmla="*/ 116733 h 301024"/>
                <a:gd name="connsiteX92" fmla="*/ 171928 w 207175"/>
                <a:gd name="connsiteY92" fmla="*/ 116733 h 301024"/>
                <a:gd name="connsiteX93" fmla="*/ 172473 w 207175"/>
                <a:gd name="connsiteY93" fmla="*/ 119409 h 301024"/>
                <a:gd name="connsiteX94" fmla="*/ 177930 w 207175"/>
                <a:gd name="connsiteY94" fmla="*/ 120889 h 301024"/>
                <a:gd name="connsiteX95" fmla="*/ 179140 w 207175"/>
                <a:gd name="connsiteY95" fmla="*/ 121974 h 301024"/>
                <a:gd name="connsiteX96" fmla="*/ 180383 w 207175"/>
                <a:gd name="connsiteY96" fmla="*/ 125097 h 301024"/>
                <a:gd name="connsiteX97" fmla="*/ 180798 w 207175"/>
                <a:gd name="connsiteY97" fmla="*/ 124639 h 301024"/>
                <a:gd name="connsiteX98" fmla="*/ 179270 w 207175"/>
                <a:gd name="connsiteY98" fmla="*/ 119582 h 301024"/>
                <a:gd name="connsiteX99" fmla="*/ 179482 w 207175"/>
                <a:gd name="connsiteY99" fmla="*/ 118117 h 301024"/>
                <a:gd name="connsiteX100" fmla="*/ 183652 w 207175"/>
                <a:gd name="connsiteY100" fmla="*/ 111551 h 301024"/>
                <a:gd name="connsiteX101" fmla="*/ 185975 w 207175"/>
                <a:gd name="connsiteY101" fmla="*/ 110915 h 301024"/>
                <a:gd name="connsiteX102" fmla="*/ 191938 w 207175"/>
                <a:gd name="connsiteY102" fmla="*/ 113870 h 301024"/>
                <a:gd name="connsiteX103" fmla="*/ 192773 w 207175"/>
                <a:gd name="connsiteY103" fmla="*/ 114757 h 301024"/>
                <a:gd name="connsiteX104" fmla="*/ 193418 w 207175"/>
                <a:gd name="connsiteY104" fmla="*/ 116184 h 301024"/>
                <a:gd name="connsiteX105" fmla="*/ 205417 w 207175"/>
                <a:gd name="connsiteY105" fmla="*/ 96954 h 301024"/>
                <a:gd name="connsiteX106" fmla="*/ 202457 w 207175"/>
                <a:gd name="connsiteY106" fmla="*/ 74166 h 301024"/>
                <a:gd name="connsiteX107" fmla="*/ 196942 w 207175"/>
                <a:gd name="connsiteY107" fmla="*/ 72156 h 301024"/>
                <a:gd name="connsiteX108" fmla="*/ 191490 w 207175"/>
                <a:gd name="connsiteY108" fmla="*/ 73231 h 301024"/>
                <a:gd name="connsiteX109" fmla="*/ 191312 w 207175"/>
                <a:gd name="connsiteY109" fmla="*/ 73265 h 301024"/>
                <a:gd name="connsiteX110" fmla="*/ 185508 w 207175"/>
                <a:gd name="connsiteY110" fmla="*/ 73858 h 301024"/>
                <a:gd name="connsiteX111" fmla="*/ 179096 w 207175"/>
                <a:gd name="connsiteY111" fmla="*/ 75613 h 301024"/>
                <a:gd name="connsiteX112" fmla="*/ 178103 w 207175"/>
                <a:gd name="connsiteY112" fmla="*/ 75584 h 301024"/>
                <a:gd name="connsiteX113" fmla="*/ 172154 w 207175"/>
                <a:gd name="connsiteY113" fmla="*/ 73800 h 301024"/>
                <a:gd name="connsiteX114" fmla="*/ 171624 w 207175"/>
                <a:gd name="connsiteY114" fmla="*/ 73535 h 301024"/>
                <a:gd name="connsiteX115" fmla="*/ 165695 w 207175"/>
                <a:gd name="connsiteY115" fmla="*/ 69375 h 301024"/>
                <a:gd name="connsiteX116" fmla="*/ 165044 w 207175"/>
                <a:gd name="connsiteY116" fmla="*/ 68555 h 301024"/>
                <a:gd name="connsiteX117" fmla="*/ 163564 w 207175"/>
                <a:gd name="connsiteY117" fmla="*/ 64925 h 301024"/>
                <a:gd name="connsiteX118" fmla="*/ 159380 w 207175"/>
                <a:gd name="connsiteY118" fmla="*/ 68338 h 301024"/>
                <a:gd name="connsiteX119" fmla="*/ 157764 w 207175"/>
                <a:gd name="connsiteY119" fmla="*/ 73757 h 301024"/>
                <a:gd name="connsiteX120" fmla="*/ 157721 w 207175"/>
                <a:gd name="connsiteY120" fmla="*/ 73858 h 301024"/>
                <a:gd name="connsiteX121" fmla="*/ 156646 w 207175"/>
                <a:gd name="connsiteY121" fmla="*/ 76842 h 301024"/>
                <a:gd name="connsiteX122" fmla="*/ 156646 w 207175"/>
                <a:gd name="connsiteY122" fmla="*/ 76987 h 301024"/>
                <a:gd name="connsiteX123" fmla="*/ 156521 w 207175"/>
                <a:gd name="connsiteY123" fmla="*/ 77502 h 301024"/>
                <a:gd name="connsiteX124" fmla="*/ 155407 w 207175"/>
                <a:gd name="connsiteY124" fmla="*/ 80279 h 301024"/>
                <a:gd name="connsiteX125" fmla="*/ 155349 w 207175"/>
                <a:gd name="connsiteY125" fmla="*/ 80404 h 301024"/>
                <a:gd name="connsiteX126" fmla="*/ 155349 w 207175"/>
                <a:gd name="connsiteY126" fmla="*/ 80404 h 301024"/>
                <a:gd name="connsiteX127" fmla="*/ 155335 w 207175"/>
                <a:gd name="connsiteY127" fmla="*/ 80448 h 301024"/>
                <a:gd name="connsiteX128" fmla="*/ 152978 w 207175"/>
                <a:gd name="connsiteY128" fmla="*/ 81489 h 301024"/>
                <a:gd name="connsiteX129" fmla="*/ 151927 w 207175"/>
                <a:gd name="connsiteY129" fmla="*/ 79170 h 301024"/>
                <a:gd name="connsiteX130" fmla="*/ 153079 w 207175"/>
                <a:gd name="connsiteY130" fmla="*/ 76013 h 301024"/>
                <a:gd name="connsiteX131" fmla="*/ 153609 w 207175"/>
                <a:gd name="connsiteY131" fmla="*/ 70127 h 301024"/>
                <a:gd name="connsiteX132" fmla="*/ 153807 w 207175"/>
                <a:gd name="connsiteY132" fmla="*/ 69462 h 301024"/>
                <a:gd name="connsiteX133" fmla="*/ 156786 w 207175"/>
                <a:gd name="connsiteY133" fmla="*/ 63489 h 301024"/>
                <a:gd name="connsiteX134" fmla="*/ 157263 w 207175"/>
                <a:gd name="connsiteY134" fmla="*/ 62896 h 301024"/>
                <a:gd name="connsiteX135" fmla="*/ 162850 w 207175"/>
                <a:gd name="connsiteY135" fmla="*/ 58432 h 301024"/>
                <a:gd name="connsiteX136" fmla="*/ 164243 w 207175"/>
                <a:gd name="connsiteY136" fmla="*/ 55221 h 301024"/>
                <a:gd name="connsiteX137" fmla="*/ 163458 w 207175"/>
                <a:gd name="connsiteY137" fmla="*/ 51249 h 301024"/>
                <a:gd name="connsiteX138" fmla="*/ 152447 w 207175"/>
                <a:gd name="connsiteY138" fmla="*/ 51249 h 301024"/>
                <a:gd name="connsiteX139" fmla="*/ 151507 w 207175"/>
                <a:gd name="connsiteY139" fmla="*/ 51003 h 301024"/>
                <a:gd name="connsiteX140" fmla="*/ 150037 w 207175"/>
                <a:gd name="connsiteY140" fmla="*/ 50121 h 301024"/>
                <a:gd name="connsiteX141" fmla="*/ 149695 w 207175"/>
                <a:gd name="connsiteY141" fmla="*/ 50439 h 301024"/>
                <a:gd name="connsiteX142" fmla="*/ 146176 w 207175"/>
                <a:gd name="connsiteY142" fmla="*/ 52227 h 301024"/>
                <a:gd name="connsiteX143" fmla="*/ 140304 w 207175"/>
                <a:gd name="connsiteY143" fmla="*/ 55766 h 301024"/>
                <a:gd name="connsiteX144" fmla="*/ 140169 w 207175"/>
                <a:gd name="connsiteY144" fmla="*/ 55799 h 301024"/>
                <a:gd name="connsiteX145" fmla="*/ 127134 w 207175"/>
                <a:gd name="connsiteY145" fmla="*/ 57771 h 301024"/>
                <a:gd name="connsiteX146" fmla="*/ 125625 w 207175"/>
                <a:gd name="connsiteY146" fmla="*/ 55910 h 301024"/>
                <a:gd name="connsiteX147" fmla="*/ 127254 w 207175"/>
                <a:gd name="connsiteY147" fmla="*/ 54175 h 301024"/>
                <a:gd name="connsiteX148" fmla="*/ 132813 w 207175"/>
                <a:gd name="connsiteY148" fmla="*/ 53621 h 301024"/>
                <a:gd name="connsiteX149" fmla="*/ 138400 w 207175"/>
                <a:gd name="connsiteY149" fmla="*/ 50294 h 301024"/>
                <a:gd name="connsiteX150" fmla="*/ 141904 w 207175"/>
                <a:gd name="connsiteY150" fmla="*/ 47932 h 301024"/>
                <a:gd name="connsiteX151" fmla="*/ 142228 w 207175"/>
                <a:gd name="connsiteY151" fmla="*/ 47749 h 301024"/>
                <a:gd name="connsiteX152" fmla="*/ 151170 w 207175"/>
                <a:gd name="connsiteY152" fmla="*/ 44186 h 301024"/>
                <a:gd name="connsiteX153" fmla="*/ 152028 w 207175"/>
                <a:gd name="connsiteY153" fmla="*/ 44052 h 301024"/>
                <a:gd name="connsiteX154" fmla="*/ 157962 w 207175"/>
                <a:gd name="connsiteY154" fmla="*/ 44654 h 301024"/>
                <a:gd name="connsiteX155" fmla="*/ 161573 w 207175"/>
                <a:gd name="connsiteY155" fmla="*/ 44972 h 301024"/>
                <a:gd name="connsiteX156" fmla="*/ 156328 w 207175"/>
                <a:gd name="connsiteY156" fmla="*/ 12162 h 301024"/>
                <a:gd name="connsiteX157" fmla="*/ 150644 w 207175"/>
                <a:gd name="connsiteY157" fmla="*/ 10090 h 301024"/>
                <a:gd name="connsiteX158" fmla="*/ 149960 w 207175"/>
                <a:gd name="connsiteY158" fmla="*/ 9685 h 301024"/>
                <a:gd name="connsiteX159" fmla="*/ 144088 w 207175"/>
                <a:gd name="connsiteY159" fmla="*/ 3784 h 301024"/>
                <a:gd name="connsiteX160" fmla="*/ 139373 w 207175"/>
                <a:gd name="connsiteY160" fmla="*/ 0 h 301024"/>
                <a:gd name="connsiteX161" fmla="*/ 136939 w 207175"/>
                <a:gd name="connsiteY161" fmla="*/ 2044 h 301024"/>
                <a:gd name="connsiteX162" fmla="*/ 136356 w 207175"/>
                <a:gd name="connsiteY162" fmla="*/ 2372 h 301024"/>
                <a:gd name="connsiteX163" fmla="*/ 134558 w 207175"/>
                <a:gd name="connsiteY163" fmla="*/ 2974 h 301024"/>
                <a:gd name="connsiteX164" fmla="*/ 134336 w 207175"/>
                <a:gd name="connsiteY164" fmla="*/ 3013 h 301024"/>
                <a:gd name="connsiteX165" fmla="*/ 128397 w 207175"/>
                <a:gd name="connsiteY165" fmla="*/ 4199 h 301024"/>
                <a:gd name="connsiteX166" fmla="*/ 127891 w 207175"/>
                <a:gd name="connsiteY166" fmla="*/ 4257 h 301024"/>
                <a:gd name="connsiteX167" fmla="*/ 121768 w 207175"/>
                <a:gd name="connsiteY167" fmla="*/ 3678 h 301024"/>
                <a:gd name="connsiteX168" fmla="*/ 116798 w 207175"/>
                <a:gd name="connsiteY168" fmla="*/ 5679 h 301024"/>
                <a:gd name="connsiteX169" fmla="*/ 113535 w 207175"/>
                <a:gd name="connsiteY169" fmla="*/ 11092 h 301024"/>
                <a:gd name="connsiteX170" fmla="*/ 111307 w 207175"/>
                <a:gd name="connsiteY170" fmla="*/ 11825 h 301024"/>
                <a:gd name="connsiteX171" fmla="*/ 81323 w 207175"/>
                <a:gd name="connsiteY171" fmla="*/ 20527 h 301024"/>
                <a:gd name="connsiteX172" fmla="*/ 83314 w 207175"/>
                <a:gd name="connsiteY172" fmla="*/ 25564 h 301024"/>
                <a:gd name="connsiteX173" fmla="*/ 83347 w 207175"/>
                <a:gd name="connsiteY173" fmla="*/ 26731 h 301024"/>
                <a:gd name="connsiteX174" fmla="*/ 81650 w 207175"/>
                <a:gd name="connsiteY174" fmla="*/ 32458 h 301024"/>
                <a:gd name="connsiteX175" fmla="*/ 81650 w 207175"/>
                <a:gd name="connsiteY175" fmla="*/ 38209 h 301024"/>
                <a:gd name="connsiteX176" fmla="*/ 84977 w 207175"/>
                <a:gd name="connsiteY176" fmla="*/ 43733 h 301024"/>
                <a:gd name="connsiteX177" fmla="*/ 85198 w 207175"/>
                <a:gd name="connsiteY177" fmla="*/ 44857 h 301024"/>
                <a:gd name="connsiteX178" fmla="*/ 84871 w 207175"/>
                <a:gd name="connsiteY178" fmla="*/ 48376 h 301024"/>
                <a:gd name="connsiteX179" fmla="*/ 88385 w 207175"/>
                <a:gd name="connsiteY179" fmla="*/ 47657 h 301024"/>
                <a:gd name="connsiteX180" fmla="*/ 90472 w 207175"/>
                <a:gd name="connsiteY180" fmla="*/ 48863 h 301024"/>
                <a:gd name="connsiteX181" fmla="*/ 91075 w 207175"/>
                <a:gd name="connsiteY181" fmla="*/ 50637 h 301024"/>
                <a:gd name="connsiteX182" fmla="*/ 91186 w 207175"/>
                <a:gd name="connsiteY182" fmla="*/ 51205 h 301024"/>
                <a:gd name="connsiteX183" fmla="*/ 91186 w 207175"/>
                <a:gd name="connsiteY183" fmla="*/ 57771 h 301024"/>
                <a:gd name="connsiteX184" fmla="*/ 91133 w 207175"/>
                <a:gd name="connsiteY184" fmla="*/ 58133 h 301024"/>
                <a:gd name="connsiteX185" fmla="*/ 90106 w 207175"/>
                <a:gd name="connsiteY185" fmla="*/ 63296 h 301024"/>
                <a:gd name="connsiteX186" fmla="*/ 94420 w 207175"/>
                <a:gd name="connsiteY186" fmla="*/ 69211 h 301024"/>
                <a:gd name="connsiteX187" fmla="*/ 94502 w 207175"/>
                <a:gd name="connsiteY187" fmla="*/ 71187 h 301024"/>
                <a:gd name="connsiteX188" fmla="*/ 92748 w 207175"/>
                <a:gd name="connsiteY188" fmla="*/ 72084 h 301024"/>
                <a:gd name="connsiteX189" fmla="*/ 86799 w 207175"/>
                <a:gd name="connsiteY189" fmla="*/ 71481 h 301024"/>
                <a:gd name="connsiteX190" fmla="*/ 85227 w 207175"/>
                <a:gd name="connsiteY190" fmla="*/ 70199 h 301024"/>
                <a:gd name="connsiteX191" fmla="*/ 83477 w 207175"/>
                <a:gd name="connsiteY191" fmla="*/ 64328 h 301024"/>
                <a:gd name="connsiteX192" fmla="*/ 81414 w 207175"/>
                <a:gd name="connsiteY192" fmla="*/ 59198 h 301024"/>
                <a:gd name="connsiteX193" fmla="*/ 78430 w 207175"/>
                <a:gd name="connsiteY193" fmla="*/ 57983 h 301024"/>
                <a:gd name="connsiteX194" fmla="*/ 78054 w 207175"/>
                <a:gd name="connsiteY194" fmla="*/ 61536 h 301024"/>
                <a:gd name="connsiteX195" fmla="*/ 77403 w 207175"/>
                <a:gd name="connsiteY195" fmla="*/ 62765 h 301024"/>
                <a:gd name="connsiteX196" fmla="*/ 71445 w 207175"/>
                <a:gd name="connsiteY196" fmla="*/ 67538 h 301024"/>
                <a:gd name="connsiteX197" fmla="*/ 69599 w 207175"/>
                <a:gd name="connsiteY197" fmla="*/ 67798 h 301024"/>
                <a:gd name="connsiteX198" fmla="*/ 68504 w 207175"/>
                <a:gd name="connsiteY198" fmla="*/ 66265 h 301024"/>
                <a:gd name="connsiteX199" fmla="*/ 67892 w 207175"/>
                <a:gd name="connsiteY199" fmla="*/ 59728 h 301024"/>
                <a:gd name="connsiteX200" fmla="*/ 68152 w 207175"/>
                <a:gd name="connsiteY200" fmla="*/ 58629 h 301024"/>
                <a:gd name="connsiteX201" fmla="*/ 71729 w 207175"/>
                <a:gd name="connsiteY201" fmla="*/ 52676 h 301024"/>
                <a:gd name="connsiteX202" fmla="*/ 71864 w 207175"/>
                <a:gd name="connsiteY202" fmla="*/ 52483 h 301024"/>
                <a:gd name="connsiteX203" fmla="*/ 75967 w 207175"/>
                <a:gd name="connsiteY203" fmla="*/ 47378 h 301024"/>
                <a:gd name="connsiteX204" fmla="*/ 74000 w 207175"/>
                <a:gd name="connsiteY204" fmla="*/ 42374 h 301024"/>
                <a:gd name="connsiteX205" fmla="*/ 72101 w 207175"/>
                <a:gd name="connsiteY205" fmla="*/ 37717 h 301024"/>
                <a:gd name="connsiteX206" fmla="*/ 67526 w 207175"/>
                <a:gd name="connsiteY206" fmla="*/ 38146 h 301024"/>
                <a:gd name="connsiteX207" fmla="*/ 67352 w 207175"/>
                <a:gd name="connsiteY207" fmla="*/ 38170 h 301024"/>
                <a:gd name="connsiteX208" fmla="*/ 62204 w 207175"/>
                <a:gd name="connsiteY208" fmla="*/ 38170 h 301024"/>
                <a:gd name="connsiteX209" fmla="*/ 58082 w 207175"/>
                <a:gd name="connsiteY209" fmla="*/ 42764 h 301024"/>
                <a:gd name="connsiteX210" fmla="*/ 59557 w 207175"/>
                <a:gd name="connsiteY210" fmla="*/ 47730 h 301024"/>
                <a:gd name="connsiteX211" fmla="*/ 58511 w 207175"/>
                <a:gd name="connsiteY211" fmla="*/ 49933 h 301024"/>
                <a:gd name="connsiteX212" fmla="*/ 53078 w 207175"/>
                <a:gd name="connsiteY212" fmla="*/ 52117 h 301024"/>
                <a:gd name="connsiteX213" fmla="*/ 49226 w 207175"/>
                <a:gd name="connsiteY213" fmla="*/ 57593 h 301024"/>
                <a:gd name="connsiteX214" fmla="*/ 46237 w 207175"/>
                <a:gd name="connsiteY214" fmla="*/ 62568 h 301024"/>
                <a:gd name="connsiteX215" fmla="*/ 49318 w 207175"/>
                <a:gd name="connsiteY215" fmla="*/ 68203 h 301024"/>
                <a:gd name="connsiteX216" fmla="*/ 49482 w 207175"/>
                <a:gd name="connsiteY216" fmla="*/ 69539 h 301024"/>
                <a:gd name="connsiteX217" fmla="*/ 48874 w 207175"/>
                <a:gd name="connsiteY217" fmla="*/ 71920 h 301024"/>
                <a:gd name="connsiteX218" fmla="*/ 48807 w 207175"/>
                <a:gd name="connsiteY218" fmla="*/ 72190 h 301024"/>
                <a:gd name="connsiteX219" fmla="*/ 45784 w 207175"/>
                <a:gd name="connsiteY219" fmla="*/ 78746 h 301024"/>
                <a:gd name="connsiteX220" fmla="*/ 44145 w 207175"/>
                <a:gd name="connsiteY220" fmla="*/ 79831 h 301024"/>
                <a:gd name="connsiteX221" fmla="*/ 38197 w 207175"/>
                <a:gd name="connsiteY221" fmla="*/ 79831 h 301024"/>
                <a:gd name="connsiteX222" fmla="*/ 36461 w 207175"/>
                <a:gd name="connsiteY222" fmla="*/ 78544 h 301024"/>
                <a:gd name="connsiteX223" fmla="*/ 34721 w 207175"/>
                <a:gd name="connsiteY223" fmla="*/ 72682 h 301024"/>
                <a:gd name="connsiteX224" fmla="*/ 33193 w 207175"/>
                <a:gd name="connsiteY224" fmla="*/ 69360 h 301024"/>
                <a:gd name="connsiteX225" fmla="*/ 31737 w 207175"/>
                <a:gd name="connsiteY225" fmla="*/ 69616 h 301024"/>
                <a:gd name="connsiteX226" fmla="*/ 25769 w 207175"/>
                <a:gd name="connsiteY226" fmla="*/ 67866 h 301024"/>
                <a:gd name="connsiteX227" fmla="*/ 25668 w 207175"/>
                <a:gd name="connsiteY227" fmla="*/ 67813 h 301024"/>
                <a:gd name="connsiteX228" fmla="*/ 19439 w 207175"/>
                <a:gd name="connsiteY228" fmla="*/ 65542 h 301024"/>
                <a:gd name="connsiteX229" fmla="*/ 13799 w 207175"/>
                <a:gd name="connsiteY229" fmla="*/ 65542 h 301024"/>
                <a:gd name="connsiteX230" fmla="*/ 12271 w 207175"/>
                <a:gd name="connsiteY230" fmla="*/ 64718 h 301024"/>
                <a:gd name="connsiteX231" fmla="*/ 8091 w 207175"/>
                <a:gd name="connsiteY231" fmla="*/ 58176 h 301024"/>
                <a:gd name="connsiteX232" fmla="*/ 8077 w 207175"/>
                <a:gd name="connsiteY232" fmla="*/ 58114 h 301024"/>
                <a:gd name="connsiteX233" fmla="*/ 6389 w 207175"/>
                <a:gd name="connsiteY233" fmla="*/ 55327 h 301024"/>
                <a:gd name="connsiteX234" fmla="*/ 2528 w 207175"/>
                <a:gd name="connsiteY234" fmla="*/ 95291 h 301024"/>
                <a:gd name="connsiteX235" fmla="*/ 3097 w 207175"/>
                <a:gd name="connsiteY235" fmla="*/ 114651 h 301024"/>
                <a:gd name="connsiteX236" fmla="*/ 1901 w 207175"/>
                <a:gd name="connsiteY236" fmla="*/ 121173 h 301024"/>
                <a:gd name="connsiteX237" fmla="*/ 725 w 207175"/>
                <a:gd name="connsiteY237" fmla="*/ 127652 h 301024"/>
                <a:gd name="connsiteX238" fmla="*/ 180 w 207175"/>
                <a:gd name="connsiteY238" fmla="*/ 133109 h 301024"/>
                <a:gd name="connsiteX239" fmla="*/ 219 w 207175"/>
                <a:gd name="connsiteY239" fmla="*/ 133235 h 301024"/>
                <a:gd name="connsiteX240" fmla="*/ 2600 w 207175"/>
                <a:gd name="connsiteY240" fmla="*/ 127329 h 301024"/>
                <a:gd name="connsiteX241" fmla="*/ 3617 w 207175"/>
                <a:gd name="connsiteY241" fmla="*/ 126293 h 301024"/>
                <a:gd name="connsiteX242" fmla="*/ 5083 w 207175"/>
                <a:gd name="connsiteY242" fmla="*/ 126379 h 301024"/>
                <a:gd name="connsiteX243" fmla="*/ 11051 w 207175"/>
                <a:gd name="connsiteY243" fmla="*/ 129349 h 301024"/>
                <a:gd name="connsiteX244" fmla="*/ 11789 w 207175"/>
                <a:gd name="connsiteY244" fmla="*/ 130043 h 301024"/>
                <a:gd name="connsiteX245" fmla="*/ 15371 w 207175"/>
                <a:gd name="connsiteY245" fmla="*/ 136011 h 301024"/>
                <a:gd name="connsiteX246" fmla="*/ 15616 w 207175"/>
                <a:gd name="connsiteY246" fmla="*/ 136725 h 301024"/>
                <a:gd name="connsiteX247" fmla="*/ 16161 w 207175"/>
                <a:gd name="connsiteY247" fmla="*/ 142264 h 301024"/>
                <a:gd name="connsiteX248" fmla="*/ 20099 w 207175"/>
                <a:gd name="connsiteY248" fmla="*/ 148449 h 301024"/>
                <a:gd name="connsiteX249" fmla="*/ 20287 w 207175"/>
                <a:gd name="connsiteY249" fmla="*/ 148902 h 301024"/>
                <a:gd name="connsiteX250" fmla="*/ 22081 w 207175"/>
                <a:gd name="connsiteY250" fmla="*/ 154836 h 301024"/>
                <a:gd name="connsiteX251" fmla="*/ 21512 w 207175"/>
                <a:gd name="connsiteY251" fmla="*/ 156755 h 301024"/>
                <a:gd name="connsiteX252" fmla="*/ 17347 w 207175"/>
                <a:gd name="connsiteY252" fmla="*/ 160312 h 301024"/>
                <a:gd name="connsiteX253" fmla="*/ 17299 w 207175"/>
                <a:gd name="connsiteY253" fmla="*/ 160361 h 301024"/>
                <a:gd name="connsiteX254" fmla="*/ 11365 w 207175"/>
                <a:gd name="connsiteY254" fmla="*/ 165128 h 301024"/>
                <a:gd name="connsiteX255" fmla="*/ 9865 w 207175"/>
                <a:gd name="connsiteY255" fmla="*/ 165485 h 301024"/>
                <a:gd name="connsiteX256" fmla="*/ 3883 w 207175"/>
                <a:gd name="connsiteY256" fmla="*/ 146867 h 301024"/>
                <a:gd name="connsiteX257" fmla="*/ 5406 w 207175"/>
                <a:gd name="connsiteY257" fmla="*/ 179711 h 301024"/>
                <a:gd name="connsiteX258" fmla="*/ 8298 w 207175"/>
                <a:gd name="connsiteY258" fmla="*/ 206755 h 301024"/>
                <a:gd name="connsiteX259" fmla="*/ 5613 w 207175"/>
                <a:gd name="connsiteY259" fmla="*/ 201419 h 301024"/>
                <a:gd name="connsiteX260" fmla="*/ 5522 w 207175"/>
                <a:gd name="connsiteY260" fmla="*/ 200021 h 301024"/>
                <a:gd name="connsiteX261" fmla="*/ 6428 w 207175"/>
                <a:gd name="connsiteY261" fmla="*/ 198950 h 301024"/>
                <a:gd name="connsiteX262" fmla="*/ 12386 w 207175"/>
                <a:gd name="connsiteY262" fmla="*/ 196000 h 301024"/>
                <a:gd name="connsiteX263" fmla="*/ 14074 w 207175"/>
                <a:gd name="connsiteY263" fmla="*/ 196020 h 301024"/>
                <a:gd name="connsiteX264" fmla="*/ 15004 w 207175"/>
                <a:gd name="connsiteY264" fmla="*/ 197422 h 301024"/>
                <a:gd name="connsiteX265" fmla="*/ 15534 w 207175"/>
                <a:gd name="connsiteY265" fmla="*/ 202267 h 301024"/>
                <a:gd name="connsiteX266" fmla="*/ 19907 w 207175"/>
                <a:gd name="connsiteY266" fmla="*/ 207710 h 301024"/>
                <a:gd name="connsiteX267" fmla="*/ 25306 w 207175"/>
                <a:gd name="connsiteY267" fmla="*/ 213128 h 301024"/>
                <a:gd name="connsiteX268" fmla="*/ 31785 w 207175"/>
                <a:gd name="connsiteY268" fmla="*/ 213663 h 301024"/>
                <a:gd name="connsiteX269" fmla="*/ 32908 w 207175"/>
                <a:gd name="connsiteY269" fmla="*/ 214193 h 301024"/>
                <a:gd name="connsiteX270" fmla="*/ 38891 w 207175"/>
                <a:gd name="connsiteY270" fmla="*/ 220147 h 301024"/>
                <a:gd name="connsiteX271" fmla="*/ 39411 w 207175"/>
                <a:gd name="connsiteY271" fmla="*/ 221280 h 301024"/>
                <a:gd name="connsiteX272" fmla="*/ 39990 w 207175"/>
                <a:gd name="connsiteY272" fmla="*/ 227663 h 301024"/>
                <a:gd name="connsiteX273" fmla="*/ 41137 w 207175"/>
                <a:gd name="connsiteY273" fmla="*/ 232310 h 301024"/>
                <a:gd name="connsiteX274" fmla="*/ 41152 w 207175"/>
                <a:gd name="connsiteY274" fmla="*/ 233091 h 301024"/>
                <a:gd name="connsiteX275" fmla="*/ 40028 w 207175"/>
                <a:gd name="connsiteY275" fmla="*/ 238803 h 301024"/>
                <a:gd name="connsiteX276" fmla="*/ 40587 w 207175"/>
                <a:gd name="connsiteY276" fmla="*/ 244959 h 301024"/>
                <a:gd name="connsiteX277" fmla="*/ 41754 w 207175"/>
                <a:gd name="connsiteY277" fmla="*/ 250845 h 301024"/>
                <a:gd name="connsiteX278" fmla="*/ 41672 w 207175"/>
                <a:gd name="connsiteY278" fmla="*/ 251795 h 301024"/>
                <a:gd name="connsiteX279" fmla="*/ 39310 w 207175"/>
                <a:gd name="connsiteY279" fmla="*/ 258366 h 301024"/>
                <a:gd name="connsiteX280" fmla="*/ 38225 w 207175"/>
                <a:gd name="connsiteY280" fmla="*/ 259388 h 301024"/>
                <a:gd name="connsiteX281" fmla="*/ 40072 w 207175"/>
                <a:gd name="connsiteY281" fmla="*/ 261215 h 301024"/>
                <a:gd name="connsiteX282" fmla="*/ 40578 w 207175"/>
                <a:gd name="connsiteY282" fmla="*/ 262820 h 301024"/>
                <a:gd name="connsiteX283" fmla="*/ 39397 w 207175"/>
                <a:gd name="connsiteY283" fmla="*/ 269289 h 301024"/>
                <a:gd name="connsiteX284" fmla="*/ 38852 w 207175"/>
                <a:gd name="connsiteY284" fmla="*/ 275286 h 301024"/>
                <a:gd name="connsiteX285" fmla="*/ 41089 w 207175"/>
                <a:gd name="connsiteY285" fmla="*/ 280845 h 301024"/>
                <a:gd name="connsiteX286" fmla="*/ 41185 w 207175"/>
                <a:gd name="connsiteY286" fmla="*/ 281751 h 301024"/>
                <a:gd name="connsiteX287" fmla="*/ 40587 w 207175"/>
                <a:gd name="connsiteY287" fmla="*/ 287112 h 301024"/>
                <a:gd name="connsiteX288" fmla="*/ 40260 w 207175"/>
                <a:gd name="connsiteY288" fmla="*/ 287632 h 301024"/>
                <a:gd name="connsiteX289" fmla="*/ 44671 w 207175"/>
                <a:gd name="connsiteY289" fmla="*/ 289025 h 301024"/>
                <a:gd name="connsiteX290" fmla="*/ 52413 w 207175"/>
                <a:gd name="connsiteY290" fmla="*/ 285897 h 301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Lst>
              <a:rect l="l" t="t" r="r" b="b"/>
              <a:pathLst>
                <a:path w="207175" h="301024">
                  <a:moveTo>
                    <a:pt x="52413" y="285897"/>
                  </a:moveTo>
                  <a:lnTo>
                    <a:pt x="77471" y="293682"/>
                  </a:lnTo>
                  <a:lnTo>
                    <a:pt x="83169" y="300224"/>
                  </a:lnTo>
                  <a:lnTo>
                    <a:pt x="89484" y="301024"/>
                  </a:lnTo>
                  <a:lnTo>
                    <a:pt x="96079" y="298040"/>
                  </a:lnTo>
                  <a:lnTo>
                    <a:pt x="96864" y="298599"/>
                  </a:lnTo>
                  <a:lnTo>
                    <a:pt x="96898" y="298272"/>
                  </a:lnTo>
                  <a:lnTo>
                    <a:pt x="101632" y="292313"/>
                  </a:lnTo>
                  <a:lnTo>
                    <a:pt x="101844" y="292096"/>
                  </a:lnTo>
                  <a:lnTo>
                    <a:pt x="107769" y="286736"/>
                  </a:lnTo>
                  <a:lnTo>
                    <a:pt x="109808" y="286451"/>
                  </a:lnTo>
                  <a:lnTo>
                    <a:pt x="112204" y="287666"/>
                  </a:lnTo>
                  <a:lnTo>
                    <a:pt x="112749" y="288071"/>
                  </a:lnTo>
                  <a:lnTo>
                    <a:pt x="117227" y="293099"/>
                  </a:lnTo>
                  <a:lnTo>
                    <a:pt x="120505" y="294434"/>
                  </a:lnTo>
                  <a:lnTo>
                    <a:pt x="120867" y="290544"/>
                  </a:lnTo>
                  <a:lnTo>
                    <a:pt x="119739" y="284865"/>
                  </a:lnTo>
                  <a:lnTo>
                    <a:pt x="119695" y="284504"/>
                  </a:lnTo>
                  <a:lnTo>
                    <a:pt x="119695" y="282734"/>
                  </a:lnTo>
                  <a:lnTo>
                    <a:pt x="115704" y="277234"/>
                  </a:lnTo>
                  <a:lnTo>
                    <a:pt x="114918" y="276925"/>
                  </a:lnTo>
                  <a:lnTo>
                    <a:pt x="108820" y="271372"/>
                  </a:lnTo>
                  <a:lnTo>
                    <a:pt x="103479" y="270822"/>
                  </a:lnTo>
                  <a:lnTo>
                    <a:pt x="102129" y="270013"/>
                  </a:lnTo>
                  <a:lnTo>
                    <a:pt x="101941" y="268431"/>
                  </a:lnTo>
                  <a:lnTo>
                    <a:pt x="103753" y="263447"/>
                  </a:lnTo>
                  <a:lnTo>
                    <a:pt x="98749" y="261181"/>
                  </a:lnTo>
                  <a:lnTo>
                    <a:pt x="97703" y="259889"/>
                  </a:lnTo>
                  <a:lnTo>
                    <a:pt x="98137" y="258303"/>
                  </a:lnTo>
                  <a:lnTo>
                    <a:pt x="103498" y="252345"/>
                  </a:lnTo>
                  <a:lnTo>
                    <a:pt x="103985" y="251969"/>
                  </a:lnTo>
                  <a:lnTo>
                    <a:pt x="110425" y="248455"/>
                  </a:lnTo>
                  <a:lnTo>
                    <a:pt x="115439" y="244935"/>
                  </a:lnTo>
                  <a:lnTo>
                    <a:pt x="114990" y="239864"/>
                  </a:lnTo>
                  <a:lnTo>
                    <a:pt x="111630" y="234262"/>
                  </a:lnTo>
                  <a:lnTo>
                    <a:pt x="111558" y="234156"/>
                  </a:lnTo>
                  <a:lnTo>
                    <a:pt x="108574" y="228183"/>
                  </a:lnTo>
                  <a:lnTo>
                    <a:pt x="108391" y="227542"/>
                  </a:lnTo>
                  <a:lnTo>
                    <a:pt x="107774" y="221010"/>
                  </a:lnTo>
                  <a:lnTo>
                    <a:pt x="108425" y="219477"/>
                  </a:lnTo>
                  <a:lnTo>
                    <a:pt x="112209" y="216136"/>
                  </a:lnTo>
                  <a:lnTo>
                    <a:pt x="110657" y="212227"/>
                  </a:lnTo>
                  <a:lnTo>
                    <a:pt x="104954" y="210679"/>
                  </a:lnTo>
                  <a:cubicBezTo>
                    <a:pt x="104149" y="210477"/>
                    <a:pt x="103599" y="209739"/>
                    <a:pt x="103614" y="208891"/>
                  </a:cubicBezTo>
                  <a:cubicBezTo>
                    <a:pt x="103657" y="208052"/>
                    <a:pt x="104250" y="207334"/>
                    <a:pt x="105098" y="207126"/>
                  </a:cubicBezTo>
                  <a:lnTo>
                    <a:pt x="110912" y="205984"/>
                  </a:lnTo>
                  <a:lnTo>
                    <a:pt x="116630" y="203897"/>
                  </a:lnTo>
                  <a:lnTo>
                    <a:pt x="116928" y="203357"/>
                  </a:lnTo>
                  <a:lnTo>
                    <a:pt x="117112" y="203043"/>
                  </a:lnTo>
                  <a:lnTo>
                    <a:pt x="121768" y="197225"/>
                  </a:lnTo>
                  <a:lnTo>
                    <a:pt x="123316" y="194091"/>
                  </a:lnTo>
                  <a:lnTo>
                    <a:pt x="119744" y="194091"/>
                  </a:lnTo>
                  <a:lnTo>
                    <a:pt x="118206" y="193257"/>
                  </a:lnTo>
                  <a:lnTo>
                    <a:pt x="114349" y="187207"/>
                  </a:lnTo>
                  <a:lnTo>
                    <a:pt x="108945" y="184999"/>
                  </a:lnTo>
                  <a:lnTo>
                    <a:pt x="107783" y="183346"/>
                  </a:lnTo>
                  <a:lnTo>
                    <a:pt x="107783" y="181557"/>
                  </a:lnTo>
                  <a:cubicBezTo>
                    <a:pt x="107783" y="180627"/>
                    <a:pt x="108492" y="179846"/>
                    <a:pt x="109418" y="179764"/>
                  </a:cubicBezTo>
                  <a:lnTo>
                    <a:pt x="114778" y="179162"/>
                  </a:lnTo>
                  <a:lnTo>
                    <a:pt x="116022" y="179455"/>
                  </a:lnTo>
                  <a:lnTo>
                    <a:pt x="121648" y="183399"/>
                  </a:lnTo>
                  <a:lnTo>
                    <a:pt x="127235" y="184440"/>
                  </a:lnTo>
                  <a:lnTo>
                    <a:pt x="133266" y="181663"/>
                  </a:lnTo>
                  <a:lnTo>
                    <a:pt x="133690" y="181557"/>
                  </a:lnTo>
                  <a:lnTo>
                    <a:pt x="138978" y="180603"/>
                  </a:lnTo>
                  <a:lnTo>
                    <a:pt x="139335" y="178366"/>
                  </a:lnTo>
                  <a:lnTo>
                    <a:pt x="139899" y="172133"/>
                  </a:lnTo>
                  <a:lnTo>
                    <a:pt x="138944" y="167206"/>
                  </a:lnTo>
                  <a:lnTo>
                    <a:pt x="133020" y="163460"/>
                  </a:lnTo>
                  <a:lnTo>
                    <a:pt x="132191" y="161817"/>
                  </a:lnTo>
                  <a:lnTo>
                    <a:pt x="133222" y="160289"/>
                  </a:lnTo>
                  <a:lnTo>
                    <a:pt x="139152" y="157314"/>
                  </a:lnTo>
                  <a:lnTo>
                    <a:pt x="139957" y="157121"/>
                  </a:lnTo>
                  <a:lnTo>
                    <a:pt x="148865" y="157121"/>
                  </a:lnTo>
                  <a:lnTo>
                    <a:pt x="149825" y="157391"/>
                  </a:lnTo>
                  <a:lnTo>
                    <a:pt x="153773" y="159744"/>
                  </a:lnTo>
                  <a:lnTo>
                    <a:pt x="154887" y="156041"/>
                  </a:lnTo>
                  <a:lnTo>
                    <a:pt x="154949" y="155892"/>
                  </a:lnTo>
                  <a:lnTo>
                    <a:pt x="157143" y="150329"/>
                  </a:lnTo>
                  <a:lnTo>
                    <a:pt x="156603" y="144236"/>
                  </a:lnTo>
                  <a:lnTo>
                    <a:pt x="156603" y="143917"/>
                  </a:lnTo>
                  <a:cubicBezTo>
                    <a:pt x="160662" y="119573"/>
                    <a:pt x="151131" y="132396"/>
                    <a:pt x="156661" y="117408"/>
                  </a:cubicBezTo>
                  <a:lnTo>
                    <a:pt x="157119" y="116608"/>
                  </a:lnTo>
                  <a:lnTo>
                    <a:pt x="159476" y="114241"/>
                  </a:lnTo>
                  <a:lnTo>
                    <a:pt x="164644" y="108490"/>
                  </a:lnTo>
                  <a:lnTo>
                    <a:pt x="168110" y="102151"/>
                  </a:lnTo>
                  <a:lnTo>
                    <a:pt x="169378" y="101211"/>
                  </a:lnTo>
                  <a:lnTo>
                    <a:pt x="170877" y="101596"/>
                  </a:lnTo>
                  <a:lnTo>
                    <a:pt x="177419" y="106947"/>
                  </a:lnTo>
                  <a:lnTo>
                    <a:pt x="178079" y="108524"/>
                  </a:lnTo>
                  <a:lnTo>
                    <a:pt x="177481" y="115075"/>
                  </a:lnTo>
                  <a:cubicBezTo>
                    <a:pt x="177409" y="116020"/>
                    <a:pt x="176599" y="116733"/>
                    <a:pt x="175669" y="116733"/>
                  </a:cubicBezTo>
                  <a:lnTo>
                    <a:pt x="171928" y="116733"/>
                  </a:lnTo>
                  <a:lnTo>
                    <a:pt x="172473" y="119409"/>
                  </a:lnTo>
                  <a:lnTo>
                    <a:pt x="177930" y="120889"/>
                  </a:lnTo>
                  <a:lnTo>
                    <a:pt x="179140" y="121974"/>
                  </a:lnTo>
                  <a:lnTo>
                    <a:pt x="180383" y="125097"/>
                  </a:lnTo>
                  <a:lnTo>
                    <a:pt x="180798" y="124639"/>
                  </a:lnTo>
                  <a:lnTo>
                    <a:pt x="179270" y="119582"/>
                  </a:lnTo>
                  <a:lnTo>
                    <a:pt x="179482" y="118117"/>
                  </a:lnTo>
                  <a:lnTo>
                    <a:pt x="183652" y="111551"/>
                  </a:lnTo>
                  <a:cubicBezTo>
                    <a:pt x="184143" y="110746"/>
                    <a:pt x="185146" y="110491"/>
                    <a:pt x="185975" y="110915"/>
                  </a:cubicBezTo>
                  <a:lnTo>
                    <a:pt x="191938" y="113870"/>
                  </a:lnTo>
                  <a:lnTo>
                    <a:pt x="192773" y="114757"/>
                  </a:lnTo>
                  <a:lnTo>
                    <a:pt x="193418" y="116184"/>
                  </a:lnTo>
                  <a:cubicBezTo>
                    <a:pt x="194494" y="106581"/>
                    <a:pt x="200433" y="104576"/>
                    <a:pt x="205417" y="96954"/>
                  </a:cubicBezTo>
                  <a:cubicBezTo>
                    <a:pt x="205099" y="87014"/>
                    <a:pt x="211159" y="83924"/>
                    <a:pt x="202457" y="74166"/>
                  </a:cubicBezTo>
                  <a:lnTo>
                    <a:pt x="196942" y="72156"/>
                  </a:lnTo>
                  <a:lnTo>
                    <a:pt x="191490" y="73231"/>
                  </a:lnTo>
                  <a:lnTo>
                    <a:pt x="191312" y="73265"/>
                  </a:lnTo>
                  <a:lnTo>
                    <a:pt x="185508" y="73858"/>
                  </a:lnTo>
                  <a:lnTo>
                    <a:pt x="179096" y="75613"/>
                  </a:lnTo>
                  <a:lnTo>
                    <a:pt x="178103" y="75584"/>
                  </a:lnTo>
                  <a:lnTo>
                    <a:pt x="172154" y="73800"/>
                  </a:lnTo>
                  <a:lnTo>
                    <a:pt x="171624" y="73535"/>
                  </a:lnTo>
                  <a:lnTo>
                    <a:pt x="165695" y="69375"/>
                  </a:lnTo>
                  <a:lnTo>
                    <a:pt x="165044" y="68555"/>
                  </a:lnTo>
                  <a:lnTo>
                    <a:pt x="163564" y="64925"/>
                  </a:lnTo>
                  <a:lnTo>
                    <a:pt x="159380" y="68338"/>
                  </a:lnTo>
                  <a:lnTo>
                    <a:pt x="157764" y="73757"/>
                  </a:lnTo>
                  <a:lnTo>
                    <a:pt x="157721" y="73858"/>
                  </a:lnTo>
                  <a:lnTo>
                    <a:pt x="156646" y="76842"/>
                  </a:lnTo>
                  <a:lnTo>
                    <a:pt x="156646" y="76987"/>
                  </a:lnTo>
                  <a:lnTo>
                    <a:pt x="156521" y="77502"/>
                  </a:lnTo>
                  <a:lnTo>
                    <a:pt x="155407" y="80279"/>
                  </a:lnTo>
                  <a:lnTo>
                    <a:pt x="155349" y="80404"/>
                  </a:lnTo>
                  <a:lnTo>
                    <a:pt x="155349" y="80404"/>
                  </a:lnTo>
                  <a:lnTo>
                    <a:pt x="155335" y="80448"/>
                  </a:lnTo>
                  <a:cubicBezTo>
                    <a:pt x="154983" y="81388"/>
                    <a:pt x="153922" y="81836"/>
                    <a:pt x="152978" y="81489"/>
                  </a:cubicBezTo>
                  <a:cubicBezTo>
                    <a:pt x="152081" y="81147"/>
                    <a:pt x="151584" y="80130"/>
                    <a:pt x="151927" y="79170"/>
                  </a:cubicBezTo>
                  <a:lnTo>
                    <a:pt x="153079" y="76013"/>
                  </a:lnTo>
                  <a:lnTo>
                    <a:pt x="153609" y="70127"/>
                  </a:lnTo>
                  <a:lnTo>
                    <a:pt x="153807" y="69462"/>
                  </a:lnTo>
                  <a:lnTo>
                    <a:pt x="156786" y="63489"/>
                  </a:lnTo>
                  <a:lnTo>
                    <a:pt x="157263" y="62896"/>
                  </a:lnTo>
                  <a:lnTo>
                    <a:pt x="162850" y="58432"/>
                  </a:lnTo>
                  <a:lnTo>
                    <a:pt x="164243" y="55221"/>
                  </a:lnTo>
                  <a:lnTo>
                    <a:pt x="163458" y="51249"/>
                  </a:lnTo>
                  <a:lnTo>
                    <a:pt x="152447" y="51249"/>
                  </a:lnTo>
                  <a:lnTo>
                    <a:pt x="151507" y="51003"/>
                  </a:lnTo>
                  <a:lnTo>
                    <a:pt x="150037" y="50121"/>
                  </a:lnTo>
                  <a:lnTo>
                    <a:pt x="149695" y="50439"/>
                  </a:lnTo>
                  <a:lnTo>
                    <a:pt x="146176" y="52227"/>
                  </a:lnTo>
                  <a:lnTo>
                    <a:pt x="140304" y="55766"/>
                  </a:lnTo>
                  <a:lnTo>
                    <a:pt x="140169" y="55799"/>
                  </a:lnTo>
                  <a:cubicBezTo>
                    <a:pt x="136433" y="58017"/>
                    <a:pt x="131352" y="59150"/>
                    <a:pt x="127134" y="57771"/>
                  </a:cubicBezTo>
                  <a:cubicBezTo>
                    <a:pt x="126237" y="57612"/>
                    <a:pt x="125601" y="56831"/>
                    <a:pt x="125625" y="55910"/>
                  </a:cubicBezTo>
                  <a:cubicBezTo>
                    <a:pt x="125673" y="55009"/>
                    <a:pt x="126348" y="54252"/>
                    <a:pt x="127254" y="54175"/>
                  </a:cubicBezTo>
                  <a:lnTo>
                    <a:pt x="132813" y="53621"/>
                  </a:lnTo>
                  <a:lnTo>
                    <a:pt x="138400" y="50294"/>
                  </a:lnTo>
                  <a:lnTo>
                    <a:pt x="141904" y="47932"/>
                  </a:lnTo>
                  <a:lnTo>
                    <a:pt x="142228" y="47749"/>
                  </a:lnTo>
                  <a:lnTo>
                    <a:pt x="151170" y="44186"/>
                  </a:lnTo>
                  <a:lnTo>
                    <a:pt x="152028" y="44052"/>
                  </a:lnTo>
                  <a:lnTo>
                    <a:pt x="157962" y="44654"/>
                  </a:lnTo>
                  <a:lnTo>
                    <a:pt x="161573" y="44972"/>
                  </a:lnTo>
                  <a:cubicBezTo>
                    <a:pt x="156289" y="34723"/>
                    <a:pt x="158680" y="21182"/>
                    <a:pt x="156328" y="12162"/>
                  </a:cubicBezTo>
                  <a:lnTo>
                    <a:pt x="150644" y="10090"/>
                  </a:lnTo>
                  <a:lnTo>
                    <a:pt x="149960" y="9685"/>
                  </a:lnTo>
                  <a:lnTo>
                    <a:pt x="144088" y="3784"/>
                  </a:lnTo>
                  <a:lnTo>
                    <a:pt x="139373" y="0"/>
                  </a:lnTo>
                  <a:lnTo>
                    <a:pt x="136939" y="2044"/>
                  </a:lnTo>
                  <a:lnTo>
                    <a:pt x="136356" y="2372"/>
                  </a:lnTo>
                  <a:lnTo>
                    <a:pt x="134558" y="2974"/>
                  </a:lnTo>
                  <a:lnTo>
                    <a:pt x="134336" y="3013"/>
                  </a:lnTo>
                  <a:lnTo>
                    <a:pt x="128397" y="4199"/>
                  </a:lnTo>
                  <a:lnTo>
                    <a:pt x="127891" y="4257"/>
                  </a:lnTo>
                  <a:lnTo>
                    <a:pt x="121768" y="3678"/>
                  </a:lnTo>
                  <a:lnTo>
                    <a:pt x="116798" y="5679"/>
                  </a:lnTo>
                  <a:lnTo>
                    <a:pt x="113535" y="11092"/>
                  </a:lnTo>
                  <a:cubicBezTo>
                    <a:pt x="113067" y="11864"/>
                    <a:pt x="112127" y="12182"/>
                    <a:pt x="111307" y="11825"/>
                  </a:cubicBezTo>
                  <a:cubicBezTo>
                    <a:pt x="96142" y="4999"/>
                    <a:pt x="89662" y="6035"/>
                    <a:pt x="81323" y="20527"/>
                  </a:cubicBezTo>
                  <a:lnTo>
                    <a:pt x="83314" y="25564"/>
                  </a:lnTo>
                  <a:lnTo>
                    <a:pt x="83347" y="26731"/>
                  </a:lnTo>
                  <a:lnTo>
                    <a:pt x="81650" y="32458"/>
                  </a:lnTo>
                  <a:lnTo>
                    <a:pt x="81650" y="38209"/>
                  </a:lnTo>
                  <a:lnTo>
                    <a:pt x="84977" y="43733"/>
                  </a:lnTo>
                  <a:lnTo>
                    <a:pt x="85198" y="44857"/>
                  </a:lnTo>
                  <a:lnTo>
                    <a:pt x="84871" y="48376"/>
                  </a:lnTo>
                  <a:lnTo>
                    <a:pt x="88385" y="47657"/>
                  </a:lnTo>
                  <a:cubicBezTo>
                    <a:pt x="89301" y="47464"/>
                    <a:pt x="90188" y="47980"/>
                    <a:pt x="90472" y="48863"/>
                  </a:cubicBezTo>
                  <a:lnTo>
                    <a:pt x="91075" y="50637"/>
                  </a:lnTo>
                  <a:lnTo>
                    <a:pt x="91186" y="51205"/>
                  </a:lnTo>
                  <a:lnTo>
                    <a:pt x="91186" y="57771"/>
                  </a:lnTo>
                  <a:lnTo>
                    <a:pt x="91133" y="58133"/>
                  </a:lnTo>
                  <a:lnTo>
                    <a:pt x="90106" y="63296"/>
                  </a:lnTo>
                  <a:lnTo>
                    <a:pt x="94420" y="69211"/>
                  </a:lnTo>
                  <a:lnTo>
                    <a:pt x="94502" y="71187"/>
                  </a:lnTo>
                  <a:lnTo>
                    <a:pt x="92748" y="72084"/>
                  </a:lnTo>
                  <a:lnTo>
                    <a:pt x="86799" y="71481"/>
                  </a:lnTo>
                  <a:lnTo>
                    <a:pt x="85227" y="70199"/>
                  </a:lnTo>
                  <a:lnTo>
                    <a:pt x="83477" y="64328"/>
                  </a:lnTo>
                  <a:lnTo>
                    <a:pt x="81414" y="59198"/>
                  </a:lnTo>
                  <a:lnTo>
                    <a:pt x="78430" y="57983"/>
                  </a:lnTo>
                  <a:lnTo>
                    <a:pt x="78054" y="61536"/>
                  </a:lnTo>
                  <a:lnTo>
                    <a:pt x="77403" y="62765"/>
                  </a:lnTo>
                  <a:lnTo>
                    <a:pt x="71445" y="67538"/>
                  </a:lnTo>
                  <a:lnTo>
                    <a:pt x="69599" y="67798"/>
                  </a:lnTo>
                  <a:lnTo>
                    <a:pt x="68504" y="66265"/>
                  </a:lnTo>
                  <a:lnTo>
                    <a:pt x="67892" y="59728"/>
                  </a:lnTo>
                  <a:lnTo>
                    <a:pt x="68152" y="58629"/>
                  </a:lnTo>
                  <a:lnTo>
                    <a:pt x="71729" y="52676"/>
                  </a:lnTo>
                  <a:lnTo>
                    <a:pt x="71864" y="52483"/>
                  </a:lnTo>
                  <a:lnTo>
                    <a:pt x="75967" y="47378"/>
                  </a:lnTo>
                  <a:lnTo>
                    <a:pt x="74000" y="42374"/>
                  </a:lnTo>
                  <a:lnTo>
                    <a:pt x="72101" y="37717"/>
                  </a:lnTo>
                  <a:lnTo>
                    <a:pt x="67526" y="38146"/>
                  </a:lnTo>
                  <a:lnTo>
                    <a:pt x="67352" y="38170"/>
                  </a:lnTo>
                  <a:lnTo>
                    <a:pt x="62204" y="38170"/>
                  </a:lnTo>
                  <a:lnTo>
                    <a:pt x="58082" y="42764"/>
                  </a:lnTo>
                  <a:lnTo>
                    <a:pt x="59557" y="47730"/>
                  </a:lnTo>
                  <a:cubicBezTo>
                    <a:pt x="59851" y="48636"/>
                    <a:pt x="59384" y="49605"/>
                    <a:pt x="58511" y="49933"/>
                  </a:cubicBezTo>
                  <a:lnTo>
                    <a:pt x="53078" y="52117"/>
                  </a:lnTo>
                  <a:lnTo>
                    <a:pt x="49226" y="57593"/>
                  </a:lnTo>
                  <a:lnTo>
                    <a:pt x="46237" y="62568"/>
                  </a:lnTo>
                  <a:lnTo>
                    <a:pt x="49318" y="68203"/>
                  </a:lnTo>
                  <a:lnTo>
                    <a:pt x="49482" y="69539"/>
                  </a:lnTo>
                  <a:lnTo>
                    <a:pt x="48874" y="71920"/>
                  </a:lnTo>
                  <a:lnTo>
                    <a:pt x="48807" y="72190"/>
                  </a:lnTo>
                  <a:lnTo>
                    <a:pt x="45784" y="78746"/>
                  </a:lnTo>
                  <a:lnTo>
                    <a:pt x="44145" y="79831"/>
                  </a:lnTo>
                  <a:lnTo>
                    <a:pt x="38197" y="79831"/>
                  </a:lnTo>
                  <a:cubicBezTo>
                    <a:pt x="37392" y="79831"/>
                    <a:pt x="36688" y="79315"/>
                    <a:pt x="36461" y="78544"/>
                  </a:cubicBezTo>
                  <a:lnTo>
                    <a:pt x="34721" y="72682"/>
                  </a:lnTo>
                  <a:lnTo>
                    <a:pt x="33193" y="69360"/>
                  </a:lnTo>
                  <a:cubicBezTo>
                    <a:pt x="32759" y="69616"/>
                    <a:pt x="32248" y="69813"/>
                    <a:pt x="31737" y="69616"/>
                  </a:cubicBezTo>
                  <a:lnTo>
                    <a:pt x="25769" y="67866"/>
                  </a:lnTo>
                  <a:lnTo>
                    <a:pt x="25668" y="67813"/>
                  </a:lnTo>
                  <a:lnTo>
                    <a:pt x="19439" y="65542"/>
                  </a:lnTo>
                  <a:lnTo>
                    <a:pt x="13799" y="65542"/>
                  </a:lnTo>
                  <a:lnTo>
                    <a:pt x="12271" y="64718"/>
                  </a:lnTo>
                  <a:lnTo>
                    <a:pt x="8091" y="58176"/>
                  </a:lnTo>
                  <a:lnTo>
                    <a:pt x="8077" y="58114"/>
                  </a:lnTo>
                  <a:lnTo>
                    <a:pt x="6389" y="55327"/>
                  </a:lnTo>
                  <a:cubicBezTo>
                    <a:pt x="416" y="72663"/>
                    <a:pt x="4620" y="78520"/>
                    <a:pt x="2528" y="95291"/>
                  </a:cubicBezTo>
                  <a:cubicBezTo>
                    <a:pt x="3584" y="101702"/>
                    <a:pt x="2967" y="108162"/>
                    <a:pt x="3097" y="114651"/>
                  </a:cubicBezTo>
                  <a:lnTo>
                    <a:pt x="1901" y="121173"/>
                  </a:lnTo>
                  <a:lnTo>
                    <a:pt x="725" y="127652"/>
                  </a:lnTo>
                  <a:lnTo>
                    <a:pt x="180" y="133109"/>
                  </a:lnTo>
                  <a:lnTo>
                    <a:pt x="219" y="133235"/>
                  </a:lnTo>
                  <a:lnTo>
                    <a:pt x="2600" y="127329"/>
                  </a:lnTo>
                  <a:lnTo>
                    <a:pt x="3617" y="126293"/>
                  </a:lnTo>
                  <a:lnTo>
                    <a:pt x="5083" y="126379"/>
                  </a:lnTo>
                  <a:lnTo>
                    <a:pt x="11051" y="129349"/>
                  </a:lnTo>
                  <a:lnTo>
                    <a:pt x="11789" y="130043"/>
                  </a:lnTo>
                  <a:lnTo>
                    <a:pt x="15371" y="136011"/>
                  </a:lnTo>
                  <a:lnTo>
                    <a:pt x="15616" y="136725"/>
                  </a:lnTo>
                  <a:lnTo>
                    <a:pt x="16161" y="142264"/>
                  </a:lnTo>
                  <a:lnTo>
                    <a:pt x="20099" y="148449"/>
                  </a:lnTo>
                  <a:lnTo>
                    <a:pt x="20287" y="148902"/>
                  </a:lnTo>
                  <a:lnTo>
                    <a:pt x="22081" y="154836"/>
                  </a:lnTo>
                  <a:lnTo>
                    <a:pt x="21512" y="156755"/>
                  </a:lnTo>
                  <a:lnTo>
                    <a:pt x="17347" y="160312"/>
                  </a:lnTo>
                  <a:lnTo>
                    <a:pt x="17299" y="160361"/>
                  </a:lnTo>
                  <a:lnTo>
                    <a:pt x="11365" y="165128"/>
                  </a:lnTo>
                  <a:lnTo>
                    <a:pt x="9865" y="165485"/>
                  </a:lnTo>
                  <a:lnTo>
                    <a:pt x="3883" y="146867"/>
                  </a:lnTo>
                  <a:cubicBezTo>
                    <a:pt x="4423" y="152195"/>
                    <a:pt x="5637" y="175001"/>
                    <a:pt x="5406" y="179711"/>
                  </a:cubicBezTo>
                  <a:cubicBezTo>
                    <a:pt x="1921" y="197948"/>
                    <a:pt x="-6140" y="197692"/>
                    <a:pt x="8298" y="206755"/>
                  </a:cubicBezTo>
                  <a:lnTo>
                    <a:pt x="5613" y="201419"/>
                  </a:lnTo>
                  <a:lnTo>
                    <a:pt x="5522" y="200021"/>
                  </a:lnTo>
                  <a:lnTo>
                    <a:pt x="6428" y="198950"/>
                  </a:lnTo>
                  <a:lnTo>
                    <a:pt x="12386" y="196000"/>
                  </a:lnTo>
                  <a:lnTo>
                    <a:pt x="14074" y="196020"/>
                  </a:lnTo>
                  <a:lnTo>
                    <a:pt x="15004" y="197422"/>
                  </a:lnTo>
                  <a:lnTo>
                    <a:pt x="15534" y="202267"/>
                  </a:lnTo>
                  <a:lnTo>
                    <a:pt x="19907" y="207710"/>
                  </a:lnTo>
                  <a:lnTo>
                    <a:pt x="25306" y="213128"/>
                  </a:lnTo>
                  <a:lnTo>
                    <a:pt x="31785" y="213663"/>
                  </a:lnTo>
                  <a:lnTo>
                    <a:pt x="32908" y="214193"/>
                  </a:lnTo>
                  <a:lnTo>
                    <a:pt x="38891" y="220147"/>
                  </a:lnTo>
                  <a:lnTo>
                    <a:pt x="39411" y="221280"/>
                  </a:lnTo>
                  <a:lnTo>
                    <a:pt x="39990" y="227663"/>
                  </a:lnTo>
                  <a:lnTo>
                    <a:pt x="41137" y="232310"/>
                  </a:lnTo>
                  <a:lnTo>
                    <a:pt x="41152" y="233091"/>
                  </a:lnTo>
                  <a:lnTo>
                    <a:pt x="40028" y="238803"/>
                  </a:lnTo>
                  <a:lnTo>
                    <a:pt x="40587" y="244959"/>
                  </a:lnTo>
                  <a:lnTo>
                    <a:pt x="41754" y="250845"/>
                  </a:lnTo>
                  <a:lnTo>
                    <a:pt x="41672" y="251795"/>
                  </a:lnTo>
                  <a:lnTo>
                    <a:pt x="39310" y="258366"/>
                  </a:lnTo>
                  <a:cubicBezTo>
                    <a:pt x="39122" y="258853"/>
                    <a:pt x="38712" y="259180"/>
                    <a:pt x="38225" y="259388"/>
                  </a:cubicBezTo>
                  <a:lnTo>
                    <a:pt x="40072" y="261215"/>
                  </a:lnTo>
                  <a:lnTo>
                    <a:pt x="40578" y="262820"/>
                  </a:lnTo>
                  <a:lnTo>
                    <a:pt x="39397" y="269289"/>
                  </a:lnTo>
                  <a:lnTo>
                    <a:pt x="38852" y="275286"/>
                  </a:lnTo>
                  <a:lnTo>
                    <a:pt x="41089" y="280845"/>
                  </a:lnTo>
                  <a:lnTo>
                    <a:pt x="41185" y="281751"/>
                  </a:lnTo>
                  <a:lnTo>
                    <a:pt x="40587" y="287112"/>
                  </a:lnTo>
                  <a:lnTo>
                    <a:pt x="40260" y="287632"/>
                  </a:lnTo>
                  <a:lnTo>
                    <a:pt x="44671" y="289025"/>
                  </a:lnTo>
                  <a:lnTo>
                    <a:pt x="52413" y="28589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26" name="Freihandform: Form 625">
              <a:extLst>
                <a:ext uri="{FF2B5EF4-FFF2-40B4-BE49-F238E27FC236}">
                  <a16:creationId xmlns:a16="http://schemas.microsoft.com/office/drawing/2014/main" id="{8F144134-EF81-AA66-76E6-864003DB16E5}"/>
                </a:ext>
              </a:extLst>
            </p:cNvPr>
            <p:cNvSpPr/>
            <p:nvPr/>
          </p:nvSpPr>
          <p:spPr>
            <a:xfrm>
              <a:off x="7469069" y="5380104"/>
              <a:ext cx="366671" cy="377839"/>
            </a:xfrm>
            <a:custGeom>
              <a:avLst/>
              <a:gdLst>
                <a:gd name="connsiteX0" fmla="*/ 144014 w 287801"/>
                <a:gd name="connsiteY0" fmla="*/ 328 h 295938"/>
                <a:gd name="connsiteX1" fmla="*/ 138070 w 287801"/>
                <a:gd name="connsiteY1" fmla="*/ 2039 h 295938"/>
                <a:gd name="connsiteX2" fmla="*/ 139757 w 287801"/>
                <a:gd name="connsiteY2" fmla="*/ 9381 h 295938"/>
                <a:gd name="connsiteX3" fmla="*/ 128646 w 287801"/>
                <a:gd name="connsiteY3" fmla="*/ 7674 h 295938"/>
                <a:gd name="connsiteX4" fmla="*/ 118681 w 287801"/>
                <a:gd name="connsiteY4" fmla="*/ 14019 h 295938"/>
                <a:gd name="connsiteX5" fmla="*/ 101389 w 287801"/>
                <a:gd name="connsiteY5" fmla="*/ 14510 h 295938"/>
                <a:gd name="connsiteX6" fmla="*/ 95334 w 287801"/>
                <a:gd name="connsiteY6" fmla="*/ 11415 h 295938"/>
                <a:gd name="connsiteX7" fmla="*/ 90046 w 287801"/>
                <a:gd name="connsiteY7" fmla="*/ 4305 h 295938"/>
                <a:gd name="connsiteX8" fmla="*/ 83953 w 287801"/>
                <a:gd name="connsiteY8" fmla="*/ 2121 h 295938"/>
                <a:gd name="connsiteX9" fmla="*/ 77454 w 287801"/>
                <a:gd name="connsiteY9" fmla="*/ 2497 h 295938"/>
                <a:gd name="connsiteX10" fmla="*/ 74673 w 287801"/>
                <a:gd name="connsiteY10" fmla="*/ 8571 h 295938"/>
                <a:gd name="connsiteX11" fmla="*/ 68965 w 287801"/>
                <a:gd name="connsiteY11" fmla="*/ 9873 h 295938"/>
                <a:gd name="connsiteX12" fmla="*/ 61985 w 287801"/>
                <a:gd name="connsiteY12" fmla="*/ 8195 h 295938"/>
                <a:gd name="connsiteX13" fmla="*/ 54623 w 287801"/>
                <a:gd name="connsiteY13" fmla="*/ 17494 h 295938"/>
                <a:gd name="connsiteX14" fmla="*/ 49986 w 287801"/>
                <a:gd name="connsiteY14" fmla="*/ 24557 h 295938"/>
                <a:gd name="connsiteX15" fmla="*/ 40832 w 287801"/>
                <a:gd name="connsiteY15" fmla="*/ 28992 h 295938"/>
                <a:gd name="connsiteX16" fmla="*/ 25603 w 287801"/>
                <a:gd name="connsiteY16" fmla="*/ 33629 h 295938"/>
                <a:gd name="connsiteX17" fmla="*/ 17316 w 287801"/>
                <a:gd name="connsiteY17" fmla="*/ 42138 h 295938"/>
                <a:gd name="connsiteX18" fmla="*/ 18444 w 287801"/>
                <a:gd name="connsiteY18" fmla="*/ 51847 h 295938"/>
                <a:gd name="connsiteX19" fmla="*/ 13069 w 287801"/>
                <a:gd name="connsiteY19" fmla="*/ 57015 h 295938"/>
                <a:gd name="connsiteX20" fmla="*/ 7221 w 287801"/>
                <a:gd name="connsiteY20" fmla="*/ 58302 h 295938"/>
                <a:gd name="connsiteX21" fmla="*/ 1552 w 287801"/>
                <a:gd name="connsiteY21" fmla="*/ 63595 h 295938"/>
                <a:gd name="connsiteX22" fmla="*/ 0 w 287801"/>
                <a:gd name="connsiteY22" fmla="*/ 70445 h 295938"/>
                <a:gd name="connsiteX23" fmla="*/ 3278 w 287801"/>
                <a:gd name="connsiteY23" fmla="*/ 74403 h 295938"/>
                <a:gd name="connsiteX24" fmla="*/ 5452 w 287801"/>
                <a:gd name="connsiteY24" fmla="*/ 73101 h 295938"/>
                <a:gd name="connsiteX25" fmla="*/ 3278 w 287801"/>
                <a:gd name="connsiteY25" fmla="*/ 74403 h 295938"/>
                <a:gd name="connsiteX26" fmla="*/ 4628 w 287801"/>
                <a:gd name="connsiteY26" fmla="*/ 75087 h 295938"/>
                <a:gd name="connsiteX27" fmla="*/ 17817 w 287801"/>
                <a:gd name="connsiteY27" fmla="*/ 77531 h 295938"/>
                <a:gd name="connsiteX28" fmla="*/ 23795 w 287801"/>
                <a:gd name="connsiteY28" fmla="*/ 82863 h 295938"/>
                <a:gd name="connsiteX29" fmla="*/ 29445 w 287801"/>
                <a:gd name="connsiteY29" fmla="*/ 82593 h 295938"/>
                <a:gd name="connsiteX30" fmla="*/ 31296 w 287801"/>
                <a:gd name="connsiteY30" fmla="*/ 88287 h 295938"/>
                <a:gd name="connsiteX31" fmla="*/ 36035 w 287801"/>
                <a:gd name="connsiteY31" fmla="*/ 99774 h 295938"/>
                <a:gd name="connsiteX32" fmla="*/ 40292 w 287801"/>
                <a:gd name="connsiteY32" fmla="*/ 106104 h 295938"/>
                <a:gd name="connsiteX33" fmla="*/ 41468 w 287801"/>
                <a:gd name="connsiteY33" fmla="*/ 115528 h 295938"/>
                <a:gd name="connsiteX34" fmla="*/ 25844 w 287801"/>
                <a:gd name="connsiteY34" fmla="*/ 130121 h 295938"/>
                <a:gd name="connsiteX35" fmla="*/ 18719 w 287801"/>
                <a:gd name="connsiteY35" fmla="*/ 134753 h 295938"/>
                <a:gd name="connsiteX36" fmla="*/ 16024 w 287801"/>
                <a:gd name="connsiteY36" fmla="*/ 141608 h 295938"/>
                <a:gd name="connsiteX37" fmla="*/ 16400 w 287801"/>
                <a:gd name="connsiteY37" fmla="*/ 147547 h 295938"/>
                <a:gd name="connsiteX38" fmla="*/ 19240 w 287801"/>
                <a:gd name="connsiteY38" fmla="*/ 159305 h 295938"/>
                <a:gd name="connsiteX39" fmla="*/ 25179 w 287801"/>
                <a:gd name="connsiteY39" fmla="*/ 163933 h 295938"/>
                <a:gd name="connsiteX40" fmla="*/ 24026 w 287801"/>
                <a:gd name="connsiteY40" fmla="*/ 169356 h 295938"/>
                <a:gd name="connsiteX41" fmla="*/ 24518 w 287801"/>
                <a:gd name="connsiteY41" fmla="*/ 175715 h 295938"/>
                <a:gd name="connsiteX42" fmla="*/ 21843 w 287801"/>
                <a:gd name="connsiteY42" fmla="*/ 182932 h 295938"/>
                <a:gd name="connsiteX43" fmla="*/ 16916 w 287801"/>
                <a:gd name="connsiteY43" fmla="*/ 186938 h 295938"/>
                <a:gd name="connsiteX44" fmla="*/ 16800 w 287801"/>
                <a:gd name="connsiteY44" fmla="*/ 192746 h 295938"/>
                <a:gd name="connsiteX45" fmla="*/ 11387 w 287801"/>
                <a:gd name="connsiteY45" fmla="*/ 199196 h 295938"/>
                <a:gd name="connsiteX46" fmla="*/ 10890 w 287801"/>
                <a:gd name="connsiteY46" fmla="*/ 205401 h 295938"/>
                <a:gd name="connsiteX47" fmla="*/ 4291 w 287801"/>
                <a:gd name="connsiteY47" fmla="*/ 211070 h 295938"/>
                <a:gd name="connsiteX48" fmla="*/ 3881 w 287801"/>
                <a:gd name="connsiteY48" fmla="*/ 211041 h 295938"/>
                <a:gd name="connsiteX49" fmla="*/ 3760 w 287801"/>
                <a:gd name="connsiteY49" fmla="*/ 211706 h 295938"/>
                <a:gd name="connsiteX50" fmla="*/ 6628 w 287801"/>
                <a:gd name="connsiteY50" fmla="*/ 214941 h 295938"/>
                <a:gd name="connsiteX51" fmla="*/ 7005 w 287801"/>
                <a:gd name="connsiteY51" fmla="*/ 215664 h 295938"/>
                <a:gd name="connsiteX52" fmla="*/ 8615 w 287801"/>
                <a:gd name="connsiteY52" fmla="*/ 221608 h 295938"/>
                <a:gd name="connsiteX53" fmla="*/ 14009 w 287801"/>
                <a:gd name="connsiteY53" fmla="*/ 225493 h 295938"/>
                <a:gd name="connsiteX54" fmla="*/ 19085 w 287801"/>
                <a:gd name="connsiteY54" fmla="*/ 224476 h 295938"/>
                <a:gd name="connsiteX55" fmla="*/ 24962 w 287801"/>
                <a:gd name="connsiteY55" fmla="*/ 222741 h 295938"/>
                <a:gd name="connsiteX56" fmla="*/ 25338 w 287801"/>
                <a:gd name="connsiteY56" fmla="*/ 222654 h 295938"/>
                <a:gd name="connsiteX57" fmla="*/ 31450 w 287801"/>
                <a:gd name="connsiteY57" fmla="*/ 222095 h 295938"/>
                <a:gd name="connsiteX58" fmla="*/ 37028 w 287801"/>
                <a:gd name="connsiteY58" fmla="*/ 218744 h 295938"/>
                <a:gd name="connsiteX59" fmla="*/ 37505 w 287801"/>
                <a:gd name="connsiteY59" fmla="*/ 218537 h 295938"/>
                <a:gd name="connsiteX60" fmla="*/ 61228 w 287801"/>
                <a:gd name="connsiteY60" fmla="*/ 209383 h 295938"/>
                <a:gd name="connsiteX61" fmla="*/ 61893 w 287801"/>
                <a:gd name="connsiteY61" fmla="*/ 209031 h 295938"/>
                <a:gd name="connsiteX62" fmla="*/ 68199 w 287801"/>
                <a:gd name="connsiteY62" fmla="*/ 207324 h 295938"/>
                <a:gd name="connsiteX63" fmla="*/ 73916 w 287801"/>
                <a:gd name="connsiteY63" fmla="*/ 203882 h 295938"/>
                <a:gd name="connsiteX64" fmla="*/ 74707 w 287801"/>
                <a:gd name="connsiteY64" fmla="*/ 203622 h 295938"/>
                <a:gd name="connsiteX65" fmla="*/ 80674 w 287801"/>
                <a:gd name="connsiteY65" fmla="*/ 203039 h 295938"/>
                <a:gd name="connsiteX66" fmla="*/ 82333 w 287801"/>
                <a:gd name="connsiteY66" fmla="*/ 203786 h 295938"/>
                <a:gd name="connsiteX67" fmla="*/ 86474 w 287801"/>
                <a:gd name="connsiteY67" fmla="*/ 209725 h 295938"/>
                <a:gd name="connsiteX68" fmla="*/ 86585 w 287801"/>
                <a:gd name="connsiteY68" fmla="*/ 211639 h 295938"/>
                <a:gd name="connsiteX69" fmla="*/ 82993 w 287801"/>
                <a:gd name="connsiteY69" fmla="*/ 218204 h 295938"/>
                <a:gd name="connsiteX70" fmla="*/ 82121 w 287801"/>
                <a:gd name="connsiteY70" fmla="*/ 219010 h 295938"/>
                <a:gd name="connsiteX71" fmla="*/ 76886 w 287801"/>
                <a:gd name="connsiteY71" fmla="*/ 221116 h 295938"/>
                <a:gd name="connsiteX72" fmla="*/ 74808 w 287801"/>
                <a:gd name="connsiteY72" fmla="*/ 226318 h 295938"/>
                <a:gd name="connsiteX73" fmla="*/ 73434 w 287801"/>
                <a:gd name="connsiteY73" fmla="*/ 227441 h 295938"/>
                <a:gd name="connsiteX74" fmla="*/ 67360 w 287801"/>
                <a:gd name="connsiteY74" fmla="*/ 228545 h 295938"/>
                <a:gd name="connsiteX75" fmla="*/ 61888 w 287801"/>
                <a:gd name="connsiteY75" fmla="*/ 233491 h 295938"/>
                <a:gd name="connsiteX76" fmla="*/ 56600 w 287801"/>
                <a:gd name="connsiteY76" fmla="*/ 239367 h 295938"/>
                <a:gd name="connsiteX77" fmla="*/ 56393 w 287801"/>
                <a:gd name="connsiteY77" fmla="*/ 239570 h 295938"/>
                <a:gd name="connsiteX78" fmla="*/ 50029 w 287801"/>
                <a:gd name="connsiteY78" fmla="*/ 244752 h 295938"/>
                <a:gd name="connsiteX79" fmla="*/ 45402 w 287801"/>
                <a:gd name="connsiteY79" fmla="*/ 251135 h 295938"/>
                <a:gd name="connsiteX80" fmla="*/ 45127 w 287801"/>
                <a:gd name="connsiteY80" fmla="*/ 251409 h 295938"/>
                <a:gd name="connsiteX81" fmla="*/ 39236 w 287801"/>
                <a:gd name="connsiteY81" fmla="*/ 256727 h 295938"/>
                <a:gd name="connsiteX82" fmla="*/ 35201 w 287801"/>
                <a:gd name="connsiteY82" fmla="*/ 260776 h 295938"/>
                <a:gd name="connsiteX83" fmla="*/ 40523 w 287801"/>
                <a:gd name="connsiteY83" fmla="*/ 266686 h 295938"/>
                <a:gd name="connsiteX84" fmla="*/ 40913 w 287801"/>
                <a:gd name="connsiteY84" fmla="*/ 267385 h 295938"/>
                <a:gd name="connsiteX85" fmla="*/ 42688 w 287801"/>
                <a:gd name="connsiteY85" fmla="*/ 273339 h 295938"/>
                <a:gd name="connsiteX86" fmla="*/ 42697 w 287801"/>
                <a:gd name="connsiteY86" fmla="*/ 274323 h 295938"/>
                <a:gd name="connsiteX87" fmla="*/ 37684 w 287801"/>
                <a:gd name="connsiteY87" fmla="*/ 295938 h 295938"/>
                <a:gd name="connsiteX88" fmla="*/ 40422 w 287801"/>
                <a:gd name="connsiteY88" fmla="*/ 294974 h 295938"/>
                <a:gd name="connsiteX89" fmla="*/ 44799 w 287801"/>
                <a:gd name="connsiteY89" fmla="*/ 288862 h 295938"/>
                <a:gd name="connsiteX90" fmla="*/ 48660 w 287801"/>
                <a:gd name="connsiteY90" fmla="*/ 283414 h 295938"/>
                <a:gd name="connsiteX91" fmla="*/ 48660 w 287801"/>
                <a:gd name="connsiteY91" fmla="*/ 278044 h 295938"/>
                <a:gd name="connsiteX92" fmla="*/ 48684 w 287801"/>
                <a:gd name="connsiteY92" fmla="*/ 277557 h 295938"/>
                <a:gd name="connsiteX93" fmla="*/ 50512 w 287801"/>
                <a:gd name="connsiteY93" fmla="*/ 271020 h 295938"/>
                <a:gd name="connsiteX94" fmla="*/ 51051 w 287801"/>
                <a:gd name="connsiteY94" fmla="*/ 270119 h 295938"/>
                <a:gd name="connsiteX95" fmla="*/ 56667 w 287801"/>
                <a:gd name="connsiteY95" fmla="*/ 265038 h 295938"/>
                <a:gd name="connsiteX96" fmla="*/ 58885 w 287801"/>
                <a:gd name="connsiteY96" fmla="*/ 259479 h 295938"/>
                <a:gd name="connsiteX97" fmla="*/ 59396 w 287801"/>
                <a:gd name="connsiteY97" fmla="*/ 258804 h 295938"/>
                <a:gd name="connsiteX98" fmla="*/ 65157 w 287801"/>
                <a:gd name="connsiteY98" fmla="*/ 253584 h 295938"/>
                <a:gd name="connsiteX99" fmla="*/ 68864 w 287801"/>
                <a:gd name="connsiteY99" fmla="*/ 248281 h 295938"/>
                <a:gd name="connsiteX100" fmla="*/ 68864 w 287801"/>
                <a:gd name="connsiteY100" fmla="*/ 242906 h 295938"/>
                <a:gd name="connsiteX101" fmla="*/ 69351 w 287801"/>
                <a:gd name="connsiteY101" fmla="*/ 241696 h 295938"/>
                <a:gd name="connsiteX102" fmla="*/ 74408 w 287801"/>
                <a:gd name="connsiteY102" fmla="*/ 236070 h 295938"/>
                <a:gd name="connsiteX103" fmla="*/ 76076 w 287801"/>
                <a:gd name="connsiteY103" fmla="*/ 229928 h 295938"/>
                <a:gd name="connsiteX104" fmla="*/ 76644 w 287801"/>
                <a:gd name="connsiteY104" fmla="*/ 229051 h 295938"/>
                <a:gd name="connsiteX105" fmla="*/ 82588 w 287801"/>
                <a:gd name="connsiteY105" fmla="*/ 223695 h 295938"/>
                <a:gd name="connsiteX106" fmla="*/ 82873 w 287801"/>
                <a:gd name="connsiteY106" fmla="*/ 223517 h 295938"/>
                <a:gd name="connsiteX107" fmla="*/ 88561 w 287801"/>
                <a:gd name="connsiteY107" fmla="*/ 220080 h 295938"/>
                <a:gd name="connsiteX108" fmla="*/ 93695 w 287801"/>
                <a:gd name="connsiteY108" fmla="*/ 213789 h 295938"/>
                <a:gd name="connsiteX109" fmla="*/ 94351 w 287801"/>
                <a:gd name="connsiteY109" fmla="*/ 213288 h 295938"/>
                <a:gd name="connsiteX110" fmla="*/ 100435 w 287801"/>
                <a:gd name="connsiteY110" fmla="*/ 210511 h 295938"/>
                <a:gd name="connsiteX111" fmla="*/ 101307 w 287801"/>
                <a:gd name="connsiteY111" fmla="*/ 209166 h 295938"/>
                <a:gd name="connsiteX112" fmla="*/ 101356 w 287801"/>
                <a:gd name="connsiteY112" fmla="*/ 209141 h 295938"/>
                <a:gd name="connsiteX113" fmla="*/ 105492 w 287801"/>
                <a:gd name="connsiteY113" fmla="*/ 203178 h 295938"/>
                <a:gd name="connsiteX114" fmla="*/ 106195 w 287801"/>
                <a:gd name="connsiteY114" fmla="*/ 202571 h 295938"/>
                <a:gd name="connsiteX115" fmla="*/ 126746 w 287801"/>
                <a:gd name="connsiteY115" fmla="*/ 184373 h 295938"/>
                <a:gd name="connsiteX116" fmla="*/ 127845 w 287801"/>
                <a:gd name="connsiteY116" fmla="*/ 178872 h 295938"/>
                <a:gd name="connsiteX117" fmla="*/ 127927 w 287801"/>
                <a:gd name="connsiteY117" fmla="*/ 178622 h 295938"/>
                <a:gd name="connsiteX118" fmla="*/ 130299 w 287801"/>
                <a:gd name="connsiteY118" fmla="*/ 172013 h 295938"/>
                <a:gd name="connsiteX119" fmla="*/ 130511 w 287801"/>
                <a:gd name="connsiteY119" fmla="*/ 171632 h 295938"/>
                <a:gd name="connsiteX120" fmla="*/ 136754 w 287801"/>
                <a:gd name="connsiteY120" fmla="*/ 148136 h 295938"/>
                <a:gd name="connsiteX121" fmla="*/ 137062 w 287801"/>
                <a:gd name="connsiteY121" fmla="*/ 147224 h 295938"/>
                <a:gd name="connsiteX122" fmla="*/ 141223 w 287801"/>
                <a:gd name="connsiteY122" fmla="*/ 141285 h 295938"/>
                <a:gd name="connsiteX123" fmla="*/ 142105 w 287801"/>
                <a:gd name="connsiteY123" fmla="*/ 140634 h 295938"/>
                <a:gd name="connsiteX124" fmla="*/ 148473 w 287801"/>
                <a:gd name="connsiteY124" fmla="*/ 138321 h 295938"/>
                <a:gd name="connsiteX125" fmla="*/ 185197 w 287801"/>
                <a:gd name="connsiteY125" fmla="*/ 128163 h 295938"/>
                <a:gd name="connsiteX126" fmla="*/ 187410 w 287801"/>
                <a:gd name="connsiteY126" fmla="*/ 122113 h 295938"/>
                <a:gd name="connsiteX127" fmla="*/ 187955 w 287801"/>
                <a:gd name="connsiteY127" fmla="*/ 121318 h 295938"/>
                <a:gd name="connsiteX128" fmla="*/ 192115 w 287801"/>
                <a:gd name="connsiteY128" fmla="*/ 117765 h 295938"/>
                <a:gd name="connsiteX129" fmla="*/ 192346 w 287801"/>
                <a:gd name="connsiteY129" fmla="*/ 117592 h 295938"/>
                <a:gd name="connsiteX130" fmla="*/ 198319 w 287801"/>
                <a:gd name="connsiteY130" fmla="*/ 114010 h 295938"/>
                <a:gd name="connsiteX131" fmla="*/ 198767 w 287801"/>
                <a:gd name="connsiteY131" fmla="*/ 113841 h 295938"/>
                <a:gd name="connsiteX132" fmla="*/ 205295 w 287801"/>
                <a:gd name="connsiteY132" fmla="*/ 112048 h 295938"/>
                <a:gd name="connsiteX133" fmla="*/ 205434 w 287801"/>
                <a:gd name="connsiteY133" fmla="*/ 112019 h 295938"/>
                <a:gd name="connsiteX134" fmla="*/ 211374 w 287801"/>
                <a:gd name="connsiteY134" fmla="*/ 110780 h 295938"/>
                <a:gd name="connsiteX135" fmla="*/ 211586 w 287801"/>
                <a:gd name="connsiteY135" fmla="*/ 110780 h 295938"/>
                <a:gd name="connsiteX136" fmla="*/ 218084 w 287801"/>
                <a:gd name="connsiteY136" fmla="*/ 110187 h 295938"/>
                <a:gd name="connsiteX137" fmla="*/ 224057 w 287801"/>
                <a:gd name="connsiteY137" fmla="*/ 109584 h 295938"/>
                <a:gd name="connsiteX138" fmla="*/ 224419 w 287801"/>
                <a:gd name="connsiteY138" fmla="*/ 109584 h 295938"/>
                <a:gd name="connsiteX139" fmla="*/ 230946 w 287801"/>
                <a:gd name="connsiteY139" fmla="*/ 110187 h 295938"/>
                <a:gd name="connsiteX140" fmla="*/ 231621 w 287801"/>
                <a:gd name="connsiteY140" fmla="*/ 110389 h 295938"/>
                <a:gd name="connsiteX141" fmla="*/ 237348 w 287801"/>
                <a:gd name="connsiteY141" fmla="*/ 113243 h 295938"/>
                <a:gd name="connsiteX142" fmla="*/ 240877 w 287801"/>
                <a:gd name="connsiteY142" fmla="*/ 113962 h 295938"/>
                <a:gd name="connsiteX143" fmla="*/ 240877 w 287801"/>
                <a:gd name="connsiteY143" fmla="*/ 110245 h 295938"/>
                <a:gd name="connsiteX144" fmla="*/ 237087 w 287801"/>
                <a:gd name="connsiteY144" fmla="*/ 105400 h 295938"/>
                <a:gd name="connsiteX145" fmla="*/ 237266 w 287801"/>
                <a:gd name="connsiteY145" fmla="*/ 102966 h 295938"/>
                <a:gd name="connsiteX146" fmla="*/ 239633 w 287801"/>
                <a:gd name="connsiteY146" fmla="*/ 102836 h 295938"/>
                <a:gd name="connsiteX147" fmla="*/ 245581 w 287801"/>
                <a:gd name="connsiteY147" fmla="*/ 107598 h 295938"/>
                <a:gd name="connsiteX148" fmla="*/ 246276 w 287801"/>
                <a:gd name="connsiteY148" fmla="*/ 109035 h 295938"/>
                <a:gd name="connsiteX149" fmla="*/ 246276 w 287801"/>
                <a:gd name="connsiteY149" fmla="*/ 109136 h 295938"/>
                <a:gd name="connsiteX150" fmla="*/ 249129 w 287801"/>
                <a:gd name="connsiteY150" fmla="*/ 114376 h 295938"/>
                <a:gd name="connsiteX151" fmla="*/ 271729 w 287801"/>
                <a:gd name="connsiteY151" fmla="*/ 110192 h 295938"/>
                <a:gd name="connsiteX152" fmla="*/ 271883 w 287801"/>
                <a:gd name="connsiteY152" fmla="*/ 109661 h 295938"/>
                <a:gd name="connsiteX153" fmla="*/ 272587 w 287801"/>
                <a:gd name="connsiteY153" fmla="*/ 108707 h 295938"/>
                <a:gd name="connsiteX154" fmla="*/ 278550 w 287801"/>
                <a:gd name="connsiteY154" fmla="*/ 104556 h 295938"/>
                <a:gd name="connsiteX155" fmla="*/ 278608 w 287801"/>
                <a:gd name="connsiteY155" fmla="*/ 104513 h 295938"/>
                <a:gd name="connsiteX156" fmla="*/ 283810 w 287801"/>
                <a:gd name="connsiteY156" fmla="*/ 101403 h 295938"/>
                <a:gd name="connsiteX157" fmla="*/ 284335 w 287801"/>
                <a:gd name="connsiteY157" fmla="*/ 96347 h 295938"/>
                <a:gd name="connsiteX158" fmla="*/ 284581 w 287801"/>
                <a:gd name="connsiteY158" fmla="*/ 95571 h 295938"/>
                <a:gd name="connsiteX159" fmla="*/ 287801 w 287801"/>
                <a:gd name="connsiteY159" fmla="*/ 90186 h 295938"/>
                <a:gd name="connsiteX160" fmla="*/ 287362 w 287801"/>
                <a:gd name="connsiteY160" fmla="*/ 87019 h 295938"/>
                <a:gd name="connsiteX161" fmla="*/ 283988 w 287801"/>
                <a:gd name="connsiteY161" fmla="*/ 81388 h 295938"/>
                <a:gd name="connsiteX162" fmla="*/ 283945 w 287801"/>
                <a:gd name="connsiteY162" fmla="*/ 79619 h 295938"/>
                <a:gd name="connsiteX163" fmla="*/ 287170 w 287801"/>
                <a:gd name="connsiteY163" fmla="*/ 73631 h 295938"/>
                <a:gd name="connsiteX164" fmla="*/ 286538 w 287801"/>
                <a:gd name="connsiteY164" fmla="*/ 70387 h 295938"/>
                <a:gd name="connsiteX165" fmla="*/ 231047 w 287801"/>
                <a:gd name="connsiteY165" fmla="*/ 65591 h 295938"/>
                <a:gd name="connsiteX166" fmla="*/ 182768 w 287801"/>
                <a:gd name="connsiteY166" fmla="*/ 50425 h 295938"/>
                <a:gd name="connsiteX167" fmla="*/ 182715 w 287801"/>
                <a:gd name="connsiteY167" fmla="*/ 50410 h 295938"/>
                <a:gd name="connsiteX168" fmla="*/ 178550 w 287801"/>
                <a:gd name="connsiteY168" fmla="*/ 47431 h 295938"/>
                <a:gd name="connsiteX169" fmla="*/ 178472 w 287801"/>
                <a:gd name="connsiteY169" fmla="*/ 47383 h 295938"/>
                <a:gd name="connsiteX170" fmla="*/ 172500 w 287801"/>
                <a:gd name="connsiteY170" fmla="*/ 42625 h 295938"/>
                <a:gd name="connsiteX171" fmla="*/ 172032 w 287801"/>
                <a:gd name="connsiteY171" fmla="*/ 42008 h 295938"/>
                <a:gd name="connsiteX172" fmla="*/ 169106 w 287801"/>
                <a:gd name="connsiteY172" fmla="*/ 36223 h 295938"/>
                <a:gd name="connsiteX173" fmla="*/ 164613 w 287801"/>
                <a:gd name="connsiteY173" fmla="*/ 30578 h 295938"/>
                <a:gd name="connsiteX174" fmla="*/ 158220 w 287801"/>
                <a:gd name="connsiteY174" fmla="*/ 25328 h 295938"/>
                <a:gd name="connsiteX175" fmla="*/ 157748 w 287801"/>
                <a:gd name="connsiteY175" fmla="*/ 24749 h 295938"/>
                <a:gd name="connsiteX176" fmla="*/ 154774 w 287801"/>
                <a:gd name="connsiteY176" fmla="*/ 18781 h 295938"/>
                <a:gd name="connsiteX177" fmla="*/ 155058 w 287801"/>
                <a:gd name="connsiteY177" fmla="*/ 16781 h 295938"/>
                <a:gd name="connsiteX178" fmla="*/ 159705 w 287801"/>
                <a:gd name="connsiteY178" fmla="*/ 11579 h 295938"/>
                <a:gd name="connsiteX179" fmla="*/ 158288 w 287801"/>
                <a:gd name="connsiteY179" fmla="*/ 6792 h 295938"/>
                <a:gd name="connsiteX180" fmla="*/ 154793 w 287801"/>
                <a:gd name="connsiteY180" fmla="*/ 419 h 295938"/>
                <a:gd name="connsiteX181" fmla="*/ 154697 w 287801"/>
                <a:gd name="connsiteY181" fmla="*/ 178 h 295938"/>
                <a:gd name="connsiteX182" fmla="*/ 154581 w 287801"/>
                <a:gd name="connsiteY182" fmla="*/ 0 h 295938"/>
                <a:gd name="connsiteX183" fmla="*/ 149649 w 287801"/>
                <a:gd name="connsiteY183" fmla="*/ 1248 h 295938"/>
                <a:gd name="connsiteX184" fmla="*/ 144014 w 287801"/>
                <a:gd name="connsiteY184" fmla="*/ 328 h 29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287801" h="295938">
                  <a:moveTo>
                    <a:pt x="144014" y="328"/>
                  </a:moveTo>
                  <a:lnTo>
                    <a:pt x="138070" y="2039"/>
                  </a:lnTo>
                  <a:lnTo>
                    <a:pt x="139757" y="9381"/>
                  </a:lnTo>
                  <a:lnTo>
                    <a:pt x="128646" y="7674"/>
                  </a:lnTo>
                  <a:cubicBezTo>
                    <a:pt x="128646" y="7674"/>
                    <a:pt x="122311" y="11295"/>
                    <a:pt x="118681" y="14019"/>
                  </a:cubicBezTo>
                  <a:cubicBezTo>
                    <a:pt x="115046" y="16718"/>
                    <a:pt x="106952" y="17769"/>
                    <a:pt x="101389" y="14510"/>
                  </a:cubicBezTo>
                  <a:cubicBezTo>
                    <a:pt x="97123" y="12331"/>
                    <a:pt x="95334" y="11415"/>
                    <a:pt x="95334" y="11415"/>
                  </a:cubicBezTo>
                  <a:lnTo>
                    <a:pt x="90046" y="4305"/>
                  </a:lnTo>
                  <a:lnTo>
                    <a:pt x="83953" y="2121"/>
                  </a:lnTo>
                  <a:lnTo>
                    <a:pt x="77454" y="2497"/>
                  </a:lnTo>
                  <a:lnTo>
                    <a:pt x="74673" y="8571"/>
                  </a:lnTo>
                  <a:lnTo>
                    <a:pt x="68965" y="9873"/>
                  </a:lnTo>
                  <a:lnTo>
                    <a:pt x="61985" y="8195"/>
                  </a:lnTo>
                  <a:cubicBezTo>
                    <a:pt x="61985" y="8195"/>
                    <a:pt x="56952" y="16169"/>
                    <a:pt x="54623" y="17494"/>
                  </a:cubicBezTo>
                  <a:cubicBezTo>
                    <a:pt x="53871" y="22007"/>
                    <a:pt x="53081" y="23342"/>
                    <a:pt x="49986" y="24557"/>
                  </a:cubicBezTo>
                  <a:cubicBezTo>
                    <a:pt x="46882" y="25873"/>
                    <a:pt x="40832" y="28992"/>
                    <a:pt x="40832" y="28992"/>
                  </a:cubicBezTo>
                  <a:cubicBezTo>
                    <a:pt x="40832" y="28992"/>
                    <a:pt x="28167" y="33629"/>
                    <a:pt x="25603" y="33629"/>
                  </a:cubicBezTo>
                  <a:cubicBezTo>
                    <a:pt x="22975" y="33629"/>
                    <a:pt x="15899" y="39969"/>
                    <a:pt x="17316" y="42138"/>
                  </a:cubicBezTo>
                  <a:cubicBezTo>
                    <a:pt x="18724" y="44341"/>
                    <a:pt x="20927" y="49017"/>
                    <a:pt x="18444" y="51847"/>
                  </a:cubicBezTo>
                  <a:cubicBezTo>
                    <a:pt x="16029" y="54706"/>
                    <a:pt x="13069" y="57015"/>
                    <a:pt x="13069" y="57015"/>
                  </a:cubicBezTo>
                  <a:lnTo>
                    <a:pt x="7221" y="58302"/>
                  </a:lnTo>
                  <a:lnTo>
                    <a:pt x="1552" y="63595"/>
                  </a:lnTo>
                  <a:lnTo>
                    <a:pt x="0" y="70445"/>
                  </a:lnTo>
                  <a:cubicBezTo>
                    <a:pt x="0" y="70445"/>
                    <a:pt x="849" y="72981"/>
                    <a:pt x="3278" y="74403"/>
                  </a:cubicBezTo>
                  <a:lnTo>
                    <a:pt x="5452" y="73101"/>
                  </a:lnTo>
                  <a:lnTo>
                    <a:pt x="3278" y="74403"/>
                  </a:lnTo>
                  <a:cubicBezTo>
                    <a:pt x="3746" y="74682"/>
                    <a:pt x="4102" y="74923"/>
                    <a:pt x="4628" y="75087"/>
                  </a:cubicBezTo>
                  <a:cubicBezTo>
                    <a:pt x="8282" y="76124"/>
                    <a:pt x="17817" y="77531"/>
                    <a:pt x="17817" y="77531"/>
                  </a:cubicBezTo>
                  <a:lnTo>
                    <a:pt x="23795" y="82863"/>
                  </a:lnTo>
                  <a:lnTo>
                    <a:pt x="29445" y="82593"/>
                  </a:lnTo>
                  <a:lnTo>
                    <a:pt x="31296" y="88287"/>
                  </a:lnTo>
                  <a:lnTo>
                    <a:pt x="36035" y="99774"/>
                  </a:lnTo>
                  <a:lnTo>
                    <a:pt x="40292" y="106104"/>
                  </a:lnTo>
                  <a:lnTo>
                    <a:pt x="41468" y="115528"/>
                  </a:lnTo>
                  <a:cubicBezTo>
                    <a:pt x="41468" y="115528"/>
                    <a:pt x="29320" y="121853"/>
                    <a:pt x="25844" y="130121"/>
                  </a:cubicBezTo>
                  <a:cubicBezTo>
                    <a:pt x="20647" y="133500"/>
                    <a:pt x="18719" y="134753"/>
                    <a:pt x="18719" y="134753"/>
                  </a:cubicBezTo>
                  <a:lnTo>
                    <a:pt x="16024" y="141608"/>
                  </a:lnTo>
                  <a:lnTo>
                    <a:pt x="16400" y="147547"/>
                  </a:lnTo>
                  <a:lnTo>
                    <a:pt x="19240" y="159305"/>
                  </a:lnTo>
                  <a:lnTo>
                    <a:pt x="25179" y="163933"/>
                  </a:lnTo>
                  <a:lnTo>
                    <a:pt x="24026" y="169356"/>
                  </a:lnTo>
                  <a:lnTo>
                    <a:pt x="24518" y="175715"/>
                  </a:lnTo>
                  <a:lnTo>
                    <a:pt x="21843" y="182932"/>
                  </a:lnTo>
                  <a:lnTo>
                    <a:pt x="16916" y="186938"/>
                  </a:lnTo>
                  <a:lnTo>
                    <a:pt x="16800" y="192746"/>
                  </a:lnTo>
                  <a:lnTo>
                    <a:pt x="11387" y="199196"/>
                  </a:lnTo>
                  <a:lnTo>
                    <a:pt x="10890" y="205401"/>
                  </a:lnTo>
                  <a:lnTo>
                    <a:pt x="4291" y="211070"/>
                  </a:lnTo>
                  <a:lnTo>
                    <a:pt x="3881" y="211041"/>
                  </a:lnTo>
                  <a:cubicBezTo>
                    <a:pt x="3823" y="211296"/>
                    <a:pt x="3881" y="211513"/>
                    <a:pt x="3760" y="211706"/>
                  </a:cubicBezTo>
                  <a:lnTo>
                    <a:pt x="6628" y="214941"/>
                  </a:lnTo>
                  <a:lnTo>
                    <a:pt x="7005" y="215664"/>
                  </a:lnTo>
                  <a:lnTo>
                    <a:pt x="8615" y="221608"/>
                  </a:lnTo>
                  <a:lnTo>
                    <a:pt x="14009" y="225493"/>
                  </a:lnTo>
                  <a:lnTo>
                    <a:pt x="19085" y="224476"/>
                  </a:lnTo>
                  <a:lnTo>
                    <a:pt x="24962" y="222741"/>
                  </a:lnTo>
                  <a:lnTo>
                    <a:pt x="25338" y="222654"/>
                  </a:lnTo>
                  <a:lnTo>
                    <a:pt x="31450" y="222095"/>
                  </a:lnTo>
                  <a:lnTo>
                    <a:pt x="37028" y="218744"/>
                  </a:lnTo>
                  <a:lnTo>
                    <a:pt x="37505" y="218537"/>
                  </a:lnTo>
                  <a:cubicBezTo>
                    <a:pt x="48342" y="214184"/>
                    <a:pt x="50362" y="219771"/>
                    <a:pt x="61228" y="209383"/>
                  </a:cubicBezTo>
                  <a:lnTo>
                    <a:pt x="61893" y="209031"/>
                  </a:lnTo>
                  <a:lnTo>
                    <a:pt x="68199" y="207324"/>
                  </a:lnTo>
                  <a:lnTo>
                    <a:pt x="73916" y="203882"/>
                  </a:lnTo>
                  <a:lnTo>
                    <a:pt x="74707" y="203622"/>
                  </a:lnTo>
                  <a:lnTo>
                    <a:pt x="80674" y="203039"/>
                  </a:lnTo>
                  <a:lnTo>
                    <a:pt x="82333" y="203786"/>
                  </a:lnTo>
                  <a:lnTo>
                    <a:pt x="86474" y="209725"/>
                  </a:lnTo>
                  <a:lnTo>
                    <a:pt x="86585" y="211639"/>
                  </a:lnTo>
                  <a:lnTo>
                    <a:pt x="82993" y="218204"/>
                  </a:lnTo>
                  <a:lnTo>
                    <a:pt x="82121" y="219010"/>
                  </a:lnTo>
                  <a:lnTo>
                    <a:pt x="76886" y="221116"/>
                  </a:lnTo>
                  <a:lnTo>
                    <a:pt x="74808" y="226318"/>
                  </a:lnTo>
                  <a:lnTo>
                    <a:pt x="73434" y="227441"/>
                  </a:lnTo>
                  <a:lnTo>
                    <a:pt x="67360" y="228545"/>
                  </a:lnTo>
                  <a:lnTo>
                    <a:pt x="61888" y="233491"/>
                  </a:lnTo>
                  <a:lnTo>
                    <a:pt x="56600" y="239367"/>
                  </a:lnTo>
                  <a:lnTo>
                    <a:pt x="56393" y="239570"/>
                  </a:lnTo>
                  <a:lnTo>
                    <a:pt x="50029" y="244752"/>
                  </a:lnTo>
                  <a:lnTo>
                    <a:pt x="45402" y="251135"/>
                  </a:lnTo>
                  <a:lnTo>
                    <a:pt x="45127" y="251409"/>
                  </a:lnTo>
                  <a:lnTo>
                    <a:pt x="39236" y="256727"/>
                  </a:lnTo>
                  <a:lnTo>
                    <a:pt x="35201" y="260776"/>
                  </a:lnTo>
                  <a:lnTo>
                    <a:pt x="40523" y="266686"/>
                  </a:lnTo>
                  <a:lnTo>
                    <a:pt x="40913" y="267385"/>
                  </a:lnTo>
                  <a:lnTo>
                    <a:pt x="42688" y="273339"/>
                  </a:lnTo>
                  <a:lnTo>
                    <a:pt x="42697" y="274323"/>
                  </a:lnTo>
                  <a:cubicBezTo>
                    <a:pt x="40258" y="281337"/>
                    <a:pt x="39843" y="288944"/>
                    <a:pt x="37684" y="295938"/>
                  </a:cubicBezTo>
                  <a:lnTo>
                    <a:pt x="40422" y="294974"/>
                  </a:lnTo>
                  <a:lnTo>
                    <a:pt x="44799" y="288862"/>
                  </a:lnTo>
                  <a:lnTo>
                    <a:pt x="48660" y="283414"/>
                  </a:lnTo>
                  <a:lnTo>
                    <a:pt x="48660" y="278044"/>
                  </a:lnTo>
                  <a:lnTo>
                    <a:pt x="48684" y="277557"/>
                  </a:lnTo>
                  <a:lnTo>
                    <a:pt x="50512" y="271020"/>
                  </a:lnTo>
                  <a:lnTo>
                    <a:pt x="51051" y="270119"/>
                  </a:lnTo>
                  <a:lnTo>
                    <a:pt x="56667" y="265038"/>
                  </a:lnTo>
                  <a:lnTo>
                    <a:pt x="58885" y="259479"/>
                  </a:lnTo>
                  <a:lnTo>
                    <a:pt x="59396" y="258804"/>
                  </a:lnTo>
                  <a:lnTo>
                    <a:pt x="65157" y="253584"/>
                  </a:lnTo>
                  <a:lnTo>
                    <a:pt x="68864" y="248281"/>
                  </a:lnTo>
                  <a:lnTo>
                    <a:pt x="68864" y="242906"/>
                  </a:lnTo>
                  <a:lnTo>
                    <a:pt x="69351" y="241696"/>
                  </a:lnTo>
                  <a:lnTo>
                    <a:pt x="74408" y="236070"/>
                  </a:lnTo>
                  <a:lnTo>
                    <a:pt x="76076" y="229928"/>
                  </a:lnTo>
                  <a:lnTo>
                    <a:pt x="76644" y="229051"/>
                  </a:lnTo>
                  <a:lnTo>
                    <a:pt x="82588" y="223695"/>
                  </a:lnTo>
                  <a:lnTo>
                    <a:pt x="82873" y="223517"/>
                  </a:lnTo>
                  <a:lnTo>
                    <a:pt x="88561" y="220080"/>
                  </a:lnTo>
                  <a:lnTo>
                    <a:pt x="93695" y="213789"/>
                  </a:lnTo>
                  <a:lnTo>
                    <a:pt x="94351" y="213288"/>
                  </a:lnTo>
                  <a:lnTo>
                    <a:pt x="100435" y="210511"/>
                  </a:lnTo>
                  <a:lnTo>
                    <a:pt x="101307" y="209166"/>
                  </a:lnTo>
                  <a:lnTo>
                    <a:pt x="101356" y="209141"/>
                  </a:lnTo>
                  <a:lnTo>
                    <a:pt x="105492" y="203178"/>
                  </a:lnTo>
                  <a:lnTo>
                    <a:pt x="106195" y="202571"/>
                  </a:lnTo>
                  <a:cubicBezTo>
                    <a:pt x="123376" y="194530"/>
                    <a:pt x="116338" y="196121"/>
                    <a:pt x="126746" y="184373"/>
                  </a:cubicBezTo>
                  <a:lnTo>
                    <a:pt x="127845" y="178872"/>
                  </a:lnTo>
                  <a:lnTo>
                    <a:pt x="127927" y="178622"/>
                  </a:lnTo>
                  <a:lnTo>
                    <a:pt x="130299" y="172013"/>
                  </a:lnTo>
                  <a:lnTo>
                    <a:pt x="130511" y="171632"/>
                  </a:lnTo>
                  <a:cubicBezTo>
                    <a:pt x="141406" y="157391"/>
                    <a:pt x="134088" y="161224"/>
                    <a:pt x="136754" y="148136"/>
                  </a:cubicBezTo>
                  <a:lnTo>
                    <a:pt x="137062" y="147224"/>
                  </a:lnTo>
                  <a:lnTo>
                    <a:pt x="141223" y="141285"/>
                  </a:lnTo>
                  <a:lnTo>
                    <a:pt x="142105" y="140634"/>
                  </a:lnTo>
                  <a:lnTo>
                    <a:pt x="148473" y="138321"/>
                  </a:lnTo>
                  <a:cubicBezTo>
                    <a:pt x="174177" y="120672"/>
                    <a:pt x="172736" y="142254"/>
                    <a:pt x="185197" y="128163"/>
                  </a:cubicBezTo>
                  <a:lnTo>
                    <a:pt x="187410" y="122113"/>
                  </a:lnTo>
                  <a:lnTo>
                    <a:pt x="187955" y="121318"/>
                  </a:lnTo>
                  <a:lnTo>
                    <a:pt x="192115" y="117765"/>
                  </a:lnTo>
                  <a:lnTo>
                    <a:pt x="192346" y="117592"/>
                  </a:lnTo>
                  <a:lnTo>
                    <a:pt x="198319" y="114010"/>
                  </a:lnTo>
                  <a:lnTo>
                    <a:pt x="198767" y="113841"/>
                  </a:lnTo>
                  <a:lnTo>
                    <a:pt x="205295" y="112048"/>
                  </a:lnTo>
                  <a:lnTo>
                    <a:pt x="205434" y="112019"/>
                  </a:lnTo>
                  <a:lnTo>
                    <a:pt x="211374" y="110780"/>
                  </a:lnTo>
                  <a:lnTo>
                    <a:pt x="211586" y="110780"/>
                  </a:lnTo>
                  <a:lnTo>
                    <a:pt x="218084" y="110187"/>
                  </a:lnTo>
                  <a:lnTo>
                    <a:pt x="224057" y="109584"/>
                  </a:lnTo>
                  <a:lnTo>
                    <a:pt x="224419" y="109584"/>
                  </a:lnTo>
                  <a:lnTo>
                    <a:pt x="230946" y="110187"/>
                  </a:lnTo>
                  <a:lnTo>
                    <a:pt x="231621" y="110389"/>
                  </a:lnTo>
                  <a:lnTo>
                    <a:pt x="237348" y="113243"/>
                  </a:lnTo>
                  <a:lnTo>
                    <a:pt x="240877" y="113962"/>
                  </a:lnTo>
                  <a:lnTo>
                    <a:pt x="240877" y="110245"/>
                  </a:lnTo>
                  <a:lnTo>
                    <a:pt x="237087" y="105400"/>
                  </a:lnTo>
                  <a:lnTo>
                    <a:pt x="237266" y="102966"/>
                  </a:lnTo>
                  <a:lnTo>
                    <a:pt x="239633" y="102836"/>
                  </a:lnTo>
                  <a:lnTo>
                    <a:pt x="245581" y="107598"/>
                  </a:lnTo>
                  <a:lnTo>
                    <a:pt x="246276" y="109035"/>
                  </a:lnTo>
                  <a:lnTo>
                    <a:pt x="246276" y="109136"/>
                  </a:lnTo>
                  <a:lnTo>
                    <a:pt x="249129" y="114376"/>
                  </a:lnTo>
                  <a:cubicBezTo>
                    <a:pt x="257672" y="115639"/>
                    <a:pt x="257493" y="108967"/>
                    <a:pt x="271729" y="110192"/>
                  </a:cubicBezTo>
                  <a:lnTo>
                    <a:pt x="271883" y="109661"/>
                  </a:lnTo>
                  <a:lnTo>
                    <a:pt x="272587" y="108707"/>
                  </a:lnTo>
                  <a:lnTo>
                    <a:pt x="278550" y="104556"/>
                  </a:lnTo>
                  <a:lnTo>
                    <a:pt x="278608" y="104513"/>
                  </a:lnTo>
                  <a:lnTo>
                    <a:pt x="283810" y="101403"/>
                  </a:lnTo>
                  <a:lnTo>
                    <a:pt x="284335" y="96347"/>
                  </a:lnTo>
                  <a:lnTo>
                    <a:pt x="284581" y="95571"/>
                  </a:lnTo>
                  <a:lnTo>
                    <a:pt x="287801" y="90186"/>
                  </a:lnTo>
                  <a:lnTo>
                    <a:pt x="287362" y="87019"/>
                  </a:lnTo>
                  <a:lnTo>
                    <a:pt x="283988" y="81388"/>
                  </a:lnTo>
                  <a:lnTo>
                    <a:pt x="283945" y="79619"/>
                  </a:lnTo>
                  <a:lnTo>
                    <a:pt x="287170" y="73631"/>
                  </a:lnTo>
                  <a:lnTo>
                    <a:pt x="286538" y="70387"/>
                  </a:lnTo>
                  <a:cubicBezTo>
                    <a:pt x="268220" y="76519"/>
                    <a:pt x="249144" y="67312"/>
                    <a:pt x="231047" y="65591"/>
                  </a:cubicBezTo>
                  <a:cubicBezTo>
                    <a:pt x="214522" y="62076"/>
                    <a:pt x="196328" y="60919"/>
                    <a:pt x="182768" y="50425"/>
                  </a:cubicBezTo>
                  <a:lnTo>
                    <a:pt x="182715" y="50410"/>
                  </a:lnTo>
                  <a:lnTo>
                    <a:pt x="178550" y="47431"/>
                  </a:lnTo>
                  <a:lnTo>
                    <a:pt x="178472" y="47383"/>
                  </a:lnTo>
                  <a:lnTo>
                    <a:pt x="172500" y="42625"/>
                  </a:lnTo>
                  <a:lnTo>
                    <a:pt x="172032" y="42008"/>
                  </a:lnTo>
                  <a:lnTo>
                    <a:pt x="169106" y="36223"/>
                  </a:lnTo>
                  <a:lnTo>
                    <a:pt x="164613" y="30578"/>
                  </a:lnTo>
                  <a:lnTo>
                    <a:pt x="158220" y="25328"/>
                  </a:lnTo>
                  <a:lnTo>
                    <a:pt x="157748" y="24749"/>
                  </a:lnTo>
                  <a:lnTo>
                    <a:pt x="154774" y="18781"/>
                  </a:lnTo>
                  <a:lnTo>
                    <a:pt x="155058" y="16781"/>
                  </a:lnTo>
                  <a:lnTo>
                    <a:pt x="159705" y="11579"/>
                  </a:lnTo>
                  <a:lnTo>
                    <a:pt x="158288" y="6792"/>
                  </a:lnTo>
                  <a:lnTo>
                    <a:pt x="154793" y="419"/>
                  </a:lnTo>
                  <a:lnTo>
                    <a:pt x="154697" y="178"/>
                  </a:lnTo>
                  <a:lnTo>
                    <a:pt x="154581" y="0"/>
                  </a:lnTo>
                  <a:lnTo>
                    <a:pt x="149649" y="1248"/>
                  </a:lnTo>
                  <a:lnTo>
                    <a:pt x="144014" y="32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27" name="Freihandform: Form 626">
              <a:extLst>
                <a:ext uri="{FF2B5EF4-FFF2-40B4-BE49-F238E27FC236}">
                  <a16:creationId xmlns:a16="http://schemas.microsoft.com/office/drawing/2014/main" id="{C23AED0A-B733-3E6F-A143-13EF599E5F59}"/>
                </a:ext>
              </a:extLst>
            </p:cNvPr>
            <p:cNvSpPr/>
            <p:nvPr/>
          </p:nvSpPr>
          <p:spPr>
            <a:xfrm>
              <a:off x="6740489" y="5473770"/>
              <a:ext cx="780962" cy="1001751"/>
            </a:xfrm>
            <a:custGeom>
              <a:avLst/>
              <a:gdLst>
                <a:gd name="connsiteX0" fmla="*/ 581517 w 612094"/>
                <a:gd name="connsiteY0" fmla="*/ 131972 h 785992"/>
                <a:gd name="connsiteX1" fmla="*/ 582014 w 612094"/>
                <a:gd name="connsiteY1" fmla="*/ 125768 h 785992"/>
                <a:gd name="connsiteX2" fmla="*/ 587427 w 612094"/>
                <a:gd name="connsiteY2" fmla="*/ 119318 h 785992"/>
                <a:gd name="connsiteX3" fmla="*/ 587543 w 612094"/>
                <a:gd name="connsiteY3" fmla="*/ 113509 h 785992"/>
                <a:gd name="connsiteX4" fmla="*/ 592470 w 612094"/>
                <a:gd name="connsiteY4" fmla="*/ 109503 h 785992"/>
                <a:gd name="connsiteX5" fmla="*/ 595145 w 612094"/>
                <a:gd name="connsiteY5" fmla="*/ 102286 h 785992"/>
                <a:gd name="connsiteX6" fmla="*/ 594653 w 612094"/>
                <a:gd name="connsiteY6" fmla="*/ 95928 h 785992"/>
                <a:gd name="connsiteX7" fmla="*/ 595806 w 612094"/>
                <a:gd name="connsiteY7" fmla="*/ 90504 h 785992"/>
                <a:gd name="connsiteX8" fmla="*/ 589867 w 612094"/>
                <a:gd name="connsiteY8" fmla="*/ 85876 h 785992"/>
                <a:gd name="connsiteX9" fmla="*/ 587027 w 612094"/>
                <a:gd name="connsiteY9" fmla="*/ 74118 h 785992"/>
                <a:gd name="connsiteX10" fmla="*/ 586651 w 612094"/>
                <a:gd name="connsiteY10" fmla="*/ 68179 h 785992"/>
                <a:gd name="connsiteX11" fmla="*/ 589346 w 612094"/>
                <a:gd name="connsiteY11" fmla="*/ 61324 h 785992"/>
                <a:gd name="connsiteX12" fmla="*/ 596471 w 612094"/>
                <a:gd name="connsiteY12" fmla="*/ 56692 h 785992"/>
                <a:gd name="connsiteX13" fmla="*/ 612095 w 612094"/>
                <a:gd name="connsiteY13" fmla="*/ 42099 h 785992"/>
                <a:gd name="connsiteX14" fmla="*/ 610919 w 612094"/>
                <a:gd name="connsiteY14" fmla="*/ 32675 h 785992"/>
                <a:gd name="connsiteX15" fmla="*/ 606662 w 612094"/>
                <a:gd name="connsiteY15" fmla="*/ 26345 h 785992"/>
                <a:gd name="connsiteX16" fmla="*/ 601923 w 612094"/>
                <a:gd name="connsiteY16" fmla="*/ 14858 h 785992"/>
                <a:gd name="connsiteX17" fmla="*/ 600072 w 612094"/>
                <a:gd name="connsiteY17" fmla="*/ 9164 h 785992"/>
                <a:gd name="connsiteX18" fmla="*/ 594422 w 612094"/>
                <a:gd name="connsiteY18" fmla="*/ 9434 h 785992"/>
                <a:gd name="connsiteX19" fmla="*/ 588445 w 612094"/>
                <a:gd name="connsiteY19" fmla="*/ 4102 h 785992"/>
                <a:gd name="connsiteX20" fmla="*/ 575255 w 612094"/>
                <a:gd name="connsiteY20" fmla="*/ 1659 h 785992"/>
                <a:gd name="connsiteX21" fmla="*/ 573905 w 612094"/>
                <a:gd name="connsiteY21" fmla="*/ 974 h 785992"/>
                <a:gd name="connsiteX22" fmla="*/ 569196 w 612094"/>
                <a:gd name="connsiteY22" fmla="*/ 3857 h 785992"/>
                <a:gd name="connsiteX23" fmla="*/ 560692 w 612094"/>
                <a:gd name="connsiteY23" fmla="*/ 0 h 785992"/>
                <a:gd name="connsiteX24" fmla="*/ 553586 w 612094"/>
                <a:gd name="connsiteY24" fmla="*/ 656 h 785992"/>
                <a:gd name="connsiteX25" fmla="*/ 547917 w 612094"/>
                <a:gd name="connsiteY25" fmla="*/ 6320 h 785992"/>
                <a:gd name="connsiteX26" fmla="*/ 547488 w 612094"/>
                <a:gd name="connsiteY26" fmla="*/ 12510 h 785992"/>
                <a:gd name="connsiteX27" fmla="*/ 553229 w 612094"/>
                <a:gd name="connsiteY27" fmla="*/ 17572 h 785992"/>
                <a:gd name="connsiteX28" fmla="*/ 562625 w 612094"/>
                <a:gd name="connsiteY28" fmla="*/ 29850 h 785992"/>
                <a:gd name="connsiteX29" fmla="*/ 561863 w 612094"/>
                <a:gd name="connsiteY29" fmla="*/ 35505 h 785992"/>
                <a:gd name="connsiteX30" fmla="*/ 565088 w 612094"/>
                <a:gd name="connsiteY30" fmla="*/ 43126 h 785992"/>
                <a:gd name="connsiteX31" fmla="*/ 563512 w 612094"/>
                <a:gd name="connsiteY31" fmla="*/ 50111 h 785992"/>
                <a:gd name="connsiteX32" fmla="*/ 558508 w 612094"/>
                <a:gd name="connsiteY32" fmla="*/ 55265 h 785992"/>
                <a:gd name="connsiteX33" fmla="*/ 553335 w 612094"/>
                <a:gd name="connsiteY33" fmla="*/ 56161 h 785992"/>
                <a:gd name="connsiteX34" fmla="*/ 541317 w 612094"/>
                <a:gd name="connsiteY34" fmla="*/ 64810 h 785992"/>
                <a:gd name="connsiteX35" fmla="*/ 533816 w 612094"/>
                <a:gd name="connsiteY35" fmla="*/ 61980 h 785992"/>
                <a:gd name="connsiteX36" fmla="*/ 522213 w 612094"/>
                <a:gd name="connsiteY36" fmla="*/ 70474 h 785992"/>
                <a:gd name="connsiteX37" fmla="*/ 516389 w 612094"/>
                <a:gd name="connsiteY37" fmla="*/ 69486 h 785992"/>
                <a:gd name="connsiteX38" fmla="*/ 510190 w 612094"/>
                <a:gd name="connsiteY38" fmla="*/ 71163 h 785992"/>
                <a:gd name="connsiteX39" fmla="*/ 503605 w 612094"/>
                <a:gd name="connsiteY39" fmla="*/ 76977 h 785992"/>
                <a:gd name="connsiteX40" fmla="*/ 496779 w 612094"/>
                <a:gd name="connsiteY40" fmla="*/ 77739 h 785992"/>
                <a:gd name="connsiteX41" fmla="*/ 484095 w 612094"/>
                <a:gd name="connsiteY41" fmla="*/ 86122 h 785992"/>
                <a:gd name="connsiteX42" fmla="*/ 477510 w 612094"/>
                <a:gd name="connsiteY42" fmla="*/ 87048 h 785992"/>
                <a:gd name="connsiteX43" fmla="*/ 432061 w 612094"/>
                <a:gd name="connsiteY43" fmla="*/ 76216 h 785992"/>
                <a:gd name="connsiteX44" fmla="*/ 431559 w 612094"/>
                <a:gd name="connsiteY44" fmla="*/ 83688 h 785992"/>
                <a:gd name="connsiteX45" fmla="*/ 419662 w 612094"/>
                <a:gd name="connsiteY45" fmla="*/ 76457 h 785992"/>
                <a:gd name="connsiteX46" fmla="*/ 413718 w 612094"/>
                <a:gd name="connsiteY46" fmla="*/ 76457 h 785992"/>
                <a:gd name="connsiteX47" fmla="*/ 407017 w 612094"/>
                <a:gd name="connsiteY47" fmla="*/ 71583 h 785992"/>
                <a:gd name="connsiteX48" fmla="*/ 403373 w 612094"/>
                <a:gd name="connsiteY48" fmla="*/ 65200 h 785992"/>
                <a:gd name="connsiteX49" fmla="*/ 396691 w 612094"/>
                <a:gd name="connsiteY49" fmla="*/ 60447 h 785992"/>
                <a:gd name="connsiteX50" fmla="*/ 390453 w 612094"/>
                <a:gd name="connsiteY50" fmla="*/ 67259 h 785992"/>
                <a:gd name="connsiteX51" fmla="*/ 384408 w 612094"/>
                <a:gd name="connsiteY51" fmla="*/ 68073 h 785992"/>
                <a:gd name="connsiteX52" fmla="*/ 379766 w 612094"/>
                <a:gd name="connsiteY52" fmla="*/ 71284 h 785992"/>
                <a:gd name="connsiteX53" fmla="*/ 371995 w 612094"/>
                <a:gd name="connsiteY53" fmla="*/ 65109 h 785992"/>
                <a:gd name="connsiteX54" fmla="*/ 366301 w 612094"/>
                <a:gd name="connsiteY54" fmla="*/ 70474 h 785992"/>
                <a:gd name="connsiteX55" fmla="*/ 355869 w 612094"/>
                <a:gd name="connsiteY55" fmla="*/ 71699 h 785992"/>
                <a:gd name="connsiteX56" fmla="*/ 354563 w 612094"/>
                <a:gd name="connsiteY56" fmla="*/ 78134 h 785992"/>
                <a:gd name="connsiteX57" fmla="*/ 347592 w 612094"/>
                <a:gd name="connsiteY57" fmla="*/ 86378 h 785992"/>
                <a:gd name="connsiteX58" fmla="*/ 342280 w 612094"/>
                <a:gd name="connsiteY58" fmla="*/ 86002 h 785992"/>
                <a:gd name="connsiteX59" fmla="*/ 330146 w 612094"/>
                <a:gd name="connsiteY59" fmla="*/ 91695 h 785992"/>
                <a:gd name="connsiteX60" fmla="*/ 326651 w 612094"/>
                <a:gd name="connsiteY60" fmla="*/ 97118 h 785992"/>
                <a:gd name="connsiteX61" fmla="*/ 321358 w 612094"/>
                <a:gd name="connsiteY61" fmla="*/ 97643 h 785992"/>
                <a:gd name="connsiteX62" fmla="*/ 314006 w 612094"/>
                <a:gd name="connsiteY62" fmla="*/ 103453 h 785992"/>
                <a:gd name="connsiteX63" fmla="*/ 295008 w 612094"/>
                <a:gd name="connsiteY63" fmla="*/ 102300 h 785992"/>
                <a:gd name="connsiteX64" fmla="*/ 286360 w 612094"/>
                <a:gd name="connsiteY64" fmla="*/ 109749 h 785992"/>
                <a:gd name="connsiteX65" fmla="*/ 277470 w 612094"/>
                <a:gd name="connsiteY65" fmla="*/ 107463 h 785992"/>
                <a:gd name="connsiteX66" fmla="*/ 269844 w 612094"/>
                <a:gd name="connsiteY66" fmla="*/ 119583 h 785992"/>
                <a:gd name="connsiteX67" fmla="*/ 263784 w 612094"/>
                <a:gd name="connsiteY67" fmla="*/ 121140 h 785992"/>
                <a:gd name="connsiteX68" fmla="*/ 244810 w 612094"/>
                <a:gd name="connsiteY68" fmla="*/ 121140 h 785992"/>
                <a:gd name="connsiteX69" fmla="*/ 243368 w 612094"/>
                <a:gd name="connsiteY69" fmla="*/ 125180 h 785992"/>
                <a:gd name="connsiteX70" fmla="*/ 244810 w 612094"/>
                <a:gd name="connsiteY70" fmla="*/ 121140 h 785992"/>
                <a:gd name="connsiteX71" fmla="*/ 230459 w 612094"/>
                <a:gd name="connsiteY71" fmla="*/ 127084 h 785992"/>
                <a:gd name="connsiteX72" fmla="*/ 230560 w 612094"/>
                <a:gd name="connsiteY72" fmla="*/ 148377 h 785992"/>
                <a:gd name="connsiteX73" fmla="*/ 225792 w 612094"/>
                <a:gd name="connsiteY73" fmla="*/ 150835 h 785992"/>
                <a:gd name="connsiteX74" fmla="*/ 220769 w 612094"/>
                <a:gd name="connsiteY74" fmla="*/ 149027 h 785992"/>
                <a:gd name="connsiteX75" fmla="*/ 218282 w 612094"/>
                <a:gd name="connsiteY75" fmla="*/ 155883 h 785992"/>
                <a:gd name="connsiteX76" fmla="*/ 209768 w 612094"/>
                <a:gd name="connsiteY76" fmla="*/ 157570 h 785992"/>
                <a:gd name="connsiteX77" fmla="*/ 199201 w 612094"/>
                <a:gd name="connsiteY77" fmla="*/ 159103 h 785992"/>
                <a:gd name="connsiteX78" fmla="*/ 190910 w 612094"/>
                <a:gd name="connsiteY78" fmla="*/ 159252 h 785992"/>
                <a:gd name="connsiteX79" fmla="*/ 168074 w 612094"/>
                <a:gd name="connsiteY79" fmla="*/ 163244 h 785992"/>
                <a:gd name="connsiteX80" fmla="*/ 149996 w 612094"/>
                <a:gd name="connsiteY80" fmla="*/ 177041 h 785992"/>
                <a:gd name="connsiteX81" fmla="*/ 140562 w 612094"/>
                <a:gd name="connsiteY81" fmla="*/ 189449 h 785992"/>
                <a:gd name="connsiteX82" fmla="*/ 138224 w 612094"/>
                <a:gd name="connsiteY82" fmla="*/ 197842 h 785992"/>
                <a:gd name="connsiteX83" fmla="*/ 130631 w 612094"/>
                <a:gd name="connsiteY83" fmla="*/ 197707 h 785992"/>
                <a:gd name="connsiteX84" fmla="*/ 120677 w 612094"/>
                <a:gd name="connsiteY84" fmla="*/ 207295 h 785992"/>
                <a:gd name="connsiteX85" fmla="*/ 112419 w 612094"/>
                <a:gd name="connsiteY85" fmla="*/ 203911 h 785992"/>
                <a:gd name="connsiteX86" fmla="*/ 107241 w 612094"/>
                <a:gd name="connsiteY86" fmla="*/ 205492 h 785992"/>
                <a:gd name="connsiteX87" fmla="*/ 103380 w 612094"/>
                <a:gd name="connsiteY87" fmla="*/ 204056 h 785992"/>
                <a:gd name="connsiteX88" fmla="*/ 91593 w 612094"/>
                <a:gd name="connsiteY88" fmla="*/ 213596 h 785992"/>
                <a:gd name="connsiteX89" fmla="*/ 78042 w 612094"/>
                <a:gd name="connsiteY89" fmla="*/ 216045 h 785992"/>
                <a:gd name="connsiteX90" fmla="*/ 61073 w 612094"/>
                <a:gd name="connsiteY90" fmla="*/ 219993 h 785992"/>
                <a:gd name="connsiteX91" fmla="*/ 62303 w 612094"/>
                <a:gd name="connsiteY91" fmla="*/ 229104 h 785992"/>
                <a:gd name="connsiteX92" fmla="*/ 65648 w 612094"/>
                <a:gd name="connsiteY92" fmla="*/ 238018 h 785992"/>
                <a:gd name="connsiteX93" fmla="*/ 72118 w 612094"/>
                <a:gd name="connsiteY93" fmla="*/ 250677 h 785992"/>
                <a:gd name="connsiteX94" fmla="*/ 72479 w 612094"/>
                <a:gd name="connsiteY94" fmla="*/ 258154 h 785992"/>
                <a:gd name="connsiteX95" fmla="*/ 68758 w 612094"/>
                <a:gd name="connsiteY95" fmla="*/ 263963 h 785992"/>
                <a:gd name="connsiteX96" fmla="*/ 66583 w 612094"/>
                <a:gd name="connsiteY96" fmla="*/ 269401 h 785992"/>
                <a:gd name="connsiteX97" fmla="*/ 54430 w 612094"/>
                <a:gd name="connsiteY97" fmla="*/ 274005 h 785992"/>
                <a:gd name="connsiteX98" fmla="*/ 50805 w 612094"/>
                <a:gd name="connsiteY98" fmla="*/ 279871 h 785992"/>
                <a:gd name="connsiteX99" fmla="*/ 50805 w 612094"/>
                <a:gd name="connsiteY99" fmla="*/ 286066 h 785992"/>
                <a:gd name="connsiteX100" fmla="*/ 46288 w 612094"/>
                <a:gd name="connsiteY100" fmla="*/ 298455 h 785992"/>
                <a:gd name="connsiteX101" fmla="*/ 45512 w 612094"/>
                <a:gd name="connsiteY101" fmla="*/ 304495 h 785992"/>
                <a:gd name="connsiteX102" fmla="*/ 46674 w 612094"/>
                <a:gd name="connsiteY102" fmla="*/ 310343 h 785992"/>
                <a:gd name="connsiteX103" fmla="*/ 43584 w 612094"/>
                <a:gd name="connsiteY103" fmla="*/ 316663 h 785992"/>
                <a:gd name="connsiteX104" fmla="*/ 44336 w 612094"/>
                <a:gd name="connsiteY104" fmla="*/ 323634 h 785992"/>
                <a:gd name="connsiteX105" fmla="*/ 29999 w 612094"/>
                <a:gd name="connsiteY105" fmla="*/ 332002 h 785992"/>
                <a:gd name="connsiteX106" fmla="*/ 23824 w 612094"/>
                <a:gd name="connsiteY106" fmla="*/ 333073 h 785992"/>
                <a:gd name="connsiteX107" fmla="*/ 19138 w 612094"/>
                <a:gd name="connsiteY107" fmla="*/ 338115 h 785992"/>
                <a:gd name="connsiteX108" fmla="*/ 17861 w 612094"/>
                <a:gd name="connsiteY108" fmla="*/ 343408 h 785992"/>
                <a:gd name="connsiteX109" fmla="*/ 13213 w 612094"/>
                <a:gd name="connsiteY109" fmla="*/ 345978 h 785992"/>
                <a:gd name="connsiteX110" fmla="*/ 22002 w 612094"/>
                <a:gd name="connsiteY110" fmla="*/ 363299 h 785992"/>
                <a:gd name="connsiteX111" fmla="*/ 23023 w 612094"/>
                <a:gd name="connsiteY111" fmla="*/ 369609 h 785992"/>
                <a:gd name="connsiteX112" fmla="*/ 16824 w 612094"/>
                <a:gd name="connsiteY112" fmla="*/ 371402 h 785992"/>
                <a:gd name="connsiteX113" fmla="*/ 12312 w 612094"/>
                <a:gd name="connsiteY113" fmla="*/ 371311 h 785992"/>
                <a:gd name="connsiteX114" fmla="*/ 13609 w 612094"/>
                <a:gd name="connsiteY114" fmla="*/ 382133 h 785992"/>
                <a:gd name="connsiteX115" fmla="*/ 6122 w 612094"/>
                <a:gd name="connsiteY115" fmla="*/ 392608 h 785992"/>
                <a:gd name="connsiteX116" fmla="*/ 0 w 612094"/>
                <a:gd name="connsiteY116" fmla="*/ 394913 h 785992"/>
                <a:gd name="connsiteX117" fmla="*/ 5351 w 612094"/>
                <a:gd name="connsiteY117" fmla="*/ 397603 h 785992"/>
                <a:gd name="connsiteX118" fmla="*/ 6354 w 612094"/>
                <a:gd name="connsiteY118" fmla="*/ 399386 h 785992"/>
                <a:gd name="connsiteX119" fmla="*/ 5775 w 612094"/>
                <a:gd name="connsiteY119" fmla="*/ 405263 h 785992"/>
                <a:gd name="connsiteX120" fmla="*/ 5775 w 612094"/>
                <a:gd name="connsiteY120" fmla="*/ 410681 h 785992"/>
                <a:gd name="connsiteX121" fmla="*/ 10837 w 612094"/>
                <a:gd name="connsiteY121" fmla="*/ 413723 h 785992"/>
                <a:gd name="connsiteX122" fmla="*/ 11555 w 612094"/>
                <a:gd name="connsiteY122" fmla="*/ 414504 h 785992"/>
                <a:gd name="connsiteX123" fmla="*/ 14530 w 612094"/>
                <a:gd name="connsiteY123" fmla="*/ 421084 h 785992"/>
                <a:gd name="connsiteX124" fmla="*/ 14635 w 612094"/>
                <a:gd name="connsiteY124" fmla="*/ 421480 h 785992"/>
                <a:gd name="connsiteX125" fmla="*/ 15706 w 612094"/>
                <a:gd name="connsiteY125" fmla="*/ 426705 h 785992"/>
                <a:gd name="connsiteX126" fmla="*/ 21693 w 612094"/>
                <a:gd name="connsiteY126" fmla="*/ 431097 h 785992"/>
                <a:gd name="connsiteX127" fmla="*/ 22108 w 612094"/>
                <a:gd name="connsiteY127" fmla="*/ 431506 h 785992"/>
                <a:gd name="connsiteX128" fmla="*/ 25950 w 612094"/>
                <a:gd name="connsiteY128" fmla="*/ 436973 h 785992"/>
                <a:gd name="connsiteX129" fmla="*/ 29869 w 612094"/>
                <a:gd name="connsiteY129" fmla="*/ 438473 h 785992"/>
                <a:gd name="connsiteX130" fmla="*/ 36088 w 612094"/>
                <a:gd name="connsiteY130" fmla="*/ 438473 h 785992"/>
                <a:gd name="connsiteX131" fmla="*/ 37018 w 612094"/>
                <a:gd name="connsiteY131" fmla="*/ 438733 h 785992"/>
                <a:gd name="connsiteX132" fmla="*/ 42962 w 612094"/>
                <a:gd name="connsiteY132" fmla="*/ 442310 h 785992"/>
                <a:gd name="connsiteX133" fmla="*/ 43425 w 612094"/>
                <a:gd name="connsiteY133" fmla="*/ 442720 h 785992"/>
                <a:gd name="connsiteX134" fmla="*/ 48626 w 612094"/>
                <a:gd name="connsiteY134" fmla="*/ 449054 h 785992"/>
                <a:gd name="connsiteX135" fmla="*/ 54994 w 612094"/>
                <a:gd name="connsiteY135" fmla="*/ 453687 h 785992"/>
                <a:gd name="connsiteX136" fmla="*/ 55134 w 612094"/>
                <a:gd name="connsiteY136" fmla="*/ 453802 h 785992"/>
                <a:gd name="connsiteX137" fmla="*/ 60885 w 612094"/>
                <a:gd name="connsiteY137" fmla="*/ 458970 h 785992"/>
                <a:gd name="connsiteX138" fmla="*/ 65971 w 612094"/>
                <a:gd name="connsiteY138" fmla="*/ 461222 h 785992"/>
                <a:gd name="connsiteX139" fmla="*/ 66593 w 612094"/>
                <a:gd name="connsiteY139" fmla="*/ 461675 h 785992"/>
                <a:gd name="connsiteX140" fmla="*/ 71915 w 612094"/>
                <a:gd name="connsiteY140" fmla="*/ 467599 h 785992"/>
                <a:gd name="connsiteX141" fmla="*/ 72383 w 612094"/>
                <a:gd name="connsiteY141" fmla="*/ 468640 h 785992"/>
                <a:gd name="connsiteX142" fmla="*/ 72894 w 612094"/>
                <a:gd name="connsiteY142" fmla="*/ 473592 h 785992"/>
                <a:gd name="connsiteX143" fmla="*/ 77777 w 612094"/>
                <a:gd name="connsiteY143" fmla="*/ 476816 h 785992"/>
                <a:gd name="connsiteX144" fmla="*/ 80183 w 612094"/>
                <a:gd name="connsiteY144" fmla="*/ 475452 h 785992"/>
                <a:gd name="connsiteX145" fmla="*/ 75261 w 612094"/>
                <a:gd name="connsiteY145" fmla="*/ 470125 h 785992"/>
                <a:gd name="connsiteX146" fmla="*/ 74807 w 612094"/>
                <a:gd name="connsiteY146" fmla="*/ 468361 h 785992"/>
                <a:gd name="connsiteX147" fmla="*/ 76596 w 612094"/>
                <a:gd name="connsiteY147" fmla="*/ 461814 h 785992"/>
                <a:gd name="connsiteX148" fmla="*/ 76639 w 612094"/>
                <a:gd name="connsiteY148" fmla="*/ 461607 h 785992"/>
                <a:gd name="connsiteX149" fmla="*/ 79026 w 612094"/>
                <a:gd name="connsiteY149" fmla="*/ 455678 h 785992"/>
                <a:gd name="connsiteX150" fmla="*/ 80597 w 612094"/>
                <a:gd name="connsiteY150" fmla="*/ 454574 h 785992"/>
                <a:gd name="connsiteX151" fmla="*/ 82289 w 612094"/>
                <a:gd name="connsiteY151" fmla="*/ 455470 h 785992"/>
                <a:gd name="connsiteX152" fmla="*/ 84647 w 612094"/>
                <a:gd name="connsiteY152" fmla="*/ 459592 h 785992"/>
                <a:gd name="connsiteX153" fmla="*/ 86324 w 612094"/>
                <a:gd name="connsiteY153" fmla="*/ 462383 h 785992"/>
                <a:gd name="connsiteX154" fmla="*/ 87327 w 612094"/>
                <a:gd name="connsiteY154" fmla="*/ 459828 h 785992"/>
                <a:gd name="connsiteX155" fmla="*/ 88513 w 612094"/>
                <a:gd name="connsiteY155" fmla="*/ 458792 h 785992"/>
                <a:gd name="connsiteX156" fmla="*/ 90084 w 612094"/>
                <a:gd name="connsiteY156" fmla="*/ 459018 h 785992"/>
                <a:gd name="connsiteX157" fmla="*/ 95908 w 612094"/>
                <a:gd name="connsiteY157" fmla="*/ 463126 h 785992"/>
                <a:gd name="connsiteX158" fmla="*/ 100714 w 612094"/>
                <a:gd name="connsiteY158" fmla="*/ 465473 h 785992"/>
                <a:gd name="connsiteX159" fmla="*/ 106335 w 612094"/>
                <a:gd name="connsiteY159" fmla="*/ 460889 h 785992"/>
                <a:gd name="connsiteX160" fmla="*/ 107314 w 612094"/>
                <a:gd name="connsiteY160" fmla="*/ 460508 h 785992"/>
                <a:gd name="connsiteX161" fmla="*/ 113253 w 612094"/>
                <a:gd name="connsiteY161" fmla="*/ 459920 h 785992"/>
                <a:gd name="connsiteX162" fmla="*/ 115080 w 612094"/>
                <a:gd name="connsiteY162" fmla="*/ 460889 h 785992"/>
                <a:gd name="connsiteX163" fmla="*/ 115528 w 612094"/>
                <a:gd name="connsiteY163" fmla="*/ 461819 h 785992"/>
                <a:gd name="connsiteX164" fmla="*/ 121279 w 612094"/>
                <a:gd name="connsiteY164" fmla="*/ 467580 h 785992"/>
                <a:gd name="connsiteX165" fmla="*/ 121718 w 612094"/>
                <a:gd name="connsiteY165" fmla="*/ 469402 h 785992"/>
                <a:gd name="connsiteX166" fmla="*/ 120132 w 612094"/>
                <a:gd name="connsiteY166" fmla="*/ 474719 h 785992"/>
                <a:gd name="connsiteX167" fmla="*/ 122272 w 612094"/>
                <a:gd name="connsiteY167" fmla="*/ 480095 h 785992"/>
                <a:gd name="connsiteX168" fmla="*/ 121887 w 612094"/>
                <a:gd name="connsiteY168" fmla="*/ 481994 h 785992"/>
                <a:gd name="connsiteX169" fmla="*/ 120031 w 612094"/>
                <a:gd name="connsiteY169" fmla="*/ 482495 h 785992"/>
                <a:gd name="connsiteX170" fmla="*/ 115692 w 612094"/>
                <a:gd name="connsiteY170" fmla="*/ 481179 h 785992"/>
                <a:gd name="connsiteX171" fmla="*/ 113937 w 612094"/>
                <a:gd name="connsiteY171" fmla="*/ 485614 h 785992"/>
                <a:gd name="connsiteX172" fmla="*/ 112819 w 612094"/>
                <a:gd name="connsiteY172" fmla="*/ 486680 h 785992"/>
                <a:gd name="connsiteX173" fmla="*/ 111310 w 612094"/>
                <a:gd name="connsiteY173" fmla="*/ 486482 h 785992"/>
                <a:gd name="connsiteX174" fmla="*/ 105366 w 612094"/>
                <a:gd name="connsiteY174" fmla="*/ 482953 h 785992"/>
                <a:gd name="connsiteX175" fmla="*/ 104527 w 612094"/>
                <a:gd name="connsiteY175" fmla="*/ 481073 h 785992"/>
                <a:gd name="connsiteX176" fmla="*/ 104812 w 612094"/>
                <a:gd name="connsiteY176" fmla="*/ 479212 h 785992"/>
                <a:gd name="connsiteX177" fmla="*/ 101090 w 612094"/>
                <a:gd name="connsiteY177" fmla="*/ 478504 h 785992"/>
                <a:gd name="connsiteX178" fmla="*/ 95030 w 612094"/>
                <a:gd name="connsiteY178" fmla="*/ 480673 h 785992"/>
                <a:gd name="connsiteX179" fmla="*/ 93734 w 612094"/>
                <a:gd name="connsiteY179" fmla="*/ 480673 h 785992"/>
                <a:gd name="connsiteX180" fmla="*/ 89120 w 612094"/>
                <a:gd name="connsiteY180" fmla="*/ 478851 h 785992"/>
                <a:gd name="connsiteX181" fmla="*/ 86695 w 612094"/>
                <a:gd name="connsiteY181" fmla="*/ 482399 h 785992"/>
                <a:gd name="connsiteX182" fmla="*/ 82699 w 612094"/>
                <a:gd name="connsiteY182" fmla="*/ 482254 h 785992"/>
                <a:gd name="connsiteX183" fmla="*/ 78307 w 612094"/>
                <a:gd name="connsiteY183" fmla="*/ 480201 h 785992"/>
                <a:gd name="connsiteX184" fmla="*/ 80694 w 612094"/>
                <a:gd name="connsiteY184" fmla="*/ 486419 h 785992"/>
                <a:gd name="connsiteX185" fmla="*/ 80732 w 612094"/>
                <a:gd name="connsiteY185" fmla="*/ 486709 h 785992"/>
                <a:gd name="connsiteX186" fmla="*/ 80732 w 612094"/>
                <a:gd name="connsiteY186" fmla="*/ 492682 h 785992"/>
                <a:gd name="connsiteX187" fmla="*/ 80694 w 612094"/>
                <a:gd name="connsiteY187" fmla="*/ 492985 h 785992"/>
                <a:gd name="connsiteX188" fmla="*/ 79681 w 612094"/>
                <a:gd name="connsiteY188" fmla="*/ 498138 h 785992"/>
                <a:gd name="connsiteX189" fmla="*/ 83374 w 612094"/>
                <a:gd name="connsiteY189" fmla="*/ 502631 h 785992"/>
                <a:gd name="connsiteX190" fmla="*/ 87910 w 612094"/>
                <a:gd name="connsiteY190" fmla="*/ 498992 h 785992"/>
                <a:gd name="connsiteX191" fmla="*/ 89858 w 612094"/>
                <a:gd name="connsiteY191" fmla="*/ 498789 h 785992"/>
                <a:gd name="connsiteX192" fmla="*/ 95797 w 612094"/>
                <a:gd name="connsiteY192" fmla="*/ 501744 h 785992"/>
                <a:gd name="connsiteX193" fmla="*/ 96674 w 612094"/>
                <a:gd name="connsiteY193" fmla="*/ 502665 h 785992"/>
                <a:gd name="connsiteX194" fmla="*/ 98897 w 612094"/>
                <a:gd name="connsiteY194" fmla="*/ 508252 h 785992"/>
                <a:gd name="connsiteX195" fmla="*/ 104069 w 612094"/>
                <a:gd name="connsiteY195" fmla="*/ 512880 h 785992"/>
                <a:gd name="connsiteX196" fmla="*/ 104378 w 612094"/>
                <a:gd name="connsiteY196" fmla="*/ 512933 h 785992"/>
                <a:gd name="connsiteX197" fmla="*/ 108582 w 612094"/>
                <a:gd name="connsiteY197" fmla="*/ 514105 h 785992"/>
                <a:gd name="connsiteX198" fmla="*/ 109488 w 612094"/>
                <a:gd name="connsiteY198" fmla="*/ 514722 h 785992"/>
                <a:gd name="connsiteX199" fmla="*/ 114834 w 612094"/>
                <a:gd name="connsiteY199" fmla="*/ 521259 h 785992"/>
                <a:gd name="connsiteX200" fmla="*/ 115273 w 612094"/>
                <a:gd name="connsiteY200" fmla="*/ 522425 h 785992"/>
                <a:gd name="connsiteX201" fmla="*/ 115273 w 612094"/>
                <a:gd name="connsiteY201" fmla="*/ 528596 h 785992"/>
                <a:gd name="connsiteX202" fmla="*/ 116844 w 612094"/>
                <a:gd name="connsiteY202" fmla="*/ 532558 h 785992"/>
                <a:gd name="connsiteX203" fmla="*/ 121091 w 612094"/>
                <a:gd name="connsiteY203" fmla="*/ 530828 h 785992"/>
                <a:gd name="connsiteX204" fmla="*/ 122571 w 612094"/>
                <a:gd name="connsiteY204" fmla="*/ 530891 h 785992"/>
                <a:gd name="connsiteX205" fmla="*/ 123497 w 612094"/>
                <a:gd name="connsiteY205" fmla="*/ 532072 h 785992"/>
                <a:gd name="connsiteX206" fmla="*/ 125314 w 612094"/>
                <a:gd name="connsiteY206" fmla="*/ 538608 h 785992"/>
                <a:gd name="connsiteX207" fmla="*/ 125358 w 612094"/>
                <a:gd name="connsiteY207" fmla="*/ 539259 h 785992"/>
                <a:gd name="connsiteX208" fmla="*/ 124871 w 612094"/>
                <a:gd name="connsiteY208" fmla="*/ 544205 h 785992"/>
                <a:gd name="connsiteX209" fmla="*/ 130043 w 612094"/>
                <a:gd name="connsiteY209" fmla="*/ 548366 h 785992"/>
                <a:gd name="connsiteX210" fmla="*/ 130704 w 612094"/>
                <a:gd name="connsiteY210" fmla="*/ 549619 h 785992"/>
                <a:gd name="connsiteX211" fmla="*/ 131128 w 612094"/>
                <a:gd name="connsiteY211" fmla="*/ 553919 h 785992"/>
                <a:gd name="connsiteX212" fmla="*/ 135958 w 612094"/>
                <a:gd name="connsiteY212" fmla="*/ 553919 h 785992"/>
                <a:gd name="connsiteX213" fmla="*/ 140721 w 612094"/>
                <a:gd name="connsiteY213" fmla="*/ 553451 h 785992"/>
                <a:gd name="connsiteX214" fmla="*/ 142688 w 612094"/>
                <a:gd name="connsiteY214" fmla="*/ 548520 h 785992"/>
                <a:gd name="connsiteX215" fmla="*/ 143315 w 612094"/>
                <a:gd name="connsiteY215" fmla="*/ 547720 h 785992"/>
                <a:gd name="connsiteX216" fmla="*/ 148989 w 612094"/>
                <a:gd name="connsiteY216" fmla="*/ 543593 h 785992"/>
                <a:gd name="connsiteX217" fmla="*/ 148531 w 612094"/>
                <a:gd name="connsiteY217" fmla="*/ 538705 h 785992"/>
                <a:gd name="connsiteX218" fmla="*/ 147923 w 612094"/>
                <a:gd name="connsiteY218" fmla="*/ 534568 h 785992"/>
                <a:gd name="connsiteX219" fmla="*/ 149085 w 612094"/>
                <a:gd name="connsiteY219" fmla="*/ 532616 h 785992"/>
                <a:gd name="connsiteX220" fmla="*/ 151254 w 612094"/>
                <a:gd name="connsiteY220" fmla="*/ 533291 h 785992"/>
                <a:gd name="connsiteX221" fmla="*/ 167177 w 612094"/>
                <a:gd name="connsiteY221" fmla="*/ 546191 h 785992"/>
                <a:gd name="connsiteX222" fmla="*/ 168802 w 612094"/>
                <a:gd name="connsiteY222" fmla="*/ 547984 h 785992"/>
                <a:gd name="connsiteX223" fmla="*/ 168802 w 612094"/>
                <a:gd name="connsiteY223" fmla="*/ 551952 h 785992"/>
                <a:gd name="connsiteX224" fmla="*/ 172576 w 612094"/>
                <a:gd name="connsiteY224" fmla="*/ 550578 h 785992"/>
                <a:gd name="connsiteX225" fmla="*/ 178284 w 612094"/>
                <a:gd name="connsiteY225" fmla="*/ 545454 h 785992"/>
                <a:gd name="connsiteX226" fmla="*/ 178834 w 612094"/>
                <a:gd name="connsiteY226" fmla="*/ 545174 h 785992"/>
                <a:gd name="connsiteX227" fmla="*/ 184744 w 612094"/>
                <a:gd name="connsiteY227" fmla="*/ 542754 h 785992"/>
                <a:gd name="connsiteX228" fmla="*/ 185298 w 612094"/>
                <a:gd name="connsiteY228" fmla="*/ 542633 h 785992"/>
                <a:gd name="connsiteX229" fmla="*/ 208143 w 612094"/>
                <a:gd name="connsiteY229" fmla="*/ 535846 h 785992"/>
                <a:gd name="connsiteX230" fmla="*/ 211557 w 612094"/>
                <a:gd name="connsiteY230" fmla="*/ 532438 h 785992"/>
                <a:gd name="connsiteX231" fmla="*/ 212280 w 612094"/>
                <a:gd name="connsiteY231" fmla="*/ 531995 h 785992"/>
                <a:gd name="connsiteX232" fmla="*/ 218229 w 612094"/>
                <a:gd name="connsiteY232" fmla="*/ 530201 h 785992"/>
                <a:gd name="connsiteX233" fmla="*/ 218580 w 612094"/>
                <a:gd name="connsiteY233" fmla="*/ 530119 h 785992"/>
                <a:gd name="connsiteX234" fmla="*/ 224491 w 612094"/>
                <a:gd name="connsiteY234" fmla="*/ 529536 h 785992"/>
                <a:gd name="connsiteX235" fmla="*/ 225195 w 612094"/>
                <a:gd name="connsiteY235" fmla="*/ 529584 h 785992"/>
                <a:gd name="connsiteX236" fmla="*/ 231727 w 612094"/>
                <a:gd name="connsiteY236" fmla="*/ 531353 h 785992"/>
                <a:gd name="connsiteX237" fmla="*/ 232199 w 612094"/>
                <a:gd name="connsiteY237" fmla="*/ 531536 h 785992"/>
                <a:gd name="connsiteX238" fmla="*/ 237536 w 612094"/>
                <a:gd name="connsiteY238" fmla="*/ 534776 h 785992"/>
                <a:gd name="connsiteX239" fmla="*/ 242747 w 612094"/>
                <a:gd name="connsiteY239" fmla="*/ 533735 h 785992"/>
                <a:gd name="connsiteX240" fmla="*/ 249216 w 612094"/>
                <a:gd name="connsiteY240" fmla="*/ 531975 h 785992"/>
                <a:gd name="connsiteX241" fmla="*/ 249534 w 612094"/>
                <a:gd name="connsiteY241" fmla="*/ 531912 h 785992"/>
                <a:gd name="connsiteX242" fmla="*/ 255223 w 612094"/>
                <a:gd name="connsiteY242" fmla="*/ 531329 h 785992"/>
                <a:gd name="connsiteX243" fmla="*/ 259653 w 612094"/>
                <a:gd name="connsiteY243" fmla="*/ 529560 h 785992"/>
                <a:gd name="connsiteX244" fmla="*/ 259180 w 612094"/>
                <a:gd name="connsiteY244" fmla="*/ 524966 h 785992"/>
                <a:gd name="connsiteX245" fmla="*/ 259253 w 612094"/>
                <a:gd name="connsiteY245" fmla="*/ 524305 h 785992"/>
                <a:gd name="connsiteX246" fmla="*/ 261003 w 612094"/>
                <a:gd name="connsiteY246" fmla="*/ 517783 h 785992"/>
                <a:gd name="connsiteX247" fmla="*/ 261933 w 612094"/>
                <a:gd name="connsiteY247" fmla="*/ 516655 h 785992"/>
                <a:gd name="connsiteX248" fmla="*/ 263399 w 612094"/>
                <a:gd name="connsiteY248" fmla="*/ 516539 h 785992"/>
                <a:gd name="connsiteX249" fmla="*/ 269969 w 612094"/>
                <a:gd name="connsiteY249" fmla="*/ 518925 h 785992"/>
                <a:gd name="connsiteX250" fmla="*/ 270620 w 612094"/>
                <a:gd name="connsiteY250" fmla="*/ 519340 h 785992"/>
                <a:gd name="connsiteX251" fmla="*/ 276549 w 612094"/>
                <a:gd name="connsiteY251" fmla="*/ 525308 h 785992"/>
                <a:gd name="connsiteX252" fmla="*/ 276940 w 612094"/>
                <a:gd name="connsiteY252" fmla="*/ 525853 h 785992"/>
                <a:gd name="connsiteX253" fmla="*/ 279664 w 612094"/>
                <a:gd name="connsiteY253" fmla="*/ 531854 h 785992"/>
                <a:gd name="connsiteX254" fmla="*/ 283356 w 612094"/>
                <a:gd name="connsiteY254" fmla="*/ 534024 h 785992"/>
                <a:gd name="connsiteX255" fmla="*/ 284316 w 612094"/>
                <a:gd name="connsiteY255" fmla="*/ 531787 h 785992"/>
                <a:gd name="connsiteX256" fmla="*/ 284354 w 612094"/>
                <a:gd name="connsiteY256" fmla="*/ 531720 h 785992"/>
                <a:gd name="connsiteX257" fmla="*/ 287377 w 612094"/>
                <a:gd name="connsiteY257" fmla="*/ 525742 h 785992"/>
                <a:gd name="connsiteX258" fmla="*/ 287589 w 612094"/>
                <a:gd name="connsiteY258" fmla="*/ 525409 h 785992"/>
                <a:gd name="connsiteX259" fmla="*/ 290573 w 612094"/>
                <a:gd name="connsiteY259" fmla="*/ 521842 h 785992"/>
                <a:gd name="connsiteX260" fmla="*/ 292236 w 612094"/>
                <a:gd name="connsiteY260" fmla="*/ 521210 h 785992"/>
                <a:gd name="connsiteX261" fmla="*/ 293668 w 612094"/>
                <a:gd name="connsiteY261" fmla="*/ 522348 h 785992"/>
                <a:gd name="connsiteX262" fmla="*/ 295769 w 612094"/>
                <a:gd name="connsiteY262" fmla="*/ 527622 h 785992"/>
                <a:gd name="connsiteX263" fmla="*/ 300860 w 612094"/>
                <a:gd name="connsiteY263" fmla="*/ 530196 h 785992"/>
                <a:gd name="connsiteX264" fmla="*/ 306573 w 612094"/>
                <a:gd name="connsiteY264" fmla="*/ 531324 h 785992"/>
                <a:gd name="connsiteX265" fmla="*/ 307773 w 612094"/>
                <a:gd name="connsiteY265" fmla="*/ 532153 h 785992"/>
                <a:gd name="connsiteX266" fmla="*/ 311220 w 612094"/>
                <a:gd name="connsiteY266" fmla="*/ 537533 h 785992"/>
                <a:gd name="connsiteX267" fmla="*/ 316441 w 612094"/>
                <a:gd name="connsiteY267" fmla="*/ 536116 h 785992"/>
                <a:gd name="connsiteX268" fmla="*/ 317318 w 612094"/>
                <a:gd name="connsiteY268" fmla="*/ 536087 h 785992"/>
                <a:gd name="connsiteX269" fmla="*/ 323002 w 612094"/>
                <a:gd name="connsiteY269" fmla="*/ 537220 h 785992"/>
                <a:gd name="connsiteX270" fmla="*/ 328685 w 612094"/>
                <a:gd name="connsiteY270" fmla="*/ 536651 h 785992"/>
                <a:gd name="connsiteX271" fmla="*/ 329736 w 612094"/>
                <a:gd name="connsiteY271" fmla="*/ 536873 h 785992"/>
                <a:gd name="connsiteX272" fmla="*/ 335135 w 612094"/>
                <a:gd name="connsiteY272" fmla="*/ 539833 h 785992"/>
                <a:gd name="connsiteX273" fmla="*/ 340737 w 612094"/>
                <a:gd name="connsiteY273" fmla="*/ 534742 h 785992"/>
                <a:gd name="connsiteX274" fmla="*/ 343157 w 612094"/>
                <a:gd name="connsiteY274" fmla="*/ 534742 h 785992"/>
                <a:gd name="connsiteX275" fmla="*/ 348609 w 612094"/>
                <a:gd name="connsiteY275" fmla="*/ 539655 h 785992"/>
                <a:gd name="connsiteX276" fmla="*/ 355045 w 612094"/>
                <a:gd name="connsiteY276" fmla="*/ 539655 h 785992"/>
                <a:gd name="connsiteX277" fmla="*/ 356838 w 612094"/>
                <a:gd name="connsiteY277" fmla="*/ 541241 h 785992"/>
                <a:gd name="connsiteX278" fmla="*/ 357451 w 612094"/>
                <a:gd name="connsiteY278" fmla="*/ 547825 h 785992"/>
                <a:gd name="connsiteX279" fmla="*/ 357002 w 612094"/>
                <a:gd name="connsiteY279" fmla="*/ 549209 h 785992"/>
                <a:gd name="connsiteX280" fmla="*/ 351627 w 612094"/>
                <a:gd name="connsiteY280" fmla="*/ 555187 h 785992"/>
                <a:gd name="connsiteX281" fmla="*/ 351111 w 612094"/>
                <a:gd name="connsiteY281" fmla="*/ 555591 h 785992"/>
                <a:gd name="connsiteX282" fmla="*/ 345153 w 612094"/>
                <a:gd name="connsiteY282" fmla="*/ 558566 h 785992"/>
                <a:gd name="connsiteX283" fmla="*/ 344507 w 612094"/>
                <a:gd name="connsiteY283" fmla="*/ 558740 h 785992"/>
                <a:gd name="connsiteX284" fmla="*/ 338568 w 612094"/>
                <a:gd name="connsiteY284" fmla="*/ 559338 h 785992"/>
                <a:gd name="connsiteX285" fmla="*/ 338361 w 612094"/>
                <a:gd name="connsiteY285" fmla="*/ 559338 h 785992"/>
                <a:gd name="connsiteX286" fmla="*/ 332764 w 612094"/>
                <a:gd name="connsiteY286" fmla="*/ 559338 h 785992"/>
                <a:gd name="connsiteX287" fmla="*/ 327268 w 612094"/>
                <a:gd name="connsiteY287" fmla="*/ 561333 h 785992"/>
                <a:gd name="connsiteX288" fmla="*/ 325933 w 612094"/>
                <a:gd name="connsiteY288" fmla="*/ 564708 h 785992"/>
                <a:gd name="connsiteX289" fmla="*/ 330006 w 612094"/>
                <a:gd name="connsiteY289" fmla="*/ 565923 h 785992"/>
                <a:gd name="connsiteX290" fmla="*/ 331019 w 612094"/>
                <a:gd name="connsiteY290" fmla="*/ 566679 h 785992"/>
                <a:gd name="connsiteX291" fmla="*/ 334605 w 612094"/>
                <a:gd name="connsiteY291" fmla="*/ 572652 h 785992"/>
                <a:gd name="connsiteX292" fmla="*/ 334774 w 612094"/>
                <a:gd name="connsiteY292" fmla="*/ 574089 h 785992"/>
                <a:gd name="connsiteX293" fmla="*/ 333824 w 612094"/>
                <a:gd name="connsiteY293" fmla="*/ 575217 h 785992"/>
                <a:gd name="connsiteX294" fmla="*/ 330257 w 612094"/>
                <a:gd name="connsiteY294" fmla="*/ 576947 h 785992"/>
                <a:gd name="connsiteX295" fmla="*/ 330165 w 612094"/>
                <a:gd name="connsiteY295" fmla="*/ 577049 h 785992"/>
                <a:gd name="connsiteX296" fmla="*/ 324173 w 612094"/>
                <a:gd name="connsiteY296" fmla="*/ 579401 h 785992"/>
                <a:gd name="connsiteX297" fmla="*/ 322982 w 612094"/>
                <a:gd name="connsiteY297" fmla="*/ 579488 h 785992"/>
                <a:gd name="connsiteX298" fmla="*/ 317019 w 612094"/>
                <a:gd name="connsiteY298" fmla="*/ 577690 h 785992"/>
                <a:gd name="connsiteX299" fmla="*/ 316412 w 612094"/>
                <a:gd name="connsiteY299" fmla="*/ 577367 h 785992"/>
                <a:gd name="connsiteX300" fmla="*/ 310521 w 612094"/>
                <a:gd name="connsiteY300" fmla="*/ 572647 h 785992"/>
                <a:gd name="connsiteX301" fmla="*/ 304871 w 612094"/>
                <a:gd name="connsiteY301" fmla="*/ 568723 h 785992"/>
                <a:gd name="connsiteX302" fmla="*/ 299192 w 612094"/>
                <a:gd name="connsiteY302" fmla="*/ 567002 h 785992"/>
                <a:gd name="connsiteX303" fmla="*/ 299038 w 612094"/>
                <a:gd name="connsiteY303" fmla="*/ 566930 h 785992"/>
                <a:gd name="connsiteX304" fmla="*/ 293191 w 612094"/>
                <a:gd name="connsiteY304" fmla="*/ 564587 h 785992"/>
                <a:gd name="connsiteX305" fmla="*/ 286726 w 612094"/>
                <a:gd name="connsiteY305" fmla="*/ 562861 h 785992"/>
                <a:gd name="connsiteX306" fmla="*/ 280449 w 612094"/>
                <a:gd name="connsiteY306" fmla="*/ 561102 h 785992"/>
                <a:gd name="connsiteX307" fmla="*/ 252687 w 612094"/>
                <a:gd name="connsiteY307" fmla="*/ 558764 h 785992"/>
                <a:gd name="connsiteX308" fmla="*/ 252171 w 612094"/>
                <a:gd name="connsiteY308" fmla="*/ 558667 h 785992"/>
                <a:gd name="connsiteX309" fmla="*/ 246271 w 612094"/>
                <a:gd name="connsiteY309" fmla="*/ 556913 h 785992"/>
                <a:gd name="connsiteX310" fmla="*/ 240413 w 612094"/>
                <a:gd name="connsiteY310" fmla="*/ 555712 h 785992"/>
                <a:gd name="connsiteX311" fmla="*/ 239618 w 612094"/>
                <a:gd name="connsiteY311" fmla="*/ 555360 h 785992"/>
                <a:gd name="connsiteX312" fmla="*/ 233515 w 612094"/>
                <a:gd name="connsiteY312" fmla="*/ 550318 h 785992"/>
                <a:gd name="connsiteX313" fmla="*/ 228121 w 612094"/>
                <a:gd name="connsiteY313" fmla="*/ 549812 h 785992"/>
                <a:gd name="connsiteX314" fmla="*/ 227306 w 612094"/>
                <a:gd name="connsiteY314" fmla="*/ 549523 h 785992"/>
                <a:gd name="connsiteX315" fmla="*/ 221058 w 612094"/>
                <a:gd name="connsiteY315" fmla="*/ 545569 h 785992"/>
                <a:gd name="connsiteX316" fmla="*/ 215780 w 612094"/>
                <a:gd name="connsiteY316" fmla="*/ 544509 h 785992"/>
                <a:gd name="connsiteX317" fmla="*/ 210361 w 612094"/>
                <a:gd name="connsiteY317" fmla="*/ 545574 h 785992"/>
                <a:gd name="connsiteX318" fmla="*/ 204822 w 612094"/>
                <a:gd name="connsiteY318" fmla="*/ 547787 h 785992"/>
                <a:gd name="connsiteX319" fmla="*/ 198859 w 612094"/>
                <a:gd name="connsiteY319" fmla="*/ 552661 h 785992"/>
                <a:gd name="connsiteX320" fmla="*/ 196690 w 612094"/>
                <a:gd name="connsiteY320" fmla="*/ 558672 h 785992"/>
                <a:gd name="connsiteX321" fmla="*/ 194906 w 612094"/>
                <a:gd name="connsiteY321" fmla="*/ 564597 h 785992"/>
                <a:gd name="connsiteX322" fmla="*/ 194675 w 612094"/>
                <a:gd name="connsiteY322" fmla="*/ 565117 h 785992"/>
                <a:gd name="connsiteX323" fmla="*/ 189878 w 612094"/>
                <a:gd name="connsiteY323" fmla="*/ 571664 h 785992"/>
                <a:gd name="connsiteX324" fmla="*/ 189073 w 612094"/>
                <a:gd name="connsiteY324" fmla="*/ 572286 h 785992"/>
                <a:gd name="connsiteX325" fmla="*/ 183115 w 612094"/>
                <a:gd name="connsiteY325" fmla="*/ 574653 h 785992"/>
                <a:gd name="connsiteX326" fmla="*/ 182295 w 612094"/>
                <a:gd name="connsiteY326" fmla="*/ 574807 h 785992"/>
                <a:gd name="connsiteX327" fmla="*/ 176351 w 612094"/>
                <a:gd name="connsiteY327" fmla="*/ 574200 h 785992"/>
                <a:gd name="connsiteX328" fmla="*/ 175980 w 612094"/>
                <a:gd name="connsiteY328" fmla="*/ 574127 h 785992"/>
                <a:gd name="connsiteX329" fmla="*/ 170113 w 612094"/>
                <a:gd name="connsiteY329" fmla="*/ 572373 h 785992"/>
                <a:gd name="connsiteX330" fmla="*/ 164868 w 612094"/>
                <a:gd name="connsiteY330" fmla="*/ 571351 h 785992"/>
                <a:gd name="connsiteX331" fmla="*/ 160693 w 612094"/>
                <a:gd name="connsiteY331" fmla="*/ 573418 h 785992"/>
                <a:gd name="connsiteX332" fmla="*/ 161653 w 612094"/>
                <a:gd name="connsiteY332" fmla="*/ 578615 h 785992"/>
                <a:gd name="connsiteX333" fmla="*/ 161667 w 612094"/>
                <a:gd name="connsiteY333" fmla="*/ 578938 h 785992"/>
                <a:gd name="connsiteX334" fmla="*/ 161667 w 612094"/>
                <a:gd name="connsiteY334" fmla="*/ 579527 h 785992"/>
                <a:gd name="connsiteX335" fmla="*/ 161580 w 612094"/>
                <a:gd name="connsiteY335" fmla="*/ 580148 h 785992"/>
                <a:gd name="connsiteX336" fmla="*/ 159218 w 612094"/>
                <a:gd name="connsiteY336" fmla="*/ 586608 h 785992"/>
                <a:gd name="connsiteX337" fmla="*/ 157512 w 612094"/>
                <a:gd name="connsiteY337" fmla="*/ 592870 h 785992"/>
                <a:gd name="connsiteX338" fmla="*/ 157512 w 612094"/>
                <a:gd name="connsiteY338" fmla="*/ 598597 h 785992"/>
                <a:gd name="connsiteX339" fmla="*/ 156837 w 612094"/>
                <a:gd name="connsiteY339" fmla="*/ 599986 h 785992"/>
                <a:gd name="connsiteX340" fmla="*/ 150444 w 612094"/>
                <a:gd name="connsiteY340" fmla="*/ 605207 h 785992"/>
                <a:gd name="connsiteX341" fmla="*/ 145807 w 612094"/>
                <a:gd name="connsiteY341" fmla="*/ 611015 h 785992"/>
                <a:gd name="connsiteX342" fmla="*/ 144872 w 612094"/>
                <a:gd name="connsiteY342" fmla="*/ 611627 h 785992"/>
                <a:gd name="connsiteX343" fmla="*/ 139526 w 612094"/>
                <a:gd name="connsiteY343" fmla="*/ 613064 h 785992"/>
                <a:gd name="connsiteX344" fmla="*/ 139116 w 612094"/>
                <a:gd name="connsiteY344" fmla="*/ 617181 h 785992"/>
                <a:gd name="connsiteX345" fmla="*/ 142399 w 612094"/>
                <a:gd name="connsiteY345" fmla="*/ 622349 h 785992"/>
                <a:gd name="connsiteX346" fmla="*/ 161431 w 612094"/>
                <a:gd name="connsiteY346" fmla="*/ 628577 h 785992"/>
                <a:gd name="connsiteX347" fmla="*/ 162135 w 612094"/>
                <a:gd name="connsiteY347" fmla="*/ 629464 h 785992"/>
                <a:gd name="connsiteX348" fmla="*/ 164420 w 612094"/>
                <a:gd name="connsiteY348" fmla="*/ 635157 h 785992"/>
                <a:gd name="connsiteX349" fmla="*/ 169173 w 612094"/>
                <a:gd name="connsiteY349" fmla="*/ 640952 h 785992"/>
                <a:gd name="connsiteX350" fmla="*/ 174490 w 612094"/>
                <a:gd name="connsiteY350" fmla="*/ 642022 h 785992"/>
                <a:gd name="connsiteX351" fmla="*/ 175334 w 612094"/>
                <a:gd name="connsiteY351" fmla="*/ 642447 h 785992"/>
                <a:gd name="connsiteX352" fmla="*/ 181032 w 612094"/>
                <a:gd name="connsiteY352" fmla="*/ 647566 h 785992"/>
                <a:gd name="connsiteX353" fmla="*/ 182454 w 612094"/>
                <a:gd name="connsiteY353" fmla="*/ 648029 h 785992"/>
                <a:gd name="connsiteX354" fmla="*/ 182478 w 612094"/>
                <a:gd name="connsiteY354" fmla="*/ 648043 h 785992"/>
                <a:gd name="connsiteX355" fmla="*/ 189039 w 612094"/>
                <a:gd name="connsiteY355" fmla="*/ 650430 h 785992"/>
                <a:gd name="connsiteX356" fmla="*/ 189372 w 612094"/>
                <a:gd name="connsiteY356" fmla="*/ 650569 h 785992"/>
                <a:gd name="connsiteX357" fmla="*/ 195296 w 612094"/>
                <a:gd name="connsiteY357" fmla="*/ 654165 h 785992"/>
                <a:gd name="connsiteX358" fmla="*/ 195740 w 612094"/>
                <a:gd name="connsiteY358" fmla="*/ 654469 h 785992"/>
                <a:gd name="connsiteX359" fmla="*/ 201689 w 612094"/>
                <a:gd name="connsiteY359" fmla="*/ 661044 h 785992"/>
                <a:gd name="connsiteX360" fmla="*/ 201756 w 612094"/>
                <a:gd name="connsiteY360" fmla="*/ 661141 h 785992"/>
                <a:gd name="connsiteX361" fmla="*/ 206505 w 612094"/>
                <a:gd name="connsiteY361" fmla="*/ 667085 h 785992"/>
                <a:gd name="connsiteX362" fmla="*/ 212140 w 612094"/>
                <a:gd name="connsiteY362" fmla="*/ 675926 h 785992"/>
                <a:gd name="connsiteX363" fmla="*/ 214531 w 612094"/>
                <a:gd name="connsiteY363" fmla="*/ 682449 h 785992"/>
                <a:gd name="connsiteX364" fmla="*/ 214603 w 612094"/>
                <a:gd name="connsiteY364" fmla="*/ 683408 h 785992"/>
                <a:gd name="connsiteX365" fmla="*/ 213403 w 612094"/>
                <a:gd name="connsiteY365" fmla="*/ 689955 h 785992"/>
                <a:gd name="connsiteX366" fmla="*/ 213200 w 612094"/>
                <a:gd name="connsiteY366" fmla="*/ 690571 h 785992"/>
                <a:gd name="connsiteX367" fmla="*/ 209614 w 612094"/>
                <a:gd name="connsiteY367" fmla="*/ 696525 h 785992"/>
                <a:gd name="connsiteX368" fmla="*/ 209479 w 612094"/>
                <a:gd name="connsiteY368" fmla="*/ 696732 h 785992"/>
                <a:gd name="connsiteX369" fmla="*/ 204465 w 612094"/>
                <a:gd name="connsiteY369" fmla="*/ 702855 h 785992"/>
                <a:gd name="connsiteX370" fmla="*/ 203988 w 612094"/>
                <a:gd name="connsiteY370" fmla="*/ 707777 h 785992"/>
                <a:gd name="connsiteX371" fmla="*/ 206741 w 612094"/>
                <a:gd name="connsiteY371" fmla="*/ 713856 h 785992"/>
                <a:gd name="connsiteX372" fmla="*/ 206832 w 612094"/>
                <a:gd name="connsiteY372" fmla="*/ 714063 h 785992"/>
                <a:gd name="connsiteX373" fmla="*/ 208481 w 612094"/>
                <a:gd name="connsiteY373" fmla="*/ 719573 h 785992"/>
                <a:gd name="connsiteX374" fmla="*/ 214054 w 612094"/>
                <a:gd name="connsiteY374" fmla="*/ 724562 h 785992"/>
                <a:gd name="connsiteX375" fmla="*/ 214314 w 612094"/>
                <a:gd name="connsiteY375" fmla="*/ 724905 h 785992"/>
                <a:gd name="connsiteX376" fmla="*/ 218185 w 612094"/>
                <a:gd name="connsiteY376" fmla="*/ 730400 h 785992"/>
                <a:gd name="connsiteX377" fmla="*/ 223632 w 612094"/>
                <a:gd name="connsiteY377" fmla="*/ 732584 h 785992"/>
                <a:gd name="connsiteX378" fmla="*/ 224770 w 612094"/>
                <a:gd name="connsiteY378" fmla="*/ 734450 h 785992"/>
                <a:gd name="connsiteX379" fmla="*/ 237897 w 612094"/>
                <a:gd name="connsiteY379" fmla="*/ 749230 h 785992"/>
                <a:gd name="connsiteX380" fmla="*/ 239912 w 612094"/>
                <a:gd name="connsiteY380" fmla="*/ 749910 h 785992"/>
                <a:gd name="connsiteX381" fmla="*/ 243518 w 612094"/>
                <a:gd name="connsiteY381" fmla="*/ 755048 h 785992"/>
                <a:gd name="connsiteX382" fmla="*/ 247495 w 612094"/>
                <a:gd name="connsiteY382" fmla="*/ 755048 h 785992"/>
                <a:gd name="connsiteX383" fmla="*/ 250079 w 612094"/>
                <a:gd name="connsiteY383" fmla="*/ 750753 h 785992"/>
                <a:gd name="connsiteX384" fmla="*/ 247992 w 612094"/>
                <a:gd name="connsiteY384" fmla="*/ 745012 h 785992"/>
                <a:gd name="connsiteX385" fmla="*/ 247987 w 612094"/>
                <a:gd name="connsiteY385" fmla="*/ 744901 h 785992"/>
                <a:gd name="connsiteX386" fmla="*/ 246184 w 612094"/>
                <a:gd name="connsiteY386" fmla="*/ 738938 h 785992"/>
                <a:gd name="connsiteX387" fmla="*/ 246131 w 612094"/>
                <a:gd name="connsiteY387" fmla="*/ 738595 h 785992"/>
                <a:gd name="connsiteX388" fmla="*/ 245538 w 612094"/>
                <a:gd name="connsiteY388" fmla="*/ 732150 h 785992"/>
                <a:gd name="connsiteX389" fmla="*/ 244357 w 612094"/>
                <a:gd name="connsiteY389" fmla="*/ 726269 h 785992"/>
                <a:gd name="connsiteX390" fmla="*/ 244742 w 612094"/>
                <a:gd name="connsiteY390" fmla="*/ 724793 h 785992"/>
                <a:gd name="connsiteX391" fmla="*/ 250074 w 612094"/>
                <a:gd name="connsiteY391" fmla="*/ 718243 h 785992"/>
                <a:gd name="connsiteX392" fmla="*/ 250624 w 612094"/>
                <a:gd name="connsiteY392" fmla="*/ 717813 h 785992"/>
                <a:gd name="connsiteX393" fmla="*/ 257170 w 612094"/>
                <a:gd name="connsiteY393" fmla="*/ 714208 h 785992"/>
                <a:gd name="connsiteX394" fmla="*/ 257903 w 612094"/>
                <a:gd name="connsiteY394" fmla="*/ 714005 h 785992"/>
                <a:gd name="connsiteX395" fmla="*/ 263803 w 612094"/>
                <a:gd name="connsiteY395" fmla="*/ 713412 h 785992"/>
                <a:gd name="connsiteX396" fmla="*/ 265110 w 612094"/>
                <a:gd name="connsiteY396" fmla="*/ 713793 h 785992"/>
                <a:gd name="connsiteX397" fmla="*/ 270442 w 612094"/>
                <a:gd name="connsiteY397" fmla="*/ 717944 h 785992"/>
                <a:gd name="connsiteX398" fmla="*/ 271160 w 612094"/>
                <a:gd name="connsiteY398" fmla="*/ 719226 h 785992"/>
                <a:gd name="connsiteX399" fmla="*/ 271729 w 612094"/>
                <a:gd name="connsiteY399" fmla="*/ 725415 h 785992"/>
                <a:gd name="connsiteX400" fmla="*/ 273932 w 612094"/>
                <a:gd name="connsiteY400" fmla="*/ 729822 h 785992"/>
                <a:gd name="connsiteX401" fmla="*/ 278512 w 612094"/>
                <a:gd name="connsiteY401" fmla="*/ 728916 h 785992"/>
                <a:gd name="connsiteX402" fmla="*/ 280020 w 612094"/>
                <a:gd name="connsiteY402" fmla="*/ 729301 h 785992"/>
                <a:gd name="connsiteX403" fmla="*/ 286581 w 612094"/>
                <a:gd name="connsiteY403" fmla="*/ 734671 h 785992"/>
                <a:gd name="connsiteX404" fmla="*/ 286890 w 612094"/>
                <a:gd name="connsiteY404" fmla="*/ 734985 h 785992"/>
                <a:gd name="connsiteX405" fmla="*/ 291638 w 612094"/>
                <a:gd name="connsiteY405" fmla="*/ 741546 h 785992"/>
                <a:gd name="connsiteX406" fmla="*/ 295832 w 612094"/>
                <a:gd name="connsiteY406" fmla="*/ 747499 h 785992"/>
                <a:gd name="connsiteX407" fmla="*/ 296015 w 612094"/>
                <a:gd name="connsiteY407" fmla="*/ 747885 h 785992"/>
                <a:gd name="connsiteX408" fmla="*/ 296999 w 612094"/>
                <a:gd name="connsiteY408" fmla="*/ 750339 h 785992"/>
                <a:gd name="connsiteX409" fmla="*/ 302528 w 612094"/>
                <a:gd name="connsiteY409" fmla="*/ 754200 h 785992"/>
                <a:gd name="connsiteX410" fmla="*/ 303232 w 612094"/>
                <a:gd name="connsiteY410" fmla="*/ 755203 h 785992"/>
                <a:gd name="connsiteX411" fmla="*/ 305016 w 612094"/>
                <a:gd name="connsiteY411" fmla="*/ 761764 h 785992"/>
                <a:gd name="connsiteX412" fmla="*/ 305054 w 612094"/>
                <a:gd name="connsiteY412" fmla="*/ 762039 h 785992"/>
                <a:gd name="connsiteX413" fmla="*/ 305657 w 612094"/>
                <a:gd name="connsiteY413" fmla="*/ 767920 h 785992"/>
                <a:gd name="connsiteX414" fmla="*/ 306824 w 612094"/>
                <a:gd name="connsiteY414" fmla="*/ 773777 h 785992"/>
                <a:gd name="connsiteX415" fmla="*/ 306713 w 612094"/>
                <a:gd name="connsiteY415" fmla="*/ 774838 h 785992"/>
                <a:gd name="connsiteX416" fmla="*/ 304900 w 612094"/>
                <a:gd name="connsiteY416" fmla="*/ 779437 h 785992"/>
                <a:gd name="connsiteX417" fmla="*/ 309335 w 612094"/>
                <a:gd name="connsiteY417" fmla="*/ 782560 h 785992"/>
                <a:gd name="connsiteX418" fmla="*/ 314951 w 612094"/>
                <a:gd name="connsiteY418" fmla="*/ 783650 h 785992"/>
                <a:gd name="connsiteX419" fmla="*/ 315641 w 612094"/>
                <a:gd name="connsiteY419" fmla="*/ 784002 h 785992"/>
                <a:gd name="connsiteX420" fmla="*/ 318412 w 612094"/>
                <a:gd name="connsiteY420" fmla="*/ 785993 h 785992"/>
                <a:gd name="connsiteX421" fmla="*/ 312888 w 612094"/>
                <a:gd name="connsiteY421" fmla="*/ 765182 h 785992"/>
                <a:gd name="connsiteX422" fmla="*/ 315159 w 612094"/>
                <a:gd name="connsiteY422" fmla="*/ 758857 h 785992"/>
                <a:gd name="connsiteX423" fmla="*/ 315727 w 612094"/>
                <a:gd name="connsiteY423" fmla="*/ 753101 h 785992"/>
                <a:gd name="connsiteX424" fmla="*/ 315761 w 612094"/>
                <a:gd name="connsiteY424" fmla="*/ 752841 h 785992"/>
                <a:gd name="connsiteX425" fmla="*/ 317530 w 612094"/>
                <a:gd name="connsiteY425" fmla="*/ 746391 h 785992"/>
                <a:gd name="connsiteX426" fmla="*/ 318138 w 612094"/>
                <a:gd name="connsiteY426" fmla="*/ 740601 h 785992"/>
                <a:gd name="connsiteX427" fmla="*/ 318678 w 612094"/>
                <a:gd name="connsiteY427" fmla="*/ 739463 h 785992"/>
                <a:gd name="connsiteX428" fmla="*/ 324675 w 612094"/>
                <a:gd name="connsiteY428" fmla="*/ 734102 h 785992"/>
                <a:gd name="connsiteX429" fmla="*/ 325542 w 612094"/>
                <a:gd name="connsiteY429" fmla="*/ 733664 h 785992"/>
                <a:gd name="connsiteX430" fmla="*/ 332108 w 612094"/>
                <a:gd name="connsiteY430" fmla="*/ 732478 h 785992"/>
                <a:gd name="connsiteX431" fmla="*/ 332426 w 612094"/>
                <a:gd name="connsiteY431" fmla="*/ 732478 h 785992"/>
                <a:gd name="connsiteX432" fmla="*/ 332855 w 612094"/>
                <a:gd name="connsiteY432" fmla="*/ 732478 h 785992"/>
                <a:gd name="connsiteX433" fmla="*/ 339228 w 612094"/>
                <a:gd name="connsiteY433" fmla="*/ 731321 h 785992"/>
                <a:gd name="connsiteX434" fmla="*/ 340776 w 612094"/>
                <a:gd name="connsiteY434" fmla="*/ 731731 h 785992"/>
                <a:gd name="connsiteX435" fmla="*/ 346724 w 612094"/>
                <a:gd name="connsiteY435" fmla="*/ 737087 h 785992"/>
                <a:gd name="connsiteX436" fmla="*/ 347149 w 612094"/>
                <a:gd name="connsiteY436" fmla="*/ 737641 h 785992"/>
                <a:gd name="connsiteX437" fmla="*/ 350118 w 612094"/>
                <a:gd name="connsiteY437" fmla="*/ 743594 h 785992"/>
                <a:gd name="connsiteX438" fmla="*/ 350268 w 612094"/>
                <a:gd name="connsiteY438" fmla="*/ 744043 h 785992"/>
                <a:gd name="connsiteX439" fmla="*/ 351140 w 612094"/>
                <a:gd name="connsiteY439" fmla="*/ 748362 h 785992"/>
                <a:gd name="connsiteX440" fmla="*/ 355445 w 612094"/>
                <a:gd name="connsiteY440" fmla="*/ 747948 h 785992"/>
                <a:gd name="connsiteX441" fmla="*/ 357263 w 612094"/>
                <a:gd name="connsiteY441" fmla="*/ 748921 h 785992"/>
                <a:gd name="connsiteX442" fmla="*/ 360020 w 612094"/>
                <a:gd name="connsiteY442" fmla="*/ 754436 h 785992"/>
                <a:gd name="connsiteX443" fmla="*/ 366138 w 612094"/>
                <a:gd name="connsiteY443" fmla="*/ 758312 h 785992"/>
                <a:gd name="connsiteX444" fmla="*/ 366687 w 612094"/>
                <a:gd name="connsiteY444" fmla="*/ 758929 h 785992"/>
                <a:gd name="connsiteX445" fmla="*/ 369690 w 612094"/>
                <a:gd name="connsiteY445" fmla="*/ 763885 h 785992"/>
                <a:gd name="connsiteX446" fmla="*/ 374497 w 612094"/>
                <a:gd name="connsiteY446" fmla="*/ 763398 h 785992"/>
                <a:gd name="connsiteX447" fmla="*/ 375562 w 612094"/>
                <a:gd name="connsiteY447" fmla="*/ 763620 h 785992"/>
                <a:gd name="connsiteX448" fmla="*/ 382080 w 612094"/>
                <a:gd name="connsiteY448" fmla="*/ 767192 h 785992"/>
                <a:gd name="connsiteX449" fmla="*/ 382846 w 612094"/>
                <a:gd name="connsiteY449" fmla="*/ 767983 h 785992"/>
                <a:gd name="connsiteX450" fmla="*/ 385449 w 612094"/>
                <a:gd name="connsiteY450" fmla="*/ 773126 h 785992"/>
                <a:gd name="connsiteX451" fmla="*/ 389470 w 612094"/>
                <a:gd name="connsiteY451" fmla="*/ 773926 h 785992"/>
                <a:gd name="connsiteX452" fmla="*/ 392878 w 612094"/>
                <a:gd name="connsiteY452" fmla="*/ 770171 h 785992"/>
                <a:gd name="connsiteX453" fmla="*/ 387802 w 612094"/>
                <a:gd name="connsiteY453" fmla="*/ 766015 h 785992"/>
                <a:gd name="connsiteX454" fmla="*/ 387450 w 612094"/>
                <a:gd name="connsiteY454" fmla="*/ 765664 h 785992"/>
                <a:gd name="connsiteX455" fmla="*/ 383545 w 612094"/>
                <a:gd name="connsiteY455" fmla="*/ 760110 h 785992"/>
                <a:gd name="connsiteX456" fmla="*/ 378020 w 612094"/>
                <a:gd name="connsiteY456" fmla="*/ 757339 h 785992"/>
                <a:gd name="connsiteX457" fmla="*/ 377432 w 612094"/>
                <a:gd name="connsiteY457" fmla="*/ 756837 h 785992"/>
                <a:gd name="connsiteX458" fmla="*/ 372086 w 612094"/>
                <a:gd name="connsiteY458" fmla="*/ 750286 h 785992"/>
                <a:gd name="connsiteX459" fmla="*/ 371720 w 612094"/>
                <a:gd name="connsiteY459" fmla="*/ 749505 h 785992"/>
                <a:gd name="connsiteX460" fmla="*/ 370476 w 612094"/>
                <a:gd name="connsiteY460" fmla="*/ 743513 h 785992"/>
                <a:gd name="connsiteX461" fmla="*/ 369295 w 612094"/>
                <a:gd name="connsiteY461" fmla="*/ 736990 h 785992"/>
                <a:gd name="connsiteX462" fmla="*/ 369956 w 612094"/>
                <a:gd name="connsiteY462" fmla="*/ 735259 h 785992"/>
                <a:gd name="connsiteX463" fmla="*/ 375027 w 612094"/>
                <a:gd name="connsiteY463" fmla="*/ 731152 h 785992"/>
                <a:gd name="connsiteX464" fmla="*/ 374227 w 612094"/>
                <a:gd name="connsiteY464" fmla="*/ 726404 h 785992"/>
                <a:gd name="connsiteX465" fmla="*/ 368263 w 612094"/>
                <a:gd name="connsiteY465" fmla="*/ 722051 h 785992"/>
                <a:gd name="connsiteX466" fmla="*/ 367627 w 612094"/>
                <a:gd name="connsiteY466" fmla="*/ 721250 h 785992"/>
                <a:gd name="connsiteX467" fmla="*/ 365260 w 612094"/>
                <a:gd name="connsiteY467" fmla="*/ 715360 h 785992"/>
                <a:gd name="connsiteX468" fmla="*/ 362296 w 612094"/>
                <a:gd name="connsiteY468" fmla="*/ 708842 h 785992"/>
                <a:gd name="connsiteX469" fmla="*/ 362276 w 612094"/>
                <a:gd name="connsiteY469" fmla="*/ 708741 h 785992"/>
                <a:gd name="connsiteX470" fmla="*/ 359900 w 612094"/>
                <a:gd name="connsiteY470" fmla="*/ 702816 h 785992"/>
                <a:gd name="connsiteX471" fmla="*/ 357720 w 612094"/>
                <a:gd name="connsiteY471" fmla="*/ 697354 h 785992"/>
                <a:gd name="connsiteX472" fmla="*/ 353994 w 612094"/>
                <a:gd name="connsiteY472" fmla="*/ 694708 h 785992"/>
                <a:gd name="connsiteX473" fmla="*/ 353338 w 612094"/>
                <a:gd name="connsiteY473" fmla="*/ 693835 h 785992"/>
                <a:gd name="connsiteX474" fmla="*/ 351285 w 612094"/>
                <a:gd name="connsiteY474" fmla="*/ 688253 h 785992"/>
                <a:gd name="connsiteX475" fmla="*/ 345780 w 612094"/>
                <a:gd name="connsiteY475" fmla="*/ 687274 h 785992"/>
                <a:gd name="connsiteX476" fmla="*/ 344271 w 612094"/>
                <a:gd name="connsiteY476" fmla="*/ 685466 h 785992"/>
                <a:gd name="connsiteX477" fmla="*/ 344271 w 612094"/>
                <a:gd name="connsiteY477" fmla="*/ 680067 h 785992"/>
                <a:gd name="connsiteX478" fmla="*/ 340491 w 612094"/>
                <a:gd name="connsiteY478" fmla="*/ 674075 h 785992"/>
                <a:gd name="connsiteX479" fmla="*/ 335227 w 612094"/>
                <a:gd name="connsiteY479" fmla="*/ 668237 h 785992"/>
                <a:gd name="connsiteX480" fmla="*/ 335058 w 612094"/>
                <a:gd name="connsiteY480" fmla="*/ 668088 h 785992"/>
                <a:gd name="connsiteX481" fmla="*/ 330951 w 612094"/>
                <a:gd name="connsiteY481" fmla="*/ 662158 h 785992"/>
                <a:gd name="connsiteX482" fmla="*/ 326183 w 612094"/>
                <a:gd name="connsiteY482" fmla="*/ 655597 h 785992"/>
                <a:gd name="connsiteX483" fmla="*/ 326044 w 612094"/>
                <a:gd name="connsiteY483" fmla="*/ 655385 h 785992"/>
                <a:gd name="connsiteX484" fmla="*/ 323132 w 612094"/>
                <a:gd name="connsiteY484" fmla="*/ 649581 h 785992"/>
                <a:gd name="connsiteX485" fmla="*/ 318514 w 612094"/>
                <a:gd name="connsiteY485" fmla="*/ 643762 h 785992"/>
                <a:gd name="connsiteX486" fmla="*/ 318138 w 612094"/>
                <a:gd name="connsiteY486" fmla="*/ 642967 h 785992"/>
                <a:gd name="connsiteX487" fmla="*/ 316976 w 612094"/>
                <a:gd name="connsiteY487" fmla="*/ 636589 h 785992"/>
                <a:gd name="connsiteX488" fmla="*/ 315848 w 612094"/>
                <a:gd name="connsiteY488" fmla="*/ 633760 h 785992"/>
                <a:gd name="connsiteX489" fmla="*/ 316007 w 612094"/>
                <a:gd name="connsiteY489" fmla="*/ 632135 h 785992"/>
                <a:gd name="connsiteX490" fmla="*/ 320177 w 612094"/>
                <a:gd name="connsiteY490" fmla="*/ 625583 h 785992"/>
                <a:gd name="connsiteX491" fmla="*/ 321387 w 612094"/>
                <a:gd name="connsiteY491" fmla="*/ 624774 h 785992"/>
                <a:gd name="connsiteX492" fmla="*/ 322867 w 612094"/>
                <a:gd name="connsiteY492" fmla="*/ 625169 h 785992"/>
                <a:gd name="connsiteX493" fmla="*/ 328570 w 612094"/>
                <a:gd name="connsiteY493" fmla="*/ 629739 h 785992"/>
                <a:gd name="connsiteX494" fmla="*/ 333540 w 612094"/>
                <a:gd name="connsiteY494" fmla="*/ 631696 h 785992"/>
                <a:gd name="connsiteX495" fmla="*/ 338746 w 612094"/>
                <a:gd name="connsiteY495" fmla="*/ 629088 h 785992"/>
                <a:gd name="connsiteX496" fmla="*/ 340053 w 612094"/>
                <a:gd name="connsiteY496" fmla="*/ 628982 h 785992"/>
                <a:gd name="connsiteX497" fmla="*/ 346585 w 612094"/>
                <a:gd name="connsiteY497" fmla="*/ 630771 h 785992"/>
                <a:gd name="connsiteX498" fmla="*/ 347240 w 612094"/>
                <a:gd name="connsiteY498" fmla="*/ 631094 h 785992"/>
                <a:gd name="connsiteX499" fmla="*/ 352852 w 612094"/>
                <a:gd name="connsiteY499" fmla="*/ 635596 h 785992"/>
                <a:gd name="connsiteX500" fmla="*/ 358381 w 612094"/>
                <a:gd name="connsiteY500" fmla="*/ 636657 h 785992"/>
                <a:gd name="connsiteX501" fmla="*/ 358501 w 612094"/>
                <a:gd name="connsiteY501" fmla="*/ 636729 h 785992"/>
                <a:gd name="connsiteX502" fmla="*/ 365029 w 612094"/>
                <a:gd name="connsiteY502" fmla="*/ 638503 h 785992"/>
                <a:gd name="connsiteX503" fmla="*/ 366176 w 612094"/>
                <a:gd name="connsiteY503" fmla="*/ 639409 h 785992"/>
                <a:gd name="connsiteX504" fmla="*/ 366253 w 612094"/>
                <a:gd name="connsiteY504" fmla="*/ 640899 h 785992"/>
                <a:gd name="connsiteX505" fmla="*/ 363983 w 612094"/>
                <a:gd name="connsiteY505" fmla="*/ 647118 h 785992"/>
                <a:gd name="connsiteX506" fmla="*/ 363983 w 612094"/>
                <a:gd name="connsiteY506" fmla="*/ 651886 h 785992"/>
                <a:gd name="connsiteX507" fmla="*/ 368789 w 612094"/>
                <a:gd name="connsiteY507" fmla="*/ 655718 h 785992"/>
                <a:gd name="connsiteX508" fmla="*/ 371860 w 612094"/>
                <a:gd name="connsiteY508" fmla="*/ 655718 h 785992"/>
                <a:gd name="connsiteX509" fmla="*/ 371108 w 612094"/>
                <a:gd name="connsiteY509" fmla="*/ 651904 h 785992"/>
                <a:gd name="connsiteX510" fmla="*/ 372091 w 612094"/>
                <a:gd name="connsiteY510" fmla="*/ 649962 h 785992"/>
                <a:gd name="connsiteX511" fmla="*/ 377413 w 612094"/>
                <a:gd name="connsiteY511" fmla="*/ 647253 h 785992"/>
                <a:gd name="connsiteX512" fmla="*/ 379520 w 612094"/>
                <a:gd name="connsiteY512" fmla="*/ 641950 h 785992"/>
                <a:gd name="connsiteX513" fmla="*/ 380243 w 612094"/>
                <a:gd name="connsiteY513" fmla="*/ 641097 h 785992"/>
                <a:gd name="connsiteX514" fmla="*/ 386799 w 612094"/>
                <a:gd name="connsiteY514" fmla="*/ 636907 h 785992"/>
                <a:gd name="connsiteX515" fmla="*/ 387599 w 612094"/>
                <a:gd name="connsiteY515" fmla="*/ 636657 h 785992"/>
                <a:gd name="connsiteX516" fmla="*/ 393871 w 612094"/>
                <a:gd name="connsiteY516" fmla="*/ 636088 h 785992"/>
                <a:gd name="connsiteX517" fmla="*/ 399492 w 612094"/>
                <a:gd name="connsiteY517" fmla="*/ 633851 h 785992"/>
                <a:gd name="connsiteX518" fmla="*/ 402322 w 612094"/>
                <a:gd name="connsiteY518" fmla="*/ 632419 h 785992"/>
                <a:gd name="connsiteX519" fmla="*/ 399680 w 612094"/>
                <a:gd name="connsiteY519" fmla="*/ 628684 h 785992"/>
                <a:gd name="connsiteX520" fmla="*/ 393698 w 612094"/>
                <a:gd name="connsiteY520" fmla="*/ 626494 h 785992"/>
                <a:gd name="connsiteX521" fmla="*/ 393162 w 612094"/>
                <a:gd name="connsiteY521" fmla="*/ 626201 h 785992"/>
                <a:gd name="connsiteX522" fmla="*/ 387238 w 612094"/>
                <a:gd name="connsiteY522" fmla="*/ 621447 h 785992"/>
                <a:gd name="connsiteX523" fmla="*/ 386568 w 612094"/>
                <a:gd name="connsiteY523" fmla="*/ 619818 h 785992"/>
                <a:gd name="connsiteX524" fmla="*/ 387069 w 612094"/>
                <a:gd name="connsiteY524" fmla="*/ 614341 h 785992"/>
                <a:gd name="connsiteX525" fmla="*/ 385555 w 612094"/>
                <a:gd name="connsiteY525" fmla="*/ 610451 h 785992"/>
                <a:gd name="connsiteX526" fmla="*/ 382721 w 612094"/>
                <a:gd name="connsiteY526" fmla="*/ 611469 h 785992"/>
                <a:gd name="connsiteX527" fmla="*/ 385155 w 612094"/>
                <a:gd name="connsiteY527" fmla="*/ 615542 h 785992"/>
                <a:gd name="connsiteX528" fmla="*/ 385310 w 612094"/>
                <a:gd name="connsiteY528" fmla="*/ 617080 h 785992"/>
                <a:gd name="connsiteX529" fmla="*/ 382909 w 612094"/>
                <a:gd name="connsiteY529" fmla="*/ 623641 h 785992"/>
                <a:gd name="connsiteX530" fmla="*/ 381925 w 612094"/>
                <a:gd name="connsiteY530" fmla="*/ 624682 h 785992"/>
                <a:gd name="connsiteX531" fmla="*/ 380431 w 612094"/>
                <a:gd name="connsiteY531" fmla="*/ 624673 h 785992"/>
                <a:gd name="connsiteX532" fmla="*/ 374005 w 612094"/>
                <a:gd name="connsiteY532" fmla="*/ 621746 h 785992"/>
                <a:gd name="connsiteX533" fmla="*/ 368451 w 612094"/>
                <a:gd name="connsiteY533" fmla="*/ 620054 h 785992"/>
                <a:gd name="connsiteX534" fmla="*/ 368138 w 612094"/>
                <a:gd name="connsiteY534" fmla="*/ 620054 h 785992"/>
                <a:gd name="connsiteX535" fmla="*/ 366981 w 612094"/>
                <a:gd name="connsiteY535" fmla="*/ 619664 h 785992"/>
                <a:gd name="connsiteX536" fmla="*/ 361032 w 612094"/>
                <a:gd name="connsiteY536" fmla="*/ 614915 h 785992"/>
                <a:gd name="connsiteX537" fmla="*/ 360420 w 612094"/>
                <a:gd name="connsiteY537" fmla="*/ 613975 h 785992"/>
                <a:gd name="connsiteX538" fmla="*/ 358651 w 612094"/>
                <a:gd name="connsiteY538" fmla="*/ 608041 h 785992"/>
                <a:gd name="connsiteX539" fmla="*/ 357017 w 612094"/>
                <a:gd name="connsiteY539" fmla="*/ 602536 h 785992"/>
                <a:gd name="connsiteX540" fmla="*/ 354356 w 612094"/>
                <a:gd name="connsiteY540" fmla="*/ 599885 h 785992"/>
                <a:gd name="connsiteX541" fmla="*/ 354134 w 612094"/>
                <a:gd name="connsiteY541" fmla="*/ 597546 h 785992"/>
                <a:gd name="connsiteX542" fmla="*/ 357431 w 612094"/>
                <a:gd name="connsiteY542" fmla="*/ 592870 h 785992"/>
                <a:gd name="connsiteX543" fmla="*/ 353112 w 612094"/>
                <a:gd name="connsiteY543" fmla="*/ 588551 h 785992"/>
                <a:gd name="connsiteX544" fmla="*/ 348098 w 612094"/>
                <a:gd name="connsiteY544" fmla="*/ 588551 h 785992"/>
                <a:gd name="connsiteX545" fmla="*/ 342309 w 612094"/>
                <a:gd name="connsiteY545" fmla="*/ 589694 h 785992"/>
                <a:gd name="connsiteX546" fmla="*/ 340578 w 612094"/>
                <a:gd name="connsiteY546" fmla="*/ 589091 h 785992"/>
                <a:gd name="connsiteX547" fmla="*/ 336987 w 612094"/>
                <a:gd name="connsiteY547" fmla="*/ 584926 h 785992"/>
                <a:gd name="connsiteX548" fmla="*/ 336577 w 612094"/>
                <a:gd name="connsiteY548" fmla="*/ 583547 h 785992"/>
                <a:gd name="connsiteX549" fmla="*/ 337151 w 612094"/>
                <a:gd name="connsiteY549" fmla="*/ 577598 h 785992"/>
                <a:gd name="connsiteX550" fmla="*/ 337353 w 612094"/>
                <a:gd name="connsiteY550" fmla="*/ 576943 h 785992"/>
                <a:gd name="connsiteX551" fmla="*/ 337980 w 612094"/>
                <a:gd name="connsiteY551" fmla="*/ 575762 h 785992"/>
                <a:gd name="connsiteX552" fmla="*/ 339744 w 612094"/>
                <a:gd name="connsiteY552" fmla="*/ 574773 h 785992"/>
                <a:gd name="connsiteX553" fmla="*/ 345866 w 612094"/>
                <a:gd name="connsiteY553" fmla="*/ 575347 h 785992"/>
                <a:gd name="connsiteX554" fmla="*/ 351044 w 612094"/>
                <a:gd name="connsiteY554" fmla="*/ 573255 h 785992"/>
                <a:gd name="connsiteX555" fmla="*/ 356727 w 612094"/>
                <a:gd name="connsiteY555" fmla="*/ 567561 h 785992"/>
                <a:gd name="connsiteX556" fmla="*/ 359716 w 612094"/>
                <a:gd name="connsiteY556" fmla="*/ 564577 h 785992"/>
                <a:gd name="connsiteX557" fmla="*/ 360642 w 612094"/>
                <a:gd name="connsiteY557" fmla="*/ 564100 h 785992"/>
                <a:gd name="connsiteX558" fmla="*/ 366533 w 612094"/>
                <a:gd name="connsiteY558" fmla="*/ 562914 h 785992"/>
                <a:gd name="connsiteX559" fmla="*/ 372858 w 612094"/>
                <a:gd name="connsiteY559" fmla="*/ 561203 h 785992"/>
                <a:gd name="connsiteX560" fmla="*/ 378382 w 612094"/>
                <a:gd name="connsiteY560" fmla="*/ 558402 h 785992"/>
                <a:gd name="connsiteX561" fmla="*/ 384760 w 612094"/>
                <a:gd name="connsiteY561" fmla="*/ 552641 h 785992"/>
                <a:gd name="connsiteX562" fmla="*/ 385319 w 612094"/>
                <a:gd name="connsiteY562" fmla="*/ 552270 h 785992"/>
                <a:gd name="connsiteX563" fmla="*/ 391258 w 612094"/>
                <a:gd name="connsiteY563" fmla="*/ 549908 h 785992"/>
                <a:gd name="connsiteX564" fmla="*/ 392598 w 612094"/>
                <a:gd name="connsiteY564" fmla="*/ 549908 h 785992"/>
                <a:gd name="connsiteX565" fmla="*/ 398571 w 612094"/>
                <a:gd name="connsiteY565" fmla="*/ 552270 h 785992"/>
                <a:gd name="connsiteX566" fmla="*/ 399665 w 612094"/>
                <a:gd name="connsiteY566" fmla="*/ 554348 h 785992"/>
                <a:gd name="connsiteX567" fmla="*/ 398803 w 612094"/>
                <a:gd name="connsiteY567" fmla="*/ 558682 h 785992"/>
                <a:gd name="connsiteX568" fmla="*/ 402741 w 612094"/>
                <a:gd name="connsiteY568" fmla="*/ 559844 h 785992"/>
                <a:gd name="connsiteX569" fmla="*/ 408242 w 612094"/>
                <a:gd name="connsiteY569" fmla="*/ 558744 h 785992"/>
                <a:gd name="connsiteX570" fmla="*/ 409866 w 612094"/>
                <a:gd name="connsiteY570" fmla="*/ 559222 h 785992"/>
                <a:gd name="connsiteX571" fmla="*/ 415820 w 612094"/>
                <a:gd name="connsiteY571" fmla="*/ 565166 h 785992"/>
                <a:gd name="connsiteX572" fmla="*/ 415906 w 612094"/>
                <a:gd name="connsiteY572" fmla="*/ 565233 h 785992"/>
                <a:gd name="connsiteX573" fmla="*/ 421161 w 612094"/>
                <a:gd name="connsiteY573" fmla="*/ 571080 h 785992"/>
                <a:gd name="connsiteX574" fmla="*/ 426252 w 612094"/>
                <a:gd name="connsiteY574" fmla="*/ 575159 h 785992"/>
                <a:gd name="connsiteX575" fmla="*/ 431285 w 612094"/>
                <a:gd name="connsiteY575" fmla="*/ 573650 h 785992"/>
                <a:gd name="connsiteX576" fmla="*/ 432943 w 612094"/>
                <a:gd name="connsiteY576" fmla="*/ 573978 h 785992"/>
                <a:gd name="connsiteX577" fmla="*/ 438916 w 612094"/>
                <a:gd name="connsiteY577" fmla="*/ 578746 h 785992"/>
                <a:gd name="connsiteX578" fmla="*/ 439099 w 612094"/>
                <a:gd name="connsiteY578" fmla="*/ 578933 h 785992"/>
                <a:gd name="connsiteX579" fmla="*/ 444450 w 612094"/>
                <a:gd name="connsiteY579" fmla="*/ 584902 h 785992"/>
                <a:gd name="connsiteX580" fmla="*/ 449372 w 612094"/>
                <a:gd name="connsiteY580" fmla="*/ 590301 h 785992"/>
                <a:gd name="connsiteX581" fmla="*/ 452968 w 612094"/>
                <a:gd name="connsiteY581" fmla="*/ 590682 h 785992"/>
                <a:gd name="connsiteX582" fmla="*/ 454959 w 612094"/>
                <a:gd name="connsiteY582" fmla="*/ 585268 h 785992"/>
                <a:gd name="connsiteX583" fmla="*/ 454419 w 612094"/>
                <a:gd name="connsiteY583" fmla="*/ 579753 h 785992"/>
                <a:gd name="connsiteX584" fmla="*/ 454376 w 612094"/>
                <a:gd name="connsiteY584" fmla="*/ 579551 h 785992"/>
                <a:gd name="connsiteX585" fmla="*/ 454376 w 612094"/>
                <a:gd name="connsiteY585" fmla="*/ 574060 h 785992"/>
                <a:gd name="connsiteX586" fmla="*/ 451049 w 612094"/>
                <a:gd name="connsiteY586" fmla="*/ 567933 h 785992"/>
                <a:gd name="connsiteX587" fmla="*/ 450866 w 612094"/>
                <a:gd name="connsiteY587" fmla="*/ 567427 h 785992"/>
                <a:gd name="connsiteX588" fmla="*/ 450428 w 612094"/>
                <a:gd name="connsiteY588" fmla="*/ 565305 h 785992"/>
                <a:gd name="connsiteX589" fmla="*/ 444643 w 612094"/>
                <a:gd name="connsiteY589" fmla="*/ 562080 h 785992"/>
                <a:gd name="connsiteX590" fmla="*/ 443703 w 612094"/>
                <a:gd name="connsiteY590" fmla="*/ 560678 h 785992"/>
                <a:gd name="connsiteX591" fmla="*/ 443110 w 612094"/>
                <a:gd name="connsiteY591" fmla="*/ 554806 h 785992"/>
                <a:gd name="connsiteX592" fmla="*/ 441977 w 612094"/>
                <a:gd name="connsiteY592" fmla="*/ 548534 h 785992"/>
                <a:gd name="connsiteX593" fmla="*/ 439644 w 612094"/>
                <a:gd name="connsiteY593" fmla="*/ 542740 h 785992"/>
                <a:gd name="connsiteX594" fmla="*/ 439595 w 612094"/>
                <a:gd name="connsiteY594" fmla="*/ 542580 h 785992"/>
                <a:gd name="connsiteX595" fmla="*/ 437807 w 612094"/>
                <a:gd name="connsiteY595" fmla="*/ 536636 h 785992"/>
                <a:gd name="connsiteX596" fmla="*/ 437739 w 612094"/>
                <a:gd name="connsiteY596" fmla="*/ 536458 h 785992"/>
                <a:gd name="connsiteX597" fmla="*/ 436583 w 612094"/>
                <a:gd name="connsiteY597" fmla="*/ 530533 h 785992"/>
                <a:gd name="connsiteX598" fmla="*/ 437084 w 612094"/>
                <a:gd name="connsiteY598" fmla="*/ 528895 h 785992"/>
                <a:gd name="connsiteX599" fmla="*/ 442136 w 612094"/>
                <a:gd name="connsiteY599" fmla="*/ 523833 h 785992"/>
                <a:gd name="connsiteX600" fmla="*/ 404457 w 612094"/>
                <a:gd name="connsiteY600" fmla="*/ 508763 h 785992"/>
                <a:gd name="connsiteX601" fmla="*/ 399695 w 612094"/>
                <a:gd name="connsiteY601" fmla="*/ 508763 h 785992"/>
                <a:gd name="connsiteX602" fmla="*/ 398759 w 612094"/>
                <a:gd name="connsiteY602" fmla="*/ 508498 h 785992"/>
                <a:gd name="connsiteX603" fmla="*/ 392806 w 612094"/>
                <a:gd name="connsiteY603" fmla="*/ 504974 h 785992"/>
                <a:gd name="connsiteX604" fmla="*/ 392613 w 612094"/>
                <a:gd name="connsiteY604" fmla="*/ 504844 h 785992"/>
                <a:gd name="connsiteX605" fmla="*/ 386659 w 612094"/>
                <a:gd name="connsiteY605" fmla="*/ 500028 h 785992"/>
                <a:gd name="connsiteX606" fmla="*/ 385999 w 612094"/>
                <a:gd name="connsiteY606" fmla="*/ 499006 h 785992"/>
                <a:gd name="connsiteX607" fmla="*/ 384827 w 612094"/>
                <a:gd name="connsiteY607" fmla="*/ 493000 h 785992"/>
                <a:gd name="connsiteX608" fmla="*/ 384794 w 612094"/>
                <a:gd name="connsiteY608" fmla="*/ 492734 h 785992"/>
                <a:gd name="connsiteX609" fmla="*/ 383714 w 612094"/>
                <a:gd name="connsiteY609" fmla="*/ 491395 h 785992"/>
                <a:gd name="connsiteX610" fmla="*/ 379086 w 612094"/>
                <a:gd name="connsiteY610" fmla="*/ 493704 h 785992"/>
                <a:gd name="connsiteX611" fmla="*/ 377934 w 612094"/>
                <a:gd name="connsiteY611" fmla="*/ 493882 h 785992"/>
                <a:gd name="connsiteX612" fmla="*/ 371585 w 612094"/>
                <a:gd name="connsiteY612" fmla="*/ 492706 h 785992"/>
                <a:gd name="connsiteX613" fmla="*/ 364889 w 612094"/>
                <a:gd name="connsiteY613" fmla="*/ 492706 h 785992"/>
                <a:gd name="connsiteX614" fmla="*/ 358665 w 612094"/>
                <a:gd name="connsiteY614" fmla="*/ 495010 h 785992"/>
                <a:gd name="connsiteX615" fmla="*/ 357147 w 612094"/>
                <a:gd name="connsiteY615" fmla="*/ 494861 h 785992"/>
                <a:gd name="connsiteX616" fmla="*/ 356250 w 612094"/>
                <a:gd name="connsiteY616" fmla="*/ 493660 h 785992"/>
                <a:gd name="connsiteX617" fmla="*/ 355103 w 612094"/>
                <a:gd name="connsiteY617" fmla="*/ 487885 h 785992"/>
                <a:gd name="connsiteX618" fmla="*/ 352206 w 612094"/>
                <a:gd name="connsiteY618" fmla="*/ 481565 h 785992"/>
                <a:gd name="connsiteX619" fmla="*/ 352047 w 612094"/>
                <a:gd name="connsiteY619" fmla="*/ 480948 h 785992"/>
                <a:gd name="connsiteX620" fmla="*/ 351603 w 612094"/>
                <a:gd name="connsiteY620" fmla="*/ 476455 h 785992"/>
                <a:gd name="connsiteX621" fmla="*/ 347158 w 612094"/>
                <a:gd name="connsiteY621" fmla="*/ 476031 h 785992"/>
                <a:gd name="connsiteX622" fmla="*/ 346778 w 612094"/>
                <a:gd name="connsiteY622" fmla="*/ 475973 h 785992"/>
                <a:gd name="connsiteX623" fmla="*/ 341764 w 612094"/>
                <a:gd name="connsiteY623" fmla="*/ 474479 h 785992"/>
                <a:gd name="connsiteX624" fmla="*/ 336587 w 612094"/>
                <a:gd name="connsiteY624" fmla="*/ 478624 h 785992"/>
                <a:gd name="connsiteX625" fmla="*/ 335589 w 612094"/>
                <a:gd name="connsiteY625" fmla="*/ 478991 h 785992"/>
                <a:gd name="connsiteX626" fmla="*/ 329047 w 612094"/>
                <a:gd name="connsiteY626" fmla="*/ 479593 h 785992"/>
                <a:gd name="connsiteX627" fmla="*/ 327398 w 612094"/>
                <a:gd name="connsiteY627" fmla="*/ 478860 h 785992"/>
                <a:gd name="connsiteX628" fmla="*/ 323233 w 612094"/>
                <a:gd name="connsiteY628" fmla="*/ 472950 h 785992"/>
                <a:gd name="connsiteX629" fmla="*/ 319203 w 612094"/>
                <a:gd name="connsiteY629" fmla="*/ 467402 h 785992"/>
                <a:gd name="connsiteX630" fmla="*/ 313881 w 612094"/>
                <a:gd name="connsiteY630" fmla="*/ 468848 h 785992"/>
                <a:gd name="connsiteX631" fmla="*/ 312888 w 612094"/>
                <a:gd name="connsiteY631" fmla="*/ 468848 h 785992"/>
                <a:gd name="connsiteX632" fmla="*/ 307339 w 612094"/>
                <a:gd name="connsiteY632" fmla="*/ 467175 h 785992"/>
                <a:gd name="connsiteX633" fmla="*/ 301236 w 612094"/>
                <a:gd name="connsiteY633" fmla="*/ 468264 h 785992"/>
                <a:gd name="connsiteX634" fmla="*/ 300701 w 612094"/>
                <a:gd name="connsiteY634" fmla="*/ 468294 h 785992"/>
                <a:gd name="connsiteX635" fmla="*/ 294767 w 612094"/>
                <a:gd name="connsiteY635" fmla="*/ 467720 h 785992"/>
                <a:gd name="connsiteX636" fmla="*/ 294444 w 612094"/>
                <a:gd name="connsiteY636" fmla="*/ 467628 h 785992"/>
                <a:gd name="connsiteX637" fmla="*/ 288490 w 612094"/>
                <a:gd name="connsiteY637" fmla="*/ 465864 h 785992"/>
                <a:gd name="connsiteX638" fmla="*/ 288192 w 612094"/>
                <a:gd name="connsiteY638" fmla="*/ 465748 h 785992"/>
                <a:gd name="connsiteX639" fmla="*/ 285959 w 612094"/>
                <a:gd name="connsiteY639" fmla="*/ 464596 h 785992"/>
                <a:gd name="connsiteX640" fmla="*/ 280744 w 612094"/>
                <a:gd name="connsiteY640" fmla="*/ 463073 h 785992"/>
                <a:gd name="connsiteX641" fmla="*/ 275392 w 612094"/>
                <a:gd name="connsiteY641" fmla="*/ 465198 h 785992"/>
                <a:gd name="connsiteX642" fmla="*/ 274192 w 612094"/>
                <a:gd name="connsiteY642" fmla="*/ 465295 h 785992"/>
                <a:gd name="connsiteX643" fmla="*/ 268248 w 612094"/>
                <a:gd name="connsiteY643" fmla="*/ 463487 h 785992"/>
                <a:gd name="connsiteX644" fmla="*/ 267000 w 612094"/>
                <a:gd name="connsiteY644" fmla="*/ 461371 h 785992"/>
                <a:gd name="connsiteX645" fmla="*/ 268181 w 612094"/>
                <a:gd name="connsiteY645" fmla="*/ 455436 h 785992"/>
                <a:gd name="connsiteX646" fmla="*/ 269154 w 612094"/>
                <a:gd name="connsiteY646" fmla="*/ 454174 h 785992"/>
                <a:gd name="connsiteX647" fmla="*/ 275079 w 612094"/>
                <a:gd name="connsiteY647" fmla="*/ 451180 h 785992"/>
                <a:gd name="connsiteX648" fmla="*/ 276381 w 612094"/>
                <a:gd name="connsiteY648" fmla="*/ 451083 h 785992"/>
                <a:gd name="connsiteX649" fmla="*/ 282691 w 612094"/>
                <a:gd name="connsiteY649" fmla="*/ 452795 h 785992"/>
                <a:gd name="connsiteX650" fmla="*/ 287912 w 612094"/>
                <a:gd name="connsiteY650" fmla="*/ 452795 h 785992"/>
                <a:gd name="connsiteX651" fmla="*/ 293321 w 612094"/>
                <a:gd name="connsiteY651" fmla="*/ 449531 h 785992"/>
                <a:gd name="connsiteX652" fmla="*/ 299742 w 612094"/>
                <a:gd name="connsiteY652" fmla="*/ 444262 h 785992"/>
                <a:gd name="connsiteX653" fmla="*/ 299819 w 612094"/>
                <a:gd name="connsiteY653" fmla="*/ 444185 h 785992"/>
                <a:gd name="connsiteX654" fmla="*/ 306197 w 612094"/>
                <a:gd name="connsiteY654" fmla="*/ 439581 h 785992"/>
                <a:gd name="connsiteX655" fmla="*/ 310304 w 612094"/>
                <a:gd name="connsiteY655" fmla="*/ 434447 h 785992"/>
                <a:gd name="connsiteX656" fmla="*/ 310000 w 612094"/>
                <a:gd name="connsiteY656" fmla="*/ 431593 h 785992"/>
                <a:gd name="connsiteX657" fmla="*/ 305840 w 612094"/>
                <a:gd name="connsiteY657" fmla="*/ 432037 h 785992"/>
                <a:gd name="connsiteX658" fmla="*/ 304182 w 612094"/>
                <a:gd name="connsiteY658" fmla="*/ 431203 h 785992"/>
                <a:gd name="connsiteX659" fmla="*/ 304013 w 612094"/>
                <a:gd name="connsiteY659" fmla="*/ 429361 h 785992"/>
                <a:gd name="connsiteX660" fmla="*/ 306568 w 612094"/>
                <a:gd name="connsiteY660" fmla="*/ 424377 h 785992"/>
                <a:gd name="connsiteX661" fmla="*/ 303285 w 612094"/>
                <a:gd name="connsiteY661" fmla="*/ 419199 h 785992"/>
                <a:gd name="connsiteX662" fmla="*/ 297317 w 612094"/>
                <a:gd name="connsiteY662" fmla="*/ 417011 h 785992"/>
                <a:gd name="connsiteX663" fmla="*/ 296435 w 612094"/>
                <a:gd name="connsiteY663" fmla="*/ 416365 h 785992"/>
                <a:gd name="connsiteX664" fmla="*/ 292819 w 612094"/>
                <a:gd name="connsiteY664" fmla="*/ 411178 h 785992"/>
                <a:gd name="connsiteX665" fmla="*/ 287801 w 612094"/>
                <a:gd name="connsiteY665" fmla="*/ 411178 h 785992"/>
                <a:gd name="connsiteX666" fmla="*/ 286104 w 612094"/>
                <a:gd name="connsiteY666" fmla="*/ 410040 h 785992"/>
                <a:gd name="connsiteX667" fmla="*/ 283723 w 612094"/>
                <a:gd name="connsiteY667" fmla="*/ 403445 h 785992"/>
                <a:gd name="connsiteX668" fmla="*/ 283858 w 612094"/>
                <a:gd name="connsiteY668" fmla="*/ 401898 h 785992"/>
                <a:gd name="connsiteX669" fmla="*/ 287435 w 612094"/>
                <a:gd name="connsiteY669" fmla="*/ 395920 h 785992"/>
                <a:gd name="connsiteX670" fmla="*/ 287864 w 612094"/>
                <a:gd name="connsiteY670" fmla="*/ 395438 h 785992"/>
                <a:gd name="connsiteX671" fmla="*/ 293219 w 612094"/>
                <a:gd name="connsiteY671" fmla="*/ 391191 h 785992"/>
                <a:gd name="connsiteX672" fmla="*/ 293721 w 612094"/>
                <a:gd name="connsiteY672" fmla="*/ 385382 h 785992"/>
                <a:gd name="connsiteX673" fmla="*/ 294362 w 612094"/>
                <a:gd name="connsiteY673" fmla="*/ 384148 h 785992"/>
                <a:gd name="connsiteX674" fmla="*/ 295688 w 612094"/>
                <a:gd name="connsiteY674" fmla="*/ 383752 h 785992"/>
                <a:gd name="connsiteX675" fmla="*/ 301675 w 612094"/>
                <a:gd name="connsiteY675" fmla="*/ 384360 h 785992"/>
                <a:gd name="connsiteX676" fmla="*/ 302547 w 612094"/>
                <a:gd name="connsiteY676" fmla="*/ 384664 h 785992"/>
                <a:gd name="connsiteX677" fmla="*/ 307696 w 612094"/>
                <a:gd name="connsiteY677" fmla="*/ 388279 h 785992"/>
                <a:gd name="connsiteX678" fmla="*/ 309750 w 612094"/>
                <a:gd name="connsiteY678" fmla="*/ 387479 h 785992"/>
                <a:gd name="connsiteX679" fmla="*/ 310892 w 612094"/>
                <a:gd name="connsiteY679" fmla="*/ 387397 h 785992"/>
                <a:gd name="connsiteX680" fmla="*/ 317434 w 612094"/>
                <a:gd name="connsiteY680" fmla="*/ 389162 h 785992"/>
                <a:gd name="connsiteX681" fmla="*/ 318249 w 612094"/>
                <a:gd name="connsiteY681" fmla="*/ 389629 h 785992"/>
                <a:gd name="connsiteX682" fmla="*/ 324202 w 612094"/>
                <a:gd name="connsiteY682" fmla="*/ 395568 h 785992"/>
                <a:gd name="connsiteX683" fmla="*/ 324318 w 612094"/>
                <a:gd name="connsiteY683" fmla="*/ 395713 h 785992"/>
                <a:gd name="connsiteX684" fmla="*/ 329674 w 612094"/>
                <a:gd name="connsiteY684" fmla="*/ 402264 h 785992"/>
                <a:gd name="connsiteX685" fmla="*/ 329886 w 612094"/>
                <a:gd name="connsiteY685" fmla="*/ 404197 h 785992"/>
                <a:gd name="connsiteX686" fmla="*/ 326936 w 612094"/>
                <a:gd name="connsiteY686" fmla="*/ 410195 h 785992"/>
                <a:gd name="connsiteX687" fmla="*/ 326781 w 612094"/>
                <a:gd name="connsiteY687" fmla="*/ 410431 h 785992"/>
                <a:gd name="connsiteX688" fmla="*/ 322742 w 612094"/>
                <a:gd name="connsiteY688" fmla="*/ 415897 h 785992"/>
                <a:gd name="connsiteX689" fmla="*/ 324260 w 612094"/>
                <a:gd name="connsiteY689" fmla="*/ 415468 h 785992"/>
                <a:gd name="connsiteX690" fmla="*/ 329225 w 612094"/>
                <a:gd name="connsiteY690" fmla="*/ 409413 h 785992"/>
                <a:gd name="connsiteX691" fmla="*/ 330021 w 612094"/>
                <a:gd name="connsiteY691" fmla="*/ 408849 h 785992"/>
                <a:gd name="connsiteX692" fmla="*/ 336071 w 612094"/>
                <a:gd name="connsiteY692" fmla="*/ 406656 h 785992"/>
                <a:gd name="connsiteX693" fmla="*/ 339788 w 612094"/>
                <a:gd name="connsiteY693" fmla="*/ 402033 h 785992"/>
                <a:gd name="connsiteX694" fmla="*/ 336876 w 612094"/>
                <a:gd name="connsiteY694" fmla="*/ 396711 h 785992"/>
                <a:gd name="connsiteX695" fmla="*/ 331650 w 612094"/>
                <a:gd name="connsiteY695" fmla="*/ 390926 h 785992"/>
                <a:gd name="connsiteX696" fmla="*/ 331486 w 612094"/>
                <a:gd name="connsiteY696" fmla="*/ 390661 h 785992"/>
                <a:gd name="connsiteX697" fmla="*/ 328097 w 612094"/>
                <a:gd name="connsiteY697" fmla="*/ 385102 h 785992"/>
                <a:gd name="connsiteX698" fmla="*/ 321927 w 612094"/>
                <a:gd name="connsiteY698" fmla="*/ 381164 h 785992"/>
                <a:gd name="connsiteX699" fmla="*/ 321613 w 612094"/>
                <a:gd name="connsiteY699" fmla="*/ 380908 h 785992"/>
                <a:gd name="connsiteX700" fmla="*/ 315737 w 612094"/>
                <a:gd name="connsiteY700" fmla="*/ 375023 h 785992"/>
                <a:gd name="connsiteX701" fmla="*/ 309875 w 612094"/>
                <a:gd name="connsiteY701" fmla="*/ 370303 h 785992"/>
                <a:gd name="connsiteX702" fmla="*/ 309590 w 612094"/>
                <a:gd name="connsiteY702" fmla="*/ 370072 h 785992"/>
                <a:gd name="connsiteX703" fmla="*/ 305242 w 612094"/>
                <a:gd name="connsiteY703" fmla="*/ 364590 h 785992"/>
                <a:gd name="connsiteX704" fmla="*/ 299930 w 612094"/>
                <a:gd name="connsiteY704" fmla="*/ 363539 h 785992"/>
                <a:gd name="connsiteX705" fmla="*/ 299487 w 612094"/>
                <a:gd name="connsiteY705" fmla="*/ 363371 h 785992"/>
                <a:gd name="connsiteX706" fmla="*/ 293542 w 612094"/>
                <a:gd name="connsiteY706" fmla="*/ 360440 h 785992"/>
                <a:gd name="connsiteX707" fmla="*/ 293465 w 612094"/>
                <a:gd name="connsiteY707" fmla="*/ 360382 h 785992"/>
                <a:gd name="connsiteX708" fmla="*/ 286928 w 612094"/>
                <a:gd name="connsiteY708" fmla="*/ 356815 h 785992"/>
                <a:gd name="connsiteX709" fmla="*/ 286172 w 612094"/>
                <a:gd name="connsiteY709" fmla="*/ 356024 h 785992"/>
                <a:gd name="connsiteX710" fmla="*/ 285010 w 612094"/>
                <a:gd name="connsiteY710" fmla="*/ 353647 h 785992"/>
                <a:gd name="connsiteX711" fmla="*/ 282026 w 612094"/>
                <a:gd name="connsiteY711" fmla="*/ 347747 h 785992"/>
                <a:gd name="connsiteX712" fmla="*/ 260082 w 612094"/>
                <a:gd name="connsiteY712" fmla="*/ 321648 h 785992"/>
                <a:gd name="connsiteX713" fmla="*/ 259441 w 612094"/>
                <a:gd name="connsiteY713" fmla="*/ 321026 h 785992"/>
                <a:gd name="connsiteX714" fmla="*/ 256568 w 612094"/>
                <a:gd name="connsiteY714" fmla="*/ 316451 h 785992"/>
                <a:gd name="connsiteX715" fmla="*/ 251062 w 612094"/>
                <a:gd name="connsiteY715" fmla="*/ 310357 h 785992"/>
                <a:gd name="connsiteX716" fmla="*/ 244916 w 612094"/>
                <a:gd name="connsiteY716" fmla="*/ 308130 h 785992"/>
                <a:gd name="connsiteX717" fmla="*/ 244270 w 612094"/>
                <a:gd name="connsiteY717" fmla="*/ 307687 h 785992"/>
                <a:gd name="connsiteX718" fmla="*/ 241888 w 612094"/>
                <a:gd name="connsiteY718" fmla="*/ 305315 h 785992"/>
                <a:gd name="connsiteX719" fmla="*/ 233693 w 612094"/>
                <a:gd name="connsiteY719" fmla="*/ 286133 h 785992"/>
                <a:gd name="connsiteX720" fmla="*/ 233780 w 612094"/>
                <a:gd name="connsiteY720" fmla="*/ 284740 h 785992"/>
                <a:gd name="connsiteX721" fmla="*/ 236523 w 612094"/>
                <a:gd name="connsiteY721" fmla="*/ 279283 h 785992"/>
                <a:gd name="connsiteX722" fmla="*/ 236012 w 612094"/>
                <a:gd name="connsiteY722" fmla="*/ 273860 h 785992"/>
                <a:gd name="connsiteX723" fmla="*/ 236036 w 612094"/>
                <a:gd name="connsiteY723" fmla="*/ 273330 h 785992"/>
                <a:gd name="connsiteX724" fmla="*/ 237203 w 612094"/>
                <a:gd name="connsiteY724" fmla="*/ 267376 h 785992"/>
                <a:gd name="connsiteX725" fmla="*/ 237285 w 612094"/>
                <a:gd name="connsiteY725" fmla="*/ 267116 h 785992"/>
                <a:gd name="connsiteX726" fmla="*/ 239411 w 612094"/>
                <a:gd name="connsiteY726" fmla="*/ 261282 h 785992"/>
                <a:gd name="connsiteX727" fmla="*/ 236788 w 612094"/>
                <a:gd name="connsiteY727" fmla="*/ 256086 h 785992"/>
                <a:gd name="connsiteX728" fmla="*/ 233264 w 612094"/>
                <a:gd name="connsiteY728" fmla="*/ 249554 h 785992"/>
                <a:gd name="connsiteX729" fmla="*/ 233124 w 612094"/>
                <a:gd name="connsiteY729" fmla="*/ 249375 h 785992"/>
                <a:gd name="connsiteX730" fmla="*/ 230767 w 612094"/>
                <a:gd name="connsiteY730" fmla="*/ 243417 h 785992"/>
                <a:gd name="connsiteX731" fmla="*/ 230916 w 612094"/>
                <a:gd name="connsiteY731" fmla="*/ 241787 h 785992"/>
                <a:gd name="connsiteX732" fmla="*/ 232271 w 612094"/>
                <a:gd name="connsiteY732" fmla="*/ 240915 h 785992"/>
                <a:gd name="connsiteX733" fmla="*/ 237203 w 612094"/>
                <a:gd name="connsiteY733" fmla="*/ 240462 h 785992"/>
                <a:gd name="connsiteX734" fmla="*/ 237203 w 612094"/>
                <a:gd name="connsiteY734" fmla="*/ 239763 h 785992"/>
                <a:gd name="connsiteX735" fmla="*/ 237285 w 612094"/>
                <a:gd name="connsiteY735" fmla="*/ 239175 h 785992"/>
                <a:gd name="connsiteX736" fmla="*/ 239049 w 612094"/>
                <a:gd name="connsiteY736" fmla="*/ 233838 h 785992"/>
                <a:gd name="connsiteX737" fmla="*/ 240216 w 612094"/>
                <a:gd name="connsiteY737" fmla="*/ 232715 h 785992"/>
                <a:gd name="connsiteX738" fmla="*/ 241792 w 612094"/>
                <a:gd name="connsiteY738" fmla="*/ 232913 h 785992"/>
                <a:gd name="connsiteX739" fmla="*/ 244120 w 612094"/>
                <a:gd name="connsiteY739" fmla="*/ 234465 h 785992"/>
                <a:gd name="connsiteX740" fmla="*/ 244323 w 612094"/>
                <a:gd name="connsiteY740" fmla="*/ 234267 h 785992"/>
                <a:gd name="connsiteX741" fmla="*/ 244323 w 612094"/>
                <a:gd name="connsiteY741" fmla="*/ 229061 h 785992"/>
                <a:gd name="connsiteX742" fmla="*/ 245600 w 612094"/>
                <a:gd name="connsiteY742" fmla="*/ 227311 h 785992"/>
                <a:gd name="connsiteX743" fmla="*/ 250971 w 612094"/>
                <a:gd name="connsiteY743" fmla="*/ 225686 h 785992"/>
                <a:gd name="connsiteX744" fmla="*/ 254688 w 612094"/>
                <a:gd name="connsiteY744" fmla="*/ 220384 h 785992"/>
                <a:gd name="connsiteX745" fmla="*/ 257599 w 612094"/>
                <a:gd name="connsiteY745" fmla="*/ 214536 h 785992"/>
                <a:gd name="connsiteX746" fmla="*/ 258906 w 612094"/>
                <a:gd name="connsiteY746" fmla="*/ 213601 h 785992"/>
                <a:gd name="connsiteX747" fmla="*/ 260443 w 612094"/>
                <a:gd name="connsiteY747" fmla="*/ 213996 h 785992"/>
                <a:gd name="connsiteX748" fmla="*/ 266407 w 612094"/>
                <a:gd name="connsiteY748" fmla="*/ 219381 h 785992"/>
                <a:gd name="connsiteX749" fmla="*/ 266590 w 612094"/>
                <a:gd name="connsiteY749" fmla="*/ 219579 h 785992"/>
                <a:gd name="connsiteX750" fmla="*/ 271348 w 612094"/>
                <a:gd name="connsiteY750" fmla="*/ 225537 h 785992"/>
                <a:gd name="connsiteX751" fmla="*/ 271213 w 612094"/>
                <a:gd name="connsiteY751" fmla="*/ 227962 h 785992"/>
                <a:gd name="connsiteX752" fmla="*/ 265288 w 612094"/>
                <a:gd name="connsiteY752" fmla="*/ 233886 h 785992"/>
                <a:gd name="connsiteX753" fmla="*/ 260492 w 612094"/>
                <a:gd name="connsiteY753" fmla="*/ 238697 h 785992"/>
                <a:gd name="connsiteX754" fmla="*/ 264054 w 612094"/>
                <a:gd name="connsiteY754" fmla="*/ 243186 h 785992"/>
                <a:gd name="connsiteX755" fmla="*/ 269569 w 612094"/>
                <a:gd name="connsiteY755" fmla="*/ 247037 h 785992"/>
                <a:gd name="connsiteX756" fmla="*/ 275258 w 612094"/>
                <a:gd name="connsiteY756" fmla="*/ 248715 h 785992"/>
                <a:gd name="connsiteX757" fmla="*/ 275821 w 612094"/>
                <a:gd name="connsiteY757" fmla="*/ 249072 h 785992"/>
                <a:gd name="connsiteX758" fmla="*/ 281732 w 612094"/>
                <a:gd name="connsiteY758" fmla="*/ 253772 h 785992"/>
                <a:gd name="connsiteX759" fmla="*/ 283082 w 612094"/>
                <a:gd name="connsiteY759" fmla="*/ 254678 h 785992"/>
                <a:gd name="connsiteX760" fmla="*/ 289160 w 612094"/>
                <a:gd name="connsiteY760" fmla="*/ 255208 h 785992"/>
                <a:gd name="connsiteX761" fmla="*/ 289657 w 612094"/>
                <a:gd name="connsiteY761" fmla="*/ 255343 h 785992"/>
                <a:gd name="connsiteX762" fmla="*/ 295466 w 612094"/>
                <a:gd name="connsiteY762" fmla="*/ 257658 h 785992"/>
                <a:gd name="connsiteX763" fmla="*/ 301241 w 612094"/>
                <a:gd name="connsiteY763" fmla="*/ 258790 h 785992"/>
                <a:gd name="connsiteX764" fmla="*/ 301241 w 612094"/>
                <a:gd name="connsiteY764" fmla="*/ 258790 h 785992"/>
                <a:gd name="connsiteX765" fmla="*/ 307783 w 612094"/>
                <a:gd name="connsiteY765" fmla="*/ 260000 h 785992"/>
                <a:gd name="connsiteX766" fmla="*/ 308680 w 612094"/>
                <a:gd name="connsiteY766" fmla="*/ 260444 h 785992"/>
                <a:gd name="connsiteX767" fmla="*/ 313606 w 612094"/>
                <a:gd name="connsiteY767" fmla="*/ 264912 h 785992"/>
                <a:gd name="connsiteX768" fmla="*/ 312830 w 612094"/>
                <a:gd name="connsiteY768" fmla="*/ 262305 h 785992"/>
                <a:gd name="connsiteX769" fmla="*/ 312936 w 612094"/>
                <a:gd name="connsiteY769" fmla="*/ 260989 h 785992"/>
                <a:gd name="connsiteX770" fmla="*/ 315954 w 612094"/>
                <a:gd name="connsiteY770" fmla="*/ 255035 h 785992"/>
                <a:gd name="connsiteX771" fmla="*/ 317015 w 612094"/>
                <a:gd name="connsiteY771" fmla="*/ 254105 h 785992"/>
                <a:gd name="connsiteX772" fmla="*/ 322978 w 612094"/>
                <a:gd name="connsiteY772" fmla="*/ 252321 h 785992"/>
                <a:gd name="connsiteX773" fmla="*/ 323662 w 612094"/>
                <a:gd name="connsiteY773" fmla="*/ 252229 h 785992"/>
                <a:gd name="connsiteX774" fmla="*/ 330228 w 612094"/>
                <a:gd name="connsiteY774" fmla="*/ 252846 h 785992"/>
                <a:gd name="connsiteX775" fmla="*/ 330537 w 612094"/>
                <a:gd name="connsiteY775" fmla="*/ 252933 h 785992"/>
                <a:gd name="connsiteX776" fmla="*/ 336182 w 612094"/>
                <a:gd name="connsiteY776" fmla="*/ 254582 h 785992"/>
                <a:gd name="connsiteX777" fmla="*/ 342395 w 612094"/>
                <a:gd name="connsiteY777" fmla="*/ 254027 h 785992"/>
                <a:gd name="connsiteX778" fmla="*/ 342902 w 612094"/>
                <a:gd name="connsiteY778" fmla="*/ 254042 h 785992"/>
                <a:gd name="connsiteX779" fmla="*/ 348841 w 612094"/>
                <a:gd name="connsiteY779" fmla="*/ 255242 h 785992"/>
                <a:gd name="connsiteX780" fmla="*/ 349622 w 612094"/>
                <a:gd name="connsiteY780" fmla="*/ 255647 h 785992"/>
                <a:gd name="connsiteX781" fmla="*/ 355585 w 612094"/>
                <a:gd name="connsiteY781" fmla="*/ 260396 h 785992"/>
                <a:gd name="connsiteX782" fmla="*/ 355749 w 612094"/>
                <a:gd name="connsiteY782" fmla="*/ 260502 h 785992"/>
                <a:gd name="connsiteX783" fmla="*/ 362281 w 612094"/>
                <a:gd name="connsiteY783" fmla="*/ 267063 h 785992"/>
                <a:gd name="connsiteX784" fmla="*/ 362589 w 612094"/>
                <a:gd name="connsiteY784" fmla="*/ 267526 h 785992"/>
                <a:gd name="connsiteX785" fmla="*/ 365506 w 612094"/>
                <a:gd name="connsiteY785" fmla="*/ 273354 h 785992"/>
                <a:gd name="connsiteX786" fmla="*/ 369758 w 612094"/>
                <a:gd name="connsiteY786" fmla="*/ 279167 h 785992"/>
                <a:gd name="connsiteX787" fmla="*/ 374844 w 612094"/>
                <a:gd name="connsiteY787" fmla="*/ 280199 h 785992"/>
                <a:gd name="connsiteX788" fmla="*/ 375875 w 612094"/>
                <a:gd name="connsiteY788" fmla="*/ 280199 h 785992"/>
                <a:gd name="connsiteX789" fmla="*/ 377167 w 612094"/>
                <a:gd name="connsiteY789" fmla="*/ 280739 h 785992"/>
                <a:gd name="connsiteX790" fmla="*/ 382277 w 612094"/>
                <a:gd name="connsiteY790" fmla="*/ 285892 h 785992"/>
                <a:gd name="connsiteX791" fmla="*/ 386394 w 612094"/>
                <a:gd name="connsiteY791" fmla="*/ 284335 h 785992"/>
                <a:gd name="connsiteX792" fmla="*/ 385960 w 612094"/>
                <a:gd name="connsiteY792" fmla="*/ 279789 h 785992"/>
                <a:gd name="connsiteX793" fmla="*/ 385960 w 612094"/>
                <a:gd name="connsiteY793" fmla="*/ 279418 h 785992"/>
                <a:gd name="connsiteX794" fmla="*/ 386423 w 612094"/>
                <a:gd name="connsiteY794" fmla="*/ 275465 h 785992"/>
                <a:gd name="connsiteX795" fmla="*/ 381650 w 612094"/>
                <a:gd name="connsiteY795" fmla="*/ 270124 h 785992"/>
                <a:gd name="connsiteX796" fmla="*/ 381212 w 612094"/>
                <a:gd name="connsiteY796" fmla="*/ 269266 h 785992"/>
                <a:gd name="connsiteX797" fmla="*/ 380219 w 612094"/>
                <a:gd name="connsiteY797" fmla="*/ 263823 h 785992"/>
                <a:gd name="connsiteX798" fmla="*/ 374849 w 612094"/>
                <a:gd name="connsiteY798" fmla="*/ 262343 h 785992"/>
                <a:gd name="connsiteX799" fmla="*/ 368987 w 612094"/>
                <a:gd name="connsiteY799" fmla="*/ 261196 h 785992"/>
                <a:gd name="connsiteX800" fmla="*/ 368741 w 612094"/>
                <a:gd name="connsiteY800" fmla="*/ 261114 h 785992"/>
                <a:gd name="connsiteX801" fmla="*/ 367150 w 612094"/>
                <a:gd name="connsiteY801" fmla="*/ 260608 h 785992"/>
                <a:gd name="connsiteX802" fmla="*/ 361413 w 612094"/>
                <a:gd name="connsiteY802" fmla="*/ 260068 h 785992"/>
                <a:gd name="connsiteX803" fmla="*/ 360531 w 612094"/>
                <a:gd name="connsiteY803" fmla="*/ 259706 h 785992"/>
                <a:gd name="connsiteX804" fmla="*/ 353970 w 612094"/>
                <a:gd name="connsiteY804" fmla="*/ 254910 h 785992"/>
                <a:gd name="connsiteX805" fmla="*/ 353753 w 612094"/>
                <a:gd name="connsiteY805" fmla="*/ 254751 h 785992"/>
                <a:gd name="connsiteX806" fmla="*/ 347785 w 612094"/>
                <a:gd name="connsiteY806" fmla="*/ 248807 h 785992"/>
                <a:gd name="connsiteX807" fmla="*/ 347279 w 612094"/>
                <a:gd name="connsiteY807" fmla="*/ 247524 h 785992"/>
                <a:gd name="connsiteX808" fmla="*/ 347279 w 612094"/>
                <a:gd name="connsiteY808" fmla="*/ 241556 h 785992"/>
                <a:gd name="connsiteX809" fmla="*/ 348282 w 612094"/>
                <a:gd name="connsiteY809" fmla="*/ 239927 h 785992"/>
                <a:gd name="connsiteX810" fmla="*/ 354018 w 612094"/>
                <a:gd name="connsiteY810" fmla="*/ 237054 h 785992"/>
                <a:gd name="connsiteX811" fmla="*/ 359793 w 612094"/>
                <a:gd name="connsiteY811" fmla="*/ 231857 h 785992"/>
                <a:gd name="connsiteX812" fmla="*/ 360994 w 612094"/>
                <a:gd name="connsiteY812" fmla="*/ 231442 h 785992"/>
                <a:gd name="connsiteX813" fmla="*/ 367550 w 612094"/>
                <a:gd name="connsiteY813" fmla="*/ 231442 h 785992"/>
                <a:gd name="connsiteX814" fmla="*/ 367709 w 612094"/>
                <a:gd name="connsiteY814" fmla="*/ 231442 h 785992"/>
                <a:gd name="connsiteX815" fmla="*/ 368056 w 612094"/>
                <a:gd name="connsiteY815" fmla="*/ 231457 h 785992"/>
                <a:gd name="connsiteX816" fmla="*/ 367193 w 612094"/>
                <a:gd name="connsiteY816" fmla="*/ 231206 h 785992"/>
                <a:gd name="connsiteX817" fmla="*/ 361240 w 612094"/>
                <a:gd name="connsiteY817" fmla="*/ 227610 h 785992"/>
                <a:gd name="connsiteX818" fmla="*/ 360811 w 612094"/>
                <a:gd name="connsiteY818" fmla="*/ 227306 h 785992"/>
                <a:gd name="connsiteX819" fmla="*/ 355450 w 612094"/>
                <a:gd name="connsiteY819" fmla="*/ 221357 h 785992"/>
                <a:gd name="connsiteX820" fmla="*/ 355021 w 612094"/>
                <a:gd name="connsiteY820" fmla="*/ 219984 h 785992"/>
                <a:gd name="connsiteX821" fmla="*/ 355580 w 612094"/>
                <a:gd name="connsiteY821" fmla="*/ 213447 h 785992"/>
                <a:gd name="connsiteX822" fmla="*/ 355797 w 612094"/>
                <a:gd name="connsiteY822" fmla="*/ 212776 h 785992"/>
                <a:gd name="connsiteX823" fmla="*/ 357547 w 612094"/>
                <a:gd name="connsiteY823" fmla="*/ 209166 h 785992"/>
                <a:gd name="connsiteX824" fmla="*/ 354259 w 612094"/>
                <a:gd name="connsiteY824" fmla="*/ 208824 h 785992"/>
                <a:gd name="connsiteX825" fmla="*/ 353228 w 612094"/>
                <a:gd name="connsiteY825" fmla="*/ 208394 h 785992"/>
                <a:gd name="connsiteX826" fmla="*/ 347284 w 612094"/>
                <a:gd name="connsiteY826" fmla="*/ 203044 h 785992"/>
                <a:gd name="connsiteX827" fmla="*/ 346975 w 612094"/>
                <a:gd name="connsiteY827" fmla="*/ 202735 h 785992"/>
                <a:gd name="connsiteX828" fmla="*/ 346054 w 612094"/>
                <a:gd name="connsiteY828" fmla="*/ 201323 h 785992"/>
                <a:gd name="connsiteX829" fmla="*/ 340544 w 612094"/>
                <a:gd name="connsiteY829" fmla="*/ 198565 h 785992"/>
                <a:gd name="connsiteX830" fmla="*/ 339778 w 612094"/>
                <a:gd name="connsiteY830" fmla="*/ 197813 h 785992"/>
                <a:gd name="connsiteX831" fmla="*/ 336172 w 612094"/>
                <a:gd name="connsiteY831" fmla="*/ 191276 h 785992"/>
                <a:gd name="connsiteX832" fmla="*/ 336148 w 612094"/>
                <a:gd name="connsiteY832" fmla="*/ 189584 h 785992"/>
                <a:gd name="connsiteX833" fmla="*/ 339113 w 612094"/>
                <a:gd name="connsiteY833" fmla="*/ 183650 h 785992"/>
                <a:gd name="connsiteX834" fmla="*/ 339672 w 612094"/>
                <a:gd name="connsiteY834" fmla="*/ 182946 h 785992"/>
                <a:gd name="connsiteX835" fmla="*/ 343851 w 612094"/>
                <a:gd name="connsiteY835" fmla="*/ 179991 h 785992"/>
                <a:gd name="connsiteX836" fmla="*/ 344049 w 612094"/>
                <a:gd name="connsiteY836" fmla="*/ 179866 h 785992"/>
                <a:gd name="connsiteX837" fmla="*/ 350572 w 612094"/>
                <a:gd name="connsiteY837" fmla="*/ 176308 h 785992"/>
                <a:gd name="connsiteX838" fmla="*/ 351955 w 612094"/>
                <a:gd name="connsiteY838" fmla="*/ 176154 h 785992"/>
                <a:gd name="connsiteX839" fmla="*/ 356120 w 612094"/>
                <a:gd name="connsiteY839" fmla="*/ 177364 h 785992"/>
                <a:gd name="connsiteX840" fmla="*/ 356294 w 612094"/>
                <a:gd name="connsiteY840" fmla="*/ 177407 h 785992"/>
                <a:gd name="connsiteX841" fmla="*/ 359200 w 612094"/>
                <a:gd name="connsiteY841" fmla="*/ 178554 h 785992"/>
                <a:gd name="connsiteX842" fmla="*/ 387599 w 612094"/>
                <a:gd name="connsiteY842" fmla="*/ 170181 h 785992"/>
                <a:gd name="connsiteX843" fmla="*/ 387657 w 612094"/>
                <a:gd name="connsiteY843" fmla="*/ 170089 h 785992"/>
                <a:gd name="connsiteX844" fmla="*/ 393476 w 612094"/>
                <a:gd name="connsiteY844" fmla="*/ 164251 h 785992"/>
                <a:gd name="connsiteX845" fmla="*/ 396600 w 612094"/>
                <a:gd name="connsiteY845" fmla="*/ 159035 h 785992"/>
                <a:gd name="connsiteX846" fmla="*/ 396060 w 612094"/>
                <a:gd name="connsiteY846" fmla="*/ 153077 h 785992"/>
                <a:gd name="connsiteX847" fmla="*/ 396368 w 612094"/>
                <a:gd name="connsiteY847" fmla="*/ 151881 h 785992"/>
                <a:gd name="connsiteX848" fmla="*/ 400528 w 612094"/>
                <a:gd name="connsiteY848" fmla="*/ 145904 h 785992"/>
                <a:gd name="connsiteX849" fmla="*/ 401565 w 612094"/>
                <a:gd name="connsiteY849" fmla="*/ 145190 h 785992"/>
                <a:gd name="connsiteX850" fmla="*/ 407943 w 612094"/>
                <a:gd name="connsiteY850" fmla="*/ 143484 h 785992"/>
                <a:gd name="connsiteX851" fmla="*/ 413713 w 612094"/>
                <a:gd name="connsiteY851" fmla="*/ 140586 h 785992"/>
                <a:gd name="connsiteX852" fmla="*/ 415135 w 612094"/>
                <a:gd name="connsiteY852" fmla="*/ 140485 h 785992"/>
                <a:gd name="connsiteX853" fmla="*/ 421716 w 612094"/>
                <a:gd name="connsiteY853" fmla="*/ 142843 h 785992"/>
                <a:gd name="connsiteX854" fmla="*/ 422496 w 612094"/>
                <a:gd name="connsiteY854" fmla="*/ 143426 h 785992"/>
                <a:gd name="connsiteX855" fmla="*/ 427134 w 612094"/>
                <a:gd name="connsiteY855" fmla="*/ 149138 h 785992"/>
                <a:gd name="connsiteX856" fmla="*/ 432032 w 612094"/>
                <a:gd name="connsiteY856" fmla="*/ 148126 h 785992"/>
                <a:gd name="connsiteX857" fmla="*/ 432533 w 612094"/>
                <a:gd name="connsiteY857" fmla="*/ 148121 h 785992"/>
                <a:gd name="connsiteX858" fmla="*/ 438863 w 612094"/>
                <a:gd name="connsiteY858" fmla="*/ 148685 h 785992"/>
                <a:gd name="connsiteX859" fmla="*/ 444358 w 612094"/>
                <a:gd name="connsiteY859" fmla="*/ 147702 h 785992"/>
                <a:gd name="connsiteX860" fmla="*/ 445737 w 612094"/>
                <a:gd name="connsiteY860" fmla="*/ 145431 h 785992"/>
                <a:gd name="connsiteX861" fmla="*/ 460758 w 612094"/>
                <a:gd name="connsiteY861" fmla="*/ 129084 h 785992"/>
                <a:gd name="connsiteX862" fmla="*/ 461154 w 612094"/>
                <a:gd name="connsiteY862" fmla="*/ 128781 h 785992"/>
                <a:gd name="connsiteX863" fmla="*/ 462745 w 612094"/>
                <a:gd name="connsiteY863" fmla="*/ 127696 h 785992"/>
                <a:gd name="connsiteX864" fmla="*/ 468515 w 612094"/>
                <a:gd name="connsiteY864" fmla="*/ 121347 h 785992"/>
                <a:gd name="connsiteX865" fmla="*/ 469710 w 612094"/>
                <a:gd name="connsiteY865" fmla="*/ 120764 h 785992"/>
                <a:gd name="connsiteX866" fmla="*/ 476262 w 612094"/>
                <a:gd name="connsiteY866" fmla="*/ 120147 h 785992"/>
                <a:gd name="connsiteX867" fmla="*/ 477727 w 612094"/>
                <a:gd name="connsiteY867" fmla="*/ 120643 h 785992"/>
                <a:gd name="connsiteX868" fmla="*/ 478923 w 612094"/>
                <a:gd name="connsiteY868" fmla="*/ 121858 h 785992"/>
                <a:gd name="connsiteX869" fmla="*/ 479395 w 612094"/>
                <a:gd name="connsiteY869" fmla="*/ 122687 h 785992"/>
                <a:gd name="connsiteX870" fmla="*/ 480707 w 612094"/>
                <a:gd name="connsiteY870" fmla="*/ 127580 h 785992"/>
                <a:gd name="connsiteX871" fmla="*/ 485011 w 612094"/>
                <a:gd name="connsiteY871" fmla="*/ 126732 h 785992"/>
                <a:gd name="connsiteX872" fmla="*/ 485050 w 612094"/>
                <a:gd name="connsiteY872" fmla="*/ 126732 h 785992"/>
                <a:gd name="connsiteX873" fmla="*/ 491548 w 612094"/>
                <a:gd name="connsiteY873" fmla="*/ 125560 h 785992"/>
                <a:gd name="connsiteX874" fmla="*/ 491548 w 612094"/>
                <a:gd name="connsiteY874" fmla="*/ 125536 h 785992"/>
                <a:gd name="connsiteX875" fmla="*/ 497487 w 612094"/>
                <a:gd name="connsiteY875" fmla="*/ 124355 h 785992"/>
                <a:gd name="connsiteX876" fmla="*/ 498659 w 612094"/>
                <a:gd name="connsiteY876" fmla="*/ 124500 h 785992"/>
                <a:gd name="connsiteX877" fmla="*/ 504304 w 612094"/>
                <a:gd name="connsiteY877" fmla="*/ 127315 h 785992"/>
                <a:gd name="connsiteX878" fmla="*/ 510518 w 612094"/>
                <a:gd name="connsiteY878" fmla="*/ 127869 h 785992"/>
                <a:gd name="connsiteX879" fmla="*/ 510686 w 612094"/>
                <a:gd name="connsiteY879" fmla="*/ 127922 h 785992"/>
                <a:gd name="connsiteX880" fmla="*/ 516413 w 612094"/>
                <a:gd name="connsiteY880" fmla="*/ 129055 h 785992"/>
                <a:gd name="connsiteX881" fmla="*/ 522647 w 612094"/>
                <a:gd name="connsiteY881" fmla="*/ 128491 h 785992"/>
                <a:gd name="connsiteX882" fmla="*/ 528639 w 612094"/>
                <a:gd name="connsiteY882" fmla="*/ 127869 h 785992"/>
                <a:gd name="connsiteX883" fmla="*/ 528957 w 612094"/>
                <a:gd name="connsiteY883" fmla="*/ 127869 h 785992"/>
                <a:gd name="connsiteX884" fmla="*/ 535128 w 612094"/>
                <a:gd name="connsiteY884" fmla="*/ 128443 h 785992"/>
                <a:gd name="connsiteX885" fmla="*/ 540768 w 612094"/>
                <a:gd name="connsiteY885" fmla="*/ 126785 h 785992"/>
                <a:gd name="connsiteX886" fmla="*/ 540922 w 612094"/>
                <a:gd name="connsiteY886" fmla="*/ 126727 h 785992"/>
                <a:gd name="connsiteX887" fmla="*/ 565604 w 612094"/>
                <a:gd name="connsiteY887" fmla="*/ 123728 h 785992"/>
                <a:gd name="connsiteX888" fmla="*/ 572064 w 612094"/>
                <a:gd name="connsiteY888" fmla="*/ 123116 h 785992"/>
                <a:gd name="connsiteX889" fmla="*/ 573592 w 612094"/>
                <a:gd name="connsiteY889" fmla="*/ 123728 h 785992"/>
                <a:gd name="connsiteX890" fmla="*/ 574026 w 612094"/>
                <a:gd name="connsiteY890" fmla="*/ 125276 h 785992"/>
                <a:gd name="connsiteX891" fmla="*/ 572931 w 612094"/>
                <a:gd name="connsiteY891" fmla="*/ 130801 h 785992"/>
                <a:gd name="connsiteX892" fmla="*/ 574595 w 612094"/>
                <a:gd name="connsiteY892" fmla="*/ 136932 h 785992"/>
                <a:gd name="connsiteX893" fmla="*/ 574445 w 612094"/>
                <a:gd name="connsiteY893" fmla="*/ 137680 h 785992"/>
                <a:gd name="connsiteX894" fmla="*/ 574855 w 612094"/>
                <a:gd name="connsiteY894" fmla="*/ 137709 h 785992"/>
                <a:gd name="connsiteX895" fmla="*/ 581517 w 612094"/>
                <a:gd name="connsiteY895" fmla="*/ 131972 h 78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Lst>
              <a:rect l="l" t="t" r="r" b="b"/>
              <a:pathLst>
                <a:path w="612094" h="785992">
                  <a:moveTo>
                    <a:pt x="581517" y="131972"/>
                  </a:moveTo>
                  <a:lnTo>
                    <a:pt x="582014" y="125768"/>
                  </a:lnTo>
                  <a:lnTo>
                    <a:pt x="587427" y="119318"/>
                  </a:lnTo>
                  <a:lnTo>
                    <a:pt x="587543" y="113509"/>
                  </a:lnTo>
                  <a:lnTo>
                    <a:pt x="592470" y="109503"/>
                  </a:lnTo>
                  <a:lnTo>
                    <a:pt x="595145" y="102286"/>
                  </a:lnTo>
                  <a:lnTo>
                    <a:pt x="594653" y="95928"/>
                  </a:lnTo>
                  <a:lnTo>
                    <a:pt x="595806" y="90504"/>
                  </a:lnTo>
                  <a:lnTo>
                    <a:pt x="589867" y="85876"/>
                  </a:lnTo>
                  <a:lnTo>
                    <a:pt x="587027" y="74118"/>
                  </a:lnTo>
                  <a:lnTo>
                    <a:pt x="586651" y="68179"/>
                  </a:lnTo>
                  <a:lnTo>
                    <a:pt x="589346" y="61324"/>
                  </a:lnTo>
                  <a:cubicBezTo>
                    <a:pt x="589346" y="61324"/>
                    <a:pt x="591269" y="60071"/>
                    <a:pt x="596471" y="56692"/>
                  </a:cubicBezTo>
                  <a:cubicBezTo>
                    <a:pt x="599951" y="48419"/>
                    <a:pt x="612095" y="42099"/>
                    <a:pt x="612095" y="42099"/>
                  </a:cubicBezTo>
                  <a:lnTo>
                    <a:pt x="610919" y="32675"/>
                  </a:lnTo>
                  <a:lnTo>
                    <a:pt x="606662" y="26345"/>
                  </a:lnTo>
                  <a:lnTo>
                    <a:pt x="601923" y="14858"/>
                  </a:lnTo>
                  <a:lnTo>
                    <a:pt x="600072" y="9164"/>
                  </a:lnTo>
                  <a:lnTo>
                    <a:pt x="594422" y="9434"/>
                  </a:lnTo>
                  <a:lnTo>
                    <a:pt x="588445" y="4102"/>
                  </a:lnTo>
                  <a:cubicBezTo>
                    <a:pt x="588445" y="4102"/>
                    <a:pt x="578904" y="2695"/>
                    <a:pt x="575255" y="1659"/>
                  </a:cubicBezTo>
                  <a:cubicBezTo>
                    <a:pt x="574729" y="1499"/>
                    <a:pt x="574368" y="1253"/>
                    <a:pt x="573905" y="974"/>
                  </a:cubicBezTo>
                  <a:lnTo>
                    <a:pt x="569196" y="3857"/>
                  </a:lnTo>
                  <a:lnTo>
                    <a:pt x="560692" y="0"/>
                  </a:lnTo>
                  <a:lnTo>
                    <a:pt x="553586" y="656"/>
                  </a:lnTo>
                  <a:lnTo>
                    <a:pt x="547917" y="6320"/>
                  </a:lnTo>
                  <a:lnTo>
                    <a:pt x="547488" y="12510"/>
                  </a:lnTo>
                  <a:lnTo>
                    <a:pt x="553229" y="17572"/>
                  </a:lnTo>
                  <a:lnTo>
                    <a:pt x="562625" y="29850"/>
                  </a:lnTo>
                  <a:lnTo>
                    <a:pt x="561863" y="35505"/>
                  </a:lnTo>
                  <a:lnTo>
                    <a:pt x="565088" y="43126"/>
                  </a:lnTo>
                  <a:lnTo>
                    <a:pt x="563512" y="50111"/>
                  </a:lnTo>
                  <a:lnTo>
                    <a:pt x="558508" y="55265"/>
                  </a:lnTo>
                  <a:lnTo>
                    <a:pt x="553335" y="56161"/>
                  </a:lnTo>
                  <a:lnTo>
                    <a:pt x="541317" y="64810"/>
                  </a:lnTo>
                  <a:lnTo>
                    <a:pt x="533816" y="61980"/>
                  </a:lnTo>
                  <a:lnTo>
                    <a:pt x="522213" y="70474"/>
                  </a:lnTo>
                  <a:lnTo>
                    <a:pt x="516389" y="69486"/>
                  </a:lnTo>
                  <a:lnTo>
                    <a:pt x="510190" y="71163"/>
                  </a:lnTo>
                  <a:lnTo>
                    <a:pt x="503605" y="76977"/>
                  </a:lnTo>
                  <a:lnTo>
                    <a:pt x="496779" y="77739"/>
                  </a:lnTo>
                  <a:lnTo>
                    <a:pt x="484095" y="86122"/>
                  </a:lnTo>
                  <a:lnTo>
                    <a:pt x="477510" y="87048"/>
                  </a:lnTo>
                  <a:cubicBezTo>
                    <a:pt x="477510" y="87048"/>
                    <a:pt x="465126" y="69847"/>
                    <a:pt x="432061" y="76216"/>
                  </a:cubicBezTo>
                  <a:cubicBezTo>
                    <a:pt x="432707" y="79957"/>
                    <a:pt x="431559" y="83688"/>
                    <a:pt x="431559" y="83688"/>
                  </a:cubicBezTo>
                  <a:lnTo>
                    <a:pt x="419662" y="76457"/>
                  </a:lnTo>
                  <a:lnTo>
                    <a:pt x="413718" y="76457"/>
                  </a:lnTo>
                  <a:lnTo>
                    <a:pt x="407017" y="71583"/>
                  </a:lnTo>
                  <a:lnTo>
                    <a:pt x="403373" y="65200"/>
                  </a:lnTo>
                  <a:lnTo>
                    <a:pt x="396691" y="60447"/>
                  </a:lnTo>
                  <a:lnTo>
                    <a:pt x="390453" y="67259"/>
                  </a:lnTo>
                  <a:lnTo>
                    <a:pt x="384408" y="68073"/>
                  </a:lnTo>
                  <a:lnTo>
                    <a:pt x="379766" y="71284"/>
                  </a:lnTo>
                  <a:lnTo>
                    <a:pt x="371995" y="65109"/>
                  </a:lnTo>
                  <a:lnTo>
                    <a:pt x="366301" y="70474"/>
                  </a:lnTo>
                  <a:lnTo>
                    <a:pt x="355869" y="71699"/>
                  </a:lnTo>
                  <a:lnTo>
                    <a:pt x="354563" y="78134"/>
                  </a:lnTo>
                  <a:lnTo>
                    <a:pt x="347592" y="86378"/>
                  </a:lnTo>
                  <a:lnTo>
                    <a:pt x="342280" y="86002"/>
                  </a:lnTo>
                  <a:lnTo>
                    <a:pt x="330146" y="91695"/>
                  </a:lnTo>
                  <a:lnTo>
                    <a:pt x="326651" y="97118"/>
                  </a:lnTo>
                  <a:lnTo>
                    <a:pt x="321358" y="97643"/>
                  </a:lnTo>
                  <a:lnTo>
                    <a:pt x="314006" y="103453"/>
                  </a:lnTo>
                  <a:lnTo>
                    <a:pt x="295008" y="102300"/>
                  </a:lnTo>
                  <a:lnTo>
                    <a:pt x="286360" y="109749"/>
                  </a:lnTo>
                  <a:lnTo>
                    <a:pt x="277470" y="107463"/>
                  </a:lnTo>
                  <a:cubicBezTo>
                    <a:pt x="277470" y="107463"/>
                    <a:pt x="272307" y="118671"/>
                    <a:pt x="269844" y="119583"/>
                  </a:cubicBezTo>
                  <a:cubicBezTo>
                    <a:pt x="267376" y="120489"/>
                    <a:pt x="263784" y="121140"/>
                    <a:pt x="263784" y="121140"/>
                  </a:cubicBezTo>
                  <a:cubicBezTo>
                    <a:pt x="263784" y="121140"/>
                    <a:pt x="254003" y="120002"/>
                    <a:pt x="244810" y="121140"/>
                  </a:cubicBezTo>
                  <a:lnTo>
                    <a:pt x="243368" y="125180"/>
                  </a:lnTo>
                  <a:lnTo>
                    <a:pt x="244810" y="121140"/>
                  </a:lnTo>
                  <a:cubicBezTo>
                    <a:pt x="238871" y="121877"/>
                    <a:pt x="233139" y="123502"/>
                    <a:pt x="230459" y="127084"/>
                  </a:cubicBezTo>
                  <a:cubicBezTo>
                    <a:pt x="229533" y="128612"/>
                    <a:pt x="231857" y="147090"/>
                    <a:pt x="230560" y="148377"/>
                  </a:cubicBezTo>
                  <a:cubicBezTo>
                    <a:pt x="229302" y="149693"/>
                    <a:pt x="225792" y="150835"/>
                    <a:pt x="225792" y="150835"/>
                  </a:cubicBezTo>
                  <a:lnTo>
                    <a:pt x="220769" y="149027"/>
                  </a:lnTo>
                  <a:lnTo>
                    <a:pt x="218282" y="155883"/>
                  </a:lnTo>
                  <a:cubicBezTo>
                    <a:pt x="218282" y="155883"/>
                    <a:pt x="212092" y="156022"/>
                    <a:pt x="209768" y="157570"/>
                  </a:cubicBezTo>
                  <a:cubicBezTo>
                    <a:pt x="207459" y="159103"/>
                    <a:pt x="202012" y="160279"/>
                    <a:pt x="199201" y="159103"/>
                  </a:cubicBezTo>
                  <a:cubicBezTo>
                    <a:pt x="195185" y="160530"/>
                    <a:pt x="192327" y="161157"/>
                    <a:pt x="190910" y="159252"/>
                  </a:cubicBezTo>
                  <a:cubicBezTo>
                    <a:pt x="189511" y="157300"/>
                    <a:pt x="182782" y="152272"/>
                    <a:pt x="168074" y="163244"/>
                  </a:cubicBezTo>
                  <a:cubicBezTo>
                    <a:pt x="159917" y="164767"/>
                    <a:pt x="147017" y="167245"/>
                    <a:pt x="149996" y="177041"/>
                  </a:cubicBezTo>
                  <a:cubicBezTo>
                    <a:pt x="144043" y="185694"/>
                    <a:pt x="140562" y="189449"/>
                    <a:pt x="140562" y="189449"/>
                  </a:cubicBezTo>
                  <a:cubicBezTo>
                    <a:pt x="140562" y="189449"/>
                    <a:pt x="142346" y="198107"/>
                    <a:pt x="138224" y="197842"/>
                  </a:cubicBezTo>
                  <a:cubicBezTo>
                    <a:pt x="134097" y="197606"/>
                    <a:pt x="130631" y="197707"/>
                    <a:pt x="130631" y="197707"/>
                  </a:cubicBezTo>
                  <a:cubicBezTo>
                    <a:pt x="130631" y="197707"/>
                    <a:pt x="126105" y="204451"/>
                    <a:pt x="120677" y="207295"/>
                  </a:cubicBezTo>
                  <a:cubicBezTo>
                    <a:pt x="116020" y="204769"/>
                    <a:pt x="112419" y="203911"/>
                    <a:pt x="112419" y="203911"/>
                  </a:cubicBezTo>
                  <a:lnTo>
                    <a:pt x="107241" y="205492"/>
                  </a:lnTo>
                  <a:lnTo>
                    <a:pt x="103380" y="204056"/>
                  </a:lnTo>
                  <a:cubicBezTo>
                    <a:pt x="103380" y="204056"/>
                    <a:pt x="97311" y="215924"/>
                    <a:pt x="91593" y="213596"/>
                  </a:cubicBezTo>
                  <a:cubicBezTo>
                    <a:pt x="85919" y="211239"/>
                    <a:pt x="81552" y="213461"/>
                    <a:pt x="78042" y="216045"/>
                  </a:cubicBezTo>
                  <a:cubicBezTo>
                    <a:pt x="75304" y="218104"/>
                    <a:pt x="66757" y="219535"/>
                    <a:pt x="61073" y="219993"/>
                  </a:cubicBezTo>
                  <a:cubicBezTo>
                    <a:pt x="62028" y="223310"/>
                    <a:pt x="62645" y="227080"/>
                    <a:pt x="62303" y="229104"/>
                  </a:cubicBezTo>
                  <a:cubicBezTo>
                    <a:pt x="61661" y="232961"/>
                    <a:pt x="62168" y="236591"/>
                    <a:pt x="65648" y="238018"/>
                  </a:cubicBezTo>
                  <a:cubicBezTo>
                    <a:pt x="71983" y="240337"/>
                    <a:pt x="72262" y="246541"/>
                    <a:pt x="72118" y="250677"/>
                  </a:cubicBezTo>
                  <a:cubicBezTo>
                    <a:pt x="71988" y="254828"/>
                    <a:pt x="72479" y="258154"/>
                    <a:pt x="72479" y="258154"/>
                  </a:cubicBezTo>
                  <a:lnTo>
                    <a:pt x="68758" y="263963"/>
                  </a:lnTo>
                  <a:cubicBezTo>
                    <a:pt x="68758" y="263963"/>
                    <a:pt x="67851" y="266055"/>
                    <a:pt x="66583" y="269401"/>
                  </a:cubicBezTo>
                  <a:cubicBezTo>
                    <a:pt x="65253" y="272775"/>
                    <a:pt x="54430" y="274005"/>
                    <a:pt x="54430" y="274005"/>
                  </a:cubicBezTo>
                  <a:lnTo>
                    <a:pt x="50805" y="279871"/>
                  </a:lnTo>
                  <a:cubicBezTo>
                    <a:pt x="50805" y="279871"/>
                    <a:pt x="50805" y="281269"/>
                    <a:pt x="50805" y="286066"/>
                  </a:cubicBezTo>
                  <a:cubicBezTo>
                    <a:pt x="50805" y="290853"/>
                    <a:pt x="46288" y="298455"/>
                    <a:pt x="46288" y="298455"/>
                  </a:cubicBezTo>
                  <a:lnTo>
                    <a:pt x="45512" y="304495"/>
                  </a:lnTo>
                  <a:lnTo>
                    <a:pt x="46674" y="310343"/>
                  </a:lnTo>
                  <a:lnTo>
                    <a:pt x="43584" y="316663"/>
                  </a:lnTo>
                  <a:cubicBezTo>
                    <a:pt x="43584" y="316663"/>
                    <a:pt x="43834" y="320028"/>
                    <a:pt x="44336" y="323634"/>
                  </a:cubicBezTo>
                  <a:cubicBezTo>
                    <a:pt x="40571" y="334104"/>
                    <a:pt x="32708" y="332923"/>
                    <a:pt x="29999" y="332002"/>
                  </a:cubicBezTo>
                  <a:cubicBezTo>
                    <a:pt x="27309" y="331135"/>
                    <a:pt x="23824" y="333073"/>
                    <a:pt x="23824" y="333073"/>
                  </a:cubicBezTo>
                  <a:lnTo>
                    <a:pt x="19138" y="338115"/>
                  </a:lnTo>
                  <a:lnTo>
                    <a:pt x="17861" y="343408"/>
                  </a:lnTo>
                  <a:cubicBezTo>
                    <a:pt x="17861" y="343408"/>
                    <a:pt x="13888" y="343789"/>
                    <a:pt x="13213" y="345978"/>
                  </a:cubicBezTo>
                  <a:cubicBezTo>
                    <a:pt x="11285" y="353098"/>
                    <a:pt x="20194" y="361746"/>
                    <a:pt x="22002" y="363299"/>
                  </a:cubicBezTo>
                  <a:cubicBezTo>
                    <a:pt x="23819" y="364851"/>
                    <a:pt x="23399" y="367165"/>
                    <a:pt x="23023" y="369609"/>
                  </a:cubicBezTo>
                  <a:cubicBezTo>
                    <a:pt x="22633" y="372053"/>
                    <a:pt x="18767" y="372318"/>
                    <a:pt x="16824" y="371402"/>
                  </a:cubicBezTo>
                  <a:cubicBezTo>
                    <a:pt x="14896" y="370515"/>
                    <a:pt x="13888" y="370038"/>
                    <a:pt x="12312" y="371311"/>
                  </a:cubicBezTo>
                  <a:cubicBezTo>
                    <a:pt x="10784" y="372583"/>
                    <a:pt x="12447" y="379313"/>
                    <a:pt x="13609" y="382133"/>
                  </a:cubicBezTo>
                  <a:cubicBezTo>
                    <a:pt x="14785" y="384972"/>
                    <a:pt x="8971" y="389894"/>
                    <a:pt x="6122" y="392608"/>
                  </a:cubicBezTo>
                  <a:cubicBezTo>
                    <a:pt x="4512" y="394088"/>
                    <a:pt x="2294" y="394937"/>
                    <a:pt x="0" y="394913"/>
                  </a:cubicBezTo>
                  <a:lnTo>
                    <a:pt x="5351" y="397603"/>
                  </a:lnTo>
                  <a:cubicBezTo>
                    <a:pt x="6040" y="397921"/>
                    <a:pt x="6416" y="398649"/>
                    <a:pt x="6354" y="399386"/>
                  </a:cubicBezTo>
                  <a:lnTo>
                    <a:pt x="5775" y="405263"/>
                  </a:lnTo>
                  <a:lnTo>
                    <a:pt x="5775" y="410681"/>
                  </a:lnTo>
                  <a:lnTo>
                    <a:pt x="10837" y="413723"/>
                  </a:lnTo>
                  <a:lnTo>
                    <a:pt x="11555" y="414504"/>
                  </a:lnTo>
                  <a:lnTo>
                    <a:pt x="14530" y="421084"/>
                  </a:lnTo>
                  <a:lnTo>
                    <a:pt x="14635" y="421480"/>
                  </a:lnTo>
                  <a:lnTo>
                    <a:pt x="15706" y="426705"/>
                  </a:lnTo>
                  <a:lnTo>
                    <a:pt x="21693" y="431097"/>
                  </a:lnTo>
                  <a:lnTo>
                    <a:pt x="22108" y="431506"/>
                  </a:lnTo>
                  <a:lnTo>
                    <a:pt x="25950" y="436973"/>
                  </a:lnTo>
                  <a:lnTo>
                    <a:pt x="29869" y="438473"/>
                  </a:lnTo>
                  <a:lnTo>
                    <a:pt x="36088" y="438473"/>
                  </a:lnTo>
                  <a:lnTo>
                    <a:pt x="37018" y="438733"/>
                  </a:lnTo>
                  <a:lnTo>
                    <a:pt x="42962" y="442310"/>
                  </a:lnTo>
                  <a:lnTo>
                    <a:pt x="43425" y="442720"/>
                  </a:lnTo>
                  <a:lnTo>
                    <a:pt x="48626" y="449054"/>
                  </a:lnTo>
                  <a:lnTo>
                    <a:pt x="54994" y="453687"/>
                  </a:lnTo>
                  <a:lnTo>
                    <a:pt x="55134" y="453802"/>
                  </a:lnTo>
                  <a:lnTo>
                    <a:pt x="60885" y="458970"/>
                  </a:lnTo>
                  <a:lnTo>
                    <a:pt x="65971" y="461222"/>
                  </a:lnTo>
                  <a:lnTo>
                    <a:pt x="66593" y="461675"/>
                  </a:lnTo>
                  <a:lnTo>
                    <a:pt x="71915" y="467599"/>
                  </a:lnTo>
                  <a:lnTo>
                    <a:pt x="72383" y="468640"/>
                  </a:lnTo>
                  <a:lnTo>
                    <a:pt x="72894" y="473592"/>
                  </a:lnTo>
                  <a:lnTo>
                    <a:pt x="77777" y="476816"/>
                  </a:lnTo>
                  <a:lnTo>
                    <a:pt x="80183" y="475452"/>
                  </a:lnTo>
                  <a:lnTo>
                    <a:pt x="75261" y="470125"/>
                  </a:lnTo>
                  <a:lnTo>
                    <a:pt x="74807" y="468361"/>
                  </a:lnTo>
                  <a:lnTo>
                    <a:pt x="76596" y="461814"/>
                  </a:lnTo>
                  <a:lnTo>
                    <a:pt x="76639" y="461607"/>
                  </a:lnTo>
                  <a:lnTo>
                    <a:pt x="79026" y="455678"/>
                  </a:lnTo>
                  <a:lnTo>
                    <a:pt x="80597" y="454574"/>
                  </a:lnTo>
                  <a:lnTo>
                    <a:pt x="82289" y="455470"/>
                  </a:lnTo>
                  <a:lnTo>
                    <a:pt x="84647" y="459592"/>
                  </a:lnTo>
                  <a:lnTo>
                    <a:pt x="86324" y="462383"/>
                  </a:lnTo>
                  <a:lnTo>
                    <a:pt x="87327" y="459828"/>
                  </a:lnTo>
                  <a:lnTo>
                    <a:pt x="88513" y="458792"/>
                  </a:lnTo>
                  <a:lnTo>
                    <a:pt x="90084" y="459018"/>
                  </a:lnTo>
                  <a:lnTo>
                    <a:pt x="95908" y="463126"/>
                  </a:lnTo>
                  <a:lnTo>
                    <a:pt x="100714" y="465473"/>
                  </a:lnTo>
                  <a:lnTo>
                    <a:pt x="106335" y="460889"/>
                  </a:lnTo>
                  <a:lnTo>
                    <a:pt x="107314" y="460508"/>
                  </a:lnTo>
                  <a:lnTo>
                    <a:pt x="113253" y="459920"/>
                  </a:lnTo>
                  <a:cubicBezTo>
                    <a:pt x="114000" y="459828"/>
                    <a:pt x="114733" y="460214"/>
                    <a:pt x="115080" y="460889"/>
                  </a:cubicBezTo>
                  <a:lnTo>
                    <a:pt x="115528" y="461819"/>
                  </a:lnTo>
                  <a:lnTo>
                    <a:pt x="121279" y="467580"/>
                  </a:lnTo>
                  <a:lnTo>
                    <a:pt x="121718" y="469402"/>
                  </a:lnTo>
                  <a:lnTo>
                    <a:pt x="120132" y="474719"/>
                  </a:lnTo>
                  <a:lnTo>
                    <a:pt x="122272" y="480095"/>
                  </a:lnTo>
                  <a:lnTo>
                    <a:pt x="121887" y="481994"/>
                  </a:lnTo>
                  <a:lnTo>
                    <a:pt x="120031" y="482495"/>
                  </a:lnTo>
                  <a:lnTo>
                    <a:pt x="115692" y="481179"/>
                  </a:lnTo>
                  <a:lnTo>
                    <a:pt x="113937" y="485614"/>
                  </a:lnTo>
                  <a:lnTo>
                    <a:pt x="112819" y="486680"/>
                  </a:lnTo>
                  <a:lnTo>
                    <a:pt x="111310" y="486482"/>
                  </a:lnTo>
                  <a:lnTo>
                    <a:pt x="105366" y="482953"/>
                  </a:lnTo>
                  <a:lnTo>
                    <a:pt x="104527" y="481073"/>
                  </a:lnTo>
                  <a:lnTo>
                    <a:pt x="104812" y="479212"/>
                  </a:lnTo>
                  <a:lnTo>
                    <a:pt x="101090" y="478504"/>
                  </a:lnTo>
                  <a:lnTo>
                    <a:pt x="95030" y="480673"/>
                  </a:lnTo>
                  <a:lnTo>
                    <a:pt x="93734" y="480673"/>
                  </a:lnTo>
                  <a:lnTo>
                    <a:pt x="89120" y="478851"/>
                  </a:lnTo>
                  <a:lnTo>
                    <a:pt x="86695" y="482399"/>
                  </a:lnTo>
                  <a:cubicBezTo>
                    <a:pt x="86170" y="483112"/>
                    <a:pt x="83499" y="482664"/>
                    <a:pt x="82699" y="482254"/>
                  </a:cubicBezTo>
                  <a:lnTo>
                    <a:pt x="78307" y="480201"/>
                  </a:lnTo>
                  <a:lnTo>
                    <a:pt x="80694" y="486419"/>
                  </a:lnTo>
                  <a:lnTo>
                    <a:pt x="80732" y="486709"/>
                  </a:lnTo>
                  <a:lnTo>
                    <a:pt x="80732" y="492682"/>
                  </a:lnTo>
                  <a:lnTo>
                    <a:pt x="80694" y="492985"/>
                  </a:lnTo>
                  <a:lnTo>
                    <a:pt x="79681" y="498138"/>
                  </a:lnTo>
                  <a:lnTo>
                    <a:pt x="83374" y="502631"/>
                  </a:lnTo>
                  <a:lnTo>
                    <a:pt x="87910" y="498992"/>
                  </a:lnTo>
                  <a:lnTo>
                    <a:pt x="89858" y="498789"/>
                  </a:lnTo>
                  <a:lnTo>
                    <a:pt x="95797" y="501744"/>
                  </a:lnTo>
                  <a:lnTo>
                    <a:pt x="96674" y="502665"/>
                  </a:lnTo>
                  <a:lnTo>
                    <a:pt x="98897" y="508252"/>
                  </a:lnTo>
                  <a:lnTo>
                    <a:pt x="104069" y="512880"/>
                  </a:lnTo>
                  <a:lnTo>
                    <a:pt x="104378" y="512933"/>
                  </a:lnTo>
                  <a:lnTo>
                    <a:pt x="108582" y="514105"/>
                  </a:lnTo>
                  <a:lnTo>
                    <a:pt x="109488" y="514722"/>
                  </a:lnTo>
                  <a:lnTo>
                    <a:pt x="114834" y="521259"/>
                  </a:lnTo>
                  <a:lnTo>
                    <a:pt x="115273" y="522425"/>
                  </a:lnTo>
                  <a:lnTo>
                    <a:pt x="115273" y="528596"/>
                  </a:lnTo>
                  <a:lnTo>
                    <a:pt x="116844" y="532558"/>
                  </a:lnTo>
                  <a:lnTo>
                    <a:pt x="121091" y="530828"/>
                  </a:lnTo>
                  <a:lnTo>
                    <a:pt x="122571" y="530891"/>
                  </a:lnTo>
                  <a:lnTo>
                    <a:pt x="123497" y="532072"/>
                  </a:lnTo>
                  <a:lnTo>
                    <a:pt x="125314" y="538608"/>
                  </a:lnTo>
                  <a:lnTo>
                    <a:pt x="125358" y="539259"/>
                  </a:lnTo>
                  <a:lnTo>
                    <a:pt x="124871" y="544205"/>
                  </a:lnTo>
                  <a:lnTo>
                    <a:pt x="130043" y="548366"/>
                  </a:lnTo>
                  <a:lnTo>
                    <a:pt x="130704" y="549619"/>
                  </a:lnTo>
                  <a:lnTo>
                    <a:pt x="131128" y="553919"/>
                  </a:lnTo>
                  <a:lnTo>
                    <a:pt x="135958" y="553919"/>
                  </a:lnTo>
                  <a:lnTo>
                    <a:pt x="140721" y="553451"/>
                  </a:lnTo>
                  <a:lnTo>
                    <a:pt x="142688" y="548520"/>
                  </a:lnTo>
                  <a:lnTo>
                    <a:pt x="143315" y="547720"/>
                  </a:lnTo>
                  <a:lnTo>
                    <a:pt x="148989" y="543593"/>
                  </a:lnTo>
                  <a:lnTo>
                    <a:pt x="148531" y="538705"/>
                  </a:lnTo>
                  <a:lnTo>
                    <a:pt x="147923" y="534568"/>
                  </a:lnTo>
                  <a:cubicBezTo>
                    <a:pt x="147808" y="533706"/>
                    <a:pt x="148294" y="532905"/>
                    <a:pt x="149085" y="532616"/>
                  </a:cubicBezTo>
                  <a:cubicBezTo>
                    <a:pt x="149861" y="532279"/>
                    <a:pt x="150767" y="532587"/>
                    <a:pt x="151254" y="533291"/>
                  </a:cubicBezTo>
                  <a:cubicBezTo>
                    <a:pt x="157372" y="540749"/>
                    <a:pt x="153486" y="545859"/>
                    <a:pt x="167177" y="546191"/>
                  </a:cubicBezTo>
                  <a:cubicBezTo>
                    <a:pt x="168122" y="546297"/>
                    <a:pt x="168802" y="547064"/>
                    <a:pt x="168802" y="547984"/>
                  </a:cubicBezTo>
                  <a:lnTo>
                    <a:pt x="168802" y="551952"/>
                  </a:lnTo>
                  <a:lnTo>
                    <a:pt x="172576" y="550578"/>
                  </a:lnTo>
                  <a:lnTo>
                    <a:pt x="178284" y="545454"/>
                  </a:lnTo>
                  <a:lnTo>
                    <a:pt x="178834" y="545174"/>
                  </a:lnTo>
                  <a:lnTo>
                    <a:pt x="184744" y="542754"/>
                  </a:lnTo>
                  <a:lnTo>
                    <a:pt x="185298" y="542633"/>
                  </a:lnTo>
                  <a:cubicBezTo>
                    <a:pt x="209036" y="541737"/>
                    <a:pt x="194192" y="530379"/>
                    <a:pt x="208143" y="535846"/>
                  </a:cubicBezTo>
                  <a:lnTo>
                    <a:pt x="211557" y="532438"/>
                  </a:lnTo>
                  <a:lnTo>
                    <a:pt x="212280" y="531995"/>
                  </a:lnTo>
                  <a:lnTo>
                    <a:pt x="218229" y="530201"/>
                  </a:lnTo>
                  <a:lnTo>
                    <a:pt x="218580" y="530119"/>
                  </a:lnTo>
                  <a:lnTo>
                    <a:pt x="224491" y="529536"/>
                  </a:lnTo>
                  <a:lnTo>
                    <a:pt x="225195" y="529584"/>
                  </a:lnTo>
                  <a:lnTo>
                    <a:pt x="231727" y="531353"/>
                  </a:lnTo>
                  <a:lnTo>
                    <a:pt x="232199" y="531536"/>
                  </a:lnTo>
                  <a:lnTo>
                    <a:pt x="237536" y="534776"/>
                  </a:lnTo>
                  <a:lnTo>
                    <a:pt x="242747" y="533735"/>
                  </a:lnTo>
                  <a:lnTo>
                    <a:pt x="249216" y="531975"/>
                  </a:lnTo>
                  <a:lnTo>
                    <a:pt x="249534" y="531912"/>
                  </a:lnTo>
                  <a:lnTo>
                    <a:pt x="255223" y="531329"/>
                  </a:lnTo>
                  <a:lnTo>
                    <a:pt x="259653" y="529560"/>
                  </a:lnTo>
                  <a:lnTo>
                    <a:pt x="259180" y="524966"/>
                  </a:lnTo>
                  <a:lnTo>
                    <a:pt x="259253" y="524305"/>
                  </a:lnTo>
                  <a:lnTo>
                    <a:pt x="261003" y="517783"/>
                  </a:lnTo>
                  <a:lnTo>
                    <a:pt x="261933" y="516655"/>
                  </a:lnTo>
                  <a:lnTo>
                    <a:pt x="263399" y="516539"/>
                  </a:lnTo>
                  <a:lnTo>
                    <a:pt x="269969" y="518925"/>
                  </a:lnTo>
                  <a:lnTo>
                    <a:pt x="270620" y="519340"/>
                  </a:lnTo>
                  <a:lnTo>
                    <a:pt x="276549" y="525308"/>
                  </a:lnTo>
                  <a:lnTo>
                    <a:pt x="276940" y="525853"/>
                  </a:lnTo>
                  <a:lnTo>
                    <a:pt x="279664" y="531854"/>
                  </a:lnTo>
                  <a:lnTo>
                    <a:pt x="283356" y="534024"/>
                  </a:lnTo>
                  <a:lnTo>
                    <a:pt x="284316" y="531787"/>
                  </a:lnTo>
                  <a:lnTo>
                    <a:pt x="284354" y="531720"/>
                  </a:lnTo>
                  <a:lnTo>
                    <a:pt x="287377" y="525742"/>
                  </a:lnTo>
                  <a:lnTo>
                    <a:pt x="287589" y="525409"/>
                  </a:lnTo>
                  <a:lnTo>
                    <a:pt x="290573" y="521842"/>
                  </a:lnTo>
                  <a:lnTo>
                    <a:pt x="292236" y="521210"/>
                  </a:lnTo>
                  <a:lnTo>
                    <a:pt x="293668" y="522348"/>
                  </a:lnTo>
                  <a:lnTo>
                    <a:pt x="295769" y="527622"/>
                  </a:lnTo>
                  <a:lnTo>
                    <a:pt x="300860" y="530196"/>
                  </a:lnTo>
                  <a:lnTo>
                    <a:pt x="306573" y="531324"/>
                  </a:lnTo>
                  <a:lnTo>
                    <a:pt x="307773" y="532153"/>
                  </a:lnTo>
                  <a:lnTo>
                    <a:pt x="311220" y="537533"/>
                  </a:lnTo>
                  <a:lnTo>
                    <a:pt x="316441" y="536116"/>
                  </a:lnTo>
                  <a:lnTo>
                    <a:pt x="317318" y="536087"/>
                  </a:lnTo>
                  <a:lnTo>
                    <a:pt x="323002" y="537220"/>
                  </a:lnTo>
                  <a:lnTo>
                    <a:pt x="328685" y="536651"/>
                  </a:lnTo>
                  <a:lnTo>
                    <a:pt x="329736" y="536873"/>
                  </a:lnTo>
                  <a:lnTo>
                    <a:pt x="335135" y="539833"/>
                  </a:lnTo>
                  <a:lnTo>
                    <a:pt x="340737" y="534742"/>
                  </a:lnTo>
                  <a:lnTo>
                    <a:pt x="343157" y="534742"/>
                  </a:lnTo>
                  <a:lnTo>
                    <a:pt x="348609" y="539655"/>
                  </a:lnTo>
                  <a:lnTo>
                    <a:pt x="355045" y="539655"/>
                  </a:lnTo>
                  <a:cubicBezTo>
                    <a:pt x="355975" y="539655"/>
                    <a:pt x="356737" y="540358"/>
                    <a:pt x="356838" y="541241"/>
                  </a:cubicBezTo>
                  <a:lnTo>
                    <a:pt x="357451" y="547825"/>
                  </a:lnTo>
                  <a:lnTo>
                    <a:pt x="357002" y="549209"/>
                  </a:lnTo>
                  <a:lnTo>
                    <a:pt x="351627" y="555187"/>
                  </a:lnTo>
                  <a:lnTo>
                    <a:pt x="351111" y="555591"/>
                  </a:lnTo>
                  <a:lnTo>
                    <a:pt x="345153" y="558566"/>
                  </a:lnTo>
                  <a:lnTo>
                    <a:pt x="344507" y="558740"/>
                  </a:lnTo>
                  <a:lnTo>
                    <a:pt x="338568" y="559338"/>
                  </a:lnTo>
                  <a:lnTo>
                    <a:pt x="338361" y="559338"/>
                  </a:lnTo>
                  <a:lnTo>
                    <a:pt x="332764" y="559338"/>
                  </a:lnTo>
                  <a:lnTo>
                    <a:pt x="327268" y="561333"/>
                  </a:lnTo>
                  <a:lnTo>
                    <a:pt x="325933" y="564708"/>
                  </a:lnTo>
                  <a:lnTo>
                    <a:pt x="330006" y="565923"/>
                  </a:lnTo>
                  <a:lnTo>
                    <a:pt x="331019" y="566679"/>
                  </a:lnTo>
                  <a:lnTo>
                    <a:pt x="334605" y="572652"/>
                  </a:lnTo>
                  <a:lnTo>
                    <a:pt x="334774" y="574089"/>
                  </a:lnTo>
                  <a:lnTo>
                    <a:pt x="333824" y="575217"/>
                  </a:lnTo>
                  <a:lnTo>
                    <a:pt x="330257" y="576947"/>
                  </a:lnTo>
                  <a:lnTo>
                    <a:pt x="330165" y="577049"/>
                  </a:lnTo>
                  <a:lnTo>
                    <a:pt x="324173" y="579401"/>
                  </a:lnTo>
                  <a:lnTo>
                    <a:pt x="322982" y="579488"/>
                  </a:lnTo>
                  <a:lnTo>
                    <a:pt x="317019" y="577690"/>
                  </a:lnTo>
                  <a:lnTo>
                    <a:pt x="316412" y="577367"/>
                  </a:lnTo>
                  <a:lnTo>
                    <a:pt x="310521" y="572647"/>
                  </a:lnTo>
                  <a:lnTo>
                    <a:pt x="304871" y="568723"/>
                  </a:lnTo>
                  <a:lnTo>
                    <a:pt x="299192" y="567002"/>
                  </a:lnTo>
                  <a:lnTo>
                    <a:pt x="299038" y="566930"/>
                  </a:lnTo>
                  <a:lnTo>
                    <a:pt x="293191" y="564587"/>
                  </a:lnTo>
                  <a:lnTo>
                    <a:pt x="286726" y="562861"/>
                  </a:lnTo>
                  <a:lnTo>
                    <a:pt x="280449" y="561102"/>
                  </a:lnTo>
                  <a:cubicBezTo>
                    <a:pt x="262598" y="562587"/>
                    <a:pt x="268287" y="558094"/>
                    <a:pt x="252687" y="558764"/>
                  </a:cubicBezTo>
                  <a:lnTo>
                    <a:pt x="252171" y="558667"/>
                  </a:lnTo>
                  <a:lnTo>
                    <a:pt x="246271" y="556913"/>
                  </a:lnTo>
                  <a:lnTo>
                    <a:pt x="240413" y="555712"/>
                  </a:lnTo>
                  <a:lnTo>
                    <a:pt x="239618" y="555360"/>
                  </a:lnTo>
                  <a:lnTo>
                    <a:pt x="233515" y="550318"/>
                  </a:lnTo>
                  <a:lnTo>
                    <a:pt x="228121" y="549812"/>
                  </a:lnTo>
                  <a:lnTo>
                    <a:pt x="227306" y="549523"/>
                  </a:lnTo>
                  <a:lnTo>
                    <a:pt x="221058" y="545569"/>
                  </a:lnTo>
                  <a:lnTo>
                    <a:pt x="215780" y="544509"/>
                  </a:lnTo>
                  <a:lnTo>
                    <a:pt x="210361" y="545574"/>
                  </a:lnTo>
                  <a:lnTo>
                    <a:pt x="204822" y="547787"/>
                  </a:lnTo>
                  <a:lnTo>
                    <a:pt x="198859" y="552661"/>
                  </a:lnTo>
                  <a:lnTo>
                    <a:pt x="196690" y="558672"/>
                  </a:lnTo>
                  <a:lnTo>
                    <a:pt x="194906" y="564597"/>
                  </a:lnTo>
                  <a:lnTo>
                    <a:pt x="194675" y="565117"/>
                  </a:lnTo>
                  <a:lnTo>
                    <a:pt x="189878" y="571664"/>
                  </a:lnTo>
                  <a:lnTo>
                    <a:pt x="189073" y="572286"/>
                  </a:lnTo>
                  <a:lnTo>
                    <a:pt x="183115" y="574653"/>
                  </a:lnTo>
                  <a:lnTo>
                    <a:pt x="182295" y="574807"/>
                  </a:lnTo>
                  <a:lnTo>
                    <a:pt x="176351" y="574200"/>
                  </a:lnTo>
                  <a:lnTo>
                    <a:pt x="175980" y="574127"/>
                  </a:lnTo>
                  <a:lnTo>
                    <a:pt x="170113" y="572373"/>
                  </a:lnTo>
                  <a:lnTo>
                    <a:pt x="164868" y="571351"/>
                  </a:lnTo>
                  <a:lnTo>
                    <a:pt x="160693" y="573418"/>
                  </a:lnTo>
                  <a:lnTo>
                    <a:pt x="161653" y="578615"/>
                  </a:lnTo>
                  <a:lnTo>
                    <a:pt x="161667" y="578938"/>
                  </a:lnTo>
                  <a:lnTo>
                    <a:pt x="161667" y="579527"/>
                  </a:lnTo>
                  <a:lnTo>
                    <a:pt x="161580" y="580148"/>
                  </a:lnTo>
                  <a:lnTo>
                    <a:pt x="159218" y="586608"/>
                  </a:lnTo>
                  <a:lnTo>
                    <a:pt x="157512" y="592870"/>
                  </a:lnTo>
                  <a:lnTo>
                    <a:pt x="157512" y="598597"/>
                  </a:lnTo>
                  <a:lnTo>
                    <a:pt x="156837" y="599986"/>
                  </a:lnTo>
                  <a:lnTo>
                    <a:pt x="150444" y="605207"/>
                  </a:lnTo>
                  <a:lnTo>
                    <a:pt x="145807" y="611015"/>
                  </a:lnTo>
                  <a:lnTo>
                    <a:pt x="144872" y="611627"/>
                  </a:lnTo>
                  <a:lnTo>
                    <a:pt x="139526" y="613064"/>
                  </a:lnTo>
                  <a:lnTo>
                    <a:pt x="139116" y="617181"/>
                  </a:lnTo>
                  <a:lnTo>
                    <a:pt x="142399" y="622349"/>
                  </a:lnTo>
                  <a:cubicBezTo>
                    <a:pt x="149302" y="621370"/>
                    <a:pt x="156239" y="624229"/>
                    <a:pt x="161431" y="628577"/>
                  </a:cubicBezTo>
                  <a:lnTo>
                    <a:pt x="162135" y="629464"/>
                  </a:lnTo>
                  <a:lnTo>
                    <a:pt x="164420" y="635157"/>
                  </a:lnTo>
                  <a:lnTo>
                    <a:pt x="169173" y="640952"/>
                  </a:lnTo>
                  <a:lnTo>
                    <a:pt x="174490" y="642022"/>
                  </a:lnTo>
                  <a:lnTo>
                    <a:pt x="175334" y="642447"/>
                  </a:lnTo>
                  <a:lnTo>
                    <a:pt x="181032" y="647566"/>
                  </a:lnTo>
                  <a:lnTo>
                    <a:pt x="182454" y="648029"/>
                  </a:lnTo>
                  <a:lnTo>
                    <a:pt x="182478" y="648043"/>
                  </a:lnTo>
                  <a:lnTo>
                    <a:pt x="189039" y="650430"/>
                  </a:lnTo>
                  <a:lnTo>
                    <a:pt x="189372" y="650569"/>
                  </a:lnTo>
                  <a:lnTo>
                    <a:pt x="195296" y="654165"/>
                  </a:lnTo>
                  <a:lnTo>
                    <a:pt x="195740" y="654469"/>
                  </a:lnTo>
                  <a:lnTo>
                    <a:pt x="201689" y="661044"/>
                  </a:lnTo>
                  <a:lnTo>
                    <a:pt x="201756" y="661141"/>
                  </a:lnTo>
                  <a:lnTo>
                    <a:pt x="206505" y="667085"/>
                  </a:lnTo>
                  <a:cubicBezTo>
                    <a:pt x="208804" y="670272"/>
                    <a:pt x="210727" y="672552"/>
                    <a:pt x="212140" y="675926"/>
                  </a:cubicBezTo>
                  <a:lnTo>
                    <a:pt x="214531" y="682449"/>
                  </a:lnTo>
                  <a:lnTo>
                    <a:pt x="214603" y="683408"/>
                  </a:lnTo>
                  <a:lnTo>
                    <a:pt x="213403" y="689955"/>
                  </a:lnTo>
                  <a:lnTo>
                    <a:pt x="213200" y="690571"/>
                  </a:lnTo>
                  <a:lnTo>
                    <a:pt x="209614" y="696525"/>
                  </a:lnTo>
                  <a:lnTo>
                    <a:pt x="209479" y="696732"/>
                  </a:lnTo>
                  <a:lnTo>
                    <a:pt x="204465" y="702855"/>
                  </a:lnTo>
                  <a:lnTo>
                    <a:pt x="203988" y="707777"/>
                  </a:lnTo>
                  <a:lnTo>
                    <a:pt x="206741" y="713856"/>
                  </a:lnTo>
                  <a:lnTo>
                    <a:pt x="206832" y="714063"/>
                  </a:lnTo>
                  <a:lnTo>
                    <a:pt x="208481" y="719573"/>
                  </a:lnTo>
                  <a:lnTo>
                    <a:pt x="214054" y="724562"/>
                  </a:lnTo>
                  <a:lnTo>
                    <a:pt x="214314" y="724905"/>
                  </a:lnTo>
                  <a:lnTo>
                    <a:pt x="218185" y="730400"/>
                  </a:lnTo>
                  <a:lnTo>
                    <a:pt x="223632" y="732584"/>
                  </a:lnTo>
                  <a:cubicBezTo>
                    <a:pt x="224375" y="732873"/>
                    <a:pt x="224838" y="733635"/>
                    <a:pt x="224770" y="734450"/>
                  </a:cubicBezTo>
                  <a:cubicBezTo>
                    <a:pt x="222461" y="744848"/>
                    <a:pt x="225002" y="754836"/>
                    <a:pt x="237897" y="749230"/>
                  </a:cubicBezTo>
                  <a:cubicBezTo>
                    <a:pt x="238635" y="748965"/>
                    <a:pt x="239459" y="749259"/>
                    <a:pt x="239912" y="749910"/>
                  </a:cubicBezTo>
                  <a:lnTo>
                    <a:pt x="243518" y="755048"/>
                  </a:lnTo>
                  <a:lnTo>
                    <a:pt x="247495" y="755048"/>
                  </a:lnTo>
                  <a:lnTo>
                    <a:pt x="250079" y="750753"/>
                  </a:lnTo>
                  <a:lnTo>
                    <a:pt x="247992" y="745012"/>
                  </a:lnTo>
                  <a:lnTo>
                    <a:pt x="247987" y="744901"/>
                  </a:lnTo>
                  <a:lnTo>
                    <a:pt x="246184" y="738938"/>
                  </a:lnTo>
                  <a:lnTo>
                    <a:pt x="246131" y="738595"/>
                  </a:lnTo>
                  <a:lnTo>
                    <a:pt x="245538" y="732150"/>
                  </a:lnTo>
                  <a:lnTo>
                    <a:pt x="244357" y="726269"/>
                  </a:lnTo>
                  <a:lnTo>
                    <a:pt x="244742" y="724793"/>
                  </a:lnTo>
                  <a:lnTo>
                    <a:pt x="250074" y="718243"/>
                  </a:lnTo>
                  <a:lnTo>
                    <a:pt x="250624" y="717813"/>
                  </a:lnTo>
                  <a:lnTo>
                    <a:pt x="257170" y="714208"/>
                  </a:lnTo>
                  <a:lnTo>
                    <a:pt x="257903" y="714005"/>
                  </a:lnTo>
                  <a:lnTo>
                    <a:pt x="263803" y="713412"/>
                  </a:lnTo>
                  <a:lnTo>
                    <a:pt x="265110" y="713793"/>
                  </a:lnTo>
                  <a:lnTo>
                    <a:pt x="270442" y="717944"/>
                  </a:lnTo>
                  <a:lnTo>
                    <a:pt x="271160" y="719226"/>
                  </a:lnTo>
                  <a:lnTo>
                    <a:pt x="271729" y="725415"/>
                  </a:lnTo>
                  <a:lnTo>
                    <a:pt x="273932" y="729822"/>
                  </a:lnTo>
                  <a:lnTo>
                    <a:pt x="278512" y="728916"/>
                  </a:lnTo>
                  <a:lnTo>
                    <a:pt x="280020" y="729301"/>
                  </a:lnTo>
                  <a:lnTo>
                    <a:pt x="286581" y="734671"/>
                  </a:lnTo>
                  <a:lnTo>
                    <a:pt x="286890" y="734985"/>
                  </a:lnTo>
                  <a:lnTo>
                    <a:pt x="291638" y="741546"/>
                  </a:lnTo>
                  <a:lnTo>
                    <a:pt x="295832" y="747499"/>
                  </a:lnTo>
                  <a:lnTo>
                    <a:pt x="296015" y="747885"/>
                  </a:lnTo>
                  <a:lnTo>
                    <a:pt x="296999" y="750339"/>
                  </a:lnTo>
                  <a:lnTo>
                    <a:pt x="302528" y="754200"/>
                  </a:lnTo>
                  <a:lnTo>
                    <a:pt x="303232" y="755203"/>
                  </a:lnTo>
                  <a:lnTo>
                    <a:pt x="305016" y="761764"/>
                  </a:lnTo>
                  <a:lnTo>
                    <a:pt x="305054" y="762039"/>
                  </a:lnTo>
                  <a:lnTo>
                    <a:pt x="305657" y="767920"/>
                  </a:lnTo>
                  <a:lnTo>
                    <a:pt x="306824" y="773777"/>
                  </a:lnTo>
                  <a:lnTo>
                    <a:pt x="306713" y="774838"/>
                  </a:lnTo>
                  <a:lnTo>
                    <a:pt x="304900" y="779437"/>
                  </a:lnTo>
                  <a:lnTo>
                    <a:pt x="309335" y="782560"/>
                  </a:lnTo>
                  <a:lnTo>
                    <a:pt x="314951" y="783650"/>
                  </a:lnTo>
                  <a:lnTo>
                    <a:pt x="315641" y="784002"/>
                  </a:lnTo>
                  <a:lnTo>
                    <a:pt x="318412" y="785993"/>
                  </a:lnTo>
                  <a:cubicBezTo>
                    <a:pt x="317381" y="781003"/>
                    <a:pt x="313187" y="769419"/>
                    <a:pt x="312888" y="765182"/>
                  </a:cubicBezTo>
                  <a:lnTo>
                    <a:pt x="315159" y="758857"/>
                  </a:lnTo>
                  <a:lnTo>
                    <a:pt x="315727" y="753101"/>
                  </a:lnTo>
                  <a:lnTo>
                    <a:pt x="315761" y="752841"/>
                  </a:lnTo>
                  <a:lnTo>
                    <a:pt x="317530" y="746391"/>
                  </a:lnTo>
                  <a:lnTo>
                    <a:pt x="318138" y="740601"/>
                  </a:lnTo>
                  <a:lnTo>
                    <a:pt x="318678" y="739463"/>
                  </a:lnTo>
                  <a:lnTo>
                    <a:pt x="324675" y="734102"/>
                  </a:lnTo>
                  <a:lnTo>
                    <a:pt x="325542" y="733664"/>
                  </a:lnTo>
                  <a:lnTo>
                    <a:pt x="332108" y="732478"/>
                  </a:lnTo>
                  <a:lnTo>
                    <a:pt x="332426" y="732478"/>
                  </a:lnTo>
                  <a:lnTo>
                    <a:pt x="332855" y="732478"/>
                  </a:lnTo>
                  <a:lnTo>
                    <a:pt x="339228" y="731321"/>
                  </a:lnTo>
                  <a:lnTo>
                    <a:pt x="340776" y="731731"/>
                  </a:lnTo>
                  <a:lnTo>
                    <a:pt x="346724" y="737087"/>
                  </a:lnTo>
                  <a:lnTo>
                    <a:pt x="347149" y="737641"/>
                  </a:lnTo>
                  <a:lnTo>
                    <a:pt x="350118" y="743594"/>
                  </a:lnTo>
                  <a:lnTo>
                    <a:pt x="350268" y="744043"/>
                  </a:lnTo>
                  <a:lnTo>
                    <a:pt x="351140" y="748362"/>
                  </a:lnTo>
                  <a:lnTo>
                    <a:pt x="355445" y="747948"/>
                  </a:lnTo>
                  <a:cubicBezTo>
                    <a:pt x="356193" y="747865"/>
                    <a:pt x="356944" y="748247"/>
                    <a:pt x="357263" y="748921"/>
                  </a:cubicBezTo>
                  <a:lnTo>
                    <a:pt x="360020" y="754436"/>
                  </a:lnTo>
                  <a:lnTo>
                    <a:pt x="366138" y="758312"/>
                  </a:lnTo>
                  <a:lnTo>
                    <a:pt x="366687" y="758929"/>
                  </a:lnTo>
                  <a:lnTo>
                    <a:pt x="369690" y="763885"/>
                  </a:lnTo>
                  <a:lnTo>
                    <a:pt x="374497" y="763398"/>
                  </a:lnTo>
                  <a:lnTo>
                    <a:pt x="375562" y="763620"/>
                  </a:lnTo>
                  <a:lnTo>
                    <a:pt x="382080" y="767192"/>
                  </a:lnTo>
                  <a:lnTo>
                    <a:pt x="382846" y="767983"/>
                  </a:lnTo>
                  <a:lnTo>
                    <a:pt x="385449" y="773126"/>
                  </a:lnTo>
                  <a:lnTo>
                    <a:pt x="389470" y="773926"/>
                  </a:lnTo>
                  <a:lnTo>
                    <a:pt x="392878" y="770171"/>
                  </a:lnTo>
                  <a:lnTo>
                    <a:pt x="387802" y="766015"/>
                  </a:lnTo>
                  <a:lnTo>
                    <a:pt x="387450" y="765664"/>
                  </a:lnTo>
                  <a:lnTo>
                    <a:pt x="383545" y="760110"/>
                  </a:lnTo>
                  <a:lnTo>
                    <a:pt x="378020" y="757339"/>
                  </a:lnTo>
                  <a:lnTo>
                    <a:pt x="377432" y="756837"/>
                  </a:lnTo>
                  <a:lnTo>
                    <a:pt x="372086" y="750286"/>
                  </a:lnTo>
                  <a:lnTo>
                    <a:pt x="371720" y="749505"/>
                  </a:lnTo>
                  <a:lnTo>
                    <a:pt x="370476" y="743513"/>
                  </a:lnTo>
                  <a:lnTo>
                    <a:pt x="369295" y="736990"/>
                  </a:lnTo>
                  <a:lnTo>
                    <a:pt x="369956" y="735259"/>
                  </a:lnTo>
                  <a:lnTo>
                    <a:pt x="375027" y="731152"/>
                  </a:lnTo>
                  <a:lnTo>
                    <a:pt x="374227" y="726404"/>
                  </a:lnTo>
                  <a:lnTo>
                    <a:pt x="368263" y="722051"/>
                  </a:lnTo>
                  <a:lnTo>
                    <a:pt x="367627" y="721250"/>
                  </a:lnTo>
                  <a:lnTo>
                    <a:pt x="365260" y="715360"/>
                  </a:lnTo>
                  <a:lnTo>
                    <a:pt x="362296" y="708842"/>
                  </a:lnTo>
                  <a:lnTo>
                    <a:pt x="362276" y="708741"/>
                  </a:lnTo>
                  <a:lnTo>
                    <a:pt x="359900" y="702816"/>
                  </a:lnTo>
                  <a:lnTo>
                    <a:pt x="357720" y="697354"/>
                  </a:lnTo>
                  <a:lnTo>
                    <a:pt x="353994" y="694708"/>
                  </a:lnTo>
                  <a:lnTo>
                    <a:pt x="353338" y="693835"/>
                  </a:lnTo>
                  <a:lnTo>
                    <a:pt x="351285" y="688253"/>
                  </a:lnTo>
                  <a:lnTo>
                    <a:pt x="345780" y="687274"/>
                  </a:lnTo>
                  <a:cubicBezTo>
                    <a:pt x="344893" y="687086"/>
                    <a:pt x="344271" y="686344"/>
                    <a:pt x="344271" y="685466"/>
                  </a:cubicBezTo>
                  <a:lnTo>
                    <a:pt x="344271" y="680067"/>
                  </a:lnTo>
                  <a:lnTo>
                    <a:pt x="340491" y="674075"/>
                  </a:lnTo>
                  <a:lnTo>
                    <a:pt x="335227" y="668237"/>
                  </a:lnTo>
                  <a:lnTo>
                    <a:pt x="335058" y="668088"/>
                  </a:lnTo>
                  <a:lnTo>
                    <a:pt x="330951" y="662158"/>
                  </a:lnTo>
                  <a:lnTo>
                    <a:pt x="326183" y="655597"/>
                  </a:lnTo>
                  <a:lnTo>
                    <a:pt x="326044" y="655385"/>
                  </a:lnTo>
                  <a:lnTo>
                    <a:pt x="323132" y="649581"/>
                  </a:lnTo>
                  <a:lnTo>
                    <a:pt x="318514" y="643762"/>
                  </a:lnTo>
                  <a:lnTo>
                    <a:pt x="318138" y="642967"/>
                  </a:lnTo>
                  <a:lnTo>
                    <a:pt x="316976" y="636589"/>
                  </a:lnTo>
                  <a:lnTo>
                    <a:pt x="315848" y="633760"/>
                  </a:lnTo>
                  <a:lnTo>
                    <a:pt x="316007" y="632135"/>
                  </a:lnTo>
                  <a:lnTo>
                    <a:pt x="320177" y="625583"/>
                  </a:lnTo>
                  <a:lnTo>
                    <a:pt x="321387" y="624774"/>
                  </a:lnTo>
                  <a:lnTo>
                    <a:pt x="322867" y="625169"/>
                  </a:lnTo>
                  <a:lnTo>
                    <a:pt x="328570" y="629739"/>
                  </a:lnTo>
                  <a:lnTo>
                    <a:pt x="333540" y="631696"/>
                  </a:lnTo>
                  <a:lnTo>
                    <a:pt x="338746" y="629088"/>
                  </a:lnTo>
                  <a:lnTo>
                    <a:pt x="340053" y="628982"/>
                  </a:lnTo>
                  <a:lnTo>
                    <a:pt x="346585" y="630771"/>
                  </a:lnTo>
                  <a:lnTo>
                    <a:pt x="347240" y="631094"/>
                  </a:lnTo>
                  <a:lnTo>
                    <a:pt x="352852" y="635596"/>
                  </a:lnTo>
                  <a:lnTo>
                    <a:pt x="358381" y="636657"/>
                  </a:lnTo>
                  <a:lnTo>
                    <a:pt x="358501" y="636729"/>
                  </a:lnTo>
                  <a:lnTo>
                    <a:pt x="365029" y="638503"/>
                  </a:lnTo>
                  <a:lnTo>
                    <a:pt x="366176" y="639409"/>
                  </a:lnTo>
                  <a:lnTo>
                    <a:pt x="366253" y="640899"/>
                  </a:lnTo>
                  <a:lnTo>
                    <a:pt x="363983" y="647118"/>
                  </a:lnTo>
                  <a:lnTo>
                    <a:pt x="363983" y="651886"/>
                  </a:lnTo>
                  <a:lnTo>
                    <a:pt x="368789" y="655718"/>
                  </a:lnTo>
                  <a:lnTo>
                    <a:pt x="371860" y="655718"/>
                  </a:lnTo>
                  <a:lnTo>
                    <a:pt x="371108" y="651904"/>
                  </a:lnTo>
                  <a:cubicBezTo>
                    <a:pt x="370963" y="651123"/>
                    <a:pt x="371373" y="650338"/>
                    <a:pt x="372091" y="649962"/>
                  </a:cubicBezTo>
                  <a:lnTo>
                    <a:pt x="377413" y="647253"/>
                  </a:lnTo>
                  <a:lnTo>
                    <a:pt x="379520" y="641950"/>
                  </a:lnTo>
                  <a:lnTo>
                    <a:pt x="380243" y="641097"/>
                  </a:lnTo>
                  <a:lnTo>
                    <a:pt x="386799" y="636907"/>
                  </a:lnTo>
                  <a:lnTo>
                    <a:pt x="387599" y="636657"/>
                  </a:lnTo>
                  <a:lnTo>
                    <a:pt x="393871" y="636088"/>
                  </a:lnTo>
                  <a:lnTo>
                    <a:pt x="399492" y="633851"/>
                  </a:lnTo>
                  <a:lnTo>
                    <a:pt x="402322" y="632419"/>
                  </a:lnTo>
                  <a:lnTo>
                    <a:pt x="399680" y="628684"/>
                  </a:lnTo>
                  <a:lnTo>
                    <a:pt x="393698" y="626494"/>
                  </a:lnTo>
                  <a:lnTo>
                    <a:pt x="393162" y="626201"/>
                  </a:lnTo>
                  <a:lnTo>
                    <a:pt x="387238" y="621447"/>
                  </a:lnTo>
                  <a:lnTo>
                    <a:pt x="386568" y="619818"/>
                  </a:lnTo>
                  <a:lnTo>
                    <a:pt x="387069" y="614341"/>
                  </a:lnTo>
                  <a:lnTo>
                    <a:pt x="385555" y="610451"/>
                  </a:lnTo>
                  <a:lnTo>
                    <a:pt x="382721" y="611469"/>
                  </a:lnTo>
                  <a:lnTo>
                    <a:pt x="385155" y="615542"/>
                  </a:lnTo>
                  <a:lnTo>
                    <a:pt x="385310" y="617080"/>
                  </a:lnTo>
                  <a:lnTo>
                    <a:pt x="382909" y="623641"/>
                  </a:lnTo>
                  <a:lnTo>
                    <a:pt x="381925" y="624682"/>
                  </a:lnTo>
                  <a:lnTo>
                    <a:pt x="380431" y="624673"/>
                  </a:lnTo>
                  <a:lnTo>
                    <a:pt x="374005" y="621746"/>
                  </a:lnTo>
                  <a:lnTo>
                    <a:pt x="368451" y="620054"/>
                  </a:lnTo>
                  <a:lnTo>
                    <a:pt x="368138" y="620054"/>
                  </a:lnTo>
                  <a:lnTo>
                    <a:pt x="366981" y="619664"/>
                  </a:lnTo>
                  <a:lnTo>
                    <a:pt x="361032" y="614915"/>
                  </a:lnTo>
                  <a:lnTo>
                    <a:pt x="360420" y="613975"/>
                  </a:lnTo>
                  <a:lnTo>
                    <a:pt x="358651" y="608041"/>
                  </a:lnTo>
                  <a:lnTo>
                    <a:pt x="357017" y="602536"/>
                  </a:lnTo>
                  <a:lnTo>
                    <a:pt x="354356" y="599885"/>
                  </a:lnTo>
                  <a:lnTo>
                    <a:pt x="354134" y="597546"/>
                  </a:lnTo>
                  <a:lnTo>
                    <a:pt x="357431" y="592870"/>
                  </a:lnTo>
                  <a:lnTo>
                    <a:pt x="353112" y="588551"/>
                  </a:lnTo>
                  <a:lnTo>
                    <a:pt x="348098" y="588551"/>
                  </a:lnTo>
                  <a:lnTo>
                    <a:pt x="342309" y="589694"/>
                  </a:lnTo>
                  <a:lnTo>
                    <a:pt x="340578" y="589091"/>
                  </a:lnTo>
                  <a:lnTo>
                    <a:pt x="336987" y="584926"/>
                  </a:lnTo>
                  <a:lnTo>
                    <a:pt x="336577" y="583547"/>
                  </a:lnTo>
                  <a:lnTo>
                    <a:pt x="337151" y="577598"/>
                  </a:lnTo>
                  <a:lnTo>
                    <a:pt x="337353" y="576943"/>
                  </a:lnTo>
                  <a:lnTo>
                    <a:pt x="337980" y="575762"/>
                  </a:lnTo>
                  <a:lnTo>
                    <a:pt x="339744" y="574773"/>
                  </a:lnTo>
                  <a:lnTo>
                    <a:pt x="345866" y="575347"/>
                  </a:lnTo>
                  <a:lnTo>
                    <a:pt x="351044" y="573255"/>
                  </a:lnTo>
                  <a:lnTo>
                    <a:pt x="356727" y="567561"/>
                  </a:lnTo>
                  <a:lnTo>
                    <a:pt x="359716" y="564577"/>
                  </a:lnTo>
                  <a:lnTo>
                    <a:pt x="360642" y="564100"/>
                  </a:lnTo>
                  <a:lnTo>
                    <a:pt x="366533" y="562914"/>
                  </a:lnTo>
                  <a:lnTo>
                    <a:pt x="372858" y="561203"/>
                  </a:lnTo>
                  <a:lnTo>
                    <a:pt x="378382" y="558402"/>
                  </a:lnTo>
                  <a:lnTo>
                    <a:pt x="384760" y="552641"/>
                  </a:lnTo>
                  <a:lnTo>
                    <a:pt x="385319" y="552270"/>
                  </a:lnTo>
                  <a:lnTo>
                    <a:pt x="391258" y="549908"/>
                  </a:lnTo>
                  <a:lnTo>
                    <a:pt x="392598" y="549908"/>
                  </a:lnTo>
                  <a:lnTo>
                    <a:pt x="398571" y="552270"/>
                  </a:lnTo>
                  <a:cubicBezTo>
                    <a:pt x="399367" y="552622"/>
                    <a:pt x="399863" y="553475"/>
                    <a:pt x="399665" y="554348"/>
                  </a:cubicBezTo>
                  <a:lnTo>
                    <a:pt x="398803" y="558682"/>
                  </a:lnTo>
                  <a:lnTo>
                    <a:pt x="402741" y="559844"/>
                  </a:lnTo>
                  <a:lnTo>
                    <a:pt x="408242" y="558744"/>
                  </a:lnTo>
                  <a:lnTo>
                    <a:pt x="409866" y="559222"/>
                  </a:lnTo>
                  <a:lnTo>
                    <a:pt x="415820" y="565166"/>
                  </a:lnTo>
                  <a:lnTo>
                    <a:pt x="415906" y="565233"/>
                  </a:lnTo>
                  <a:lnTo>
                    <a:pt x="421161" y="571080"/>
                  </a:lnTo>
                  <a:lnTo>
                    <a:pt x="426252" y="575159"/>
                  </a:lnTo>
                  <a:lnTo>
                    <a:pt x="431285" y="573650"/>
                  </a:lnTo>
                  <a:lnTo>
                    <a:pt x="432943" y="573978"/>
                  </a:lnTo>
                  <a:lnTo>
                    <a:pt x="438916" y="578746"/>
                  </a:lnTo>
                  <a:lnTo>
                    <a:pt x="439099" y="578933"/>
                  </a:lnTo>
                  <a:lnTo>
                    <a:pt x="444450" y="584902"/>
                  </a:lnTo>
                  <a:lnTo>
                    <a:pt x="449372" y="590301"/>
                  </a:lnTo>
                  <a:lnTo>
                    <a:pt x="452968" y="590682"/>
                  </a:lnTo>
                  <a:lnTo>
                    <a:pt x="454959" y="585268"/>
                  </a:lnTo>
                  <a:lnTo>
                    <a:pt x="454419" y="579753"/>
                  </a:lnTo>
                  <a:lnTo>
                    <a:pt x="454376" y="579551"/>
                  </a:lnTo>
                  <a:lnTo>
                    <a:pt x="454376" y="574060"/>
                  </a:lnTo>
                  <a:lnTo>
                    <a:pt x="451049" y="567933"/>
                  </a:lnTo>
                  <a:lnTo>
                    <a:pt x="450866" y="567427"/>
                  </a:lnTo>
                  <a:lnTo>
                    <a:pt x="450428" y="565305"/>
                  </a:lnTo>
                  <a:lnTo>
                    <a:pt x="444643" y="562080"/>
                  </a:lnTo>
                  <a:lnTo>
                    <a:pt x="443703" y="560678"/>
                  </a:lnTo>
                  <a:lnTo>
                    <a:pt x="443110" y="554806"/>
                  </a:lnTo>
                  <a:lnTo>
                    <a:pt x="441977" y="548534"/>
                  </a:lnTo>
                  <a:lnTo>
                    <a:pt x="439644" y="542740"/>
                  </a:lnTo>
                  <a:lnTo>
                    <a:pt x="439595" y="542580"/>
                  </a:lnTo>
                  <a:lnTo>
                    <a:pt x="437807" y="536636"/>
                  </a:lnTo>
                  <a:lnTo>
                    <a:pt x="437739" y="536458"/>
                  </a:lnTo>
                  <a:lnTo>
                    <a:pt x="436583" y="530533"/>
                  </a:lnTo>
                  <a:lnTo>
                    <a:pt x="437084" y="528895"/>
                  </a:lnTo>
                  <a:lnTo>
                    <a:pt x="442136" y="523833"/>
                  </a:lnTo>
                  <a:cubicBezTo>
                    <a:pt x="435758" y="510441"/>
                    <a:pt x="417951" y="508619"/>
                    <a:pt x="404457" y="508763"/>
                  </a:cubicBezTo>
                  <a:lnTo>
                    <a:pt x="399695" y="508763"/>
                  </a:lnTo>
                  <a:lnTo>
                    <a:pt x="398759" y="508498"/>
                  </a:lnTo>
                  <a:lnTo>
                    <a:pt x="392806" y="504974"/>
                  </a:lnTo>
                  <a:lnTo>
                    <a:pt x="392613" y="504844"/>
                  </a:lnTo>
                  <a:lnTo>
                    <a:pt x="386659" y="500028"/>
                  </a:lnTo>
                  <a:lnTo>
                    <a:pt x="385999" y="499006"/>
                  </a:lnTo>
                  <a:lnTo>
                    <a:pt x="384827" y="493000"/>
                  </a:lnTo>
                  <a:lnTo>
                    <a:pt x="384794" y="492734"/>
                  </a:lnTo>
                  <a:lnTo>
                    <a:pt x="383714" y="491395"/>
                  </a:lnTo>
                  <a:lnTo>
                    <a:pt x="379086" y="493704"/>
                  </a:lnTo>
                  <a:lnTo>
                    <a:pt x="377934" y="493882"/>
                  </a:lnTo>
                  <a:lnTo>
                    <a:pt x="371585" y="492706"/>
                  </a:lnTo>
                  <a:lnTo>
                    <a:pt x="364889" y="492706"/>
                  </a:lnTo>
                  <a:lnTo>
                    <a:pt x="358665" y="495010"/>
                  </a:lnTo>
                  <a:lnTo>
                    <a:pt x="357147" y="494861"/>
                  </a:lnTo>
                  <a:lnTo>
                    <a:pt x="356250" y="493660"/>
                  </a:lnTo>
                  <a:lnTo>
                    <a:pt x="355103" y="487885"/>
                  </a:lnTo>
                  <a:lnTo>
                    <a:pt x="352206" y="481565"/>
                  </a:lnTo>
                  <a:lnTo>
                    <a:pt x="352047" y="480948"/>
                  </a:lnTo>
                  <a:lnTo>
                    <a:pt x="351603" y="476455"/>
                  </a:lnTo>
                  <a:lnTo>
                    <a:pt x="347158" y="476031"/>
                  </a:lnTo>
                  <a:lnTo>
                    <a:pt x="346778" y="475973"/>
                  </a:lnTo>
                  <a:lnTo>
                    <a:pt x="341764" y="474479"/>
                  </a:lnTo>
                  <a:lnTo>
                    <a:pt x="336587" y="478624"/>
                  </a:lnTo>
                  <a:lnTo>
                    <a:pt x="335589" y="478991"/>
                  </a:lnTo>
                  <a:lnTo>
                    <a:pt x="329047" y="479593"/>
                  </a:lnTo>
                  <a:lnTo>
                    <a:pt x="327398" y="478860"/>
                  </a:lnTo>
                  <a:lnTo>
                    <a:pt x="323233" y="472950"/>
                  </a:lnTo>
                  <a:lnTo>
                    <a:pt x="319203" y="467402"/>
                  </a:lnTo>
                  <a:lnTo>
                    <a:pt x="313881" y="468848"/>
                  </a:lnTo>
                  <a:lnTo>
                    <a:pt x="312888" y="468848"/>
                  </a:lnTo>
                  <a:lnTo>
                    <a:pt x="307339" y="467175"/>
                  </a:lnTo>
                  <a:lnTo>
                    <a:pt x="301236" y="468264"/>
                  </a:lnTo>
                  <a:lnTo>
                    <a:pt x="300701" y="468294"/>
                  </a:lnTo>
                  <a:lnTo>
                    <a:pt x="294767" y="467720"/>
                  </a:lnTo>
                  <a:lnTo>
                    <a:pt x="294444" y="467628"/>
                  </a:lnTo>
                  <a:lnTo>
                    <a:pt x="288490" y="465864"/>
                  </a:lnTo>
                  <a:lnTo>
                    <a:pt x="288192" y="465748"/>
                  </a:lnTo>
                  <a:lnTo>
                    <a:pt x="285959" y="464596"/>
                  </a:lnTo>
                  <a:lnTo>
                    <a:pt x="280744" y="463073"/>
                  </a:lnTo>
                  <a:lnTo>
                    <a:pt x="275392" y="465198"/>
                  </a:lnTo>
                  <a:lnTo>
                    <a:pt x="274192" y="465295"/>
                  </a:lnTo>
                  <a:lnTo>
                    <a:pt x="268248" y="463487"/>
                  </a:lnTo>
                  <a:cubicBezTo>
                    <a:pt x="267337" y="463222"/>
                    <a:pt x="266802" y="462306"/>
                    <a:pt x="267000" y="461371"/>
                  </a:cubicBezTo>
                  <a:lnTo>
                    <a:pt x="268181" y="455436"/>
                  </a:lnTo>
                  <a:lnTo>
                    <a:pt x="269154" y="454174"/>
                  </a:lnTo>
                  <a:lnTo>
                    <a:pt x="275079" y="451180"/>
                  </a:lnTo>
                  <a:lnTo>
                    <a:pt x="276381" y="451083"/>
                  </a:lnTo>
                  <a:lnTo>
                    <a:pt x="282691" y="452795"/>
                  </a:lnTo>
                  <a:lnTo>
                    <a:pt x="287912" y="452795"/>
                  </a:lnTo>
                  <a:lnTo>
                    <a:pt x="293321" y="449531"/>
                  </a:lnTo>
                  <a:lnTo>
                    <a:pt x="299742" y="444262"/>
                  </a:lnTo>
                  <a:lnTo>
                    <a:pt x="299819" y="444185"/>
                  </a:lnTo>
                  <a:lnTo>
                    <a:pt x="306197" y="439581"/>
                  </a:lnTo>
                  <a:lnTo>
                    <a:pt x="310304" y="434447"/>
                  </a:lnTo>
                  <a:lnTo>
                    <a:pt x="310000" y="431593"/>
                  </a:lnTo>
                  <a:lnTo>
                    <a:pt x="305840" y="432037"/>
                  </a:lnTo>
                  <a:lnTo>
                    <a:pt x="304182" y="431203"/>
                  </a:lnTo>
                  <a:lnTo>
                    <a:pt x="304013" y="429361"/>
                  </a:lnTo>
                  <a:lnTo>
                    <a:pt x="306568" y="424377"/>
                  </a:lnTo>
                  <a:lnTo>
                    <a:pt x="303285" y="419199"/>
                  </a:lnTo>
                  <a:lnTo>
                    <a:pt x="297317" y="417011"/>
                  </a:lnTo>
                  <a:lnTo>
                    <a:pt x="296435" y="416365"/>
                  </a:lnTo>
                  <a:lnTo>
                    <a:pt x="292819" y="411178"/>
                  </a:lnTo>
                  <a:lnTo>
                    <a:pt x="287801" y="411178"/>
                  </a:lnTo>
                  <a:cubicBezTo>
                    <a:pt x="287049" y="411178"/>
                    <a:pt x="286369" y="410686"/>
                    <a:pt x="286104" y="410040"/>
                  </a:cubicBezTo>
                  <a:lnTo>
                    <a:pt x="283723" y="403445"/>
                  </a:lnTo>
                  <a:lnTo>
                    <a:pt x="283858" y="401898"/>
                  </a:lnTo>
                  <a:lnTo>
                    <a:pt x="287435" y="395920"/>
                  </a:lnTo>
                  <a:lnTo>
                    <a:pt x="287864" y="395438"/>
                  </a:lnTo>
                  <a:lnTo>
                    <a:pt x="293219" y="391191"/>
                  </a:lnTo>
                  <a:lnTo>
                    <a:pt x="293721" y="385382"/>
                  </a:lnTo>
                  <a:lnTo>
                    <a:pt x="294362" y="384148"/>
                  </a:lnTo>
                  <a:lnTo>
                    <a:pt x="295688" y="383752"/>
                  </a:lnTo>
                  <a:lnTo>
                    <a:pt x="301675" y="384360"/>
                  </a:lnTo>
                  <a:lnTo>
                    <a:pt x="302547" y="384664"/>
                  </a:lnTo>
                  <a:lnTo>
                    <a:pt x="307696" y="388279"/>
                  </a:lnTo>
                  <a:lnTo>
                    <a:pt x="309750" y="387479"/>
                  </a:lnTo>
                  <a:lnTo>
                    <a:pt x="310892" y="387397"/>
                  </a:lnTo>
                  <a:lnTo>
                    <a:pt x="317434" y="389162"/>
                  </a:lnTo>
                  <a:lnTo>
                    <a:pt x="318249" y="389629"/>
                  </a:lnTo>
                  <a:lnTo>
                    <a:pt x="324202" y="395568"/>
                  </a:lnTo>
                  <a:lnTo>
                    <a:pt x="324318" y="395713"/>
                  </a:lnTo>
                  <a:lnTo>
                    <a:pt x="329674" y="402264"/>
                  </a:lnTo>
                  <a:lnTo>
                    <a:pt x="329886" y="404197"/>
                  </a:lnTo>
                  <a:lnTo>
                    <a:pt x="326936" y="410195"/>
                  </a:lnTo>
                  <a:lnTo>
                    <a:pt x="326781" y="410431"/>
                  </a:lnTo>
                  <a:lnTo>
                    <a:pt x="322742" y="415897"/>
                  </a:lnTo>
                  <a:lnTo>
                    <a:pt x="324260" y="415468"/>
                  </a:lnTo>
                  <a:lnTo>
                    <a:pt x="329225" y="409413"/>
                  </a:lnTo>
                  <a:lnTo>
                    <a:pt x="330021" y="408849"/>
                  </a:lnTo>
                  <a:lnTo>
                    <a:pt x="336071" y="406656"/>
                  </a:lnTo>
                  <a:lnTo>
                    <a:pt x="339788" y="402033"/>
                  </a:lnTo>
                  <a:lnTo>
                    <a:pt x="336876" y="396711"/>
                  </a:lnTo>
                  <a:lnTo>
                    <a:pt x="331650" y="390926"/>
                  </a:lnTo>
                  <a:lnTo>
                    <a:pt x="331486" y="390661"/>
                  </a:lnTo>
                  <a:lnTo>
                    <a:pt x="328097" y="385102"/>
                  </a:lnTo>
                  <a:lnTo>
                    <a:pt x="321927" y="381164"/>
                  </a:lnTo>
                  <a:lnTo>
                    <a:pt x="321613" y="380908"/>
                  </a:lnTo>
                  <a:lnTo>
                    <a:pt x="315737" y="375023"/>
                  </a:lnTo>
                  <a:lnTo>
                    <a:pt x="309875" y="370303"/>
                  </a:lnTo>
                  <a:lnTo>
                    <a:pt x="309590" y="370072"/>
                  </a:lnTo>
                  <a:lnTo>
                    <a:pt x="305242" y="364590"/>
                  </a:lnTo>
                  <a:lnTo>
                    <a:pt x="299930" y="363539"/>
                  </a:lnTo>
                  <a:lnTo>
                    <a:pt x="299487" y="363371"/>
                  </a:lnTo>
                  <a:lnTo>
                    <a:pt x="293542" y="360440"/>
                  </a:lnTo>
                  <a:lnTo>
                    <a:pt x="293465" y="360382"/>
                  </a:lnTo>
                  <a:lnTo>
                    <a:pt x="286928" y="356815"/>
                  </a:lnTo>
                  <a:lnTo>
                    <a:pt x="286172" y="356024"/>
                  </a:lnTo>
                  <a:lnTo>
                    <a:pt x="285010" y="353647"/>
                  </a:lnTo>
                  <a:lnTo>
                    <a:pt x="282026" y="347747"/>
                  </a:lnTo>
                  <a:cubicBezTo>
                    <a:pt x="273026" y="334326"/>
                    <a:pt x="278058" y="331564"/>
                    <a:pt x="260082" y="321648"/>
                  </a:cubicBezTo>
                  <a:lnTo>
                    <a:pt x="259441" y="321026"/>
                  </a:lnTo>
                  <a:lnTo>
                    <a:pt x="256568" y="316451"/>
                  </a:lnTo>
                  <a:lnTo>
                    <a:pt x="251062" y="310357"/>
                  </a:lnTo>
                  <a:lnTo>
                    <a:pt x="244916" y="308130"/>
                  </a:lnTo>
                  <a:lnTo>
                    <a:pt x="244270" y="307687"/>
                  </a:lnTo>
                  <a:lnTo>
                    <a:pt x="241888" y="305315"/>
                  </a:lnTo>
                  <a:cubicBezTo>
                    <a:pt x="237328" y="299718"/>
                    <a:pt x="235761" y="292772"/>
                    <a:pt x="233693" y="286133"/>
                  </a:cubicBezTo>
                  <a:lnTo>
                    <a:pt x="233780" y="284740"/>
                  </a:lnTo>
                  <a:lnTo>
                    <a:pt x="236523" y="279283"/>
                  </a:lnTo>
                  <a:lnTo>
                    <a:pt x="236012" y="273860"/>
                  </a:lnTo>
                  <a:lnTo>
                    <a:pt x="236036" y="273330"/>
                  </a:lnTo>
                  <a:lnTo>
                    <a:pt x="237203" y="267376"/>
                  </a:lnTo>
                  <a:lnTo>
                    <a:pt x="237285" y="267116"/>
                  </a:lnTo>
                  <a:lnTo>
                    <a:pt x="239411" y="261282"/>
                  </a:lnTo>
                  <a:lnTo>
                    <a:pt x="236788" y="256086"/>
                  </a:lnTo>
                  <a:lnTo>
                    <a:pt x="233264" y="249554"/>
                  </a:lnTo>
                  <a:lnTo>
                    <a:pt x="233124" y="249375"/>
                  </a:lnTo>
                  <a:lnTo>
                    <a:pt x="230767" y="243417"/>
                  </a:lnTo>
                  <a:lnTo>
                    <a:pt x="230916" y="241787"/>
                  </a:lnTo>
                  <a:lnTo>
                    <a:pt x="232271" y="240915"/>
                  </a:lnTo>
                  <a:lnTo>
                    <a:pt x="237203" y="240462"/>
                  </a:lnTo>
                  <a:lnTo>
                    <a:pt x="237203" y="239763"/>
                  </a:lnTo>
                  <a:lnTo>
                    <a:pt x="237285" y="239175"/>
                  </a:lnTo>
                  <a:lnTo>
                    <a:pt x="239049" y="233838"/>
                  </a:lnTo>
                  <a:lnTo>
                    <a:pt x="240216" y="232715"/>
                  </a:lnTo>
                  <a:lnTo>
                    <a:pt x="241792" y="232913"/>
                  </a:lnTo>
                  <a:lnTo>
                    <a:pt x="244120" y="234465"/>
                  </a:lnTo>
                  <a:lnTo>
                    <a:pt x="244323" y="234267"/>
                  </a:lnTo>
                  <a:lnTo>
                    <a:pt x="244323" y="229061"/>
                  </a:lnTo>
                  <a:cubicBezTo>
                    <a:pt x="244323" y="228265"/>
                    <a:pt x="244848" y="227538"/>
                    <a:pt x="245600" y="227311"/>
                  </a:cubicBezTo>
                  <a:lnTo>
                    <a:pt x="250971" y="225686"/>
                  </a:lnTo>
                  <a:lnTo>
                    <a:pt x="254688" y="220384"/>
                  </a:lnTo>
                  <a:lnTo>
                    <a:pt x="257599" y="214536"/>
                  </a:lnTo>
                  <a:lnTo>
                    <a:pt x="258906" y="213601"/>
                  </a:lnTo>
                  <a:lnTo>
                    <a:pt x="260443" y="213996"/>
                  </a:lnTo>
                  <a:lnTo>
                    <a:pt x="266407" y="219381"/>
                  </a:lnTo>
                  <a:lnTo>
                    <a:pt x="266590" y="219579"/>
                  </a:lnTo>
                  <a:lnTo>
                    <a:pt x="271348" y="225537"/>
                  </a:lnTo>
                  <a:lnTo>
                    <a:pt x="271213" y="227962"/>
                  </a:lnTo>
                  <a:lnTo>
                    <a:pt x="265288" y="233886"/>
                  </a:lnTo>
                  <a:lnTo>
                    <a:pt x="260492" y="238697"/>
                  </a:lnTo>
                  <a:lnTo>
                    <a:pt x="264054" y="243186"/>
                  </a:lnTo>
                  <a:lnTo>
                    <a:pt x="269569" y="247037"/>
                  </a:lnTo>
                  <a:lnTo>
                    <a:pt x="275258" y="248715"/>
                  </a:lnTo>
                  <a:lnTo>
                    <a:pt x="275821" y="249072"/>
                  </a:lnTo>
                  <a:lnTo>
                    <a:pt x="281732" y="253772"/>
                  </a:lnTo>
                  <a:lnTo>
                    <a:pt x="283082" y="254678"/>
                  </a:lnTo>
                  <a:lnTo>
                    <a:pt x="289160" y="255208"/>
                  </a:lnTo>
                  <a:lnTo>
                    <a:pt x="289657" y="255343"/>
                  </a:lnTo>
                  <a:lnTo>
                    <a:pt x="295466" y="257658"/>
                  </a:lnTo>
                  <a:lnTo>
                    <a:pt x="301241" y="258790"/>
                  </a:lnTo>
                  <a:lnTo>
                    <a:pt x="301241" y="258790"/>
                  </a:lnTo>
                  <a:lnTo>
                    <a:pt x="307783" y="260000"/>
                  </a:lnTo>
                  <a:lnTo>
                    <a:pt x="308680" y="260444"/>
                  </a:lnTo>
                  <a:lnTo>
                    <a:pt x="313606" y="264912"/>
                  </a:lnTo>
                  <a:lnTo>
                    <a:pt x="312830" y="262305"/>
                  </a:lnTo>
                  <a:lnTo>
                    <a:pt x="312936" y="260989"/>
                  </a:lnTo>
                  <a:lnTo>
                    <a:pt x="315954" y="255035"/>
                  </a:lnTo>
                  <a:lnTo>
                    <a:pt x="317015" y="254105"/>
                  </a:lnTo>
                  <a:lnTo>
                    <a:pt x="322978" y="252321"/>
                  </a:lnTo>
                  <a:lnTo>
                    <a:pt x="323662" y="252229"/>
                  </a:lnTo>
                  <a:lnTo>
                    <a:pt x="330228" y="252846"/>
                  </a:lnTo>
                  <a:lnTo>
                    <a:pt x="330537" y="252933"/>
                  </a:lnTo>
                  <a:lnTo>
                    <a:pt x="336182" y="254582"/>
                  </a:lnTo>
                  <a:lnTo>
                    <a:pt x="342395" y="254027"/>
                  </a:lnTo>
                  <a:lnTo>
                    <a:pt x="342902" y="254042"/>
                  </a:lnTo>
                  <a:lnTo>
                    <a:pt x="348841" y="255242"/>
                  </a:lnTo>
                  <a:lnTo>
                    <a:pt x="349622" y="255647"/>
                  </a:lnTo>
                  <a:lnTo>
                    <a:pt x="355585" y="260396"/>
                  </a:lnTo>
                  <a:lnTo>
                    <a:pt x="355749" y="260502"/>
                  </a:lnTo>
                  <a:lnTo>
                    <a:pt x="362281" y="267063"/>
                  </a:lnTo>
                  <a:lnTo>
                    <a:pt x="362589" y="267526"/>
                  </a:lnTo>
                  <a:lnTo>
                    <a:pt x="365506" y="273354"/>
                  </a:lnTo>
                  <a:lnTo>
                    <a:pt x="369758" y="279167"/>
                  </a:lnTo>
                  <a:lnTo>
                    <a:pt x="374844" y="280199"/>
                  </a:lnTo>
                  <a:lnTo>
                    <a:pt x="375875" y="280199"/>
                  </a:lnTo>
                  <a:lnTo>
                    <a:pt x="377167" y="280739"/>
                  </a:lnTo>
                  <a:lnTo>
                    <a:pt x="382277" y="285892"/>
                  </a:lnTo>
                  <a:lnTo>
                    <a:pt x="386394" y="284335"/>
                  </a:lnTo>
                  <a:lnTo>
                    <a:pt x="385960" y="279789"/>
                  </a:lnTo>
                  <a:lnTo>
                    <a:pt x="385960" y="279418"/>
                  </a:lnTo>
                  <a:lnTo>
                    <a:pt x="386423" y="275465"/>
                  </a:lnTo>
                  <a:lnTo>
                    <a:pt x="381650" y="270124"/>
                  </a:lnTo>
                  <a:lnTo>
                    <a:pt x="381212" y="269266"/>
                  </a:lnTo>
                  <a:lnTo>
                    <a:pt x="380219" y="263823"/>
                  </a:lnTo>
                  <a:lnTo>
                    <a:pt x="374849" y="262343"/>
                  </a:lnTo>
                  <a:lnTo>
                    <a:pt x="368987" y="261196"/>
                  </a:lnTo>
                  <a:lnTo>
                    <a:pt x="368741" y="261114"/>
                  </a:lnTo>
                  <a:lnTo>
                    <a:pt x="367150" y="260608"/>
                  </a:lnTo>
                  <a:lnTo>
                    <a:pt x="361413" y="260068"/>
                  </a:lnTo>
                  <a:lnTo>
                    <a:pt x="360531" y="259706"/>
                  </a:lnTo>
                  <a:lnTo>
                    <a:pt x="353970" y="254910"/>
                  </a:lnTo>
                  <a:lnTo>
                    <a:pt x="353753" y="254751"/>
                  </a:lnTo>
                  <a:lnTo>
                    <a:pt x="347785" y="248807"/>
                  </a:lnTo>
                  <a:lnTo>
                    <a:pt x="347279" y="247524"/>
                  </a:lnTo>
                  <a:lnTo>
                    <a:pt x="347279" y="241556"/>
                  </a:lnTo>
                  <a:lnTo>
                    <a:pt x="348282" y="239927"/>
                  </a:lnTo>
                  <a:lnTo>
                    <a:pt x="354018" y="237054"/>
                  </a:lnTo>
                  <a:lnTo>
                    <a:pt x="359793" y="231857"/>
                  </a:lnTo>
                  <a:lnTo>
                    <a:pt x="360994" y="231442"/>
                  </a:lnTo>
                  <a:lnTo>
                    <a:pt x="367550" y="231442"/>
                  </a:lnTo>
                  <a:lnTo>
                    <a:pt x="367709" y="231442"/>
                  </a:lnTo>
                  <a:lnTo>
                    <a:pt x="368056" y="231457"/>
                  </a:lnTo>
                  <a:lnTo>
                    <a:pt x="367193" y="231206"/>
                  </a:lnTo>
                  <a:lnTo>
                    <a:pt x="361240" y="227610"/>
                  </a:lnTo>
                  <a:lnTo>
                    <a:pt x="360811" y="227306"/>
                  </a:lnTo>
                  <a:lnTo>
                    <a:pt x="355450" y="221357"/>
                  </a:lnTo>
                  <a:lnTo>
                    <a:pt x="355021" y="219984"/>
                  </a:lnTo>
                  <a:lnTo>
                    <a:pt x="355580" y="213447"/>
                  </a:lnTo>
                  <a:lnTo>
                    <a:pt x="355797" y="212776"/>
                  </a:lnTo>
                  <a:lnTo>
                    <a:pt x="357547" y="209166"/>
                  </a:lnTo>
                  <a:lnTo>
                    <a:pt x="354259" y="208824"/>
                  </a:lnTo>
                  <a:lnTo>
                    <a:pt x="353228" y="208394"/>
                  </a:lnTo>
                  <a:lnTo>
                    <a:pt x="347284" y="203044"/>
                  </a:lnTo>
                  <a:lnTo>
                    <a:pt x="346975" y="202735"/>
                  </a:lnTo>
                  <a:lnTo>
                    <a:pt x="346054" y="201323"/>
                  </a:lnTo>
                  <a:lnTo>
                    <a:pt x="340544" y="198565"/>
                  </a:lnTo>
                  <a:lnTo>
                    <a:pt x="339778" y="197813"/>
                  </a:lnTo>
                  <a:lnTo>
                    <a:pt x="336172" y="191276"/>
                  </a:lnTo>
                  <a:lnTo>
                    <a:pt x="336148" y="189584"/>
                  </a:lnTo>
                  <a:lnTo>
                    <a:pt x="339113" y="183650"/>
                  </a:lnTo>
                  <a:lnTo>
                    <a:pt x="339672" y="182946"/>
                  </a:lnTo>
                  <a:lnTo>
                    <a:pt x="343851" y="179991"/>
                  </a:lnTo>
                  <a:lnTo>
                    <a:pt x="344049" y="179866"/>
                  </a:lnTo>
                  <a:lnTo>
                    <a:pt x="350572" y="176308"/>
                  </a:lnTo>
                  <a:lnTo>
                    <a:pt x="351955" y="176154"/>
                  </a:lnTo>
                  <a:lnTo>
                    <a:pt x="356120" y="177364"/>
                  </a:lnTo>
                  <a:lnTo>
                    <a:pt x="356294" y="177407"/>
                  </a:lnTo>
                  <a:lnTo>
                    <a:pt x="359200" y="178554"/>
                  </a:lnTo>
                  <a:cubicBezTo>
                    <a:pt x="373990" y="182874"/>
                    <a:pt x="377755" y="182628"/>
                    <a:pt x="387599" y="170181"/>
                  </a:cubicBezTo>
                  <a:lnTo>
                    <a:pt x="387657" y="170089"/>
                  </a:lnTo>
                  <a:lnTo>
                    <a:pt x="393476" y="164251"/>
                  </a:lnTo>
                  <a:lnTo>
                    <a:pt x="396600" y="159035"/>
                  </a:lnTo>
                  <a:lnTo>
                    <a:pt x="396060" y="153077"/>
                  </a:lnTo>
                  <a:lnTo>
                    <a:pt x="396368" y="151881"/>
                  </a:lnTo>
                  <a:lnTo>
                    <a:pt x="400528" y="145904"/>
                  </a:lnTo>
                  <a:lnTo>
                    <a:pt x="401565" y="145190"/>
                  </a:lnTo>
                  <a:lnTo>
                    <a:pt x="407943" y="143484"/>
                  </a:lnTo>
                  <a:lnTo>
                    <a:pt x="413713" y="140586"/>
                  </a:lnTo>
                  <a:lnTo>
                    <a:pt x="415135" y="140485"/>
                  </a:lnTo>
                  <a:lnTo>
                    <a:pt x="421716" y="142843"/>
                  </a:lnTo>
                  <a:lnTo>
                    <a:pt x="422496" y="143426"/>
                  </a:lnTo>
                  <a:lnTo>
                    <a:pt x="427134" y="149138"/>
                  </a:lnTo>
                  <a:lnTo>
                    <a:pt x="432032" y="148126"/>
                  </a:lnTo>
                  <a:lnTo>
                    <a:pt x="432533" y="148121"/>
                  </a:lnTo>
                  <a:lnTo>
                    <a:pt x="438863" y="148685"/>
                  </a:lnTo>
                  <a:lnTo>
                    <a:pt x="444358" y="147702"/>
                  </a:lnTo>
                  <a:lnTo>
                    <a:pt x="445737" y="145431"/>
                  </a:lnTo>
                  <a:cubicBezTo>
                    <a:pt x="449362" y="138557"/>
                    <a:pt x="456661" y="135501"/>
                    <a:pt x="460758" y="129084"/>
                  </a:cubicBezTo>
                  <a:lnTo>
                    <a:pt x="461154" y="128781"/>
                  </a:lnTo>
                  <a:lnTo>
                    <a:pt x="462745" y="127696"/>
                  </a:lnTo>
                  <a:lnTo>
                    <a:pt x="468515" y="121347"/>
                  </a:lnTo>
                  <a:lnTo>
                    <a:pt x="469710" y="120764"/>
                  </a:lnTo>
                  <a:lnTo>
                    <a:pt x="476262" y="120147"/>
                  </a:lnTo>
                  <a:lnTo>
                    <a:pt x="477727" y="120643"/>
                  </a:lnTo>
                  <a:lnTo>
                    <a:pt x="478923" y="121858"/>
                  </a:lnTo>
                  <a:lnTo>
                    <a:pt x="479395" y="122687"/>
                  </a:lnTo>
                  <a:lnTo>
                    <a:pt x="480707" y="127580"/>
                  </a:lnTo>
                  <a:lnTo>
                    <a:pt x="485011" y="126732"/>
                  </a:lnTo>
                  <a:lnTo>
                    <a:pt x="485050" y="126732"/>
                  </a:lnTo>
                  <a:lnTo>
                    <a:pt x="491548" y="125560"/>
                  </a:lnTo>
                  <a:lnTo>
                    <a:pt x="491548" y="125536"/>
                  </a:lnTo>
                  <a:lnTo>
                    <a:pt x="497487" y="124355"/>
                  </a:lnTo>
                  <a:lnTo>
                    <a:pt x="498659" y="124500"/>
                  </a:lnTo>
                  <a:lnTo>
                    <a:pt x="504304" y="127315"/>
                  </a:lnTo>
                  <a:lnTo>
                    <a:pt x="510518" y="127869"/>
                  </a:lnTo>
                  <a:lnTo>
                    <a:pt x="510686" y="127922"/>
                  </a:lnTo>
                  <a:lnTo>
                    <a:pt x="516413" y="129055"/>
                  </a:lnTo>
                  <a:lnTo>
                    <a:pt x="522647" y="128491"/>
                  </a:lnTo>
                  <a:lnTo>
                    <a:pt x="528639" y="127869"/>
                  </a:lnTo>
                  <a:lnTo>
                    <a:pt x="528957" y="127869"/>
                  </a:lnTo>
                  <a:lnTo>
                    <a:pt x="535128" y="128443"/>
                  </a:lnTo>
                  <a:lnTo>
                    <a:pt x="540768" y="126785"/>
                  </a:lnTo>
                  <a:lnTo>
                    <a:pt x="540922" y="126727"/>
                  </a:lnTo>
                  <a:cubicBezTo>
                    <a:pt x="547386" y="125556"/>
                    <a:pt x="559506" y="123203"/>
                    <a:pt x="565604" y="123728"/>
                  </a:cubicBezTo>
                  <a:lnTo>
                    <a:pt x="572064" y="123116"/>
                  </a:lnTo>
                  <a:lnTo>
                    <a:pt x="573592" y="123728"/>
                  </a:lnTo>
                  <a:lnTo>
                    <a:pt x="574026" y="125276"/>
                  </a:lnTo>
                  <a:lnTo>
                    <a:pt x="572931" y="130801"/>
                  </a:lnTo>
                  <a:lnTo>
                    <a:pt x="574595" y="136932"/>
                  </a:lnTo>
                  <a:cubicBezTo>
                    <a:pt x="574662" y="137222"/>
                    <a:pt x="574513" y="137448"/>
                    <a:pt x="574445" y="137680"/>
                  </a:cubicBezTo>
                  <a:lnTo>
                    <a:pt x="574855" y="137709"/>
                  </a:lnTo>
                  <a:lnTo>
                    <a:pt x="581517" y="13197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28" name="Freihandform: Form 627">
              <a:extLst>
                <a:ext uri="{FF2B5EF4-FFF2-40B4-BE49-F238E27FC236}">
                  <a16:creationId xmlns:a16="http://schemas.microsoft.com/office/drawing/2014/main" id="{C5069464-B949-1866-0A4F-2AF275B34214}"/>
                </a:ext>
              </a:extLst>
            </p:cNvPr>
            <p:cNvSpPr/>
            <p:nvPr/>
          </p:nvSpPr>
          <p:spPr>
            <a:xfrm>
              <a:off x="6907158" y="5045129"/>
              <a:ext cx="763501" cy="582635"/>
            </a:xfrm>
            <a:custGeom>
              <a:avLst/>
              <a:gdLst>
                <a:gd name="connsiteX0" fmla="*/ 537518 w 598599"/>
                <a:gd name="connsiteY0" fmla="*/ 19652 h 456793"/>
                <a:gd name="connsiteX1" fmla="*/ 530181 w 598599"/>
                <a:gd name="connsiteY1" fmla="*/ 15776 h 456793"/>
                <a:gd name="connsiteX2" fmla="*/ 524377 w 598599"/>
                <a:gd name="connsiteY2" fmla="*/ 3122 h 456793"/>
                <a:gd name="connsiteX3" fmla="*/ 517889 w 598599"/>
                <a:gd name="connsiteY3" fmla="*/ 1816 h 456793"/>
                <a:gd name="connsiteX4" fmla="*/ 512200 w 598599"/>
                <a:gd name="connsiteY4" fmla="*/ 8015 h 456793"/>
                <a:gd name="connsiteX5" fmla="*/ 504853 w 598599"/>
                <a:gd name="connsiteY5" fmla="*/ 10710 h 456793"/>
                <a:gd name="connsiteX6" fmla="*/ 499025 w 598599"/>
                <a:gd name="connsiteY6" fmla="*/ 6902 h 456793"/>
                <a:gd name="connsiteX7" fmla="*/ 493346 w 598599"/>
                <a:gd name="connsiteY7" fmla="*/ 1816 h 456793"/>
                <a:gd name="connsiteX8" fmla="*/ 487798 w 598599"/>
                <a:gd name="connsiteY8" fmla="*/ 5952 h 456793"/>
                <a:gd name="connsiteX9" fmla="*/ 456285 w 598599"/>
                <a:gd name="connsiteY9" fmla="*/ 1170 h 456793"/>
                <a:gd name="connsiteX10" fmla="*/ 449049 w 598599"/>
                <a:gd name="connsiteY10" fmla="*/ 2708 h 456793"/>
                <a:gd name="connsiteX11" fmla="*/ 442989 w 598599"/>
                <a:gd name="connsiteY11" fmla="*/ 1411 h 456793"/>
                <a:gd name="connsiteX12" fmla="*/ 431747 w 598599"/>
                <a:gd name="connsiteY12" fmla="*/ 2452 h 456793"/>
                <a:gd name="connsiteX13" fmla="*/ 420891 w 598599"/>
                <a:gd name="connsiteY13" fmla="*/ 6096 h 456793"/>
                <a:gd name="connsiteX14" fmla="*/ 411983 w 598599"/>
                <a:gd name="connsiteY14" fmla="*/ 14725 h 456793"/>
                <a:gd name="connsiteX15" fmla="*/ 385777 w 598599"/>
                <a:gd name="connsiteY15" fmla="*/ 27119 h 456793"/>
                <a:gd name="connsiteX16" fmla="*/ 359567 w 598599"/>
                <a:gd name="connsiteY16" fmla="*/ 41842 h 456793"/>
                <a:gd name="connsiteX17" fmla="*/ 350624 w 598599"/>
                <a:gd name="connsiteY17" fmla="*/ 47800 h 456793"/>
                <a:gd name="connsiteX18" fmla="*/ 346536 w 598599"/>
                <a:gd name="connsiteY18" fmla="*/ 56299 h 456793"/>
                <a:gd name="connsiteX19" fmla="*/ 341614 w 598599"/>
                <a:gd name="connsiteY19" fmla="*/ 60831 h 456793"/>
                <a:gd name="connsiteX20" fmla="*/ 334866 w 598599"/>
                <a:gd name="connsiteY20" fmla="*/ 76064 h 456793"/>
                <a:gd name="connsiteX21" fmla="*/ 329838 w 598599"/>
                <a:gd name="connsiteY21" fmla="*/ 81999 h 456793"/>
                <a:gd name="connsiteX22" fmla="*/ 326878 w 598599"/>
                <a:gd name="connsiteY22" fmla="*/ 88203 h 456793"/>
                <a:gd name="connsiteX23" fmla="*/ 323127 w 598599"/>
                <a:gd name="connsiteY23" fmla="*/ 91297 h 456793"/>
                <a:gd name="connsiteX24" fmla="*/ 318586 w 598599"/>
                <a:gd name="connsiteY24" fmla="*/ 91678 h 456793"/>
                <a:gd name="connsiteX25" fmla="*/ 310222 w 598599"/>
                <a:gd name="connsiteY25" fmla="*/ 99821 h 456793"/>
                <a:gd name="connsiteX26" fmla="*/ 299501 w 598599"/>
                <a:gd name="connsiteY26" fmla="*/ 102679 h 456793"/>
                <a:gd name="connsiteX27" fmla="*/ 291489 w 598599"/>
                <a:gd name="connsiteY27" fmla="*/ 107804 h 456793"/>
                <a:gd name="connsiteX28" fmla="*/ 273435 w 598599"/>
                <a:gd name="connsiteY28" fmla="*/ 102679 h 456793"/>
                <a:gd name="connsiteX29" fmla="*/ 256495 w 598599"/>
                <a:gd name="connsiteY29" fmla="*/ 103581 h 456793"/>
                <a:gd name="connsiteX30" fmla="*/ 242033 w 598599"/>
                <a:gd name="connsiteY30" fmla="*/ 106406 h 456793"/>
                <a:gd name="connsiteX31" fmla="*/ 235559 w 598599"/>
                <a:gd name="connsiteY31" fmla="*/ 106550 h 456793"/>
                <a:gd name="connsiteX32" fmla="*/ 219313 w 598599"/>
                <a:gd name="connsiteY32" fmla="*/ 107968 h 456793"/>
                <a:gd name="connsiteX33" fmla="*/ 200459 w 598599"/>
                <a:gd name="connsiteY33" fmla="*/ 110672 h 456793"/>
                <a:gd name="connsiteX34" fmla="*/ 175787 w 598599"/>
                <a:gd name="connsiteY34" fmla="*/ 122806 h 456793"/>
                <a:gd name="connsiteX35" fmla="*/ 152527 w 598599"/>
                <a:gd name="connsiteY35" fmla="*/ 119219 h 456793"/>
                <a:gd name="connsiteX36" fmla="*/ 132150 w 598599"/>
                <a:gd name="connsiteY36" fmla="*/ 116105 h 456793"/>
                <a:gd name="connsiteX37" fmla="*/ 109936 w 598599"/>
                <a:gd name="connsiteY37" fmla="*/ 115951 h 456793"/>
                <a:gd name="connsiteX38" fmla="*/ 105940 w 598599"/>
                <a:gd name="connsiteY38" fmla="*/ 116515 h 456793"/>
                <a:gd name="connsiteX39" fmla="*/ 100092 w 598599"/>
                <a:gd name="connsiteY39" fmla="*/ 115073 h 456793"/>
                <a:gd name="connsiteX40" fmla="*/ 96101 w 598599"/>
                <a:gd name="connsiteY40" fmla="*/ 116881 h 456793"/>
                <a:gd name="connsiteX41" fmla="*/ 84743 w 598599"/>
                <a:gd name="connsiteY41" fmla="*/ 119344 h 456793"/>
                <a:gd name="connsiteX42" fmla="*/ 76432 w 598599"/>
                <a:gd name="connsiteY42" fmla="*/ 124888 h 456793"/>
                <a:gd name="connsiteX43" fmla="*/ 69625 w 598599"/>
                <a:gd name="connsiteY43" fmla="*/ 127193 h 456793"/>
                <a:gd name="connsiteX44" fmla="*/ 66931 w 598599"/>
                <a:gd name="connsiteY44" fmla="*/ 129781 h 456793"/>
                <a:gd name="connsiteX45" fmla="*/ 64983 w 598599"/>
                <a:gd name="connsiteY45" fmla="*/ 128253 h 456793"/>
                <a:gd name="connsiteX46" fmla="*/ 43921 w 598599"/>
                <a:gd name="connsiteY46" fmla="*/ 121519 h 456793"/>
                <a:gd name="connsiteX47" fmla="*/ 48978 w 598599"/>
                <a:gd name="connsiteY47" fmla="*/ 104482 h 456793"/>
                <a:gd name="connsiteX48" fmla="*/ 57371 w 598599"/>
                <a:gd name="connsiteY48" fmla="*/ 96350 h 456793"/>
                <a:gd name="connsiteX49" fmla="*/ 51933 w 598599"/>
                <a:gd name="connsiteY49" fmla="*/ 90921 h 456793"/>
                <a:gd name="connsiteX50" fmla="*/ 44948 w 598599"/>
                <a:gd name="connsiteY50" fmla="*/ 91061 h 456793"/>
                <a:gd name="connsiteX51" fmla="*/ 39665 w 598599"/>
                <a:gd name="connsiteY51" fmla="*/ 87012 h 456793"/>
                <a:gd name="connsiteX52" fmla="*/ 32564 w 598599"/>
                <a:gd name="connsiteY52" fmla="*/ 86005 h 456793"/>
                <a:gd name="connsiteX53" fmla="*/ 26504 w 598599"/>
                <a:gd name="connsiteY53" fmla="*/ 81888 h 456793"/>
                <a:gd name="connsiteX54" fmla="*/ 19717 w 598599"/>
                <a:gd name="connsiteY54" fmla="*/ 80398 h 456793"/>
                <a:gd name="connsiteX55" fmla="*/ 21307 w 598599"/>
                <a:gd name="connsiteY55" fmla="*/ 86400 h 456793"/>
                <a:gd name="connsiteX56" fmla="*/ 19717 w 598599"/>
                <a:gd name="connsiteY56" fmla="*/ 80398 h 456793"/>
                <a:gd name="connsiteX57" fmla="*/ 17851 w 598599"/>
                <a:gd name="connsiteY57" fmla="*/ 82133 h 456793"/>
                <a:gd name="connsiteX58" fmla="*/ 17070 w 598599"/>
                <a:gd name="connsiteY58" fmla="*/ 96080 h 456793"/>
                <a:gd name="connsiteX59" fmla="*/ 12408 w 598599"/>
                <a:gd name="connsiteY59" fmla="*/ 105504 h 456793"/>
                <a:gd name="connsiteX60" fmla="*/ 255 w 598599"/>
                <a:gd name="connsiteY60" fmla="*/ 113892 h 456793"/>
                <a:gd name="connsiteX61" fmla="*/ 1321 w 598599"/>
                <a:gd name="connsiteY61" fmla="*/ 133127 h 456793"/>
                <a:gd name="connsiteX62" fmla="*/ 0 w 598599"/>
                <a:gd name="connsiteY62" fmla="*/ 137032 h 456793"/>
                <a:gd name="connsiteX63" fmla="*/ 4671 w 598599"/>
                <a:gd name="connsiteY63" fmla="*/ 147131 h 456793"/>
                <a:gd name="connsiteX64" fmla="*/ 15778 w 598599"/>
                <a:gd name="connsiteY64" fmla="*/ 158995 h 456793"/>
                <a:gd name="connsiteX65" fmla="*/ 40957 w 598599"/>
                <a:gd name="connsiteY65" fmla="*/ 186989 h 456793"/>
                <a:gd name="connsiteX66" fmla="*/ 54917 w 598599"/>
                <a:gd name="connsiteY66" fmla="*/ 195656 h 456793"/>
                <a:gd name="connsiteX67" fmla="*/ 75709 w 598599"/>
                <a:gd name="connsiteY67" fmla="*/ 210109 h 456793"/>
                <a:gd name="connsiteX68" fmla="*/ 76104 w 598599"/>
                <a:gd name="connsiteY68" fmla="*/ 217860 h 456793"/>
                <a:gd name="connsiteX69" fmla="*/ 71313 w 598599"/>
                <a:gd name="connsiteY69" fmla="*/ 226543 h 456793"/>
                <a:gd name="connsiteX70" fmla="*/ 65518 w 598599"/>
                <a:gd name="connsiteY70" fmla="*/ 239178 h 456793"/>
                <a:gd name="connsiteX71" fmla="*/ 60341 w 598599"/>
                <a:gd name="connsiteY71" fmla="*/ 242538 h 456793"/>
                <a:gd name="connsiteX72" fmla="*/ 59931 w 598599"/>
                <a:gd name="connsiteY72" fmla="*/ 249007 h 456793"/>
                <a:gd name="connsiteX73" fmla="*/ 58634 w 598599"/>
                <a:gd name="connsiteY73" fmla="*/ 255337 h 456793"/>
                <a:gd name="connsiteX74" fmla="*/ 51553 w 598599"/>
                <a:gd name="connsiteY74" fmla="*/ 259039 h 456793"/>
                <a:gd name="connsiteX75" fmla="*/ 40716 w 598599"/>
                <a:gd name="connsiteY75" fmla="*/ 259318 h 456793"/>
                <a:gd name="connsiteX76" fmla="*/ 30660 w 598599"/>
                <a:gd name="connsiteY76" fmla="*/ 270059 h 456793"/>
                <a:gd name="connsiteX77" fmla="*/ 36184 w 598599"/>
                <a:gd name="connsiteY77" fmla="*/ 276490 h 456793"/>
                <a:gd name="connsiteX78" fmla="*/ 37341 w 598599"/>
                <a:gd name="connsiteY78" fmla="*/ 290446 h 456793"/>
                <a:gd name="connsiteX79" fmla="*/ 39048 w 598599"/>
                <a:gd name="connsiteY79" fmla="*/ 303645 h 456793"/>
                <a:gd name="connsiteX80" fmla="*/ 49499 w 598599"/>
                <a:gd name="connsiteY80" fmla="*/ 312269 h 456793"/>
                <a:gd name="connsiteX81" fmla="*/ 46881 w 598599"/>
                <a:gd name="connsiteY81" fmla="*/ 323911 h 456793"/>
                <a:gd name="connsiteX82" fmla="*/ 42760 w 598599"/>
                <a:gd name="connsiteY82" fmla="*/ 331248 h 456793"/>
                <a:gd name="connsiteX83" fmla="*/ 39048 w 598599"/>
                <a:gd name="connsiteY83" fmla="*/ 336315 h 456793"/>
                <a:gd name="connsiteX84" fmla="*/ 34858 w 598599"/>
                <a:gd name="connsiteY84" fmla="*/ 337308 h 456793"/>
                <a:gd name="connsiteX85" fmla="*/ 49108 w 598599"/>
                <a:gd name="connsiteY85" fmla="*/ 351409 h 456793"/>
                <a:gd name="connsiteX86" fmla="*/ 68189 w 598599"/>
                <a:gd name="connsiteY86" fmla="*/ 364723 h 456793"/>
                <a:gd name="connsiteX87" fmla="*/ 74663 w 598599"/>
                <a:gd name="connsiteY87" fmla="*/ 364193 h 456793"/>
                <a:gd name="connsiteX88" fmla="*/ 80602 w 598599"/>
                <a:gd name="connsiteY88" fmla="*/ 367047 h 456793"/>
                <a:gd name="connsiteX89" fmla="*/ 86662 w 598599"/>
                <a:gd name="connsiteY89" fmla="*/ 368199 h 456793"/>
                <a:gd name="connsiteX90" fmla="*/ 89535 w 598599"/>
                <a:gd name="connsiteY90" fmla="*/ 370282 h 456793"/>
                <a:gd name="connsiteX91" fmla="*/ 92885 w 598599"/>
                <a:gd name="connsiteY91" fmla="*/ 372600 h 456793"/>
                <a:gd name="connsiteX92" fmla="*/ 113272 w 598599"/>
                <a:gd name="connsiteY92" fmla="*/ 403077 h 456793"/>
                <a:gd name="connsiteX93" fmla="*/ 112216 w 598599"/>
                <a:gd name="connsiteY93" fmla="*/ 414434 h 456793"/>
                <a:gd name="connsiteX94" fmla="*/ 109931 w 598599"/>
                <a:gd name="connsiteY94" fmla="*/ 420369 h 456793"/>
                <a:gd name="connsiteX95" fmla="*/ 112641 w 598599"/>
                <a:gd name="connsiteY95" fmla="*/ 426433 h 456793"/>
                <a:gd name="connsiteX96" fmla="*/ 114058 w 598599"/>
                <a:gd name="connsiteY96" fmla="*/ 437425 h 456793"/>
                <a:gd name="connsiteX97" fmla="*/ 116632 w 598599"/>
                <a:gd name="connsiteY97" fmla="*/ 444516 h 456793"/>
                <a:gd name="connsiteX98" fmla="*/ 116270 w 598599"/>
                <a:gd name="connsiteY98" fmla="*/ 451511 h 456793"/>
                <a:gd name="connsiteX99" fmla="*/ 114337 w 598599"/>
                <a:gd name="connsiteY99" fmla="*/ 456794 h 456793"/>
                <a:gd name="connsiteX100" fmla="*/ 133312 w 598599"/>
                <a:gd name="connsiteY100" fmla="*/ 456794 h 456793"/>
                <a:gd name="connsiteX101" fmla="*/ 139371 w 598599"/>
                <a:gd name="connsiteY101" fmla="*/ 455237 h 456793"/>
                <a:gd name="connsiteX102" fmla="*/ 146998 w 598599"/>
                <a:gd name="connsiteY102" fmla="*/ 443118 h 456793"/>
                <a:gd name="connsiteX103" fmla="*/ 155887 w 598599"/>
                <a:gd name="connsiteY103" fmla="*/ 445403 h 456793"/>
                <a:gd name="connsiteX104" fmla="*/ 164536 w 598599"/>
                <a:gd name="connsiteY104" fmla="*/ 437955 h 456793"/>
                <a:gd name="connsiteX105" fmla="*/ 183534 w 598599"/>
                <a:gd name="connsiteY105" fmla="*/ 439107 h 456793"/>
                <a:gd name="connsiteX106" fmla="*/ 190886 w 598599"/>
                <a:gd name="connsiteY106" fmla="*/ 433298 h 456793"/>
                <a:gd name="connsiteX107" fmla="*/ 196179 w 598599"/>
                <a:gd name="connsiteY107" fmla="*/ 432772 h 456793"/>
                <a:gd name="connsiteX108" fmla="*/ 199674 w 598599"/>
                <a:gd name="connsiteY108" fmla="*/ 427349 h 456793"/>
                <a:gd name="connsiteX109" fmla="*/ 211807 w 598599"/>
                <a:gd name="connsiteY109" fmla="*/ 421656 h 456793"/>
                <a:gd name="connsiteX110" fmla="*/ 217120 w 598599"/>
                <a:gd name="connsiteY110" fmla="*/ 422032 h 456793"/>
                <a:gd name="connsiteX111" fmla="*/ 224091 w 598599"/>
                <a:gd name="connsiteY111" fmla="*/ 413789 h 456793"/>
                <a:gd name="connsiteX112" fmla="*/ 225397 w 598599"/>
                <a:gd name="connsiteY112" fmla="*/ 407353 h 456793"/>
                <a:gd name="connsiteX113" fmla="*/ 235829 w 598599"/>
                <a:gd name="connsiteY113" fmla="*/ 406129 h 456793"/>
                <a:gd name="connsiteX114" fmla="*/ 241522 w 598599"/>
                <a:gd name="connsiteY114" fmla="*/ 400763 h 456793"/>
                <a:gd name="connsiteX115" fmla="*/ 249293 w 598599"/>
                <a:gd name="connsiteY115" fmla="*/ 406938 h 456793"/>
                <a:gd name="connsiteX116" fmla="*/ 253935 w 598599"/>
                <a:gd name="connsiteY116" fmla="*/ 403728 h 456793"/>
                <a:gd name="connsiteX117" fmla="*/ 259981 w 598599"/>
                <a:gd name="connsiteY117" fmla="*/ 402913 h 456793"/>
                <a:gd name="connsiteX118" fmla="*/ 266219 w 598599"/>
                <a:gd name="connsiteY118" fmla="*/ 396101 h 456793"/>
                <a:gd name="connsiteX119" fmla="*/ 272900 w 598599"/>
                <a:gd name="connsiteY119" fmla="*/ 400855 h 456793"/>
                <a:gd name="connsiteX120" fmla="*/ 276545 w 598599"/>
                <a:gd name="connsiteY120" fmla="*/ 407237 h 456793"/>
                <a:gd name="connsiteX121" fmla="*/ 283245 w 598599"/>
                <a:gd name="connsiteY121" fmla="*/ 412111 h 456793"/>
                <a:gd name="connsiteX122" fmla="*/ 289189 w 598599"/>
                <a:gd name="connsiteY122" fmla="*/ 412111 h 456793"/>
                <a:gd name="connsiteX123" fmla="*/ 301087 w 598599"/>
                <a:gd name="connsiteY123" fmla="*/ 419342 h 456793"/>
                <a:gd name="connsiteX124" fmla="*/ 301588 w 598599"/>
                <a:gd name="connsiteY124" fmla="*/ 411870 h 456793"/>
                <a:gd name="connsiteX125" fmla="*/ 347038 w 598599"/>
                <a:gd name="connsiteY125" fmla="*/ 422702 h 456793"/>
                <a:gd name="connsiteX126" fmla="*/ 353623 w 598599"/>
                <a:gd name="connsiteY126" fmla="*/ 421776 h 456793"/>
                <a:gd name="connsiteX127" fmla="*/ 366306 w 598599"/>
                <a:gd name="connsiteY127" fmla="*/ 413393 h 456793"/>
                <a:gd name="connsiteX128" fmla="*/ 373132 w 598599"/>
                <a:gd name="connsiteY128" fmla="*/ 412632 h 456793"/>
                <a:gd name="connsiteX129" fmla="*/ 379718 w 598599"/>
                <a:gd name="connsiteY129" fmla="*/ 406818 h 456793"/>
                <a:gd name="connsiteX130" fmla="*/ 385917 w 598599"/>
                <a:gd name="connsiteY130" fmla="*/ 405140 h 456793"/>
                <a:gd name="connsiteX131" fmla="*/ 391740 w 598599"/>
                <a:gd name="connsiteY131" fmla="*/ 406129 h 456793"/>
                <a:gd name="connsiteX132" fmla="*/ 403344 w 598599"/>
                <a:gd name="connsiteY132" fmla="*/ 397634 h 456793"/>
                <a:gd name="connsiteX133" fmla="*/ 410845 w 598599"/>
                <a:gd name="connsiteY133" fmla="*/ 400464 h 456793"/>
                <a:gd name="connsiteX134" fmla="*/ 422863 w 598599"/>
                <a:gd name="connsiteY134" fmla="*/ 391816 h 456793"/>
                <a:gd name="connsiteX135" fmla="*/ 428035 w 598599"/>
                <a:gd name="connsiteY135" fmla="*/ 390919 h 456793"/>
                <a:gd name="connsiteX136" fmla="*/ 433039 w 598599"/>
                <a:gd name="connsiteY136" fmla="*/ 385766 h 456793"/>
                <a:gd name="connsiteX137" fmla="*/ 434616 w 598599"/>
                <a:gd name="connsiteY137" fmla="*/ 378780 h 456793"/>
                <a:gd name="connsiteX138" fmla="*/ 431391 w 598599"/>
                <a:gd name="connsiteY138" fmla="*/ 371159 h 456793"/>
                <a:gd name="connsiteX139" fmla="*/ 432152 w 598599"/>
                <a:gd name="connsiteY139" fmla="*/ 365504 h 456793"/>
                <a:gd name="connsiteX140" fmla="*/ 422757 w 598599"/>
                <a:gd name="connsiteY140" fmla="*/ 353226 h 456793"/>
                <a:gd name="connsiteX141" fmla="*/ 417015 w 598599"/>
                <a:gd name="connsiteY141" fmla="*/ 348164 h 456793"/>
                <a:gd name="connsiteX142" fmla="*/ 417444 w 598599"/>
                <a:gd name="connsiteY142" fmla="*/ 341974 h 456793"/>
                <a:gd name="connsiteX143" fmla="*/ 423113 w 598599"/>
                <a:gd name="connsiteY143" fmla="*/ 336310 h 456793"/>
                <a:gd name="connsiteX144" fmla="*/ 430219 w 598599"/>
                <a:gd name="connsiteY144" fmla="*/ 335655 h 456793"/>
                <a:gd name="connsiteX145" fmla="*/ 438723 w 598599"/>
                <a:gd name="connsiteY145" fmla="*/ 339511 h 456793"/>
                <a:gd name="connsiteX146" fmla="*/ 443433 w 598599"/>
                <a:gd name="connsiteY146" fmla="*/ 336628 h 456793"/>
                <a:gd name="connsiteX147" fmla="*/ 440155 w 598599"/>
                <a:gd name="connsiteY147" fmla="*/ 332670 h 456793"/>
                <a:gd name="connsiteX148" fmla="*/ 441707 w 598599"/>
                <a:gd name="connsiteY148" fmla="*/ 325820 h 456793"/>
                <a:gd name="connsiteX149" fmla="*/ 447376 w 598599"/>
                <a:gd name="connsiteY149" fmla="*/ 320527 h 456793"/>
                <a:gd name="connsiteX150" fmla="*/ 453224 w 598599"/>
                <a:gd name="connsiteY150" fmla="*/ 319240 h 456793"/>
                <a:gd name="connsiteX151" fmla="*/ 458599 w 598599"/>
                <a:gd name="connsiteY151" fmla="*/ 314072 h 456793"/>
                <a:gd name="connsiteX152" fmla="*/ 457471 w 598599"/>
                <a:gd name="connsiteY152" fmla="*/ 304363 h 456793"/>
                <a:gd name="connsiteX153" fmla="*/ 465757 w 598599"/>
                <a:gd name="connsiteY153" fmla="*/ 295855 h 456793"/>
                <a:gd name="connsiteX154" fmla="*/ 480986 w 598599"/>
                <a:gd name="connsiteY154" fmla="*/ 291217 h 456793"/>
                <a:gd name="connsiteX155" fmla="*/ 490141 w 598599"/>
                <a:gd name="connsiteY155" fmla="*/ 286782 h 456793"/>
                <a:gd name="connsiteX156" fmla="*/ 494778 w 598599"/>
                <a:gd name="connsiteY156" fmla="*/ 279720 h 456793"/>
                <a:gd name="connsiteX157" fmla="*/ 502139 w 598599"/>
                <a:gd name="connsiteY157" fmla="*/ 270421 h 456793"/>
                <a:gd name="connsiteX158" fmla="*/ 509120 w 598599"/>
                <a:gd name="connsiteY158" fmla="*/ 272098 h 456793"/>
                <a:gd name="connsiteX159" fmla="*/ 514828 w 598599"/>
                <a:gd name="connsiteY159" fmla="*/ 270797 h 456793"/>
                <a:gd name="connsiteX160" fmla="*/ 517609 w 598599"/>
                <a:gd name="connsiteY160" fmla="*/ 264723 h 456793"/>
                <a:gd name="connsiteX161" fmla="*/ 524107 w 598599"/>
                <a:gd name="connsiteY161" fmla="*/ 264347 h 456793"/>
                <a:gd name="connsiteX162" fmla="*/ 530201 w 598599"/>
                <a:gd name="connsiteY162" fmla="*/ 266530 h 456793"/>
                <a:gd name="connsiteX163" fmla="*/ 535489 w 598599"/>
                <a:gd name="connsiteY163" fmla="*/ 273641 h 456793"/>
                <a:gd name="connsiteX164" fmla="*/ 541544 w 598599"/>
                <a:gd name="connsiteY164" fmla="*/ 276736 h 456793"/>
                <a:gd name="connsiteX165" fmla="*/ 558836 w 598599"/>
                <a:gd name="connsiteY165" fmla="*/ 276244 h 456793"/>
                <a:gd name="connsiteX166" fmla="*/ 568800 w 598599"/>
                <a:gd name="connsiteY166" fmla="*/ 269900 h 456793"/>
                <a:gd name="connsiteX167" fmla="*/ 579912 w 598599"/>
                <a:gd name="connsiteY167" fmla="*/ 271607 h 456793"/>
                <a:gd name="connsiteX168" fmla="*/ 578225 w 598599"/>
                <a:gd name="connsiteY168" fmla="*/ 264265 h 456793"/>
                <a:gd name="connsiteX169" fmla="*/ 584168 w 598599"/>
                <a:gd name="connsiteY169" fmla="*/ 262553 h 456793"/>
                <a:gd name="connsiteX170" fmla="*/ 589818 w 598599"/>
                <a:gd name="connsiteY170" fmla="*/ 263460 h 456793"/>
                <a:gd name="connsiteX171" fmla="*/ 594750 w 598599"/>
                <a:gd name="connsiteY171" fmla="*/ 262211 h 456793"/>
                <a:gd name="connsiteX172" fmla="*/ 593164 w 598599"/>
                <a:gd name="connsiteY172" fmla="*/ 257916 h 456793"/>
                <a:gd name="connsiteX173" fmla="*/ 588830 w 598599"/>
                <a:gd name="connsiteY173" fmla="*/ 252449 h 456793"/>
                <a:gd name="connsiteX174" fmla="*/ 582607 w 598599"/>
                <a:gd name="connsiteY174" fmla="*/ 249070 h 456793"/>
                <a:gd name="connsiteX175" fmla="*/ 582419 w 598599"/>
                <a:gd name="connsiteY175" fmla="*/ 248959 h 456793"/>
                <a:gd name="connsiteX176" fmla="*/ 576431 w 598599"/>
                <a:gd name="connsiteY176" fmla="*/ 244765 h 456793"/>
                <a:gd name="connsiteX177" fmla="*/ 569933 w 598599"/>
                <a:gd name="connsiteY177" fmla="*/ 240041 h 456793"/>
                <a:gd name="connsiteX178" fmla="*/ 563979 w 598599"/>
                <a:gd name="connsiteY178" fmla="*/ 235856 h 456793"/>
                <a:gd name="connsiteX179" fmla="*/ 563488 w 598599"/>
                <a:gd name="connsiteY179" fmla="*/ 235369 h 456793"/>
                <a:gd name="connsiteX180" fmla="*/ 559303 w 598599"/>
                <a:gd name="connsiteY180" fmla="*/ 228818 h 456793"/>
                <a:gd name="connsiteX181" fmla="*/ 559033 w 598599"/>
                <a:gd name="connsiteY181" fmla="*/ 227998 h 456793"/>
                <a:gd name="connsiteX182" fmla="*/ 558556 w 598599"/>
                <a:gd name="connsiteY182" fmla="*/ 223125 h 456793"/>
                <a:gd name="connsiteX183" fmla="*/ 553634 w 598599"/>
                <a:gd name="connsiteY183" fmla="*/ 221216 h 456793"/>
                <a:gd name="connsiteX184" fmla="*/ 552492 w 598599"/>
                <a:gd name="connsiteY184" fmla="*/ 219664 h 456793"/>
                <a:gd name="connsiteX185" fmla="*/ 552077 w 598599"/>
                <a:gd name="connsiteY185" fmla="*/ 215127 h 456793"/>
                <a:gd name="connsiteX186" fmla="*/ 548124 w 598599"/>
                <a:gd name="connsiteY186" fmla="*/ 215908 h 456793"/>
                <a:gd name="connsiteX187" fmla="*/ 547006 w 598599"/>
                <a:gd name="connsiteY187" fmla="*/ 215816 h 456793"/>
                <a:gd name="connsiteX188" fmla="*/ 540821 w 598599"/>
                <a:gd name="connsiteY188" fmla="*/ 212977 h 456793"/>
                <a:gd name="connsiteX189" fmla="*/ 535981 w 598599"/>
                <a:gd name="connsiteY189" fmla="*/ 212977 h 456793"/>
                <a:gd name="connsiteX190" fmla="*/ 529921 w 598599"/>
                <a:gd name="connsiteY190" fmla="*/ 218468 h 456793"/>
                <a:gd name="connsiteX191" fmla="*/ 528408 w 598599"/>
                <a:gd name="connsiteY191" fmla="*/ 218921 h 456793"/>
                <a:gd name="connsiteX192" fmla="*/ 527101 w 598599"/>
                <a:gd name="connsiteY192" fmla="*/ 217947 h 456793"/>
                <a:gd name="connsiteX193" fmla="*/ 524122 w 598599"/>
                <a:gd name="connsiteY193" fmla="*/ 211979 h 456793"/>
                <a:gd name="connsiteX194" fmla="*/ 524026 w 598599"/>
                <a:gd name="connsiteY194" fmla="*/ 210528 h 456793"/>
                <a:gd name="connsiteX195" fmla="*/ 526412 w 598599"/>
                <a:gd name="connsiteY195" fmla="*/ 204083 h 456793"/>
                <a:gd name="connsiteX196" fmla="*/ 528166 w 598599"/>
                <a:gd name="connsiteY196" fmla="*/ 198144 h 456793"/>
                <a:gd name="connsiteX197" fmla="*/ 529241 w 598599"/>
                <a:gd name="connsiteY197" fmla="*/ 196992 h 456793"/>
                <a:gd name="connsiteX198" fmla="*/ 535171 w 598599"/>
                <a:gd name="connsiteY198" fmla="*/ 194601 h 456793"/>
                <a:gd name="connsiteX199" fmla="*/ 535696 w 598599"/>
                <a:gd name="connsiteY199" fmla="*/ 194485 h 456793"/>
                <a:gd name="connsiteX200" fmla="*/ 539297 w 598599"/>
                <a:gd name="connsiteY200" fmla="*/ 194157 h 456793"/>
                <a:gd name="connsiteX201" fmla="*/ 537885 w 598599"/>
                <a:gd name="connsiteY201" fmla="*/ 191911 h 456793"/>
                <a:gd name="connsiteX202" fmla="*/ 537605 w 598599"/>
                <a:gd name="connsiteY202" fmla="*/ 190773 h 456793"/>
                <a:gd name="connsiteX203" fmla="*/ 538218 w 598599"/>
                <a:gd name="connsiteY203" fmla="*/ 184795 h 456793"/>
                <a:gd name="connsiteX204" fmla="*/ 538598 w 598599"/>
                <a:gd name="connsiteY204" fmla="*/ 183850 h 456793"/>
                <a:gd name="connsiteX205" fmla="*/ 543197 w 598599"/>
                <a:gd name="connsiteY205" fmla="*/ 178114 h 456793"/>
                <a:gd name="connsiteX206" fmla="*/ 545477 w 598599"/>
                <a:gd name="connsiteY206" fmla="*/ 172382 h 456793"/>
                <a:gd name="connsiteX207" fmla="*/ 546789 w 598599"/>
                <a:gd name="connsiteY207" fmla="*/ 171312 h 456793"/>
                <a:gd name="connsiteX208" fmla="*/ 552771 w 598599"/>
                <a:gd name="connsiteY208" fmla="*/ 170135 h 456793"/>
                <a:gd name="connsiteX209" fmla="*/ 552911 w 598599"/>
                <a:gd name="connsiteY209" fmla="*/ 170097 h 456793"/>
                <a:gd name="connsiteX210" fmla="*/ 557226 w 598599"/>
                <a:gd name="connsiteY210" fmla="*/ 169634 h 456793"/>
                <a:gd name="connsiteX211" fmla="*/ 557226 w 598599"/>
                <a:gd name="connsiteY211" fmla="*/ 165450 h 456793"/>
                <a:gd name="connsiteX212" fmla="*/ 556720 w 598599"/>
                <a:gd name="connsiteY212" fmla="*/ 159395 h 456793"/>
                <a:gd name="connsiteX213" fmla="*/ 553321 w 598599"/>
                <a:gd name="connsiteY213" fmla="*/ 153788 h 456793"/>
                <a:gd name="connsiteX214" fmla="*/ 553090 w 598599"/>
                <a:gd name="connsiteY214" fmla="*/ 152554 h 456793"/>
                <a:gd name="connsiteX215" fmla="*/ 553629 w 598599"/>
                <a:gd name="connsiteY215" fmla="*/ 149295 h 456793"/>
                <a:gd name="connsiteX216" fmla="*/ 552511 w 598599"/>
                <a:gd name="connsiteY216" fmla="*/ 143752 h 456793"/>
                <a:gd name="connsiteX217" fmla="*/ 550795 w 598599"/>
                <a:gd name="connsiteY217" fmla="*/ 137369 h 456793"/>
                <a:gd name="connsiteX218" fmla="*/ 548452 w 598599"/>
                <a:gd name="connsiteY218" fmla="*/ 131498 h 456793"/>
                <a:gd name="connsiteX219" fmla="*/ 548307 w 598599"/>
                <a:gd name="connsiteY219" fmla="*/ 130856 h 456793"/>
                <a:gd name="connsiteX220" fmla="*/ 548307 w 598599"/>
                <a:gd name="connsiteY220" fmla="*/ 118361 h 456793"/>
                <a:gd name="connsiteX221" fmla="*/ 548307 w 598599"/>
                <a:gd name="connsiteY221" fmla="*/ 118183 h 456793"/>
                <a:gd name="connsiteX222" fmla="*/ 548871 w 598599"/>
                <a:gd name="connsiteY222" fmla="*/ 112219 h 456793"/>
                <a:gd name="connsiteX223" fmla="*/ 545560 w 598599"/>
                <a:gd name="connsiteY223" fmla="*/ 106116 h 456793"/>
                <a:gd name="connsiteX224" fmla="*/ 545883 w 598599"/>
                <a:gd name="connsiteY224" fmla="*/ 103952 h 456793"/>
                <a:gd name="connsiteX225" fmla="*/ 547661 w 598599"/>
                <a:gd name="connsiteY225" fmla="*/ 102183 h 456793"/>
                <a:gd name="connsiteX226" fmla="*/ 553306 w 598599"/>
                <a:gd name="connsiteY226" fmla="*/ 96562 h 456793"/>
                <a:gd name="connsiteX227" fmla="*/ 554892 w 598599"/>
                <a:gd name="connsiteY227" fmla="*/ 91230 h 456793"/>
                <a:gd name="connsiteX228" fmla="*/ 555437 w 598599"/>
                <a:gd name="connsiteY228" fmla="*/ 84934 h 456793"/>
                <a:gd name="connsiteX229" fmla="*/ 555437 w 598599"/>
                <a:gd name="connsiteY229" fmla="*/ 79092 h 456793"/>
                <a:gd name="connsiteX230" fmla="*/ 555837 w 598599"/>
                <a:gd name="connsiteY230" fmla="*/ 77954 h 456793"/>
                <a:gd name="connsiteX231" fmla="*/ 560605 w 598599"/>
                <a:gd name="connsiteY231" fmla="*/ 71996 h 456793"/>
                <a:gd name="connsiteX232" fmla="*/ 561535 w 598599"/>
                <a:gd name="connsiteY232" fmla="*/ 71374 h 456793"/>
                <a:gd name="connsiteX233" fmla="*/ 567253 w 598599"/>
                <a:gd name="connsiteY233" fmla="*/ 69658 h 456793"/>
                <a:gd name="connsiteX234" fmla="*/ 573014 w 598599"/>
                <a:gd name="connsiteY234" fmla="*/ 66206 h 456793"/>
                <a:gd name="connsiteX235" fmla="*/ 573476 w 598599"/>
                <a:gd name="connsiteY235" fmla="*/ 66042 h 456793"/>
                <a:gd name="connsiteX236" fmla="*/ 579979 w 598599"/>
                <a:gd name="connsiteY236" fmla="*/ 64220 h 456793"/>
                <a:gd name="connsiteX237" fmla="*/ 580958 w 598599"/>
                <a:gd name="connsiteY237" fmla="*/ 64220 h 456793"/>
                <a:gd name="connsiteX238" fmla="*/ 587181 w 598599"/>
                <a:gd name="connsiteY238" fmla="*/ 65926 h 456793"/>
                <a:gd name="connsiteX239" fmla="*/ 591848 w 598599"/>
                <a:gd name="connsiteY239" fmla="*/ 65464 h 456793"/>
                <a:gd name="connsiteX240" fmla="*/ 588825 w 598599"/>
                <a:gd name="connsiteY240" fmla="*/ 18177 h 456793"/>
                <a:gd name="connsiteX241" fmla="*/ 537518 w 598599"/>
                <a:gd name="connsiteY241" fmla="*/ 19652 h 456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Lst>
              <a:rect l="l" t="t" r="r" b="b"/>
              <a:pathLst>
                <a:path w="598599" h="456793">
                  <a:moveTo>
                    <a:pt x="537518" y="19652"/>
                  </a:moveTo>
                  <a:cubicBezTo>
                    <a:pt x="531811" y="17309"/>
                    <a:pt x="530181" y="15776"/>
                    <a:pt x="530181" y="15776"/>
                  </a:cubicBezTo>
                  <a:lnTo>
                    <a:pt x="524377" y="3122"/>
                  </a:lnTo>
                  <a:lnTo>
                    <a:pt x="517889" y="1816"/>
                  </a:lnTo>
                  <a:lnTo>
                    <a:pt x="512200" y="8015"/>
                  </a:lnTo>
                  <a:lnTo>
                    <a:pt x="504853" y="10710"/>
                  </a:lnTo>
                  <a:lnTo>
                    <a:pt x="499025" y="6902"/>
                  </a:lnTo>
                  <a:lnTo>
                    <a:pt x="493346" y="1816"/>
                  </a:lnTo>
                  <a:lnTo>
                    <a:pt x="487798" y="5952"/>
                  </a:lnTo>
                  <a:cubicBezTo>
                    <a:pt x="487798" y="5952"/>
                    <a:pt x="468303" y="17059"/>
                    <a:pt x="456285" y="1170"/>
                  </a:cubicBezTo>
                  <a:cubicBezTo>
                    <a:pt x="455118" y="-108"/>
                    <a:pt x="452934" y="-1173"/>
                    <a:pt x="449049" y="2708"/>
                  </a:cubicBezTo>
                  <a:cubicBezTo>
                    <a:pt x="445713" y="1907"/>
                    <a:pt x="442989" y="1411"/>
                    <a:pt x="442989" y="1411"/>
                  </a:cubicBezTo>
                  <a:lnTo>
                    <a:pt x="431747" y="2452"/>
                  </a:lnTo>
                  <a:lnTo>
                    <a:pt x="420891" y="6096"/>
                  </a:lnTo>
                  <a:cubicBezTo>
                    <a:pt x="420891" y="6096"/>
                    <a:pt x="415184" y="12537"/>
                    <a:pt x="411983" y="14725"/>
                  </a:cubicBezTo>
                  <a:cubicBezTo>
                    <a:pt x="408738" y="16919"/>
                    <a:pt x="394806" y="25297"/>
                    <a:pt x="385777" y="27119"/>
                  </a:cubicBezTo>
                  <a:cubicBezTo>
                    <a:pt x="376709" y="28927"/>
                    <a:pt x="365631" y="33830"/>
                    <a:pt x="359567" y="41842"/>
                  </a:cubicBezTo>
                  <a:cubicBezTo>
                    <a:pt x="356052" y="43023"/>
                    <a:pt x="350624" y="47800"/>
                    <a:pt x="350624" y="47800"/>
                  </a:cubicBezTo>
                  <a:cubicBezTo>
                    <a:pt x="350624" y="47800"/>
                    <a:pt x="346898" y="53710"/>
                    <a:pt x="346536" y="56299"/>
                  </a:cubicBezTo>
                  <a:cubicBezTo>
                    <a:pt x="343282" y="59669"/>
                    <a:pt x="341614" y="60831"/>
                    <a:pt x="341614" y="60831"/>
                  </a:cubicBezTo>
                  <a:lnTo>
                    <a:pt x="334866" y="76064"/>
                  </a:lnTo>
                  <a:lnTo>
                    <a:pt x="329838" y="81999"/>
                  </a:lnTo>
                  <a:lnTo>
                    <a:pt x="326878" y="88203"/>
                  </a:lnTo>
                  <a:lnTo>
                    <a:pt x="323127" y="91297"/>
                  </a:lnTo>
                  <a:lnTo>
                    <a:pt x="318586" y="91678"/>
                  </a:lnTo>
                  <a:lnTo>
                    <a:pt x="310222" y="99821"/>
                  </a:lnTo>
                  <a:lnTo>
                    <a:pt x="299501" y="102679"/>
                  </a:lnTo>
                  <a:lnTo>
                    <a:pt x="291489" y="107804"/>
                  </a:lnTo>
                  <a:cubicBezTo>
                    <a:pt x="291489" y="107804"/>
                    <a:pt x="277022" y="100746"/>
                    <a:pt x="273435" y="102679"/>
                  </a:cubicBezTo>
                  <a:cubicBezTo>
                    <a:pt x="269801" y="104617"/>
                    <a:pt x="261273" y="106285"/>
                    <a:pt x="256495" y="103581"/>
                  </a:cubicBezTo>
                  <a:cubicBezTo>
                    <a:pt x="251737" y="100852"/>
                    <a:pt x="246025" y="103696"/>
                    <a:pt x="242033" y="106406"/>
                  </a:cubicBezTo>
                  <a:cubicBezTo>
                    <a:pt x="238553" y="106406"/>
                    <a:pt x="235559" y="106550"/>
                    <a:pt x="235559" y="106550"/>
                  </a:cubicBezTo>
                  <a:cubicBezTo>
                    <a:pt x="235559" y="106550"/>
                    <a:pt x="225252" y="111347"/>
                    <a:pt x="219313" y="107968"/>
                  </a:cubicBezTo>
                  <a:cubicBezTo>
                    <a:pt x="213388" y="104622"/>
                    <a:pt x="204325" y="106169"/>
                    <a:pt x="200459" y="110672"/>
                  </a:cubicBezTo>
                  <a:cubicBezTo>
                    <a:pt x="196588" y="115199"/>
                    <a:pt x="186600" y="122560"/>
                    <a:pt x="175787" y="122806"/>
                  </a:cubicBezTo>
                  <a:cubicBezTo>
                    <a:pt x="164950" y="123090"/>
                    <a:pt x="158596" y="118674"/>
                    <a:pt x="152527" y="119219"/>
                  </a:cubicBezTo>
                  <a:cubicBezTo>
                    <a:pt x="146487" y="119720"/>
                    <a:pt x="135611" y="118149"/>
                    <a:pt x="132150" y="116105"/>
                  </a:cubicBezTo>
                  <a:cubicBezTo>
                    <a:pt x="122436" y="119219"/>
                    <a:pt x="114800" y="121157"/>
                    <a:pt x="109936" y="115951"/>
                  </a:cubicBezTo>
                  <a:cubicBezTo>
                    <a:pt x="107974" y="116515"/>
                    <a:pt x="105940" y="116515"/>
                    <a:pt x="105940" y="116515"/>
                  </a:cubicBezTo>
                  <a:lnTo>
                    <a:pt x="100092" y="115073"/>
                  </a:lnTo>
                  <a:lnTo>
                    <a:pt x="96101" y="116881"/>
                  </a:lnTo>
                  <a:lnTo>
                    <a:pt x="84743" y="119344"/>
                  </a:lnTo>
                  <a:lnTo>
                    <a:pt x="76432" y="124888"/>
                  </a:lnTo>
                  <a:lnTo>
                    <a:pt x="69625" y="127193"/>
                  </a:lnTo>
                  <a:lnTo>
                    <a:pt x="66931" y="129781"/>
                  </a:lnTo>
                  <a:lnTo>
                    <a:pt x="64983" y="128253"/>
                  </a:lnTo>
                  <a:cubicBezTo>
                    <a:pt x="64983" y="128253"/>
                    <a:pt x="44712" y="131473"/>
                    <a:pt x="43921" y="121519"/>
                  </a:cubicBezTo>
                  <a:cubicBezTo>
                    <a:pt x="43136" y="111573"/>
                    <a:pt x="45098" y="106174"/>
                    <a:pt x="48978" y="104482"/>
                  </a:cubicBezTo>
                  <a:cubicBezTo>
                    <a:pt x="52840" y="102790"/>
                    <a:pt x="59049" y="100356"/>
                    <a:pt x="57371" y="96350"/>
                  </a:cubicBezTo>
                  <a:cubicBezTo>
                    <a:pt x="55674" y="92334"/>
                    <a:pt x="54778" y="90550"/>
                    <a:pt x="51933" y="90921"/>
                  </a:cubicBezTo>
                  <a:cubicBezTo>
                    <a:pt x="49108" y="91302"/>
                    <a:pt x="44948" y="91061"/>
                    <a:pt x="44948" y="91061"/>
                  </a:cubicBezTo>
                  <a:lnTo>
                    <a:pt x="39665" y="87012"/>
                  </a:lnTo>
                  <a:lnTo>
                    <a:pt x="32564" y="86005"/>
                  </a:lnTo>
                  <a:lnTo>
                    <a:pt x="26504" y="81888"/>
                  </a:lnTo>
                  <a:cubicBezTo>
                    <a:pt x="26504" y="81888"/>
                    <a:pt x="22310" y="79853"/>
                    <a:pt x="19717" y="80398"/>
                  </a:cubicBezTo>
                  <a:lnTo>
                    <a:pt x="21307" y="86400"/>
                  </a:lnTo>
                  <a:lnTo>
                    <a:pt x="19717" y="80398"/>
                  </a:lnTo>
                  <a:cubicBezTo>
                    <a:pt x="18810" y="80591"/>
                    <a:pt x="18126" y="81087"/>
                    <a:pt x="17851" y="82133"/>
                  </a:cubicBezTo>
                  <a:cubicBezTo>
                    <a:pt x="16819" y="86120"/>
                    <a:pt x="16019" y="91056"/>
                    <a:pt x="17070" y="96080"/>
                  </a:cubicBezTo>
                  <a:cubicBezTo>
                    <a:pt x="18126" y="101108"/>
                    <a:pt x="14742" y="104222"/>
                    <a:pt x="12408" y="105504"/>
                  </a:cubicBezTo>
                  <a:cubicBezTo>
                    <a:pt x="10095" y="106811"/>
                    <a:pt x="255" y="113892"/>
                    <a:pt x="255" y="113892"/>
                  </a:cubicBezTo>
                  <a:lnTo>
                    <a:pt x="1321" y="133127"/>
                  </a:lnTo>
                  <a:lnTo>
                    <a:pt x="0" y="137032"/>
                  </a:lnTo>
                  <a:cubicBezTo>
                    <a:pt x="0" y="137032"/>
                    <a:pt x="2241" y="144769"/>
                    <a:pt x="4671" y="147131"/>
                  </a:cubicBezTo>
                  <a:cubicBezTo>
                    <a:pt x="6339" y="152805"/>
                    <a:pt x="11763" y="158320"/>
                    <a:pt x="15778" y="158995"/>
                  </a:cubicBezTo>
                  <a:cubicBezTo>
                    <a:pt x="16945" y="164645"/>
                    <a:pt x="18618" y="183634"/>
                    <a:pt x="40957" y="186989"/>
                  </a:cubicBezTo>
                  <a:cubicBezTo>
                    <a:pt x="44842" y="187268"/>
                    <a:pt x="51663" y="190363"/>
                    <a:pt x="54917" y="195656"/>
                  </a:cubicBezTo>
                  <a:cubicBezTo>
                    <a:pt x="58157" y="200949"/>
                    <a:pt x="69895" y="212317"/>
                    <a:pt x="75709" y="210109"/>
                  </a:cubicBezTo>
                  <a:cubicBezTo>
                    <a:pt x="74933" y="215272"/>
                    <a:pt x="75709" y="216578"/>
                    <a:pt x="76104" y="217860"/>
                  </a:cubicBezTo>
                  <a:cubicBezTo>
                    <a:pt x="76480" y="219205"/>
                    <a:pt x="75189" y="222773"/>
                    <a:pt x="71313" y="226543"/>
                  </a:cubicBezTo>
                  <a:cubicBezTo>
                    <a:pt x="68454" y="235567"/>
                    <a:pt x="65518" y="239178"/>
                    <a:pt x="65518" y="239178"/>
                  </a:cubicBezTo>
                  <a:lnTo>
                    <a:pt x="60341" y="242538"/>
                  </a:lnTo>
                  <a:lnTo>
                    <a:pt x="59931" y="249007"/>
                  </a:lnTo>
                  <a:lnTo>
                    <a:pt x="58634" y="255337"/>
                  </a:lnTo>
                  <a:lnTo>
                    <a:pt x="51553" y="259039"/>
                  </a:lnTo>
                  <a:cubicBezTo>
                    <a:pt x="51553" y="259039"/>
                    <a:pt x="45864" y="254170"/>
                    <a:pt x="40716" y="259318"/>
                  </a:cubicBezTo>
                  <a:cubicBezTo>
                    <a:pt x="35538" y="264491"/>
                    <a:pt x="30660" y="270059"/>
                    <a:pt x="30660" y="270059"/>
                  </a:cubicBezTo>
                  <a:lnTo>
                    <a:pt x="36184" y="276490"/>
                  </a:lnTo>
                  <a:lnTo>
                    <a:pt x="37341" y="290446"/>
                  </a:lnTo>
                  <a:cubicBezTo>
                    <a:pt x="37341" y="290446"/>
                    <a:pt x="35914" y="302835"/>
                    <a:pt x="39048" y="303645"/>
                  </a:cubicBezTo>
                  <a:cubicBezTo>
                    <a:pt x="42123" y="304373"/>
                    <a:pt x="49234" y="307497"/>
                    <a:pt x="49499" y="312269"/>
                  </a:cubicBezTo>
                  <a:cubicBezTo>
                    <a:pt x="49745" y="317037"/>
                    <a:pt x="49885" y="320537"/>
                    <a:pt x="46881" y="323911"/>
                  </a:cubicBezTo>
                  <a:cubicBezTo>
                    <a:pt x="43921" y="327237"/>
                    <a:pt x="43806" y="328428"/>
                    <a:pt x="42760" y="331248"/>
                  </a:cubicBezTo>
                  <a:cubicBezTo>
                    <a:pt x="41737" y="334083"/>
                    <a:pt x="41227" y="335770"/>
                    <a:pt x="39048" y="336315"/>
                  </a:cubicBezTo>
                  <a:cubicBezTo>
                    <a:pt x="38016" y="336517"/>
                    <a:pt x="36454" y="337038"/>
                    <a:pt x="34858" y="337308"/>
                  </a:cubicBezTo>
                  <a:cubicBezTo>
                    <a:pt x="38204" y="339824"/>
                    <a:pt x="43912" y="344018"/>
                    <a:pt x="49108" y="351409"/>
                  </a:cubicBezTo>
                  <a:cubicBezTo>
                    <a:pt x="55428" y="360462"/>
                    <a:pt x="68189" y="364723"/>
                    <a:pt x="68189" y="364723"/>
                  </a:cubicBezTo>
                  <a:lnTo>
                    <a:pt x="74663" y="364193"/>
                  </a:lnTo>
                  <a:lnTo>
                    <a:pt x="80602" y="367047"/>
                  </a:lnTo>
                  <a:lnTo>
                    <a:pt x="86662" y="368199"/>
                  </a:lnTo>
                  <a:lnTo>
                    <a:pt x="89535" y="370282"/>
                  </a:lnTo>
                  <a:cubicBezTo>
                    <a:pt x="89535" y="370282"/>
                    <a:pt x="90538" y="371588"/>
                    <a:pt x="92885" y="372600"/>
                  </a:cubicBezTo>
                  <a:cubicBezTo>
                    <a:pt x="99061" y="387588"/>
                    <a:pt x="106056" y="399466"/>
                    <a:pt x="113272" y="403077"/>
                  </a:cubicBezTo>
                  <a:cubicBezTo>
                    <a:pt x="115610" y="407242"/>
                    <a:pt x="112216" y="414434"/>
                    <a:pt x="112216" y="414434"/>
                  </a:cubicBezTo>
                  <a:lnTo>
                    <a:pt x="109931" y="420369"/>
                  </a:lnTo>
                  <a:lnTo>
                    <a:pt x="112641" y="426433"/>
                  </a:lnTo>
                  <a:cubicBezTo>
                    <a:pt x="112641" y="426433"/>
                    <a:pt x="112766" y="436128"/>
                    <a:pt x="114058" y="437425"/>
                  </a:cubicBezTo>
                  <a:cubicBezTo>
                    <a:pt x="115350" y="438712"/>
                    <a:pt x="116902" y="441792"/>
                    <a:pt x="116632" y="444516"/>
                  </a:cubicBezTo>
                  <a:cubicBezTo>
                    <a:pt x="116381" y="447254"/>
                    <a:pt x="116270" y="451511"/>
                    <a:pt x="116270" y="451511"/>
                  </a:cubicBezTo>
                  <a:lnTo>
                    <a:pt x="114337" y="456794"/>
                  </a:lnTo>
                  <a:cubicBezTo>
                    <a:pt x="123526" y="455656"/>
                    <a:pt x="133312" y="456794"/>
                    <a:pt x="133312" y="456794"/>
                  </a:cubicBezTo>
                  <a:cubicBezTo>
                    <a:pt x="133312" y="456794"/>
                    <a:pt x="136903" y="456143"/>
                    <a:pt x="139371" y="455237"/>
                  </a:cubicBezTo>
                  <a:cubicBezTo>
                    <a:pt x="141835" y="454331"/>
                    <a:pt x="146998" y="443118"/>
                    <a:pt x="146998" y="443118"/>
                  </a:cubicBezTo>
                  <a:lnTo>
                    <a:pt x="155887" y="445403"/>
                  </a:lnTo>
                  <a:lnTo>
                    <a:pt x="164536" y="437955"/>
                  </a:lnTo>
                  <a:lnTo>
                    <a:pt x="183534" y="439107"/>
                  </a:lnTo>
                  <a:lnTo>
                    <a:pt x="190886" y="433298"/>
                  </a:lnTo>
                  <a:lnTo>
                    <a:pt x="196179" y="432772"/>
                  </a:lnTo>
                  <a:lnTo>
                    <a:pt x="199674" y="427349"/>
                  </a:lnTo>
                  <a:lnTo>
                    <a:pt x="211807" y="421656"/>
                  </a:lnTo>
                  <a:lnTo>
                    <a:pt x="217120" y="422032"/>
                  </a:lnTo>
                  <a:lnTo>
                    <a:pt x="224091" y="413789"/>
                  </a:lnTo>
                  <a:lnTo>
                    <a:pt x="225397" y="407353"/>
                  </a:lnTo>
                  <a:lnTo>
                    <a:pt x="235829" y="406129"/>
                  </a:lnTo>
                  <a:lnTo>
                    <a:pt x="241522" y="400763"/>
                  </a:lnTo>
                  <a:lnTo>
                    <a:pt x="249293" y="406938"/>
                  </a:lnTo>
                  <a:lnTo>
                    <a:pt x="253935" y="403728"/>
                  </a:lnTo>
                  <a:lnTo>
                    <a:pt x="259981" y="402913"/>
                  </a:lnTo>
                  <a:lnTo>
                    <a:pt x="266219" y="396101"/>
                  </a:lnTo>
                  <a:lnTo>
                    <a:pt x="272900" y="400855"/>
                  </a:lnTo>
                  <a:lnTo>
                    <a:pt x="276545" y="407237"/>
                  </a:lnTo>
                  <a:lnTo>
                    <a:pt x="283245" y="412111"/>
                  </a:lnTo>
                  <a:lnTo>
                    <a:pt x="289189" y="412111"/>
                  </a:lnTo>
                  <a:lnTo>
                    <a:pt x="301087" y="419342"/>
                  </a:lnTo>
                  <a:cubicBezTo>
                    <a:pt x="301087" y="419342"/>
                    <a:pt x="302229" y="415615"/>
                    <a:pt x="301588" y="411870"/>
                  </a:cubicBezTo>
                  <a:cubicBezTo>
                    <a:pt x="334649" y="405502"/>
                    <a:pt x="347038" y="422702"/>
                    <a:pt x="347038" y="422702"/>
                  </a:cubicBezTo>
                  <a:lnTo>
                    <a:pt x="353623" y="421776"/>
                  </a:lnTo>
                  <a:lnTo>
                    <a:pt x="366306" y="413393"/>
                  </a:lnTo>
                  <a:lnTo>
                    <a:pt x="373132" y="412632"/>
                  </a:lnTo>
                  <a:lnTo>
                    <a:pt x="379718" y="406818"/>
                  </a:lnTo>
                  <a:lnTo>
                    <a:pt x="385917" y="405140"/>
                  </a:lnTo>
                  <a:lnTo>
                    <a:pt x="391740" y="406129"/>
                  </a:lnTo>
                  <a:lnTo>
                    <a:pt x="403344" y="397634"/>
                  </a:lnTo>
                  <a:lnTo>
                    <a:pt x="410845" y="400464"/>
                  </a:lnTo>
                  <a:lnTo>
                    <a:pt x="422863" y="391816"/>
                  </a:lnTo>
                  <a:lnTo>
                    <a:pt x="428035" y="390919"/>
                  </a:lnTo>
                  <a:lnTo>
                    <a:pt x="433039" y="385766"/>
                  </a:lnTo>
                  <a:lnTo>
                    <a:pt x="434616" y="378780"/>
                  </a:lnTo>
                  <a:lnTo>
                    <a:pt x="431391" y="371159"/>
                  </a:lnTo>
                  <a:lnTo>
                    <a:pt x="432152" y="365504"/>
                  </a:lnTo>
                  <a:lnTo>
                    <a:pt x="422757" y="353226"/>
                  </a:lnTo>
                  <a:lnTo>
                    <a:pt x="417015" y="348164"/>
                  </a:lnTo>
                  <a:lnTo>
                    <a:pt x="417444" y="341974"/>
                  </a:lnTo>
                  <a:lnTo>
                    <a:pt x="423113" y="336310"/>
                  </a:lnTo>
                  <a:lnTo>
                    <a:pt x="430219" y="335655"/>
                  </a:lnTo>
                  <a:lnTo>
                    <a:pt x="438723" y="339511"/>
                  </a:lnTo>
                  <a:lnTo>
                    <a:pt x="443433" y="336628"/>
                  </a:lnTo>
                  <a:cubicBezTo>
                    <a:pt x="441003" y="335206"/>
                    <a:pt x="440155" y="332670"/>
                    <a:pt x="440155" y="332670"/>
                  </a:cubicBezTo>
                  <a:lnTo>
                    <a:pt x="441707" y="325820"/>
                  </a:lnTo>
                  <a:lnTo>
                    <a:pt x="447376" y="320527"/>
                  </a:lnTo>
                  <a:lnTo>
                    <a:pt x="453224" y="319240"/>
                  </a:lnTo>
                  <a:cubicBezTo>
                    <a:pt x="453224" y="319240"/>
                    <a:pt x="456184" y="316931"/>
                    <a:pt x="458599" y="314072"/>
                  </a:cubicBezTo>
                  <a:cubicBezTo>
                    <a:pt x="461081" y="311242"/>
                    <a:pt x="458878" y="306566"/>
                    <a:pt x="457471" y="304363"/>
                  </a:cubicBezTo>
                  <a:cubicBezTo>
                    <a:pt x="456053" y="302199"/>
                    <a:pt x="463130" y="295855"/>
                    <a:pt x="465757" y="295855"/>
                  </a:cubicBezTo>
                  <a:cubicBezTo>
                    <a:pt x="468322" y="295855"/>
                    <a:pt x="480986" y="291217"/>
                    <a:pt x="480986" y="291217"/>
                  </a:cubicBezTo>
                  <a:cubicBezTo>
                    <a:pt x="480986" y="291217"/>
                    <a:pt x="487041" y="288103"/>
                    <a:pt x="490141" y="286782"/>
                  </a:cubicBezTo>
                  <a:cubicBezTo>
                    <a:pt x="493236" y="285567"/>
                    <a:pt x="494026" y="284232"/>
                    <a:pt x="494778" y="279720"/>
                  </a:cubicBezTo>
                  <a:cubicBezTo>
                    <a:pt x="497106" y="278399"/>
                    <a:pt x="502139" y="270421"/>
                    <a:pt x="502139" y="270421"/>
                  </a:cubicBezTo>
                  <a:lnTo>
                    <a:pt x="509120" y="272098"/>
                  </a:lnTo>
                  <a:lnTo>
                    <a:pt x="514828" y="270797"/>
                  </a:lnTo>
                  <a:lnTo>
                    <a:pt x="517609" y="264723"/>
                  </a:lnTo>
                  <a:lnTo>
                    <a:pt x="524107" y="264347"/>
                  </a:lnTo>
                  <a:lnTo>
                    <a:pt x="530201" y="266530"/>
                  </a:lnTo>
                  <a:lnTo>
                    <a:pt x="535489" y="273641"/>
                  </a:lnTo>
                  <a:cubicBezTo>
                    <a:pt x="535489" y="273641"/>
                    <a:pt x="537277" y="274552"/>
                    <a:pt x="541544" y="276736"/>
                  </a:cubicBezTo>
                  <a:cubicBezTo>
                    <a:pt x="547107" y="280000"/>
                    <a:pt x="555201" y="278944"/>
                    <a:pt x="558836" y="276244"/>
                  </a:cubicBezTo>
                  <a:cubicBezTo>
                    <a:pt x="562466" y="273521"/>
                    <a:pt x="568800" y="269900"/>
                    <a:pt x="568800" y="269900"/>
                  </a:cubicBezTo>
                  <a:lnTo>
                    <a:pt x="579912" y="271607"/>
                  </a:lnTo>
                  <a:lnTo>
                    <a:pt x="578225" y="264265"/>
                  </a:lnTo>
                  <a:lnTo>
                    <a:pt x="584168" y="262553"/>
                  </a:lnTo>
                  <a:lnTo>
                    <a:pt x="589818" y="263460"/>
                  </a:lnTo>
                  <a:lnTo>
                    <a:pt x="594750" y="262211"/>
                  </a:lnTo>
                  <a:lnTo>
                    <a:pt x="593164" y="257916"/>
                  </a:lnTo>
                  <a:lnTo>
                    <a:pt x="588830" y="252449"/>
                  </a:lnTo>
                  <a:lnTo>
                    <a:pt x="582607" y="249070"/>
                  </a:lnTo>
                  <a:lnTo>
                    <a:pt x="582419" y="248959"/>
                  </a:lnTo>
                  <a:lnTo>
                    <a:pt x="576431" y="244765"/>
                  </a:lnTo>
                  <a:lnTo>
                    <a:pt x="569933" y="240041"/>
                  </a:lnTo>
                  <a:lnTo>
                    <a:pt x="563979" y="235856"/>
                  </a:lnTo>
                  <a:lnTo>
                    <a:pt x="563488" y="235369"/>
                  </a:lnTo>
                  <a:lnTo>
                    <a:pt x="559303" y="228818"/>
                  </a:lnTo>
                  <a:lnTo>
                    <a:pt x="559033" y="227998"/>
                  </a:lnTo>
                  <a:lnTo>
                    <a:pt x="558556" y="223125"/>
                  </a:lnTo>
                  <a:lnTo>
                    <a:pt x="553634" y="221216"/>
                  </a:lnTo>
                  <a:lnTo>
                    <a:pt x="552492" y="219664"/>
                  </a:lnTo>
                  <a:lnTo>
                    <a:pt x="552077" y="215127"/>
                  </a:lnTo>
                  <a:lnTo>
                    <a:pt x="548124" y="215908"/>
                  </a:lnTo>
                  <a:lnTo>
                    <a:pt x="547006" y="215816"/>
                  </a:lnTo>
                  <a:lnTo>
                    <a:pt x="540821" y="212977"/>
                  </a:lnTo>
                  <a:lnTo>
                    <a:pt x="535981" y="212977"/>
                  </a:lnTo>
                  <a:lnTo>
                    <a:pt x="529921" y="218468"/>
                  </a:lnTo>
                  <a:lnTo>
                    <a:pt x="528408" y="218921"/>
                  </a:lnTo>
                  <a:lnTo>
                    <a:pt x="527101" y="217947"/>
                  </a:lnTo>
                  <a:lnTo>
                    <a:pt x="524122" y="211979"/>
                  </a:lnTo>
                  <a:lnTo>
                    <a:pt x="524026" y="210528"/>
                  </a:lnTo>
                  <a:lnTo>
                    <a:pt x="526412" y="204083"/>
                  </a:lnTo>
                  <a:lnTo>
                    <a:pt x="528166" y="198144"/>
                  </a:lnTo>
                  <a:lnTo>
                    <a:pt x="529241" y="196992"/>
                  </a:lnTo>
                  <a:lnTo>
                    <a:pt x="535171" y="194601"/>
                  </a:lnTo>
                  <a:lnTo>
                    <a:pt x="535696" y="194485"/>
                  </a:lnTo>
                  <a:lnTo>
                    <a:pt x="539297" y="194157"/>
                  </a:lnTo>
                  <a:lnTo>
                    <a:pt x="537885" y="191911"/>
                  </a:lnTo>
                  <a:lnTo>
                    <a:pt x="537605" y="190773"/>
                  </a:lnTo>
                  <a:lnTo>
                    <a:pt x="538218" y="184795"/>
                  </a:lnTo>
                  <a:lnTo>
                    <a:pt x="538598" y="183850"/>
                  </a:lnTo>
                  <a:lnTo>
                    <a:pt x="543197" y="178114"/>
                  </a:lnTo>
                  <a:lnTo>
                    <a:pt x="545477" y="172382"/>
                  </a:lnTo>
                  <a:lnTo>
                    <a:pt x="546789" y="171312"/>
                  </a:lnTo>
                  <a:lnTo>
                    <a:pt x="552771" y="170135"/>
                  </a:lnTo>
                  <a:lnTo>
                    <a:pt x="552911" y="170097"/>
                  </a:lnTo>
                  <a:lnTo>
                    <a:pt x="557226" y="169634"/>
                  </a:lnTo>
                  <a:lnTo>
                    <a:pt x="557226" y="165450"/>
                  </a:lnTo>
                  <a:lnTo>
                    <a:pt x="556720" y="159395"/>
                  </a:lnTo>
                  <a:lnTo>
                    <a:pt x="553321" y="153788"/>
                  </a:lnTo>
                  <a:lnTo>
                    <a:pt x="553090" y="152554"/>
                  </a:lnTo>
                  <a:lnTo>
                    <a:pt x="553629" y="149295"/>
                  </a:lnTo>
                  <a:lnTo>
                    <a:pt x="552511" y="143752"/>
                  </a:lnTo>
                  <a:lnTo>
                    <a:pt x="550795" y="137369"/>
                  </a:lnTo>
                  <a:lnTo>
                    <a:pt x="548452" y="131498"/>
                  </a:lnTo>
                  <a:lnTo>
                    <a:pt x="548307" y="130856"/>
                  </a:lnTo>
                  <a:lnTo>
                    <a:pt x="548307" y="118361"/>
                  </a:lnTo>
                  <a:lnTo>
                    <a:pt x="548307" y="118183"/>
                  </a:lnTo>
                  <a:lnTo>
                    <a:pt x="548871" y="112219"/>
                  </a:lnTo>
                  <a:lnTo>
                    <a:pt x="545560" y="106116"/>
                  </a:lnTo>
                  <a:lnTo>
                    <a:pt x="545883" y="103952"/>
                  </a:lnTo>
                  <a:lnTo>
                    <a:pt x="547661" y="102183"/>
                  </a:lnTo>
                  <a:lnTo>
                    <a:pt x="553306" y="96562"/>
                  </a:lnTo>
                  <a:lnTo>
                    <a:pt x="554892" y="91230"/>
                  </a:lnTo>
                  <a:lnTo>
                    <a:pt x="555437" y="84934"/>
                  </a:lnTo>
                  <a:lnTo>
                    <a:pt x="555437" y="79092"/>
                  </a:lnTo>
                  <a:lnTo>
                    <a:pt x="555837" y="77954"/>
                  </a:lnTo>
                  <a:lnTo>
                    <a:pt x="560605" y="71996"/>
                  </a:lnTo>
                  <a:lnTo>
                    <a:pt x="561535" y="71374"/>
                  </a:lnTo>
                  <a:lnTo>
                    <a:pt x="567253" y="69658"/>
                  </a:lnTo>
                  <a:lnTo>
                    <a:pt x="573014" y="66206"/>
                  </a:lnTo>
                  <a:lnTo>
                    <a:pt x="573476" y="66042"/>
                  </a:lnTo>
                  <a:lnTo>
                    <a:pt x="579979" y="64220"/>
                  </a:lnTo>
                  <a:lnTo>
                    <a:pt x="580958" y="64220"/>
                  </a:lnTo>
                  <a:lnTo>
                    <a:pt x="587181" y="65926"/>
                  </a:lnTo>
                  <a:lnTo>
                    <a:pt x="591848" y="65464"/>
                  </a:lnTo>
                  <a:cubicBezTo>
                    <a:pt x="607255" y="35739"/>
                    <a:pt x="591901" y="49999"/>
                    <a:pt x="588825" y="18177"/>
                  </a:cubicBezTo>
                  <a:cubicBezTo>
                    <a:pt x="578726" y="21841"/>
                    <a:pt x="555090" y="26999"/>
                    <a:pt x="537518" y="1965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29" name="Freihandform: Form 628">
              <a:extLst>
                <a:ext uri="{FF2B5EF4-FFF2-40B4-BE49-F238E27FC236}">
                  <a16:creationId xmlns:a16="http://schemas.microsoft.com/office/drawing/2014/main" id="{A8005B73-EBB2-98BB-5B4D-0EF8C359B752}"/>
                </a:ext>
              </a:extLst>
            </p:cNvPr>
            <p:cNvSpPr/>
            <p:nvPr/>
          </p:nvSpPr>
          <p:spPr>
            <a:xfrm>
              <a:off x="6592868" y="4375178"/>
              <a:ext cx="1136522" cy="835057"/>
            </a:xfrm>
            <a:custGeom>
              <a:avLst/>
              <a:gdLst>
                <a:gd name="connsiteX0" fmla="*/ 872862 w 891204"/>
                <a:gd name="connsiteY0" fmla="*/ 305489 h 655047"/>
                <a:gd name="connsiteX1" fmla="*/ 855040 w 891204"/>
                <a:gd name="connsiteY1" fmla="*/ 303406 h 655047"/>
                <a:gd name="connsiteX2" fmla="*/ 846256 w 891204"/>
                <a:gd name="connsiteY2" fmla="*/ 305358 h 655047"/>
                <a:gd name="connsiteX3" fmla="*/ 835549 w 891204"/>
                <a:gd name="connsiteY3" fmla="*/ 312175 h 655047"/>
                <a:gd name="connsiteX4" fmla="*/ 817467 w 891204"/>
                <a:gd name="connsiteY4" fmla="*/ 329761 h 655047"/>
                <a:gd name="connsiteX5" fmla="*/ 813056 w 891204"/>
                <a:gd name="connsiteY5" fmla="*/ 336216 h 655047"/>
                <a:gd name="connsiteX6" fmla="*/ 801795 w 891204"/>
                <a:gd name="connsiteY6" fmla="*/ 335820 h 655047"/>
                <a:gd name="connsiteX7" fmla="*/ 800522 w 891204"/>
                <a:gd name="connsiteY7" fmla="*/ 341514 h 655047"/>
                <a:gd name="connsiteX8" fmla="*/ 800937 w 891204"/>
                <a:gd name="connsiteY8" fmla="*/ 346551 h 655047"/>
                <a:gd name="connsiteX9" fmla="*/ 797176 w 891204"/>
                <a:gd name="connsiteY9" fmla="*/ 349376 h 655047"/>
                <a:gd name="connsiteX10" fmla="*/ 790731 w 891204"/>
                <a:gd name="connsiteY10" fmla="*/ 348248 h 655047"/>
                <a:gd name="connsiteX11" fmla="*/ 784527 w 891204"/>
                <a:gd name="connsiteY11" fmla="*/ 349376 h 655047"/>
                <a:gd name="connsiteX12" fmla="*/ 778077 w 891204"/>
                <a:gd name="connsiteY12" fmla="*/ 346937 h 655047"/>
                <a:gd name="connsiteX13" fmla="*/ 750315 w 891204"/>
                <a:gd name="connsiteY13" fmla="*/ 331969 h 655047"/>
                <a:gd name="connsiteX14" fmla="*/ 744742 w 891204"/>
                <a:gd name="connsiteY14" fmla="*/ 331164 h 655047"/>
                <a:gd name="connsiteX15" fmla="*/ 746564 w 891204"/>
                <a:gd name="connsiteY15" fmla="*/ 336862 h 655047"/>
                <a:gd name="connsiteX16" fmla="*/ 744742 w 891204"/>
                <a:gd name="connsiteY16" fmla="*/ 331164 h 655047"/>
                <a:gd name="connsiteX17" fmla="*/ 737111 w 891204"/>
                <a:gd name="connsiteY17" fmla="*/ 321498 h 655047"/>
                <a:gd name="connsiteX18" fmla="*/ 730805 w 891204"/>
                <a:gd name="connsiteY18" fmla="*/ 317998 h 655047"/>
                <a:gd name="connsiteX19" fmla="*/ 731432 w 891204"/>
                <a:gd name="connsiteY19" fmla="*/ 308347 h 655047"/>
                <a:gd name="connsiteX20" fmla="*/ 725893 w 891204"/>
                <a:gd name="connsiteY20" fmla="*/ 289831 h 655047"/>
                <a:gd name="connsiteX21" fmla="*/ 720995 w 891204"/>
                <a:gd name="connsiteY21" fmla="*/ 276786 h 655047"/>
                <a:gd name="connsiteX22" fmla="*/ 715422 w 891204"/>
                <a:gd name="connsiteY22" fmla="*/ 263269 h 655047"/>
                <a:gd name="connsiteX23" fmla="*/ 713108 w 891204"/>
                <a:gd name="connsiteY23" fmla="*/ 245683 h 655047"/>
                <a:gd name="connsiteX24" fmla="*/ 710654 w 891204"/>
                <a:gd name="connsiteY24" fmla="*/ 234055 h 655047"/>
                <a:gd name="connsiteX25" fmla="*/ 714010 w 891204"/>
                <a:gd name="connsiteY25" fmla="*/ 219723 h 655047"/>
                <a:gd name="connsiteX26" fmla="*/ 706393 w 891204"/>
                <a:gd name="connsiteY26" fmla="*/ 177007 h 655047"/>
                <a:gd name="connsiteX27" fmla="*/ 696959 w 891204"/>
                <a:gd name="connsiteY27" fmla="*/ 164459 h 655047"/>
                <a:gd name="connsiteX28" fmla="*/ 694756 w 891204"/>
                <a:gd name="connsiteY28" fmla="*/ 159537 h 655047"/>
                <a:gd name="connsiteX29" fmla="*/ 688966 w 891204"/>
                <a:gd name="connsiteY29" fmla="*/ 153737 h 655047"/>
                <a:gd name="connsiteX30" fmla="*/ 688436 w 891204"/>
                <a:gd name="connsiteY30" fmla="*/ 150768 h 655047"/>
                <a:gd name="connsiteX31" fmla="*/ 682646 w 891204"/>
                <a:gd name="connsiteY31" fmla="*/ 139251 h 655047"/>
                <a:gd name="connsiteX32" fmla="*/ 676823 w 891204"/>
                <a:gd name="connsiteY32" fmla="*/ 133601 h 655047"/>
                <a:gd name="connsiteX33" fmla="*/ 663537 w 891204"/>
                <a:gd name="connsiteY33" fmla="*/ 128925 h 655047"/>
                <a:gd name="connsiteX34" fmla="*/ 651644 w 891204"/>
                <a:gd name="connsiteY34" fmla="*/ 122967 h 655047"/>
                <a:gd name="connsiteX35" fmla="*/ 647961 w 891204"/>
                <a:gd name="connsiteY35" fmla="*/ 113986 h 655047"/>
                <a:gd name="connsiteX36" fmla="*/ 632660 w 891204"/>
                <a:gd name="connsiteY36" fmla="*/ 104537 h 655047"/>
                <a:gd name="connsiteX37" fmla="*/ 620753 w 891204"/>
                <a:gd name="connsiteY37" fmla="*/ 85404 h 655047"/>
                <a:gd name="connsiteX38" fmla="*/ 606677 w 891204"/>
                <a:gd name="connsiteY38" fmla="*/ 78173 h 655047"/>
                <a:gd name="connsiteX39" fmla="*/ 589375 w 891204"/>
                <a:gd name="connsiteY39" fmla="*/ 65138 h 655047"/>
                <a:gd name="connsiteX40" fmla="*/ 585755 w 891204"/>
                <a:gd name="connsiteY40" fmla="*/ 59314 h 655047"/>
                <a:gd name="connsiteX41" fmla="*/ 585374 w 891204"/>
                <a:gd name="connsiteY41" fmla="*/ 54045 h 655047"/>
                <a:gd name="connsiteX42" fmla="*/ 578794 w 891204"/>
                <a:gd name="connsiteY42" fmla="*/ 48361 h 655047"/>
                <a:gd name="connsiteX43" fmla="*/ 576735 w 891204"/>
                <a:gd name="connsiteY43" fmla="*/ 41511 h 655047"/>
                <a:gd name="connsiteX44" fmla="*/ 569890 w 891204"/>
                <a:gd name="connsiteY44" fmla="*/ 36199 h 655047"/>
                <a:gd name="connsiteX45" fmla="*/ 557332 w 891204"/>
                <a:gd name="connsiteY45" fmla="*/ 20213 h 655047"/>
                <a:gd name="connsiteX46" fmla="*/ 551537 w 891204"/>
                <a:gd name="connsiteY46" fmla="*/ 11903 h 655047"/>
                <a:gd name="connsiteX47" fmla="*/ 514866 w 891204"/>
                <a:gd name="connsiteY47" fmla="*/ 2102 h 655047"/>
                <a:gd name="connsiteX48" fmla="*/ 513357 w 891204"/>
                <a:gd name="connsiteY48" fmla="*/ 3432 h 655047"/>
                <a:gd name="connsiteX49" fmla="*/ 518260 w 891204"/>
                <a:gd name="connsiteY49" fmla="*/ 12954 h 655047"/>
                <a:gd name="connsiteX50" fmla="*/ 513357 w 891204"/>
                <a:gd name="connsiteY50" fmla="*/ 3432 h 655047"/>
                <a:gd name="connsiteX51" fmla="*/ 506984 w 891204"/>
                <a:gd name="connsiteY51" fmla="*/ 10914 h 655047"/>
                <a:gd name="connsiteX52" fmla="*/ 500795 w 891204"/>
                <a:gd name="connsiteY52" fmla="*/ 10495 h 655047"/>
                <a:gd name="connsiteX53" fmla="*/ 494615 w 891204"/>
                <a:gd name="connsiteY53" fmla="*/ 16699 h 655047"/>
                <a:gd name="connsiteX54" fmla="*/ 489047 w 891204"/>
                <a:gd name="connsiteY54" fmla="*/ 18131 h 655047"/>
                <a:gd name="connsiteX55" fmla="*/ 489548 w 891204"/>
                <a:gd name="connsiteY55" fmla="*/ 21602 h 655047"/>
                <a:gd name="connsiteX56" fmla="*/ 487615 w 891204"/>
                <a:gd name="connsiteY56" fmla="*/ 34681 h 655047"/>
                <a:gd name="connsiteX57" fmla="*/ 483869 w 891204"/>
                <a:gd name="connsiteY57" fmla="*/ 39819 h 655047"/>
                <a:gd name="connsiteX58" fmla="*/ 481960 w 891204"/>
                <a:gd name="connsiteY58" fmla="*/ 46554 h 655047"/>
                <a:gd name="connsiteX59" fmla="*/ 471326 w 891204"/>
                <a:gd name="connsiteY59" fmla="*/ 49509 h 655047"/>
                <a:gd name="connsiteX60" fmla="*/ 464519 w 891204"/>
                <a:gd name="connsiteY60" fmla="*/ 53139 h 655047"/>
                <a:gd name="connsiteX61" fmla="*/ 450312 w 891204"/>
                <a:gd name="connsiteY61" fmla="*/ 60486 h 655047"/>
                <a:gd name="connsiteX62" fmla="*/ 436747 w 891204"/>
                <a:gd name="connsiteY62" fmla="*/ 64603 h 655047"/>
                <a:gd name="connsiteX63" fmla="*/ 431955 w 891204"/>
                <a:gd name="connsiteY63" fmla="*/ 64603 h 655047"/>
                <a:gd name="connsiteX64" fmla="*/ 419190 w 891204"/>
                <a:gd name="connsiteY64" fmla="*/ 69780 h 655047"/>
                <a:gd name="connsiteX65" fmla="*/ 399439 w 891204"/>
                <a:gd name="connsiteY65" fmla="*/ 89665 h 655047"/>
                <a:gd name="connsiteX66" fmla="*/ 393114 w 891204"/>
                <a:gd name="connsiteY66" fmla="*/ 100777 h 655047"/>
                <a:gd name="connsiteX67" fmla="*/ 381853 w 891204"/>
                <a:gd name="connsiteY67" fmla="*/ 106832 h 655047"/>
                <a:gd name="connsiteX68" fmla="*/ 377862 w 891204"/>
                <a:gd name="connsiteY68" fmla="*/ 106080 h 655047"/>
                <a:gd name="connsiteX69" fmla="*/ 372829 w 891204"/>
                <a:gd name="connsiteY69" fmla="*/ 99861 h 655047"/>
                <a:gd name="connsiteX70" fmla="*/ 366615 w 891204"/>
                <a:gd name="connsiteY70" fmla="*/ 96014 h 655047"/>
                <a:gd name="connsiteX71" fmla="*/ 361182 w 891204"/>
                <a:gd name="connsiteY71" fmla="*/ 94554 h 655047"/>
                <a:gd name="connsiteX72" fmla="*/ 353826 w 891204"/>
                <a:gd name="connsiteY72" fmla="*/ 91753 h 655047"/>
                <a:gd name="connsiteX73" fmla="*/ 350475 w 891204"/>
                <a:gd name="connsiteY73" fmla="*/ 85679 h 655047"/>
                <a:gd name="connsiteX74" fmla="*/ 342733 w 891204"/>
                <a:gd name="connsiteY74" fmla="*/ 82695 h 655047"/>
                <a:gd name="connsiteX75" fmla="*/ 327779 w 891204"/>
                <a:gd name="connsiteY75" fmla="*/ 85529 h 655047"/>
                <a:gd name="connsiteX76" fmla="*/ 316002 w 891204"/>
                <a:gd name="connsiteY76" fmla="*/ 94457 h 655047"/>
                <a:gd name="connsiteX77" fmla="*/ 308646 w 891204"/>
                <a:gd name="connsiteY77" fmla="*/ 92756 h 655047"/>
                <a:gd name="connsiteX78" fmla="*/ 302837 w 891204"/>
                <a:gd name="connsiteY78" fmla="*/ 93922 h 655047"/>
                <a:gd name="connsiteX79" fmla="*/ 297149 w 891204"/>
                <a:gd name="connsiteY79" fmla="*/ 91309 h 655047"/>
                <a:gd name="connsiteX80" fmla="*/ 289893 w 891204"/>
                <a:gd name="connsiteY80" fmla="*/ 91753 h 655047"/>
                <a:gd name="connsiteX81" fmla="*/ 284624 w 891204"/>
                <a:gd name="connsiteY81" fmla="*/ 96882 h 655047"/>
                <a:gd name="connsiteX82" fmla="*/ 272616 w 891204"/>
                <a:gd name="connsiteY82" fmla="*/ 92635 h 655047"/>
                <a:gd name="connsiteX83" fmla="*/ 252721 w 891204"/>
                <a:gd name="connsiteY83" fmla="*/ 92240 h 655047"/>
                <a:gd name="connsiteX84" fmla="*/ 246632 w 891204"/>
                <a:gd name="connsiteY84" fmla="*/ 96882 h 655047"/>
                <a:gd name="connsiteX85" fmla="*/ 232180 w 891204"/>
                <a:gd name="connsiteY85" fmla="*/ 93271 h 655047"/>
                <a:gd name="connsiteX86" fmla="*/ 223401 w 891204"/>
                <a:gd name="connsiteY86" fmla="*/ 87491 h 655047"/>
                <a:gd name="connsiteX87" fmla="*/ 213871 w 891204"/>
                <a:gd name="connsiteY87" fmla="*/ 88113 h 655047"/>
                <a:gd name="connsiteX88" fmla="*/ 212024 w 891204"/>
                <a:gd name="connsiteY88" fmla="*/ 100652 h 655047"/>
                <a:gd name="connsiteX89" fmla="*/ 205362 w 891204"/>
                <a:gd name="connsiteY89" fmla="*/ 104383 h 655047"/>
                <a:gd name="connsiteX90" fmla="*/ 198994 w 891204"/>
                <a:gd name="connsiteY90" fmla="*/ 104383 h 655047"/>
                <a:gd name="connsiteX91" fmla="*/ 196203 w 891204"/>
                <a:gd name="connsiteY91" fmla="*/ 111060 h 655047"/>
                <a:gd name="connsiteX92" fmla="*/ 200281 w 891204"/>
                <a:gd name="connsiteY92" fmla="*/ 114039 h 655047"/>
                <a:gd name="connsiteX93" fmla="*/ 196203 w 891204"/>
                <a:gd name="connsiteY93" fmla="*/ 111060 h 655047"/>
                <a:gd name="connsiteX94" fmla="*/ 194202 w 891204"/>
                <a:gd name="connsiteY94" fmla="*/ 115774 h 655047"/>
                <a:gd name="connsiteX95" fmla="*/ 188644 w 891204"/>
                <a:gd name="connsiteY95" fmla="*/ 120933 h 655047"/>
                <a:gd name="connsiteX96" fmla="*/ 188929 w 891204"/>
                <a:gd name="connsiteY96" fmla="*/ 127108 h 655047"/>
                <a:gd name="connsiteX97" fmla="*/ 182994 w 891204"/>
                <a:gd name="connsiteY97" fmla="*/ 130612 h 655047"/>
                <a:gd name="connsiteX98" fmla="*/ 178593 w 891204"/>
                <a:gd name="connsiteY98" fmla="*/ 138364 h 655047"/>
                <a:gd name="connsiteX99" fmla="*/ 172509 w 891204"/>
                <a:gd name="connsiteY99" fmla="*/ 140794 h 655047"/>
                <a:gd name="connsiteX100" fmla="*/ 165678 w 891204"/>
                <a:gd name="connsiteY100" fmla="*/ 138466 h 655047"/>
                <a:gd name="connsiteX101" fmla="*/ 159479 w 891204"/>
                <a:gd name="connsiteY101" fmla="*/ 144270 h 655047"/>
                <a:gd name="connsiteX102" fmla="*/ 147331 w 891204"/>
                <a:gd name="connsiteY102" fmla="*/ 149741 h 655047"/>
                <a:gd name="connsiteX103" fmla="*/ 144265 w 891204"/>
                <a:gd name="connsiteY103" fmla="*/ 155275 h 655047"/>
                <a:gd name="connsiteX104" fmla="*/ 141907 w 891204"/>
                <a:gd name="connsiteY104" fmla="*/ 168450 h 655047"/>
                <a:gd name="connsiteX105" fmla="*/ 136368 w 891204"/>
                <a:gd name="connsiteY105" fmla="*/ 172967 h 655047"/>
                <a:gd name="connsiteX106" fmla="*/ 128486 w 891204"/>
                <a:gd name="connsiteY106" fmla="*/ 184190 h 655047"/>
                <a:gd name="connsiteX107" fmla="*/ 131331 w 891204"/>
                <a:gd name="connsiteY107" fmla="*/ 195832 h 655047"/>
                <a:gd name="connsiteX108" fmla="*/ 129904 w 891204"/>
                <a:gd name="connsiteY108" fmla="*/ 201756 h 655047"/>
                <a:gd name="connsiteX109" fmla="*/ 124206 w 891204"/>
                <a:gd name="connsiteY109" fmla="*/ 205228 h 655047"/>
                <a:gd name="connsiteX110" fmla="*/ 120214 w 891204"/>
                <a:gd name="connsiteY110" fmla="*/ 223320 h 655047"/>
                <a:gd name="connsiteX111" fmla="*/ 120339 w 891204"/>
                <a:gd name="connsiteY111" fmla="*/ 229529 h 655047"/>
                <a:gd name="connsiteX112" fmla="*/ 117375 w 891204"/>
                <a:gd name="connsiteY112" fmla="*/ 235984 h 655047"/>
                <a:gd name="connsiteX113" fmla="*/ 109257 w 891204"/>
                <a:gd name="connsiteY113" fmla="*/ 246319 h 655047"/>
                <a:gd name="connsiteX114" fmla="*/ 108331 w 891204"/>
                <a:gd name="connsiteY114" fmla="*/ 252769 h 655047"/>
                <a:gd name="connsiteX115" fmla="*/ 107439 w 891204"/>
                <a:gd name="connsiteY115" fmla="*/ 265428 h 655047"/>
                <a:gd name="connsiteX116" fmla="*/ 106379 w 891204"/>
                <a:gd name="connsiteY116" fmla="*/ 272404 h 655047"/>
                <a:gd name="connsiteX117" fmla="*/ 101090 w 891204"/>
                <a:gd name="connsiteY117" fmla="*/ 277446 h 655047"/>
                <a:gd name="connsiteX118" fmla="*/ 98275 w 891204"/>
                <a:gd name="connsiteY118" fmla="*/ 289585 h 655047"/>
                <a:gd name="connsiteX119" fmla="*/ 102619 w 891204"/>
                <a:gd name="connsiteY119" fmla="*/ 294251 h 655047"/>
                <a:gd name="connsiteX120" fmla="*/ 99904 w 891204"/>
                <a:gd name="connsiteY120" fmla="*/ 300176 h 655047"/>
                <a:gd name="connsiteX121" fmla="*/ 95942 w 891204"/>
                <a:gd name="connsiteY121" fmla="*/ 303551 h 655047"/>
                <a:gd name="connsiteX122" fmla="*/ 93218 w 891204"/>
                <a:gd name="connsiteY122" fmla="*/ 310160 h 655047"/>
                <a:gd name="connsiteX123" fmla="*/ 85982 w 891204"/>
                <a:gd name="connsiteY123" fmla="*/ 310521 h 655047"/>
                <a:gd name="connsiteX124" fmla="*/ 85462 w 891204"/>
                <a:gd name="connsiteY124" fmla="*/ 315405 h 655047"/>
                <a:gd name="connsiteX125" fmla="*/ 86252 w 891204"/>
                <a:gd name="connsiteY125" fmla="*/ 321489 h 655047"/>
                <a:gd name="connsiteX126" fmla="*/ 83403 w 891204"/>
                <a:gd name="connsiteY126" fmla="*/ 327437 h 655047"/>
                <a:gd name="connsiteX127" fmla="*/ 87028 w 891204"/>
                <a:gd name="connsiteY127" fmla="*/ 333637 h 655047"/>
                <a:gd name="connsiteX128" fmla="*/ 83798 w 891204"/>
                <a:gd name="connsiteY128" fmla="*/ 339166 h 655047"/>
                <a:gd name="connsiteX129" fmla="*/ 80434 w 891204"/>
                <a:gd name="connsiteY129" fmla="*/ 342536 h 655047"/>
                <a:gd name="connsiteX130" fmla="*/ 78901 w 891204"/>
                <a:gd name="connsiteY130" fmla="*/ 352240 h 655047"/>
                <a:gd name="connsiteX131" fmla="*/ 70122 w 891204"/>
                <a:gd name="connsiteY131" fmla="*/ 365111 h 655047"/>
                <a:gd name="connsiteX132" fmla="*/ 59155 w 891204"/>
                <a:gd name="connsiteY132" fmla="*/ 361780 h 655047"/>
                <a:gd name="connsiteX133" fmla="*/ 44794 w 891204"/>
                <a:gd name="connsiteY133" fmla="*/ 367309 h 655047"/>
                <a:gd name="connsiteX134" fmla="*/ 33191 w 891204"/>
                <a:gd name="connsiteY134" fmla="*/ 384755 h 655047"/>
                <a:gd name="connsiteX135" fmla="*/ 20136 w 891204"/>
                <a:gd name="connsiteY135" fmla="*/ 380128 h 655047"/>
                <a:gd name="connsiteX136" fmla="*/ 14698 w 891204"/>
                <a:gd name="connsiteY136" fmla="*/ 385811 h 655047"/>
                <a:gd name="connsiteX137" fmla="*/ 0 w 891204"/>
                <a:gd name="connsiteY137" fmla="*/ 392488 h 655047"/>
                <a:gd name="connsiteX138" fmla="*/ 13937 w 891204"/>
                <a:gd name="connsiteY138" fmla="*/ 409447 h 655047"/>
                <a:gd name="connsiteX139" fmla="*/ 18054 w 891204"/>
                <a:gd name="connsiteY139" fmla="*/ 410223 h 655047"/>
                <a:gd name="connsiteX140" fmla="*/ 22985 w 891204"/>
                <a:gd name="connsiteY140" fmla="*/ 413434 h 655047"/>
                <a:gd name="connsiteX141" fmla="*/ 38976 w 891204"/>
                <a:gd name="connsiteY141" fmla="*/ 422627 h 655047"/>
                <a:gd name="connsiteX142" fmla="*/ 49432 w 891204"/>
                <a:gd name="connsiteY142" fmla="*/ 435407 h 655047"/>
                <a:gd name="connsiteX143" fmla="*/ 56788 w 891204"/>
                <a:gd name="connsiteY143" fmla="*/ 430735 h 655047"/>
                <a:gd name="connsiteX144" fmla="*/ 57718 w 891204"/>
                <a:gd name="connsiteY144" fmla="*/ 442498 h 655047"/>
                <a:gd name="connsiteX145" fmla="*/ 56788 w 891204"/>
                <a:gd name="connsiteY145" fmla="*/ 449184 h 655047"/>
                <a:gd name="connsiteX146" fmla="*/ 63778 w 891204"/>
                <a:gd name="connsiteY146" fmla="*/ 461347 h 655047"/>
                <a:gd name="connsiteX147" fmla="*/ 60664 w 891204"/>
                <a:gd name="connsiteY147" fmla="*/ 468086 h 655047"/>
                <a:gd name="connsiteX148" fmla="*/ 67664 w 891204"/>
                <a:gd name="connsiteY148" fmla="*/ 470395 h 655047"/>
                <a:gd name="connsiteX149" fmla="*/ 69727 w 891204"/>
                <a:gd name="connsiteY149" fmla="*/ 474623 h 655047"/>
                <a:gd name="connsiteX150" fmla="*/ 76659 w 891204"/>
                <a:gd name="connsiteY150" fmla="*/ 477607 h 655047"/>
                <a:gd name="connsiteX151" fmla="*/ 82497 w 891204"/>
                <a:gd name="connsiteY151" fmla="*/ 484351 h 655047"/>
                <a:gd name="connsiteX152" fmla="*/ 94496 w 891204"/>
                <a:gd name="connsiteY152" fmla="*/ 488844 h 655047"/>
                <a:gd name="connsiteX153" fmla="*/ 101596 w 891204"/>
                <a:gd name="connsiteY153" fmla="*/ 487167 h 655047"/>
                <a:gd name="connsiteX154" fmla="*/ 120450 w 891204"/>
                <a:gd name="connsiteY154" fmla="*/ 494923 h 655047"/>
                <a:gd name="connsiteX155" fmla="*/ 132984 w 891204"/>
                <a:gd name="connsiteY155" fmla="*/ 499594 h 655047"/>
                <a:gd name="connsiteX156" fmla="*/ 135057 w 891204"/>
                <a:gd name="connsiteY156" fmla="*/ 505905 h 655047"/>
                <a:gd name="connsiteX157" fmla="*/ 132334 w 891204"/>
                <a:gd name="connsiteY157" fmla="*/ 511453 h 655047"/>
                <a:gd name="connsiteX158" fmla="*/ 132334 w 891204"/>
                <a:gd name="connsiteY158" fmla="*/ 518299 h 655047"/>
                <a:gd name="connsiteX159" fmla="*/ 126288 w 891204"/>
                <a:gd name="connsiteY159" fmla="*/ 523592 h 655047"/>
                <a:gd name="connsiteX160" fmla="*/ 133109 w 891204"/>
                <a:gd name="connsiteY160" fmla="*/ 528663 h 655047"/>
                <a:gd name="connsiteX161" fmla="*/ 137901 w 891204"/>
                <a:gd name="connsiteY161" fmla="*/ 528499 h 655047"/>
                <a:gd name="connsiteX162" fmla="*/ 144863 w 891204"/>
                <a:gd name="connsiteY162" fmla="*/ 531999 h 655047"/>
                <a:gd name="connsiteX163" fmla="*/ 139820 w 891204"/>
                <a:gd name="connsiteY163" fmla="*/ 538425 h 655047"/>
                <a:gd name="connsiteX164" fmla="*/ 129374 w 891204"/>
                <a:gd name="connsiteY164" fmla="*/ 541043 h 655047"/>
                <a:gd name="connsiteX165" fmla="*/ 129374 w 891204"/>
                <a:gd name="connsiteY165" fmla="*/ 546987 h 655047"/>
                <a:gd name="connsiteX166" fmla="*/ 133780 w 891204"/>
                <a:gd name="connsiteY166" fmla="*/ 552772 h 655047"/>
                <a:gd name="connsiteX167" fmla="*/ 151342 w 891204"/>
                <a:gd name="connsiteY167" fmla="*/ 552887 h 655047"/>
                <a:gd name="connsiteX168" fmla="*/ 155444 w 891204"/>
                <a:gd name="connsiteY168" fmla="*/ 556787 h 655047"/>
                <a:gd name="connsiteX169" fmla="*/ 156239 w 891204"/>
                <a:gd name="connsiteY169" fmla="*/ 563908 h 655047"/>
                <a:gd name="connsiteX170" fmla="*/ 178188 w 891204"/>
                <a:gd name="connsiteY170" fmla="*/ 562211 h 655047"/>
                <a:gd name="connsiteX171" fmla="*/ 195239 w 891204"/>
                <a:gd name="connsiteY171" fmla="*/ 564905 h 655047"/>
                <a:gd name="connsiteX172" fmla="*/ 210453 w 891204"/>
                <a:gd name="connsiteY172" fmla="*/ 579898 h 655047"/>
                <a:gd name="connsiteX173" fmla="*/ 214353 w 891204"/>
                <a:gd name="connsiteY173" fmla="*/ 575376 h 655047"/>
                <a:gd name="connsiteX174" fmla="*/ 215920 w 891204"/>
                <a:gd name="connsiteY174" fmla="*/ 568945 h 655047"/>
                <a:gd name="connsiteX175" fmla="*/ 219014 w 891204"/>
                <a:gd name="connsiteY175" fmla="*/ 563103 h 655047"/>
                <a:gd name="connsiteX176" fmla="*/ 221463 w 891204"/>
                <a:gd name="connsiteY176" fmla="*/ 555611 h 655047"/>
                <a:gd name="connsiteX177" fmla="*/ 231804 w 891204"/>
                <a:gd name="connsiteY177" fmla="*/ 545545 h 655047"/>
                <a:gd name="connsiteX178" fmla="*/ 239049 w 891204"/>
                <a:gd name="connsiteY178" fmla="*/ 545680 h 655047"/>
                <a:gd name="connsiteX179" fmla="*/ 253487 w 891204"/>
                <a:gd name="connsiteY179" fmla="*/ 553577 h 655047"/>
                <a:gd name="connsiteX180" fmla="*/ 259952 w 891204"/>
                <a:gd name="connsiteY180" fmla="*/ 554975 h 655047"/>
                <a:gd name="connsiteX181" fmla="*/ 267193 w 891204"/>
                <a:gd name="connsiteY181" fmla="*/ 559993 h 655047"/>
                <a:gd name="connsiteX182" fmla="*/ 260468 w 891204"/>
                <a:gd name="connsiteY182" fmla="*/ 565927 h 655047"/>
                <a:gd name="connsiteX183" fmla="*/ 254779 w 891204"/>
                <a:gd name="connsiteY183" fmla="*/ 562972 h 655047"/>
                <a:gd name="connsiteX184" fmla="*/ 248994 w 891204"/>
                <a:gd name="connsiteY184" fmla="*/ 565185 h 655047"/>
                <a:gd name="connsiteX185" fmla="*/ 247548 w 891204"/>
                <a:gd name="connsiteY185" fmla="*/ 571370 h 655047"/>
                <a:gd name="connsiteX186" fmla="*/ 242125 w 891204"/>
                <a:gd name="connsiteY186" fmla="*/ 573959 h 655047"/>
                <a:gd name="connsiteX187" fmla="*/ 242506 w 891204"/>
                <a:gd name="connsiteY187" fmla="*/ 578707 h 655047"/>
                <a:gd name="connsiteX188" fmla="*/ 245360 w 891204"/>
                <a:gd name="connsiteY188" fmla="*/ 581821 h 655047"/>
                <a:gd name="connsiteX189" fmla="*/ 246141 w 891204"/>
                <a:gd name="connsiteY189" fmla="*/ 586227 h 655047"/>
                <a:gd name="connsiteX190" fmla="*/ 250258 w 891204"/>
                <a:gd name="connsiteY190" fmla="*/ 592547 h 655047"/>
                <a:gd name="connsiteX191" fmla="*/ 256327 w 891204"/>
                <a:gd name="connsiteY191" fmla="*/ 596018 h 655047"/>
                <a:gd name="connsiteX192" fmla="*/ 264074 w 891204"/>
                <a:gd name="connsiteY192" fmla="*/ 597209 h 655047"/>
                <a:gd name="connsiteX193" fmla="*/ 266349 w 891204"/>
                <a:gd name="connsiteY193" fmla="*/ 605664 h 655047"/>
                <a:gd name="connsiteX194" fmla="*/ 273137 w 891204"/>
                <a:gd name="connsiteY194" fmla="*/ 607154 h 655047"/>
                <a:gd name="connsiteX195" fmla="*/ 279196 w 891204"/>
                <a:gd name="connsiteY195" fmla="*/ 611271 h 655047"/>
                <a:gd name="connsiteX196" fmla="*/ 286297 w 891204"/>
                <a:gd name="connsiteY196" fmla="*/ 612278 h 655047"/>
                <a:gd name="connsiteX197" fmla="*/ 291581 w 891204"/>
                <a:gd name="connsiteY197" fmla="*/ 616328 h 655047"/>
                <a:gd name="connsiteX198" fmla="*/ 298566 w 891204"/>
                <a:gd name="connsiteY198" fmla="*/ 616188 h 655047"/>
                <a:gd name="connsiteX199" fmla="*/ 304004 w 891204"/>
                <a:gd name="connsiteY199" fmla="*/ 621616 h 655047"/>
                <a:gd name="connsiteX200" fmla="*/ 295611 w 891204"/>
                <a:gd name="connsiteY200" fmla="*/ 629749 h 655047"/>
                <a:gd name="connsiteX201" fmla="*/ 290554 w 891204"/>
                <a:gd name="connsiteY201" fmla="*/ 646785 h 655047"/>
                <a:gd name="connsiteX202" fmla="*/ 311615 w 891204"/>
                <a:gd name="connsiteY202" fmla="*/ 653520 h 655047"/>
                <a:gd name="connsiteX203" fmla="*/ 313563 w 891204"/>
                <a:gd name="connsiteY203" fmla="*/ 655048 h 655047"/>
                <a:gd name="connsiteX204" fmla="*/ 316258 w 891204"/>
                <a:gd name="connsiteY204" fmla="*/ 652459 h 655047"/>
                <a:gd name="connsiteX205" fmla="*/ 323065 w 891204"/>
                <a:gd name="connsiteY205" fmla="*/ 650155 h 655047"/>
                <a:gd name="connsiteX206" fmla="*/ 331375 w 891204"/>
                <a:gd name="connsiteY206" fmla="*/ 644611 h 655047"/>
                <a:gd name="connsiteX207" fmla="*/ 342733 w 891204"/>
                <a:gd name="connsiteY207" fmla="*/ 642148 h 655047"/>
                <a:gd name="connsiteX208" fmla="*/ 346725 w 891204"/>
                <a:gd name="connsiteY208" fmla="*/ 640340 h 655047"/>
                <a:gd name="connsiteX209" fmla="*/ 352572 w 891204"/>
                <a:gd name="connsiteY209" fmla="*/ 641781 h 655047"/>
                <a:gd name="connsiteX210" fmla="*/ 356569 w 891204"/>
                <a:gd name="connsiteY210" fmla="*/ 641217 h 655047"/>
                <a:gd name="connsiteX211" fmla="*/ 378783 w 891204"/>
                <a:gd name="connsiteY211" fmla="*/ 641371 h 655047"/>
                <a:gd name="connsiteX212" fmla="*/ 399160 w 891204"/>
                <a:gd name="connsiteY212" fmla="*/ 644486 h 655047"/>
                <a:gd name="connsiteX213" fmla="*/ 422420 w 891204"/>
                <a:gd name="connsiteY213" fmla="*/ 648072 h 655047"/>
                <a:gd name="connsiteX214" fmla="*/ 447092 w 891204"/>
                <a:gd name="connsiteY214" fmla="*/ 635939 h 655047"/>
                <a:gd name="connsiteX215" fmla="*/ 465946 w 891204"/>
                <a:gd name="connsiteY215" fmla="*/ 633234 h 655047"/>
                <a:gd name="connsiteX216" fmla="*/ 482192 w 891204"/>
                <a:gd name="connsiteY216" fmla="*/ 631817 h 655047"/>
                <a:gd name="connsiteX217" fmla="*/ 488666 w 891204"/>
                <a:gd name="connsiteY217" fmla="*/ 631672 h 655047"/>
                <a:gd name="connsiteX218" fmla="*/ 503128 w 891204"/>
                <a:gd name="connsiteY218" fmla="*/ 628847 h 655047"/>
                <a:gd name="connsiteX219" fmla="*/ 520068 w 891204"/>
                <a:gd name="connsiteY219" fmla="*/ 627946 h 655047"/>
                <a:gd name="connsiteX220" fmla="*/ 538121 w 891204"/>
                <a:gd name="connsiteY220" fmla="*/ 633070 h 655047"/>
                <a:gd name="connsiteX221" fmla="*/ 546133 w 891204"/>
                <a:gd name="connsiteY221" fmla="*/ 627946 h 655047"/>
                <a:gd name="connsiteX222" fmla="*/ 556855 w 891204"/>
                <a:gd name="connsiteY222" fmla="*/ 625087 h 655047"/>
                <a:gd name="connsiteX223" fmla="*/ 565219 w 891204"/>
                <a:gd name="connsiteY223" fmla="*/ 616945 h 655047"/>
                <a:gd name="connsiteX224" fmla="*/ 569760 w 891204"/>
                <a:gd name="connsiteY224" fmla="*/ 616564 h 655047"/>
                <a:gd name="connsiteX225" fmla="*/ 573510 w 891204"/>
                <a:gd name="connsiteY225" fmla="*/ 613469 h 655047"/>
                <a:gd name="connsiteX226" fmla="*/ 576470 w 891204"/>
                <a:gd name="connsiteY226" fmla="*/ 607265 h 655047"/>
                <a:gd name="connsiteX227" fmla="*/ 581498 w 891204"/>
                <a:gd name="connsiteY227" fmla="*/ 601331 h 655047"/>
                <a:gd name="connsiteX228" fmla="*/ 588247 w 891204"/>
                <a:gd name="connsiteY228" fmla="*/ 586097 h 655047"/>
                <a:gd name="connsiteX229" fmla="*/ 593169 w 891204"/>
                <a:gd name="connsiteY229" fmla="*/ 581566 h 655047"/>
                <a:gd name="connsiteX230" fmla="*/ 597257 w 891204"/>
                <a:gd name="connsiteY230" fmla="*/ 573067 h 655047"/>
                <a:gd name="connsiteX231" fmla="*/ 606199 w 891204"/>
                <a:gd name="connsiteY231" fmla="*/ 567108 h 655047"/>
                <a:gd name="connsiteX232" fmla="*/ 632410 w 891204"/>
                <a:gd name="connsiteY232" fmla="*/ 552386 h 655047"/>
                <a:gd name="connsiteX233" fmla="*/ 658615 w 891204"/>
                <a:gd name="connsiteY233" fmla="*/ 539992 h 655047"/>
                <a:gd name="connsiteX234" fmla="*/ 667524 w 891204"/>
                <a:gd name="connsiteY234" fmla="*/ 531363 h 655047"/>
                <a:gd name="connsiteX235" fmla="*/ 678380 w 891204"/>
                <a:gd name="connsiteY235" fmla="*/ 527718 h 655047"/>
                <a:gd name="connsiteX236" fmla="*/ 689622 w 891204"/>
                <a:gd name="connsiteY236" fmla="*/ 526677 h 655047"/>
                <a:gd name="connsiteX237" fmla="*/ 695681 w 891204"/>
                <a:gd name="connsiteY237" fmla="*/ 527974 h 655047"/>
                <a:gd name="connsiteX238" fmla="*/ 702917 w 891204"/>
                <a:gd name="connsiteY238" fmla="*/ 526436 h 655047"/>
                <a:gd name="connsiteX239" fmla="*/ 734430 w 891204"/>
                <a:gd name="connsiteY239" fmla="*/ 531218 h 655047"/>
                <a:gd name="connsiteX240" fmla="*/ 739979 w 891204"/>
                <a:gd name="connsiteY240" fmla="*/ 527082 h 655047"/>
                <a:gd name="connsiteX241" fmla="*/ 745658 w 891204"/>
                <a:gd name="connsiteY241" fmla="*/ 532168 h 655047"/>
                <a:gd name="connsiteX242" fmla="*/ 751486 w 891204"/>
                <a:gd name="connsiteY242" fmla="*/ 535976 h 655047"/>
                <a:gd name="connsiteX243" fmla="*/ 758833 w 891204"/>
                <a:gd name="connsiteY243" fmla="*/ 533281 h 655047"/>
                <a:gd name="connsiteX244" fmla="*/ 764521 w 891204"/>
                <a:gd name="connsiteY244" fmla="*/ 527082 h 655047"/>
                <a:gd name="connsiteX245" fmla="*/ 771010 w 891204"/>
                <a:gd name="connsiteY245" fmla="*/ 528388 h 655047"/>
                <a:gd name="connsiteX246" fmla="*/ 776814 w 891204"/>
                <a:gd name="connsiteY246" fmla="*/ 541043 h 655047"/>
                <a:gd name="connsiteX247" fmla="*/ 784151 w 891204"/>
                <a:gd name="connsiteY247" fmla="*/ 544919 h 655047"/>
                <a:gd name="connsiteX248" fmla="*/ 835443 w 891204"/>
                <a:gd name="connsiteY248" fmla="*/ 543448 h 655047"/>
                <a:gd name="connsiteX249" fmla="*/ 835443 w 891204"/>
                <a:gd name="connsiteY249" fmla="*/ 543420 h 655047"/>
                <a:gd name="connsiteX250" fmla="*/ 833616 w 891204"/>
                <a:gd name="connsiteY250" fmla="*/ 524604 h 655047"/>
                <a:gd name="connsiteX251" fmla="*/ 833616 w 891204"/>
                <a:gd name="connsiteY251" fmla="*/ 524243 h 655047"/>
                <a:gd name="connsiteX252" fmla="*/ 834802 w 891204"/>
                <a:gd name="connsiteY252" fmla="*/ 518477 h 655047"/>
                <a:gd name="connsiteX253" fmla="*/ 834802 w 891204"/>
                <a:gd name="connsiteY253" fmla="*/ 512779 h 655047"/>
                <a:gd name="connsiteX254" fmla="*/ 834248 w 891204"/>
                <a:gd name="connsiteY254" fmla="*/ 507283 h 655047"/>
                <a:gd name="connsiteX255" fmla="*/ 830844 w 891204"/>
                <a:gd name="connsiteY255" fmla="*/ 501050 h 655047"/>
                <a:gd name="connsiteX256" fmla="*/ 830782 w 891204"/>
                <a:gd name="connsiteY256" fmla="*/ 500881 h 655047"/>
                <a:gd name="connsiteX257" fmla="*/ 828352 w 891204"/>
                <a:gd name="connsiteY257" fmla="*/ 494933 h 655047"/>
                <a:gd name="connsiteX258" fmla="*/ 828352 w 891204"/>
                <a:gd name="connsiteY258" fmla="*/ 494856 h 655047"/>
                <a:gd name="connsiteX259" fmla="*/ 825985 w 891204"/>
                <a:gd name="connsiteY259" fmla="*/ 488328 h 655047"/>
                <a:gd name="connsiteX260" fmla="*/ 825860 w 891204"/>
                <a:gd name="connsiteY260" fmla="*/ 487504 h 655047"/>
                <a:gd name="connsiteX261" fmla="*/ 826429 w 891204"/>
                <a:gd name="connsiteY261" fmla="*/ 482182 h 655047"/>
                <a:gd name="connsiteX262" fmla="*/ 822558 w 891204"/>
                <a:gd name="connsiteY262" fmla="*/ 476199 h 655047"/>
                <a:gd name="connsiteX263" fmla="*/ 822389 w 891204"/>
                <a:gd name="connsiteY263" fmla="*/ 475722 h 655047"/>
                <a:gd name="connsiteX264" fmla="*/ 820586 w 891204"/>
                <a:gd name="connsiteY264" fmla="*/ 469759 h 655047"/>
                <a:gd name="connsiteX265" fmla="*/ 820654 w 891204"/>
                <a:gd name="connsiteY265" fmla="*/ 468597 h 655047"/>
                <a:gd name="connsiteX266" fmla="*/ 829982 w 891204"/>
                <a:gd name="connsiteY266" fmla="*/ 446263 h 655047"/>
                <a:gd name="connsiteX267" fmla="*/ 829061 w 891204"/>
                <a:gd name="connsiteY267" fmla="*/ 446653 h 655047"/>
                <a:gd name="connsiteX268" fmla="*/ 827210 w 891204"/>
                <a:gd name="connsiteY268" fmla="*/ 445549 h 655047"/>
                <a:gd name="connsiteX269" fmla="*/ 824862 w 891204"/>
                <a:gd name="connsiteY269" fmla="*/ 439687 h 655047"/>
                <a:gd name="connsiteX270" fmla="*/ 821333 w 891204"/>
                <a:gd name="connsiteY270" fmla="*/ 433237 h 655047"/>
                <a:gd name="connsiteX271" fmla="*/ 821174 w 891204"/>
                <a:gd name="connsiteY271" fmla="*/ 431998 h 655047"/>
                <a:gd name="connsiteX272" fmla="*/ 822355 w 891204"/>
                <a:gd name="connsiteY272" fmla="*/ 426040 h 655047"/>
                <a:gd name="connsiteX273" fmla="*/ 823208 w 891204"/>
                <a:gd name="connsiteY273" fmla="*/ 424878 h 655047"/>
                <a:gd name="connsiteX274" fmla="*/ 825117 w 891204"/>
                <a:gd name="connsiteY274" fmla="*/ 423707 h 655047"/>
                <a:gd name="connsiteX275" fmla="*/ 824356 w 891204"/>
                <a:gd name="connsiteY275" fmla="*/ 423167 h 655047"/>
                <a:gd name="connsiteX276" fmla="*/ 821950 w 891204"/>
                <a:gd name="connsiteY276" fmla="*/ 419007 h 655047"/>
                <a:gd name="connsiteX277" fmla="*/ 821728 w 891204"/>
                <a:gd name="connsiteY277" fmla="*/ 418081 h 655047"/>
                <a:gd name="connsiteX278" fmla="*/ 821728 w 891204"/>
                <a:gd name="connsiteY278" fmla="*/ 412161 h 655047"/>
                <a:gd name="connsiteX279" fmla="*/ 822124 w 891204"/>
                <a:gd name="connsiteY279" fmla="*/ 410956 h 655047"/>
                <a:gd name="connsiteX280" fmla="*/ 827494 w 891204"/>
                <a:gd name="connsiteY280" fmla="*/ 404414 h 655047"/>
                <a:gd name="connsiteX281" fmla="*/ 828241 w 891204"/>
                <a:gd name="connsiteY281" fmla="*/ 403884 h 655047"/>
                <a:gd name="connsiteX282" fmla="*/ 832469 w 891204"/>
                <a:gd name="connsiteY282" fmla="*/ 402192 h 655047"/>
                <a:gd name="connsiteX283" fmla="*/ 830844 w 891204"/>
                <a:gd name="connsiteY283" fmla="*/ 398089 h 655047"/>
                <a:gd name="connsiteX284" fmla="*/ 826814 w 891204"/>
                <a:gd name="connsiteY284" fmla="*/ 391760 h 655047"/>
                <a:gd name="connsiteX285" fmla="*/ 822119 w 891204"/>
                <a:gd name="connsiteY285" fmla="*/ 385888 h 655047"/>
                <a:gd name="connsiteX286" fmla="*/ 821724 w 891204"/>
                <a:gd name="connsiteY286" fmla="*/ 384765 h 655047"/>
                <a:gd name="connsiteX287" fmla="*/ 821724 w 891204"/>
                <a:gd name="connsiteY287" fmla="*/ 378831 h 655047"/>
                <a:gd name="connsiteX288" fmla="*/ 822249 w 891204"/>
                <a:gd name="connsiteY288" fmla="*/ 377520 h 655047"/>
                <a:gd name="connsiteX289" fmla="*/ 827687 w 891204"/>
                <a:gd name="connsiteY289" fmla="*/ 372120 h 655047"/>
                <a:gd name="connsiteX290" fmla="*/ 827687 w 891204"/>
                <a:gd name="connsiteY290" fmla="*/ 371069 h 655047"/>
                <a:gd name="connsiteX291" fmla="*/ 828931 w 891204"/>
                <a:gd name="connsiteY291" fmla="*/ 369353 h 655047"/>
                <a:gd name="connsiteX292" fmla="*/ 832464 w 891204"/>
                <a:gd name="connsiteY292" fmla="*/ 368187 h 655047"/>
                <a:gd name="connsiteX293" fmla="*/ 832619 w 891204"/>
                <a:gd name="connsiteY293" fmla="*/ 368143 h 655047"/>
                <a:gd name="connsiteX294" fmla="*/ 834928 w 891204"/>
                <a:gd name="connsiteY294" fmla="*/ 367565 h 655047"/>
                <a:gd name="connsiteX295" fmla="*/ 836634 w 891204"/>
                <a:gd name="connsiteY295" fmla="*/ 366953 h 655047"/>
                <a:gd name="connsiteX296" fmla="*/ 837926 w 891204"/>
                <a:gd name="connsiteY296" fmla="*/ 367015 h 655047"/>
                <a:gd name="connsiteX297" fmla="*/ 843846 w 891204"/>
                <a:gd name="connsiteY297" fmla="*/ 369377 h 655047"/>
                <a:gd name="connsiteX298" fmla="*/ 844911 w 891204"/>
                <a:gd name="connsiteY298" fmla="*/ 370558 h 655047"/>
                <a:gd name="connsiteX299" fmla="*/ 844689 w 891204"/>
                <a:gd name="connsiteY299" fmla="*/ 372120 h 655047"/>
                <a:gd name="connsiteX300" fmla="*/ 840949 w 891204"/>
                <a:gd name="connsiteY300" fmla="*/ 377447 h 655047"/>
                <a:gd name="connsiteX301" fmla="*/ 841961 w 891204"/>
                <a:gd name="connsiteY301" fmla="*/ 383097 h 655047"/>
                <a:gd name="connsiteX302" fmla="*/ 843619 w 891204"/>
                <a:gd name="connsiteY302" fmla="*/ 387214 h 655047"/>
                <a:gd name="connsiteX303" fmla="*/ 848541 w 891204"/>
                <a:gd name="connsiteY303" fmla="*/ 385469 h 655047"/>
                <a:gd name="connsiteX304" fmla="*/ 850739 w 891204"/>
                <a:gd name="connsiteY304" fmla="*/ 386337 h 655047"/>
                <a:gd name="connsiteX305" fmla="*/ 853762 w 891204"/>
                <a:gd name="connsiteY305" fmla="*/ 392276 h 655047"/>
                <a:gd name="connsiteX306" fmla="*/ 853560 w 891204"/>
                <a:gd name="connsiteY306" fmla="*/ 393322 h 655047"/>
                <a:gd name="connsiteX307" fmla="*/ 891204 w 891204"/>
                <a:gd name="connsiteY307" fmla="*/ 373046 h 655047"/>
                <a:gd name="connsiteX308" fmla="*/ 888423 w 891204"/>
                <a:gd name="connsiteY308" fmla="*/ 347617 h 655047"/>
                <a:gd name="connsiteX309" fmla="*/ 888423 w 891204"/>
                <a:gd name="connsiteY309" fmla="*/ 347617 h 655047"/>
                <a:gd name="connsiteX310" fmla="*/ 887271 w 891204"/>
                <a:gd name="connsiteY310" fmla="*/ 341687 h 655047"/>
                <a:gd name="connsiteX311" fmla="*/ 887213 w 891204"/>
                <a:gd name="connsiteY311" fmla="*/ 341326 h 655047"/>
                <a:gd name="connsiteX312" fmla="*/ 887213 w 891204"/>
                <a:gd name="connsiteY312" fmla="*/ 334538 h 655047"/>
                <a:gd name="connsiteX313" fmla="*/ 882031 w 891204"/>
                <a:gd name="connsiteY313" fmla="*/ 330923 h 655047"/>
                <a:gd name="connsiteX314" fmla="*/ 881496 w 891204"/>
                <a:gd name="connsiteY314" fmla="*/ 328498 h 655047"/>
                <a:gd name="connsiteX315" fmla="*/ 883332 w 891204"/>
                <a:gd name="connsiteY315" fmla="*/ 325528 h 655047"/>
                <a:gd name="connsiteX316" fmla="*/ 883757 w 891204"/>
                <a:gd name="connsiteY316" fmla="*/ 324988 h 655047"/>
                <a:gd name="connsiteX317" fmla="*/ 884629 w 891204"/>
                <a:gd name="connsiteY317" fmla="*/ 324347 h 655047"/>
                <a:gd name="connsiteX318" fmla="*/ 872862 w 891204"/>
                <a:gd name="connsiteY318" fmla="*/ 305489 h 65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Lst>
              <a:rect l="l" t="t" r="r" b="b"/>
              <a:pathLst>
                <a:path w="891204" h="655047">
                  <a:moveTo>
                    <a:pt x="872862" y="305489"/>
                  </a:moveTo>
                  <a:cubicBezTo>
                    <a:pt x="872862" y="305489"/>
                    <a:pt x="863910" y="303666"/>
                    <a:pt x="855040" y="303406"/>
                  </a:cubicBezTo>
                  <a:cubicBezTo>
                    <a:pt x="848479" y="307311"/>
                    <a:pt x="848561" y="305898"/>
                    <a:pt x="846256" y="305358"/>
                  </a:cubicBezTo>
                  <a:cubicBezTo>
                    <a:pt x="843947" y="304847"/>
                    <a:pt x="837709" y="307552"/>
                    <a:pt x="835549" y="312175"/>
                  </a:cubicBezTo>
                  <a:cubicBezTo>
                    <a:pt x="833341" y="316836"/>
                    <a:pt x="817467" y="329761"/>
                    <a:pt x="817467" y="329761"/>
                  </a:cubicBezTo>
                  <a:cubicBezTo>
                    <a:pt x="817467" y="329761"/>
                    <a:pt x="815770" y="331699"/>
                    <a:pt x="813056" y="336216"/>
                  </a:cubicBezTo>
                  <a:cubicBezTo>
                    <a:pt x="804654" y="333646"/>
                    <a:pt x="801795" y="335820"/>
                    <a:pt x="801795" y="335820"/>
                  </a:cubicBezTo>
                  <a:lnTo>
                    <a:pt x="800522" y="341514"/>
                  </a:lnTo>
                  <a:lnTo>
                    <a:pt x="800937" y="346551"/>
                  </a:lnTo>
                  <a:lnTo>
                    <a:pt x="797176" y="349376"/>
                  </a:lnTo>
                  <a:lnTo>
                    <a:pt x="790731" y="348248"/>
                  </a:lnTo>
                  <a:lnTo>
                    <a:pt x="784527" y="349376"/>
                  </a:lnTo>
                  <a:cubicBezTo>
                    <a:pt x="784527" y="349376"/>
                    <a:pt x="780540" y="347723"/>
                    <a:pt x="778077" y="346937"/>
                  </a:cubicBezTo>
                  <a:cubicBezTo>
                    <a:pt x="758558" y="350172"/>
                    <a:pt x="753776" y="337643"/>
                    <a:pt x="750315" y="331969"/>
                  </a:cubicBezTo>
                  <a:cubicBezTo>
                    <a:pt x="748102" y="332253"/>
                    <a:pt x="746313" y="331843"/>
                    <a:pt x="744742" y="331164"/>
                  </a:cubicBezTo>
                  <a:cubicBezTo>
                    <a:pt x="744925" y="332918"/>
                    <a:pt x="745479" y="334823"/>
                    <a:pt x="746564" y="336862"/>
                  </a:cubicBezTo>
                  <a:cubicBezTo>
                    <a:pt x="745479" y="334823"/>
                    <a:pt x="744925" y="332923"/>
                    <a:pt x="744742" y="331164"/>
                  </a:cubicBezTo>
                  <a:cubicBezTo>
                    <a:pt x="738880" y="328753"/>
                    <a:pt x="737111" y="321498"/>
                    <a:pt x="737111" y="321498"/>
                  </a:cubicBezTo>
                  <a:cubicBezTo>
                    <a:pt x="737111" y="321498"/>
                    <a:pt x="732733" y="320852"/>
                    <a:pt x="730805" y="317998"/>
                  </a:cubicBezTo>
                  <a:cubicBezTo>
                    <a:pt x="728867" y="315168"/>
                    <a:pt x="728486" y="312175"/>
                    <a:pt x="731432" y="308347"/>
                  </a:cubicBezTo>
                  <a:cubicBezTo>
                    <a:pt x="734411" y="304438"/>
                    <a:pt x="728727" y="292675"/>
                    <a:pt x="725893" y="289831"/>
                  </a:cubicBezTo>
                  <a:cubicBezTo>
                    <a:pt x="723039" y="287011"/>
                    <a:pt x="721116" y="280165"/>
                    <a:pt x="720995" y="276786"/>
                  </a:cubicBezTo>
                  <a:cubicBezTo>
                    <a:pt x="720875" y="273470"/>
                    <a:pt x="719327" y="269198"/>
                    <a:pt x="715422" y="263269"/>
                  </a:cubicBezTo>
                  <a:cubicBezTo>
                    <a:pt x="711551" y="257310"/>
                    <a:pt x="712457" y="250335"/>
                    <a:pt x="713108" y="245683"/>
                  </a:cubicBezTo>
                  <a:cubicBezTo>
                    <a:pt x="713759" y="241036"/>
                    <a:pt x="713224" y="239368"/>
                    <a:pt x="710654" y="234055"/>
                  </a:cubicBezTo>
                  <a:cubicBezTo>
                    <a:pt x="708109" y="228791"/>
                    <a:pt x="714010" y="219723"/>
                    <a:pt x="714010" y="219723"/>
                  </a:cubicBezTo>
                  <a:cubicBezTo>
                    <a:pt x="719332" y="197129"/>
                    <a:pt x="706393" y="177007"/>
                    <a:pt x="706393" y="177007"/>
                  </a:cubicBezTo>
                  <a:cubicBezTo>
                    <a:pt x="706393" y="177007"/>
                    <a:pt x="698140" y="165225"/>
                    <a:pt x="696959" y="164459"/>
                  </a:cubicBezTo>
                  <a:cubicBezTo>
                    <a:pt x="695932" y="161624"/>
                    <a:pt x="694756" y="159537"/>
                    <a:pt x="694756" y="159537"/>
                  </a:cubicBezTo>
                  <a:lnTo>
                    <a:pt x="688966" y="153737"/>
                  </a:lnTo>
                  <a:cubicBezTo>
                    <a:pt x="688966" y="153737"/>
                    <a:pt x="689207" y="152455"/>
                    <a:pt x="688436" y="150768"/>
                  </a:cubicBezTo>
                  <a:cubicBezTo>
                    <a:pt x="687670" y="149081"/>
                    <a:pt x="682646" y="139251"/>
                    <a:pt x="682646" y="139251"/>
                  </a:cubicBezTo>
                  <a:lnTo>
                    <a:pt x="676823" y="133601"/>
                  </a:lnTo>
                  <a:lnTo>
                    <a:pt x="663537" y="128925"/>
                  </a:lnTo>
                  <a:lnTo>
                    <a:pt x="651644" y="122967"/>
                  </a:lnTo>
                  <a:cubicBezTo>
                    <a:pt x="651644" y="122967"/>
                    <a:pt x="649046" y="118281"/>
                    <a:pt x="647961" y="113986"/>
                  </a:cubicBezTo>
                  <a:cubicBezTo>
                    <a:pt x="646833" y="109700"/>
                    <a:pt x="639347" y="105588"/>
                    <a:pt x="632660" y="104537"/>
                  </a:cubicBezTo>
                  <a:cubicBezTo>
                    <a:pt x="625945" y="103486"/>
                    <a:pt x="620753" y="93189"/>
                    <a:pt x="620753" y="85404"/>
                  </a:cubicBezTo>
                  <a:cubicBezTo>
                    <a:pt x="615735" y="85693"/>
                    <a:pt x="610181" y="83379"/>
                    <a:pt x="606677" y="78173"/>
                  </a:cubicBezTo>
                  <a:cubicBezTo>
                    <a:pt x="603201" y="73034"/>
                    <a:pt x="592219" y="67982"/>
                    <a:pt x="589375" y="65138"/>
                  </a:cubicBezTo>
                  <a:cubicBezTo>
                    <a:pt x="586526" y="62298"/>
                    <a:pt x="585755" y="59314"/>
                    <a:pt x="585755" y="59314"/>
                  </a:cubicBezTo>
                  <a:lnTo>
                    <a:pt x="585374" y="54045"/>
                  </a:lnTo>
                  <a:lnTo>
                    <a:pt x="578794" y="48361"/>
                  </a:lnTo>
                  <a:lnTo>
                    <a:pt x="576735" y="41511"/>
                  </a:lnTo>
                  <a:lnTo>
                    <a:pt x="569890" y="36199"/>
                  </a:lnTo>
                  <a:cubicBezTo>
                    <a:pt x="569890" y="36199"/>
                    <a:pt x="568198" y="24316"/>
                    <a:pt x="557332" y="20213"/>
                  </a:cubicBezTo>
                  <a:cubicBezTo>
                    <a:pt x="552979" y="18917"/>
                    <a:pt x="551938" y="13479"/>
                    <a:pt x="551537" y="11903"/>
                  </a:cubicBezTo>
                  <a:cubicBezTo>
                    <a:pt x="551156" y="10384"/>
                    <a:pt x="527386" y="-5640"/>
                    <a:pt x="514866" y="2102"/>
                  </a:cubicBezTo>
                  <a:cubicBezTo>
                    <a:pt x="514481" y="2324"/>
                    <a:pt x="513936" y="2806"/>
                    <a:pt x="513357" y="3432"/>
                  </a:cubicBezTo>
                  <a:cubicBezTo>
                    <a:pt x="513632" y="6600"/>
                    <a:pt x="514866" y="9965"/>
                    <a:pt x="518260" y="12954"/>
                  </a:cubicBezTo>
                  <a:cubicBezTo>
                    <a:pt x="514866" y="9969"/>
                    <a:pt x="513632" y="6605"/>
                    <a:pt x="513357" y="3432"/>
                  </a:cubicBezTo>
                  <a:cubicBezTo>
                    <a:pt x="510783" y="5896"/>
                    <a:pt x="506984" y="10914"/>
                    <a:pt x="506984" y="10914"/>
                  </a:cubicBezTo>
                  <a:lnTo>
                    <a:pt x="500795" y="10495"/>
                  </a:lnTo>
                  <a:lnTo>
                    <a:pt x="494615" y="16699"/>
                  </a:lnTo>
                  <a:lnTo>
                    <a:pt x="489047" y="18131"/>
                  </a:lnTo>
                  <a:lnTo>
                    <a:pt x="489548" y="21602"/>
                  </a:lnTo>
                  <a:lnTo>
                    <a:pt x="487615" y="34681"/>
                  </a:lnTo>
                  <a:lnTo>
                    <a:pt x="483869" y="39819"/>
                  </a:lnTo>
                  <a:lnTo>
                    <a:pt x="481960" y="46554"/>
                  </a:lnTo>
                  <a:cubicBezTo>
                    <a:pt x="481960" y="46554"/>
                    <a:pt x="473302" y="49629"/>
                    <a:pt x="471326" y="49509"/>
                  </a:cubicBezTo>
                  <a:cubicBezTo>
                    <a:pt x="467079" y="51572"/>
                    <a:pt x="464519" y="53139"/>
                    <a:pt x="464519" y="53139"/>
                  </a:cubicBezTo>
                  <a:cubicBezTo>
                    <a:pt x="464519" y="53139"/>
                    <a:pt x="454954" y="53886"/>
                    <a:pt x="450312" y="60486"/>
                  </a:cubicBezTo>
                  <a:cubicBezTo>
                    <a:pt x="448620" y="61397"/>
                    <a:pt x="436747" y="64603"/>
                    <a:pt x="436747" y="64603"/>
                  </a:cubicBezTo>
                  <a:lnTo>
                    <a:pt x="431955" y="64603"/>
                  </a:lnTo>
                  <a:lnTo>
                    <a:pt x="419190" y="69780"/>
                  </a:lnTo>
                  <a:cubicBezTo>
                    <a:pt x="411452" y="71212"/>
                    <a:pt x="402910" y="75849"/>
                    <a:pt x="399439" y="89665"/>
                  </a:cubicBezTo>
                  <a:cubicBezTo>
                    <a:pt x="398278" y="95465"/>
                    <a:pt x="394368" y="99611"/>
                    <a:pt x="393114" y="100777"/>
                  </a:cubicBezTo>
                  <a:cubicBezTo>
                    <a:pt x="391803" y="101939"/>
                    <a:pt x="381853" y="106832"/>
                    <a:pt x="381853" y="106832"/>
                  </a:cubicBezTo>
                  <a:lnTo>
                    <a:pt x="377862" y="106080"/>
                  </a:lnTo>
                  <a:lnTo>
                    <a:pt x="372829" y="99861"/>
                  </a:lnTo>
                  <a:lnTo>
                    <a:pt x="366615" y="96014"/>
                  </a:lnTo>
                  <a:lnTo>
                    <a:pt x="361182" y="94554"/>
                  </a:lnTo>
                  <a:lnTo>
                    <a:pt x="353826" y="91753"/>
                  </a:lnTo>
                  <a:lnTo>
                    <a:pt x="350475" y="85679"/>
                  </a:lnTo>
                  <a:lnTo>
                    <a:pt x="342733" y="82695"/>
                  </a:lnTo>
                  <a:lnTo>
                    <a:pt x="327779" y="85529"/>
                  </a:lnTo>
                  <a:lnTo>
                    <a:pt x="316002" y="94457"/>
                  </a:lnTo>
                  <a:lnTo>
                    <a:pt x="308646" y="92756"/>
                  </a:lnTo>
                  <a:lnTo>
                    <a:pt x="302837" y="93922"/>
                  </a:lnTo>
                  <a:lnTo>
                    <a:pt x="297149" y="91309"/>
                  </a:lnTo>
                  <a:lnTo>
                    <a:pt x="289893" y="91753"/>
                  </a:lnTo>
                  <a:lnTo>
                    <a:pt x="284624" y="96882"/>
                  </a:lnTo>
                  <a:lnTo>
                    <a:pt x="272616" y="92635"/>
                  </a:lnTo>
                  <a:cubicBezTo>
                    <a:pt x="272616" y="92635"/>
                    <a:pt x="257758" y="96520"/>
                    <a:pt x="252721" y="92240"/>
                  </a:cubicBezTo>
                  <a:cubicBezTo>
                    <a:pt x="251034" y="94549"/>
                    <a:pt x="249983" y="97162"/>
                    <a:pt x="246632" y="96882"/>
                  </a:cubicBezTo>
                  <a:cubicBezTo>
                    <a:pt x="243272" y="96627"/>
                    <a:pt x="236615" y="97542"/>
                    <a:pt x="232180" y="93271"/>
                  </a:cubicBezTo>
                  <a:cubicBezTo>
                    <a:pt x="228858" y="90446"/>
                    <a:pt x="226376" y="87718"/>
                    <a:pt x="223401" y="87491"/>
                  </a:cubicBezTo>
                  <a:cubicBezTo>
                    <a:pt x="220446" y="87202"/>
                    <a:pt x="213871" y="88113"/>
                    <a:pt x="213871" y="88113"/>
                  </a:cubicBezTo>
                  <a:lnTo>
                    <a:pt x="212024" y="100652"/>
                  </a:lnTo>
                  <a:lnTo>
                    <a:pt x="205362" y="104383"/>
                  </a:lnTo>
                  <a:lnTo>
                    <a:pt x="198994" y="104383"/>
                  </a:lnTo>
                  <a:lnTo>
                    <a:pt x="196203" y="111060"/>
                  </a:lnTo>
                  <a:cubicBezTo>
                    <a:pt x="197452" y="112838"/>
                    <a:pt x="198902" y="114246"/>
                    <a:pt x="200281" y="114039"/>
                  </a:cubicBezTo>
                  <a:cubicBezTo>
                    <a:pt x="198902" y="114246"/>
                    <a:pt x="197452" y="112838"/>
                    <a:pt x="196203" y="111060"/>
                  </a:cubicBezTo>
                  <a:lnTo>
                    <a:pt x="194202" y="115774"/>
                  </a:lnTo>
                  <a:lnTo>
                    <a:pt x="188644" y="120933"/>
                  </a:lnTo>
                  <a:lnTo>
                    <a:pt x="188929" y="127108"/>
                  </a:lnTo>
                  <a:lnTo>
                    <a:pt x="182994" y="130612"/>
                  </a:lnTo>
                  <a:lnTo>
                    <a:pt x="178593" y="138364"/>
                  </a:lnTo>
                  <a:lnTo>
                    <a:pt x="172509" y="140794"/>
                  </a:lnTo>
                  <a:lnTo>
                    <a:pt x="165678" y="138466"/>
                  </a:lnTo>
                  <a:lnTo>
                    <a:pt x="159479" y="144270"/>
                  </a:lnTo>
                  <a:lnTo>
                    <a:pt x="147331" y="149741"/>
                  </a:lnTo>
                  <a:lnTo>
                    <a:pt x="144265" y="155275"/>
                  </a:lnTo>
                  <a:lnTo>
                    <a:pt x="141907" y="168450"/>
                  </a:lnTo>
                  <a:lnTo>
                    <a:pt x="136368" y="172967"/>
                  </a:lnTo>
                  <a:lnTo>
                    <a:pt x="128486" y="184190"/>
                  </a:lnTo>
                  <a:lnTo>
                    <a:pt x="131331" y="195832"/>
                  </a:lnTo>
                  <a:lnTo>
                    <a:pt x="129904" y="201756"/>
                  </a:lnTo>
                  <a:lnTo>
                    <a:pt x="124206" y="205228"/>
                  </a:lnTo>
                  <a:lnTo>
                    <a:pt x="120214" y="223320"/>
                  </a:lnTo>
                  <a:lnTo>
                    <a:pt x="120339" y="229529"/>
                  </a:lnTo>
                  <a:lnTo>
                    <a:pt x="117375" y="235984"/>
                  </a:lnTo>
                  <a:lnTo>
                    <a:pt x="109257" y="246319"/>
                  </a:lnTo>
                  <a:cubicBezTo>
                    <a:pt x="109257" y="246319"/>
                    <a:pt x="105747" y="253155"/>
                    <a:pt x="108331" y="252769"/>
                  </a:cubicBezTo>
                  <a:cubicBezTo>
                    <a:pt x="110905" y="252398"/>
                    <a:pt x="114405" y="255237"/>
                    <a:pt x="107439" y="265428"/>
                  </a:cubicBezTo>
                  <a:cubicBezTo>
                    <a:pt x="107058" y="269049"/>
                    <a:pt x="106379" y="272404"/>
                    <a:pt x="106379" y="272404"/>
                  </a:cubicBezTo>
                  <a:lnTo>
                    <a:pt x="101090" y="277446"/>
                  </a:lnTo>
                  <a:lnTo>
                    <a:pt x="98275" y="289585"/>
                  </a:lnTo>
                  <a:lnTo>
                    <a:pt x="102619" y="294251"/>
                  </a:lnTo>
                  <a:lnTo>
                    <a:pt x="99904" y="300176"/>
                  </a:lnTo>
                  <a:lnTo>
                    <a:pt x="95942" y="303551"/>
                  </a:lnTo>
                  <a:lnTo>
                    <a:pt x="93218" y="310160"/>
                  </a:lnTo>
                  <a:lnTo>
                    <a:pt x="85982" y="310521"/>
                  </a:lnTo>
                  <a:lnTo>
                    <a:pt x="85462" y="315405"/>
                  </a:lnTo>
                  <a:lnTo>
                    <a:pt x="86252" y="321489"/>
                  </a:lnTo>
                  <a:lnTo>
                    <a:pt x="83403" y="327437"/>
                  </a:lnTo>
                  <a:lnTo>
                    <a:pt x="87028" y="333637"/>
                  </a:lnTo>
                  <a:lnTo>
                    <a:pt x="83798" y="339166"/>
                  </a:lnTo>
                  <a:cubicBezTo>
                    <a:pt x="83798" y="339166"/>
                    <a:pt x="80973" y="339446"/>
                    <a:pt x="80434" y="342536"/>
                  </a:cubicBezTo>
                  <a:cubicBezTo>
                    <a:pt x="79927" y="345631"/>
                    <a:pt x="78901" y="352240"/>
                    <a:pt x="78901" y="352240"/>
                  </a:cubicBezTo>
                  <a:lnTo>
                    <a:pt x="70122" y="365111"/>
                  </a:lnTo>
                  <a:cubicBezTo>
                    <a:pt x="70122" y="365111"/>
                    <a:pt x="61064" y="363057"/>
                    <a:pt x="59155" y="361780"/>
                  </a:cubicBezTo>
                  <a:cubicBezTo>
                    <a:pt x="57188" y="360483"/>
                    <a:pt x="46091" y="363062"/>
                    <a:pt x="44794" y="367309"/>
                  </a:cubicBezTo>
                  <a:cubicBezTo>
                    <a:pt x="43493" y="371590"/>
                    <a:pt x="39631" y="385136"/>
                    <a:pt x="33191" y="384755"/>
                  </a:cubicBezTo>
                  <a:cubicBezTo>
                    <a:pt x="26707" y="384379"/>
                    <a:pt x="29416" y="379882"/>
                    <a:pt x="20136" y="380128"/>
                  </a:cubicBezTo>
                  <a:cubicBezTo>
                    <a:pt x="17707" y="379978"/>
                    <a:pt x="20502" y="385136"/>
                    <a:pt x="14698" y="385811"/>
                  </a:cubicBezTo>
                  <a:cubicBezTo>
                    <a:pt x="9400" y="386385"/>
                    <a:pt x="4941" y="384399"/>
                    <a:pt x="0" y="392488"/>
                  </a:cubicBezTo>
                  <a:cubicBezTo>
                    <a:pt x="4826" y="396759"/>
                    <a:pt x="11806" y="404125"/>
                    <a:pt x="13937" y="409447"/>
                  </a:cubicBezTo>
                  <a:cubicBezTo>
                    <a:pt x="17287" y="410074"/>
                    <a:pt x="18054" y="410223"/>
                    <a:pt x="18054" y="410223"/>
                  </a:cubicBezTo>
                  <a:lnTo>
                    <a:pt x="22985" y="413434"/>
                  </a:lnTo>
                  <a:cubicBezTo>
                    <a:pt x="22985" y="413434"/>
                    <a:pt x="36271" y="417194"/>
                    <a:pt x="38976" y="422627"/>
                  </a:cubicBezTo>
                  <a:cubicBezTo>
                    <a:pt x="41685" y="428026"/>
                    <a:pt x="46202" y="435662"/>
                    <a:pt x="49432" y="435407"/>
                  </a:cubicBezTo>
                  <a:cubicBezTo>
                    <a:pt x="53042" y="432818"/>
                    <a:pt x="56788" y="430735"/>
                    <a:pt x="56788" y="430735"/>
                  </a:cubicBezTo>
                  <a:lnTo>
                    <a:pt x="57718" y="442498"/>
                  </a:lnTo>
                  <a:lnTo>
                    <a:pt x="56788" y="449184"/>
                  </a:lnTo>
                  <a:cubicBezTo>
                    <a:pt x="56788" y="449184"/>
                    <a:pt x="61324" y="460720"/>
                    <a:pt x="63778" y="461347"/>
                  </a:cubicBezTo>
                  <a:cubicBezTo>
                    <a:pt x="61175" y="465840"/>
                    <a:pt x="60664" y="468086"/>
                    <a:pt x="60664" y="468086"/>
                  </a:cubicBezTo>
                  <a:lnTo>
                    <a:pt x="67664" y="470395"/>
                  </a:lnTo>
                  <a:lnTo>
                    <a:pt x="69727" y="474623"/>
                  </a:lnTo>
                  <a:lnTo>
                    <a:pt x="76659" y="477607"/>
                  </a:lnTo>
                  <a:lnTo>
                    <a:pt x="82497" y="484351"/>
                  </a:lnTo>
                  <a:lnTo>
                    <a:pt x="94496" y="488844"/>
                  </a:lnTo>
                  <a:lnTo>
                    <a:pt x="101596" y="487167"/>
                  </a:lnTo>
                  <a:cubicBezTo>
                    <a:pt x="101596" y="487167"/>
                    <a:pt x="107545" y="496875"/>
                    <a:pt x="120450" y="494923"/>
                  </a:cubicBezTo>
                  <a:cubicBezTo>
                    <a:pt x="126679" y="493631"/>
                    <a:pt x="131832" y="497637"/>
                    <a:pt x="132984" y="499594"/>
                  </a:cubicBezTo>
                  <a:cubicBezTo>
                    <a:pt x="134151" y="501503"/>
                    <a:pt x="135057" y="505905"/>
                    <a:pt x="135057" y="505905"/>
                  </a:cubicBezTo>
                  <a:lnTo>
                    <a:pt x="132334" y="511453"/>
                  </a:lnTo>
                  <a:lnTo>
                    <a:pt x="132334" y="518299"/>
                  </a:lnTo>
                  <a:lnTo>
                    <a:pt x="126288" y="523592"/>
                  </a:lnTo>
                  <a:lnTo>
                    <a:pt x="133109" y="528663"/>
                  </a:lnTo>
                  <a:lnTo>
                    <a:pt x="137901" y="528499"/>
                  </a:lnTo>
                  <a:lnTo>
                    <a:pt x="144863" y="531999"/>
                  </a:lnTo>
                  <a:lnTo>
                    <a:pt x="139820" y="538425"/>
                  </a:lnTo>
                  <a:lnTo>
                    <a:pt x="129374" y="541043"/>
                  </a:lnTo>
                  <a:lnTo>
                    <a:pt x="129374" y="546987"/>
                  </a:lnTo>
                  <a:lnTo>
                    <a:pt x="133780" y="552772"/>
                  </a:lnTo>
                  <a:cubicBezTo>
                    <a:pt x="133780" y="552772"/>
                    <a:pt x="148107" y="549927"/>
                    <a:pt x="151342" y="552887"/>
                  </a:cubicBezTo>
                  <a:cubicBezTo>
                    <a:pt x="154571" y="555862"/>
                    <a:pt x="155444" y="556787"/>
                    <a:pt x="155444" y="556787"/>
                  </a:cubicBezTo>
                  <a:lnTo>
                    <a:pt x="156239" y="563908"/>
                  </a:lnTo>
                  <a:cubicBezTo>
                    <a:pt x="156239" y="563908"/>
                    <a:pt x="172018" y="563908"/>
                    <a:pt x="178188" y="562211"/>
                  </a:cubicBezTo>
                  <a:cubicBezTo>
                    <a:pt x="184416" y="560547"/>
                    <a:pt x="193590" y="560919"/>
                    <a:pt x="195239" y="564905"/>
                  </a:cubicBezTo>
                  <a:cubicBezTo>
                    <a:pt x="196926" y="568950"/>
                    <a:pt x="206100" y="580949"/>
                    <a:pt x="210453" y="579898"/>
                  </a:cubicBezTo>
                  <a:cubicBezTo>
                    <a:pt x="214883" y="578852"/>
                    <a:pt x="214121" y="578095"/>
                    <a:pt x="214353" y="575376"/>
                  </a:cubicBezTo>
                  <a:cubicBezTo>
                    <a:pt x="214618" y="572652"/>
                    <a:pt x="215789" y="569572"/>
                    <a:pt x="215920" y="568945"/>
                  </a:cubicBezTo>
                  <a:cubicBezTo>
                    <a:pt x="216031" y="568290"/>
                    <a:pt x="219014" y="563103"/>
                    <a:pt x="219014" y="563103"/>
                  </a:cubicBezTo>
                  <a:lnTo>
                    <a:pt x="221463" y="555611"/>
                  </a:lnTo>
                  <a:cubicBezTo>
                    <a:pt x="221463" y="555611"/>
                    <a:pt x="228854" y="551219"/>
                    <a:pt x="231804" y="545545"/>
                  </a:cubicBezTo>
                  <a:cubicBezTo>
                    <a:pt x="235901" y="545545"/>
                    <a:pt x="239049" y="545680"/>
                    <a:pt x="239049" y="545680"/>
                  </a:cubicBezTo>
                  <a:cubicBezTo>
                    <a:pt x="239049" y="545680"/>
                    <a:pt x="246512" y="553808"/>
                    <a:pt x="253487" y="553577"/>
                  </a:cubicBezTo>
                  <a:cubicBezTo>
                    <a:pt x="260468" y="553278"/>
                    <a:pt x="259952" y="554975"/>
                    <a:pt x="259952" y="554975"/>
                  </a:cubicBezTo>
                  <a:lnTo>
                    <a:pt x="267193" y="559993"/>
                  </a:lnTo>
                  <a:lnTo>
                    <a:pt x="260468" y="565927"/>
                  </a:lnTo>
                  <a:lnTo>
                    <a:pt x="254779" y="562972"/>
                  </a:lnTo>
                  <a:lnTo>
                    <a:pt x="248994" y="565185"/>
                  </a:lnTo>
                  <a:lnTo>
                    <a:pt x="247548" y="571370"/>
                  </a:lnTo>
                  <a:lnTo>
                    <a:pt x="242125" y="573959"/>
                  </a:lnTo>
                  <a:cubicBezTo>
                    <a:pt x="242125" y="573959"/>
                    <a:pt x="239936" y="576904"/>
                    <a:pt x="242506" y="578707"/>
                  </a:cubicBezTo>
                  <a:cubicBezTo>
                    <a:pt x="245080" y="580534"/>
                    <a:pt x="245360" y="581821"/>
                    <a:pt x="245360" y="581821"/>
                  </a:cubicBezTo>
                  <a:lnTo>
                    <a:pt x="246141" y="586227"/>
                  </a:lnTo>
                  <a:lnTo>
                    <a:pt x="250258" y="592547"/>
                  </a:lnTo>
                  <a:lnTo>
                    <a:pt x="256327" y="596018"/>
                  </a:lnTo>
                  <a:lnTo>
                    <a:pt x="264074" y="597209"/>
                  </a:lnTo>
                  <a:lnTo>
                    <a:pt x="266349" y="605664"/>
                  </a:lnTo>
                  <a:cubicBezTo>
                    <a:pt x="268943" y="605120"/>
                    <a:pt x="273137" y="607154"/>
                    <a:pt x="273137" y="607154"/>
                  </a:cubicBezTo>
                  <a:lnTo>
                    <a:pt x="279196" y="611271"/>
                  </a:lnTo>
                  <a:lnTo>
                    <a:pt x="286297" y="612278"/>
                  </a:lnTo>
                  <a:lnTo>
                    <a:pt x="291581" y="616328"/>
                  </a:lnTo>
                  <a:cubicBezTo>
                    <a:pt x="291581" y="616328"/>
                    <a:pt x="295741" y="616569"/>
                    <a:pt x="298566" y="616188"/>
                  </a:cubicBezTo>
                  <a:cubicBezTo>
                    <a:pt x="301410" y="615817"/>
                    <a:pt x="302307" y="617601"/>
                    <a:pt x="304004" y="621616"/>
                  </a:cubicBezTo>
                  <a:cubicBezTo>
                    <a:pt x="305681" y="625617"/>
                    <a:pt x="299472" y="628057"/>
                    <a:pt x="295611" y="629749"/>
                  </a:cubicBezTo>
                  <a:cubicBezTo>
                    <a:pt x="291730" y="631446"/>
                    <a:pt x="289768" y="636840"/>
                    <a:pt x="290554" y="646785"/>
                  </a:cubicBezTo>
                  <a:cubicBezTo>
                    <a:pt x="291345" y="656740"/>
                    <a:pt x="311615" y="653520"/>
                    <a:pt x="311615" y="653520"/>
                  </a:cubicBezTo>
                  <a:lnTo>
                    <a:pt x="313563" y="655048"/>
                  </a:lnTo>
                  <a:lnTo>
                    <a:pt x="316258" y="652459"/>
                  </a:lnTo>
                  <a:lnTo>
                    <a:pt x="323065" y="650155"/>
                  </a:lnTo>
                  <a:lnTo>
                    <a:pt x="331375" y="644611"/>
                  </a:lnTo>
                  <a:lnTo>
                    <a:pt x="342733" y="642148"/>
                  </a:lnTo>
                  <a:lnTo>
                    <a:pt x="346725" y="640340"/>
                  </a:lnTo>
                  <a:lnTo>
                    <a:pt x="352572" y="641781"/>
                  </a:lnTo>
                  <a:cubicBezTo>
                    <a:pt x="352572" y="641781"/>
                    <a:pt x="354607" y="641781"/>
                    <a:pt x="356569" y="641217"/>
                  </a:cubicBezTo>
                  <a:cubicBezTo>
                    <a:pt x="361438" y="646424"/>
                    <a:pt x="369073" y="644486"/>
                    <a:pt x="378783" y="641371"/>
                  </a:cubicBezTo>
                  <a:cubicBezTo>
                    <a:pt x="382244" y="643415"/>
                    <a:pt x="393119" y="644987"/>
                    <a:pt x="399160" y="644486"/>
                  </a:cubicBezTo>
                  <a:cubicBezTo>
                    <a:pt x="405229" y="643941"/>
                    <a:pt x="411582" y="648357"/>
                    <a:pt x="422420" y="648072"/>
                  </a:cubicBezTo>
                  <a:cubicBezTo>
                    <a:pt x="433232" y="647826"/>
                    <a:pt x="443221" y="640470"/>
                    <a:pt x="447092" y="635939"/>
                  </a:cubicBezTo>
                  <a:cubicBezTo>
                    <a:pt x="450958" y="631436"/>
                    <a:pt x="460021" y="629889"/>
                    <a:pt x="465946" y="633234"/>
                  </a:cubicBezTo>
                  <a:cubicBezTo>
                    <a:pt x="471885" y="636613"/>
                    <a:pt x="482192" y="631817"/>
                    <a:pt x="482192" y="631817"/>
                  </a:cubicBezTo>
                  <a:cubicBezTo>
                    <a:pt x="482192" y="631817"/>
                    <a:pt x="485185" y="631672"/>
                    <a:pt x="488666" y="631672"/>
                  </a:cubicBezTo>
                  <a:cubicBezTo>
                    <a:pt x="492657" y="628963"/>
                    <a:pt x="498370" y="626119"/>
                    <a:pt x="503128" y="628847"/>
                  </a:cubicBezTo>
                  <a:cubicBezTo>
                    <a:pt x="507900" y="631556"/>
                    <a:pt x="516433" y="629889"/>
                    <a:pt x="520068" y="627946"/>
                  </a:cubicBezTo>
                  <a:cubicBezTo>
                    <a:pt x="523654" y="626017"/>
                    <a:pt x="538121" y="633070"/>
                    <a:pt x="538121" y="633070"/>
                  </a:cubicBezTo>
                  <a:lnTo>
                    <a:pt x="546133" y="627946"/>
                  </a:lnTo>
                  <a:lnTo>
                    <a:pt x="556855" y="625087"/>
                  </a:lnTo>
                  <a:lnTo>
                    <a:pt x="565219" y="616945"/>
                  </a:lnTo>
                  <a:lnTo>
                    <a:pt x="569760" y="616564"/>
                  </a:lnTo>
                  <a:lnTo>
                    <a:pt x="573510" y="613469"/>
                  </a:lnTo>
                  <a:lnTo>
                    <a:pt x="576470" y="607265"/>
                  </a:lnTo>
                  <a:lnTo>
                    <a:pt x="581498" y="601331"/>
                  </a:lnTo>
                  <a:lnTo>
                    <a:pt x="588247" y="586097"/>
                  </a:lnTo>
                  <a:cubicBezTo>
                    <a:pt x="588247" y="586097"/>
                    <a:pt x="589915" y="584935"/>
                    <a:pt x="593169" y="581566"/>
                  </a:cubicBezTo>
                  <a:cubicBezTo>
                    <a:pt x="593526" y="578977"/>
                    <a:pt x="597257" y="573067"/>
                    <a:pt x="597257" y="573067"/>
                  </a:cubicBezTo>
                  <a:cubicBezTo>
                    <a:pt x="597257" y="573067"/>
                    <a:pt x="602690" y="568290"/>
                    <a:pt x="606199" y="567108"/>
                  </a:cubicBezTo>
                  <a:cubicBezTo>
                    <a:pt x="612264" y="559097"/>
                    <a:pt x="623342" y="554194"/>
                    <a:pt x="632410" y="552386"/>
                  </a:cubicBezTo>
                  <a:cubicBezTo>
                    <a:pt x="641434" y="550564"/>
                    <a:pt x="655371" y="542185"/>
                    <a:pt x="658615" y="539992"/>
                  </a:cubicBezTo>
                  <a:cubicBezTo>
                    <a:pt x="661816" y="537803"/>
                    <a:pt x="667524" y="531363"/>
                    <a:pt x="667524" y="531363"/>
                  </a:cubicBezTo>
                  <a:lnTo>
                    <a:pt x="678380" y="527718"/>
                  </a:lnTo>
                  <a:lnTo>
                    <a:pt x="689622" y="526677"/>
                  </a:lnTo>
                  <a:cubicBezTo>
                    <a:pt x="689622" y="526677"/>
                    <a:pt x="692341" y="527174"/>
                    <a:pt x="695681" y="527974"/>
                  </a:cubicBezTo>
                  <a:cubicBezTo>
                    <a:pt x="699567" y="524088"/>
                    <a:pt x="701751" y="525159"/>
                    <a:pt x="702917" y="526436"/>
                  </a:cubicBezTo>
                  <a:cubicBezTo>
                    <a:pt x="714935" y="542325"/>
                    <a:pt x="734430" y="531218"/>
                    <a:pt x="734430" y="531218"/>
                  </a:cubicBezTo>
                  <a:lnTo>
                    <a:pt x="739979" y="527082"/>
                  </a:lnTo>
                  <a:lnTo>
                    <a:pt x="745658" y="532168"/>
                  </a:lnTo>
                  <a:lnTo>
                    <a:pt x="751486" y="535976"/>
                  </a:lnTo>
                  <a:lnTo>
                    <a:pt x="758833" y="533281"/>
                  </a:lnTo>
                  <a:lnTo>
                    <a:pt x="764521" y="527082"/>
                  </a:lnTo>
                  <a:lnTo>
                    <a:pt x="771010" y="528388"/>
                  </a:lnTo>
                  <a:lnTo>
                    <a:pt x="776814" y="541043"/>
                  </a:lnTo>
                  <a:cubicBezTo>
                    <a:pt x="776814" y="541043"/>
                    <a:pt x="778448" y="542571"/>
                    <a:pt x="784151" y="544919"/>
                  </a:cubicBezTo>
                  <a:cubicBezTo>
                    <a:pt x="801723" y="552265"/>
                    <a:pt x="825358" y="547107"/>
                    <a:pt x="835443" y="543448"/>
                  </a:cubicBezTo>
                  <a:cubicBezTo>
                    <a:pt x="835443" y="543420"/>
                    <a:pt x="835443" y="543420"/>
                    <a:pt x="835443" y="543420"/>
                  </a:cubicBezTo>
                  <a:cubicBezTo>
                    <a:pt x="833848" y="537263"/>
                    <a:pt x="833385" y="530900"/>
                    <a:pt x="833616" y="524604"/>
                  </a:cubicBezTo>
                  <a:lnTo>
                    <a:pt x="833616" y="524243"/>
                  </a:lnTo>
                  <a:lnTo>
                    <a:pt x="834802" y="518477"/>
                  </a:lnTo>
                  <a:lnTo>
                    <a:pt x="834802" y="512779"/>
                  </a:lnTo>
                  <a:lnTo>
                    <a:pt x="834248" y="507283"/>
                  </a:lnTo>
                  <a:lnTo>
                    <a:pt x="830844" y="501050"/>
                  </a:lnTo>
                  <a:lnTo>
                    <a:pt x="830782" y="500881"/>
                  </a:lnTo>
                  <a:lnTo>
                    <a:pt x="828352" y="494933"/>
                  </a:lnTo>
                  <a:lnTo>
                    <a:pt x="828352" y="494856"/>
                  </a:lnTo>
                  <a:lnTo>
                    <a:pt x="825985" y="488328"/>
                  </a:lnTo>
                  <a:lnTo>
                    <a:pt x="825860" y="487504"/>
                  </a:lnTo>
                  <a:lnTo>
                    <a:pt x="826429" y="482182"/>
                  </a:lnTo>
                  <a:lnTo>
                    <a:pt x="822558" y="476199"/>
                  </a:lnTo>
                  <a:lnTo>
                    <a:pt x="822389" y="475722"/>
                  </a:lnTo>
                  <a:lnTo>
                    <a:pt x="820586" y="469759"/>
                  </a:lnTo>
                  <a:lnTo>
                    <a:pt x="820654" y="468597"/>
                  </a:lnTo>
                  <a:cubicBezTo>
                    <a:pt x="822948" y="461516"/>
                    <a:pt x="826674" y="453807"/>
                    <a:pt x="829982" y="446263"/>
                  </a:cubicBezTo>
                  <a:cubicBezTo>
                    <a:pt x="829712" y="446451"/>
                    <a:pt x="829437" y="446648"/>
                    <a:pt x="829061" y="446653"/>
                  </a:cubicBezTo>
                  <a:cubicBezTo>
                    <a:pt x="828270" y="446740"/>
                    <a:pt x="827509" y="446263"/>
                    <a:pt x="827210" y="445549"/>
                  </a:cubicBezTo>
                  <a:lnTo>
                    <a:pt x="824862" y="439687"/>
                  </a:lnTo>
                  <a:lnTo>
                    <a:pt x="821333" y="433237"/>
                  </a:lnTo>
                  <a:lnTo>
                    <a:pt x="821174" y="431998"/>
                  </a:lnTo>
                  <a:lnTo>
                    <a:pt x="822355" y="426040"/>
                  </a:lnTo>
                  <a:lnTo>
                    <a:pt x="823208" y="424878"/>
                  </a:lnTo>
                  <a:lnTo>
                    <a:pt x="825117" y="423707"/>
                  </a:lnTo>
                  <a:lnTo>
                    <a:pt x="824356" y="423167"/>
                  </a:lnTo>
                  <a:lnTo>
                    <a:pt x="821950" y="419007"/>
                  </a:lnTo>
                  <a:lnTo>
                    <a:pt x="821728" y="418081"/>
                  </a:lnTo>
                  <a:lnTo>
                    <a:pt x="821728" y="412161"/>
                  </a:lnTo>
                  <a:lnTo>
                    <a:pt x="822124" y="410956"/>
                  </a:lnTo>
                  <a:lnTo>
                    <a:pt x="827494" y="404414"/>
                  </a:lnTo>
                  <a:lnTo>
                    <a:pt x="828241" y="403884"/>
                  </a:lnTo>
                  <a:lnTo>
                    <a:pt x="832469" y="402192"/>
                  </a:lnTo>
                  <a:lnTo>
                    <a:pt x="830844" y="398089"/>
                  </a:lnTo>
                  <a:lnTo>
                    <a:pt x="826814" y="391760"/>
                  </a:lnTo>
                  <a:lnTo>
                    <a:pt x="822119" y="385888"/>
                  </a:lnTo>
                  <a:lnTo>
                    <a:pt x="821724" y="384765"/>
                  </a:lnTo>
                  <a:lnTo>
                    <a:pt x="821724" y="378831"/>
                  </a:lnTo>
                  <a:lnTo>
                    <a:pt x="822249" y="377520"/>
                  </a:lnTo>
                  <a:lnTo>
                    <a:pt x="827687" y="372120"/>
                  </a:lnTo>
                  <a:lnTo>
                    <a:pt x="827687" y="371069"/>
                  </a:lnTo>
                  <a:cubicBezTo>
                    <a:pt x="827687" y="370279"/>
                    <a:pt x="828179" y="369618"/>
                    <a:pt x="828931" y="369353"/>
                  </a:cubicBezTo>
                  <a:lnTo>
                    <a:pt x="832464" y="368187"/>
                  </a:lnTo>
                  <a:lnTo>
                    <a:pt x="832619" y="368143"/>
                  </a:lnTo>
                  <a:lnTo>
                    <a:pt x="834928" y="367565"/>
                  </a:lnTo>
                  <a:lnTo>
                    <a:pt x="836634" y="366953"/>
                  </a:lnTo>
                  <a:lnTo>
                    <a:pt x="837926" y="367015"/>
                  </a:lnTo>
                  <a:lnTo>
                    <a:pt x="843846" y="369377"/>
                  </a:lnTo>
                  <a:lnTo>
                    <a:pt x="844911" y="370558"/>
                  </a:lnTo>
                  <a:lnTo>
                    <a:pt x="844689" y="372120"/>
                  </a:lnTo>
                  <a:lnTo>
                    <a:pt x="840949" y="377447"/>
                  </a:lnTo>
                  <a:lnTo>
                    <a:pt x="841961" y="383097"/>
                  </a:lnTo>
                  <a:lnTo>
                    <a:pt x="843619" y="387214"/>
                  </a:lnTo>
                  <a:lnTo>
                    <a:pt x="848541" y="385469"/>
                  </a:lnTo>
                  <a:cubicBezTo>
                    <a:pt x="849370" y="385122"/>
                    <a:pt x="850359" y="385493"/>
                    <a:pt x="850739" y="386337"/>
                  </a:cubicBezTo>
                  <a:lnTo>
                    <a:pt x="853762" y="392276"/>
                  </a:lnTo>
                  <a:lnTo>
                    <a:pt x="853560" y="393322"/>
                  </a:lnTo>
                  <a:cubicBezTo>
                    <a:pt x="866272" y="384567"/>
                    <a:pt x="883376" y="384567"/>
                    <a:pt x="891204" y="373046"/>
                  </a:cubicBezTo>
                  <a:cubicBezTo>
                    <a:pt x="888973" y="368365"/>
                    <a:pt x="890665" y="353816"/>
                    <a:pt x="888423" y="347617"/>
                  </a:cubicBezTo>
                  <a:lnTo>
                    <a:pt x="888423" y="347617"/>
                  </a:lnTo>
                  <a:lnTo>
                    <a:pt x="887271" y="341687"/>
                  </a:lnTo>
                  <a:lnTo>
                    <a:pt x="887213" y="341326"/>
                  </a:lnTo>
                  <a:lnTo>
                    <a:pt x="887213" y="334538"/>
                  </a:lnTo>
                  <a:lnTo>
                    <a:pt x="882031" y="330923"/>
                  </a:lnTo>
                  <a:cubicBezTo>
                    <a:pt x="881255" y="330378"/>
                    <a:pt x="880999" y="329298"/>
                    <a:pt x="881496" y="328498"/>
                  </a:cubicBezTo>
                  <a:lnTo>
                    <a:pt x="883332" y="325528"/>
                  </a:lnTo>
                  <a:lnTo>
                    <a:pt x="883757" y="324988"/>
                  </a:lnTo>
                  <a:lnTo>
                    <a:pt x="884629" y="324347"/>
                  </a:lnTo>
                  <a:cubicBezTo>
                    <a:pt x="883091" y="309538"/>
                    <a:pt x="872862" y="305489"/>
                    <a:pt x="872862" y="30548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30" name="Freihandform: Form 629">
              <a:extLst>
                <a:ext uri="{FF2B5EF4-FFF2-40B4-BE49-F238E27FC236}">
                  <a16:creationId xmlns:a16="http://schemas.microsoft.com/office/drawing/2014/main" id="{7CD670D3-89C1-6032-575E-2DD4514985E0}"/>
                </a:ext>
              </a:extLst>
            </p:cNvPr>
            <p:cNvSpPr/>
            <p:nvPr/>
          </p:nvSpPr>
          <p:spPr>
            <a:xfrm>
              <a:off x="2773775" y="5376929"/>
              <a:ext cx="541276" cy="874745"/>
            </a:xfrm>
            <a:custGeom>
              <a:avLst/>
              <a:gdLst>
                <a:gd name="connsiteX0" fmla="*/ 169530 w 424714"/>
                <a:gd name="connsiteY0" fmla="*/ 660611 h 684868"/>
                <a:gd name="connsiteX1" fmla="*/ 170176 w 424714"/>
                <a:gd name="connsiteY1" fmla="*/ 654045 h 684868"/>
                <a:gd name="connsiteX2" fmla="*/ 171853 w 424714"/>
                <a:gd name="connsiteY2" fmla="*/ 635558 h 684868"/>
                <a:gd name="connsiteX3" fmla="*/ 169130 w 424714"/>
                <a:gd name="connsiteY3" fmla="*/ 627690 h 684868"/>
                <a:gd name="connsiteX4" fmla="*/ 168117 w 424714"/>
                <a:gd name="connsiteY4" fmla="*/ 622132 h 684868"/>
                <a:gd name="connsiteX5" fmla="*/ 179596 w 424714"/>
                <a:gd name="connsiteY5" fmla="*/ 610885 h 684868"/>
                <a:gd name="connsiteX6" fmla="*/ 181177 w 424714"/>
                <a:gd name="connsiteY6" fmla="*/ 605221 h 684868"/>
                <a:gd name="connsiteX7" fmla="*/ 185559 w 424714"/>
                <a:gd name="connsiteY7" fmla="*/ 598501 h 684868"/>
                <a:gd name="connsiteX8" fmla="*/ 199505 w 424714"/>
                <a:gd name="connsiteY8" fmla="*/ 591241 h 684868"/>
                <a:gd name="connsiteX9" fmla="*/ 208409 w 424714"/>
                <a:gd name="connsiteY9" fmla="*/ 577704 h 684868"/>
                <a:gd name="connsiteX10" fmla="*/ 212024 w 424714"/>
                <a:gd name="connsiteY10" fmla="*/ 571876 h 684868"/>
                <a:gd name="connsiteX11" fmla="*/ 218489 w 424714"/>
                <a:gd name="connsiteY11" fmla="*/ 573573 h 684868"/>
                <a:gd name="connsiteX12" fmla="*/ 225855 w 424714"/>
                <a:gd name="connsiteY12" fmla="*/ 569172 h 684868"/>
                <a:gd name="connsiteX13" fmla="*/ 232696 w 424714"/>
                <a:gd name="connsiteY13" fmla="*/ 571230 h 684868"/>
                <a:gd name="connsiteX14" fmla="*/ 238500 w 424714"/>
                <a:gd name="connsiteY14" fmla="*/ 569552 h 684868"/>
                <a:gd name="connsiteX15" fmla="*/ 241084 w 424714"/>
                <a:gd name="connsiteY15" fmla="*/ 562447 h 684868"/>
                <a:gd name="connsiteX16" fmla="*/ 247028 w 424714"/>
                <a:gd name="connsiteY16" fmla="*/ 558079 h 684868"/>
                <a:gd name="connsiteX17" fmla="*/ 249491 w 424714"/>
                <a:gd name="connsiteY17" fmla="*/ 550433 h 684868"/>
                <a:gd name="connsiteX18" fmla="*/ 236056 w 424714"/>
                <a:gd name="connsiteY18" fmla="*/ 549932 h 684868"/>
                <a:gd name="connsiteX19" fmla="*/ 230758 w 424714"/>
                <a:gd name="connsiteY19" fmla="*/ 541805 h 684868"/>
                <a:gd name="connsiteX20" fmla="*/ 228555 w 424714"/>
                <a:gd name="connsiteY20" fmla="*/ 535354 h 684868"/>
                <a:gd name="connsiteX21" fmla="*/ 225190 w 424714"/>
                <a:gd name="connsiteY21" fmla="*/ 525906 h 684868"/>
                <a:gd name="connsiteX22" fmla="*/ 219906 w 424714"/>
                <a:gd name="connsiteY22" fmla="*/ 514659 h 684868"/>
                <a:gd name="connsiteX23" fmla="*/ 218094 w 424714"/>
                <a:gd name="connsiteY23" fmla="*/ 507823 h 684868"/>
                <a:gd name="connsiteX24" fmla="*/ 219121 w 424714"/>
                <a:gd name="connsiteY24" fmla="*/ 504352 h 684868"/>
                <a:gd name="connsiteX25" fmla="*/ 223522 w 424714"/>
                <a:gd name="connsiteY25" fmla="*/ 493752 h 684868"/>
                <a:gd name="connsiteX26" fmla="*/ 229861 w 424714"/>
                <a:gd name="connsiteY26" fmla="*/ 487422 h 684868"/>
                <a:gd name="connsiteX27" fmla="*/ 229196 w 424714"/>
                <a:gd name="connsiteY27" fmla="*/ 481189 h 684868"/>
                <a:gd name="connsiteX28" fmla="*/ 233342 w 424714"/>
                <a:gd name="connsiteY28" fmla="*/ 472965 h 684868"/>
                <a:gd name="connsiteX29" fmla="*/ 260328 w 424714"/>
                <a:gd name="connsiteY29" fmla="*/ 457341 h 684868"/>
                <a:gd name="connsiteX30" fmla="*/ 273112 w 424714"/>
                <a:gd name="connsiteY30" fmla="*/ 440777 h 684868"/>
                <a:gd name="connsiteX31" fmla="*/ 271435 w 424714"/>
                <a:gd name="connsiteY31" fmla="*/ 438333 h 684868"/>
                <a:gd name="connsiteX32" fmla="*/ 271300 w 424714"/>
                <a:gd name="connsiteY32" fmla="*/ 432292 h 684868"/>
                <a:gd name="connsiteX33" fmla="*/ 266021 w 424714"/>
                <a:gd name="connsiteY33" fmla="*/ 425572 h 684868"/>
                <a:gd name="connsiteX34" fmla="*/ 258130 w 424714"/>
                <a:gd name="connsiteY34" fmla="*/ 427221 h 684868"/>
                <a:gd name="connsiteX35" fmla="*/ 255281 w 424714"/>
                <a:gd name="connsiteY35" fmla="*/ 414451 h 684868"/>
                <a:gd name="connsiteX36" fmla="*/ 249091 w 424714"/>
                <a:gd name="connsiteY36" fmla="*/ 407225 h 684868"/>
                <a:gd name="connsiteX37" fmla="*/ 251670 w 424714"/>
                <a:gd name="connsiteY37" fmla="*/ 400370 h 684868"/>
                <a:gd name="connsiteX38" fmla="*/ 246965 w 424714"/>
                <a:gd name="connsiteY38" fmla="*/ 387643 h 684868"/>
                <a:gd name="connsiteX39" fmla="*/ 251925 w 424714"/>
                <a:gd name="connsiteY39" fmla="*/ 373504 h 684868"/>
                <a:gd name="connsiteX40" fmla="*/ 239806 w 424714"/>
                <a:gd name="connsiteY40" fmla="*/ 361751 h 684868"/>
                <a:gd name="connsiteX41" fmla="*/ 234364 w 424714"/>
                <a:gd name="connsiteY41" fmla="*/ 350253 h 684868"/>
                <a:gd name="connsiteX42" fmla="*/ 234629 w 424714"/>
                <a:gd name="connsiteY42" fmla="*/ 341629 h 684868"/>
                <a:gd name="connsiteX43" fmla="*/ 270524 w 424714"/>
                <a:gd name="connsiteY43" fmla="*/ 351025 h 684868"/>
                <a:gd name="connsiteX44" fmla="*/ 283834 w 424714"/>
                <a:gd name="connsiteY44" fmla="*/ 354669 h 684868"/>
                <a:gd name="connsiteX45" fmla="*/ 293885 w 424714"/>
                <a:gd name="connsiteY45" fmla="*/ 338501 h 684868"/>
                <a:gd name="connsiteX46" fmla="*/ 296474 w 424714"/>
                <a:gd name="connsiteY46" fmla="*/ 333844 h 684868"/>
                <a:gd name="connsiteX47" fmla="*/ 310555 w 424714"/>
                <a:gd name="connsiteY47" fmla="*/ 313703 h 684868"/>
                <a:gd name="connsiteX48" fmla="*/ 307306 w 424714"/>
                <a:gd name="connsiteY48" fmla="*/ 297703 h 684868"/>
                <a:gd name="connsiteX49" fmla="*/ 302798 w 424714"/>
                <a:gd name="connsiteY49" fmla="*/ 293716 h 684868"/>
                <a:gd name="connsiteX50" fmla="*/ 304100 w 424714"/>
                <a:gd name="connsiteY50" fmla="*/ 279910 h 684868"/>
                <a:gd name="connsiteX51" fmla="*/ 311717 w 424714"/>
                <a:gd name="connsiteY51" fmla="*/ 277813 h 684868"/>
                <a:gd name="connsiteX52" fmla="*/ 320119 w 424714"/>
                <a:gd name="connsiteY52" fmla="*/ 278338 h 684868"/>
                <a:gd name="connsiteX53" fmla="*/ 323330 w 424714"/>
                <a:gd name="connsiteY53" fmla="*/ 272920 h 684868"/>
                <a:gd name="connsiteX54" fmla="*/ 331467 w 424714"/>
                <a:gd name="connsiteY54" fmla="*/ 268258 h 684868"/>
                <a:gd name="connsiteX55" fmla="*/ 328252 w 424714"/>
                <a:gd name="connsiteY55" fmla="*/ 253299 h 684868"/>
                <a:gd name="connsiteX56" fmla="*/ 334581 w 424714"/>
                <a:gd name="connsiteY56" fmla="*/ 243325 h 684868"/>
                <a:gd name="connsiteX57" fmla="*/ 333024 w 424714"/>
                <a:gd name="connsiteY57" fmla="*/ 236461 h 684868"/>
                <a:gd name="connsiteX58" fmla="*/ 338182 w 424714"/>
                <a:gd name="connsiteY58" fmla="*/ 215423 h 684868"/>
                <a:gd name="connsiteX59" fmla="*/ 342844 w 424714"/>
                <a:gd name="connsiteY59" fmla="*/ 203164 h 684868"/>
                <a:gd name="connsiteX60" fmla="*/ 340381 w 424714"/>
                <a:gd name="connsiteY60" fmla="*/ 189994 h 684868"/>
                <a:gd name="connsiteX61" fmla="*/ 335473 w 424714"/>
                <a:gd name="connsiteY61" fmla="*/ 176544 h 684868"/>
                <a:gd name="connsiteX62" fmla="*/ 348904 w 424714"/>
                <a:gd name="connsiteY62" fmla="*/ 178217 h 684868"/>
                <a:gd name="connsiteX63" fmla="*/ 355243 w 424714"/>
                <a:gd name="connsiteY63" fmla="*/ 170740 h 684868"/>
                <a:gd name="connsiteX64" fmla="*/ 358092 w 424714"/>
                <a:gd name="connsiteY64" fmla="*/ 165085 h 684868"/>
                <a:gd name="connsiteX65" fmla="*/ 370472 w 424714"/>
                <a:gd name="connsiteY65" fmla="*/ 155400 h 684868"/>
                <a:gd name="connsiteX66" fmla="*/ 395399 w 424714"/>
                <a:gd name="connsiteY66" fmla="*/ 148391 h 684868"/>
                <a:gd name="connsiteX67" fmla="*/ 400447 w 424714"/>
                <a:gd name="connsiteY67" fmla="*/ 141936 h 684868"/>
                <a:gd name="connsiteX68" fmla="*/ 407668 w 424714"/>
                <a:gd name="connsiteY68" fmla="*/ 143383 h 684868"/>
                <a:gd name="connsiteX69" fmla="*/ 414518 w 424714"/>
                <a:gd name="connsiteY69" fmla="*/ 131230 h 684868"/>
                <a:gd name="connsiteX70" fmla="*/ 424714 w 424714"/>
                <a:gd name="connsiteY70" fmla="*/ 121921 h 684868"/>
                <a:gd name="connsiteX71" fmla="*/ 400051 w 424714"/>
                <a:gd name="connsiteY71" fmla="*/ 102570 h 684868"/>
                <a:gd name="connsiteX72" fmla="*/ 393837 w 424714"/>
                <a:gd name="connsiteY72" fmla="*/ 98034 h 684868"/>
                <a:gd name="connsiteX73" fmla="*/ 393837 w 424714"/>
                <a:gd name="connsiteY73" fmla="*/ 90027 h 684868"/>
                <a:gd name="connsiteX74" fmla="*/ 399415 w 424714"/>
                <a:gd name="connsiteY74" fmla="*/ 80742 h 684868"/>
                <a:gd name="connsiteX75" fmla="*/ 398750 w 424714"/>
                <a:gd name="connsiteY75" fmla="*/ 72619 h 684868"/>
                <a:gd name="connsiteX76" fmla="*/ 399415 w 424714"/>
                <a:gd name="connsiteY76" fmla="*/ 65480 h 684868"/>
                <a:gd name="connsiteX77" fmla="*/ 389455 w 424714"/>
                <a:gd name="connsiteY77" fmla="*/ 61990 h 684868"/>
                <a:gd name="connsiteX78" fmla="*/ 375389 w 424714"/>
                <a:gd name="connsiteY78" fmla="*/ 56687 h 684868"/>
                <a:gd name="connsiteX79" fmla="*/ 369180 w 424714"/>
                <a:gd name="connsiteY79" fmla="*/ 57237 h 684868"/>
                <a:gd name="connsiteX80" fmla="*/ 361944 w 424714"/>
                <a:gd name="connsiteY80" fmla="*/ 55809 h 684868"/>
                <a:gd name="connsiteX81" fmla="*/ 359114 w 424714"/>
                <a:gd name="connsiteY81" fmla="*/ 50786 h 684868"/>
                <a:gd name="connsiteX82" fmla="*/ 355248 w 424714"/>
                <a:gd name="connsiteY82" fmla="*/ 53221 h 684868"/>
                <a:gd name="connsiteX83" fmla="*/ 343485 w 424714"/>
                <a:gd name="connsiteY83" fmla="*/ 44302 h 684868"/>
                <a:gd name="connsiteX84" fmla="*/ 334832 w 424714"/>
                <a:gd name="connsiteY84" fmla="*/ 57237 h 684868"/>
                <a:gd name="connsiteX85" fmla="*/ 324516 w 424714"/>
                <a:gd name="connsiteY85" fmla="*/ 59569 h 684868"/>
                <a:gd name="connsiteX86" fmla="*/ 317926 w 424714"/>
                <a:gd name="connsiteY86" fmla="*/ 57863 h 684868"/>
                <a:gd name="connsiteX87" fmla="*/ 311206 w 424714"/>
                <a:gd name="connsiteY87" fmla="*/ 62655 h 684868"/>
                <a:gd name="connsiteX88" fmla="*/ 309788 w 424714"/>
                <a:gd name="connsiteY88" fmla="*/ 58403 h 684868"/>
                <a:gd name="connsiteX89" fmla="*/ 306158 w 424714"/>
                <a:gd name="connsiteY89" fmla="*/ 52710 h 684868"/>
                <a:gd name="connsiteX90" fmla="*/ 301256 w 424714"/>
                <a:gd name="connsiteY90" fmla="*/ 56851 h 684868"/>
                <a:gd name="connsiteX91" fmla="*/ 293629 w 424714"/>
                <a:gd name="connsiteY91" fmla="*/ 55255 h 684868"/>
                <a:gd name="connsiteX92" fmla="*/ 292858 w 424714"/>
                <a:gd name="connsiteY92" fmla="*/ 49369 h 684868"/>
                <a:gd name="connsiteX93" fmla="*/ 288852 w 424714"/>
                <a:gd name="connsiteY93" fmla="*/ 44534 h 684868"/>
                <a:gd name="connsiteX94" fmla="*/ 272197 w 424714"/>
                <a:gd name="connsiteY94" fmla="*/ 43285 h 684868"/>
                <a:gd name="connsiteX95" fmla="*/ 267284 w 424714"/>
                <a:gd name="connsiteY95" fmla="*/ 36155 h 684868"/>
                <a:gd name="connsiteX96" fmla="*/ 261856 w 424714"/>
                <a:gd name="connsiteY96" fmla="*/ 42013 h 684868"/>
                <a:gd name="connsiteX97" fmla="*/ 248185 w 424714"/>
                <a:gd name="connsiteY97" fmla="*/ 46872 h 684868"/>
                <a:gd name="connsiteX98" fmla="*/ 238755 w 424714"/>
                <a:gd name="connsiteY98" fmla="*/ 39511 h 684868"/>
                <a:gd name="connsiteX99" fmla="*/ 236663 w 424714"/>
                <a:gd name="connsiteY99" fmla="*/ 32448 h 684868"/>
                <a:gd name="connsiteX100" fmla="*/ 253078 w 424714"/>
                <a:gd name="connsiteY100" fmla="*/ 17167 h 684868"/>
                <a:gd name="connsiteX101" fmla="*/ 251279 w 424714"/>
                <a:gd name="connsiteY101" fmla="*/ 10717 h 684868"/>
                <a:gd name="connsiteX102" fmla="*/ 245466 w 424714"/>
                <a:gd name="connsiteY102" fmla="*/ 11372 h 684868"/>
                <a:gd name="connsiteX103" fmla="*/ 246758 w 424714"/>
                <a:gd name="connsiteY103" fmla="*/ 0 h 684868"/>
                <a:gd name="connsiteX104" fmla="*/ 239912 w 424714"/>
                <a:gd name="connsiteY104" fmla="*/ 1316 h 684868"/>
                <a:gd name="connsiteX105" fmla="*/ 232271 w 424714"/>
                <a:gd name="connsiteY105" fmla="*/ 4903 h 684868"/>
                <a:gd name="connsiteX106" fmla="*/ 218470 w 424714"/>
                <a:gd name="connsiteY106" fmla="*/ 1668 h 684868"/>
                <a:gd name="connsiteX107" fmla="*/ 209045 w 424714"/>
                <a:gd name="connsiteY107" fmla="*/ 1538 h 684868"/>
                <a:gd name="connsiteX108" fmla="*/ 199071 w 424714"/>
                <a:gd name="connsiteY108" fmla="*/ 3490 h 684868"/>
                <a:gd name="connsiteX109" fmla="*/ 188451 w 424714"/>
                <a:gd name="connsiteY109" fmla="*/ 11488 h 684868"/>
                <a:gd name="connsiteX110" fmla="*/ 187781 w 424714"/>
                <a:gd name="connsiteY110" fmla="*/ 13681 h 684868"/>
                <a:gd name="connsiteX111" fmla="*/ 181813 w 424714"/>
                <a:gd name="connsiteY111" fmla="*/ 17234 h 684868"/>
                <a:gd name="connsiteX112" fmla="*/ 181220 w 424714"/>
                <a:gd name="connsiteY112" fmla="*/ 17494 h 684868"/>
                <a:gd name="connsiteX113" fmla="*/ 180536 w 424714"/>
                <a:gd name="connsiteY113" fmla="*/ 17581 h 684868"/>
                <a:gd name="connsiteX114" fmla="*/ 169631 w 424714"/>
                <a:gd name="connsiteY114" fmla="*/ 41473 h 684868"/>
                <a:gd name="connsiteX115" fmla="*/ 178419 w 424714"/>
                <a:gd name="connsiteY115" fmla="*/ 43131 h 684868"/>
                <a:gd name="connsiteX116" fmla="*/ 179716 w 424714"/>
                <a:gd name="connsiteY116" fmla="*/ 45127 h 684868"/>
                <a:gd name="connsiteX117" fmla="*/ 177894 w 424714"/>
                <a:gd name="connsiteY117" fmla="*/ 46674 h 684868"/>
                <a:gd name="connsiteX118" fmla="*/ 177311 w 424714"/>
                <a:gd name="connsiteY118" fmla="*/ 46674 h 684868"/>
                <a:gd name="connsiteX119" fmla="*/ 177147 w 424714"/>
                <a:gd name="connsiteY119" fmla="*/ 46645 h 684868"/>
                <a:gd name="connsiteX120" fmla="*/ 171275 w 424714"/>
                <a:gd name="connsiteY120" fmla="*/ 46091 h 684868"/>
                <a:gd name="connsiteX121" fmla="*/ 170793 w 424714"/>
                <a:gd name="connsiteY121" fmla="*/ 46091 h 684868"/>
                <a:gd name="connsiteX122" fmla="*/ 168889 w 424714"/>
                <a:gd name="connsiteY122" fmla="*/ 75271 h 684868"/>
                <a:gd name="connsiteX123" fmla="*/ 167804 w 424714"/>
                <a:gd name="connsiteY123" fmla="*/ 94255 h 684868"/>
                <a:gd name="connsiteX124" fmla="*/ 167804 w 424714"/>
                <a:gd name="connsiteY124" fmla="*/ 94428 h 684868"/>
                <a:gd name="connsiteX125" fmla="*/ 167211 w 424714"/>
                <a:gd name="connsiteY125" fmla="*/ 101008 h 684868"/>
                <a:gd name="connsiteX126" fmla="*/ 166633 w 424714"/>
                <a:gd name="connsiteY126" fmla="*/ 106841 h 684868"/>
                <a:gd name="connsiteX127" fmla="*/ 166633 w 424714"/>
                <a:gd name="connsiteY127" fmla="*/ 112072 h 684868"/>
                <a:gd name="connsiteX128" fmla="*/ 166874 w 424714"/>
                <a:gd name="connsiteY128" fmla="*/ 112188 h 684868"/>
                <a:gd name="connsiteX129" fmla="*/ 171632 w 424714"/>
                <a:gd name="connsiteY129" fmla="*/ 118763 h 684868"/>
                <a:gd name="connsiteX130" fmla="*/ 171521 w 424714"/>
                <a:gd name="connsiteY130" fmla="*/ 121029 h 684868"/>
                <a:gd name="connsiteX131" fmla="*/ 167756 w 424714"/>
                <a:gd name="connsiteY131" fmla="*/ 125358 h 684868"/>
                <a:gd name="connsiteX132" fmla="*/ 167211 w 424714"/>
                <a:gd name="connsiteY132" fmla="*/ 130636 h 684868"/>
                <a:gd name="connsiteX133" fmla="*/ 167211 w 424714"/>
                <a:gd name="connsiteY133" fmla="*/ 137087 h 684868"/>
                <a:gd name="connsiteX134" fmla="*/ 167134 w 424714"/>
                <a:gd name="connsiteY134" fmla="*/ 137709 h 684868"/>
                <a:gd name="connsiteX135" fmla="*/ 166517 w 424714"/>
                <a:gd name="connsiteY135" fmla="*/ 139425 h 684868"/>
                <a:gd name="connsiteX136" fmla="*/ 166430 w 424714"/>
                <a:gd name="connsiteY136" fmla="*/ 139690 h 684868"/>
                <a:gd name="connsiteX137" fmla="*/ 159136 w 424714"/>
                <a:gd name="connsiteY137" fmla="*/ 155608 h 684868"/>
                <a:gd name="connsiteX138" fmla="*/ 159739 w 424714"/>
                <a:gd name="connsiteY138" fmla="*/ 155531 h 684868"/>
                <a:gd name="connsiteX139" fmla="*/ 161262 w 424714"/>
                <a:gd name="connsiteY139" fmla="*/ 157001 h 684868"/>
                <a:gd name="connsiteX140" fmla="*/ 162434 w 424714"/>
                <a:gd name="connsiteY140" fmla="*/ 163543 h 684868"/>
                <a:gd name="connsiteX141" fmla="*/ 161581 w 424714"/>
                <a:gd name="connsiteY141" fmla="*/ 165437 h 684868"/>
                <a:gd name="connsiteX142" fmla="*/ 156312 w 424714"/>
                <a:gd name="connsiteY142" fmla="*/ 168580 h 684868"/>
                <a:gd name="connsiteX143" fmla="*/ 155347 w 424714"/>
                <a:gd name="connsiteY143" fmla="*/ 173396 h 684868"/>
                <a:gd name="connsiteX144" fmla="*/ 156471 w 424714"/>
                <a:gd name="connsiteY144" fmla="*/ 178993 h 684868"/>
                <a:gd name="connsiteX145" fmla="*/ 155989 w 424714"/>
                <a:gd name="connsiteY145" fmla="*/ 180647 h 684868"/>
                <a:gd name="connsiteX146" fmla="*/ 150040 w 424714"/>
                <a:gd name="connsiteY146" fmla="*/ 186586 h 684868"/>
                <a:gd name="connsiteX147" fmla="*/ 148622 w 424714"/>
                <a:gd name="connsiteY147" fmla="*/ 187106 h 684868"/>
                <a:gd name="connsiteX148" fmla="*/ 147278 w 424714"/>
                <a:gd name="connsiteY148" fmla="*/ 186369 h 684868"/>
                <a:gd name="connsiteX149" fmla="*/ 146415 w 424714"/>
                <a:gd name="connsiteY149" fmla="*/ 185231 h 684868"/>
                <a:gd name="connsiteX150" fmla="*/ 142404 w 424714"/>
                <a:gd name="connsiteY150" fmla="*/ 187212 h 684868"/>
                <a:gd name="connsiteX151" fmla="*/ 139690 w 424714"/>
                <a:gd name="connsiteY151" fmla="*/ 193166 h 684868"/>
                <a:gd name="connsiteX152" fmla="*/ 139651 w 424714"/>
                <a:gd name="connsiteY152" fmla="*/ 193267 h 684868"/>
                <a:gd name="connsiteX153" fmla="*/ 136686 w 424714"/>
                <a:gd name="connsiteY153" fmla="*/ 199206 h 684868"/>
                <a:gd name="connsiteX154" fmla="*/ 135481 w 424714"/>
                <a:gd name="connsiteY154" fmla="*/ 201569 h 684868"/>
                <a:gd name="connsiteX155" fmla="*/ 135462 w 424714"/>
                <a:gd name="connsiteY155" fmla="*/ 201631 h 684868"/>
                <a:gd name="connsiteX156" fmla="*/ 131904 w 424714"/>
                <a:gd name="connsiteY156" fmla="*/ 208134 h 684868"/>
                <a:gd name="connsiteX157" fmla="*/ 128959 w 424714"/>
                <a:gd name="connsiteY157" fmla="*/ 214088 h 684868"/>
                <a:gd name="connsiteX158" fmla="*/ 113431 w 424714"/>
                <a:gd name="connsiteY158" fmla="*/ 239025 h 684868"/>
                <a:gd name="connsiteX159" fmla="*/ 116425 w 424714"/>
                <a:gd name="connsiteY159" fmla="*/ 244502 h 684868"/>
                <a:gd name="connsiteX160" fmla="*/ 116517 w 424714"/>
                <a:gd name="connsiteY160" fmla="*/ 246097 h 684868"/>
                <a:gd name="connsiteX161" fmla="*/ 115326 w 424714"/>
                <a:gd name="connsiteY161" fmla="*/ 249019 h 684868"/>
                <a:gd name="connsiteX162" fmla="*/ 115258 w 424714"/>
                <a:gd name="connsiteY162" fmla="*/ 249139 h 684868"/>
                <a:gd name="connsiteX163" fmla="*/ 113484 w 424714"/>
                <a:gd name="connsiteY163" fmla="*/ 252750 h 684868"/>
                <a:gd name="connsiteX164" fmla="*/ 113393 w 424714"/>
                <a:gd name="connsiteY164" fmla="*/ 252899 h 684868"/>
                <a:gd name="connsiteX165" fmla="*/ 109218 w 424714"/>
                <a:gd name="connsiteY165" fmla="*/ 259475 h 684868"/>
                <a:gd name="connsiteX166" fmla="*/ 96747 w 424714"/>
                <a:gd name="connsiteY166" fmla="*/ 279052 h 684868"/>
                <a:gd name="connsiteX167" fmla="*/ 75970 w 424714"/>
                <a:gd name="connsiteY167" fmla="*/ 309924 h 684868"/>
                <a:gd name="connsiteX168" fmla="*/ 73039 w 424714"/>
                <a:gd name="connsiteY168" fmla="*/ 316359 h 684868"/>
                <a:gd name="connsiteX169" fmla="*/ 72663 w 424714"/>
                <a:gd name="connsiteY169" fmla="*/ 316860 h 684868"/>
                <a:gd name="connsiteX170" fmla="*/ 66709 w 424714"/>
                <a:gd name="connsiteY170" fmla="*/ 322829 h 684868"/>
                <a:gd name="connsiteX171" fmla="*/ 66116 w 424714"/>
                <a:gd name="connsiteY171" fmla="*/ 323253 h 684868"/>
                <a:gd name="connsiteX172" fmla="*/ 60505 w 424714"/>
                <a:gd name="connsiteY172" fmla="*/ 325480 h 684868"/>
                <a:gd name="connsiteX173" fmla="*/ 55674 w 424714"/>
                <a:gd name="connsiteY173" fmla="*/ 330354 h 684868"/>
                <a:gd name="connsiteX174" fmla="*/ 57603 w 424714"/>
                <a:gd name="connsiteY174" fmla="*/ 335179 h 684868"/>
                <a:gd name="connsiteX175" fmla="*/ 57116 w 424714"/>
                <a:gd name="connsiteY175" fmla="*/ 337228 h 684868"/>
                <a:gd name="connsiteX176" fmla="*/ 55048 w 424714"/>
                <a:gd name="connsiteY176" fmla="*/ 337440 h 684868"/>
                <a:gd name="connsiteX177" fmla="*/ 49128 w 424714"/>
                <a:gd name="connsiteY177" fmla="*/ 334258 h 684868"/>
                <a:gd name="connsiteX178" fmla="*/ 43652 w 424714"/>
                <a:gd name="connsiteY178" fmla="*/ 335719 h 684868"/>
                <a:gd name="connsiteX179" fmla="*/ 38768 w 424714"/>
                <a:gd name="connsiteY179" fmla="*/ 339629 h 684868"/>
                <a:gd name="connsiteX180" fmla="*/ 39284 w 424714"/>
                <a:gd name="connsiteY180" fmla="*/ 345226 h 684868"/>
                <a:gd name="connsiteX181" fmla="*/ 39086 w 424714"/>
                <a:gd name="connsiteY181" fmla="*/ 346180 h 684868"/>
                <a:gd name="connsiteX182" fmla="*/ 38599 w 424714"/>
                <a:gd name="connsiteY182" fmla="*/ 347154 h 684868"/>
                <a:gd name="connsiteX183" fmla="*/ 37457 w 424714"/>
                <a:gd name="connsiteY183" fmla="*/ 352871 h 684868"/>
                <a:gd name="connsiteX184" fmla="*/ 37201 w 424714"/>
                <a:gd name="connsiteY184" fmla="*/ 353493 h 684868"/>
                <a:gd name="connsiteX185" fmla="*/ 33060 w 424714"/>
                <a:gd name="connsiteY185" fmla="*/ 360030 h 684868"/>
                <a:gd name="connsiteX186" fmla="*/ 32882 w 424714"/>
                <a:gd name="connsiteY186" fmla="*/ 360266 h 684868"/>
                <a:gd name="connsiteX187" fmla="*/ 27589 w 424714"/>
                <a:gd name="connsiteY187" fmla="*/ 366152 h 684868"/>
                <a:gd name="connsiteX188" fmla="*/ 23053 w 424714"/>
                <a:gd name="connsiteY188" fmla="*/ 372361 h 684868"/>
                <a:gd name="connsiteX189" fmla="*/ 9159 w 424714"/>
                <a:gd name="connsiteY189" fmla="*/ 404183 h 684868"/>
                <a:gd name="connsiteX190" fmla="*/ 32241 w 424714"/>
                <a:gd name="connsiteY190" fmla="*/ 426266 h 684868"/>
                <a:gd name="connsiteX191" fmla="*/ 36763 w 424714"/>
                <a:gd name="connsiteY191" fmla="*/ 425756 h 684868"/>
                <a:gd name="connsiteX192" fmla="*/ 42456 w 424714"/>
                <a:gd name="connsiteY192" fmla="*/ 421619 h 684868"/>
                <a:gd name="connsiteX193" fmla="*/ 44056 w 424714"/>
                <a:gd name="connsiteY193" fmla="*/ 416268 h 684868"/>
                <a:gd name="connsiteX194" fmla="*/ 44288 w 424714"/>
                <a:gd name="connsiteY194" fmla="*/ 415743 h 684868"/>
                <a:gd name="connsiteX195" fmla="*/ 48482 w 424714"/>
                <a:gd name="connsiteY195" fmla="*/ 409789 h 684868"/>
                <a:gd name="connsiteX196" fmla="*/ 48969 w 424714"/>
                <a:gd name="connsiteY196" fmla="*/ 409312 h 684868"/>
                <a:gd name="connsiteX197" fmla="*/ 55284 w 424714"/>
                <a:gd name="connsiteY197" fmla="*/ 405292 h 684868"/>
                <a:gd name="connsiteX198" fmla="*/ 59849 w 424714"/>
                <a:gd name="connsiteY198" fmla="*/ 399589 h 684868"/>
                <a:gd name="connsiteX199" fmla="*/ 62259 w 424714"/>
                <a:gd name="connsiteY199" fmla="*/ 399189 h 684868"/>
                <a:gd name="connsiteX200" fmla="*/ 62886 w 424714"/>
                <a:gd name="connsiteY200" fmla="*/ 401522 h 684868"/>
                <a:gd name="connsiteX201" fmla="*/ 61835 w 424714"/>
                <a:gd name="connsiteY201" fmla="*/ 403609 h 684868"/>
                <a:gd name="connsiteX202" fmla="*/ 61310 w 424714"/>
                <a:gd name="connsiteY202" fmla="*/ 408998 h 684868"/>
                <a:gd name="connsiteX203" fmla="*/ 62438 w 424714"/>
                <a:gd name="connsiteY203" fmla="*/ 415203 h 684868"/>
                <a:gd name="connsiteX204" fmla="*/ 63609 w 424714"/>
                <a:gd name="connsiteY204" fmla="*/ 419277 h 684868"/>
                <a:gd name="connsiteX205" fmla="*/ 63672 w 424714"/>
                <a:gd name="connsiteY205" fmla="*/ 419932 h 684868"/>
                <a:gd name="connsiteX206" fmla="*/ 63069 w 424714"/>
                <a:gd name="connsiteY206" fmla="*/ 426493 h 684868"/>
                <a:gd name="connsiteX207" fmla="*/ 61430 w 424714"/>
                <a:gd name="connsiteY207" fmla="*/ 428127 h 684868"/>
                <a:gd name="connsiteX208" fmla="*/ 55645 w 424714"/>
                <a:gd name="connsiteY208" fmla="*/ 428701 h 684868"/>
                <a:gd name="connsiteX209" fmla="*/ 52464 w 424714"/>
                <a:gd name="connsiteY209" fmla="*/ 429569 h 684868"/>
                <a:gd name="connsiteX210" fmla="*/ 55959 w 424714"/>
                <a:gd name="connsiteY210" fmla="*/ 432683 h 684868"/>
                <a:gd name="connsiteX211" fmla="*/ 56532 w 424714"/>
                <a:gd name="connsiteY211" fmla="*/ 434269 h 684868"/>
                <a:gd name="connsiteX212" fmla="*/ 55607 w 424714"/>
                <a:gd name="connsiteY212" fmla="*/ 435652 h 684868"/>
                <a:gd name="connsiteX213" fmla="*/ 49041 w 424714"/>
                <a:gd name="connsiteY213" fmla="*/ 439220 h 684868"/>
                <a:gd name="connsiteX214" fmla="*/ 47508 w 424714"/>
                <a:gd name="connsiteY214" fmla="*/ 439287 h 684868"/>
                <a:gd name="connsiteX215" fmla="*/ 44678 w 424714"/>
                <a:gd name="connsiteY215" fmla="*/ 438173 h 684868"/>
                <a:gd name="connsiteX216" fmla="*/ 45194 w 424714"/>
                <a:gd name="connsiteY216" fmla="*/ 440844 h 684868"/>
                <a:gd name="connsiteX217" fmla="*/ 44529 w 424714"/>
                <a:gd name="connsiteY217" fmla="*/ 442652 h 684868"/>
                <a:gd name="connsiteX218" fmla="*/ 42605 w 424714"/>
                <a:gd name="connsiteY218" fmla="*/ 442840 h 684868"/>
                <a:gd name="connsiteX219" fmla="*/ 36642 w 424714"/>
                <a:gd name="connsiteY219" fmla="*/ 439866 h 684868"/>
                <a:gd name="connsiteX220" fmla="*/ 35765 w 424714"/>
                <a:gd name="connsiteY220" fmla="*/ 438815 h 684868"/>
                <a:gd name="connsiteX221" fmla="*/ 33740 w 424714"/>
                <a:gd name="connsiteY221" fmla="*/ 433290 h 684868"/>
                <a:gd name="connsiteX222" fmla="*/ 31277 w 424714"/>
                <a:gd name="connsiteY222" fmla="*/ 432881 h 684868"/>
                <a:gd name="connsiteX223" fmla="*/ 26986 w 424714"/>
                <a:gd name="connsiteY223" fmla="*/ 432490 h 684868"/>
                <a:gd name="connsiteX224" fmla="*/ 24051 w 424714"/>
                <a:gd name="connsiteY224" fmla="*/ 460816 h 684868"/>
                <a:gd name="connsiteX225" fmla="*/ 52719 w 424714"/>
                <a:gd name="connsiteY225" fmla="*/ 458035 h 684868"/>
                <a:gd name="connsiteX226" fmla="*/ 54161 w 424714"/>
                <a:gd name="connsiteY226" fmla="*/ 457958 h 684868"/>
                <a:gd name="connsiteX227" fmla="*/ 60688 w 424714"/>
                <a:gd name="connsiteY227" fmla="*/ 460315 h 684868"/>
                <a:gd name="connsiteX228" fmla="*/ 61541 w 424714"/>
                <a:gd name="connsiteY228" fmla="*/ 460937 h 684868"/>
                <a:gd name="connsiteX229" fmla="*/ 64699 w 424714"/>
                <a:gd name="connsiteY229" fmla="*/ 465290 h 684868"/>
                <a:gd name="connsiteX230" fmla="*/ 66854 w 424714"/>
                <a:gd name="connsiteY230" fmla="*/ 461670 h 684868"/>
                <a:gd name="connsiteX231" fmla="*/ 67177 w 424714"/>
                <a:gd name="connsiteY231" fmla="*/ 461260 h 684868"/>
                <a:gd name="connsiteX232" fmla="*/ 73159 w 424714"/>
                <a:gd name="connsiteY232" fmla="*/ 455885 h 684868"/>
                <a:gd name="connsiteX233" fmla="*/ 75627 w 424714"/>
                <a:gd name="connsiteY233" fmla="*/ 455991 h 684868"/>
                <a:gd name="connsiteX234" fmla="*/ 76244 w 424714"/>
                <a:gd name="connsiteY234" fmla="*/ 456550 h 684868"/>
                <a:gd name="connsiteX235" fmla="*/ 76664 w 424714"/>
                <a:gd name="connsiteY235" fmla="*/ 458541 h 684868"/>
                <a:gd name="connsiteX236" fmla="*/ 74355 w 424714"/>
                <a:gd name="connsiteY236" fmla="*/ 464263 h 684868"/>
                <a:gd name="connsiteX237" fmla="*/ 73805 w 424714"/>
                <a:gd name="connsiteY237" fmla="*/ 469668 h 684868"/>
                <a:gd name="connsiteX238" fmla="*/ 74832 w 424714"/>
                <a:gd name="connsiteY238" fmla="*/ 475259 h 684868"/>
                <a:gd name="connsiteX239" fmla="*/ 80785 w 424714"/>
                <a:gd name="connsiteY239" fmla="*/ 479598 h 684868"/>
                <a:gd name="connsiteX240" fmla="*/ 81282 w 424714"/>
                <a:gd name="connsiteY240" fmla="*/ 482008 h 684868"/>
                <a:gd name="connsiteX241" fmla="*/ 78958 w 424714"/>
                <a:gd name="connsiteY241" fmla="*/ 482712 h 684868"/>
                <a:gd name="connsiteX242" fmla="*/ 72426 w 424714"/>
                <a:gd name="connsiteY242" fmla="*/ 479723 h 684868"/>
                <a:gd name="connsiteX243" fmla="*/ 72364 w 424714"/>
                <a:gd name="connsiteY243" fmla="*/ 479723 h 684868"/>
                <a:gd name="connsiteX244" fmla="*/ 66801 w 424714"/>
                <a:gd name="connsiteY244" fmla="*/ 476893 h 684868"/>
                <a:gd name="connsiteX245" fmla="*/ 62076 w 424714"/>
                <a:gd name="connsiteY245" fmla="*/ 476893 h 684868"/>
                <a:gd name="connsiteX246" fmla="*/ 60129 w 424714"/>
                <a:gd name="connsiteY246" fmla="*/ 500877 h 684868"/>
                <a:gd name="connsiteX247" fmla="*/ 60129 w 424714"/>
                <a:gd name="connsiteY247" fmla="*/ 503104 h 684868"/>
                <a:gd name="connsiteX248" fmla="*/ 59955 w 424714"/>
                <a:gd name="connsiteY248" fmla="*/ 503841 h 684868"/>
                <a:gd name="connsiteX249" fmla="*/ 56981 w 424714"/>
                <a:gd name="connsiteY249" fmla="*/ 510349 h 684868"/>
                <a:gd name="connsiteX250" fmla="*/ 53997 w 424714"/>
                <a:gd name="connsiteY250" fmla="*/ 516920 h 684868"/>
                <a:gd name="connsiteX251" fmla="*/ 53867 w 424714"/>
                <a:gd name="connsiteY251" fmla="*/ 517147 h 684868"/>
                <a:gd name="connsiteX252" fmla="*/ 49711 w 424714"/>
                <a:gd name="connsiteY252" fmla="*/ 523698 h 684868"/>
                <a:gd name="connsiteX253" fmla="*/ 49644 w 424714"/>
                <a:gd name="connsiteY253" fmla="*/ 523799 h 684868"/>
                <a:gd name="connsiteX254" fmla="*/ 44972 w 424714"/>
                <a:gd name="connsiteY254" fmla="*/ 530211 h 684868"/>
                <a:gd name="connsiteX255" fmla="*/ 42615 w 424714"/>
                <a:gd name="connsiteY255" fmla="*/ 534891 h 684868"/>
                <a:gd name="connsiteX256" fmla="*/ 47267 w 424714"/>
                <a:gd name="connsiteY256" fmla="*/ 541274 h 684868"/>
                <a:gd name="connsiteX257" fmla="*/ 47580 w 424714"/>
                <a:gd name="connsiteY257" fmla="*/ 542667 h 684868"/>
                <a:gd name="connsiteX258" fmla="*/ 46395 w 424714"/>
                <a:gd name="connsiteY258" fmla="*/ 549214 h 684868"/>
                <a:gd name="connsiteX259" fmla="*/ 46395 w 424714"/>
                <a:gd name="connsiteY259" fmla="*/ 549252 h 684868"/>
                <a:gd name="connsiteX260" fmla="*/ 45189 w 424714"/>
                <a:gd name="connsiteY260" fmla="*/ 555211 h 684868"/>
                <a:gd name="connsiteX261" fmla="*/ 44688 w 424714"/>
                <a:gd name="connsiteY261" fmla="*/ 556137 h 684868"/>
                <a:gd name="connsiteX262" fmla="*/ 44288 w 424714"/>
                <a:gd name="connsiteY262" fmla="*/ 556517 h 684868"/>
                <a:gd name="connsiteX263" fmla="*/ 41376 w 424714"/>
                <a:gd name="connsiteY263" fmla="*/ 561882 h 684868"/>
                <a:gd name="connsiteX264" fmla="*/ 35707 w 424714"/>
                <a:gd name="connsiteY264" fmla="*/ 591742 h 684868"/>
                <a:gd name="connsiteX265" fmla="*/ 30534 w 424714"/>
                <a:gd name="connsiteY265" fmla="*/ 606605 h 684868"/>
                <a:gd name="connsiteX266" fmla="*/ 26451 w 424714"/>
                <a:gd name="connsiteY266" fmla="*/ 612399 h 684868"/>
                <a:gd name="connsiteX267" fmla="*/ 26374 w 424714"/>
                <a:gd name="connsiteY267" fmla="*/ 612524 h 684868"/>
                <a:gd name="connsiteX268" fmla="*/ 21250 w 424714"/>
                <a:gd name="connsiteY268" fmla="*/ 618782 h 684868"/>
                <a:gd name="connsiteX269" fmla="*/ 19553 w 424714"/>
                <a:gd name="connsiteY269" fmla="*/ 624417 h 684868"/>
                <a:gd name="connsiteX270" fmla="*/ 19374 w 424714"/>
                <a:gd name="connsiteY270" fmla="*/ 624783 h 684868"/>
                <a:gd name="connsiteX271" fmla="*/ 15802 w 424714"/>
                <a:gd name="connsiteY271" fmla="*/ 630766 h 684868"/>
                <a:gd name="connsiteX272" fmla="*/ 0 w 424714"/>
                <a:gd name="connsiteY272" fmla="*/ 654252 h 684868"/>
                <a:gd name="connsiteX273" fmla="*/ 3543 w 424714"/>
                <a:gd name="connsiteY273" fmla="*/ 655294 h 684868"/>
                <a:gd name="connsiteX274" fmla="*/ 8991 w 424714"/>
                <a:gd name="connsiteY274" fmla="*/ 653698 h 684868"/>
                <a:gd name="connsiteX275" fmla="*/ 9169 w 424714"/>
                <a:gd name="connsiteY275" fmla="*/ 653635 h 684868"/>
                <a:gd name="connsiteX276" fmla="*/ 15711 w 424714"/>
                <a:gd name="connsiteY276" fmla="*/ 652444 h 684868"/>
                <a:gd name="connsiteX277" fmla="*/ 16217 w 424714"/>
                <a:gd name="connsiteY277" fmla="*/ 652420 h 684868"/>
                <a:gd name="connsiteX278" fmla="*/ 22074 w 424714"/>
                <a:gd name="connsiteY278" fmla="*/ 652980 h 684868"/>
                <a:gd name="connsiteX279" fmla="*/ 28172 w 424714"/>
                <a:gd name="connsiteY279" fmla="*/ 652980 h 684868"/>
                <a:gd name="connsiteX280" fmla="*/ 33803 w 424714"/>
                <a:gd name="connsiteY280" fmla="*/ 650757 h 684868"/>
                <a:gd name="connsiteX281" fmla="*/ 34637 w 424714"/>
                <a:gd name="connsiteY281" fmla="*/ 650642 h 684868"/>
                <a:gd name="connsiteX282" fmla="*/ 40952 w 424714"/>
                <a:gd name="connsiteY282" fmla="*/ 651191 h 684868"/>
                <a:gd name="connsiteX283" fmla="*/ 46679 w 424714"/>
                <a:gd name="connsiteY283" fmla="*/ 650165 h 684868"/>
                <a:gd name="connsiteX284" fmla="*/ 46877 w 424714"/>
                <a:gd name="connsiteY284" fmla="*/ 649972 h 684868"/>
                <a:gd name="connsiteX285" fmla="*/ 48766 w 424714"/>
                <a:gd name="connsiteY285" fmla="*/ 649562 h 684868"/>
                <a:gd name="connsiteX286" fmla="*/ 50516 w 424714"/>
                <a:gd name="connsiteY286" fmla="*/ 650116 h 684868"/>
                <a:gd name="connsiteX287" fmla="*/ 51750 w 424714"/>
                <a:gd name="connsiteY287" fmla="*/ 652151 h 684868"/>
                <a:gd name="connsiteX288" fmla="*/ 50603 w 424714"/>
                <a:gd name="connsiteY288" fmla="*/ 653423 h 684868"/>
                <a:gd name="connsiteX289" fmla="*/ 50603 w 424714"/>
                <a:gd name="connsiteY289" fmla="*/ 656161 h 684868"/>
                <a:gd name="connsiteX290" fmla="*/ 55274 w 424714"/>
                <a:gd name="connsiteY290" fmla="*/ 658967 h 684868"/>
                <a:gd name="connsiteX291" fmla="*/ 61411 w 424714"/>
                <a:gd name="connsiteY291" fmla="*/ 659555 h 684868"/>
                <a:gd name="connsiteX292" fmla="*/ 61787 w 424714"/>
                <a:gd name="connsiteY292" fmla="*/ 659598 h 684868"/>
                <a:gd name="connsiteX293" fmla="*/ 67712 w 424714"/>
                <a:gd name="connsiteY293" fmla="*/ 661430 h 684868"/>
                <a:gd name="connsiteX294" fmla="*/ 68247 w 424714"/>
                <a:gd name="connsiteY294" fmla="*/ 661628 h 684868"/>
                <a:gd name="connsiteX295" fmla="*/ 73728 w 424714"/>
                <a:gd name="connsiteY295" fmla="*/ 665494 h 684868"/>
                <a:gd name="connsiteX296" fmla="*/ 79715 w 424714"/>
                <a:gd name="connsiteY296" fmla="*/ 665494 h 684868"/>
                <a:gd name="connsiteX297" fmla="*/ 80328 w 424714"/>
                <a:gd name="connsiteY297" fmla="*/ 665610 h 684868"/>
                <a:gd name="connsiteX298" fmla="*/ 86874 w 424714"/>
                <a:gd name="connsiteY298" fmla="*/ 667972 h 684868"/>
                <a:gd name="connsiteX299" fmla="*/ 122374 w 424714"/>
                <a:gd name="connsiteY299" fmla="*/ 683340 h 684868"/>
                <a:gd name="connsiteX300" fmla="*/ 124307 w 424714"/>
                <a:gd name="connsiteY300" fmla="*/ 684719 h 684868"/>
                <a:gd name="connsiteX301" fmla="*/ 124350 w 424714"/>
                <a:gd name="connsiteY301" fmla="*/ 684869 h 684868"/>
                <a:gd name="connsiteX302" fmla="*/ 147866 w 424714"/>
                <a:gd name="connsiteY302" fmla="*/ 674644 h 684868"/>
                <a:gd name="connsiteX303" fmla="*/ 148555 w 424714"/>
                <a:gd name="connsiteY303" fmla="*/ 674432 h 684868"/>
                <a:gd name="connsiteX304" fmla="*/ 154422 w 424714"/>
                <a:gd name="connsiteY304" fmla="*/ 673834 h 684868"/>
                <a:gd name="connsiteX305" fmla="*/ 160824 w 424714"/>
                <a:gd name="connsiteY305" fmla="*/ 672682 h 684868"/>
                <a:gd name="connsiteX306" fmla="*/ 165967 w 424714"/>
                <a:gd name="connsiteY306" fmla="*/ 671313 h 684868"/>
                <a:gd name="connsiteX307" fmla="*/ 166565 w 424714"/>
                <a:gd name="connsiteY307" fmla="*/ 665355 h 684868"/>
                <a:gd name="connsiteX308" fmla="*/ 168224 w 424714"/>
                <a:gd name="connsiteY308" fmla="*/ 663706 h 684868"/>
                <a:gd name="connsiteX309" fmla="*/ 169810 w 424714"/>
                <a:gd name="connsiteY309" fmla="*/ 664597 h 684868"/>
                <a:gd name="connsiteX310" fmla="*/ 169530 w 424714"/>
                <a:gd name="connsiteY310" fmla="*/ 660611 h 68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Lst>
              <a:rect l="l" t="t" r="r" b="b"/>
              <a:pathLst>
                <a:path w="424714" h="684868">
                  <a:moveTo>
                    <a:pt x="169530" y="660611"/>
                  </a:moveTo>
                  <a:cubicBezTo>
                    <a:pt x="168228" y="657651"/>
                    <a:pt x="168633" y="656739"/>
                    <a:pt x="170176" y="654045"/>
                  </a:cubicBezTo>
                  <a:cubicBezTo>
                    <a:pt x="171738" y="651316"/>
                    <a:pt x="171338" y="639573"/>
                    <a:pt x="171853" y="635558"/>
                  </a:cubicBezTo>
                  <a:cubicBezTo>
                    <a:pt x="172379" y="631566"/>
                    <a:pt x="171338" y="630530"/>
                    <a:pt x="169130" y="627690"/>
                  </a:cubicBezTo>
                  <a:cubicBezTo>
                    <a:pt x="166975" y="624822"/>
                    <a:pt x="168117" y="622132"/>
                    <a:pt x="168117" y="622132"/>
                  </a:cubicBezTo>
                  <a:lnTo>
                    <a:pt x="179596" y="610885"/>
                  </a:lnTo>
                  <a:lnTo>
                    <a:pt x="181177" y="605221"/>
                  </a:lnTo>
                  <a:cubicBezTo>
                    <a:pt x="181177" y="605221"/>
                    <a:pt x="183862" y="600694"/>
                    <a:pt x="185559" y="598501"/>
                  </a:cubicBezTo>
                  <a:cubicBezTo>
                    <a:pt x="187217" y="596312"/>
                    <a:pt x="197692" y="592287"/>
                    <a:pt x="199505" y="591241"/>
                  </a:cubicBezTo>
                  <a:cubicBezTo>
                    <a:pt x="201298" y="590233"/>
                    <a:pt x="208163" y="581339"/>
                    <a:pt x="208409" y="577704"/>
                  </a:cubicBezTo>
                  <a:cubicBezTo>
                    <a:pt x="208664" y="574094"/>
                    <a:pt x="212024" y="571876"/>
                    <a:pt x="212024" y="571876"/>
                  </a:cubicBezTo>
                  <a:lnTo>
                    <a:pt x="218489" y="573573"/>
                  </a:lnTo>
                  <a:lnTo>
                    <a:pt x="225855" y="569172"/>
                  </a:lnTo>
                  <a:lnTo>
                    <a:pt x="232696" y="571230"/>
                  </a:lnTo>
                  <a:lnTo>
                    <a:pt x="238500" y="569552"/>
                  </a:lnTo>
                  <a:lnTo>
                    <a:pt x="241084" y="562447"/>
                  </a:lnTo>
                  <a:lnTo>
                    <a:pt x="247028" y="558079"/>
                  </a:lnTo>
                  <a:cubicBezTo>
                    <a:pt x="247028" y="558079"/>
                    <a:pt x="248435" y="551745"/>
                    <a:pt x="249491" y="550433"/>
                  </a:cubicBezTo>
                  <a:cubicBezTo>
                    <a:pt x="245215" y="546316"/>
                    <a:pt x="238770" y="550048"/>
                    <a:pt x="236056" y="549932"/>
                  </a:cubicBezTo>
                  <a:cubicBezTo>
                    <a:pt x="231143" y="549532"/>
                    <a:pt x="230758" y="543863"/>
                    <a:pt x="230758" y="541805"/>
                  </a:cubicBezTo>
                  <a:cubicBezTo>
                    <a:pt x="230758" y="539731"/>
                    <a:pt x="229726" y="537403"/>
                    <a:pt x="228555" y="535354"/>
                  </a:cubicBezTo>
                  <a:cubicBezTo>
                    <a:pt x="227393" y="533248"/>
                    <a:pt x="225190" y="525906"/>
                    <a:pt x="225190" y="525906"/>
                  </a:cubicBezTo>
                  <a:cubicBezTo>
                    <a:pt x="225190" y="525906"/>
                    <a:pt x="221459" y="516491"/>
                    <a:pt x="219906" y="514659"/>
                  </a:cubicBezTo>
                  <a:cubicBezTo>
                    <a:pt x="218359" y="512851"/>
                    <a:pt x="216797" y="509255"/>
                    <a:pt x="218094" y="507823"/>
                  </a:cubicBezTo>
                  <a:cubicBezTo>
                    <a:pt x="219386" y="506415"/>
                    <a:pt x="220032" y="506169"/>
                    <a:pt x="219121" y="504352"/>
                  </a:cubicBezTo>
                  <a:cubicBezTo>
                    <a:pt x="218234" y="502520"/>
                    <a:pt x="223522" y="493752"/>
                    <a:pt x="223522" y="493752"/>
                  </a:cubicBezTo>
                  <a:lnTo>
                    <a:pt x="229861" y="487422"/>
                  </a:lnTo>
                  <a:lnTo>
                    <a:pt x="229196" y="481189"/>
                  </a:lnTo>
                  <a:cubicBezTo>
                    <a:pt x="229196" y="481189"/>
                    <a:pt x="231139" y="473851"/>
                    <a:pt x="233342" y="472965"/>
                  </a:cubicBezTo>
                  <a:cubicBezTo>
                    <a:pt x="235535" y="472049"/>
                    <a:pt x="255155" y="463005"/>
                    <a:pt x="260328" y="457341"/>
                  </a:cubicBezTo>
                  <a:cubicBezTo>
                    <a:pt x="260714" y="451889"/>
                    <a:pt x="273112" y="440777"/>
                    <a:pt x="273112" y="440777"/>
                  </a:cubicBezTo>
                  <a:lnTo>
                    <a:pt x="271435" y="438333"/>
                  </a:lnTo>
                  <a:lnTo>
                    <a:pt x="271300" y="432292"/>
                  </a:lnTo>
                  <a:lnTo>
                    <a:pt x="266021" y="425572"/>
                  </a:lnTo>
                  <a:lnTo>
                    <a:pt x="258130" y="427221"/>
                  </a:lnTo>
                  <a:lnTo>
                    <a:pt x="255281" y="414451"/>
                  </a:lnTo>
                  <a:lnTo>
                    <a:pt x="249091" y="407225"/>
                  </a:lnTo>
                  <a:lnTo>
                    <a:pt x="251670" y="400370"/>
                  </a:lnTo>
                  <a:lnTo>
                    <a:pt x="246965" y="387643"/>
                  </a:lnTo>
                  <a:cubicBezTo>
                    <a:pt x="246965" y="387643"/>
                    <a:pt x="249481" y="377770"/>
                    <a:pt x="251925" y="373504"/>
                  </a:cubicBezTo>
                  <a:cubicBezTo>
                    <a:pt x="246372" y="371831"/>
                    <a:pt x="240953" y="366533"/>
                    <a:pt x="239806" y="361751"/>
                  </a:cubicBezTo>
                  <a:cubicBezTo>
                    <a:pt x="238640" y="356988"/>
                    <a:pt x="234364" y="350253"/>
                    <a:pt x="234364" y="350253"/>
                  </a:cubicBezTo>
                  <a:cubicBezTo>
                    <a:pt x="234364" y="350253"/>
                    <a:pt x="233211" y="346778"/>
                    <a:pt x="234629" y="341629"/>
                  </a:cubicBezTo>
                  <a:cubicBezTo>
                    <a:pt x="242511" y="350895"/>
                    <a:pt x="263939" y="350634"/>
                    <a:pt x="270524" y="351025"/>
                  </a:cubicBezTo>
                  <a:cubicBezTo>
                    <a:pt x="277123" y="351444"/>
                    <a:pt x="279958" y="354669"/>
                    <a:pt x="283834" y="354669"/>
                  </a:cubicBezTo>
                  <a:cubicBezTo>
                    <a:pt x="290139" y="354669"/>
                    <a:pt x="293779" y="341629"/>
                    <a:pt x="293885" y="338501"/>
                  </a:cubicBezTo>
                  <a:cubicBezTo>
                    <a:pt x="294020" y="335411"/>
                    <a:pt x="293634" y="333984"/>
                    <a:pt x="296474" y="333844"/>
                  </a:cubicBezTo>
                  <a:cubicBezTo>
                    <a:pt x="300735" y="333743"/>
                    <a:pt x="308627" y="318374"/>
                    <a:pt x="310555" y="313703"/>
                  </a:cubicBezTo>
                  <a:cubicBezTo>
                    <a:pt x="312483" y="309080"/>
                    <a:pt x="307306" y="297703"/>
                    <a:pt x="307306" y="297703"/>
                  </a:cubicBezTo>
                  <a:cubicBezTo>
                    <a:pt x="307306" y="297703"/>
                    <a:pt x="307074" y="295510"/>
                    <a:pt x="302798" y="293716"/>
                  </a:cubicBezTo>
                  <a:cubicBezTo>
                    <a:pt x="298532" y="291899"/>
                    <a:pt x="304100" y="279910"/>
                    <a:pt x="304100" y="279910"/>
                  </a:cubicBezTo>
                  <a:cubicBezTo>
                    <a:pt x="304100" y="279910"/>
                    <a:pt x="306549" y="279100"/>
                    <a:pt x="311717" y="277813"/>
                  </a:cubicBezTo>
                  <a:cubicBezTo>
                    <a:pt x="313139" y="279225"/>
                    <a:pt x="320119" y="278338"/>
                    <a:pt x="320119" y="278338"/>
                  </a:cubicBezTo>
                  <a:lnTo>
                    <a:pt x="323330" y="272920"/>
                  </a:lnTo>
                  <a:cubicBezTo>
                    <a:pt x="323330" y="272920"/>
                    <a:pt x="325147" y="271854"/>
                    <a:pt x="331467" y="268258"/>
                  </a:cubicBezTo>
                  <a:cubicBezTo>
                    <a:pt x="324877" y="261779"/>
                    <a:pt x="325923" y="254953"/>
                    <a:pt x="328252" y="253299"/>
                  </a:cubicBezTo>
                  <a:cubicBezTo>
                    <a:pt x="330566" y="251578"/>
                    <a:pt x="334581" y="243325"/>
                    <a:pt x="334581" y="243325"/>
                  </a:cubicBezTo>
                  <a:cubicBezTo>
                    <a:pt x="334581" y="243325"/>
                    <a:pt x="334316" y="241648"/>
                    <a:pt x="333024" y="236461"/>
                  </a:cubicBezTo>
                  <a:cubicBezTo>
                    <a:pt x="341157" y="227056"/>
                    <a:pt x="338182" y="215423"/>
                    <a:pt x="338182" y="215423"/>
                  </a:cubicBezTo>
                  <a:cubicBezTo>
                    <a:pt x="338182" y="215423"/>
                    <a:pt x="340385" y="207681"/>
                    <a:pt x="342844" y="203164"/>
                  </a:cubicBezTo>
                  <a:cubicBezTo>
                    <a:pt x="345283" y="198618"/>
                    <a:pt x="340255" y="194101"/>
                    <a:pt x="340381" y="189994"/>
                  </a:cubicBezTo>
                  <a:cubicBezTo>
                    <a:pt x="340506" y="185824"/>
                    <a:pt x="335473" y="176544"/>
                    <a:pt x="335473" y="176544"/>
                  </a:cubicBezTo>
                  <a:lnTo>
                    <a:pt x="348904" y="178217"/>
                  </a:lnTo>
                  <a:lnTo>
                    <a:pt x="355243" y="170740"/>
                  </a:lnTo>
                  <a:lnTo>
                    <a:pt x="358092" y="165085"/>
                  </a:lnTo>
                  <a:cubicBezTo>
                    <a:pt x="358092" y="165085"/>
                    <a:pt x="361037" y="162361"/>
                    <a:pt x="370472" y="155400"/>
                  </a:cubicBezTo>
                  <a:cubicBezTo>
                    <a:pt x="384288" y="157580"/>
                    <a:pt x="395399" y="148391"/>
                    <a:pt x="395399" y="148391"/>
                  </a:cubicBezTo>
                  <a:lnTo>
                    <a:pt x="400447" y="141936"/>
                  </a:lnTo>
                  <a:lnTo>
                    <a:pt x="407668" y="143383"/>
                  </a:lnTo>
                  <a:lnTo>
                    <a:pt x="414518" y="131230"/>
                  </a:lnTo>
                  <a:cubicBezTo>
                    <a:pt x="414518" y="131230"/>
                    <a:pt x="417608" y="128139"/>
                    <a:pt x="424714" y="121921"/>
                  </a:cubicBezTo>
                  <a:cubicBezTo>
                    <a:pt x="419807" y="100232"/>
                    <a:pt x="402886" y="101529"/>
                    <a:pt x="400051" y="102570"/>
                  </a:cubicBezTo>
                  <a:cubicBezTo>
                    <a:pt x="397207" y="103583"/>
                    <a:pt x="393837" y="98034"/>
                    <a:pt x="393837" y="98034"/>
                  </a:cubicBezTo>
                  <a:lnTo>
                    <a:pt x="393837" y="90027"/>
                  </a:lnTo>
                  <a:cubicBezTo>
                    <a:pt x="393837" y="90027"/>
                    <a:pt x="396556" y="84073"/>
                    <a:pt x="399415" y="80742"/>
                  </a:cubicBezTo>
                  <a:cubicBezTo>
                    <a:pt x="402250" y="77358"/>
                    <a:pt x="400702" y="75039"/>
                    <a:pt x="398750" y="72619"/>
                  </a:cubicBezTo>
                  <a:cubicBezTo>
                    <a:pt x="396831" y="70112"/>
                    <a:pt x="397593" y="66892"/>
                    <a:pt x="399415" y="65480"/>
                  </a:cubicBezTo>
                  <a:cubicBezTo>
                    <a:pt x="401213" y="64053"/>
                    <a:pt x="395264" y="61898"/>
                    <a:pt x="389455" y="61990"/>
                  </a:cubicBezTo>
                  <a:cubicBezTo>
                    <a:pt x="383647" y="62149"/>
                    <a:pt x="375389" y="56687"/>
                    <a:pt x="375389" y="56687"/>
                  </a:cubicBezTo>
                  <a:lnTo>
                    <a:pt x="369180" y="57237"/>
                  </a:lnTo>
                  <a:lnTo>
                    <a:pt x="361944" y="55809"/>
                  </a:lnTo>
                  <a:lnTo>
                    <a:pt x="359114" y="50786"/>
                  </a:lnTo>
                  <a:lnTo>
                    <a:pt x="355248" y="53221"/>
                  </a:lnTo>
                  <a:lnTo>
                    <a:pt x="343485" y="44302"/>
                  </a:lnTo>
                  <a:lnTo>
                    <a:pt x="334832" y="57237"/>
                  </a:lnTo>
                  <a:lnTo>
                    <a:pt x="324516" y="59569"/>
                  </a:lnTo>
                  <a:lnTo>
                    <a:pt x="317926" y="57863"/>
                  </a:lnTo>
                  <a:lnTo>
                    <a:pt x="311206" y="62655"/>
                  </a:lnTo>
                  <a:lnTo>
                    <a:pt x="309788" y="58403"/>
                  </a:lnTo>
                  <a:lnTo>
                    <a:pt x="306158" y="52710"/>
                  </a:lnTo>
                  <a:lnTo>
                    <a:pt x="301256" y="56851"/>
                  </a:lnTo>
                  <a:lnTo>
                    <a:pt x="293629" y="55255"/>
                  </a:lnTo>
                  <a:lnTo>
                    <a:pt x="292858" y="49369"/>
                  </a:lnTo>
                  <a:cubicBezTo>
                    <a:pt x="292858" y="49369"/>
                    <a:pt x="291180" y="45990"/>
                    <a:pt x="288852" y="44534"/>
                  </a:cubicBezTo>
                  <a:cubicBezTo>
                    <a:pt x="286524" y="43131"/>
                    <a:pt x="277114" y="43285"/>
                    <a:pt x="272197" y="43285"/>
                  </a:cubicBezTo>
                  <a:cubicBezTo>
                    <a:pt x="267284" y="43285"/>
                    <a:pt x="267284" y="36155"/>
                    <a:pt x="267284" y="36155"/>
                  </a:cubicBezTo>
                  <a:cubicBezTo>
                    <a:pt x="267284" y="36155"/>
                    <a:pt x="263037" y="42013"/>
                    <a:pt x="261856" y="42013"/>
                  </a:cubicBezTo>
                  <a:cubicBezTo>
                    <a:pt x="260699" y="42013"/>
                    <a:pt x="251776" y="46125"/>
                    <a:pt x="248185" y="46872"/>
                  </a:cubicBezTo>
                  <a:cubicBezTo>
                    <a:pt x="239392" y="47667"/>
                    <a:pt x="237719" y="43536"/>
                    <a:pt x="238755" y="39511"/>
                  </a:cubicBezTo>
                  <a:cubicBezTo>
                    <a:pt x="239797" y="35509"/>
                    <a:pt x="235525" y="35239"/>
                    <a:pt x="236663" y="32448"/>
                  </a:cubicBezTo>
                  <a:cubicBezTo>
                    <a:pt x="241455" y="21457"/>
                    <a:pt x="251149" y="18054"/>
                    <a:pt x="253078" y="17167"/>
                  </a:cubicBezTo>
                  <a:cubicBezTo>
                    <a:pt x="255020" y="16260"/>
                    <a:pt x="251279" y="10717"/>
                    <a:pt x="251279" y="10717"/>
                  </a:cubicBezTo>
                  <a:lnTo>
                    <a:pt x="245466" y="11372"/>
                  </a:lnTo>
                  <a:lnTo>
                    <a:pt x="246758" y="0"/>
                  </a:lnTo>
                  <a:cubicBezTo>
                    <a:pt x="246758" y="0"/>
                    <a:pt x="242877" y="1538"/>
                    <a:pt x="239912" y="1316"/>
                  </a:cubicBezTo>
                  <a:cubicBezTo>
                    <a:pt x="236948" y="1046"/>
                    <a:pt x="234740" y="2984"/>
                    <a:pt x="232271" y="4903"/>
                  </a:cubicBezTo>
                  <a:cubicBezTo>
                    <a:pt x="229847" y="6836"/>
                    <a:pt x="222076" y="3919"/>
                    <a:pt x="218470" y="1668"/>
                  </a:cubicBezTo>
                  <a:cubicBezTo>
                    <a:pt x="214849" y="-496"/>
                    <a:pt x="210988" y="135"/>
                    <a:pt x="209045" y="1538"/>
                  </a:cubicBezTo>
                  <a:cubicBezTo>
                    <a:pt x="207098" y="2984"/>
                    <a:pt x="204784" y="2984"/>
                    <a:pt x="199071" y="3490"/>
                  </a:cubicBezTo>
                  <a:cubicBezTo>
                    <a:pt x="197866" y="6031"/>
                    <a:pt x="192047" y="9545"/>
                    <a:pt x="188451" y="11488"/>
                  </a:cubicBezTo>
                  <a:cubicBezTo>
                    <a:pt x="188755" y="12293"/>
                    <a:pt x="188552" y="13194"/>
                    <a:pt x="187781" y="13681"/>
                  </a:cubicBezTo>
                  <a:lnTo>
                    <a:pt x="181813" y="17234"/>
                  </a:lnTo>
                  <a:lnTo>
                    <a:pt x="181220" y="17494"/>
                  </a:lnTo>
                  <a:lnTo>
                    <a:pt x="180536" y="17581"/>
                  </a:lnTo>
                  <a:cubicBezTo>
                    <a:pt x="172123" y="22884"/>
                    <a:pt x="167674" y="29474"/>
                    <a:pt x="169631" y="41473"/>
                  </a:cubicBezTo>
                  <a:cubicBezTo>
                    <a:pt x="172774" y="40470"/>
                    <a:pt x="175257" y="42625"/>
                    <a:pt x="178419" y="43131"/>
                  </a:cubicBezTo>
                  <a:cubicBezTo>
                    <a:pt x="179282" y="43367"/>
                    <a:pt x="179832" y="44201"/>
                    <a:pt x="179716" y="45127"/>
                  </a:cubicBezTo>
                  <a:cubicBezTo>
                    <a:pt x="179567" y="46009"/>
                    <a:pt x="178815" y="46674"/>
                    <a:pt x="177894" y="46674"/>
                  </a:cubicBezTo>
                  <a:lnTo>
                    <a:pt x="177311" y="46674"/>
                  </a:lnTo>
                  <a:lnTo>
                    <a:pt x="177147" y="46645"/>
                  </a:lnTo>
                  <a:lnTo>
                    <a:pt x="171275" y="46091"/>
                  </a:lnTo>
                  <a:lnTo>
                    <a:pt x="170793" y="46091"/>
                  </a:lnTo>
                  <a:cubicBezTo>
                    <a:pt x="169916" y="55838"/>
                    <a:pt x="170754" y="65572"/>
                    <a:pt x="168889" y="75271"/>
                  </a:cubicBezTo>
                  <a:cubicBezTo>
                    <a:pt x="163938" y="86527"/>
                    <a:pt x="168262" y="85814"/>
                    <a:pt x="167804" y="94255"/>
                  </a:cubicBezTo>
                  <a:lnTo>
                    <a:pt x="167804" y="94428"/>
                  </a:lnTo>
                  <a:lnTo>
                    <a:pt x="167211" y="101008"/>
                  </a:lnTo>
                  <a:lnTo>
                    <a:pt x="166633" y="106841"/>
                  </a:lnTo>
                  <a:lnTo>
                    <a:pt x="166633" y="112072"/>
                  </a:lnTo>
                  <a:lnTo>
                    <a:pt x="166874" y="112188"/>
                  </a:lnTo>
                  <a:lnTo>
                    <a:pt x="171632" y="118763"/>
                  </a:lnTo>
                  <a:lnTo>
                    <a:pt x="171521" y="121029"/>
                  </a:lnTo>
                  <a:lnTo>
                    <a:pt x="167756" y="125358"/>
                  </a:lnTo>
                  <a:lnTo>
                    <a:pt x="167211" y="130636"/>
                  </a:lnTo>
                  <a:lnTo>
                    <a:pt x="167211" y="137087"/>
                  </a:lnTo>
                  <a:lnTo>
                    <a:pt x="167134" y="137709"/>
                  </a:lnTo>
                  <a:lnTo>
                    <a:pt x="166517" y="139425"/>
                  </a:lnTo>
                  <a:lnTo>
                    <a:pt x="166430" y="139690"/>
                  </a:lnTo>
                  <a:cubicBezTo>
                    <a:pt x="164295" y="145147"/>
                    <a:pt x="161662" y="150363"/>
                    <a:pt x="159136" y="155608"/>
                  </a:cubicBezTo>
                  <a:cubicBezTo>
                    <a:pt x="159334" y="155584"/>
                    <a:pt x="159537" y="155506"/>
                    <a:pt x="159739" y="155531"/>
                  </a:cubicBezTo>
                  <a:cubicBezTo>
                    <a:pt x="160496" y="155632"/>
                    <a:pt x="161113" y="156234"/>
                    <a:pt x="161262" y="157001"/>
                  </a:cubicBezTo>
                  <a:lnTo>
                    <a:pt x="162434" y="163543"/>
                  </a:lnTo>
                  <a:cubicBezTo>
                    <a:pt x="162564" y="164275"/>
                    <a:pt x="162231" y="165018"/>
                    <a:pt x="161581" y="165437"/>
                  </a:cubicBezTo>
                  <a:lnTo>
                    <a:pt x="156312" y="168580"/>
                  </a:lnTo>
                  <a:lnTo>
                    <a:pt x="155347" y="173396"/>
                  </a:lnTo>
                  <a:lnTo>
                    <a:pt x="156471" y="178993"/>
                  </a:lnTo>
                  <a:lnTo>
                    <a:pt x="155989" y="180647"/>
                  </a:lnTo>
                  <a:lnTo>
                    <a:pt x="150040" y="186586"/>
                  </a:lnTo>
                  <a:lnTo>
                    <a:pt x="148622" y="187106"/>
                  </a:lnTo>
                  <a:lnTo>
                    <a:pt x="147278" y="186369"/>
                  </a:lnTo>
                  <a:lnTo>
                    <a:pt x="146415" y="185231"/>
                  </a:lnTo>
                  <a:lnTo>
                    <a:pt x="142404" y="187212"/>
                  </a:lnTo>
                  <a:lnTo>
                    <a:pt x="139690" y="193166"/>
                  </a:lnTo>
                  <a:lnTo>
                    <a:pt x="139651" y="193267"/>
                  </a:lnTo>
                  <a:lnTo>
                    <a:pt x="136686" y="199206"/>
                  </a:lnTo>
                  <a:lnTo>
                    <a:pt x="135481" y="201569"/>
                  </a:lnTo>
                  <a:lnTo>
                    <a:pt x="135462" y="201631"/>
                  </a:lnTo>
                  <a:lnTo>
                    <a:pt x="131904" y="208134"/>
                  </a:lnTo>
                  <a:lnTo>
                    <a:pt x="128959" y="214088"/>
                  </a:lnTo>
                  <a:cubicBezTo>
                    <a:pt x="125261" y="221902"/>
                    <a:pt x="119158" y="232556"/>
                    <a:pt x="113431" y="239025"/>
                  </a:cubicBezTo>
                  <a:lnTo>
                    <a:pt x="116425" y="244502"/>
                  </a:lnTo>
                  <a:lnTo>
                    <a:pt x="116517" y="246097"/>
                  </a:lnTo>
                  <a:lnTo>
                    <a:pt x="115326" y="249019"/>
                  </a:lnTo>
                  <a:lnTo>
                    <a:pt x="115258" y="249139"/>
                  </a:lnTo>
                  <a:lnTo>
                    <a:pt x="113484" y="252750"/>
                  </a:lnTo>
                  <a:lnTo>
                    <a:pt x="113393" y="252899"/>
                  </a:lnTo>
                  <a:lnTo>
                    <a:pt x="109218" y="259475"/>
                  </a:lnTo>
                  <a:cubicBezTo>
                    <a:pt x="104653" y="266050"/>
                    <a:pt x="100772" y="271999"/>
                    <a:pt x="96747" y="279052"/>
                  </a:cubicBezTo>
                  <a:cubicBezTo>
                    <a:pt x="88677" y="290337"/>
                    <a:pt x="82993" y="296850"/>
                    <a:pt x="75970" y="309924"/>
                  </a:cubicBezTo>
                  <a:lnTo>
                    <a:pt x="73039" y="316359"/>
                  </a:lnTo>
                  <a:lnTo>
                    <a:pt x="72663" y="316860"/>
                  </a:lnTo>
                  <a:lnTo>
                    <a:pt x="66709" y="322829"/>
                  </a:lnTo>
                  <a:lnTo>
                    <a:pt x="66116" y="323253"/>
                  </a:lnTo>
                  <a:lnTo>
                    <a:pt x="60505" y="325480"/>
                  </a:lnTo>
                  <a:lnTo>
                    <a:pt x="55674" y="330354"/>
                  </a:lnTo>
                  <a:lnTo>
                    <a:pt x="57603" y="335179"/>
                  </a:lnTo>
                  <a:lnTo>
                    <a:pt x="57116" y="337228"/>
                  </a:lnTo>
                  <a:lnTo>
                    <a:pt x="55048" y="337440"/>
                  </a:lnTo>
                  <a:lnTo>
                    <a:pt x="49128" y="334258"/>
                  </a:lnTo>
                  <a:lnTo>
                    <a:pt x="43652" y="335719"/>
                  </a:lnTo>
                  <a:lnTo>
                    <a:pt x="38768" y="339629"/>
                  </a:lnTo>
                  <a:lnTo>
                    <a:pt x="39284" y="345226"/>
                  </a:lnTo>
                  <a:lnTo>
                    <a:pt x="39086" y="346180"/>
                  </a:lnTo>
                  <a:lnTo>
                    <a:pt x="38599" y="347154"/>
                  </a:lnTo>
                  <a:lnTo>
                    <a:pt x="37457" y="352871"/>
                  </a:lnTo>
                  <a:lnTo>
                    <a:pt x="37201" y="353493"/>
                  </a:lnTo>
                  <a:lnTo>
                    <a:pt x="33060" y="360030"/>
                  </a:lnTo>
                  <a:lnTo>
                    <a:pt x="32882" y="360266"/>
                  </a:lnTo>
                  <a:lnTo>
                    <a:pt x="27589" y="366152"/>
                  </a:lnTo>
                  <a:lnTo>
                    <a:pt x="23053" y="372361"/>
                  </a:lnTo>
                  <a:cubicBezTo>
                    <a:pt x="19828" y="385999"/>
                    <a:pt x="20715" y="392950"/>
                    <a:pt x="9159" y="404183"/>
                  </a:cubicBezTo>
                  <a:cubicBezTo>
                    <a:pt x="-4671" y="424348"/>
                    <a:pt x="20657" y="422796"/>
                    <a:pt x="32241" y="426266"/>
                  </a:cubicBezTo>
                  <a:lnTo>
                    <a:pt x="36763" y="425756"/>
                  </a:lnTo>
                  <a:lnTo>
                    <a:pt x="42456" y="421619"/>
                  </a:lnTo>
                  <a:lnTo>
                    <a:pt x="44056" y="416268"/>
                  </a:lnTo>
                  <a:lnTo>
                    <a:pt x="44288" y="415743"/>
                  </a:lnTo>
                  <a:lnTo>
                    <a:pt x="48482" y="409789"/>
                  </a:lnTo>
                  <a:lnTo>
                    <a:pt x="48969" y="409312"/>
                  </a:lnTo>
                  <a:lnTo>
                    <a:pt x="55284" y="405292"/>
                  </a:lnTo>
                  <a:lnTo>
                    <a:pt x="59849" y="399589"/>
                  </a:lnTo>
                  <a:cubicBezTo>
                    <a:pt x="60428" y="398875"/>
                    <a:pt x="61459" y="398687"/>
                    <a:pt x="62259" y="399189"/>
                  </a:cubicBezTo>
                  <a:cubicBezTo>
                    <a:pt x="63021" y="399695"/>
                    <a:pt x="63310" y="400688"/>
                    <a:pt x="62886" y="401522"/>
                  </a:cubicBezTo>
                  <a:lnTo>
                    <a:pt x="61835" y="403609"/>
                  </a:lnTo>
                  <a:lnTo>
                    <a:pt x="61310" y="408998"/>
                  </a:lnTo>
                  <a:lnTo>
                    <a:pt x="62438" y="415203"/>
                  </a:lnTo>
                  <a:lnTo>
                    <a:pt x="63609" y="419277"/>
                  </a:lnTo>
                  <a:lnTo>
                    <a:pt x="63672" y="419932"/>
                  </a:lnTo>
                  <a:lnTo>
                    <a:pt x="63069" y="426493"/>
                  </a:lnTo>
                  <a:cubicBezTo>
                    <a:pt x="62987" y="427332"/>
                    <a:pt x="62308" y="428021"/>
                    <a:pt x="61430" y="428127"/>
                  </a:cubicBezTo>
                  <a:lnTo>
                    <a:pt x="55645" y="428701"/>
                  </a:lnTo>
                  <a:lnTo>
                    <a:pt x="52464" y="429569"/>
                  </a:lnTo>
                  <a:lnTo>
                    <a:pt x="55959" y="432683"/>
                  </a:lnTo>
                  <a:lnTo>
                    <a:pt x="56532" y="434269"/>
                  </a:lnTo>
                  <a:lnTo>
                    <a:pt x="55607" y="435652"/>
                  </a:lnTo>
                  <a:lnTo>
                    <a:pt x="49041" y="439220"/>
                  </a:lnTo>
                  <a:lnTo>
                    <a:pt x="47508" y="439287"/>
                  </a:lnTo>
                  <a:lnTo>
                    <a:pt x="44678" y="438173"/>
                  </a:lnTo>
                  <a:lnTo>
                    <a:pt x="45194" y="440844"/>
                  </a:lnTo>
                  <a:lnTo>
                    <a:pt x="44529" y="442652"/>
                  </a:lnTo>
                  <a:lnTo>
                    <a:pt x="42605" y="442840"/>
                  </a:lnTo>
                  <a:lnTo>
                    <a:pt x="36642" y="439866"/>
                  </a:lnTo>
                  <a:lnTo>
                    <a:pt x="35765" y="438815"/>
                  </a:lnTo>
                  <a:lnTo>
                    <a:pt x="33740" y="433290"/>
                  </a:lnTo>
                  <a:lnTo>
                    <a:pt x="31277" y="432881"/>
                  </a:lnTo>
                  <a:lnTo>
                    <a:pt x="26986" y="432490"/>
                  </a:lnTo>
                  <a:cubicBezTo>
                    <a:pt x="28134" y="441615"/>
                    <a:pt x="31417" y="453205"/>
                    <a:pt x="24051" y="460816"/>
                  </a:cubicBezTo>
                  <a:cubicBezTo>
                    <a:pt x="32684" y="467098"/>
                    <a:pt x="44486" y="462788"/>
                    <a:pt x="52719" y="458035"/>
                  </a:cubicBezTo>
                  <a:lnTo>
                    <a:pt x="54161" y="457958"/>
                  </a:lnTo>
                  <a:lnTo>
                    <a:pt x="60688" y="460315"/>
                  </a:lnTo>
                  <a:lnTo>
                    <a:pt x="61541" y="460937"/>
                  </a:lnTo>
                  <a:lnTo>
                    <a:pt x="64699" y="465290"/>
                  </a:lnTo>
                  <a:lnTo>
                    <a:pt x="66854" y="461670"/>
                  </a:lnTo>
                  <a:lnTo>
                    <a:pt x="67177" y="461260"/>
                  </a:lnTo>
                  <a:lnTo>
                    <a:pt x="73159" y="455885"/>
                  </a:lnTo>
                  <a:lnTo>
                    <a:pt x="75627" y="455991"/>
                  </a:lnTo>
                  <a:lnTo>
                    <a:pt x="76244" y="456550"/>
                  </a:lnTo>
                  <a:lnTo>
                    <a:pt x="76664" y="458541"/>
                  </a:lnTo>
                  <a:lnTo>
                    <a:pt x="74355" y="464263"/>
                  </a:lnTo>
                  <a:lnTo>
                    <a:pt x="73805" y="469668"/>
                  </a:lnTo>
                  <a:lnTo>
                    <a:pt x="74832" y="475259"/>
                  </a:lnTo>
                  <a:lnTo>
                    <a:pt x="80785" y="479598"/>
                  </a:lnTo>
                  <a:cubicBezTo>
                    <a:pt x="81537" y="480147"/>
                    <a:pt x="81750" y="481160"/>
                    <a:pt x="81282" y="482008"/>
                  </a:cubicBezTo>
                  <a:cubicBezTo>
                    <a:pt x="80810" y="482789"/>
                    <a:pt x="79826" y="483112"/>
                    <a:pt x="78958" y="482712"/>
                  </a:cubicBezTo>
                  <a:lnTo>
                    <a:pt x="72426" y="479723"/>
                  </a:lnTo>
                  <a:lnTo>
                    <a:pt x="72364" y="479723"/>
                  </a:lnTo>
                  <a:lnTo>
                    <a:pt x="66801" y="476893"/>
                  </a:lnTo>
                  <a:lnTo>
                    <a:pt x="62076" y="476893"/>
                  </a:lnTo>
                  <a:cubicBezTo>
                    <a:pt x="63522" y="483787"/>
                    <a:pt x="62476" y="489534"/>
                    <a:pt x="60129" y="500877"/>
                  </a:cubicBezTo>
                  <a:lnTo>
                    <a:pt x="60129" y="503104"/>
                  </a:lnTo>
                  <a:lnTo>
                    <a:pt x="59955" y="503841"/>
                  </a:lnTo>
                  <a:lnTo>
                    <a:pt x="56981" y="510349"/>
                  </a:lnTo>
                  <a:lnTo>
                    <a:pt x="53997" y="516920"/>
                  </a:lnTo>
                  <a:lnTo>
                    <a:pt x="53867" y="517147"/>
                  </a:lnTo>
                  <a:lnTo>
                    <a:pt x="49711" y="523698"/>
                  </a:lnTo>
                  <a:lnTo>
                    <a:pt x="49644" y="523799"/>
                  </a:lnTo>
                  <a:lnTo>
                    <a:pt x="44972" y="530211"/>
                  </a:lnTo>
                  <a:lnTo>
                    <a:pt x="42615" y="534891"/>
                  </a:lnTo>
                  <a:lnTo>
                    <a:pt x="47267" y="541274"/>
                  </a:lnTo>
                  <a:lnTo>
                    <a:pt x="47580" y="542667"/>
                  </a:lnTo>
                  <a:lnTo>
                    <a:pt x="46395" y="549214"/>
                  </a:lnTo>
                  <a:lnTo>
                    <a:pt x="46395" y="549252"/>
                  </a:lnTo>
                  <a:lnTo>
                    <a:pt x="45189" y="555211"/>
                  </a:lnTo>
                  <a:lnTo>
                    <a:pt x="44688" y="556137"/>
                  </a:lnTo>
                  <a:lnTo>
                    <a:pt x="44288" y="556517"/>
                  </a:lnTo>
                  <a:lnTo>
                    <a:pt x="41376" y="561882"/>
                  </a:lnTo>
                  <a:cubicBezTo>
                    <a:pt x="52845" y="574296"/>
                    <a:pt x="33658" y="566250"/>
                    <a:pt x="35707" y="591742"/>
                  </a:cubicBezTo>
                  <a:cubicBezTo>
                    <a:pt x="34955" y="594543"/>
                    <a:pt x="32602" y="605018"/>
                    <a:pt x="30534" y="606605"/>
                  </a:cubicBezTo>
                  <a:lnTo>
                    <a:pt x="26451" y="612399"/>
                  </a:lnTo>
                  <a:lnTo>
                    <a:pt x="26374" y="612524"/>
                  </a:lnTo>
                  <a:lnTo>
                    <a:pt x="21250" y="618782"/>
                  </a:lnTo>
                  <a:lnTo>
                    <a:pt x="19553" y="624417"/>
                  </a:lnTo>
                  <a:lnTo>
                    <a:pt x="19374" y="624783"/>
                  </a:lnTo>
                  <a:lnTo>
                    <a:pt x="15802" y="630766"/>
                  </a:lnTo>
                  <a:cubicBezTo>
                    <a:pt x="13956" y="632988"/>
                    <a:pt x="926" y="651316"/>
                    <a:pt x="0" y="654252"/>
                  </a:cubicBezTo>
                  <a:lnTo>
                    <a:pt x="3543" y="655294"/>
                  </a:lnTo>
                  <a:lnTo>
                    <a:pt x="8991" y="653698"/>
                  </a:lnTo>
                  <a:lnTo>
                    <a:pt x="9169" y="653635"/>
                  </a:lnTo>
                  <a:lnTo>
                    <a:pt x="15711" y="652444"/>
                  </a:lnTo>
                  <a:lnTo>
                    <a:pt x="16217" y="652420"/>
                  </a:lnTo>
                  <a:lnTo>
                    <a:pt x="22074" y="652980"/>
                  </a:lnTo>
                  <a:lnTo>
                    <a:pt x="28172" y="652980"/>
                  </a:lnTo>
                  <a:lnTo>
                    <a:pt x="33803" y="650757"/>
                  </a:lnTo>
                  <a:lnTo>
                    <a:pt x="34637" y="650642"/>
                  </a:lnTo>
                  <a:lnTo>
                    <a:pt x="40952" y="651191"/>
                  </a:lnTo>
                  <a:lnTo>
                    <a:pt x="46679" y="650165"/>
                  </a:lnTo>
                  <a:lnTo>
                    <a:pt x="46877" y="649972"/>
                  </a:lnTo>
                  <a:lnTo>
                    <a:pt x="48766" y="649562"/>
                  </a:lnTo>
                  <a:lnTo>
                    <a:pt x="50516" y="650116"/>
                  </a:lnTo>
                  <a:cubicBezTo>
                    <a:pt x="51370" y="650386"/>
                    <a:pt x="51900" y="651268"/>
                    <a:pt x="51750" y="652151"/>
                  </a:cubicBezTo>
                  <a:cubicBezTo>
                    <a:pt x="51639" y="652796"/>
                    <a:pt x="51162" y="653211"/>
                    <a:pt x="50603" y="653423"/>
                  </a:cubicBezTo>
                  <a:lnTo>
                    <a:pt x="50603" y="656161"/>
                  </a:lnTo>
                  <a:lnTo>
                    <a:pt x="55274" y="658967"/>
                  </a:lnTo>
                  <a:lnTo>
                    <a:pt x="61411" y="659555"/>
                  </a:lnTo>
                  <a:lnTo>
                    <a:pt x="61787" y="659598"/>
                  </a:lnTo>
                  <a:lnTo>
                    <a:pt x="67712" y="661430"/>
                  </a:lnTo>
                  <a:lnTo>
                    <a:pt x="68247" y="661628"/>
                  </a:lnTo>
                  <a:lnTo>
                    <a:pt x="73728" y="665494"/>
                  </a:lnTo>
                  <a:lnTo>
                    <a:pt x="79715" y="665494"/>
                  </a:lnTo>
                  <a:lnTo>
                    <a:pt x="80328" y="665610"/>
                  </a:lnTo>
                  <a:lnTo>
                    <a:pt x="86874" y="667972"/>
                  </a:lnTo>
                  <a:cubicBezTo>
                    <a:pt x="101563" y="675835"/>
                    <a:pt x="97094" y="686860"/>
                    <a:pt x="122374" y="683340"/>
                  </a:cubicBezTo>
                  <a:cubicBezTo>
                    <a:pt x="123280" y="683268"/>
                    <a:pt x="124100" y="683837"/>
                    <a:pt x="124307" y="684719"/>
                  </a:cubicBezTo>
                  <a:lnTo>
                    <a:pt x="124350" y="684869"/>
                  </a:lnTo>
                  <a:cubicBezTo>
                    <a:pt x="131885" y="680684"/>
                    <a:pt x="138051" y="681369"/>
                    <a:pt x="147866" y="674644"/>
                  </a:cubicBezTo>
                  <a:lnTo>
                    <a:pt x="148555" y="674432"/>
                  </a:lnTo>
                  <a:lnTo>
                    <a:pt x="154422" y="673834"/>
                  </a:lnTo>
                  <a:lnTo>
                    <a:pt x="160824" y="672682"/>
                  </a:lnTo>
                  <a:lnTo>
                    <a:pt x="165967" y="671313"/>
                  </a:lnTo>
                  <a:lnTo>
                    <a:pt x="166565" y="665355"/>
                  </a:lnTo>
                  <a:cubicBezTo>
                    <a:pt x="166666" y="664477"/>
                    <a:pt x="167346" y="663807"/>
                    <a:pt x="168224" y="663706"/>
                  </a:cubicBezTo>
                  <a:cubicBezTo>
                    <a:pt x="168894" y="663648"/>
                    <a:pt x="169443" y="664043"/>
                    <a:pt x="169810" y="664597"/>
                  </a:cubicBezTo>
                  <a:cubicBezTo>
                    <a:pt x="170002" y="663209"/>
                    <a:pt x="170051" y="661787"/>
                    <a:pt x="169530" y="66061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31" name="Freihandform: Form 630">
              <a:extLst>
                <a:ext uri="{FF2B5EF4-FFF2-40B4-BE49-F238E27FC236}">
                  <a16:creationId xmlns:a16="http://schemas.microsoft.com/office/drawing/2014/main" id="{0663762F-4D7C-1456-3E15-4CB5691CD536}"/>
                </a:ext>
              </a:extLst>
            </p:cNvPr>
            <p:cNvSpPr/>
            <p:nvPr/>
          </p:nvSpPr>
          <p:spPr>
            <a:xfrm>
              <a:off x="4673797" y="4044966"/>
              <a:ext cx="90478" cy="34926"/>
            </a:xfrm>
            <a:custGeom>
              <a:avLst/>
              <a:gdLst>
                <a:gd name="connsiteX0" fmla="*/ 10473 w 71628"/>
                <a:gd name="connsiteY0" fmla="*/ 20226 h 27717"/>
                <a:gd name="connsiteX1" fmla="*/ 15767 w 71628"/>
                <a:gd name="connsiteY1" fmla="*/ 13795 h 27717"/>
                <a:gd name="connsiteX2" fmla="*/ 22723 w 71628"/>
                <a:gd name="connsiteY2" fmla="*/ 14161 h 27717"/>
                <a:gd name="connsiteX3" fmla="*/ 29067 w 71628"/>
                <a:gd name="connsiteY3" fmla="*/ 18158 h 27717"/>
                <a:gd name="connsiteX4" fmla="*/ 34225 w 71628"/>
                <a:gd name="connsiteY4" fmla="*/ 19720 h 27717"/>
                <a:gd name="connsiteX5" fmla="*/ 35281 w 71628"/>
                <a:gd name="connsiteY5" fmla="*/ 25273 h 27717"/>
                <a:gd name="connsiteX6" fmla="*/ 44570 w 71628"/>
                <a:gd name="connsiteY6" fmla="*/ 27717 h 27717"/>
                <a:gd name="connsiteX7" fmla="*/ 66895 w 71628"/>
                <a:gd name="connsiteY7" fmla="*/ 17517 h 27717"/>
                <a:gd name="connsiteX8" fmla="*/ 71629 w 71628"/>
                <a:gd name="connsiteY8" fmla="*/ 12122 h 27717"/>
                <a:gd name="connsiteX9" fmla="*/ 71523 w 71628"/>
                <a:gd name="connsiteY9" fmla="*/ 11828 h 27717"/>
                <a:gd name="connsiteX10" fmla="*/ 66693 w 71628"/>
                <a:gd name="connsiteY10" fmla="*/ 9398 h 27717"/>
                <a:gd name="connsiteX11" fmla="*/ 60667 w 71628"/>
                <a:gd name="connsiteY11" fmla="*/ 9967 h 27717"/>
                <a:gd name="connsiteX12" fmla="*/ 59230 w 71628"/>
                <a:gd name="connsiteY12" fmla="*/ 9413 h 27717"/>
                <a:gd name="connsiteX13" fmla="*/ 54294 w 71628"/>
                <a:gd name="connsiteY13" fmla="*/ 4496 h 27717"/>
                <a:gd name="connsiteX14" fmla="*/ 48981 w 71628"/>
                <a:gd name="connsiteY14" fmla="*/ 7899 h 27717"/>
                <a:gd name="connsiteX15" fmla="*/ 48957 w 71628"/>
                <a:gd name="connsiteY15" fmla="*/ 7957 h 27717"/>
                <a:gd name="connsiteX16" fmla="*/ 42975 w 71628"/>
                <a:gd name="connsiteY16" fmla="*/ 11462 h 27717"/>
                <a:gd name="connsiteX17" fmla="*/ 41567 w 71628"/>
                <a:gd name="connsiteY17" fmla="*/ 11707 h 27717"/>
                <a:gd name="connsiteX18" fmla="*/ 35025 w 71628"/>
                <a:gd name="connsiteY18" fmla="*/ 9895 h 27717"/>
                <a:gd name="connsiteX19" fmla="*/ 34832 w 71628"/>
                <a:gd name="connsiteY19" fmla="*/ 9842 h 27717"/>
                <a:gd name="connsiteX20" fmla="*/ 28879 w 71628"/>
                <a:gd name="connsiteY20" fmla="*/ 7461 h 27717"/>
                <a:gd name="connsiteX21" fmla="*/ 1613 w 71628"/>
                <a:gd name="connsiteY21" fmla="*/ 3908 h 27717"/>
                <a:gd name="connsiteX22" fmla="*/ 432 w 71628"/>
                <a:gd name="connsiteY22" fmla="*/ 4134 h 27717"/>
                <a:gd name="connsiteX23" fmla="*/ 10473 w 71628"/>
                <a:gd name="connsiteY23" fmla="*/ 20226 h 2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628" h="27717">
                  <a:moveTo>
                    <a:pt x="10473" y="20226"/>
                  </a:moveTo>
                  <a:cubicBezTo>
                    <a:pt x="12913" y="20226"/>
                    <a:pt x="15767" y="13795"/>
                    <a:pt x="15767" y="13795"/>
                  </a:cubicBezTo>
                  <a:lnTo>
                    <a:pt x="22723" y="14161"/>
                  </a:lnTo>
                  <a:lnTo>
                    <a:pt x="29067" y="18158"/>
                  </a:lnTo>
                  <a:lnTo>
                    <a:pt x="34225" y="19720"/>
                  </a:lnTo>
                  <a:lnTo>
                    <a:pt x="35281" y="25273"/>
                  </a:lnTo>
                  <a:lnTo>
                    <a:pt x="44570" y="27717"/>
                  </a:lnTo>
                  <a:lnTo>
                    <a:pt x="66895" y="17517"/>
                  </a:lnTo>
                  <a:lnTo>
                    <a:pt x="71629" y="12122"/>
                  </a:lnTo>
                  <a:lnTo>
                    <a:pt x="71523" y="11828"/>
                  </a:lnTo>
                  <a:lnTo>
                    <a:pt x="66693" y="9398"/>
                  </a:lnTo>
                  <a:lnTo>
                    <a:pt x="60667" y="9967"/>
                  </a:lnTo>
                  <a:lnTo>
                    <a:pt x="59230" y="9413"/>
                  </a:lnTo>
                  <a:lnTo>
                    <a:pt x="54294" y="4496"/>
                  </a:lnTo>
                  <a:lnTo>
                    <a:pt x="48981" y="7899"/>
                  </a:lnTo>
                  <a:lnTo>
                    <a:pt x="48957" y="7957"/>
                  </a:lnTo>
                  <a:lnTo>
                    <a:pt x="42975" y="11462"/>
                  </a:lnTo>
                  <a:lnTo>
                    <a:pt x="41567" y="11707"/>
                  </a:lnTo>
                  <a:lnTo>
                    <a:pt x="35025" y="9895"/>
                  </a:lnTo>
                  <a:lnTo>
                    <a:pt x="34832" y="9842"/>
                  </a:lnTo>
                  <a:lnTo>
                    <a:pt x="28879" y="7461"/>
                  </a:lnTo>
                  <a:cubicBezTo>
                    <a:pt x="12088" y="128"/>
                    <a:pt x="19922" y="-3135"/>
                    <a:pt x="1613" y="3908"/>
                  </a:cubicBezTo>
                  <a:cubicBezTo>
                    <a:pt x="1169" y="3980"/>
                    <a:pt x="827" y="4062"/>
                    <a:pt x="432" y="4134"/>
                  </a:cubicBezTo>
                  <a:cubicBezTo>
                    <a:pt x="-2220" y="20515"/>
                    <a:pt x="8106" y="20226"/>
                    <a:pt x="10473" y="2022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32" name="Freihandform: Form 631">
              <a:extLst>
                <a:ext uri="{FF2B5EF4-FFF2-40B4-BE49-F238E27FC236}">
                  <a16:creationId xmlns:a16="http://schemas.microsoft.com/office/drawing/2014/main" id="{E7F78D64-1756-FAA6-2F0D-08430BBECF55}"/>
                </a:ext>
              </a:extLst>
            </p:cNvPr>
            <p:cNvSpPr/>
            <p:nvPr/>
          </p:nvSpPr>
          <p:spPr>
            <a:xfrm>
              <a:off x="4583320" y="4037028"/>
              <a:ext cx="404766" cy="341325"/>
            </a:xfrm>
            <a:custGeom>
              <a:avLst/>
              <a:gdLst>
                <a:gd name="connsiteX0" fmla="*/ 4329 w 317516"/>
                <a:gd name="connsiteY0" fmla="*/ 59531 h 268605"/>
                <a:gd name="connsiteX1" fmla="*/ 1620 w 317516"/>
                <a:gd name="connsiteY1" fmla="*/ 64699 h 268605"/>
                <a:gd name="connsiteX2" fmla="*/ 3693 w 317516"/>
                <a:gd name="connsiteY2" fmla="*/ 77801 h 268605"/>
                <a:gd name="connsiteX3" fmla="*/ 9396 w 317516"/>
                <a:gd name="connsiteY3" fmla="*/ 79190 h 268605"/>
                <a:gd name="connsiteX4" fmla="*/ 16096 w 317516"/>
                <a:gd name="connsiteY4" fmla="*/ 91907 h 268605"/>
                <a:gd name="connsiteX5" fmla="*/ 21929 w 317516"/>
                <a:gd name="connsiteY5" fmla="*/ 94520 h 268605"/>
                <a:gd name="connsiteX6" fmla="*/ 24002 w 317516"/>
                <a:gd name="connsiteY6" fmla="*/ 96559 h 268605"/>
                <a:gd name="connsiteX7" fmla="*/ 28664 w 317516"/>
                <a:gd name="connsiteY7" fmla="*/ 91044 h 268605"/>
                <a:gd name="connsiteX8" fmla="*/ 41757 w 317516"/>
                <a:gd name="connsiteY8" fmla="*/ 86734 h 268605"/>
                <a:gd name="connsiteX9" fmla="*/ 42789 w 317516"/>
                <a:gd name="connsiteY9" fmla="*/ 85890 h 268605"/>
                <a:gd name="connsiteX10" fmla="*/ 47436 w 317516"/>
                <a:gd name="connsiteY10" fmla="*/ 87096 h 268605"/>
                <a:gd name="connsiteX11" fmla="*/ 50184 w 317516"/>
                <a:gd name="connsiteY11" fmla="*/ 95541 h 268605"/>
                <a:gd name="connsiteX12" fmla="*/ 53630 w 317516"/>
                <a:gd name="connsiteY12" fmla="*/ 97238 h 268605"/>
                <a:gd name="connsiteX13" fmla="*/ 53659 w 317516"/>
                <a:gd name="connsiteY13" fmla="*/ 102917 h 268605"/>
                <a:gd name="connsiteX14" fmla="*/ 53659 w 317516"/>
                <a:gd name="connsiteY14" fmla="*/ 103332 h 268605"/>
                <a:gd name="connsiteX15" fmla="*/ 54170 w 317516"/>
                <a:gd name="connsiteY15" fmla="*/ 107714 h 268605"/>
                <a:gd name="connsiteX16" fmla="*/ 55491 w 317516"/>
                <a:gd name="connsiteY16" fmla="*/ 112361 h 268605"/>
                <a:gd name="connsiteX17" fmla="*/ 59213 w 317516"/>
                <a:gd name="connsiteY17" fmla="*/ 123198 h 268605"/>
                <a:gd name="connsiteX18" fmla="*/ 65412 w 317516"/>
                <a:gd name="connsiteY18" fmla="*/ 124225 h 268605"/>
                <a:gd name="connsiteX19" fmla="*/ 74085 w 317516"/>
                <a:gd name="connsiteY19" fmla="*/ 122287 h 268605"/>
                <a:gd name="connsiteX20" fmla="*/ 76649 w 317516"/>
                <a:gd name="connsiteY20" fmla="*/ 124880 h 268605"/>
                <a:gd name="connsiteX21" fmla="*/ 86329 w 317516"/>
                <a:gd name="connsiteY21" fmla="*/ 133032 h 268605"/>
                <a:gd name="connsiteX22" fmla="*/ 85293 w 317516"/>
                <a:gd name="connsiteY22" fmla="*/ 145151 h 268605"/>
                <a:gd name="connsiteX23" fmla="*/ 88402 w 317516"/>
                <a:gd name="connsiteY23" fmla="*/ 151341 h 268605"/>
                <a:gd name="connsiteX24" fmla="*/ 93821 w 317516"/>
                <a:gd name="connsiteY24" fmla="*/ 146564 h 268605"/>
                <a:gd name="connsiteX25" fmla="*/ 100545 w 317516"/>
                <a:gd name="connsiteY25" fmla="*/ 147109 h 268605"/>
                <a:gd name="connsiteX26" fmla="*/ 106094 w 317516"/>
                <a:gd name="connsiteY26" fmla="*/ 151091 h 268605"/>
                <a:gd name="connsiteX27" fmla="*/ 118372 w 317516"/>
                <a:gd name="connsiteY27" fmla="*/ 147619 h 268605"/>
                <a:gd name="connsiteX28" fmla="*/ 121477 w 317516"/>
                <a:gd name="connsiteY28" fmla="*/ 154060 h 268605"/>
                <a:gd name="connsiteX29" fmla="*/ 124316 w 317516"/>
                <a:gd name="connsiteY29" fmla="*/ 158196 h 268605"/>
                <a:gd name="connsiteX30" fmla="*/ 131552 w 317516"/>
                <a:gd name="connsiteY30" fmla="*/ 162082 h 268605"/>
                <a:gd name="connsiteX31" fmla="*/ 125363 w 317516"/>
                <a:gd name="connsiteY31" fmla="*/ 168667 h 268605"/>
                <a:gd name="connsiteX32" fmla="*/ 124948 w 317516"/>
                <a:gd name="connsiteY32" fmla="*/ 174090 h 268605"/>
                <a:gd name="connsiteX33" fmla="*/ 129209 w 317516"/>
                <a:gd name="connsiteY33" fmla="*/ 188051 h 268605"/>
                <a:gd name="connsiteX34" fmla="*/ 123926 w 317516"/>
                <a:gd name="connsiteY34" fmla="*/ 193301 h 268605"/>
                <a:gd name="connsiteX35" fmla="*/ 129084 w 317516"/>
                <a:gd name="connsiteY35" fmla="*/ 202103 h 268605"/>
                <a:gd name="connsiteX36" fmla="*/ 134782 w 317516"/>
                <a:gd name="connsiteY36" fmla="*/ 201718 h 268605"/>
                <a:gd name="connsiteX37" fmla="*/ 157232 w 317516"/>
                <a:gd name="connsiteY37" fmla="*/ 203410 h 268605"/>
                <a:gd name="connsiteX38" fmla="*/ 165129 w 317516"/>
                <a:gd name="connsiteY38" fmla="*/ 200691 h 268605"/>
                <a:gd name="connsiteX39" fmla="*/ 169525 w 317516"/>
                <a:gd name="connsiteY39" fmla="*/ 195258 h 268605"/>
                <a:gd name="connsiteX40" fmla="*/ 171574 w 317516"/>
                <a:gd name="connsiteY40" fmla="*/ 185949 h 268605"/>
                <a:gd name="connsiteX41" fmla="*/ 182956 w 317516"/>
                <a:gd name="connsiteY41" fmla="*/ 178747 h 268605"/>
                <a:gd name="connsiteX42" fmla="*/ 185780 w 317516"/>
                <a:gd name="connsiteY42" fmla="*/ 187130 h 268605"/>
                <a:gd name="connsiteX43" fmla="*/ 181013 w 317516"/>
                <a:gd name="connsiteY43" fmla="*/ 207517 h 268605"/>
                <a:gd name="connsiteX44" fmla="*/ 183466 w 317516"/>
                <a:gd name="connsiteY44" fmla="*/ 215413 h 268605"/>
                <a:gd name="connsiteX45" fmla="*/ 183346 w 317516"/>
                <a:gd name="connsiteY45" fmla="*/ 223536 h 268605"/>
                <a:gd name="connsiteX46" fmla="*/ 189391 w 317516"/>
                <a:gd name="connsiteY46" fmla="*/ 227923 h 268605"/>
                <a:gd name="connsiteX47" fmla="*/ 197408 w 317516"/>
                <a:gd name="connsiteY47" fmla="*/ 230126 h 268605"/>
                <a:gd name="connsiteX48" fmla="*/ 218846 w 317516"/>
                <a:gd name="connsiteY48" fmla="*/ 245388 h 268605"/>
                <a:gd name="connsiteX49" fmla="*/ 221174 w 317516"/>
                <a:gd name="connsiteY49" fmla="*/ 252354 h 268605"/>
                <a:gd name="connsiteX50" fmla="*/ 233158 w 317516"/>
                <a:gd name="connsiteY50" fmla="*/ 268605 h 268605"/>
                <a:gd name="connsiteX51" fmla="*/ 239368 w 317516"/>
                <a:gd name="connsiteY51" fmla="*/ 266788 h 268605"/>
                <a:gd name="connsiteX52" fmla="*/ 246743 w 317516"/>
                <a:gd name="connsiteY52" fmla="*/ 268359 h 268605"/>
                <a:gd name="connsiteX53" fmla="*/ 252417 w 317516"/>
                <a:gd name="connsiteY53" fmla="*/ 264753 h 268605"/>
                <a:gd name="connsiteX54" fmla="*/ 255527 w 317516"/>
                <a:gd name="connsiteY54" fmla="*/ 266180 h 268605"/>
                <a:gd name="connsiteX55" fmla="*/ 260043 w 317516"/>
                <a:gd name="connsiteY55" fmla="*/ 265120 h 268605"/>
                <a:gd name="connsiteX56" fmla="*/ 262560 w 317516"/>
                <a:gd name="connsiteY56" fmla="*/ 263664 h 268605"/>
                <a:gd name="connsiteX57" fmla="*/ 260820 w 317516"/>
                <a:gd name="connsiteY57" fmla="*/ 260357 h 268605"/>
                <a:gd name="connsiteX58" fmla="*/ 262560 w 317516"/>
                <a:gd name="connsiteY58" fmla="*/ 263664 h 268605"/>
                <a:gd name="connsiteX59" fmla="*/ 266884 w 317516"/>
                <a:gd name="connsiteY59" fmla="*/ 261114 h 268605"/>
                <a:gd name="connsiteX60" fmla="*/ 268436 w 317516"/>
                <a:gd name="connsiteY60" fmla="*/ 255078 h 268605"/>
                <a:gd name="connsiteX61" fmla="*/ 270755 w 317516"/>
                <a:gd name="connsiteY61" fmla="*/ 250407 h 268605"/>
                <a:gd name="connsiteX62" fmla="*/ 267125 w 317516"/>
                <a:gd name="connsiteY62" fmla="*/ 243682 h 268605"/>
                <a:gd name="connsiteX63" fmla="*/ 263664 w 317516"/>
                <a:gd name="connsiteY63" fmla="*/ 239300 h 268605"/>
                <a:gd name="connsiteX64" fmla="*/ 260704 w 317516"/>
                <a:gd name="connsiteY64" fmla="*/ 233876 h 268605"/>
                <a:gd name="connsiteX65" fmla="*/ 258621 w 317516"/>
                <a:gd name="connsiteY65" fmla="*/ 229374 h 268605"/>
                <a:gd name="connsiteX66" fmla="*/ 258621 w 317516"/>
                <a:gd name="connsiteY66" fmla="*/ 224192 h 268605"/>
                <a:gd name="connsiteX67" fmla="*/ 260704 w 317516"/>
                <a:gd name="connsiteY67" fmla="*/ 222114 h 268605"/>
                <a:gd name="connsiteX68" fmla="*/ 258761 w 317516"/>
                <a:gd name="connsiteY68" fmla="*/ 219530 h 268605"/>
                <a:gd name="connsiteX69" fmla="*/ 267535 w 317516"/>
                <a:gd name="connsiteY69" fmla="*/ 208568 h 268605"/>
                <a:gd name="connsiteX70" fmla="*/ 268311 w 317516"/>
                <a:gd name="connsiteY70" fmla="*/ 200276 h 268605"/>
                <a:gd name="connsiteX71" fmla="*/ 286128 w 317516"/>
                <a:gd name="connsiteY71" fmla="*/ 184291 h 268605"/>
                <a:gd name="connsiteX72" fmla="*/ 291421 w 317516"/>
                <a:gd name="connsiteY72" fmla="*/ 184001 h 268605"/>
                <a:gd name="connsiteX73" fmla="*/ 293885 w 317516"/>
                <a:gd name="connsiteY73" fmla="*/ 188923 h 268605"/>
                <a:gd name="connsiteX74" fmla="*/ 295061 w 317516"/>
                <a:gd name="connsiteY74" fmla="*/ 184556 h 268605"/>
                <a:gd name="connsiteX75" fmla="*/ 301887 w 317516"/>
                <a:gd name="connsiteY75" fmla="*/ 172793 h 268605"/>
                <a:gd name="connsiteX76" fmla="*/ 306669 w 317516"/>
                <a:gd name="connsiteY76" fmla="*/ 171246 h 268605"/>
                <a:gd name="connsiteX77" fmla="*/ 311326 w 317516"/>
                <a:gd name="connsiteY77" fmla="*/ 164936 h 268605"/>
                <a:gd name="connsiteX78" fmla="*/ 317516 w 317516"/>
                <a:gd name="connsiteY78" fmla="*/ 163504 h 268605"/>
                <a:gd name="connsiteX79" fmla="*/ 313139 w 317516"/>
                <a:gd name="connsiteY79" fmla="*/ 156104 h 268605"/>
                <a:gd name="connsiteX80" fmla="*/ 316094 w 317516"/>
                <a:gd name="connsiteY80" fmla="*/ 148757 h 268605"/>
                <a:gd name="connsiteX81" fmla="*/ 313780 w 317516"/>
                <a:gd name="connsiteY81" fmla="*/ 142206 h 268605"/>
                <a:gd name="connsiteX82" fmla="*/ 301887 w 317516"/>
                <a:gd name="connsiteY82" fmla="*/ 138311 h 268605"/>
                <a:gd name="connsiteX83" fmla="*/ 300716 w 317516"/>
                <a:gd name="connsiteY83" fmla="*/ 132222 h 268605"/>
                <a:gd name="connsiteX84" fmla="*/ 306404 w 317516"/>
                <a:gd name="connsiteY84" fmla="*/ 125888 h 268605"/>
                <a:gd name="connsiteX85" fmla="*/ 304717 w 317516"/>
                <a:gd name="connsiteY85" fmla="*/ 124374 h 268605"/>
                <a:gd name="connsiteX86" fmla="*/ 299949 w 317516"/>
                <a:gd name="connsiteY86" fmla="*/ 124143 h 268605"/>
                <a:gd name="connsiteX87" fmla="*/ 299192 w 317516"/>
                <a:gd name="connsiteY87" fmla="*/ 117389 h 268605"/>
                <a:gd name="connsiteX88" fmla="*/ 291156 w 317516"/>
                <a:gd name="connsiteY88" fmla="*/ 110659 h 268605"/>
                <a:gd name="connsiteX89" fmla="*/ 287941 w 317516"/>
                <a:gd name="connsiteY89" fmla="*/ 105650 h 268605"/>
                <a:gd name="connsiteX90" fmla="*/ 287960 w 317516"/>
                <a:gd name="connsiteY90" fmla="*/ 105077 h 268605"/>
                <a:gd name="connsiteX91" fmla="*/ 280840 w 317516"/>
                <a:gd name="connsiteY91" fmla="*/ 105086 h 268605"/>
                <a:gd name="connsiteX92" fmla="*/ 277861 w 317516"/>
                <a:gd name="connsiteY92" fmla="*/ 105646 h 268605"/>
                <a:gd name="connsiteX93" fmla="*/ 265202 w 317516"/>
                <a:gd name="connsiteY93" fmla="*/ 102773 h 268605"/>
                <a:gd name="connsiteX94" fmla="*/ 260048 w 317516"/>
                <a:gd name="connsiteY94" fmla="*/ 103814 h 268605"/>
                <a:gd name="connsiteX95" fmla="*/ 260825 w 317516"/>
                <a:gd name="connsiteY95" fmla="*/ 97503 h 268605"/>
                <a:gd name="connsiteX96" fmla="*/ 256172 w 317516"/>
                <a:gd name="connsiteY96" fmla="*/ 92861 h 268605"/>
                <a:gd name="connsiteX97" fmla="*/ 260178 w 317516"/>
                <a:gd name="connsiteY97" fmla="*/ 87033 h 268605"/>
                <a:gd name="connsiteX98" fmla="*/ 268957 w 317516"/>
                <a:gd name="connsiteY98" fmla="*/ 65484 h 268605"/>
                <a:gd name="connsiteX99" fmla="*/ 275272 w 317516"/>
                <a:gd name="connsiteY99" fmla="*/ 58494 h 268605"/>
                <a:gd name="connsiteX100" fmla="*/ 276824 w 317516"/>
                <a:gd name="connsiteY100" fmla="*/ 51543 h 268605"/>
                <a:gd name="connsiteX101" fmla="*/ 267810 w 317516"/>
                <a:gd name="connsiteY101" fmla="*/ 45710 h 268605"/>
                <a:gd name="connsiteX102" fmla="*/ 261470 w 317516"/>
                <a:gd name="connsiteY102" fmla="*/ 47132 h 268605"/>
                <a:gd name="connsiteX103" fmla="*/ 253834 w 317516"/>
                <a:gd name="connsiteY103" fmla="*/ 41588 h 268605"/>
                <a:gd name="connsiteX104" fmla="*/ 251781 w 317516"/>
                <a:gd name="connsiteY104" fmla="*/ 34627 h 268605"/>
                <a:gd name="connsiteX105" fmla="*/ 246738 w 317516"/>
                <a:gd name="connsiteY105" fmla="*/ 31918 h 268605"/>
                <a:gd name="connsiteX106" fmla="*/ 240018 w 317516"/>
                <a:gd name="connsiteY106" fmla="*/ 34641 h 268605"/>
                <a:gd name="connsiteX107" fmla="*/ 226342 w 317516"/>
                <a:gd name="connsiteY107" fmla="*/ 33846 h 268605"/>
                <a:gd name="connsiteX108" fmla="*/ 226062 w 317516"/>
                <a:gd name="connsiteY108" fmla="*/ 28302 h 268605"/>
                <a:gd name="connsiteX109" fmla="*/ 218446 w 317516"/>
                <a:gd name="connsiteY109" fmla="*/ 25318 h 268605"/>
                <a:gd name="connsiteX110" fmla="*/ 214570 w 317516"/>
                <a:gd name="connsiteY110" fmla="*/ 9053 h 268605"/>
                <a:gd name="connsiteX111" fmla="*/ 210819 w 317516"/>
                <a:gd name="connsiteY111" fmla="*/ 5042 h 268605"/>
                <a:gd name="connsiteX112" fmla="*/ 207594 w 317516"/>
                <a:gd name="connsiteY112" fmla="*/ 10702 h 268605"/>
                <a:gd name="connsiteX113" fmla="*/ 201144 w 317516"/>
                <a:gd name="connsiteY113" fmla="*/ 14718 h 268605"/>
                <a:gd name="connsiteX114" fmla="*/ 189666 w 317516"/>
                <a:gd name="connsiteY114" fmla="*/ 11738 h 268605"/>
                <a:gd name="connsiteX115" fmla="*/ 194438 w 317516"/>
                <a:gd name="connsiteY115" fmla="*/ 5529 h 268605"/>
                <a:gd name="connsiteX116" fmla="*/ 188630 w 317516"/>
                <a:gd name="connsiteY116" fmla="*/ 0 h 268605"/>
                <a:gd name="connsiteX117" fmla="*/ 184744 w 317516"/>
                <a:gd name="connsiteY117" fmla="*/ 2965 h 268605"/>
                <a:gd name="connsiteX118" fmla="*/ 180357 w 317516"/>
                <a:gd name="connsiteY118" fmla="*/ 9945 h 268605"/>
                <a:gd name="connsiteX119" fmla="*/ 174399 w 317516"/>
                <a:gd name="connsiteY119" fmla="*/ 8137 h 268605"/>
                <a:gd name="connsiteX120" fmla="*/ 169752 w 317516"/>
                <a:gd name="connsiteY120" fmla="*/ 1938 h 268605"/>
                <a:gd name="connsiteX121" fmla="*/ 162916 w 317516"/>
                <a:gd name="connsiteY121" fmla="*/ 3345 h 268605"/>
                <a:gd name="connsiteX122" fmla="*/ 157994 w 317516"/>
                <a:gd name="connsiteY122" fmla="*/ 10692 h 268605"/>
                <a:gd name="connsiteX123" fmla="*/ 158905 w 317516"/>
                <a:gd name="connsiteY123" fmla="*/ 16390 h 268605"/>
                <a:gd name="connsiteX124" fmla="*/ 154017 w 317516"/>
                <a:gd name="connsiteY124" fmla="*/ 16911 h 268605"/>
                <a:gd name="connsiteX125" fmla="*/ 147128 w 317516"/>
                <a:gd name="connsiteY125" fmla="*/ 14091 h 268605"/>
                <a:gd name="connsiteX126" fmla="*/ 147639 w 317516"/>
                <a:gd name="connsiteY126" fmla="*/ 16718 h 268605"/>
                <a:gd name="connsiteX127" fmla="*/ 149399 w 317516"/>
                <a:gd name="connsiteY127" fmla="*/ 22599 h 268605"/>
                <a:gd name="connsiteX128" fmla="*/ 149447 w 317516"/>
                <a:gd name="connsiteY128" fmla="*/ 22927 h 268605"/>
                <a:gd name="connsiteX129" fmla="*/ 150045 w 317516"/>
                <a:gd name="connsiteY129" fmla="*/ 28900 h 268605"/>
                <a:gd name="connsiteX130" fmla="*/ 148627 w 317516"/>
                <a:gd name="connsiteY130" fmla="*/ 30833 h 268605"/>
                <a:gd name="connsiteX131" fmla="*/ 146530 w 317516"/>
                <a:gd name="connsiteY131" fmla="*/ 29637 h 268605"/>
                <a:gd name="connsiteX132" fmla="*/ 144771 w 317516"/>
                <a:gd name="connsiteY132" fmla="*/ 24315 h 268605"/>
                <a:gd name="connsiteX133" fmla="*/ 142712 w 317516"/>
                <a:gd name="connsiteY133" fmla="*/ 18757 h 268605"/>
                <a:gd name="connsiteX134" fmla="*/ 137978 w 317516"/>
                <a:gd name="connsiteY134" fmla="*/ 24152 h 268605"/>
                <a:gd name="connsiteX135" fmla="*/ 115654 w 317516"/>
                <a:gd name="connsiteY135" fmla="*/ 34352 h 268605"/>
                <a:gd name="connsiteX136" fmla="*/ 106369 w 317516"/>
                <a:gd name="connsiteY136" fmla="*/ 31918 h 268605"/>
                <a:gd name="connsiteX137" fmla="*/ 105313 w 317516"/>
                <a:gd name="connsiteY137" fmla="*/ 26364 h 268605"/>
                <a:gd name="connsiteX138" fmla="*/ 100155 w 317516"/>
                <a:gd name="connsiteY138" fmla="*/ 24802 h 268605"/>
                <a:gd name="connsiteX139" fmla="*/ 93811 w 317516"/>
                <a:gd name="connsiteY139" fmla="*/ 20806 h 268605"/>
                <a:gd name="connsiteX140" fmla="*/ 86855 w 317516"/>
                <a:gd name="connsiteY140" fmla="*/ 20440 h 268605"/>
                <a:gd name="connsiteX141" fmla="*/ 81562 w 317516"/>
                <a:gd name="connsiteY141" fmla="*/ 26871 h 268605"/>
                <a:gd name="connsiteX142" fmla="*/ 71520 w 317516"/>
                <a:gd name="connsiteY142" fmla="*/ 10774 h 268605"/>
                <a:gd name="connsiteX143" fmla="*/ 51008 w 317516"/>
                <a:gd name="connsiteY143" fmla="*/ 15831 h 268605"/>
                <a:gd name="connsiteX144" fmla="*/ 31768 w 317516"/>
                <a:gd name="connsiteY144" fmla="*/ 26577 h 268605"/>
                <a:gd name="connsiteX145" fmla="*/ 646 w 317516"/>
                <a:gd name="connsiteY145" fmla="*/ 41511 h 268605"/>
                <a:gd name="connsiteX146" fmla="*/ 0 w 317516"/>
                <a:gd name="connsiteY146" fmla="*/ 41820 h 268605"/>
                <a:gd name="connsiteX147" fmla="*/ 709 w 317516"/>
                <a:gd name="connsiteY147" fmla="*/ 49976 h 268605"/>
                <a:gd name="connsiteX148" fmla="*/ 4329 w 317516"/>
                <a:gd name="connsiteY148" fmla="*/ 59531 h 268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317516" h="268605">
                  <a:moveTo>
                    <a:pt x="4329" y="59531"/>
                  </a:moveTo>
                  <a:lnTo>
                    <a:pt x="1620" y="64699"/>
                  </a:lnTo>
                  <a:lnTo>
                    <a:pt x="3693" y="77801"/>
                  </a:lnTo>
                  <a:cubicBezTo>
                    <a:pt x="3693" y="77801"/>
                    <a:pt x="7655" y="78659"/>
                    <a:pt x="9396" y="79190"/>
                  </a:cubicBezTo>
                  <a:cubicBezTo>
                    <a:pt x="11092" y="79681"/>
                    <a:pt x="16096" y="91907"/>
                    <a:pt x="16096" y="91907"/>
                  </a:cubicBezTo>
                  <a:lnTo>
                    <a:pt x="21929" y="94520"/>
                  </a:lnTo>
                  <a:lnTo>
                    <a:pt x="24002" y="96559"/>
                  </a:lnTo>
                  <a:cubicBezTo>
                    <a:pt x="24002" y="96559"/>
                    <a:pt x="27478" y="93309"/>
                    <a:pt x="28664" y="91044"/>
                  </a:cubicBezTo>
                  <a:cubicBezTo>
                    <a:pt x="29869" y="88792"/>
                    <a:pt x="41757" y="86734"/>
                    <a:pt x="41757" y="86734"/>
                  </a:cubicBezTo>
                  <a:lnTo>
                    <a:pt x="42789" y="85890"/>
                  </a:lnTo>
                  <a:lnTo>
                    <a:pt x="47436" y="87096"/>
                  </a:lnTo>
                  <a:lnTo>
                    <a:pt x="50184" y="95541"/>
                  </a:lnTo>
                  <a:lnTo>
                    <a:pt x="53630" y="97238"/>
                  </a:lnTo>
                  <a:lnTo>
                    <a:pt x="53659" y="102917"/>
                  </a:lnTo>
                  <a:lnTo>
                    <a:pt x="53659" y="103332"/>
                  </a:lnTo>
                  <a:lnTo>
                    <a:pt x="54170" y="107714"/>
                  </a:lnTo>
                  <a:cubicBezTo>
                    <a:pt x="55988" y="109517"/>
                    <a:pt x="56369" y="109767"/>
                    <a:pt x="55491" y="112361"/>
                  </a:cubicBezTo>
                  <a:cubicBezTo>
                    <a:pt x="54566" y="114940"/>
                    <a:pt x="57154" y="122677"/>
                    <a:pt x="59213" y="123198"/>
                  </a:cubicBezTo>
                  <a:cubicBezTo>
                    <a:pt x="61271" y="123733"/>
                    <a:pt x="65412" y="124225"/>
                    <a:pt x="65412" y="124225"/>
                  </a:cubicBezTo>
                  <a:lnTo>
                    <a:pt x="74085" y="122287"/>
                  </a:lnTo>
                  <a:cubicBezTo>
                    <a:pt x="74085" y="122287"/>
                    <a:pt x="75487" y="123598"/>
                    <a:pt x="76649" y="124880"/>
                  </a:cubicBezTo>
                  <a:cubicBezTo>
                    <a:pt x="77811" y="126177"/>
                    <a:pt x="86720" y="127474"/>
                    <a:pt x="86329" y="133032"/>
                  </a:cubicBezTo>
                  <a:cubicBezTo>
                    <a:pt x="85963" y="138566"/>
                    <a:pt x="85293" y="145151"/>
                    <a:pt x="85293" y="145151"/>
                  </a:cubicBezTo>
                  <a:lnTo>
                    <a:pt x="88402" y="151341"/>
                  </a:lnTo>
                  <a:lnTo>
                    <a:pt x="93821" y="146564"/>
                  </a:lnTo>
                  <a:lnTo>
                    <a:pt x="100545" y="147109"/>
                  </a:lnTo>
                  <a:lnTo>
                    <a:pt x="106094" y="151091"/>
                  </a:lnTo>
                  <a:lnTo>
                    <a:pt x="118372" y="147619"/>
                  </a:lnTo>
                  <a:cubicBezTo>
                    <a:pt x="118372" y="147619"/>
                    <a:pt x="119664" y="152518"/>
                    <a:pt x="121477" y="154060"/>
                  </a:cubicBezTo>
                  <a:cubicBezTo>
                    <a:pt x="123280" y="155641"/>
                    <a:pt x="124316" y="157685"/>
                    <a:pt x="124316" y="158196"/>
                  </a:cubicBezTo>
                  <a:cubicBezTo>
                    <a:pt x="124316" y="158712"/>
                    <a:pt x="123280" y="162453"/>
                    <a:pt x="131552" y="162082"/>
                  </a:cubicBezTo>
                  <a:cubicBezTo>
                    <a:pt x="126124" y="166608"/>
                    <a:pt x="125363" y="168667"/>
                    <a:pt x="125363" y="168667"/>
                  </a:cubicBezTo>
                  <a:lnTo>
                    <a:pt x="124948" y="174090"/>
                  </a:lnTo>
                  <a:cubicBezTo>
                    <a:pt x="124948" y="174090"/>
                    <a:pt x="131552" y="187130"/>
                    <a:pt x="129209" y="188051"/>
                  </a:cubicBezTo>
                  <a:cubicBezTo>
                    <a:pt x="126900" y="188933"/>
                    <a:pt x="124066" y="190741"/>
                    <a:pt x="123926" y="193301"/>
                  </a:cubicBezTo>
                  <a:cubicBezTo>
                    <a:pt x="123786" y="195913"/>
                    <a:pt x="124948" y="202103"/>
                    <a:pt x="129084" y="202103"/>
                  </a:cubicBezTo>
                  <a:cubicBezTo>
                    <a:pt x="133211" y="202103"/>
                    <a:pt x="134782" y="201718"/>
                    <a:pt x="134782" y="201718"/>
                  </a:cubicBezTo>
                  <a:cubicBezTo>
                    <a:pt x="134782" y="201718"/>
                    <a:pt x="151057" y="208047"/>
                    <a:pt x="157232" y="203410"/>
                  </a:cubicBezTo>
                  <a:cubicBezTo>
                    <a:pt x="160486" y="201848"/>
                    <a:pt x="163441" y="200691"/>
                    <a:pt x="165129" y="200691"/>
                  </a:cubicBezTo>
                  <a:cubicBezTo>
                    <a:pt x="166797" y="200691"/>
                    <a:pt x="168874" y="199664"/>
                    <a:pt x="169525" y="195258"/>
                  </a:cubicBezTo>
                  <a:cubicBezTo>
                    <a:pt x="170166" y="190900"/>
                    <a:pt x="171574" y="185949"/>
                    <a:pt x="171574" y="185949"/>
                  </a:cubicBezTo>
                  <a:lnTo>
                    <a:pt x="182956" y="178747"/>
                  </a:lnTo>
                  <a:lnTo>
                    <a:pt x="185780" y="187130"/>
                  </a:lnTo>
                  <a:cubicBezTo>
                    <a:pt x="185780" y="187130"/>
                    <a:pt x="178279" y="204682"/>
                    <a:pt x="181013" y="207517"/>
                  </a:cubicBezTo>
                  <a:cubicBezTo>
                    <a:pt x="183717" y="210381"/>
                    <a:pt x="186152" y="212704"/>
                    <a:pt x="183466" y="215413"/>
                  </a:cubicBezTo>
                  <a:cubicBezTo>
                    <a:pt x="180752" y="218132"/>
                    <a:pt x="181774" y="222490"/>
                    <a:pt x="183346" y="223536"/>
                  </a:cubicBezTo>
                  <a:cubicBezTo>
                    <a:pt x="184865" y="224578"/>
                    <a:pt x="189391" y="227923"/>
                    <a:pt x="189391" y="227923"/>
                  </a:cubicBezTo>
                  <a:cubicBezTo>
                    <a:pt x="189391" y="227923"/>
                    <a:pt x="193773" y="225233"/>
                    <a:pt x="197408" y="230126"/>
                  </a:cubicBezTo>
                  <a:cubicBezTo>
                    <a:pt x="201023" y="235048"/>
                    <a:pt x="212145" y="245495"/>
                    <a:pt x="218846" y="245388"/>
                  </a:cubicBezTo>
                  <a:cubicBezTo>
                    <a:pt x="218200" y="247958"/>
                    <a:pt x="218335" y="253130"/>
                    <a:pt x="221174" y="252354"/>
                  </a:cubicBezTo>
                  <a:cubicBezTo>
                    <a:pt x="224013" y="251569"/>
                    <a:pt x="230709" y="252740"/>
                    <a:pt x="233158" y="268605"/>
                  </a:cubicBezTo>
                  <a:cubicBezTo>
                    <a:pt x="237073" y="266947"/>
                    <a:pt x="239368" y="266788"/>
                    <a:pt x="239368" y="266788"/>
                  </a:cubicBezTo>
                  <a:lnTo>
                    <a:pt x="246743" y="268359"/>
                  </a:lnTo>
                  <a:lnTo>
                    <a:pt x="252417" y="264753"/>
                  </a:lnTo>
                  <a:lnTo>
                    <a:pt x="255527" y="266180"/>
                  </a:lnTo>
                  <a:lnTo>
                    <a:pt x="260043" y="265120"/>
                  </a:lnTo>
                  <a:lnTo>
                    <a:pt x="262560" y="263664"/>
                  </a:lnTo>
                  <a:lnTo>
                    <a:pt x="260820" y="260357"/>
                  </a:lnTo>
                  <a:lnTo>
                    <a:pt x="262560" y="263664"/>
                  </a:lnTo>
                  <a:lnTo>
                    <a:pt x="266884" y="261114"/>
                  </a:lnTo>
                  <a:lnTo>
                    <a:pt x="268436" y="255078"/>
                  </a:lnTo>
                  <a:cubicBezTo>
                    <a:pt x="268436" y="255078"/>
                    <a:pt x="271907" y="252976"/>
                    <a:pt x="270755" y="250407"/>
                  </a:cubicBezTo>
                  <a:cubicBezTo>
                    <a:pt x="269603" y="247828"/>
                    <a:pt x="268687" y="243682"/>
                    <a:pt x="267125" y="243682"/>
                  </a:cubicBezTo>
                  <a:cubicBezTo>
                    <a:pt x="265587" y="243682"/>
                    <a:pt x="264035" y="241898"/>
                    <a:pt x="263664" y="239300"/>
                  </a:cubicBezTo>
                  <a:cubicBezTo>
                    <a:pt x="263273" y="236706"/>
                    <a:pt x="262618" y="235675"/>
                    <a:pt x="260704" y="233876"/>
                  </a:cubicBezTo>
                  <a:cubicBezTo>
                    <a:pt x="258761" y="232083"/>
                    <a:pt x="258621" y="229374"/>
                    <a:pt x="258621" y="229374"/>
                  </a:cubicBezTo>
                  <a:lnTo>
                    <a:pt x="258621" y="224192"/>
                  </a:lnTo>
                  <a:lnTo>
                    <a:pt x="260704" y="222114"/>
                  </a:lnTo>
                  <a:lnTo>
                    <a:pt x="258761" y="219530"/>
                  </a:lnTo>
                  <a:cubicBezTo>
                    <a:pt x="258761" y="219530"/>
                    <a:pt x="259142" y="211282"/>
                    <a:pt x="267535" y="208568"/>
                  </a:cubicBezTo>
                  <a:cubicBezTo>
                    <a:pt x="266113" y="205487"/>
                    <a:pt x="265587" y="205333"/>
                    <a:pt x="268311" y="200276"/>
                  </a:cubicBezTo>
                  <a:cubicBezTo>
                    <a:pt x="271020" y="195248"/>
                    <a:pt x="283139" y="175488"/>
                    <a:pt x="286128" y="184291"/>
                  </a:cubicBezTo>
                  <a:cubicBezTo>
                    <a:pt x="289238" y="184667"/>
                    <a:pt x="291421" y="184001"/>
                    <a:pt x="291421" y="184001"/>
                  </a:cubicBezTo>
                  <a:lnTo>
                    <a:pt x="293885" y="188923"/>
                  </a:lnTo>
                  <a:lnTo>
                    <a:pt x="295061" y="184556"/>
                  </a:lnTo>
                  <a:lnTo>
                    <a:pt x="301887" y="172793"/>
                  </a:lnTo>
                  <a:lnTo>
                    <a:pt x="306669" y="171246"/>
                  </a:lnTo>
                  <a:lnTo>
                    <a:pt x="311326" y="164936"/>
                  </a:lnTo>
                  <a:lnTo>
                    <a:pt x="317516" y="163504"/>
                  </a:lnTo>
                  <a:lnTo>
                    <a:pt x="313139" y="156104"/>
                  </a:lnTo>
                  <a:lnTo>
                    <a:pt x="316094" y="148757"/>
                  </a:lnTo>
                  <a:lnTo>
                    <a:pt x="313780" y="142206"/>
                  </a:lnTo>
                  <a:lnTo>
                    <a:pt x="301887" y="138311"/>
                  </a:lnTo>
                  <a:lnTo>
                    <a:pt x="300716" y="132222"/>
                  </a:lnTo>
                  <a:lnTo>
                    <a:pt x="306404" y="125888"/>
                  </a:lnTo>
                  <a:lnTo>
                    <a:pt x="304717" y="124374"/>
                  </a:lnTo>
                  <a:lnTo>
                    <a:pt x="299949" y="124143"/>
                  </a:lnTo>
                  <a:lnTo>
                    <a:pt x="299192" y="117389"/>
                  </a:lnTo>
                  <a:cubicBezTo>
                    <a:pt x="299192" y="117389"/>
                    <a:pt x="295688" y="107699"/>
                    <a:pt x="291156" y="110659"/>
                  </a:cubicBezTo>
                  <a:cubicBezTo>
                    <a:pt x="289498" y="111604"/>
                    <a:pt x="287811" y="109358"/>
                    <a:pt x="287941" y="105650"/>
                  </a:cubicBezTo>
                  <a:cubicBezTo>
                    <a:pt x="287960" y="105482"/>
                    <a:pt x="287960" y="105270"/>
                    <a:pt x="287960" y="105077"/>
                  </a:cubicBezTo>
                  <a:cubicBezTo>
                    <a:pt x="284427" y="104156"/>
                    <a:pt x="280840" y="105086"/>
                    <a:pt x="280840" y="105086"/>
                  </a:cubicBezTo>
                  <a:lnTo>
                    <a:pt x="277861" y="105646"/>
                  </a:lnTo>
                  <a:lnTo>
                    <a:pt x="265202" y="102773"/>
                  </a:lnTo>
                  <a:lnTo>
                    <a:pt x="260048" y="103814"/>
                  </a:lnTo>
                  <a:lnTo>
                    <a:pt x="260825" y="97503"/>
                  </a:lnTo>
                  <a:cubicBezTo>
                    <a:pt x="260825" y="97503"/>
                    <a:pt x="256428" y="95932"/>
                    <a:pt x="256172" y="92861"/>
                  </a:cubicBezTo>
                  <a:cubicBezTo>
                    <a:pt x="255927" y="89742"/>
                    <a:pt x="257334" y="88966"/>
                    <a:pt x="260178" y="87033"/>
                  </a:cubicBezTo>
                  <a:cubicBezTo>
                    <a:pt x="263032" y="85076"/>
                    <a:pt x="269738" y="80727"/>
                    <a:pt x="268957" y="65484"/>
                  </a:cubicBezTo>
                  <a:cubicBezTo>
                    <a:pt x="272438" y="61449"/>
                    <a:pt x="275272" y="58494"/>
                    <a:pt x="275272" y="58494"/>
                  </a:cubicBezTo>
                  <a:lnTo>
                    <a:pt x="276824" y="51543"/>
                  </a:lnTo>
                  <a:lnTo>
                    <a:pt x="267810" y="45710"/>
                  </a:lnTo>
                  <a:lnTo>
                    <a:pt x="261470" y="47132"/>
                  </a:lnTo>
                  <a:lnTo>
                    <a:pt x="253834" y="41588"/>
                  </a:lnTo>
                  <a:lnTo>
                    <a:pt x="251781" y="34627"/>
                  </a:lnTo>
                  <a:lnTo>
                    <a:pt x="246738" y="31918"/>
                  </a:lnTo>
                  <a:lnTo>
                    <a:pt x="240018" y="34641"/>
                  </a:lnTo>
                  <a:cubicBezTo>
                    <a:pt x="240018" y="34641"/>
                    <a:pt x="226212" y="36787"/>
                    <a:pt x="226342" y="33846"/>
                  </a:cubicBezTo>
                  <a:cubicBezTo>
                    <a:pt x="226477" y="30843"/>
                    <a:pt x="226062" y="28302"/>
                    <a:pt x="226062" y="28302"/>
                  </a:cubicBezTo>
                  <a:lnTo>
                    <a:pt x="218446" y="25318"/>
                  </a:lnTo>
                  <a:cubicBezTo>
                    <a:pt x="218446" y="25318"/>
                    <a:pt x="214825" y="17952"/>
                    <a:pt x="214570" y="9053"/>
                  </a:cubicBezTo>
                  <a:cubicBezTo>
                    <a:pt x="213548" y="6715"/>
                    <a:pt x="210819" y="5042"/>
                    <a:pt x="210819" y="5042"/>
                  </a:cubicBezTo>
                  <a:lnTo>
                    <a:pt x="207594" y="10702"/>
                  </a:lnTo>
                  <a:lnTo>
                    <a:pt x="201144" y="14718"/>
                  </a:lnTo>
                  <a:cubicBezTo>
                    <a:pt x="201144" y="14718"/>
                    <a:pt x="191199" y="11738"/>
                    <a:pt x="189666" y="11738"/>
                  </a:cubicBezTo>
                  <a:cubicBezTo>
                    <a:pt x="193908" y="8137"/>
                    <a:pt x="194438" y="5529"/>
                    <a:pt x="194438" y="5529"/>
                  </a:cubicBezTo>
                  <a:lnTo>
                    <a:pt x="188630" y="0"/>
                  </a:lnTo>
                  <a:lnTo>
                    <a:pt x="184744" y="2965"/>
                  </a:lnTo>
                  <a:lnTo>
                    <a:pt x="180357" y="9945"/>
                  </a:lnTo>
                  <a:lnTo>
                    <a:pt x="174399" y="8137"/>
                  </a:lnTo>
                  <a:cubicBezTo>
                    <a:pt x="174399" y="8137"/>
                    <a:pt x="171950" y="1687"/>
                    <a:pt x="169752" y="1938"/>
                  </a:cubicBezTo>
                  <a:cubicBezTo>
                    <a:pt x="167553" y="2179"/>
                    <a:pt x="164728" y="1157"/>
                    <a:pt x="162916" y="3345"/>
                  </a:cubicBezTo>
                  <a:cubicBezTo>
                    <a:pt x="161108" y="5529"/>
                    <a:pt x="156331" y="7617"/>
                    <a:pt x="157994" y="10692"/>
                  </a:cubicBezTo>
                  <a:cubicBezTo>
                    <a:pt x="159686" y="13811"/>
                    <a:pt x="161484" y="15773"/>
                    <a:pt x="158905" y="16390"/>
                  </a:cubicBezTo>
                  <a:cubicBezTo>
                    <a:pt x="156326" y="17027"/>
                    <a:pt x="154017" y="16911"/>
                    <a:pt x="154017" y="16911"/>
                  </a:cubicBezTo>
                  <a:lnTo>
                    <a:pt x="147128" y="14091"/>
                  </a:lnTo>
                  <a:lnTo>
                    <a:pt x="147639" y="16718"/>
                  </a:lnTo>
                  <a:lnTo>
                    <a:pt x="149399" y="22599"/>
                  </a:lnTo>
                  <a:lnTo>
                    <a:pt x="149447" y="22927"/>
                  </a:lnTo>
                  <a:lnTo>
                    <a:pt x="150045" y="28900"/>
                  </a:lnTo>
                  <a:cubicBezTo>
                    <a:pt x="150160" y="29816"/>
                    <a:pt x="149538" y="30650"/>
                    <a:pt x="148627" y="30833"/>
                  </a:cubicBezTo>
                  <a:cubicBezTo>
                    <a:pt x="147721" y="31045"/>
                    <a:pt x="146824" y="30520"/>
                    <a:pt x="146530" y="29637"/>
                  </a:cubicBezTo>
                  <a:lnTo>
                    <a:pt x="144771" y="24315"/>
                  </a:lnTo>
                  <a:lnTo>
                    <a:pt x="142712" y="18757"/>
                  </a:lnTo>
                  <a:lnTo>
                    <a:pt x="137978" y="24152"/>
                  </a:lnTo>
                  <a:lnTo>
                    <a:pt x="115654" y="34352"/>
                  </a:lnTo>
                  <a:lnTo>
                    <a:pt x="106369" y="31918"/>
                  </a:lnTo>
                  <a:lnTo>
                    <a:pt x="105313" y="26364"/>
                  </a:lnTo>
                  <a:lnTo>
                    <a:pt x="100155" y="24802"/>
                  </a:lnTo>
                  <a:lnTo>
                    <a:pt x="93811" y="20806"/>
                  </a:lnTo>
                  <a:lnTo>
                    <a:pt x="86855" y="20440"/>
                  </a:lnTo>
                  <a:cubicBezTo>
                    <a:pt x="86855" y="20440"/>
                    <a:pt x="84006" y="26871"/>
                    <a:pt x="81562" y="26871"/>
                  </a:cubicBezTo>
                  <a:cubicBezTo>
                    <a:pt x="79190" y="26871"/>
                    <a:pt x="68869" y="27160"/>
                    <a:pt x="71520" y="10774"/>
                  </a:cubicBezTo>
                  <a:cubicBezTo>
                    <a:pt x="63773" y="12158"/>
                    <a:pt x="58644" y="13681"/>
                    <a:pt x="51008" y="15831"/>
                  </a:cubicBezTo>
                  <a:cubicBezTo>
                    <a:pt x="46086" y="19538"/>
                    <a:pt x="36801" y="22701"/>
                    <a:pt x="31768" y="26577"/>
                  </a:cubicBezTo>
                  <a:cubicBezTo>
                    <a:pt x="21317" y="31344"/>
                    <a:pt x="11078" y="36661"/>
                    <a:pt x="646" y="41511"/>
                  </a:cubicBezTo>
                  <a:cubicBezTo>
                    <a:pt x="415" y="41612"/>
                    <a:pt x="231" y="41709"/>
                    <a:pt x="0" y="41820"/>
                  </a:cubicBezTo>
                  <a:lnTo>
                    <a:pt x="709" y="49976"/>
                  </a:lnTo>
                  <a:cubicBezTo>
                    <a:pt x="713" y="49981"/>
                    <a:pt x="6151" y="57472"/>
                    <a:pt x="4329" y="5953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33" name="Freihandform: Form 632">
              <a:extLst>
                <a:ext uri="{FF2B5EF4-FFF2-40B4-BE49-F238E27FC236}">
                  <a16:creationId xmlns:a16="http://schemas.microsoft.com/office/drawing/2014/main" id="{07CD2F84-B81D-04E4-363E-E2D6B22A95CA}"/>
                </a:ext>
              </a:extLst>
            </p:cNvPr>
            <p:cNvSpPr/>
            <p:nvPr/>
          </p:nvSpPr>
          <p:spPr>
            <a:xfrm>
              <a:off x="5807144" y="4859385"/>
              <a:ext cx="707945" cy="596923"/>
            </a:xfrm>
            <a:custGeom>
              <a:avLst/>
              <a:gdLst>
                <a:gd name="connsiteX0" fmla="*/ 424844 w 554757"/>
                <a:gd name="connsiteY0" fmla="*/ 463006 h 468019"/>
                <a:gd name="connsiteX1" fmla="*/ 410372 w 554757"/>
                <a:gd name="connsiteY1" fmla="*/ 445613 h 468019"/>
                <a:gd name="connsiteX2" fmla="*/ 394353 w 554757"/>
                <a:gd name="connsiteY2" fmla="*/ 433547 h 468019"/>
                <a:gd name="connsiteX3" fmla="*/ 381082 w 554757"/>
                <a:gd name="connsiteY3" fmla="*/ 407891 h 468019"/>
                <a:gd name="connsiteX4" fmla="*/ 375022 w 554757"/>
                <a:gd name="connsiteY4" fmla="*/ 399021 h 468019"/>
                <a:gd name="connsiteX5" fmla="*/ 374116 w 554757"/>
                <a:gd name="connsiteY5" fmla="*/ 399122 h 468019"/>
                <a:gd name="connsiteX6" fmla="*/ 349077 w 554757"/>
                <a:gd name="connsiteY6" fmla="*/ 386444 h 468019"/>
                <a:gd name="connsiteX7" fmla="*/ 322206 w 554757"/>
                <a:gd name="connsiteY7" fmla="*/ 365237 h 468019"/>
                <a:gd name="connsiteX8" fmla="*/ 302581 w 554757"/>
                <a:gd name="connsiteY8" fmla="*/ 343573 h 468019"/>
                <a:gd name="connsiteX9" fmla="*/ 300663 w 554757"/>
                <a:gd name="connsiteY9" fmla="*/ 341905 h 468019"/>
                <a:gd name="connsiteX10" fmla="*/ 299236 w 554757"/>
                <a:gd name="connsiteY10" fmla="*/ 338555 h 468019"/>
                <a:gd name="connsiteX11" fmla="*/ 292506 w 554757"/>
                <a:gd name="connsiteY11" fmla="*/ 336607 h 468019"/>
                <a:gd name="connsiteX12" fmla="*/ 287078 w 554757"/>
                <a:gd name="connsiteY12" fmla="*/ 330013 h 468019"/>
                <a:gd name="connsiteX13" fmla="*/ 279726 w 554757"/>
                <a:gd name="connsiteY13" fmla="*/ 328209 h 468019"/>
                <a:gd name="connsiteX14" fmla="*/ 274043 w 554757"/>
                <a:gd name="connsiteY14" fmla="*/ 317363 h 468019"/>
                <a:gd name="connsiteX15" fmla="*/ 269135 w 554757"/>
                <a:gd name="connsiteY15" fmla="*/ 313767 h 468019"/>
                <a:gd name="connsiteX16" fmla="*/ 263833 w 554757"/>
                <a:gd name="connsiteY16" fmla="*/ 299184 h 468019"/>
                <a:gd name="connsiteX17" fmla="*/ 266276 w 554757"/>
                <a:gd name="connsiteY17" fmla="*/ 293510 h 468019"/>
                <a:gd name="connsiteX18" fmla="*/ 258424 w 554757"/>
                <a:gd name="connsiteY18" fmla="*/ 288448 h 468019"/>
                <a:gd name="connsiteX19" fmla="*/ 258679 w 554757"/>
                <a:gd name="connsiteY19" fmla="*/ 283141 h 468019"/>
                <a:gd name="connsiteX20" fmla="*/ 252740 w 554757"/>
                <a:gd name="connsiteY20" fmla="*/ 268423 h 468019"/>
                <a:gd name="connsiteX21" fmla="*/ 244588 w 554757"/>
                <a:gd name="connsiteY21" fmla="*/ 268929 h 468019"/>
                <a:gd name="connsiteX22" fmla="*/ 240066 w 554757"/>
                <a:gd name="connsiteY22" fmla="*/ 256010 h 468019"/>
                <a:gd name="connsiteX23" fmla="*/ 236841 w 554757"/>
                <a:gd name="connsiteY23" fmla="*/ 250847 h 468019"/>
                <a:gd name="connsiteX24" fmla="*/ 231809 w 554757"/>
                <a:gd name="connsiteY24" fmla="*/ 250736 h 468019"/>
                <a:gd name="connsiteX25" fmla="*/ 220441 w 554757"/>
                <a:gd name="connsiteY25" fmla="*/ 245693 h 468019"/>
                <a:gd name="connsiteX26" fmla="*/ 215032 w 554757"/>
                <a:gd name="connsiteY26" fmla="*/ 237932 h 468019"/>
                <a:gd name="connsiteX27" fmla="*/ 214772 w 554757"/>
                <a:gd name="connsiteY27" fmla="*/ 222978 h 468019"/>
                <a:gd name="connsiteX28" fmla="*/ 215283 w 554757"/>
                <a:gd name="connsiteY28" fmla="*/ 213915 h 468019"/>
                <a:gd name="connsiteX29" fmla="*/ 214522 w 554757"/>
                <a:gd name="connsiteY29" fmla="*/ 205744 h 468019"/>
                <a:gd name="connsiteX30" fmla="*/ 215669 w 554757"/>
                <a:gd name="connsiteY30" fmla="*/ 199323 h 468019"/>
                <a:gd name="connsiteX31" fmla="*/ 215548 w 554757"/>
                <a:gd name="connsiteY31" fmla="*/ 188997 h 468019"/>
                <a:gd name="connsiteX32" fmla="*/ 218137 w 554757"/>
                <a:gd name="connsiteY32" fmla="*/ 181491 h 468019"/>
                <a:gd name="connsiteX33" fmla="*/ 226675 w 554757"/>
                <a:gd name="connsiteY33" fmla="*/ 178792 h 468019"/>
                <a:gd name="connsiteX34" fmla="*/ 235043 w 554757"/>
                <a:gd name="connsiteY34" fmla="*/ 178792 h 468019"/>
                <a:gd name="connsiteX35" fmla="*/ 240987 w 554757"/>
                <a:gd name="connsiteY35" fmla="*/ 182918 h 468019"/>
                <a:gd name="connsiteX36" fmla="*/ 246676 w 554757"/>
                <a:gd name="connsiteY36" fmla="*/ 193500 h 468019"/>
                <a:gd name="connsiteX37" fmla="*/ 249655 w 554757"/>
                <a:gd name="connsiteY37" fmla="*/ 194787 h 468019"/>
                <a:gd name="connsiteX38" fmla="*/ 255975 w 554757"/>
                <a:gd name="connsiteY38" fmla="*/ 201381 h 468019"/>
                <a:gd name="connsiteX39" fmla="*/ 261003 w 554757"/>
                <a:gd name="connsiteY39" fmla="*/ 203314 h 468019"/>
                <a:gd name="connsiteX40" fmla="*/ 269275 w 554757"/>
                <a:gd name="connsiteY40" fmla="*/ 205513 h 468019"/>
                <a:gd name="connsiteX41" fmla="*/ 273917 w 554757"/>
                <a:gd name="connsiteY41" fmla="*/ 188987 h 468019"/>
                <a:gd name="connsiteX42" fmla="*/ 279076 w 554757"/>
                <a:gd name="connsiteY42" fmla="*/ 182913 h 468019"/>
                <a:gd name="connsiteX43" fmla="*/ 283607 w 554757"/>
                <a:gd name="connsiteY43" fmla="*/ 173976 h 468019"/>
                <a:gd name="connsiteX44" fmla="*/ 289290 w 554757"/>
                <a:gd name="connsiteY44" fmla="*/ 172848 h 468019"/>
                <a:gd name="connsiteX45" fmla="*/ 299361 w 554757"/>
                <a:gd name="connsiteY45" fmla="*/ 175971 h 468019"/>
                <a:gd name="connsiteX46" fmla="*/ 305180 w 554757"/>
                <a:gd name="connsiteY46" fmla="*/ 174665 h 468019"/>
                <a:gd name="connsiteX47" fmla="*/ 310724 w 554757"/>
                <a:gd name="connsiteY47" fmla="*/ 177085 h 468019"/>
                <a:gd name="connsiteX48" fmla="*/ 312695 w 554757"/>
                <a:gd name="connsiteY48" fmla="*/ 171961 h 468019"/>
                <a:gd name="connsiteX49" fmla="*/ 316296 w 554757"/>
                <a:gd name="connsiteY49" fmla="*/ 167024 h 468019"/>
                <a:gd name="connsiteX50" fmla="*/ 323397 w 554757"/>
                <a:gd name="connsiteY50" fmla="*/ 165727 h 468019"/>
                <a:gd name="connsiteX51" fmla="*/ 329346 w 554757"/>
                <a:gd name="connsiteY51" fmla="*/ 171141 h 468019"/>
                <a:gd name="connsiteX52" fmla="*/ 346778 w 554757"/>
                <a:gd name="connsiteY52" fmla="*/ 178782 h 468019"/>
                <a:gd name="connsiteX53" fmla="*/ 353999 w 554757"/>
                <a:gd name="connsiteY53" fmla="*/ 172308 h 468019"/>
                <a:gd name="connsiteX54" fmla="*/ 377370 w 554757"/>
                <a:gd name="connsiteY54" fmla="*/ 180185 h 468019"/>
                <a:gd name="connsiteX55" fmla="*/ 384355 w 554757"/>
                <a:gd name="connsiteY55" fmla="*/ 178498 h 468019"/>
                <a:gd name="connsiteX56" fmla="*/ 391331 w 554757"/>
                <a:gd name="connsiteY56" fmla="*/ 174747 h 468019"/>
                <a:gd name="connsiteX57" fmla="*/ 410584 w 554757"/>
                <a:gd name="connsiteY57" fmla="*/ 184065 h 468019"/>
                <a:gd name="connsiteX58" fmla="*/ 420766 w 554757"/>
                <a:gd name="connsiteY58" fmla="*/ 172052 h 468019"/>
                <a:gd name="connsiteX59" fmla="*/ 434192 w 554757"/>
                <a:gd name="connsiteY59" fmla="*/ 175138 h 468019"/>
                <a:gd name="connsiteX60" fmla="*/ 441172 w 554757"/>
                <a:gd name="connsiteY60" fmla="*/ 176955 h 468019"/>
                <a:gd name="connsiteX61" fmla="*/ 447386 w 554757"/>
                <a:gd name="connsiteY61" fmla="*/ 168827 h 468019"/>
                <a:gd name="connsiteX62" fmla="*/ 456025 w 554757"/>
                <a:gd name="connsiteY62" fmla="*/ 170900 h 468019"/>
                <a:gd name="connsiteX63" fmla="*/ 469561 w 554757"/>
                <a:gd name="connsiteY63" fmla="*/ 176704 h 468019"/>
                <a:gd name="connsiteX64" fmla="*/ 473823 w 554757"/>
                <a:gd name="connsiteY64" fmla="*/ 171527 h 468019"/>
                <a:gd name="connsiteX65" fmla="*/ 479029 w 554757"/>
                <a:gd name="connsiteY65" fmla="*/ 171146 h 468019"/>
                <a:gd name="connsiteX66" fmla="*/ 481584 w 554757"/>
                <a:gd name="connsiteY66" fmla="*/ 173744 h 468019"/>
                <a:gd name="connsiteX67" fmla="*/ 487682 w 554757"/>
                <a:gd name="connsiteY67" fmla="*/ 169878 h 468019"/>
                <a:gd name="connsiteX68" fmla="*/ 489596 w 554757"/>
                <a:gd name="connsiteY68" fmla="*/ 176213 h 468019"/>
                <a:gd name="connsiteX69" fmla="*/ 492807 w 554757"/>
                <a:gd name="connsiteY69" fmla="*/ 177090 h 468019"/>
                <a:gd name="connsiteX70" fmla="*/ 494257 w 554757"/>
                <a:gd name="connsiteY70" fmla="*/ 181327 h 468019"/>
                <a:gd name="connsiteX71" fmla="*/ 497473 w 554757"/>
                <a:gd name="connsiteY71" fmla="*/ 180734 h 468019"/>
                <a:gd name="connsiteX72" fmla="*/ 499676 w 554757"/>
                <a:gd name="connsiteY72" fmla="*/ 186148 h 468019"/>
                <a:gd name="connsiteX73" fmla="*/ 498519 w 554757"/>
                <a:gd name="connsiteY73" fmla="*/ 189744 h 468019"/>
                <a:gd name="connsiteX74" fmla="*/ 501098 w 554757"/>
                <a:gd name="connsiteY74" fmla="*/ 194261 h 468019"/>
                <a:gd name="connsiteX75" fmla="*/ 510899 w 554757"/>
                <a:gd name="connsiteY75" fmla="*/ 198402 h 468019"/>
                <a:gd name="connsiteX76" fmla="*/ 516476 w 554757"/>
                <a:gd name="connsiteY76" fmla="*/ 198503 h 468019"/>
                <a:gd name="connsiteX77" fmla="*/ 524131 w 554757"/>
                <a:gd name="connsiteY77" fmla="*/ 195881 h 468019"/>
                <a:gd name="connsiteX78" fmla="*/ 522931 w 554757"/>
                <a:gd name="connsiteY78" fmla="*/ 188983 h 468019"/>
                <a:gd name="connsiteX79" fmla="*/ 527829 w 554757"/>
                <a:gd name="connsiteY79" fmla="*/ 185753 h 468019"/>
                <a:gd name="connsiteX80" fmla="*/ 528735 w 554757"/>
                <a:gd name="connsiteY80" fmla="*/ 176454 h 468019"/>
                <a:gd name="connsiteX81" fmla="*/ 522796 w 554757"/>
                <a:gd name="connsiteY81" fmla="*/ 156935 h 468019"/>
                <a:gd name="connsiteX82" fmla="*/ 529646 w 554757"/>
                <a:gd name="connsiteY82" fmla="*/ 155927 h 468019"/>
                <a:gd name="connsiteX83" fmla="*/ 532090 w 554757"/>
                <a:gd name="connsiteY83" fmla="*/ 152302 h 468019"/>
                <a:gd name="connsiteX84" fmla="*/ 546548 w 554757"/>
                <a:gd name="connsiteY84" fmla="*/ 150229 h 468019"/>
                <a:gd name="connsiteX85" fmla="*/ 550178 w 554757"/>
                <a:gd name="connsiteY85" fmla="*/ 150995 h 468019"/>
                <a:gd name="connsiteX86" fmla="*/ 554704 w 554757"/>
                <a:gd name="connsiteY86" fmla="*/ 145316 h 468019"/>
                <a:gd name="connsiteX87" fmla="*/ 549382 w 554757"/>
                <a:gd name="connsiteY87" fmla="*/ 141590 h 468019"/>
                <a:gd name="connsiteX88" fmla="*/ 538430 w 554757"/>
                <a:gd name="connsiteY88" fmla="*/ 140428 h 468019"/>
                <a:gd name="connsiteX89" fmla="*/ 532881 w 554757"/>
                <a:gd name="connsiteY89" fmla="*/ 139783 h 468019"/>
                <a:gd name="connsiteX90" fmla="*/ 520477 w 554757"/>
                <a:gd name="connsiteY90" fmla="*/ 134239 h 468019"/>
                <a:gd name="connsiteX91" fmla="*/ 512991 w 554757"/>
                <a:gd name="connsiteY91" fmla="*/ 129042 h 468019"/>
                <a:gd name="connsiteX92" fmla="*/ 511164 w 554757"/>
                <a:gd name="connsiteY92" fmla="*/ 119102 h 468019"/>
                <a:gd name="connsiteX93" fmla="*/ 517493 w 554757"/>
                <a:gd name="connsiteY93" fmla="*/ 106462 h 468019"/>
                <a:gd name="connsiteX94" fmla="*/ 508228 w 554757"/>
                <a:gd name="connsiteY94" fmla="*/ 104124 h 468019"/>
                <a:gd name="connsiteX95" fmla="*/ 502911 w 554757"/>
                <a:gd name="connsiteY95" fmla="*/ 105652 h 468019"/>
                <a:gd name="connsiteX96" fmla="*/ 499435 w 554757"/>
                <a:gd name="connsiteY96" fmla="*/ 100513 h 468019"/>
                <a:gd name="connsiteX97" fmla="*/ 503287 w 554757"/>
                <a:gd name="connsiteY97" fmla="*/ 90833 h 468019"/>
                <a:gd name="connsiteX98" fmla="*/ 498794 w 554757"/>
                <a:gd name="connsiteY98" fmla="*/ 84764 h 468019"/>
                <a:gd name="connsiteX99" fmla="*/ 499295 w 554757"/>
                <a:gd name="connsiteY99" fmla="*/ 82291 h 468019"/>
                <a:gd name="connsiteX100" fmla="*/ 501363 w 554757"/>
                <a:gd name="connsiteY100" fmla="*/ 76626 h 468019"/>
                <a:gd name="connsiteX101" fmla="*/ 497618 w 554757"/>
                <a:gd name="connsiteY101" fmla="*/ 72374 h 468019"/>
                <a:gd name="connsiteX102" fmla="*/ 493607 w 554757"/>
                <a:gd name="connsiteY102" fmla="*/ 69140 h 468019"/>
                <a:gd name="connsiteX103" fmla="*/ 489875 w 554757"/>
                <a:gd name="connsiteY103" fmla="*/ 66146 h 468019"/>
                <a:gd name="connsiteX104" fmla="*/ 495275 w 554757"/>
                <a:gd name="connsiteY104" fmla="*/ 63808 h 468019"/>
                <a:gd name="connsiteX105" fmla="*/ 492185 w 554757"/>
                <a:gd name="connsiteY105" fmla="*/ 60737 h 468019"/>
                <a:gd name="connsiteX106" fmla="*/ 493023 w 554757"/>
                <a:gd name="connsiteY106" fmla="*/ 55516 h 468019"/>
                <a:gd name="connsiteX107" fmla="*/ 487147 w 554757"/>
                <a:gd name="connsiteY107" fmla="*/ 58799 h 468019"/>
                <a:gd name="connsiteX108" fmla="*/ 479511 w 554757"/>
                <a:gd name="connsiteY108" fmla="*/ 60458 h 468019"/>
                <a:gd name="connsiteX109" fmla="*/ 472969 w 554757"/>
                <a:gd name="connsiteY109" fmla="*/ 59397 h 468019"/>
                <a:gd name="connsiteX110" fmla="*/ 461076 w 554757"/>
                <a:gd name="connsiteY110" fmla="*/ 77248 h 468019"/>
                <a:gd name="connsiteX111" fmla="*/ 455118 w 554757"/>
                <a:gd name="connsiteY111" fmla="*/ 81379 h 468019"/>
                <a:gd name="connsiteX112" fmla="*/ 450346 w 554757"/>
                <a:gd name="connsiteY112" fmla="*/ 83467 h 468019"/>
                <a:gd name="connsiteX113" fmla="*/ 444923 w 554757"/>
                <a:gd name="connsiteY113" fmla="*/ 84764 h 468019"/>
                <a:gd name="connsiteX114" fmla="*/ 436530 w 554757"/>
                <a:gd name="connsiteY114" fmla="*/ 84373 h 468019"/>
                <a:gd name="connsiteX115" fmla="*/ 426194 w 554757"/>
                <a:gd name="connsiteY115" fmla="*/ 84094 h 468019"/>
                <a:gd name="connsiteX116" fmla="*/ 412252 w 554757"/>
                <a:gd name="connsiteY116" fmla="*/ 85005 h 468019"/>
                <a:gd name="connsiteX117" fmla="*/ 400239 w 554757"/>
                <a:gd name="connsiteY117" fmla="*/ 88490 h 468019"/>
                <a:gd name="connsiteX118" fmla="*/ 385136 w 554757"/>
                <a:gd name="connsiteY118" fmla="*/ 81524 h 468019"/>
                <a:gd name="connsiteX119" fmla="*/ 378040 w 554757"/>
                <a:gd name="connsiteY119" fmla="*/ 77388 h 468019"/>
                <a:gd name="connsiteX120" fmla="*/ 358154 w 554757"/>
                <a:gd name="connsiteY120" fmla="*/ 68209 h 468019"/>
                <a:gd name="connsiteX121" fmla="*/ 345095 w 554757"/>
                <a:gd name="connsiteY121" fmla="*/ 63292 h 468019"/>
                <a:gd name="connsiteX122" fmla="*/ 341610 w 554757"/>
                <a:gd name="connsiteY122" fmla="*/ 62690 h 468019"/>
                <a:gd name="connsiteX123" fmla="*/ 339551 w 554757"/>
                <a:gd name="connsiteY123" fmla="*/ 55811 h 468019"/>
                <a:gd name="connsiteX124" fmla="*/ 336061 w 554757"/>
                <a:gd name="connsiteY124" fmla="*/ 53897 h 468019"/>
                <a:gd name="connsiteX125" fmla="*/ 335786 w 554757"/>
                <a:gd name="connsiteY125" fmla="*/ 50040 h 468019"/>
                <a:gd name="connsiteX126" fmla="*/ 332455 w 554757"/>
                <a:gd name="connsiteY126" fmla="*/ 49105 h 468019"/>
                <a:gd name="connsiteX127" fmla="*/ 331144 w 554757"/>
                <a:gd name="connsiteY127" fmla="*/ 43942 h 468019"/>
                <a:gd name="connsiteX128" fmla="*/ 308029 w 554757"/>
                <a:gd name="connsiteY128" fmla="*/ 34638 h 468019"/>
                <a:gd name="connsiteX129" fmla="*/ 302379 w 554757"/>
                <a:gd name="connsiteY129" fmla="*/ 28062 h 468019"/>
                <a:gd name="connsiteX130" fmla="*/ 299380 w 554757"/>
                <a:gd name="connsiteY130" fmla="*/ 21198 h 468019"/>
                <a:gd name="connsiteX131" fmla="*/ 294111 w 554757"/>
                <a:gd name="connsiteY131" fmla="*/ 17110 h 468019"/>
                <a:gd name="connsiteX132" fmla="*/ 284407 w 554757"/>
                <a:gd name="connsiteY132" fmla="*/ 14613 h 468019"/>
                <a:gd name="connsiteX133" fmla="*/ 280401 w 554757"/>
                <a:gd name="connsiteY133" fmla="*/ 9739 h 468019"/>
                <a:gd name="connsiteX134" fmla="*/ 272775 w 554757"/>
                <a:gd name="connsiteY134" fmla="*/ 6485 h 468019"/>
                <a:gd name="connsiteX135" fmla="*/ 271873 w 554757"/>
                <a:gd name="connsiteY135" fmla="*/ 6041 h 468019"/>
                <a:gd name="connsiteX136" fmla="*/ 257802 w 554757"/>
                <a:gd name="connsiteY136" fmla="*/ 2093 h 468019"/>
                <a:gd name="connsiteX137" fmla="*/ 251091 w 554757"/>
                <a:gd name="connsiteY137" fmla="*/ 151 h 468019"/>
                <a:gd name="connsiteX138" fmla="*/ 246174 w 554757"/>
                <a:gd name="connsiteY138" fmla="*/ 1944 h 468019"/>
                <a:gd name="connsiteX139" fmla="*/ 242187 w 554757"/>
                <a:gd name="connsiteY139" fmla="*/ 10645 h 468019"/>
                <a:gd name="connsiteX140" fmla="*/ 243335 w 554757"/>
                <a:gd name="connsiteY140" fmla="*/ 16681 h 468019"/>
                <a:gd name="connsiteX141" fmla="*/ 245668 w 554757"/>
                <a:gd name="connsiteY141" fmla="*/ 19800 h 468019"/>
                <a:gd name="connsiteX142" fmla="*/ 243084 w 554757"/>
                <a:gd name="connsiteY142" fmla="*/ 24071 h 468019"/>
                <a:gd name="connsiteX143" fmla="*/ 236499 w 554757"/>
                <a:gd name="connsiteY143" fmla="*/ 21974 h 468019"/>
                <a:gd name="connsiteX144" fmla="*/ 226163 w 554757"/>
                <a:gd name="connsiteY144" fmla="*/ 23386 h 468019"/>
                <a:gd name="connsiteX145" fmla="*/ 227369 w 554757"/>
                <a:gd name="connsiteY145" fmla="*/ 29745 h 468019"/>
                <a:gd name="connsiteX146" fmla="*/ 225464 w 554757"/>
                <a:gd name="connsiteY146" fmla="*/ 32498 h 468019"/>
                <a:gd name="connsiteX147" fmla="*/ 201886 w 554757"/>
                <a:gd name="connsiteY147" fmla="*/ 44072 h 468019"/>
                <a:gd name="connsiteX148" fmla="*/ 198787 w 554757"/>
                <a:gd name="connsiteY148" fmla="*/ 48208 h 468019"/>
                <a:gd name="connsiteX149" fmla="*/ 187058 w 554757"/>
                <a:gd name="connsiteY149" fmla="*/ 49047 h 468019"/>
                <a:gd name="connsiteX150" fmla="*/ 186393 w 554757"/>
                <a:gd name="connsiteY150" fmla="*/ 62506 h 468019"/>
                <a:gd name="connsiteX151" fmla="*/ 190683 w 554757"/>
                <a:gd name="connsiteY151" fmla="*/ 67809 h 468019"/>
                <a:gd name="connsiteX152" fmla="*/ 196709 w 554757"/>
                <a:gd name="connsiteY152" fmla="*/ 69897 h 468019"/>
                <a:gd name="connsiteX153" fmla="*/ 195923 w 554757"/>
                <a:gd name="connsiteY153" fmla="*/ 79427 h 468019"/>
                <a:gd name="connsiteX154" fmla="*/ 195923 w 554757"/>
                <a:gd name="connsiteY154" fmla="*/ 89001 h 468019"/>
                <a:gd name="connsiteX155" fmla="*/ 196579 w 554757"/>
                <a:gd name="connsiteY155" fmla="*/ 92993 h 468019"/>
                <a:gd name="connsiteX156" fmla="*/ 195407 w 554757"/>
                <a:gd name="connsiteY156" fmla="*/ 99366 h 468019"/>
                <a:gd name="connsiteX157" fmla="*/ 176423 w 554757"/>
                <a:gd name="connsiteY157" fmla="*/ 103463 h 468019"/>
                <a:gd name="connsiteX158" fmla="*/ 174105 w 554757"/>
                <a:gd name="connsiteY158" fmla="*/ 108877 h 468019"/>
                <a:gd name="connsiteX159" fmla="*/ 158606 w 554757"/>
                <a:gd name="connsiteY159" fmla="*/ 121806 h 468019"/>
                <a:gd name="connsiteX160" fmla="*/ 168406 w 554757"/>
                <a:gd name="connsiteY160" fmla="*/ 125696 h 468019"/>
                <a:gd name="connsiteX161" fmla="*/ 163909 w 554757"/>
                <a:gd name="connsiteY161" fmla="*/ 137541 h 468019"/>
                <a:gd name="connsiteX162" fmla="*/ 167785 w 554757"/>
                <a:gd name="connsiteY162" fmla="*/ 152446 h 468019"/>
                <a:gd name="connsiteX163" fmla="*/ 161826 w 554757"/>
                <a:gd name="connsiteY163" fmla="*/ 154259 h 468019"/>
                <a:gd name="connsiteX164" fmla="*/ 156933 w 554757"/>
                <a:gd name="connsiteY164" fmla="*/ 157995 h 468019"/>
                <a:gd name="connsiteX165" fmla="*/ 152411 w 554757"/>
                <a:gd name="connsiteY165" fmla="*/ 158091 h 468019"/>
                <a:gd name="connsiteX166" fmla="*/ 142712 w 554757"/>
                <a:gd name="connsiteY166" fmla="*/ 150359 h 468019"/>
                <a:gd name="connsiteX167" fmla="*/ 138981 w 554757"/>
                <a:gd name="connsiteY167" fmla="*/ 151497 h 468019"/>
                <a:gd name="connsiteX168" fmla="*/ 130713 w 554757"/>
                <a:gd name="connsiteY168" fmla="*/ 147124 h 468019"/>
                <a:gd name="connsiteX169" fmla="*/ 129412 w 554757"/>
                <a:gd name="connsiteY169" fmla="*/ 153329 h 468019"/>
                <a:gd name="connsiteX170" fmla="*/ 120759 w 554757"/>
                <a:gd name="connsiteY170" fmla="*/ 155927 h 468019"/>
                <a:gd name="connsiteX171" fmla="*/ 114053 w 554757"/>
                <a:gd name="connsiteY171" fmla="*/ 150359 h 468019"/>
                <a:gd name="connsiteX172" fmla="*/ 108244 w 554757"/>
                <a:gd name="connsiteY172" fmla="*/ 147640 h 468019"/>
                <a:gd name="connsiteX173" fmla="*/ 105270 w 554757"/>
                <a:gd name="connsiteY173" fmla="*/ 142106 h 468019"/>
                <a:gd name="connsiteX174" fmla="*/ 99972 w 554757"/>
                <a:gd name="connsiteY174" fmla="*/ 138230 h 468019"/>
                <a:gd name="connsiteX175" fmla="*/ 99331 w 554757"/>
                <a:gd name="connsiteY175" fmla="*/ 131770 h 468019"/>
                <a:gd name="connsiteX176" fmla="*/ 94674 w 554757"/>
                <a:gd name="connsiteY176" fmla="*/ 131529 h 468019"/>
                <a:gd name="connsiteX177" fmla="*/ 90412 w 554757"/>
                <a:gd name="connsiteY177" fmla="*/ 139267 h 468019"/>
                <a:gd name="connsiteX178" fmla="*/ 88224 w 554757"/>
                <a:gd name="connsiteY178" fmla="*/ 149583 h 468019"/>
                <a:gd name="connsiteX179" fmla="*/ 81369 w 554757"/>
                <a:gd name="connsiteY179" fmla="*/ 155792 h 468019"/>
                <a:gd name="connsiteX180" fmla="*/ 72730 w 554757"/>
                <a:gd name="connsiteY180" fmla="*/ 156819 h 468019"/>
                <a:gd name="connsiteX181" fmla="*/ 65369 w 554757"/>
                <a:gd name="connsiteY181" fmla="*/ 154264 h 468019"/>
                <a:gd name="connsiteX182" fmla="*/ 55660 w 554757"/>
                <a:gd name="connsiteY182" fmla="*/ 158617 h 468019"/>
                <a:gd name="connsiteX183" fmla="*/ 42760 w 554757"/>
                <a:gd name="connsiteY183" fmla="*/ 154500 h 468019"/>
                <a:gd name="connsiteX184" fmla="*/ 41337 w 554757"/>
                <a:gd name="connsiteY184" fmla="*/ 160941 h 468019"/>
                <a:gd name="connsiteX185" fmla="*/ 31518 w 554757"/>
                <a:gd name="connsiteY185" fmla="*/ 165453 h 468019"/>
                <a:gd name="connsiteX186" fmla="*/ 22990 w 554757"/>
                <a:gd name="connsiteY186" fmla="*/ 161837 h 468019"/>
                <a:gd name="connsiteX187" fmla="*/ 16289 w 554757"/>
                <a:gd name="connsiteY187" fmla="*/ 163278 h 468019"/>
                <a:gd name="connsiteX188" fmla="*/ 6778 w 554757"/>
                <a:gd name="connsiteY188" fmla="*/ 161630 h 468019"/>
                <a:gd name="connsiteX189" fmla="*/ 6720 w 554757"/>
                <a:gd name="connsiteY189" fmla="*/ 162175 h 468019"/>
                <a:gd name="connsiteX190" fmla="*/ 5201 w 554757"/>
                <a:gd name="connsiteY190" fmla="*/ 162975 h 468019"/>
                <a:gd name="connsiteX191" fmla="*/ 4353 w 554757"/>
                <a:gd name="connsiteY191" fmla="*/ 162975 h 468019"/>
                <a:gd name="connsiteX192" fmla="*/ 0 w 554757"/>
                <a:gd name="connsiteY192" fmla="*/ 164739 h 468019"/>
                <a:gd name="connsiteX193" fmla="*/ 443 w 554757"/>
                <a:gd name="connsiteY193" fmla="*/ 168982 h 468019"/>
                <a:gd name="connsiteX194" fmla="*/ 3249 w 554757"/>
                <a:gd name="connsiteY194" fmla="*/ 174641 h 468019"/>
                <a:gd name="connsiteX195" fmla="*/ 3442 w 554757"/>
                <a:gd name="connsiteY195" fmla="*/ 175436 h 468019"/>
                <a:gd name="connsiteX196" fmla="*/ 3442 w 554757"/>
                <a:gd name="connsiteY196" fmla="*/ 180358 h 468019"/>
                <a:gd name="connsiteX197" fmla="*/ 7771 w 554757"/>
                <a:gd name="connsiteY197" fmla="*/ 180773 h 468019"/>
                <a:gd name="connsiteX198" fmla="*/ 9222 w 554757"/>
                <a:gd name="connsiteY198" fmla="*/ 181776 h 468019"/>
                <a:gd name="connsiteX199" fmla="*/ 9102 w 554757"/>
                <a:gd name="connsiteY199" fmla="*/ 183598 h 468019"/>
                <a:gd name="connsiteX200" fmla="*/ 8103 w 554757"/>
                <a:gd name="connsiteY200" fmla="*/ 185083 h 468019"/>
                <a:gd name="connsiteX201" fmla="*/ 7067 w 554757"/>
                <a:gd name="connsiteY201" fmla="*/ 190279 h 468019"/>
                <a:gd name="connsiteX202" fmla="*/ 8735 w 554757"/>
                <a:gd name="connsiteY202" fmla="*/ 196368 h 468019"/>
                <a:gd name="connsiteX203" fmla="*/ 8764 w 554757"/>
                <a:gd name="connsiteY203" fmla="*/ 196489 h 468019"/>
                <a:gd name="connsiteX204" fmla="*/ 9820 w 554757"/>
                <a:gd name="connsiteY204" fmla="*/ 201743 h 468019"/>
                <a:gd name="connsiteX205" fmla="*/ 14698 w 554757"/>
                <a:gd name="connsiteY205" fmla="*/ 205170 h 468019"/>
                <a:gd name="connsiteX206" fmla="*/ 18270 w 554757"/>
                <a:gd name="connsiteY206" fmla="*/ 205170 h 468019"/>
                <a:gd name="connsiteX207" fmla="*/ 20083 w 554757"/>
                <a:gd name="connsiteY207" fmla="*/ 205170 h 468019"/>
                <a:gd name="connsiteX208" fmla="*/ 21351 w 554757"/>
                <a:gd name="connsiteY208" fmla="*/ 205677 h 468019"/>
                <a:gd name="connsiteX209" fmla="*/ 21896 w 554757"/>
                <a:gd name="connsiteY209" fmla="*/ 206974 h 468019"/>
                <a:gd name="connsiteX210" fmla="*/ 21351 w 554757"/>
                <a:gd name="connsiteY210" fmla="*/ 208270 h 468019"/>
                <a:gd name="connsiteX211" fmla="*/ 20083 w 554757"/>
                <a:gd name="connsiteY211" fmla="*/ 208791 h 468019"/>
                <a:gd name="connsiteX212" fmla="*/ 18926 w 554757"/>
                <a:gd name="connsiteY212" fmla="*/ 208791 h 468019"/>
                <a:gd name="connsiteX213" fmla="*/ 14293 w 554757"/>
                <a:gd name="connsiteY213" fmla="*/ 212604 h 468019"/>
                <a:gd name="connsiteX214" fmla="*/ 17918 w 554757"/>
                <a:gd name="connsiteY214" fmla="*/ 217126 h 468019"/>
                <a:gd name="connsiteX215" fmla="*/ 17971 w 554757"/>
                <a:gd name="connsiteY215" fmla="*/ 217232 h 468019"/>
                <a:gd name="connsiteX216" fmla="*/ 22681 w 554757"/>
                <a:gd name="connsiteY216" fmla="*/ 223682 h 468019"/>
                <a:gd name="connsiteX217" fmla="*/ 27970 w 554757"/>
                <a:gd name="connsiteY217" fmla="*/ 229563 h 468019"/>
                <a:gd name="connsiteX218" fmla="*/ 28254 w 554757"/>
                <a:gd name="connsiteY218" fmla="*/ 229978 h 468019"/>
                <a:gd name="connsiteX219" fmla="*/ 31219 w 554757"/>
                <a:gd name="connsiteY219" fmla="*/ 235912 h 468019"/>
                <a:gd name="connsiteX220" fmla="*/ 31397 w 554757"/>
                <a:gd name="connsiteY220" fmla="*/ 236577 h 468019"/>
                <a:gd name="connsiteX221" fmla="*/ 31927 w 554757"/>
                <a:gd name="connsiteY221" fmla="*/ 242319 h 468019"/>
                <a:gd name="connsiteX222" fmla="*/ 37784 w 554757"/>
                <a:gd name="connsiteY222" fmla="*/ 246547 h 468019"/>
                <a:gd name="connsiteX223" fmla="*/ 38267 w 554757"/>
                <a:gd name="connsiteY223" fmla="*/ 247077 h 468019"/>
                <a:gd name="connsiteX224" fmla="*/ 40022 w 554757"/>
                <a:gd name="connsiteY224" fmla="*/ 249796 h 468019"/>
                <a:gd name="connsiteX225" fmla="*/ 40301 w 554757"/>
                <a:gd name="connsiteY225" fmla="*/ 248287 h 468019"/>
                <a:gd name="connsiteX226" fmla="*/ 41737 w 554757"/>
                <a:gd name="connsiteY226" fmla="*/ 246855 h 468019"/>
                <a:gd name="connsiteX227" fmla="*/ 46072 w 554757"/>
                <a:gd name="connsiteY227" fmla="*/ 245973 h 468019"/>
                <a:gd name="connsiteX228" fmla="*/ 45662 w 554757"/>
                <a:gd name="connsiteY228" fmla="*/ 241687 h 468019"/>
                <a:gd name="connsiteX229" fmla="*/ 45811 w 554757"/>
                <a:gd name="connsiteY229" fmla="*/ 240636 h 468019"/>
                <a:gd name="connsiteX230" fmla="*/ 48747 w 554757"/>
                <a:gd name="connsiteY230" fmla="*/ 234813 h 468019"/>
                <a:gd name="connsiteX231" fmla="*/ 50873 w 554757"/>
                <a:gd name="connsiteY231" fmla="*/ 228912 h 468019"/>
                <a:gd name="connsiteX232" fmla="*/ 49273 w 554757"/>
                <a:gd name="connsiteY232" fmla="*/ 223566 h 468019"/>
                <a:gd name="connsiteX233" fmla="*/ 49190 w 554757"/>
                <a:gd name="connsiteY233" fmla="*/ 223055 h 468019"/>
                <a:gd name="connsiteX234" fmla="*/ 49190 w 554757"/>
                <a:gd name="connsiteY234" fmla="*/ 218264 h 468019"/>
                <a:gd name="connsiteX235" fmla="*/ 49730 w 554757"/>
                <a:gd name="connsiteY235" fmla="*/ 216981 h 468019"/>
                <a:gd name="connsiteX236" fmla="*/ 51008 w 554757"/>
                <a:gd name="connsiteY236" fmla="*/ 216446 h 468019"/>
                <a:gd name="connsiteX237" fmla="*/ 51610 w 554757"/>
                <a:gd name="connsiteY237" fmla="*/ 216446 h 468019"/>
                <a:gd name="connsiteX238" fmla="*/ 53095 w 554757"/>
                <a:gd name="connsiteY238" fmla="*/ 217227 h 468019"/>
                <a:gd name="connsiteX239" fmla="*/ 56070 w 554757"/>
                <a:gd name="connsiteY239" fmla="*/ 221383 h 468019"/>
                <a:gd name="connsiteX240" fmla="*/ 56166 w 554757"/>
                <a:gd name="connsiteY240" fmla="*/ 221547 h 468019"/>
                <a:gd name="connsiteX241" fmla="*/ 57482 w 554757"/>
                <a:gd name="connsiteY241" fmla="*/ 223865 h 468019"/>
                <a:gd name="connsiteX242" fmla="*/ 61097 w 554757"/>
                <a:gd name="connsiteY242" fmla="*/ 220953 h 468019"/>
                <a:gd name="connsiteX243" fmla="*/ 61097 w 554757"/>
                <a:gd name="connsiteY243" fmla="*/ 219623 h 468019"/>
                <a:gd name="connsiteX244" fmla="*/ 59950 w 554757"/>
                <a:gd name="connsiteY244" fmla="*/ 213867 h 468019"/>
                <a:gd name="connsiteX245" fmla="*/ 60129 w 554757"/>
                <a:gd name="connsiteY245" fmla="*/ 212652 h 468019"/>
                <a:gd name="connsiteX246" fmla="*/ 63696 w 554757"/>
                <a:gd name="connsiteY246" fmla="*/ 206125 h 468019"/>
                <a:gd name="connsiteX247" fmla="*/ 66463 w 554757"/>
                <a:gd name="connsiteY247" fmla="*/ 200596 h 468019"/>
                <a:gd name="connsiteX248" fmla="*/ 66463 w 554757"/>
                <a:gd name="connsiteY248" fmla="*/ 198634 h 468019"/>
                <a:gd name="connsiteX249" fmla="*/ 66463 w 554757"/>
                <a:gd name="connsiteY249" fmla="*/ 198494 h 468019"/>
                <a:gd name="connsiteX250" fmla="*/ 67066 w 554757"/>
                <a:gd name="connsiteY250" fmla="*/ 191957 h 468019"/>
                <a:gd name="connsiteX251" fmla="*/ 67090 w 554757"/>
                <a:gd name="connsiteY251" fmla="*/ 191731 h 468019"/>
                <a:gd name="connsiteX252" fmla="*/ 68309 w 554757"/>
                <a:gd name="connsiteY252" fmla="*/ 185806 h 468019"/>
                <a:gd name="connsiteX253" fmla="*/ 69452 w 554757"/>
                <a:gd name="connsiteY253" fmla="*/ 179279 h 468019"/>
                <a:gd name="connsiteX254" fmla="*/ 69770 w 554757"/>
                <a:gd name="connsiteY254" fmla="*/ 178565 h 468019"/>
                <a:gd name="connsiteX255" fmla="*/ 73921 w 554757"/>
                <a:gd name="connsiteY255" fmla="*/ 172636 h 468019"/>
                <a:gd name="connsiteX256" fmla="*/ 76133 w 554757"/>
                <a:gd name="connsiteY256" fmla="*/ 171970 h 468019"/>
                <a:gd name="connsiteX257" fmla="*/ 80178 w 554757"/>
                <a:gd name="connsiteY257" fmla="*/ 173725 h 468019"/>
                <a:gd name="connsiteX258" fmla="*/ 86599 w 554757"/>
                <a:gd name="connsiteY258" fmla="*/ 175456 h 468019"/>
                <a:gd name="connsiteX259" fmla="*/ 87071 w 554757"/>
                <a:gd name="connsiteY259" fmla="*/ 175668 h 468019"/>
                <a:gd name="connsiteX260" fmla="*/ 92803 w 554757"/>
                <a:gd name="connsiteY260" fmla="*/ 179115 h 468019"/>
                <a:gd name="connsiteX261" fmla="*/ 99099 w 554757"/>
                <a:gd name="connsiteY261" fmla="*/ 180850 h 468019"/>
                <a:gd name="connsiteX262" fmla="*/ 100112 w 554757"/>
                <a:gd name="connsiteY262" fmla="*/ 181549 h 468019"/>
                <a:gd name="connsiteX263" fmla="*/ 104257 w 554757"/>
                <a:gd name="connsiteY263" fmla="*/ 187493 h 468019"/>
                <a:gd name="connsiteX264" fmla="*/ 104513 w 554757"/>
                <a:gd name="connsiteY264" fmla="*/ 188235 h 468019"/>
                <a:gd name="connsiteX265" fmla="*/ 128395 w 554757"/>
                <a:gd name="connsiteY265" fmla="*/ 205643 h 468019"/>
                <a:gd name="connsiteX266" fmla="*/ 134628 w 554757"/>
                <a:gd name="connsiteY266" fmla="*/ 217902 h 468019"/>
                <a:gd name="connsiteX267" fmla="*/ 134917 w 554757"/>
                <a:gd name="connsiteY267" fmla="*/ 218505 h 468019"/>
                <a:gd name="connsiteX268" fmla="*/ 136122 w 554757"/>
                <a:gd name="connsiteY268" fmla="*/ 224468 h 468019"/>
                <a:gd name="connsiteX269" fmla="*/ 136122 w 554757"/>
                <a:gd name="connsiteY269" fmla="*/ 225162 h 468019"/>
                <a:gd name="connsiteX270" fmla="*/ 134917 w 554757"/>
                <a:gd name="connsiteY270" fmla="*/ 231742 h 468019"/>
                <a:gd name="connsiteX271" fmla="*/ 133794 w 554757"/>
                <a:gd name="connsiteY271" fmla="*/ 237431 h 468019"/>
                <a:gd name="connsiteX272" fmla="*/ 134363 w 554757"/>
                <a:gd name="connsiteY272" fmla="*/ 243023 h 468019"/>
                <a:gd name="connsiteX273" fmla="*/ 135524 w 554757"/>
                <a:gd name="connsiteY273" fmla="*/ 249492 h 468019"/>
                <a:gd name="connsiteX274" fmla="*/ 135549 w 554757"/>
                <a:gd name="connsiteY274" fmla="*/ 249651 h 468019"/>
                <a:gd name="connsiteX275" fmla="*/ 136093 w 554757"/>
                <a:gd name="connsiteY275" fmla="*/ 255190 h 468019"/>
                <a:gd name="connsiteX276" fmla="*/ 139439 w 554757"/>
                <a:gd name="connsiteY276" fmla="*/ 260744 h 468019"/>
                <a:gd name="connsiteX277" fmla="*/ 143551 w 554757"/>
                <a:gd name="connsiteY277" fmla="*/ 266625 h 468019"/>
                <a:gd name="connsiteX278" fmla="*/ 143599 w 554757"/>
                <a:gd name="connsiteY278" fmla="*/ 266707 h 468019"/>
                <a:gd name="connsiteX279" fmla="*/ 147542 w 554757"/>
                <a:gd name="connsiteY279" fmla="*/ 272897 h 468019"/>
                <a:gd name="connsiteX280" fmla="*/ 153115 w 554757"/>
                <a:gd name="connsiteY280" fmla="*/ 276262 h 468019"/>
                <a:gd name="connsiteX281" fmla="*/ 153409 w 554757"/>
                <a:gd name="connsiteY281" fmla="*/ 276425 h 468019"/>
                <a:gd name="connsiteX282" fmla="*/ 177040 w 554757"/>
                <a:gd name="connsiteY282" fmla="*/ 298311 h 468019"/>
                <a:gd name="connsiteX283" fmla="*/ 181495 w 554757"/>
                <a:gd name="connsiteY283" fmla="*/ 301117 h 468019"/>
                <a:gd name="connsiteX284" fmla="*/ 187757 w 554757"/>
                <a:gd name="connsiteY284" fmla="*/ 302800 h 468019"/>
                <a:gd name="connsiteX285" fmla="*/ 188427 w 554757"/>
                <a:gd name="connsiteY285" fmla="*/ 303127 h 468019"/>
                <a:gd name="connsiteX286" fmla="*/ 194086 w 554757"/>
                <a:gd name="connsiteY286" fmla="*/ 307717 h 468019"/>
                <a:gd name="connsiteX287" fmla="*/ 199703 w 554757"/>
                <a:gd name="connsiteY287" fmla="*/ 309365 h 468019"/>
                <a:gd name="connsiteX288" fmla="*/ 200898 w 554757"/>
                <a:gd name="connsiteY288" fmla="*/ 310503 h 468019"/>
                <a:gd name="connsiteX289" fmla="*/ 202431 w 554757"/>
                <a:gd name="connsiteY289" fmla="*/ 314567 h 468019"/>
                <a:gd name="connsiteX290" fmla="*/ 203520 w 554757"/>
                <a:gd name="connsiteY290" fmla="*/ 315116 h 468019"/>
                <a:gd name="connsiteX291" fmla="*/ 208794 w 554757"/>
                <a:gd name="connsiteY291" fmla="*/ 313530 h 468019"/>
                <a:gd name="connsiteX292" fmla="*/ 210704 w 554757"/>
                <a:gd name="connsiteY292" fmla="*/ 314119 h 468019"/>
                <a:gd name="connsiteX293" fmla="*/ 210940 w 554757"/>
                <a:gd name="connsiteY293" fmla="*/ 316105 h 468019"/>
                <a:gd name="connsiteX294" fmla="*/ 208327 w 554757"/>
                <a:gd name="connsiteY294" fmla="*/ 321330 h 468019"/>
                <a:gd name="connsiteX295" fmla="*/ 210409 w 554757"/>
                <a:gd name="connsiteY295" fmla="*/ 326498 h 468019"/>
                <a:gd name="connsiteX296" fmla="*/ 210231 w 554757"/>
                <a:gd name="connsiteY296" fmla="*/ 328205 h 468019"/>
                <a:gd name="connsiteX297" fmla="*/ 208708 w 554757"/>
                <a:gd name="connsiteY297" fmla="*/ 328995 h 468019"/>
                <a:gd name="connsiteX298" fmla="*/ 207526 w 554757"/>
                <a:gd name="connsiteY298" fmla="*/ 328995 h 468019"/>
                <a:gd name="connsiteX299" fmla="*/ 205888 w 554757"/>
                <a:gd name="connsiteY299" fmla="*/ 327988 h 468019"/>
                <a:gd name="connsiteX300" fmla="*/ 203559 w 554757"/>
                <a:gd name="connsiteY300" fmla="*/ 323292 h 468019"/>
                <a:gd name="connsiteX301" fmla="*/ 196791 w 554757"/>
                <a:gd name="connsiteY301" fmla="*/ 316307 h 468019"/>
                <a:gd name="connsiteX302" fmla="*/ 192245 w 554757"/>
                <a:gd name="connsiteY302" fmla="*/ 313593 h 468019"/>
                <a:gd name="connsiteX303" fmla="*/ 186277 w 554757"/>
                <a:gd name="connsiteY303" fmla="*/ 314123 h 468019"/>
                <a:gd name="connsiteX304" fmla="*/ 184985 w 554757"/>
                <a:gd name="connsiteY304" fmla="*/ 313747 h 468019"/>
                <a:gd name="connsiteX305" fmla="*/ 179229 w 554757"/>
                <a:gd name="connsiteY305" fmla="*/ 309129 h 468019"/>
                <a:gd name="connsiteX306" fmla="*/ 176351 w 554757"/>
                <a:gd name="connsiteY306" fmla="*/ 307982 h 468019"/>
                <a:gd name="connsiteX307" fmla="*/ 175401 w 554757"/>
                <a:gd name="connsiteY307" fmla="*/ 313236 h 468019"/>
                <a:gd name="connsiteX308" fmla="*/ 174558 w 554757"/>
                <a:gd name="connsiteY308" fmla="*/ 314456 h 468019"/>
                <a:gd name="connsiteX309" fmla="*/ 173097 w 554757"/>
                <a:gd name="connsiteY309" fmla="*/ 314601 h 468019"/>
                <a:gd name="connsiteX310" fmla="*/ 168561 w 554757"/>
                <a:gd name="connsiteY310" fmla="*/ 313285 h 468019"/>
                <a:gd name="connsiteX311" fmla="*/ 165924 w 554757"/>
                <a:gd name="connsiteY311" fmla="*/ 318163 h 468019"/>
                <a:gd name="connsiteX312" fmla="*/ 165924 w 554757"/>
                <a:gd name="connsiteY312" fmla="*/ 322810 h 468019"/>
                <a:gd name="connsiteX313" fmla="*/ 171275 w 554757"/>
                <a:gd name="connsiteY313" fmla="*/ 327636 h 468019"/>
                <a:gd name="connsiteX314" fmla="*/ 171482 w 554757"/>
                <a:gd name="connsiteY314" fmla="*/ 327886 h 468019"/>
                <a:gd name="connsiteX315" fmla="*/ 176163 w 554757"/>
                <a:gd name="connsiteY315" fmla="*/ 333710 h 468019"/>
                <a:gd name="connsiteX316" fmla="*/ 181986 w 554757"/>
                <a:gd name="connsiteY316" fmla="*/ 339514 h 468019"/>
                <a:gd name="connsiteX317" fmla="*/ 188446 w 554757"/>
                <a:gd name="connsiteY317" fmla="*/ 344812 h 468019"/>
                <a:gd name="connsiteX318" fmla="*/ 189049 w 554757"/>
                <a:gd name="connsiteY318" fmla="*/ 346041 h 468019"/>
                <a:gd name="connsiteX319" fmla="*/ 225474 w 554757"/>
                <a:gd name="connsiteY319" fmla="*/ 375448 h 468019"/>
                <a:gd name="connsiteX320" fmla="*/ 231505 w 554757"/>
                <a:gd name="connsiteY320" fmla="*/ 375988 h 468019"/>
                <a:gd name="connsiteX321" fmla="*/ 232262 w 554757"/>
                <a:gd name="connsiteY321" fmla="*/ 376224 h 468019"/>
                <a:gd name="connsiteX322" fmla="*/ 238220 w 554757"/>
                <a:gd name="connsiteY322" fmla="*/ 379786 h 468019"/>
                <a:gd name="connsiteX323" fmla="*/ 238321 w 554757"/>
                <a:gd name="connsiteY323" fmla="*/ 379888 h 468019"/>
                <a:gd name="connsiteX324" fmla="*/ 242106 w 554757"/>
                <a:gd name="connsiteY324" fmla="*/ 382572 h 468019"/>
                <a:gd name="connsiteX325" fmla="*/ 247558 w 554757"/>
                <a:gd name="connsiteY325" fmla="*/ 383093 h 468019"/>
                <a:gd name="connsiteX326" fmla="*/ 249144 w 554757"/>
                <a:gd name="connsiteY326" fmla="*/ 384400 h 468019"/>
                <a:gd name="connsiteX327" fmla="*/ 250942 w 554757"/>
                <a:gd name="connsiteY327" fmla="*/ 390358 h 468019"/>
                <a:gd name="connsiteX328" fmla="*/ 250783 w 554757"/>
                <a:gd name="connsiteY328" fmla="*/ 391746 h 468019"/>
                <a:gd name="connsiteX329" fmla="*/ 247727 w 554757"/>
                <a:gd name="connsiteY329" fmla="*/ 397392 h 468019"/>
                <a:gd name="connsiteX330" fmla="*/ 250633 w 554757"/>
                <a:gd name="connsiteY330" fmla="*/ 402231 h 468019"/>
                <a:gd name="connsiteX331" fmla="*/ 256303 w 554757"/>
                <a:gd name="connsiteY331" fmla="*/ 407929 h 468019"/>
                <a:gd name="connsiteX332" fmla="*/ 259258 w 554757"/>
                <a:gd name="connsiteY332" fmla="*/ 409892 h 468019"/>
                <a:gd name="connsiteX333" fmla="*/ 263447 w 554757"/>
                <a:gd name="connsiteY333" fmla="*/ 409892 h 468019"/>
                <a:gd name="connsiteX334" fmla="*/ 263447 w 554757"/>
                <a:gd name="connsiteY334" fmla="*/ 405775 h 468019"/>
                <a:gd name="connsiteX335" fmla="*/ 264035 w 554757"/>
                <a:gd name="connsiteY335" fmla="*/ 404391 h 468019"/>
                <a:gd name="connsiteX336" fmla="*/ 265438 w 554757"/>
                <a:gd name="connsiteY336" fmla="*/ 403899 h 468019"/>
                <a:gd name="connsiteX337" fmla="*/ 270967 w 554757"/>
                <a:gd name="connsiteY337" fmla="*/ 404521 h 468019"/>
                <a:gd name="connsiteX338" fmla="*/ 277032 w 554757"/>
                <a:gd name="connsiteY338" fmla="*/ 402294 h 468019"/>
                <a:gd name="connsiteX339" fmla="*/ 282884 w 554757"/>
                <a:gd name="connsiteY339" fmla="*/ 399387 h 468019"/>
                <a:gd name="connsiteX340" fmla="*/ 283125 w 554757"/>
                <a:gd name="connsiteY340" fmla="*/ 399238 h 468019"/>
                <a:gd name="connsiteX341" fmla="*/ 284928 w 554757"/>
                <a:gd name="connsiteY341" fmla="*/ 398645 h 468019"/>
                <a:gd name="connsiteX342" fmla="*/ 285318 w 554757"/>
                <a:gd name="connsiteY342" fmla="*/ 398553 h 468019"/>
                <a:gd name="connsiteX343" fmla="*/ 291846 w 554757"/>
                <a:gd name="connsiteY343" fmla="*/ 397984 h 468019"/>
                <a:gd name="connsiteX344" fmla="*/ 293171 w 554757"/>
                <a:gd name="connsiteY344" fmla="*/ 398365 h 468019"/>
                <a:gd name="connsiteX345" fmla="*/ 298541 w 554757"/>
                <a:gd name="connsiteY345" fmla="*/ 402689 h 468019"/>
                <a:gd name="connsiteX346" fmla="*/ 303758 w 554757"/>
                <a:gd name="connsiteY346" fmla="*/ 402159 h 468019"/>
                <a:gd name="connsiteX347" fmla="*/ 304794 w 554757"/>
                <a:gd name="connsiteY347" fmla="*/ 402357 h 468019"/>
                <a:gd name="connsiteX348" fmla="*/ 311345 w 554757"/>
                <a:gd name="connsiteY348" fmla="*/ 405924 h 468019"/>
                <a:gd name="connsiteX349" fmla="*/ 311553 w 554757"/>
                <a:gd name="connsiteY349" fmla="*/ 406088 h 468019"/>
                <a:gd name="connsiteX350" fmla="*/ 315834 w 554757"/>
                <a:gd name="connsiteY350" fmla="*/ 409289 h 468019"/>
                <a:gd name="connsiteX351" fmla="*/ 321773 w 554757"/>
                <a:gd name="connsiteY351" fmla="*/ 409289 h 468019"/>
                <a:gd name="connsiteX352" fmla="*/ 322785 w 554757"/>
                <a:gd name="connsiteY352" fmla="*/ 409593 h 468019"/>
                <a:gd name="connsiteX353" fmla="*/ 343085 w 554757"/>
                <a:gd name="connsiteY353" fmla="*/ 413218 h 468019"/>
                <a:gd name="connsiteX354" fmla="*/ 372188 w 554757"/>
                <a:gd name="connsiteY354" fmla="*/ 438160 h 468019"/>
                <a:gd name="connsiteX355" fmla="*/ 393799 w 554757"/>
                <a:gd name="connsiteY355" fmla="*/ 451427 h 468019"/>
                <a:gd name="connsiteX356" fmla="*/ 393987 w 554757"/>
                <a:gd name="connsiteY356" fmla="*/ 451586 h 468019"/>
                <a:gd name="connsiteX357" fmla="*/ 397115 w 554757"/>
                <a:gd name="connsiteY357" fmla="*/ 455240 h 468019"/>
                <a:gd name="connsiteX358" fmla="*/ 403031 w 554757"/>
                <a:gd name="connsiteY358" fmla="*/ 456344 h 468019"/>
                <a:gd name="connsiteX359" fmla="*/ 404327 w 554757"/>
                <a:gd name="connsiteY359" fmla="*/ 457323 h 468019"/>
                <a:gd name="connsiteX360" fmla="*/ 406024 w 554757"/>
                <a:gd name="connsiteY360" fmla="*/ 460716 h 468019"/>
                <a:gd name="connsiteX361" fmla="*/ 410180 w 554757"/>
                <a:gd name="connsiteY361" fmla="*/ 465908 h 468019"/>
                <a:gd name="connsiteX362" fmla="*/ 415964 w 554757"/>
                <a:gd name="connsiteY362" fmla="*/ 466410 h 468019"/>
                <a:gd name="connsiteX363" fmla="*/ 417473 w 554757"/>
                <a:gd name="connsiteY363" fmla="*/ 467533 h 468019"/>
                <a:gd name="connsiteX364" fmla="*/ 417700 w 554757"/>
                <a:gd name="connsiteY364" fmla="*/ 468020 h 468019"/>
                <a:gd name="connsiteX365" fmla="*/ 424844 w 554757"/>
                <a:gd name="connsiteY365" fmla="*/ 463006 h 468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Lst>
              <a:rect l="l" t="t" r="r" b="b"/>
              <a:pathLst>
                <a:path w="554757" h="468019">
                  <a:moveTo>
                    <a:pt x="424844" y="463006"/>
                  </a:moveTo>
                  <a:cubicBezTo>
                    <a:pt x="423967" y="460041"/>
                    <a:pt x="422366" y="449190"/>
                    <a:pt x="410372" y="445613"/>
                  </a:cubicBezTo>
                  <a:cubicBezTo>
                    <a:pt x="395910" y="441298"/>
                    <a:pt x="399010" y="438343"/>
                    <a:pt x="394353" y="433547"/>
                  </a:cubicBezTo>
                  <a:cubicBezTo>
                    <a:pt x="389720" y="428726"/>
                    <a:pt x="378517" y="422175"/>
                    <a:pt x="381082" y="407891"/>
                  </a:cubicBezTo>
                  <a:cubicBezTo>
                    <a:pt x="381892" y="405163"/>
                    <a:pt x="379804" y="399739"/>
                    <a:pt x="375022" y="399021"/>
                  </a:cubicBezTo>
                  <a:lnTo>
                    <a:pt x="374116" y="399122"/>
                  </a:lnTo>
                  <a:cubicBezTo>
                    <a:pt x="374116" y="399122"/>
                    <a:pt x="361461" y="399884"/>
                    <a:pt x="349077" y="386444"/>
                  </a:cubicBezTo>
                  <a:cubicBezTo>
                    <a:pt x="337970" y="376402"/>
                    <a:pt x="326858" y="366833"/>
                    <a:pt x="322206" y="365237"/>
                  </a:cubicBezTo>
                  <a:cubicBezTo>
                    <a:pt x="319121" y="360609"/>
                    <a:pt x="306207" y="346451"/>
                    <a:pt x="302581" y="343573"/>
                  </a:cubicBezTo>
                  <a:lnTo>
                    <a:pt x="300663" y="341905"/>
                  </a:lnTo>
                  <a:lnTo>
                    <a:pt x="299236" y="338555"/>
                  </a:lnTo>
                  <a:lnTo>
                    <a:pt x="292506" y="336607"/>
                  </a:lnTo>
                  <a:lnTo>
                    <a:pt x="287078" y="330013"/>
                  </a:lnTo>
                  <a:cubicBezTo>
                    <a:pt x="287078" y="330013"/>
                    <a:pt x="284639" y="328846"/>
                    <a:pt x="279726" y="328209"/>
                  </a:cubicBezTo>
                  <a:cubicBezTo>
                    <a:pt x="278680" y="325871"/>
                    <a:pt x="275070" y="318896"/>
                    <a:pt x="274043" y="317363"/>
                  </a:cubicBezTo>
                  <a:cubicBezTo>
                    <a:pt x="272997" y="315849"/>
                    <a:pt x="271348" y="314249"/>
                    <a:pt x="269135" y="313767"/>
                  </a:cubicBezTo>
                  <a:cubicBezTo>
                    <a:pt x="266942" y="313207"/>
                    <a:pt x="263833" y="299184"/>
                    <a:pt x="263833" y="299184"/>
                  </a:cubicBezTo>
                  <a:lnTo>
                    <a:pt x="266276" y="293510"/>
                  </a:lnTo>
                  <a:lnTo>
                    <a:pt x="258424" y="288448"/>
                  </a:lnTo>
                  <a:lnTo>
                    <a:pt x="258679" y="283141"/>
                  </a:lnTo>
                  <a:lnTo>
                    <a:pt x="252740" y="268423"/>
                  </a:lnTo>
                  <a:cubicBezTo>
                    <a:pt x="252740" y="268423"/>
                    <a:pt x="249124" y="268809"/>
                    <a:pt x="244588" y="268929"/>
                  </a:cubicBezTo>
                  <a:cubicBezTo>
                    <a:pt x="250277" y="258459"/>
                    <a:pt x="242935" y="256010"/>
                    <a:pt x="240066" y="256010"/>
                  </a:cubicBezTo>
                  <a:cubicBezTo>
                    <a:pt x="237246" y="256010"/>
                    <a:pt x="236841" y="253040"/>
                    <a:pt x="236841" y="250847"/>
                  </a:cubicBezTo>
                  <a:cubicBezTo>
                    <a:pt x="236841" y="248653"/>
                    <a:pt x="234783" y="249810"/>
                    <a:pt x="231809" y="250736"/>
                  </a:cubicBezTo>
                  <a:cubicBezTo>
                    <a:pt x="228839" y="251637"/>
                    <a:pt x="221473" y="246199"/>
                    <a:pt x="220441" y="245693"/>
                  </a:cubicBezTo>
                  <a:cubicBezTo>
                    <a:pt x="219410" y="245197"/>
                    <a:pt x="212434" y="241032"/>
                    <a:pt x="215032" y="237932"/>
                  </a:cubicBezTo>
                  <a:cubicBezTo>
                    <a:pt x="217607" y="234832"/>
                    <a:pt x="216324" y="225427"/>
                    <a:pt x="214772" y="222978"/>
                  </a:cubicBezTo>
                  <a:cubicBezTo>
                    <a:pt x="213230" y="220491"/>
                    <a:pt x="213760" y="217266"/>
                    <a:pt x="215283" y="213915"/>
                  </a:cubicBezTo>
                  <a:cubicBezTo>
                    <a:pt x="216845" y="210555"/>
                    <a:pt x="215669" y="208497"/>
                    <a:pt x="214522" y="205744"/>
                  </a:cubicBezTo>
                  <a:cubicBezTo>
                    <a:pt x="213350" y="203083"/>
                    <a:pt x="214642" y="202047"/>
                    <a:pt x="215669" y="199323"/>
                  </a:cubicBezTo>
                  <a:cubicBezTo>
                    <a:pt x="216700" y="196628"/>
                    <a:pt x="216970" y="194174"/>
                    <a:pt x="215548" y="188997"/>
                  </a:cubicBezTo>
                  <a:cubicBezTo>
                    <a:pt x="214136" y="183805"/>
                    <a:pt x="218137" y="181491"/>
                    <a:pt x="218137" y="181491"/>
                  </a:cubicBezTo>
                  <a:lnTo>
                    <a:pt x="226675" y="178792"/>
                  </a:lnTo>
                  <a:lnTo>
                    <a:pt x="235043" y="178792"/>
                  </a:lnTo>
                  <a:lnTo>
                    <a:pt x="240987" y="182918"/>
                  </a:lnTo>
                  <a:lnTo>
                    <a:pt x="246676" y="193500"/>
                  </a:lnTo>
                  <a:lnTo>
                    <a:pt x="249655" y="194787"/>
                  </a:lnTo>
                  <a:lnTo>
                    <a:pt x="255975" y="201381"/>
                  </a:lnTo>
                  <a:lnTo>
                    <a:pt x="261003" y="203314"/>
                  </a:lnTo>
                  <a:cubicBezTo>
                    <a:pt x="261003" y="203314"/>
                    <a:pt x="264122" y="203975"/>
                    <a:pt x="269275" y="205513"/>
                  </a:cubicBezTo>
                  <a:cubicBezTo>
                    <a:pt x="269926" y="201632"/>
                    <a:pt x="271604" y="190549"/>
                    <a:pt x="273917" y="188987"/>
                  </a:cubicBezTo>
                  <a:cubicBezTo>
                    <a:pt x="276251" y="187411"/>
                    <a:pt x="278849" y="185994"/>
                    <a:pt x="279076" y="182913"/>
                  </a:cubicBezTo>
                  <a:cubicBezTo>
                    <a:pt x="279350" y="176574"/>
                    <a:pt x="283607" y="173976"/>
                    <a:pt x="283607" y="173976"/>
                  </a:cubicBezTo>
                  <a:lnTo>
                    <a:pt x="289290" y="172848"/>
                  </a:lnTo>
                  <a:lnTo>
                    <a:pt x="299361" y="175971"/>
                  </a:lnTo>
                  <a:lnTo>
                    <a:pt x="305180" y="174665"/>
                  </a:lnTo>
                  <a:lnTo>
                    <a:pt x="310724" y="177085"/>
                  </a:lnTo>
                  <a:lnTo>
                    <a:pt x="312695" y="171961"/>
                  </a:lnTo>
                  <a:cubicBezTo>
                    <a:pt x="312695" y="171961"/>
                    <a:pt x="313698" y="169599"/>
                    <a:pt x="316296" y="167024"/>
                  </a:cubicBezTo>
                  <a:cubicBezTo>
                    <a:pt x="318871" y="164465"/>
                    <a:pt x="321314" y="164146"/>
                    <a:pt x="323397" y="165727"/>
                  </a:cubicBezTo>
                  <a:cubicBezTo>
                    <a:pt x="325475" y="167323"/>
                    <a:pt x="327528" y="168552"/>
                    <a:pt x="329346" y="171141"/>
                  </a:cubicBezTo>
                  <a:cubicBezTo>
                    <a:pt x="331130" y="173740"/>
                    <a:pt x="343528" y="177606"/>
                    <a:pt x="346778" y="178782"/>
                  </a:cubicBezTo>
                  <a:cubicBezTo>
                    <a:pt x="349993" y="179920"/>
                    <a:pt x="352331" y="176458"/>
                    <a:pt x="353999" y="172308"/>
                  </a:cubicBezTo>
                  <a:cubicBezTo>
                    <a:pt x="360844" y="176323"/>
                    <a:pt x="377370" y="180185"/>
                    <a:pt x="377370" y="180185"/>
                  </a:cubicBezTo>
                  <a:lnTo>
                    <a:pt x="384355" y="178498"/>
                  </a:lnTo>
                  <a:lnTo>
                    <a:pt x="391331" y="174747"/>
                  </a:lnTo>
                  <a:cubicBezTo>
                    <a:pt x="391331" y="174747"/>
                    <a:pt x="405788" y="182668"/>
                    <a:pt x="410584" y="184065"/>
                  </a:cubicBezTo>
                  <a:cubicBezTo>
                    <a:pt x="415352" y="185487"/>
                    <a:pt x="418703" y="177876"/>
                    <a:pt x="420766" y="172052"/>
                  </a:cubicBezTo>
                  <a:cubicBezTo>
                    <a:pt x="422844" y="166258"/>
                    <a:pt x="432268" y="172954"/>
                    <a:pt x="434192" y="175138"/>
                  </a:cubicBezTo>
                  <a:cubicBezTo>
                    <a:pt x="436134" y="177370"/>
                    <a:pt x="438458" y="177090"/>
                    <a:pt x="441172" y="176955"/>
                  </a:cubicBezTo>
                  <a:cubicBezTo>
                    <a:pt x="443896" y="176825"/>
                    <a:pt x="444792" y="172732"/>
                    <a:pt x="447386" y="168827"/>
                  </a:cubicBezTo>
                  <a:cubicBezTo>
                    <a:pt x="448292" y="169999"/>
                    <a:pt x="452014" y="171141"/>
                    <a:pt x="456025" y="170900"/>
                  </a:cubicBezTo>
                  <a:cubicBezTo>
                    <a:pt x="467011" y="170524"/>
                    <a:pt x="469561" y="176704"/>
                    <a:pt x="469561" y="176704"/>
                  </a:cubicBezTo>
                  <a:lnTo>
                    <a:pt x="473823" y="171527"/>
                  </a:lnTo>
                  <a:lnTo>
                    <a:pt x="479029" y="171146"/>
                  </a:lnTo>
                  <a:lnTo>
                    <a:pt x="481584" y="173744"/>
                  </a:lnTo>
                  <a:lnTo>
                    <a:pt x="487682" y="169878"/>
                  </a:lnTo>
                  <a:lnTo>
                    <a:pt x="489596" y="176213"/>
                  </a:lnTo>
                  <a:lnTo>
                    <a:pt x="492807" y="177090"/>
                  </a:lnTo>
                  <a:lnTo>
                    <a:pt x="494257" y="181327"/>
                  </a:lnTo>
                  <a:lnTo>
                    <a:pt x="497473" y="180734"/>
                  </a:lnTo>
                  <a:lnTo>
                    <a:pt x="499676" y="186148"/>
                  </a:lnTo>
                  <a:lnTo>
                    <a:pt x="498519" y="189744"/>
                  </a:lnTo>
                  <a:lnTo>
                    <a:pt x="501098" y="194261"/>
                  </a:lnTo>
                  <a:lnTo>
                    <a:pt x="510899" y="198402"/>
                  </a:lnTo>
                  <a:cubicBezTo>
                    <a:pt x="510899" y="198402"/>
                    <a:pt x="512702" y="198402"/>
                    <a:pt x="516476" y="198503"/>
                  </a:cubicBezTo>
                  <a:cubicBezTo>
                    <a:pt x="518766" y="198503"/>
                    <a:pt x="521490" y="197409"/>
                    <a:pt x="524131" y="195881"/>
                  </a:cubicBezTo>
                  <a:cubicBezTo>
                    <a:pt x="523163" y="193181"/>
                    <a:pt x="522931" y="190115"/>
                    <a:pt x="522931" y="188983"/>
                  </a:cubicBezTo>
                  <a:cubicBezTo>
                    <a:pt x="522931" y="186799"/>
                    <a:pt x="524720" y="185989"/>
                    <a:pt x="527829" y="185753"/>
                  </a:cubicBezTo>
                  <a:cubicBezTo>
                    <a:pt x="530924" y="185483"/>
                    <a:pt x="530403" y="181872"/>
                    <a:pt x="528735" y="176454"/>
                  </a:cubicBezTo>
                  <a:cubicBezTo>
                    <a:pt x="530157" y="167150"/>
                    <a:pt x="522796" y="156935"/>
                    <a:pt x="522796" y="156935"/>
                  </a:cubicBezTo>
                  <a:lnTo>
                    <a:pt x="529646" y="155927"/>
                  </a:lnTo>
                  <a:lnTo>
                    <a:pt x="532090" y="152302"/>
                  </a:lnTo>
                  <a:lnTo>
                    <a:pt x="546548" y="150229"/>
                  </a:lnTo>
                  <a:cubicBezTo>
                    <a:pt x="546548" y="150229"/>
                    <a:pt x="548490" y="150730"/>
                    <a:pt x="550178" y="150995"/>
                  </a:cubicBezTo>
                  <a:cubicBezTo>
                    <a:pt x="551870" y="151261"/>
                    <a:pt x="554164" y="148556"/>
                    <a:pt x="554704" y="145316"/>
                  </a:cubicBezTo>
                  <a:cubicBezTo>
                    <a:pt x="555211" y="142096"/>
                    <a:pt x="551986" y="140289"/>
                    <a:pt x="549382" y="141590"/>
                  </a:cubicBezTo>
                  <a:cubicBezTo>
                    <a:pt x="546837" y="142863"/>
                    <a:pt x="539066" y="143658"/>
                    <a:pt x="538430" y="140428"/>
                  </a:cubicBezTo>
                  <a:cubicBezTo>
                    <a:pt x="537774" y="137174"/>
                    <a:pt x="534313" y="138327"/>
                    <a:pt x="532881" y="139783"/>
                  </a:cubicBezTo>
                  <a:cubicBezTo>
                    <a:pt x="531478" y="141200"/>
                    <a:pt x="521769" y="136625"/>
                    <a:pt x="520477" y="134239"/>
                  </a:cubicBezTo>
                  <a:cubicBezTo>
                    <a:pt x="519181" y="131766"/>
                    <a:pt x="516486" y="129297"/>
                    <a:pt x="512991" y="129042"/>
                  </a:cubicBezTo>
                  <a:cubicBezTo>
                    <a:pt x="509496" y="128777"/>
                    <a:pt x="510296" y="125330"/>
                    <a:pt x="511164" y="119102"/>
                  </a:cubicBezTo>
                  <a:cubicBezTo>
                    <a:pt x="509872" y="112999"/>
                    <a:pt x="517493" y="106462"/>
                    <a:pt x="517493" y="106462"/>
                  </a:cubicBezTo>
                  <a:lnTo>
                    <a:pt x="508228" y="104124"/>
                  </a:lnTo>
                  <a:lnTo>
                    <a:pt x="502911" y="105652"/>
                  </a:lnTo>
                  <a:lnTo>
                    <a:pt x="499435" y="100513"/>
                  </a:lnTo>
                  <a:cubicBezTo>
                    <a:pt x="499435" y="100513"/>
                    <a:pt x="501865" y="93523"/>
                    <a:pt x="503287" y="90833"/>
                  </a:cubicBezTo>
                  <a:cubicBezTo>
                    <a:pt x="504704" y="88119"/>
                    <a:pt x="500486" y="85636"/>
                    <a:pt x="498794" y="84764"/>
                  </a:cubicBezTo>
                  <a:cubicBezTo>
                    <a:pt x="497087" y="83838"/>
                    <a:pt x="497357" y="82570"/>
                    <a:pt x="499295" y="82291"/>
                  </a:cubicBezTo>
                  <a:cubicBezTo>
                    <a:pt x="501233" y="82030"/>
                    <a:pt x="501363" y="79326"/>
                    <a:pt x="501363" y="76626"/>
                  </a:cubicBezTo>
                  <a:cubicBezTo>
                    <a:pt x="501363" y="73917"/>
                    <a:pt x="497864" y="74925"/>
                    <a:pt x="497618" y="72374"/>
                  </a:cubicBezTo>
                  <a:cubicBezTo>
                    <a:pt x="497357" y="69747"/>
                    <a:pt x="495925" y="69381"/>
                    <a:pt x="493607" y="69140"/>
                  </a:cubicBezTo>
                  <a:cubicBezTo>
                    <a:pt x="491278" y="68841"/>
                    <a:pt x="489875" y="66146"/>
                    <a:pt x="489875" y="66146"/>
                  </a:cubicBezTo>
                  <a:lnTo>
                    <a:pt x="495275" y="63808"/>
                  </a:lnTo>
                  <a:lnTo>
                    <a:pt x="492185" y="60737"/>
                  </a:lnTo>
                  <a:lnTo>
                    <a:pt x="493023" y="55516"/>
                  </a:lnTo>
                  <a:cubicBezTo>
                    <a:pt x="489707" y="57353"/>
                    <a:pt x="487147" y="58799"/>
                    <a:pt x="487147" y="58799"/>
                  </a:cubicBezTo>
                  <a:lnTo>
                    <a:pt x="479511" y="60458"/>
                  </a:lnTo>
                  <a:cubicBezTo>
                    <a:pt x="479511" y="60458"/>
                    <a:pt x="477713" y="59691"/>
                    <a:pt x="472969" y="59397"/>
                  </a:cubicBezTo>
                  <a:cubicBezTo>
                    <a:pt x="468737" y="72403"/>
                    <a:pt x="463665" y="77152"/>
                    <a:pt x="461076" y="77248"/>
                  </a:cubicBezTo>
                  <a:cubicBezTo>
                    <a:pt x="458478" y="77383"/>
                    <a:pt x="457076" y="78796"/>
                    <a:pt x="455118" y="81379"/>
                  </a:cubicBezTo>
                  <a:cubicBezTo>
                    <a:pt x="453204" y="83959"/>
                    <a:pt x="452929" y="84209"/>
                    <a:pt x="450346" y="83467"/>
                  </a:cubicBezTo>
                  <a:cubicBezTo>
                    <a:pt x="447767" y="82676"/>
                    <a:pt x="447231" y="82806"/>
                    <a:pt x="444923" y="84764"/>
                  </a:cubicBezTo>
                  <a:cubicBezTo>
                    <a:pt x="442604" y="86682"/>
                    <a:pt x="440675" y="86832"/>
                    <a:pt x="436530" y="84373"/>
                  </a:cubicBezTo>
                  <a:cubicBezTo>
                    <a:pt x="432403" y="81895"/>
                    <a:pt x="430094" y="82430"/>
                    <a:pt x="426194" y="84094"/>
                  </a:cubicBezTo>
                  <a:cubicBezTo>
                    <a:pt x="422313" y="85786"/>
                    <a:pt x="416890" y="86060"/>
                    <a:pt x="412252" y="85005"/>
                  </a:cubicBezTo>
                  <a:cubicBezTo>
                    <a:pt x="407596" y="83959"/>
                    <a:pt x="403320" y="82676"/>
                    <a:pt x="400239" y="88490"/>
                  </a:cubicBezTo>
                  <a:cubicBezTo>
                    <a:pt x="397916" y="84614"/>
                    <a:pt x="388491" y="80748"/>
                    <a:pt x="385136" y="81524"/>
                  </a:cubicBezTo>
                  <a:cubicBezTo>
                    <a:pt x="381771" y="82319"/>
                    <a:pt x="379076" y="80237"/>
                    <a:pt x="378040" y="77388"/>
                  </a:cubicBezTo>
                  <a:cubicBezTo>
                    <a:pt x="375306" y="69660"/>
                    <a:pt x="369497" y="69386"/>
                    <a:pt x="358154" y="68209"/>
                  </a:cubicBezTo>
                  <a:cubicBezTo>
                    <a:pt x="352071" y="72736"/>
                    <a:pt x="345095" y="63292"/>
                    <a:pt x="345095" y="63292"/>
                  </a:cubicBezTo>
                  <a:lnTo>
                    <a:pt x="341610" y="62690"/>
                  </a:lnTo>
                  <a:lnTo>
                    <a:pt x="339551" y="55811"/>
                  </a:lnTo>
                  <a:lnTo>
                    <a:pt x="336061" y="53897"/>
                  </a:lnTo>
                  <a:lnTo>
                    <a:pt x="335786" y="50040"/>
                  </a:lnTo>
                  <a:lnTo>
                    <a:pt x="332455" y="49105"/>
                  </a:lnTo>
                  <a:lnTo>
                    <a:pt x="331144" y="43942"/>
                  </a:lnTo>
                  <a:lnTo>
                    <a:pt x="308029" y="34638"/>
                  </a:lnTo>
                  <a:cubicBezTo>
                    <a:pt x="308029" y="34638"/>
                    <a:pt x="303145" y="29229"/>
                    <a:pt x="302379" y="28062"/>
                  </a:cubicBezTo>
                  <a:cubicBezTo>
                    <a:pt x="301603" y="26920"/>
                    <a:pt x="301318" y="26505"/>
                    <a:pt x="299380" y="21198"/>
                  </a:cubicBezTo>
                  <a:cubicBezTo>
                    <a:pt x="297447" y="15924"/>
                    <a:pt x="296671" y="17230"/>
                    <a:pt x="294111" y="17110"/>
                  </a:cubicBezTo>
                  <a:cubicBezTo>
                    <a:pt x="291498" y="16951"/>
                    <a:pt x="284407" y="14613"/>
                    <a:pt x="284407" y="14613"/>
                  </a:cubicBezTo>
                  <a:lnTo>
                    <a:pt x="280401" y="9739"/>
                  </a:lnTo>
                  <a:cubicBezTo>
                    <a:pt x="280401" y="9739"/>
                    <a:pt x="275098" y="7656"/>
                    <a:pt x="272775" y="6485"/>
                  </a:cubicBezTo>
                  <a:cubicBezTo>
                    <a:pt x="272481" y="6326"/>
                    <a:pt x="272172" y="6181"/>
                    <a:pt x="271873" y="6041"/>
                  </a:cubicBezTo>
                  <a:cubicBezTo>
                    <a:pt x="265790" y="6210"/>
                    <a:pt x="258771" y="4022"/>
                    <a:pt x="257802" y="2093"/>
                  </a:cubicBezTo>
                  <a:cubicBezTo>
                    <a:pt x="256356" y="-804"/>
                    <a:pt x="251091" y="151"/>
                    <a:pt x="251091" y="151"/>
                  </a:cubicBezTo>
                  <a:cubicBezTo>
                    <a:pt x="251091" y="151"/>
                    <a:pt x="248512" y="536"/>
                    <a:pt x="246174" y="1944"/>
                  </a:cubicBezTo>
                  <a:cubicBezTo>
                    <a:pt x="243851" y="3390"/>
                    <a:pt x="240756" y="8428"/>
                    <a:pt x="242187" y="10645"/>
                  </a:cubicBezTo>
                  <a:cubicBezTo>
                    <a:pt x="243600" y="12829"/>
                    <a:pt x="243335" y="16681"/>
                    <a:pt x="243335" y="16681"/>
                  </a:cubicBezTo>
                  <a:cubicBezTo>
                    <a:pt x="243335" y="16681"/>
                    <a:pt x="243600" y="17708"/>
                    <a:pt x="245668" y="19800"/>
                  </a:cubicBezTo>
                  <a:cubicBezTo>
                    <a:pt x="247717" y="21873"/>
                    <a:pt x="244502" y="22885"/>
                    <a:pt x="243084" y="24071"/>
                  </a:cubicBezTo>
                  <a:cubicBezTo>
                    <a:pt x="241667" y="25204"/>
                    <a:pt x="238808" y="23439"/>
                    <a:pt x="236499" y="21974"/>
                  </a:cubicBezTo>
                  <a:cubicBezTo>
                    <a:pt x="232498" y="19395"/>
                    <a:pt x="226163" y="23386"/>
                    <a:pt x="226163" y="23386"/>
                  </a:cubicBezTo>
                  <a:lnTo>
                    <a:pt x="227369" y="29745"/>
                  </a:lnTo>
                  <a:lnTo>
                    <a:pt x="225464" y="32498"/>
                  </a:lnTo>
                  <a:lnTo>
                    <a:pt x="201886" y="44072"/>
                  </a:lnTo>
                  <a:lnTo>
                    <a:pt x="198787" y="48208"/>
                  </a:lnTo>
                  <a:lnTo>
                    <a:pt x="187058" y="49047"/>
                  </a:lnTo>
                  <a:lnTo>
                    <a:pt x="186393" y="62506"/>
                  </a:lnTo>
                  <a:lnTo>
                    <a:pt x="190683" y="67809"/>
                  </a:lnTo>
                  <a:lnTo>
                    <a:pt x="196709" y="69897"/>
                  </a:lnTo>
                  <a:lnTo>
                    <a:pt x="195923" y="79427"/>
                  </a:lnTo>
                  <a:lnTo>
                    <a:pt x="195923" y="89001"/>
                  </a:lnTo>
                  <a:cubicBezTo>
                    <a:pt x="195923" y="89001"/>
                    <a:pt x="195152" y="91194"/>
                    <a:pt x="196579" y="92993"/>
                  </a:cubicBezTo>
                  <a:cubicBezTo>
                    <a:pt x="197996" y="94805"/>
                    <a:pt x="199683" y="98315"/>
                    <a:pt x="195407" y="99366"/>
                  </a:cubicBezTo>
                  <a:cubicBezTo>
                    <a:pt x="191141" y="100388"/>
                    <a:pt x="176423" y="103463"/>
                    <a:pt x="176423" y="103463"/>
                  </a:cubicBezTo>
                  <a:cubicBezTo>
                    <a:pt x="176423" y="103463"/>
                    <a:pt x="178501" y="106577"/>
                    <a:pt x="174105" y="108877"/>
                  </a:cubicBezTo>
                  <a:cubicBezTo>
                    <a:pt x="169703" y="111215"/>
                    <a:pt x="153949" y="119748"/>
                    <a:pt x="158606" y="121806"/>
                  </a:cubicBezTo>
                  <a:cubicBezTo>
                    <a:pt x="163263" y="123879"/>
                    <a:pt x="170364" y="122587"/>
                    <a:pt x="168406" y="125696"/>
                  </a:cubicBezTo>
                  <a:cubicBezTo>
                    <a:pt x="166488" y="128777"/>
                    <a:pt x="162612" y="134745"/>
                    <a:pt x="163909" y="137541"/>
                  </a:cubicBezTo>
                  <a:cubicBezTo>
                    <a:pt x="165186" y="140428"/>
                    <a:pt x="170103" y="152446"/>
                    <a:pt x="167785" y="152446"/>
                  </a:cubicBezTo>
                  <a:cubicBezTo>
                    <a:pt x="165432" y="152446"/>
                    <a:pt x="162858" y="152133"/>
                    <a:pt x="161826" y="154259"/>
                  </a:cubicBezTo>
                  <a:cubicBezTo>
                    <a:pt x="160809" y="156293"/>
                    <a:pt x="158225" y="157696"/>
                    <a:pt x="156933" y="157995"/>
                  </a:cubicBezTo>
                  <a:cubicBezTo>
                    <a:pt x="155627" y="158231"/>
                    <a:pt x="152411" y="158091"/>
                    <a:pt x="152411" y="158091"/>
                  </a:cubicBezTo>
                  <a:lnTo>
                    <a:pt x="142712" y="150359"/>
                  </a:lnTo>
                  <a:lnTo>
                    <a:pt x="138981" y="151497"/>
                  </a:lnTo>
                  <a:lnTo>
                    <a:pt x="130713" y="147124"/>
                  </a:lnTo>
                  <a:lnTo>
                    <a:pt x="129412" y="153329"/>
                  </a:lnTo>
                  <a:lnTo>
                    <a:pt x="120759" y="155927"/>
                  </a:lnTo>
                  <a:lnTo>
                    <a:pt x="114053" y="150359"/>
                  </a:lnTo>
                  <a:lnTo>
                    <a:pt x="108244" y="147640"/>
                  </a:lnTo>
                  <a:lnTo>
                    <a:pt x="105270" y="142106"/>
                  </a:lnTo>
                  <a:lnTo>
                    <a:pt x="99972" y="138230"/>
                  </a:lnTo>
                  <a:lnTo>
                    <a:pt x="99331" y="131770"/>
                  </a:lnTo>
                  <a:cubicBezTo>
                    <a:pt x="99331" y="131770"/>
                    <a:pt x="94924" y="129047"/>
                    <a:pt x="94674" y="131529"/>
                  </a:cubicBezTo>
                  <a:cubicBezTo>
                    <a:pt x="94409" y="133949"/>
                    <a:pt x="91719" y="138230"/>
                    <a:pt x="90412" y="139267"/>
                  </a:cubicBezTo>
                  <a:cubicBezTo>
                    <a:pt x="89516" y="145177"/>
                    <a:pt x="88224" y="149583"/>
                    <a:pt x="88224" y="149583"/>
                  </a:cubicBezTo>
                  <a:lnTo>
                    <a:pt x="81369" y="155792"/>
                  </a:lnTo>
                  <a:lnTo>
                    <a:pt x="72730" y="156819"/>
                  </a:lnTo>
                  <a:lnTo>
                    <a:pt x="65369" y="154264"/>
                  </a:lnTo>
                  <a:lnTo>
                    <a:pt x="55660" y="158617"/>
                  </a:lnTo>
                  <a:cubicBezTo>
                    <a:pt x="55660" y="158617"/>
                    <a:pt x="43787" y="153579"/>
                    <a:pt x="42760" y="154500"/>
                  </a:cubicBezTo>
                  <a:cubicBezTo>
                    <a:pt x="41733" y="155411"/>
                    <a:pt x="45223" y="158236"/>
                    <a:pt x="41337" y="160941"/>
                  </a:cubicBezTo>
                  <a:cubicBezTo>
                    <a:pt x="37462" y="163655"/>
                    <a:pt x="33726" y="166875"/>
                    <a:pt x="31518" y="165453"/>
                  </a:cubicBezTo>
                  <a:cubicBezTo>
                    <a:pt x="29324" y="164074"/>
                    <a:pt x="25178" y="161741"/>
                    <a:pt x="22990" y="161837"/>
                  </a:cubicBezTo>
                  <a:cubicBezTo>
                    <a:pt x="20796" y="161967"/>
                    <a:pt x="17832" y="162218"/>
                    <a:pt x="16289" y="163278"/>
                  </a:cubicBezTo>
                  <a:cubicBezTo>
                    <a:pt x="15175" y="164016"/>
                    <a:pt x="9911" y="162580"/>
                    <a:pt x="6778" y="161630"/>
                  </a:cubicBezTo>
                  <a:lnTo>
                    <a:pt x="6720" y="162175"/>
                  </a:lnTo>
                  <a:lnTo>
                    <a:pt x="5201" y="162975"/>
                  </a:lnTo>
                  <a:lnTo>
                    <a:pt x="4353" y="162975"/>
                  </a:lnTo>
                  <a:lnTo>
                    <a:pt x="0" y="164739"/>
                  </a:lnTo>
                  <a:lnTo>
                    <a:pt x="443" y="168982"/>
                  </a:lnTo>
                  <a:lnTo>
                    <a:pt x="3249" y="174641"/>
                  </a:lnTo>
                  <a:lnTo>
                    <a:pt x="3442" y="175436"/>
                  </a:lnTo>
                  <a:lnTo>
                    <a:pt x="3442" y="180358"/>
                  </a:lnTo>
                  <a:lnTo>
                    <a:pt x="7771" y="180773"/>
                  </a:lnTo>
                  <a:lnTo>
                    <a:pt x="9222" y="181776"/>
                  </a:lnTo>
                  <a:lnTo>
                    <a:pt x="9102" y="183598"/>
                  </a:lnTo>
                  <a:lnTo>
                    <a:pt x="8103" y="185083"/>
                  </a:lnTo>
                  <a:lnTo>
                    <a:pt x="7067" y="190279"/>
                  </a:lnTo>
                  <a:lnTo>
                    <a:pt x="8735" y="196368"/>
                  </a:lnTo>
                  <a:lnTo>
                    <a:pt x="8764" y="196489"/>
                  </a:lnTo>
                  <a:lnTo>
                    <a:pt x="9820" y="201743"/>
                  </a:lnTo>
                  <a:lnTo>
                    <a:pt x="14698" y="205170"/>
                  </a:lnTo>
                  <a:lnTo>
                    <a:pt x="18270" y="205170"/>
                  </a:lnTo>
                  <a:lnTo>
                    <a:pt x="20083" y="205170"/>
                  </a:lnTo>
                  <a:lnTo>
                    <a:pt x="21351" y="205677"/>
                  </a:lnTo>
                  <a:lnTo>
                    <a:pt x="21896" y="206974"/>
                  </a:lnTo>
                  <a:lnTo>
                    <a:pt x="21351" y="208270"/>
                  </a:lnTo>
                  <a:lnTo>
                    <a:pt x="20083" y="208791"/>
                  </a:lnTo>
                  <a:lnTo>
                    <a:pt x="18926" y="208791"/>
                  </a:lnTo>
                  <a:lnTo>
                    <a:pt x="14293" y="212604"/>
                  </a:lnTo>
                  <a:lnTo>
                    <a:pt x="17918" y="217126"/>
                  </a:lnTo>
                  <a:lnTo>
                    <a:pt x="17971" y="217232"/>
                  </a:lnTo>
                  <a:lnTo>
                    <a:pt x="22681" y="223682"/>
                  </a:lnTo>
                  <a:lnTo>
                    <a:pt x="27970" y="229563"/>
                  </a:lnTo>
                  <a:lnTo>
                    <a:pt x="28254" y="229978"/>
                  </a:lnTo>
                  <a:lnTo>
                    <a:pt x="31219" y="235912"/>
                  </a:lnTo>
                  <a:lnTo>
                    <a:pt x="31397" y="236577"/>
                  </a:lnTo>
                  <a:lnTo>
                    <a:pt x="31927" y="242319"/>
                  </a:lnTo>
                  <a:lnTo>
                    <a:pt x="37784" y="246547"/>
                  </a:lnTo>
                  <a:lnTo>
                    <a:pt x="38267" y="247077"/>
                  </a:lnTo>
                  <a:lnTo>
                    <a:pt x="40022" y="249796"/>
                  </a:lnTo>
                  <a:lnTo>
                    <a:pt x="40301" y="248287"/>
                  </a:lnTo>
                  <a:lnTo>
                    <a:pt x="41737" y="246855"/>
                  </a:lnTo>
                  <a:lnTo>
                    <a:pt x="46072" y="245973"/>
                  </a:lnTo>
                  <a:lnTo>
                    <a:pt x="45662" y="241687"/>
                  </a:lnTo>
                  <a:lnTo>
                    <a:pt x="45811" y="240636"/>
                  </a:lnTo>
                  <a:lnTo>
                    <a:pt x="48747" y="234813"/>
                  </a:lnTo>
                  <a:lnTo>
                    <a:pt x="50873" y="228912"/>
                  </a:lnTo>
                  <a:lnTo>
                    <a:pt x="49273" y="223566"/>
                  </a:lnTo>
                  <a:lnTo>
                    <a:pt x="49190" y="223055"/>
                  </a:lnTo>
                  <a:lnTo>
                    <a:pt x="49190" y="218264"/>
                  </a:lnTo>
                  <a:lnTo>
                    <a:pt x="49730" y="216981"/>
                  </a:lnTo>
                  <a:lnTo>
                    <a:pt x="51008" y="216446"/>
                  </a:lnTo>
                  <a:lnTo>
                    <a:pt x="51610" y="216446"/>
                  </a:lnTo>
                  <a:lnTo>
                    <a:pt x="53095" y="217227"/>
                  </a:lnTo>
                  <a:lnTo>
                    <a:pt x="56070" y="221383"/>
                  </a:lnTo>
                  <a:lnTo>
                    <a:pt x="56166" y="221547"/>
                  </a:lnTo>
                  <a:lnTo>
                    <a:pt x="57482" y="223865"/>
                  </a:lnTo>
                  <a:lnTo>
                    <a:pt x="61097" y="220953"/>
                  </a:lnTo>
                  <a:lnTo>
                    <a:pt x="61097" y="219623"/>
                  </a:lnTo>
                  <a:lnTo>
                    <a:pt x="59950" y="213867"/>
                  </a:lnTo>
                  <a:lnTo>
                    <a:pt x="60129" y="212652"/>
                  </a:lnTo>
                  <a:lnTo>
                    <a:pt x="63696" y="206125"/>
                  </a:lnTo>
                  <a:lnTo>
                    <a:pt x="66463" y="200596"/>
                  </a:lnTo>
                  <a:lnTo>
                    <a:pt x="66463" y="198634"/>
                  </a:lnTo>
                  <a:lnTo>
                    <a:pt x="66463" y="198494"/>
                  </a:lnTo>
                  <a:lnTo>
                    <a:pt x="67066" y="191957"/>
                  </a:lnTo>
                  <a:lnTo>
                    <a:pt x="67090" y="191731"/>
                  </a:lnTo>
                  <a:lnTo>
                    <a:pt x="68309" y="185806"/>
                  </a:lnTo>
                  <a:lnTo>
                    <a:pt x="69452" y="179279"/>
                  </a:lnTo>
                  <a:lnTo>
                    <a:pt x="69770" y="178565"/>
                  </a:lnTo>
                  <a:lnTo>
                    <a:pt x="73921" y="172636"/>
                  </a:lnTo>
                  <a:cubicBezTo>
                    <a:pt x="74427" y="171927"/>
                    <a:pt x="75338" y="171647"/>
                    <a:pt x="76133" y="171970"/>
                  </a:cubicBezTo>
                  <a:lnTo>
                    <a:pt x="80178" y="173725"/>
                  </a:lnTo>
                  <a:lnTo>
                    <a:pt x="86599" y="175456"/>
                  </a:lnTo>
                  <a:lnTo>
                    <a:pt x="87071" y="175668"/>
                  </a:lnTo>
                  <a:lnTo>
                    <a:pt x="92803" y="179115"/>
                  </a:lnTo>
                  <a:lnTo>
                    <a:pt x="99099" y="180850"/>
                  </a:lnTo>
                  <a:lnTo>
                    <a:pt x="100112" y="181549"/>
                  </a:lnTo>
                  <a:lnTo>
                    <a:pt x="104257" y="187493"/>
                  </a:lnTo>
                  <a:lnTo>
                    <a:pt x="104513" y="188235"/>
                  </a:lnTo>
                  <a:cubicBezTo>
                    <a:pt x="117842" y="201150"/>
                    <a:pt x="119742" y="196002"/>
                    <a:pt x="128395" y="205643"/>
                  </a:cubicBezTo>
                  <a:cubicBezTo>
                    <a:pt x="131842" y="209736"/>
                    <a:pt x="131639" y="213906"/>
                    <a:pt x="134628" y="217902"/>
                  </a:cubicBezTo>
                  <a:lnTo>
                    <a:pt x="134917" y="218505"/>
                  </a:lnTo>
                  <a:lnTo>
                    <a:pt x="136122" y="224468"/>
                  </a:lnTo>
                  <a:lnTo>
                    <a:pt x="136122" y="225162"/>
                  </a:lnTo>
                  <a:lnTo>
                    <a:pt x="134917" y="231742"/>
                  </a:lnTo>
                  <a:lnTo>
                    <a:pt x="133794" y="237431"/>
                  </a:lnTo>
                  <a:lnTo>
                    <a:pt x="134363" y="243023"/>
                  </a:lnTo>
                  <a:lnTo>
                    <a:pt x="135524" y="249492"/>
                  </a:lnTo>
                  <a:lnTo>
                    <a:pt x="135549" y="249651"/>
                  </a:lnTo>
                  <a:lnTo>
                    <a:pt x="136093" y="255190"/>
                  </a:lnTo>
                  <a:lnTo>
                    <a:pt x="139439" y="260744"/>
                  </a:lnTo>
                  <a:lnTo>
                    <a:pt x="143551" y="266625"/>
                  </a:lnTo>
                  <a:lnTo>
                    <a:pt x="143599" y="266707"/>
                  </a:lnTo>
                  <a:lnTo>
                    <a:pt x="147542" y="272897"/>
                  </a:lnTo>
                  <a:lnTo>
                    <a:pt x="153115" y="276262"/>
                  </a:lnTo>
                  <a:lnTo>
                    <a:pt x="153409" y="276425"/>
                  </a:lnTo>
                  <a:cubicBezTo>
                    <a:pt x="162429" y="283753"/>
                    <a:pt x="166459" y="291109"/>
                    <a:pt x="177040" y="298311"/>
                  </a:cubicBezTo>
                  <a:lnTo>
                    <a:pt x="181495" y="301117"/>
                  </a:lnTo>
                  <a:lnTo>
                    <a:pt x="187757" y="302800"/>
                  </a:lnTo>
                  <a:lnTo>
                    <a:pt x="188427" y="303127"/>
                  </a:lnTo>
                  <a:lnTo>
                    <a:pt x="194086" y="307717"/>
                  </a:lnTo>
                  <a:lnTo>
                    <a:pt x="199703" y="309365"/>
                  </a:lnTo>
                  <a:lnTo>
                    <a:pt x="200898" y="310503"/>
                  </a:lnTo>
                  <a:lnTo>
                    <a:pt x="202431" y="314567"/>
                  </a:lnTo>
                  <a:lnTo>
                    <a:pt x="203520" y="315116"/>
                  </a:lnTo>
                  <a:lnTo>
                    <a:pt x="208794" y="313530"/>
                  </a:lnTo>
                  <a:lnTo>
                    <a:pt x="210704" y="314119"/>
                  </a:lnTo>
                  <a:lnTo>
                    <a:pt x="210940" y="316105"/>
                  </a:lnTo>
                  <a:lnTo>
                    <a:pt x="208327" y="321330"/>
                  </a:lnTo>
                  <a:lnTo>
                    <a:pt x="210409" y="326498"/>
                  </a:lnTo>
                  <a:lnTo>
                    <a:pt x="210231" y="328205"/>
                  </a:lnTo>
                  <a:lnTo>
                    <a:pt x="208708" y="328995"/>
                  </a:lnTo>
                  <a:lnTo>
                    <a:pt x="207526" y="328995"/>
                  </a:lnTo>
                  <a:lnTo>
                    <a:pt x="205888" y="327988"/>
                  </a:lnTo>
                  <a:lnTo>
                    <a:pt x="203559" y="323292"/>
                  </a:lnTo>
                  <a:cubicBezTo>
                    <a:pt x="195542" y="325500"/>
                    <a:pt x="196757" y="323958"/>
                    <a:pt x="196791" y="316307"/>
                  </a:cubicBezTo>
                  <a:lnTo>
                    <a:pt x="192245" y="313593"/>
                  </a:lnTo>
                  <a:lnTo>
                    <a:pt x="186277" y="314123"/>
                  </a:lnTo>
                  <a:lnTo>
                    <a:pt x="184985" y="313747"/>
                  </a:lnTo>
                  <a:lnTo>
                    <a:pt x="179229" y="309129"/>
                  </a:lnTo>
                  <a:lnTo>
                    <a:pt x="176351" y="307982"/>
                  </a:lnTo>
                  <a:lnTo>
                    <a:pt x="175401" y="313236"/>
                  </a:lnTo>
                  <a:lnTo>
                    <a:pt x="174558" y="314456"/>
                  </a:lnTo>
                  <a:lnTo>
                    <a:pt x="173097" y="314601"/>
                  </a:lnTo>
                  <a:lnTo>
                    <a:pt x="168561" y="313285"/>
                  </a:lnTo>
                  <a:lnTo>
                    <a:pt x="165924" y="318163"/>
                  </a:lnTo>
                  <a:lnTo>
                    <a:pt x="165924" y="322810"/>
                  </a:lnTo>
                  <a:lnTo>
                    <a:pt x="171275" y="327636"/>
                  </a:lnTo>
                  <a:lnTo>
                    <a:pt x="171482" y="327886"/>
                  </a:lnTo>
                  <a:lnTo>
                    <a:pt x="176163" y="333710"/>
                  </a:lnTo>
                  <a:lnTo>
                    <a:pt x="181986" y="339514"/>
                  </a:lnTo>
                  <a:lnTo>
                    <a:pt x="188446" y="344812"/>
                  </a:lnTo>
                  <a:lnTo>
                    <a:pt x="189049" y="346041"/>
                  </a:lnTo>
                  <a:cubicBezTo>
                    <a:pt x="199129" y="358507"/>
                    <a:pt x="214430" y="364134"/>
                    <a:pt x="225474" y="375448"/>
                  </a:cubicBezTo>
                  <a:lnTo>
                    <a:pt x="231505" y="375988"/>
                  </a:lnTo>
                  <a:lnTo>
                    <a:pt x="232262" y="376224"/>
                  </a:lnTo>
                  <a:lnTo>
                    <a:pt x="238220" y="379786"/>
                  </a:lnTo>
                  <a:lnTo>
                    <a:pt x="238321" y="379888"/>
                  </a:lnTo>
                  <a:lnTo>
                    <a:pt x="242106" y="382572"/>
                  </a:lnTo>
                  <a:lnTo>
                    <a:pt x="247558" y="383093"/>
                  </a:lnTo>
                  <a:lnTo>
                    <a:pt x="249144" y="384400"/>
                  </a:lnTo>
                  <a:lnTo>
                    <a:pt x="250942" y="390358"/>
                  </a:lnTo>
                  <a:lnTo>
                    <a:pt x="250783" y="391746"/>
                  </a:lnTo>
                  <a:lnTo>
                    <a:pt x="247727" y="397392"/>
                  </a:lnTo>
                  <a:lnTo>
                    <a:pt x="250633" y="402231"/>
                  </a:lnTo>
                  <a:lnTo>
                    <a:pt x="256303" y="407929"/>
                  </a:lnTo>
                  <a:lnTo>
                    <a:pt x="259258" y="409892"/>
                  </a:lnTo>
                  <a:lnTo>
                    <a:pt x="263447" y="409892"/>
                  </a:lnTo>
                  <a:lnTo>
                    <a:pt x="263447" y="405775"/>
                  </a:lnTo>
                  <a:lnTo>
                    <a:pt x="264035" y="404391"/>
                  </a:lnTo>
                  <a:lnTo>
                    <a:pt x="265438" y="403899"/>
                  </a:lnTo>
                  <a:lnTo>
                    <a:pt x="270967" y="404521"/>
                  </a:lnTo>
                  <a:lnTo>
                    <a:pt x="277032" y="402294"/>
                  </a:lnTo>
                  <a:lnTo>
                    <a:pt x="282884" y="399387"/>
                  </a:lnTo>
                  <a:lnTo>
                    <a:pt x="283125" y="399238"/>
                  </a:lnTo>
                  <a:lnTo>
                    <a:pt x="284928" y="398645"/>
                  </a:lnTo>
                  <a:lnTo>
                    <a:pt x="285318" y="398553"/>
                  </a:lnTo>
                  <a:lnTo>
                    <a:pt x="291846" y="397984"/>
                  </a:lnTo>
                  <a:lnTo>
                    <a:pt x="293171" y="398365"/>
                  </a:lnTo>
                  <a:lnTo>
                    <a:pt x="298541" y="402689"/>
                  </a:lnTo>
                  <a:lnTo>
                    <a:pt x="303758" y="402159"/>
                  </a:lnTo>
                  <a:lnTo>
                    <a:pt x="304794" y="402357"/>
                  </a:lnTo>
                  <a:lnTo>
                    <a:pt x="311345" y="405924"/>
                  </a:lnTo>
                  <a:lnTo>
                    <a:pt x="311553" y="406088"/>
                  </a:lnTo>
                  <a:lnTo>
                    <a:pt x="315834" y="409289"/>
                  </a:lnTo>
                  <a:lnTo>
                    <a:pt x="321773" y="409289"/>
                  </a:lnTo>
                  <a:lnTo>
                    <a:pt x="322785" y="409593"/>
                  </a:lnTo>
                  <a:cubicBezTo>
                    <a:pt x="328854" y="414596"/>
                    <a:pt x="336418" y="410658"/>
                    <a:pt x="343085" y="413218"/>
                  </a:cubicBezTo>
                  <a:cubicBezTo>
                    <a:pt x="352934" y="420632"/>
                    <a:pt x="357971" y="429536"/>
                    <a:pt x="372188" y="438160"/>
                  </a:cubicBezTo>
                  <a:cubicBezTo>
                    <a:pt x="380942" y="444504"/>
                    <a:pt x="385898" y="441959"/>
                    <a:pt x="393799" y="451427"/>
                  </a:cubicBezTo>
                  <a:lnTo>
                    <a:pt x="393987" y="451586"/>
                  </a:lnTo>
                  <a:lnTo>
                    <a:pt x="397115" y="455240"/>
                  </a:lnTo>
                  <a:lnTo>
                    <a:pt x="403031" y="456344"/>
                  </a:lnTo>
                  <a:lnTo>
                    <a:pt x="404327" y="457323"/>
                  </a:lnTo>
                  <a:lnTo>
                    <a:pt x="406024" y="460716"/>
                  </a:lnTo>
                  <a:lnTo>
                    <a:pt x="410180" y="465908"/>
                  </a:lnTo>
                  <a:lnTo>
                    <a:pt x="415964" y="466410"/>
                  </a:lnTo>
                  <a:lnTo>
                    <a:pt x="417473" y="467533"/>
                  </a:lnTo>
                  <a:lnTo>
                    <a:pt x="417700" y="468020"/>
                  </a:lnTo>
                  <a:cubicBezTo>
                    <a:pt x="420568" y="467094"/>
                    <a:pt x="425447" y="465089"/>
                    <a:pt x="424844" y="46300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34" name="Freihandform: Form 633">
              <a:extLst>
                <a:ext uri="{FF2B5EF4-FFF2-40B4-BE49-F238E27FC236}">
                  <a16:creationId xmlns:a16="http://schemas.microsoft.com/office/drawing/2014/main" id="{71522984-7256-9814-6CA6-370B0CE9B1FD}"/>
                </a:ext>
              </a:extLst>
            </p:cNvPr>
            <p:cNvSpPr/>
            <p:nvPr/>
          </p:nvSpPr>
          <p:spPr>
            <a:xfrm>
              <a:off x="4976976" y="4797469"/>
              <a:ext cx="1534939" cy="1544696"/>
            </a:xfrm>
            <a:custGeom>
              <a:avLst/>
              <a:gdLst>
                <a:gd name="connsiteX0" fmla="*/ 678457 w 1203904"/>
                <a:gd name="connsiteY0" fmla="*/ 192994 h 1210683"/>
                <a:gd name="connsiteX1" fmla="*/ 684198 w 1203904"/>
                <a:gd name="connsiteY1" fmla="*/ 187889 h 1210683"/>
                <a:gd name="connsiteX2" fmla="*/ 661739 w 1203904"/>
                <a:gd name="connsiteY2" fmla="*/ 166321 h 1210683"/>
                <a:gd name="connsiteX3" fmla="*/ 655886 w 1203904"/>
                <a:gd name="connsiteY3" fmla="*/ 165810 h 1210683"/>
                <a:gd name="connsiteX4" fmla="*/ 654165 w 1203904"/>
                <a:gd name="connsiteY4" fmla="*/ 161481 h 1210683"/>
                <a:gd name="connsiteX5" fmla="*/ 654864 w 1203904"/>
                <a:gd name="connsiteY5" fmla="*/ 153237 h 1210683"/>
                <a:gd name="connsiteX6" fmla="*/ 656764 w 1203904"/>
                <a:gd name="connsiteY6" fmla="*/ 148412 h 1210683"/>
                <a:gd name="connsiteX7" fmla="*/ 656581 w 1203904"/>
                <a:gd name="connsiteY7" fmla="*/ 147877 h 1210683"/>
                <a:gd name="connsiteX8" fmla="*/ 653741 w 1203904"/>
                <a:gd name="connsiteY8" fmla="*/ 141427 h 1210683"/>
                <a:gd name="connsiteX9" fmla="*/ 647296 w 1203904"/>
                <a:gd name="connsiteY9" fmla="*/ 143726 h 1210683"/>
                <a:gd name="connsiteX10" fmla="*/ 642104 w 1203904"/>
                <a:gd name="connsiteY10" fmla="*/ 138852 h 1210683"/>
                <a:gd name="connsiteX11" fmla="*/ 643646 w 1203904"/>
                <a:gd name="connsiteY11" fmla="*/ 132494 h 1210683"/>
                <a:gd name="connsiteX12" fmla="*/ 655028 w 1203904"/>
                <a:gd name="connsiteY12" fmla="*/ 122197 h 1210683"/>
                <a:gd name="connsiteX13" fmla="*/ 657733 w 1203904"/>
                <a:gd name="connsiteY13" fmla="*/ 114913 h 1210683"/>
                <a:gd name="connsiteX14" fmla="*/ 651162 w 1203904"/>
                <a:gd name="connsiteY14" fmla="*/ 114542 h 1210683"/>
                <a:gd name="connsiteX15" fmla="*/ 646635 w 1203904"/>
                <a:gd name="connsiteY15" fmla="*/ 111196 h 1210683"/>
                <a:gd name="connsiteX16" fmla="*/ 640436 w 1203904"/>
                <a:gd name="connsiteY16" fmla="*/ 108896 h 1210683"/>
                <a:gd name="connsiteX17" fmla="*/ 634622 w 1203904"/>
                <a:gd name="connsiteY17" fmla="*/ 112107 h 1210683"/>
                <a:gd name="connsiteX18" fmla="*/ 632954 w 1203904"/>
                <a:gd name="connsiteY18" fmla="*/ 105242 h 1210683"/>
                <a:gd name="connsiteX19" fmla="*/ 635668 w 1203904"/>
                <a:gd name="connsiteY19" fmla="*/ 92347 h 1210683"/>
                <a:gd name="connsiteX20" fmla="*/ 647301 w 1203904"/>
                <a:gd name="connsiteY20" fmla="*/ 85892 h 1210683"/>
                <a:gd name="connsiteX21" fmla="*/ 652054 w 1203904"/>
                <a:gd name="connsiteY21" fmla="*/ 79818 h 1210683"/>
                <a:gd name="connsiteX22" fmla="*/ 657487 w 1203904"/>
                <a:gd name="connsiteY22" fmla="*/ 79948 h 1210683"/>
                <a:gd name="connsiteX23" fmla="*/ 659810 w 1203904"/>
                <a:gd name="connsiteY23" fmla="*/ 68788 h 1210683"/>
                <a:gd name="connsiteX24" fmla="*/ 638773 w 1203904"/>
                <a:gd name="connsiteY24" fmla="*/ 64319 h 1210683"/>
                <a:gd name="connsiteX25" fmla="*/ 621977 w 1203904"/>
                <a:gd name="connsiteY25" fmla="*/ 65848 h 1210683"/>
                <a:gd name="connsiteX26" fmla="*/ 606734 w 1203904"/>
                <a:gd name="connsiteY26" fmla="*/ 62512 h 1210683"/>
                <a:gd name="connsiteX27" fmla="*/ 590460 w 1203904"/>
                <a:gd name="connsiteY27" fmla="*/ 61090 h 1210683"/>
                <a:gd name="connsiteX28" fmla="*/ 582838 w 1203904"/>
                <a:gd name="connsiteY28" fmla="*/ 60954 h 1210683"/>
                <a:gd name="connsiteX29" fmla="*/ 563594 w 1203904"/>
                <a:gd name="connsiteY29" fmla="*/ 55271 h 1210683"/>
                <a:gd name="connsiteX30" fmla="*/ 553383 w 1203904"/>
                <a:gd name="connsiteY30" fmla="*/ 55801 h 1210683"/>
                <a:gd name="connsiteX31" fmla="*/ 541260 w 1203904"/>
                <a:gd name="connsiteY31" fmla="*/ 51511 h 1210683"/>
                <a:gd name="connsiteX32" fmla="*/ 535581 w 1203904"/>
                <a:gd name="connsiteY32" fmla="*/ 47534 h 1210683"/>
                <a:gd name="connsiteX33" fmla="*/ 533113 w 1203904"/>
                <a:gd name="connsiteY33" fmla="*/ 40307 h 1210683"/>
                <a:gd name="connsiteX34" fmla="*/ 527949 w 1203904"/>
                <a:gd name="connsiteY34" fmla="*/ 40062 h 1210683"/>
                <a:gd name="connsiteX35" fmla="*/ 527694 w 1203904"/>
                <a:gd name="connsiteY35" fmla="*/ 34629 h 1210683"/>
                <a:gd name="connsiteX36" fmla="*/ 526908 w 1203904"/>
                <a:gd name="connsiteY36" fmla="*/ 29311 h 1210683"/>
                <a:gd name="connsiteX37" fmla="*/ 520988 w 1203904"/>
                <a:gd name="connsiteY37" fmla="*/ 27769 h 1210683"/>
                <a:gd name="connsiteX38" fmla="*/ 516322 w 1203904"/>
                <a:gd name="connsiteY38" fmla="*/ 25966 h 1210683"/>
                <a:gd name="connsiteX39" fmla="*/ 513353 w 1203904"/>
                <a:gd name="connsiteY39" fmla="*/ 21690 h 1210683"/>
                <a:gd name="connsiteX40" fmla="*/ 511689 w 1203904"/>
                <a:gd name="connsiteY40" fmla="*/ 11123 h 1210683"/>
                <a:gd name="connsiteX41" fmla="*/ 516838 w 1203904"/>
                <a:gd name="connsiteY41" fmla="*/ 8915 h 1210683"/>
                <a:gd name="connsiteX42" fmla="*/ 519937 w 1203904"/>
                <a:gd name="connsiteY42" fmla="*/ 2344 h 1210683"/>
                <a:gd name="connsiteX43" fmla="*/ 502390 w 1203904"/>
                <a:gd name="connsiteY43" fmla="*/ 4774 h 1210683"/>
                <a:gd name="connsiteX44" fmla="*/ 491529 w 1203904"/>
                <a:gd name="connsiteY44" fmla="*/ 9551 h 1210683"/>
                <a:gd name="connsiteX45" fmla="*/ 478749 w 1203904"/>
                <a:gd name="connsiteY45" fmla="*/ 16802 h 1210683"/>
                <a:gd name="connsiteX46" fmla="*/ 462345 w 1203904"/>
                <a:gd name="connsiteY46" fmla="*/ 13948 h 1210683"/>
                <a:gd name="connsiteX47" fmla="*/ 456666 w 1203904"/>
                <a:gd name="connsiteY47" fmla="*/ 12786 h 1210683"/>
                <a:gd name="connsiteX48" fmla="*/ 447622 w 1203904"/>
                <a:gd name="connsiteY48" fmla="*/ 17819 h 1210683"/>
                <a:gd name="connsiteX49" fmla="*/ 424632 w 1203904"/>
                <a:gd name="connsiteY49" fmla="*/ 20398 h 1210683"/>
                <a:gd name="connsiteX50" fmla="*/ 417796 w 1203904"/>
                <a:gd name="connsiteY50" fmla="*/ 26723 h 1210683"/>
                <a:gd name="connsiteX51" fmla="*/ 415203 w 1203904"/>
                <a:gd name="connsiteY51" fmla="*/ 39271 h 1210683"/>
                <a:gd name="connsiteX52" fmla="*/ 410430 w 1203904"/>
                <a:gd name="connsiteY52" fmla="*/ 45721 h 1210683"/>
                <a:gd name="connsiteX53" fmla="*/ 405923 w 1203904"/>
                <a:gd name="connsiteY53" fmla="*/ 44795 h 1210683"/>
                <a:gd name="connsiteX54" fmla="*/ 398412 w 1203904"/>
                <a:gd name="connsiteY54" fmla="*/ 45986 h 1210683"/>
                <a:gd name="connsiteX55" fmla="*/ 384186 w 1203904"/>
                <a:gd name="connsiteY55" fmla="*/ 37063 h 1210683"/>
                <a:gd name="connsiteX56" fmla="*/ 374786 w 1203904"/>
                <a:gd name="connsiteY56" fmla="*/ 33713 h 1210683"/>
                <a:gd name="connsiteX57" fmla="*/ 367560 w 1203904"/>
                <a:gd name="connsiteY57" fmla="*/ 35805 h 1210683"/>
                <a:gd name="connsiteX58" fmla="*/ 361201 w 1203904"/>
                <a:gd name="connsiteY58" fmla="*/ 33510 h 1210683"/>
                <a:gd name="connsiteX59" fmla="*/ 361211 w 1203904"/>
                <a:gd name="connsiteY59" fmla="*/ 33838 h 1210683"/>
                <a:gd name="connsiteX60" fmla="*/ 356438 w 1203904"/>
                <a:gd name="connsiteY60" fmla="*/ 49341 h 1210683"/>
                <a:gd name="connsiteX61" fmla="*/ 353864 w 1203904"/>
                <a:gd name="connsiteY61" fmla="*/ 57479 h 1210683"/>
                <a:gd name="connsiteX62" fmla="*/ 355402 w 1203904"/>
                <a:gd name="connsiteY62" fmla="*/ 63172 h 1210683"/>
                <a:gd name="connsiteX63" fmla="*/ 359543 w 1203904"/>
                <a:gd name="connsiteY63" fmla="*/ 65124 h 1210683"/>
                <a:gd name="connsiteX64" fmla="*/ 362257 w 1203904"/>
                <a:gd name="connsiteY64" fmla="*/ 71179 h 1210683"/>
                <a:gd name="connsiteX65" fmla="*/ 360059 w 1203904"/>
                <a:gd name="connsiteY65" fmla="*/ 77760 h 1210683"/>
                <a:gd name="connsiteX66" fmla="*/ 352702 w 1203904"/>
                <a:gd name="connsiteY66" fmla="*/ 75176 h 1210683"/>
                <a:gd name="connsiteX67" fmla="*/ 347665 w 1203904"/>
                <a:gd name="connsiteY67" fmla="*/ 75961 h 1210683"/>
                <a:gd name="connsiteX68" fmla="*/ 341210 w 1203904"/>
                <a:gd name="connsiteY68" fmla="*/ 71406 h 1210683"/>
                <a:gd name="connsiteX69" fmla="*/ 339899 w 1203904"/>
                <a:gd name="connsiteY69" fmla="*/ 66387 h 1210683"/>
                <a:gd name="connsiteX70" fmla="*/ 327779 w 1203904"/>
                <a:gd name="connsiteY70" fmla="*/ 67819 h 1210683"/>
                <a:gd name="connsiteX71" fmla="*/ 323388 w 1203904"/>
                <a:gd name="connsiteY71" fmla="*/ 81360 h 1210683"/>
                <a:gd name="connsiteX72" fmla="*/ 323638 w 1203904"/>
                <a:gd name="connsiteY72" fmla="*/ 87840 h 1210683"/>
                <a:gd name="connsiteX73" fmla="*/ 327133 w 1203904"/>
                <a:gd name="connsiteY73" fmla="*/ 93624 h 1210683"/>
                <a:gd name="connsiteX74" fmla="*/ 333337 w 1203904"/>
                <a:gd name="connsiteY74" fmla="*/ 94531 h 1210683"/>
                <a:gd name="connsiteX75" fmla="*/ 329592 w 1203904"/>
                <a:gd name="connsiteY75" fmla="*/ 101386 h 1210683"/>
                <a:gd name="connsiteX76" fmla="*/ 329076 w 1203904"/>
                <a:gd name="connsiteY76" fmla="*/ 107344 h 1210683"/>
                <a:gd name="connsiteX77" fmla="*/ 335145 w 1203904"/>
                <a:gd name="connsiteY77" fmla="*/ 112632 h 1210683"/>
                <a:gd name="connsiteX78" fmla="*/ 329847 w 1203904"/>
                <a:gd name="connsiteY78" fmla="*/ 119483 h 1210683"/>
                <a:gd name="connsiteX79" fmla="*/ 323397 w 1203904"/>
                <a:gd name="connsiteY79" fmla="*/ 118046 h 1210683"/>
                <a:gd name="connsiteX80" fmla="*/ 318114 w 1203904"/>
                <a:gd name="connsiteY80" fmla="*/ 112261 h 1210683"/>
                <a:gd name="connsiteX81" fmla="*/ 316692 w 1203904"/>
                <a:gd name="connsiteY81" fmla="*/ 105377 h 1210683"/>
                <a:gd name="connsiteX82" fmla="*/ 312946 w 1203904"/>
                <a:gd name="connsiteY82" fmla="*/ 100749 h 1210683"/>
                <a:gd name="connsiteX83" fmla="*/ 303507 w 1203904"/>
                <a:gd name="connsiteY83" fmla="*/ 101386 h 1210683"/>
                <a:gd name="connsiteX84" fmla="*/ 295620 w 1203904"/>
                <a:gd name="connsiteY84" fmla="*/ 102832 h 1210683"/>
                <a:gd name="connsiteX85" fmla="*/ 291508 w 1203904"/>
                <a:gd name="connsiteY85" fmla="*/ 110193 h 1210683"/>
                <a:gd name="connsiteX86" fmla="*/ 280927 w 1203904"/>
                <a:gd name="connsiteY86" fmla="*/ 110709 h 1210683"/>
                <a:gd name="connsiteX87" fmla="*/ 272404 w 1203904"/>
                <a:gd name="connsiteY87" fmla="*/ 102952 h 1210683"/>
                <a:gd name="connsiteX88" fmla="*/ 268518 w 1203904"/>
                <a:gd name="connsiteY88" fmla="*/ 94671 h 1210683"/>
                <a:gd name="connsiteX89" fmla="*/ 268243 w 1203904"/>
                <a:gd name="connsiteY89" fmla="*/ 82657 h 1210683"/>
                <a:gd name="connsiteX90" fmla="*/ 262965 w 1203904"/>
                <a:gd name="connsiteY90" fmla="*/ 86654 h 1210683"/>
                <a:gd name="connsiteX91" fmla="*/ 257421 w 1203904"/>
                <a:gd name="connsiteY91" fmla="*/ 82792 h 1210683"/>
                <a:gd name="connsiteX92" fmla="*/ 251091 w 1203904"/>
                <a:gd name="connsiteY92" fmla="*/ 88100 h 1210683"/>
                <a:gd name="connsiteX93" fmla="*/ 252128 w 1203904"/>
                <a:gd name="connsiteY93" fmla="*/ 94429 h 1210683"/>
                <a:gd name="connsiteX94" fmla="*/ 251607 w 1203904"/>
                <a:gd name="connsiteY94" fmla="*/ 99978 h 1210683"/>
                <a:gd name="connsiteX95" fmla="*/ 252750 w 1203904"/>
                <a:gd name="connsiteY95" fmla="*/ 106664 h 1210683"/>
                <a:gd name="connsiteX96" fmla="*/ 249014 w 1203904"/>
                <a:gd name="connsiteY96" fmla="*/ 119102 h 1210683"/>
                <a:gd name="connsiteX97" fmla="*/ 245798 w 1203904"/>
                <a:gd name="connsiteY97" fmla="*/ 121030 h 1210683"/>
                <a:gd name="connsiteX98" fmla="*/ 240872 w 1203904"/>
                <a:gd name="connsiteY98" fmla="*/ 127736 h 1210683"/>
                <a:gd name="connsiteX99" fmla="*/ 238283 w 1203904"/>
                <a:gd name="connsiteY99" fmla="*/ 129274 h 1210683"/>
                <a:gd name="connsiteX100" fmla="*/ 234291 w 1203904"/>
                <a:gd name="connsiteY100" fmla="*/ 135087 h 1210683"/>
                <a:gd name="connsiteX101" fmla="*/ 233790 w 1203904"/>
                <a:gd name="connsiteY101" fmla="*/ 140781 h 1210683"/>
                <a:gd name="connsiteX102" fmla="*/ 227041 w 1203904"/>
                <a:gd name="connsiteY102" fmla="*/ 146965 h 1210683"/>
                <a:gd name="connsiteX103" fmla="*/ 228743 w 1203904"/>
                <a:gd name="connsiteY103" fmla="*/ 150730 h 1210683"/>
                <a:gd name="connsiteX104" fmla="*/ 226274 w 1203904"/>
                <a:gd name="connsiteY104" fmla="*/ 153671 h 1210683"/>
                <a:gd name="connsiteX105" fmla="*/ 232860 w 1203904"/>
                <a:gd name="connsiteY105" fmla="*/ 165583 h 1210683"/>
                <a:gd name="connsiteX106" fmla="*/ 229900 w 1203904"/>
                <a:gd name="connsiteY106" fmla="*/ 172414 h 1210683"/>
                <a:gd name="connsiteX107" fmla="*/ 225392 w 1203904"/>
                <a:gd name="connsiteY107" fmla="*/ 173349 h 1210683"/>
                <a:gd name="connsiteX108" fmla="*/ 217515 w 1203904"/>
                <a:gd name="connsiteY108" fmla="*/ 172670 h 1210683"/>
                <a:gd name="connsiteX109" fmla="*/ 209122 w 1203904"/>
                <a:gd name="connsiteY109" fmla="*/ 152534 h 1210683"/>
                <a:gd name="connsiteX110" fmla="*/ 210409 w 1203904"/>
                <a:gd name="connsiteY110" fmla="*/ 145293 h 1210683"/>
                <a:gd name="connsiteX111" fmla="*/ 210530 w 1203904"/>
                <a:gd name="connsiteY111" fmla="*/ 139368 h 1210683"/>
                <a:gd name="connsiteX112" fmla="*/ 205242 w 1203904"/>
                <a:gd name="connsiteY112" fmla="*/ 135762 h 1210683"/>
                <a:gd name="connsiteX113" fmla="*/ 198897 w 1203904"/>
                <a:gd name="connsiteY113" fmla="*/ 136370 h 1210683"/>
                <a:gd name="connsiteX114" fmla="*/ 188307 w 1203904"/>
                <a:gd name="connsiteY114" fmla="*/ 129028 h 1210683"/>
                <a:gd name="connsiteX115" fmla="*/ 184190 w 1203904"/>
                <a:gd name="connsiteY115" fmla="*/ 123079 h 1210683"/>
                <a:gd name="connsiteX116" fmla="*/ 178236 w 1203904"/>
                <a:gd name="connsiteY116" fmla="*/ 119102 h 1210683"/>
                <a:gd name="connsiteX117" fmla="*/ 176038 w 1203904"/>
                <a:gd name="connsiteY117" fmla="*/ 102832 h 1210683"/>
                <a:gd name="connsiteX118" fmla="*/ 176563 w 1203904"/>
                <a:gd name="connsiteY118" fmla="*/ 90018 h 1210683"/>
                <a:gd name="connsiteX119" fmla="*/ 168956 w 1203904"/>
                <a:gd name="connsiteY119" fmla="*/ 88982 h 1210683"/>
                <a:gd name="connsiteX120" fmla="*/ 162101 w 1203904"/>
                <a:gd name="connsiteY120" fmla="*/ 91725 h 1210683"/>
                <a:gd name="connsiteX121" fmla="*/ 161325 w 1203904"/>
                <a:gd name="connsiteY121" fmla="*/ 99602 h 1210683"/>
                <a:gd name="connsiteX122" fmla="*/ 155531 w 1203904"/>
                <a:gd name="connsiteY122" fmla="*/ 103454 h 1210683"/>
                <a:gd name="connsiteX123" fmla="*/ 149567 w 1203904"/>
                <a:gd name="connsiteY123" fmla="*/ 109523 h 1210683"/>
                <a:gd name="connsiteX124" fmla="*/ 142977 w 1203904"/>
                <a:gd name="connsiteY124" fmla="*/ 111606 h 1210683"/>
                <a:gd name="connsiteX125" fmla="*/ 147239 w 1203904"/>
                <a:gd name="connsiteY125" fmla="*/ 122308 h 1210683"/>
                <a:gd name="connsiteX126" fmla="*/ 147128 w 1203904"/>
                <a:gd name="connsiteY126" fmla="*/ 125943 h 1210683"/>
                <a:gd name="connsiteX127" fmla="*/ 144019 w 1203904"/>
                <a:gd name="connsiteY127" fmla="*/ 133188 h 1210683"/>
                <a:gd name="connsiteX128" fmla="*/ 137303 w 1203904"/>
                <a:gd name="connsiteY128" fmla="*/ 135999 h 1210683"/>
                <a:gd name="connsiteX129" fmla="*/ 134835 w 1203904"/>
                <a:gd name="connsiteY129" fmla="*/ 146720 h 1210683"/>
                <a:gd name="connsiteX130" fmla="*/ 124124 w 1203904"/>
                <a:gd name="connsiteY130" fmla="*/ 151111 h 1210683"/>
                <a:gd name="connsiteX131" fmla="*/ 118970 w 1203904"/>
                <a:gd name="connsiteY131" fmla="*/ 158646 h 1210683"/>
                <a:gd name="connsiteX132" fmla="*/ 106046 w 1203904"/>
                <a:gd name="connsiteY132" fmla="*/ 157195 h 1210683"/>
                <a:gd name="connsiteX133" fmla="*/ 100497 w 1203904"/>
                <a:gd name="connsiteY133" fmla="*/ 150851 h 1210683"/>
                <a:gd name="connsiteX134" fmla="*/ 93006 w 1203904"/>
                <a:gd name="connsiteY134" fmla="*/ 149699 h 1210683"/>
                <a:gd name="connsiteX135" fmla="*/ 90938 w 1203904"/>
                <a:gd name="connsiteY135" fmla="*/ 149207 h 1210683"/>
                <a:gd name="connsiteX136" fmla="*/ 78944 w 1203904"/>
                <a:gd name="connsiteY136" fmla="*/ 157195 h 1210683"/>
                <a:gd name="connsiteX137" fmla="*/ 67186 w 1203904"/>
                <a:gd name="connsiteY137" fmla="*/ 157952 h 1210683"/>
                <a:gd name="connsiteX138" fmla="*/ 60471 w 1203904"/>
                <a:gd name="connsiteY138" fmla="*/ 160941 h 1210683"/>
                <a:gd name="connsiteX139" fmla="*/ 50126 w 1203904"/>
                <a:gd name="connsiteY139" fmla="*/ 161977 h 1210683"/>
                <a:gd name="connsiteX140" fmla="*/ 44428 w 1203904"/>
                <a:gd name="connsiteY140" fmla="*/ 156081 h 1210683"/>
                <a:gd name="connsiteX141" fmla="*/ 40065 w 1203904"/>
                <a:gd name="connsiteY141" fmla="*/ 157826 h 1210683"/>
                <a:gd name="connsiteX142" fmla="*/ 36464 w 1203904"/>
                <a:gd name="connsiteY142" fmla="*/ 164783 h 1210683"/>
                <a:gd name="connsiteX143" fmla="*/ 30515 w 1203904"/>
                <a:gd name="connsiteY143" fmla="*/ 167121 h 1210683"/>
                <a:gd name="connsiteX144" fmla="*/ 27676 w 1203904"/>
                <a:gd name="connsiteY144" fmla="*/ 165429 h 1210683"/>
                <a:gd name="connsiteX145" fmla="*/ 21823 w 1203904"/>
                <a:gd name="connsiteY145" fmla="*/ 168519 h 1210683"/>
                <a:gd name="connsiteX146" fmla="*/ 20160 w 1203904"/>
                <a:gd name="connsiteY146" fmla="*/ 177056 h 1210683"/>
                <a:gd name="connsiteX147" fmla="*/ 21341 w 1203904"/>
                <a:gd name="connsiteY147" fmla="*/ 183540 h 1210683"/>
                <a:gd name="connsiteX148" fmla="*/ 28302 w 1203904"/>
                <a:gd name="connsiteY148" fmla="*/ 187508 h 1210683"/>
                <a:gd name="connsiteX149" fmla="*/ 30771 w 1203904"/>
                <a:gd name="connsiteY149" fmla="*/ 191249 h 1210683"/>
                <a:gd name="connsiteX150" fmla="*/ 36174 w 1203904"/>
                <a:gd name="connsiteY150" fmla="*/ 194377 h 1210683"/>
                <a:gd name="connsiteX151" fmla="*/ 46120 w 1203904"/>
                <a:gd name="connsiteY151" fmla="*/ 216562 h 1210683"/>
                <a:gd name="connsiteX152" fmla="*/ 47301 w 1203904"/>
                <a:gd name="connsiteY152" fmla="*/ 219811 h 1210683"/>
                <a:gd name="connsiteX153" fmla="*/ 52975 w 1203904"/>
                <a:gd name="connsiteY153" fmla="*/ 224333 h 1210683"/>
                <a:gd name="connsiteX154" fmla="*/ 51929 w 1203904"/>
                <a:gd name="connsiteY154" fmla="*/ 230822 h 1210683"/>
                <a:gd name="connsiteX155" fmla="*/ 46862 w 1203904"/>
                <a:gd name="connsiteY155" fmla="*/ 236708 h 1210683"/>
                <a:gd name="connsiteX156" fmla="*/ 48670 w 1203904"/>
                <a:gd name="connsiteY156" fmla="*/ 242550 h 1210683"/>
                <a:gd name="connsiteX157" fmla="*/ 46235 w 1203904"/>
                <a:gd name="connsiteY157" fmla="*/ 247820 h 1210683"/>
                <a:gd name="connsiteX158" fmla="*/ 36146 w 1203904"/>
                <a:gd name="connsiteY158" fmla="*/ 251088 h 1210683"/>
                <a:gd name="connsiteX159" fmla="*/ 31498 w 1203904"/>
                <a:gd name="connsiteY159" fmla="*/ 255345 h 1210683"/>
                <a:gd name="connsiteX160" fmla="*/ 27116 w 1203904"/>
                <a:gd name="connsiteY160" fmla="*/ 259601 h 1210683"/>
                <a:gd name="connsiteX161" fmla="*/ 21563 w 1203904"/>
                <a:gd name="connsiteY161" fmla="*/ 260257 h 1210683"/>
                <a:gd name="connsiteX162" fmla="*/ 0 w 1203904"/>
                <a:gd name="connsiteY162" fmla="*/ 263198 h 1210683"/>
                <a:gd name="connsiteX163" fmla="*/ 2584 w 1203904"/>
                <a:gd name="connsiteY163" fmla="*/ 268139 h 1210683"/>
                <a:gd name="connsiteX164" fmla="*/ 5038 w 1203904"/>
                <a:gd name="connsiteY164" fmla="*/ 274550 h 1210683"/>
                <a:gd name="connsiteX165" fmla="*/ 11092 w 1203904"/>
                <a:gd name="connsiteY165" fmla="*/ 279607 h 1210683"/>
                <a:gd name="connsiteX166" fmla="*/ 11473 w 1203904"/>
                <a:gd name="connsiteY166" fmla="*/ 287243 h 1210683"/>
                <a:gd name="connsiteX167" fmla="*/ 14968 w 1203904"/>
                <a:gd name="connsiteY167" fmla="*/ 293322 h 1210683"/>
                <a:gd name="connsiteX168" fmla="*/ 22975 w 1203904"/>
                <a:gd name="connsiteY168" fmla="*/ 298471 h 1210683"/>
                <a:gd name="connsiteX169" fmla="*/ 31629 w 1203904"/>
                <a:gd name="connsiteY169" fmla="*/ 299348 h 1210683"/>
                <a:gd name="connsiteX170" fmla="*/ 37047 w 1203904"/>
                <a:gd name="connsiteY170" fmla="*/ 311496 h 1210683"/>
                <a:gd name="connsiteX171" fmla="*/ 39636 w 1203904"/>
                <a:gd name="connsiteY171" fmla="*/ 317980 h 1210683"/>
                <a:gd name="connsiteX172" fmla="*/ 29349 w 1203904"/>
                <a:gd name="connsiteY172" fmla="*/ 325833 h 1210683"/>
                <a:gd name="connsiteX173" fmla="*/ 27488 w 1203904"/>
                <a:gd name="connsiteY173" fmla="*/ 332688 h 1210683"/>
                <a:gd name="connsiteX174" fmla="*/ 21307 w 1203904"/>
                <a:gd name="connsiteY174" fmla="*/ 338381 h 1210683"/>
                <a:gd name="connsiteX175" fmla="*/ 19495 w 1203904"/>
                <a:gd name="connsiteY175" fmla="*/ 344706 h 1210683"/>
                <a:gd name="connsiteX176" fmla="*/ 23631 w 1203904"/>
                <a:gd name="connsiteY176" fmla="*/ 350925 h 1210683"/>
                <a:gd name="connsiteX177" fmla="*/ 21693 w 1203904"/>
                <a:gd name="connsiteY177" fmla="*/ 357240 h 1210683"/>
                <a:gd name="connsiteX178" fmla="*/ 22595 w 1203904"/>
                <a:gd name="connsiteY178" fmla="*/ 365503 h 1210683"/>
                <a:gd name="connsiteX179" fmla="*/ 28924 w 1203904"/>
                <a:gd name="connsiteY179" fmla="*/ 373881 h 1210683"/>
                <a:gd name="connsiteX180" fmla="*/ 30857 w 1203904"/>
                <a:gd name="connsiteY180" fmla="*/ 380731 h 1210683"/>
                <a:gd name="connsiteX181" fmla="*/ 37577 w 1203904"/>
                <a:gd name="connsiteY181" fmla="*/ 381377 h 1210683"/>
                <a:gd name="connsiteX182" fmla="*/ 43897 w 1203904"/>
                <a:gd name="connsiteY182" fmla="*/ 386039 h 1210683"/>
                <a:gd name="connsiteX183" fmla="*/ 50887 w 1203904"/>
                <a:gd name="connsiteY183" fmla="*/ 389269 h 1210683"/>
                <a:gd name="connsiteX184" fmla="*/ 68690 w 1203904"/>
                <a:gd name="connsiteY184" fmla="*/ 397416 h 1210683"/>
                <a:gd name="connsiteX185" fmla="*/ 74760 w 1203904"/>
                <a:gd name="connsiteY185" fmla="*/ 397416 h 1210683"/>
                <a:gd name="connsiteX186" fmla="*/ 87033 w 1203904"/>
                <a:gd name="connsiteY186" fmla="*/ 393555 h 1210683"/>
                <a:gd name="connsiteX187" fmla="*/ 91044 w 1203904"/>
                <a:gd name="connsiteY187" fmla="*/ 394061 h 1210683"/>
                <a:gd name="connsiteX188" fmla="*/ 95566 w 1203904"/>
                <a:gd name="connsiteY188" fmla="*/ 391843 h 1210683"/>
                <a:gd name="connsiteX189" fmla="*/ 94659 w 1203904"/>
                <a:gd name="connsiteY189" fmla="*/ 398303 h 1210683"/>
                <a:gd name="connsiteX190" fmla="*/ 99948 w 1203904"/>
                <a:gd name="connsiteY190" fmla="*/ 405018 h 1210683"/>
                <a:gd name="connsiteX191" fmla="*/ 90658 w 1203904"/>
                <a:gd name="connsiteY191" fmla="*/ 419225 h 1210683"/>
                <a:gd name="connsiteX192" fmla="*/ 80453 w 1203904"/>
                <a:gd name="connsiteY192" fmla="*/ 443497 h 1210683"/>
                <a:gd name="connsiteX193" fmla="*/ 80795 w 1203904"/>
                <a:gd name="connsiteY193" fmla="*/ 443285 h 1210683"/>
                <a:gd name="connsiteX194" fmla="*/ 82622 w 1203904"/>
                <a:gd name="connsiteY194" fmla="*/ 443285 h 1210683"/>
                <a:gd name="connsiteX195" fmla="*/ 82728 w 1203904"/>
                <a:gd name="connsiteY195" fmla="*/ 443410 h 1210683"/>
                <a:gd name="connsiteX196" fmla="*/ 87949 w 1203904"/>
                <a:gd name="connsiteY196" fmla="*/ 442460 h 1210683"/>
                <a:gd name="connsiteX197" fmla="*/ 88802 w 1203904"/>
                <a:gd name="connsiteY197" fmla="*/ 442504 h 1210683"/>
                <a:gd name="connsiteX198" fmla="*/ 94144 w 1203904"/>
                <a:gd name="connsiteY198" fmla="*/ 444109 h 1210683"/>
                <a:gd name="connsiteX199" fmla="*/ 99475 w 1203904"/>
                <a:gd name="connsiteY199" fmla="*/ 441983 h 1210683"/>
                <a:gd name="connsiteX200" fmla="*/ 105993 w 1203904"/>
                <a:gd name="connsiteY200" fmla="*/ 439038 h 1210683"/>
                <a:gd name="connsiteX201" fmla="*/ 106364 w 1203904"/>
                <a:gd name="connsiteY201" fmla="*/ 438898 h 1210683"/>
                <a:gd name="connsiteX202" fmla="*/ 112289 w 1203904"/>
                <a:gd name="connsiteY202" fmla="*/ 437722 h 1210683"/>
                <a:gd name="connsiteX203" fmla="*/ 114641 w 1203904"/>
                <a:gd name="connsiteY203" fmla="*/ 437162 h 1210683"/>
                <a:gd name="connsiteX204" fmla="*/ 114704 w 1203904"/>
                <a:gd name="connsiteY204" fmla="*/ 437148 h 1210683"/>
                <a:gd name="connsiteX205" fmla="*/ 120310 w 1203904"/>
                <a:gd name="connsiteY205" fmla="*/ 436001 h 1210683"/>
                <a:gd name="connsiteX206" fmla="*/ 126582 w 1203904"/>
                <a:gd name="connsiteY206" fmla="*/ 432028 h 1210683"/>
                <a:gd name="connsiteX207" fmla="*/ 126934 w 1203904"/>
                <a:gd name="connsiteY207" fmla="*/ 431855 h 1210683"/>
                <a:gd name="connsiteX208" fmla="*/ 133105 w 1203904"/>
                <a:gd name="connsiteY208" fmla="*/ 429589 h 1210683"/>
                <a:gd name="connsiteX209" fmla="*/ 138783 w 1203904"/>
                <a:gd name="connsiteY209" fmla="*/ 423939 h 1210683"/>
                <a:gd name="connsiteX210" fmla="*/ 139251 w 1203904"/>
                <a:gd name="connsiteY210" fmla="*/ 423592 h 1210683"/>
                <a:gd name="connsiteX211" fmla="*/ 141695 w 1203904"/>
                <a:gd name="connsiteY211" fmla="*/ 422348 h 1210683"/>
                <a:gd name="connsiteX212" fmla="*/ 141213 w 1203904"/>
                <a:gd name="connsiteY212" fmla="*/ 417682 h 1210683"/>
                <a:gd name="connsiteX213" fmla="*/ 141820 w 1203904"/>
                <a:gd name="connsiteY213" fmla="*/ 416125 h 1210683"/>
                <a:gd name="connsiteX214" fmla="*/ 147755 w 1203904"/>
                <a:gd name="connsiteY214" fmla="*/ 410726 h 1210683"/>
                <a:gd name="connsiteX215" fmla="*/ 147755 w 1203904"/>
                <a:gd name="connsiteY215" fmla="*/ 408552 h 1210683"/>
                <a:gd name="connsiteX216" fmla="*/ 147861 w 1203904"/>
                <a:gd name="connsiteY216" fmla="*/ 407920 h 1210683"/>
                <a:gd name="connsiteX217" fmla="*/ 150242 w 1203904"/>
                <a:gd name="connsiteY217" fmla="*/ 401388 h 1210683"/>
                <a:gd name="connsiteX218" fmla="*/ 150729 w 1203904"/>
                <a:gd name="connsiteY218" fmla="*/ 400641 h 1210683"/>
                <a:gd name="connsiteX219" fmla="*/ 156683 w 1203904"/>
                <a:gd name="connsiteY219" fmla="*/ 395275 h 1210683"/>
                <a:gd name="connsiteX220" fmla="*/ 157232 w 1203904"/>
                <a:gd name="connsiteY220" fmla="*/ 394962 h 1210683"/>
                <a:gd name="connsiteX221" fmla="*/ 162766 w 1203904"/>
                <a:gd name="connsiteY221" fmla="*/ 392745 h 1210683"/>
                <a:gd name="connsiteX222" fmla="*/ 186933 w 1203904"/>
                <a:gd name="connsiteY222" fmla="*/ 366693 h 1210683"/>
                <a:gd name="connsiteX223" fmla="*/ 187453 w 1203904"/>
                <a:gd name="connsiteY223" fmla="*/ 365830 h 1210683"/>
                <a:gd name="connsiteX224" fmla="*/ 193320 w 1203904"/>
                <a:gd name="connsiteY224" fmla="*/ 362943 h 1210683"/>
                <a:gd name="connsiteX225" fmla="*/ 199775 w 1203904"/>
                <a:gd name="connsiteY225" fmla="*/ 358826 h 1210683"/>
                <a:gd name="connsiteX226" fmla="*/ 200951 w 1203904"/>
                <a:gd name="connsiteY226" fmla="*/ 358546 h 1210683"/>
                <a:gd name="connsiteX227" fmla="*/ 206881 w 1203904"/>
                <a:gd name="connsiteY227" fmla="*/ 359115 h 1210683"/>
                <a:gd name="connsiteX228" fmla="*/ 207329 w 1203904"/>
                <a:gd name="connsiteY228" fmla="*/ 359241 h 1210683"/>
                <a:gd name="connsiteX229" fmla="*/ 213875 w 1203904"/>
                <a:gd name="connsiteY229" fmla="*/ 361632 h 1210683"/>
                <a:gd name="connsiteX230" fmla="*/ 213914 w 1203904"/>
                <a:gd name="connsiteY230" fmla="*/ 361656 h 1210683"/>
                <a:gd name="connsiteX231" fmla="*/ 219723 w 1203904"/>
                <a:gd name="connsiteY231" fmla="*/ 363941 h 1210683"/>
                <a:gd name="connsiteX232" fmla="*/ 226082 w 1203904"/>
                <a:gd name="connsiteY232" fmla="*/ 365136 h 1210683"/>
                <a:gd name="connsiteX233" fmla="*/ 226120 w 1203904"/>
                <a:gd name="connsiteY233" fmla="*/ 365136 h 1210683"/>
                <a:gd name="connsiteX234" fmla="*/ 232050 w 1203904"/>
                <a:gd name="connsiteY234" fmla="*/ 366298 h 1210683"/>
                <a:gd name="connsiteX235" fmla="*/ 232565 w 1203904"/>
                <a:gd name="connsiteY235" fmla="*/ 366491 h 1210683"/>
                <a:gd name="connsiteX236" fmla="*/ 239131 w 1203904"/>
                <a:gd name="connsiteY236" fmla="*/ 370063 h 1210683"/>
                <a:gd name="connsiteX237" fmla="*/ 239512 w 1203904"/>
                <a:gd name="connsiteY237" fmla="*/ 370343 h 1210683"/>
                <a:gd name="connsiteX238" fmla="*/ 244424 w 1203904"/>
                <a:gd name="connsiteY238" fmla="*/ 375216 h 1210683"/>
                <a:gd name="connsiteX239" fmla="*/ 249100 w 1203904"/>
                <a:gd name="connsiteY239" fmla="*/ 371972 h 1210683"/>
                <a:gd name="connsiteX240" fmla="*/ 250903 w 1203904"/>
                <a:gd name="connsiteY240" fmla="*/ 371765 h 1210683"/>
                <a:gd name="connsiteX241" fmla="*/ 257465 w 1203904"/>
                <a:gd name="connsiteY241" fmla="*/ 374744 h 1210683"/>
                <a:gd name="connsiteX242" fmla="*/ 258192 w 1203904"/>
                <a:gd name="connsiteY242" fmla="*/ 375371 h 1210683"/>
                <a:gd name="connsiteX243" fmla="*/ 262145 w 1203904"/>
                <a:gd name="connsiteY243" fmla="*/ 381045 h 1210683"/>
                <a:gd name="connsiteX244" fmla="*/ 268378 w 1203904"/>
                <a:gd name="connsiteY244" fmla="*/ 384998 h 1210683"/>
                <a:gd name="connsiteX245" fmla="*/ 274226 w 1203904"/>
                <a:gd name="connsiteY245" fmla="*/ 388512 h 1210683"/>
                <a:gd name="connsiteX246" fmla="*/ 275354 w 1203904"/>
                <a:gd name="connsiteY246" fmla="*/ 389066 h 1210683"/>
                <a:gd name="connsiteX247" fmla="*/ 275672 w 1203904"/>
                <a:gd name="connsiteY247" fmla="*/ 389278 h 1210683"/>
                <a:gd name="connsiteX248" fmla="*/ 281553 w 1203904"/>
                <a:gd name="connsiteY248" fmla="*/ 393984 h 1210683"/>
                <a:gd name="connsiteX249" fmla="*/ 288013 w 1203904"/>
                <a:gd name="connsiteY249" fmla="*/ 398086 h 1210683"/>
                <a:gd name="connsiteX250" fmla="*/ 293918 w 1203904"/>
                <a:gd name="connsiteY250" fmla="*/ 401624 h 1210683"/>
                <a:gd name="connsiteX251" fmla="*/ 294164 w 1203904"/>
                <a:gd name="connsiteY251" fmla="*/ 401807 h 1210683"/>
                <a:gd name="connsiteX252" fmla="*/ 300350 w 1203904"/>
                <a:gd name="connsiteY252" fmla="*/ 406855 h 1210683"/>
                <a:gd name="connsiteX253" fmla="*/ 303169 w 1203904"/>
                <a:gd name="connsiteY253" fmla="*/ 407428 h 1210683"/>
                <a:gd name="connsiteX254" fmla="*/ 302524 w 1203904"/>
                <a:gd name="connsiteY254" fmla="*/ 404141 h 1210683"/>
                <a:gd name="connsiteX255" fmla="*/ 302914 w 1203904"/>
                <a:gd name="connsiteY255" fmla="*/ 402642 h 1210683"/>
                <a:gd name="connsiteX256" fmla="*/ 304302 w 1203904"/>
                <a:gd name="connsiteY256" fmla="*/ 401976 h 1210683"/>
                <a:gd name="connsiteX257" fmla="*/ 306081 w 1203904"/>
                <a:gd name="connsiteY257" fmla="*/ 401976 h 1210683"/>
                <a:gd name="connsiteX258" fmla="*/ 307306 w 1203904"/>
                <a:gd name="connsiteY258" fmla="*/ 402439 h 1210683"/>
                <a:gd name="connsiteX259" fmla="*/ 313062 w 1203904"/>
                <a:gd name="connsiteY259" fmla="*/ 407641 h 1210683"/>
                <a:gd name="connsiteX260" fmla="*/ 314922 w 1203904"/>
                <a:gd name="connsiteY260" fmla="*/ 408552 h 1210683"/>
                <a:gd name="connsiteX261" fmla="*/ 321122 w 1203904"/>
                <a:gd name="connsiteY261" fmla="*/ 409121 h 1210683"/>
                <a:gd name="connsiteX262" fmla="*/ 321773 w 1203904"/>
                <a:gd name="connsiteY262" fmla="*/ 409333 h 1210683"/>
                <a:gd name="connsiteX263" fmla="*/ 324178 w 1203904"/>
                <a:gd name="connsiteY263" fmla="*/ 410480 h 1210683"/>
                <a:gd name="connsiteX264" fmla="*/ 325345 w 1203904"/>
                <a:gd name="connsiteY264" fmla="*/ 411092 h 1210683"/>
                <a:gd name="connsiteX265" fmla="*/ 325518 w 1203904"/>
                <a:gd name="connsiteY265" fmla="*/ 411193 h 1210683"/>
                <a:gd name="connsiteX266" fmla="*/ 332070 w 1203904"/>
                <a:gd name="connsiteY266" fmla="*/ 415315 h 1210683"/>
                <a:gd name="connsiteX267" fmla="*/ 332508 w 1203904"/>
                <a:gd name="connsiteY267" fmla="*/ 415725 h 1210683"/>
                <a:gd name="connsiteX268" fmla="*/ 349550 w 1203904"/>
                <a:gd name="connsiteY268" fmla="*/ 454792 h 1210683"/>
                <a:gd name="connsiteX269" fmla="*/ 370119 w 1203904"/>
                <a:gd name="connsiteY269" fmla="*/ 509970 h 1210683"/>
                <a:gd name="connsiteX270" fmla="*/ 376348 w 1203904"/>
                <a:gd name="connsiteY270" fmla="*/ 529952 h 1210683"/>
                <a:gd name="connsiteX271" fmla="*/ 376348 w 1203904"/>
                <a:gd name="connsiteY271" fmla="*/ 542466 h 1210683"/>
                <a:gd name="connsiteX272" fmla="*/ 376309 w 1203904"/>
                <a:gd name="connsiteY272" fmla="*/ 542818 h 1210683"/>
                <a:gd name="connsiteX273" fmla="*/ 375114 w 1203904"/>
                <a:gd name="connsiteY273" fmla="*/ 548743 h 1210683"/>
                <a:gd name="connsiteX274" fmla="*/ 374810 w 1203904"/>
                <a:gd name="connsiteY274" fmla="*/ 549432 h 1210683"/>
                <a:gd name="connsiteX275" fmla="*/ 371590 w 1203904"/>
                <a:gd name="connsiteY275" fmla="*/ 554041 h 1210683"/>
                <a:gd name="connsiteX276" fmla="*/ 375610 w 1203904"/>
                <a:gd name="connsiteY276" fmla="*/ 557724 h 1210683"/>
                <a:gd name="connsiteX277" fmla="*/ 381207 w 1203904"/>
                <a:gd name="connsiteY277" fmla="*/ 556152 h 1210683"/>
                <a:gd name="connsiteX278" fmla="*/ 382017 w 1203904"/>
                <a:gd name="connsiteY278" fmla="*/ 556152 h 1210683"/>
                <a:gd name="connsiteX279" fmla="*/ 387971 w 1203904"/>
                <a:gd name="connsiteY279" fmla="*/ 557309 h 1210683"/>
                <a:gd name="connsiteX280" fmla="*/ 388303 w 1203904"/>
                <a:gd name="connsiteY280" fmla="*/ 557410 h 1210683"/>
                <a:gd name="connsiteX281" fmla="*/ 394252 w 1203904"/>
                <a:gd name="connsiteY281" fmla="*/ 559792 h 1210683"/>
                <a:gd name="connsiteX282" fmla="*/ 394859 w 1203904"/>
                <a:gd name="connsiteY282" fmla="*/ 560187 h 1210683"/>
                <a:gd name="connsiteX283" fmla="*/ 399589 w 1203904"/>
                <a:gd name="connsiteY283" fmla="*/ 564945 h 1210683"/>
                <a:gd name="connsiteX284" fmla="*/ 400143 w 1203904"/>
                <a:gd name="connsiteY284" fmla="*/ 566435 h 1210683"/>
                <a:gd name="connsiteX285" fmla="*/ 399550 w 1203904"/>
                <a:gd name="connsiteY285" fmla="*/ 572957 h 1210683"/>
                <a:gd name="connsiteX286" fmla="*/ 399454 w 1203904"/>
                <a:gd name="connsiteY286" fmla="*/ 573415 h 1210683"/>
                <a:gd name="connsiteX287" fmla="*/ 397718 w 1203904"/>
                <a:gd name="connsiteY287" fmla="*/ 578159 h 1210683"/>
                <a:gd name="connsiteX288" fmla="*/ 415005 w 1203904"/>
                <a:gd name="connsiteY288" fmla="*/ 584556 h 1210683"/>
                <a:gd name="connsiteX289" fmla="*/ 420983 w 1203904"/>
                <a:gd name="connsiteY289" fmla="*/ 589882 h 1210683"/>
                <a:gd name="connsiteX290" fmla="*/ 421441 w 1203904"/>
                <a:gd name="connsiteY290" fmla="*/ 590587 h 1210683"/>
                <a:gd name="connsiteX291" fmla="*/ 423581 w 1203904"/>
                <a:gd name="connsiteY291" fmla="*/ 595885 h 1210683"/>
                <a:gd name="connsiteX292" fmla="*/ 424131 w 1203904"/>
                <a:gd name="connsiteY292" fmla="*/ 596198 h 1210683"/>
                <a:gd name="connsiteX293" fmla="*/ 424526 w 1203904"/>
                <a:gd name="connsiteY293" fmla="*/ 596448 h 1210683"/>
                <a:gd name="connsiteX294" fmla="*/ 430494 w 1203904"/>
                <a:gd name="connsiteY294" fmla="*/ 601770 h 1210683"/>
                <a:gd name="connsiteX295" fmla="*/ 430836 w 1203904"/>
                <a:gd name="connsiteY295" fmla="*/ 602204 h 1210683"/>
                <a:gd name="connsiteX296" fmla="*/ 434245 w 1203904"/>
                <a:gd name="connsiteY296" fmla="*/ 607888 h 1210683"/>
                <a:gd name="connsiteX297" fmla="*/ 439928 w 1203904"/>
                <a:gd name="connsiteY297" fmla="*/ 612463 h 1210683"/>
                <a:gd name="connsiteX298" fmla="*/ 440574 w 1203904"/>
                <a:gd name="connsiteY298" fmla="*/ 613499 h 1210683"/>
                <a:gd name="connsiteX299" fmla="*/ 441775 w 1203904"/>
                <a:gd name="connsiteY299" fmla="*/ 619433 h 1210683"/>
                <a:gd name="connsiteX300" fmla="*/ 441582 w 1203904"/>
                <a:gd name="connsiteY300" fmla="*/ 620658 h 1210683"/>
                <a:gd name="connsiteX301" fmla="*/ 437995 w 1203904"/>
                <a:gd name="connsiteY301" fmla="*/ 627238 h 1210683"/>
                <a:gd name="connsiteX302" fmla="*/ 437026 w 1203904"/>
                <a:gd name="connsiteY302" fmla="*/ 628092 h 1210683"/>
                <a:gd name="connsiteX303" fmla="*/ 433165 w 1203904"/>
                <a:gd name="connsiteY303" fmla="*/ 629470 h 1210683"/>
                <a:gd name="connsiteX304" fmla="*/ 436154 w 1203904"/>
                <a:gd name="connsiteY304" fmla="*/ 632425 h 1210683"/>
                <a:gd name="connsiteX305" fmla="*/ 441485 w 1203904"/>
                <a:gd name="connsiteY305" fmla="*/ 629533 h 1210683"/>
                <a:gd name="connsiteX306" fmla="*/ 441827 w 1203904"/>
                <a:gd name="connsiteY306" fmla="*/ 629350 h 1210683"/>
                <a:gd name="connsiteX307" fmla="*/ 447786 w 1203904"/>
                <a:gd name="connsiteY307" fmla="*/ 627580 h 1210683"/>
                <a:gd name="connsiteX308" fmla="*/ 448842 w 1203904"/>
                <a:gd name="connsiteY308" fmla="*/ 627580 h 1210683"/>
                <a:gd name="connsiteX309" fmla="*/ 454694 w 1203904"/>
                <a:gd name="connsiteY309" fmla="*/ 629326 h 1210683"/>
                <a:gd name="connsiteX310" fmla="*/ 473673 w 1203904"/>
                <a:gd name="connsiteY310" fmla="*/ 635506 h 1210683"/>
                <a:gd name="connsiteX311" fmla="*/ 501980 w 1203904"/>
                <a:gd name="connsiteY311" fmla="*/ 670736 h 1210683"/>
                <a:gd name="connsiteX312" fmla="*/ 502795 w 1203904"/>
                <a:gd name="connsiteY312" fmla="*/ 671237 h 1210683"/>
                <a:gd name="connsiteX313" fmla="*/ 505471 w 1203904"/>
                <a:gd name="connsiteY313" fmla="*/ 675460 h 1210683"/>
                <a:gd name="connsiteX314" fmla="*/ 510643 w 1203904"/>
                <a:gd name="connsiteY314" fmla="*/ 677504 h 1210683"/>
                <a:gd name="connsiteX315" fmla="*/ 516341 w 1203904"/>
                <a:gd name="connsiteY315" fmla="*/ 678102 h 1210683"/>
                <a:gd name="connsiteX316" fmla="*/ 517296 w 1203904"/>
                <a:gd name="connsiteY316" fmla="*/ 678487 h 1210683"/>
                <a:gd name="connsiteX317" fmla="*/ 523201 w 1203904"/>
                <a:gd name="connsiteY317" fmla="*/ 683231 h 1210683"/>
                <a:gd name="connsiteX318" fmla="*/ 529627 w 1203904"/>
                <a:gd name="connsiteY318" fmla="*/ 687863 h 1210683"/>
                <a:gd name="connsiteX319" fmla="*/ 536063 w 1203904"/>
                <a:gd name="connsiteY319" fmla="*/ 691373 h 1210683"/>
                <a:gd name="connsiteX320" fmla="*/ 536559 w 1203904"/>
                <a:gd name="connsiteY320" fmla="*/ 691773 h 1210683"/>
                <a:gd name="connsiteX321" fmla="*/ 541905 w 1203904"/>
                <a:gd name="connsiteY321" fmla="*/ 697731 h 1210683"/>
                <a:gd name="connsiteX322" fmla="*/ 542219 w 1203904"/>
                <a:gd name="connsiteY322" fmla="*/ 698204 h 1210683"/>
                <a:gd name="connsiteX323" fmla="*/ 545198 w 1203904"/>
                <a:gd name="connsiteY323" fmla="*/ 704717 h 1210683"/>
                <a:gd name="connsiteX324" fmla="*/ 545203 w 1203904"/>
                <a:gd name="connsiteY324" fmla="*/ 704823 h 1210683"/>
                <a:gd name="connsiteX325" fmla="*/ 547589 w 1203904"/>
                <a:gd name="connsiteY325" fmla="*/ 710762 h 1210683"/>
                <a:gd name="connsiteX326" fmla="*/ 547671 w 1203904"/>
                <a:gd name="connsiteY326" fmla="*/ 710969 h 1210683"/>
                <a:gd name="connsiteX327" fmla="*/ 549175 w 1203904"/>
                <a:gd name="connsiteY327" fmla="*/ 716479 h 1210683"/>
                <a:gd name="connsiteX328" fmla="*/ 552887 w 1203904"/>
                <a:gd name="connsiteY328" fmla="*/ 717405 h 1210683"/>
                <a:gd name="connsiteX329" fmla="*/ 553388 w 1203904"/>
                <a:gd name="connsiteY329" fmla="*/ 717655 h 1210683"/>
                <a:gd name="connsiteX330" fmla="*/ 559332 w 1203904"/>
                <a:gd name="connsiteY330" fmla="*/ 721204 h 1210683"/>
                <a:gd name="connsiteX331" fmla="*/ 559569 w 1203904"/>
                <a:gd name="connsiteY331" fmla="*/ 721348 h 1210683"/>
                <a:gd name="connsiteX332" fmla="*/ 566096 w 1203904"/>
                <a:gd name="connsiteY332" fmla="*/ 726675 h 1210683"/>
                <a:gd name="connsiteX333" fmla="*/ 572054 w 1203904"/>
                <a:gd name="connsiteY333" fmla="*/ 731438 h 1210683"/>
                <a:gd name="connsiteX334" fmla="*/ 572170 w 1203904"/>
                <a:gd name="connsiteY334" fmla="*/ 731568 h 1210683"/>
                <a:gd name="connsiteX335" fmla="*/ 573399 w 1203904"/>
                <a:gd name="connsiteY335" fmla="*/ 732778 h 1210683"/>
                <a:gd name="connsiteX336" fmla="*/ 573457 w 1203904"/>
                <a:gd name="connsiteY336" fmla="*/ 732845 h 1210683"/>
                <a:gd name="connsiteX337" fmla="*/ 579387 w 1203904"/>
                <a:gd name="connsiteY337" fmla="*/ 739373 h 1210683"/>
                <a:gd name="connsiteX338" fmla="*/ 579464 w 1203904"/>
                <a:gd name="connsiteY338" fmla="*/ 739493 h 1210683"/>
                <a:gd name="connsiteX339" fmla="*/ 584226 w 1203904"/>
                <a:gd name="connsiteY339" fmla="*/ 745418 h 1210683"/>
                <a:gd name="connsiteX340" fmla="*/ 584376 w 1203904"/>
                <a:gd name="connsiteY340" fmla="*/ 745616 h 1210683"/>
                <a:gd name="connsiteX341" fmla="*/ 587514 w 1203904"/>
                <a:gd name="connsiteY341" fmla="*/ 750894 h 1210683"/>
                <a:gd name="connsiteX342" fmla="*/ 592701 w 1203904"/>
                <a:gd name="connsiteY342" fmla="*/ 751902 h 1210683"/>
                <a:gd name="connsiteX343" fmla="*/ 593024 w 1203904"/>
                <a:gd name="connsiteY343" fmla="*/ 752037 h 1210683"/>
                <a:gd name="connsiteX344" fmla="*/ 598949 w 1203904"/>
                <a:gd name="connsiteY344" fmla="*/ 754413 h 1210683"/>
                <a:gd name="connsiteX345" fmla="*/ 599031 w 1203904"/>
                <a:gd name="connsiteY345" fmla="*/ 754413 h 1210683"/>
                <a:gd name="connsiteX346" fmla="*/ 605495 w 1203904"/>
                <a:gd name="connsiteY346" fmla="*/ 757369 h 1210683"/>
                <a:gd name="connsiteX347" fmla="*/ 606908 w 1203904"/>
                <a:gd name="connsiteY347" fmla="*/ 757831 h 1210683"/>
                <a:gd name="connsiteX348" fmla="*/ 612577 w 1203904"/>
                <a:gd name="connsiteY348" fmla="*/ 757831 h 1210683"/>
                <a:gd name="connsiteX349" fmla="*/ 613430 w 1203904"/>
                <a:gd name="connsiteY349" fmla="*/ 758058 h 1210683"/>
                <a:gd name="connsiteX350" fmla="*/ 619982 w 1203904"/>
                <a:gd name="connsiteY350" fmla="*/ 761601 h 1210683"/>
                <a:gd name="connsiteX351" fmla="*/ 620464 w 1203904"/>
                <a:gd name="connsiteY351" fmla="*/ 761987 h 1210683"/>
                <a:gd name="connsiteX352" fmla="*/ 625800 w 1203904"/>
                <a:gd name="connsiteY352" fmla="*/ 767950 h 1210683"/>
                <a:gd name="connsiteX353" fmla="*/ 625887 w 1203904"/>
                <a:gd name="connsiteY353" fmla="*/ 768051 h 1210683"/>
                <a:gd name="connsiteX354" fmla="*/ 630645 w 1203904"/>
                <a:gd name="connsiteY354" fmla="*/ 774019 h 1210683"/>
                <a:gd name="connsiteX355" fmla="*/ 630915 w 1203904"/>
                <a:gd name="connsiteY355" fmla="*/ 774419 h 1210683"/>
                <a:gd name="connsiteX356" fmla="*/ 633017 w 1203904"/>
                <a:gd name="connsiteY356" fmla="*/ 779727 h 1210683"/>
                <a:gd name="connsiteX357" fmla="*/ 637250 w 1203904"/>
                <a:gd name="connsiteY357" fmla="*/ 781867 h 1210683"/>
                <a:gd name="connsiteX358" fmla="*/ 642880 w 1203904"/>
                <a:gd name="connsiteY358" fmla="*/ 776724 h 1210683"/>
                <a:gd name="connsiteX359" fmla="*/ 643275 w 1203904"/>
                <a:gd name="connsiteY359" fmla="*/ 776473 h 1210683"/>
                <a:gd name="connsiteX360" fmla="*/ 649224 w 1203904"/>
                <a:gd name="connsiteY360" fmla="*/ 773484 h 1210683"/>
                <a:gd name="connsiteX361" fmla="*/ 649374 w 1203904"/>
                <a:gd name="connsiteY361" fmla="*/ 773450 h 1210683"/>
                <a:gd name="connsiteX362" fmla="*/ 655327 w 1203904"/>
                <a:gd name="connsiteY362" fmla="*/ 771035 h 1210683"/>
                <a:gd name="connsiteX363" fmla="*/ 656180 w 1203904"/>
                <a:gd name="connsiteY363" fmla="*/ 770905 h 1210683"/>
                <a:gd name="connsiteX364" fmla="*/ 662153 w 1203904"/>
                <a:gd name="connsiteY364" fmla="*/ 771512 h 1210683"/>
                <a:gd name="connsiteX365" fmla="*/ 684974 w 1203904"/>
                <a:gd name="connsiteY365" fmla="*/ 781077 h 1210683"/>
                <a:gd name="connsiteX366" fmla="*/ 689024 w 1203904"/>
                <a:gd name="connsiteY366" fmla="*/ 775253 h 1210683"/>
                <a:gd name="connsiteX367" fmla="*/ 690827 w 1203904"/>
                <a:gd name="connsiteY367" fmla="*/ 774516 h 1210683"/>
                <a:gd name="connsiteX368" fmla="*/ 697369 w 1203904"/>
                <a:gd name="connsiteY368" fmla="*/ 775721 h 1210683"/>
                <a:gd name="connsiteX369" fmla="*/ 697407 w 1203904"/>
                <a:gd name="connsiteY369" fmla="*/ 775721 h 1210683"/>
                <a:gd name="connsiteX370" fmla="*/ 703370 w 1203904"/>
                <a:gd name="connsiteY370" fmla="*/ 776883 h 1210683"/>
                <a:gd name="connsiteX371" fmla="*/ 718112 w 1203904"/>
                <a:gd name="connsiteY371" fmla="*/ 791836 h 1210683"/>
                <a:gd name="connsiteX372" fmla="*/ 718170 w 1203904"/>
                <a:gd name="connsiteY372" fmla="*/ 791938 h 1210683"/>
                <a:gd name="connsiteX373" fmla="*/ 722354 w 1203904"/>
                <a:gd name="connsiteY373" fmla="*/ 797882 h 1210683"/>
                <a:gd name="connsiteX374" fmla="*/ 722595 w 1203904"/>
                <a:gd name="connsiteY374" fmla="*/ 798287 h 1210683"/>
                <a:gd name="connsiteX375" fmla="*/ 724803 w 1203904"/>
                <a:gd name="connsiteY375" fmla="*/ 804390 h 1210683"/>
                <a:gd name="connsiteX376" fmla="*/ 730405 w 1203904"/>
                <a:gd name="connsiteY376" fmla="*/ 809485 h 1210683"/>
                <a:gd name="connsiteX377" fmla="*/ 730805 w 1203904"/>
                <a:gd name="connsiteY377" fmla="*/ 809958 h 1210683"/>
                <a:gd name="connsiteX378" fmla="*/ 734367 w 1203904"/>
                <a:gd name="connsiteY378" fmla="*/ 816495 h 1210683"/>
                <a:gd name="connsiteX379" fmla="*/ 734401 w 1203904"/>
                <a:gd name="connsiteY379" fmla="*/ 816562 h 1210683"/>
                <a:gd name="connsiteX380" fmla="*/ 736146 w 1203904"/>
                <a:gd name="connsiteY380" fmla="*/ 820018 h 1210683"/>
                <a:gd name="connsiteX381" fmla="*/ 738441 w 1203904"/>
                <a:gd name="connsiteY381" fmla="*/ 823489 h 1210683"/>
                <a:gd name="connsiteX382" fmla="*/ 738721 w 1203904"/>
                <a:gd name="connsiteY382" fmla="*/ 824131 h 1210683"/>
                <a:gd name="connsiteX383" fmla="*/ 739921 w 1203904"/>
                <a:gd name="connsiteY383" fmla="*/ 830118 h 1210683"/>
                <a:gd name="connsiteX384" fmla="*/ 739940 w 1203904"/>
                <a:gd name="connsiteY384" fmla="*/ 830282 h 1210683"/>
                <a:gd name="connsiteX385" fmla="*/ 740229 w 1203904"/>
                <a:gd name="connsiteY385" fmla="*/ 833295 h 1210683"/>
                <a:gd name="connsiteX386" fmla="*/ 744293 w 1203904"/>
                <a:gd name="connsiteY386" fmla="*/ 830745 h 1210683"/>
                <a:gd name="connsiteX387" fmla="*/ 746077 w 1203904"/>
                <a:gd name="connsiteY387" fmla="*/ 830629 h 1210683"/>
                <a:gd name="connsiteX388" fmla="*/ 751008 w 1203904"/>
                <a:gd name="connsiteY388" fmla="*/ 833083 h 1210683"/>
                <a:gd name="connsiteX389" fmla="*/ 756629 w 1203904"/>
                <a:gd name="connsiteY389" fmla="*/ 828455 h 1210683"/>
                <a:gd name="connsiteX390" fmla="*/ 757767 w 1203904"/>
                <a:gd name="connsiteY390" fmla="*/ 828059 h 1210683"/>
                <a:gd name="connsiteX391" fmla="*/ 764323 w 1203904"/>
                <a:gd name="connsiteY391" fmla="*/ 828059 h 1210683"/>
                <a:gd name="connsiteX392" fmla="*/ 765476 w 1203904"/>
                <a:gd name="connsiteY392" fmla="*/ 828455 h 1210683"/>
                <a:gd name="connsiteX393" fmla="*/ 771371 w 1203904"/>
                <a:gd name="connsiteY393" fmla="*/ 833150 h 1210683"/>
                <a:gd name="connsiteX394" fmla="*/ 777228 w 1203904"/>
                <a:gd name="connsiteY394" fmla="*/ 837281 h 1210683"/>
                <a:gd name="connsiteX395" fmla="*/ 783765 w 1203904"/>
                <a:gd name="connsiteY395" fmla="*/ 841418 h 1210683"/>
                <a:gd name="connsiteX396" fmla="*/ 784329 w 1203904"/>
                <a:gd name="connsiteY396" fmla="*/ 843876 h 1210683"/>
                <a:gd name="connsiteX397" fmla="*/ 780767 w 1203904"/>
                <a:gd name="connsiteY397" fmla="*/ 849868 h 1210683"/>
                <a:gd name="connsiteX398" fmla="*/ 780680 w 1203904"/>
                <a:gd name="connsiteY398" fmla="*/ 849979 h 1210683"/>
                <a:gd name="connsiteX399" fmla="*/ 776187 w 1203904"/>
                <a:gd name="connsiteY399" fmla="*/ 856135 h 1210683"/>
                <a:gd name="connsiteX400" fmla="*/ 776009 w 1203904"/>
                <a:gd name="connsiteY400" fmla="*/ 857861 h 1210683"/>
                <a:gd name="connsiteX401" fmla="*/ 779417 w 1203904"/>
                <a:gd name="connsiteY401" fmla="*/ 855706 h 1210683"/>
                <a:gd name="connsiteX402" fmla="*/ 780010 w 1203904"/>
                <a:gd name="connsiteY402" fmla="*/ 855494 h 1210683"/>
                <a:gd name="connsiteX403" fmla="*/ 785356 w 1203904"/>
                <a:gd name="connsiteY403" fmla="*/ 854265 h 1210683"/>
                <a:gd name="connsiteX404" fmla="*/ 786108 w 1203904"/>
                <a:gd name="connsiteY404" fmla="*/ 854265 h 1210683"/>
                <a:gd name="connsiteX405" fmla="*/ 791348 w 1203904"/>
                <a:gd name="connsiteY405" fmla="*/ 855325 h 1210683"/>
                <a:gd name="connsiteX406" fmla="*/ 797268 w 1203904"/>
                <a:gd name="connsiteY406" fmla="*/ 851556 h 1210683"/>
                <a:gd name="connsiteX407" fmla="*/ 798261 w 1203904"/>
                <a:gd name="connsiteY407" fmla="*/ 851261 h 1210683"/>
                <a:gd name="connsiteX408" fmla="*/ 803492 w 1203904"/>
                <a:gd name="connsiteY408" fmla="*/ 851261 h 1210683"/>
                <a:gd name="connsiteX409" fmla="*/ 808934 w 1203904"/>
                <a:gd name="connsiteY409" fmla="*/ 846373 h 1210683"/>
                <a:gd name="connsiteX410" fmla="*/ 810785 w 1203904"/>
                <a:gd name="connsiteY410" fmla="*/ 846007 h 1210683"/>
                <a:gd name="connsiteX411" fmla="*/ 817308 w 1203904"/>
                <a:gd name="connsiteY411" fmla="*/ 848389 h 1210683"/>
                <a:gd name="connsiteX412" fmla="*/ 817935 w 1203904"/>
                <a:gd name="connsiteY412" fmla="*/ 848740 h 1210683"/>
                <a:gd name="connsiteX413" fmla="*/ 824471 w 1203904"/>
                <a:gd name="connsiteY413" fmla="*/ 854703 h 1210683"/>
                <a:gd name="connsiteX414" fmla="*/ 824650 w 1203904"/>
                <a:gd name="connsiteY414" fmla="*/ 854916 h 1210683"/>
                <a:gd name="connsiteX415" fmla="*/ 829408 w 1203904"/>
                <a:gd name="connsiteY415" fmla="*/ 860840 h 1210683"/>
                <a:gd name="connsiteX416" fmla="*/ 829649 w 1203904"/>
                <a:gd name="connsiteY416" fmla="*/ 861274 h 1210683"/>
                <a:gd name="connsiteX417" fmla="*/ 832623 w 1203904"/>
                <a:gd name="connsiteY417" fmla="*/ 867767 h 1210683"/>
                <a:gd name="connsiteX418" fmla="*/ 835549 w 1203904"/>
                <a:gd name="connsiteY418" fmla="*/ 873615 h 1210683"/>
                <a:gd name="connsiteX419" fmla="*/ 839088 w 1203904"/>
                <a:gd name="connsiteY419" fmla="*/ 879511 h 1210683"/>
                <a:gd name="connsiteX420" fmla="*/ 839266 w 1203904"/>
                <a:gd name="connsiteY420" fmla="*/ 879916 h 1210683"/>
                <a:gd name="connsiteX421" fmla="*/ 841064 w 1203904"/>
                <a:gd name="connsiteY421" fmla="*/ 885869 h 1210683"/>
                <a:gd name="connsiteX422" fmla="*/ 840717 w 1203904"/>
                <a:gd name="connsiteY422" fmla="*/ 887566 h 1210683"/>
                <a:gd name="connsiteX423" fmla="*/ 835839 w 1203904"/>
                <a:gd name="connsiteY423" fmla="*/ 893520 h 1210683"/>
                <a:gd name="connsiteX424" fmla="*/ 836340 w 1203904"/>
                <a:gd name="connsiteY424" fmla="*/ 899233 h 1210683"/>
                <a:gd name="connsiteX425" fmla="*/ 837362 w 1203904"/>
                <a:gd name="connsiteY425" fmla="*/ 904294 h 1210683"/>
                <a:gd name="connsiteX426" fmla="*/ 842641 w 1203904"/>
                <a:gd name="connsiteY426" fmla="*/ 907456 h 1210683"/>
                <a:gd name="connsiteX427" fmla="*/ 843161 w 1203904"/>
                <a:gd name="connsiteY427" fmla="*/ 907953 h 1210683"/>
                <a:gd name="connsiteX428" fmla="*/ 845576 w 1203904"/>
                <a:gd name="connsiteY428" fmla="*/ 911390 h 1210683"/>
                <a:gd name="connsiteX429" fmla="*/ 850604 w 1203904"/>
                <a:gd name="connsiteY429" fmla="*/ 911390 h 1210683"/>
                <a:gd name="connsiteX430" fmla="*/ 850942 w 1203904"/>
                <a:gd name="connsiteY430" fmla="*/ 911400 h 1210683"/>
                <a:gd name="connsiteX431" fmla="*/ 857493 w 1203904"/>
                <a:gd name="connsiteY431" fmla="*/ 912576 h 1210683"/>
                <a:gd name="connsiteX432" fmla="*/ 858298 w 1203904"/>
                <a:gd name="connsiteY432" fmla="*/ 912961 h 1210683"/>
                <a:gd name="connsiteX433" fmla="*/ 864266 w 1203904"/>
                <a:gd name="connsiteY433" fmla="*/ 917720 h 1210683"/>
                <a:gd name="connsiteX434" fmla="*/ 870205 w 1203904"/>
                <a:gd name="connsiteY434" fmla="*/ 922473 h 1210683"/>
                <a:gd name="connsiteX435" fmla="*/ 870422 w 1203904"/>
                <a:gd name="connsiteY435" fmla="*/ 922656 h 1210683"/>
                <a:gd name="connsiteX436" fmla="*/ 875590 w 1203904"/>
                <a:gd name="connsiteY436" fmla="*/ 928432 h 1210683"/>
                <a:gd name="connsiteX437" fmla="*/ 881471 w 1203904"/>
                <a:gd name="connsiteY437" fmla="*/ 932211 h 1210683"/>
                <a:gd name="connsiteX438" fmla="*/ 882922 w 1203904"/>
                <a:gd name="connsiteY438" fmla="*/ 932211 h 1210683"/>
                <a:gd name="connsiteX439" fmla="*/ 883708 w 1203904"/>
                <a:gd name="connsiteY439" fmla="*/ 931782 h 1210683"/>
                <a:gd name="connsiteX440" fmla="*/ 884533 w 1203904"/>
                <a:gd name="connsiteY440" fmla="*/ 931579 h 1210683"/>
                <a:gd name="connsiteX441" fmla="*/ 887189 w 1203904"/>
                <a:gd name="connsiteY441" fmla="*/ 931579 h 1210683"/>
                <a:gd name="connsiteX442" fmla="*/ 890231 w 1203904"/>
                <a:gd name="connsiteY442" fmla="*/ 927564 h 1210683"/>
                <a:gd name="connsiteX443" fmla="*/ 890404 w 1203904"/>
                <a:gd name="connsiteY443" fmla="*/ 927381 h 1210683"/>
                <a:gd name="connsiteX444" fmla="*/ 896338 w 1203904"/>
                <a:gd name="connsiteY444" fmla="*/ 921408 h 1210683"/>
                <a:gd name="connsiteX445" fmla="*/ 897442 w 1203904"/>
                <a:gd name="connsiteY445" fmla="*/ 920887 h 1210683"/>
                <a:gd name="connsiteX446" fmla="*/ 903391 w 1203904"/>
                <a:gd name="connsiteY446" fmla="*/ 920275 h 1210683"/>
                <a:gd name="connsiteX447" fmla="*/ 904428 w 1203904"/>
                <a:gd name="connsiteY447" fmla="*/ 920511 h 1210683"/>
                <a:gd name="connsiteX448" fmla="*/ 910984 w 1203904"/>
                <a:gd name="connsiteY448" fmla="*/ 924093 h 1210683"/>
                <a:gd name="connsiteX449" fmla="*/ 911476 w 1203904"/>
                <a:gd name="connsiteY449" fmla="*/ 924474 h 1210683"/>
                <a:gd name="connsiteX450" fmla="*/ 916209 w 1203904"/>
                <a:gd name="connsiteY450" fmla="*/ 929776 h 1210683"/>
                <a:gd name="connsiteX451" fmla="*/ 919767 w 1203904"/>
                <a:gd name="connsiteY451" fmla="*/ 933305 h 1210683"/>
                <a:gd name="connsiteX452" fmla="*/ 920027 w 1203904"/>
                <a:gd name="connsiteY452" fmla="*/ 933667 h 1210683"/>
                <a:gd name="connsiteX453" fmla="*/ 923469 w 1203904"/>
                <a:gd name="connsiteY453" fmla="*/ 939432 h 1210683"/>
                <a:gd name="connsiteX454" fmla="*/ 924487 w 1203904"/>
                <a:gd name="connsiteY454" fmla="*/ 940440 h 1210683"/>
                <a:gd name="connsiteX455" fmla="*/ 924800 w 1203904"/>
                <a:gd name="connsiteY455" fmla="*/ 940893 h 1210683"/>
                <a:gd name="connsiteX456" fmla="*/ 928367 w 1203904"/>
                <a:gd name="connsiteY456" fmla="*/ 947444 h 1210683"/>
                <a:gd name="connsiteX457" fmla="*/ 928570 w 1203904"/>
                <a:gd name="connsiteY457" fmla="*/ 948471 h 1210683"/>
                <a:gd name="connsiteX458" fmla="*/ 928044 w 1203904"/>
                <a:gd name="connsiteY458" fmla="*/ 954000 h 1210683"/>
                <a:gd name="connsiteX459" fmla="*/ 930252 w 1203904"/>
                <a:gd name="connsiteY459" fmla="*/ 960147 h 1210683"/>
                <a:gd name="connsiteX460" fmla="*/ 930300 w 1203904"/>
                <a:gd name="connsiteY460" fmla="*/ 960238 h 1210683"/>
                <a:gd name="connsiteX461" fmla="*/ 932084 w 1203904"/>
                <a:gd name="connsiteY461" fmla="*/ 966192 h 1210683"/>
                <a:gd name="connsiteX462" fmla="*/ 932152 w 1203904"/>
                <a:gd name="connsiteY462" fmla="*/ 966544 h 1210683"/>
                <a:gd name="connsiteX463" fmla="*/ 932682 w 1203904"/>
                <a:gd name="connsiteY463" fmla="*/ 972010 h 1210683"/>
                <a:gd name="connsiteX464" fmla="*/ 936587 w 1203904"/>
                <a:gd name="connsiteY464" fmla="*/ 977583 h 1210683"/>
                <a:gd name="connsiteX465" fmla="*/ 936755 w 1203904"/>
                <a:gd name="connsiteY465" fmla="*/ 977897 h 1210683"/>
                <a:gd name="connsiteX466" fmla="*/ 939735 w 1203904"/>
                <a:gd name="connsiteY466" fmla="*/ 984400 h 1210683"/>
                <a:gd name="connsiteX467" fmla="*/ 939792 w 1203904"/>
                <a:gd name="connsiteY467" fmla="*/ 984583 h 1210683"/>
                <a:gd name="connsiteX468" fmla="*/ 941942 w 1203904"/>
                <a:gd name="connsiteY468" fmla="*/ 990493 h 1210683"/>
                <a:gd name="connsiteX469" fmla="*/ 947337 w 1203904"/>
                <a:gd name="connsiteY469" fmla="*/ 993732 h 1210683"/>
                <a:gd name="connsiteX470" fmla="*/ 947838 w 1203904"/>
                <a:gd name="connsiteY470" fmla="*/ 994205 h 1210683"/>
                <a:gd name="connsiteX471" fmla="*/ 952615 w 1203904"/>
                <a:gd name="connsiteY471" fmla="*/ 1000130 h 1210683"/>
                <a:gd name="connsiteX472" fmla="*/ 961717 w 1203904"/>
                <a:gd name="connsiteY472" fmla="*/ 1018873 h 1210683"/>
                <a:gd name="connsiteX473" fmla="*/ 970669 w 1203904"/>
                <a:gd name="connsiteY473" fmla="*/ 1055838 h 1210683"/>
                <a:gd name="connsiteX474" fmla="*/ 974685 w 1203904"/>
                <a:gd name="connsiteY474" fmla="*/ 1062698 h 1210683"/>
                <a:gd name="connsiteX475" fmla="*/ 979197 w 1203904"/>
                <a:gd name="connsiteY475" fmla="*/ 1068376 h 1210683"/>
                <a:gd name="connsiteX476" fmla="*/ 984933 w 1203904"/>
                <a:gd name="connsiteY476" fmla="*/ 1072383 h 1210683"/>
                <a:gd name="connsiteX477" fmla="*/ 985710 w 1203904"/>
                <a:gd name="connsiteY477" fmla="*/ 1073660 h 1210683"/>
                <a:gd name="connsiteX478" fmla="*/ 986307 w 1203904"/>
                <a:gd name="connsiteY478" fmla="*/ 1079643 h 1210683"/>
                <a:gd name="connsiteX479" fmla="*/ 984818 w 1203904"/>
                <a:gd name="connsiteY479" fmla="*/ 1093922 h 1210683"/>
                <a:gd name="connsiteX480" fmla="*/ 980638 w 1203904"/>
                <a:gd name="connsiteY480" fmla="*/ 1099889 h 1210683"/>
                <a:gd name="connsiteX481" fmla="*/ 979771 w 1203904"/>
                <a:gd name="connsiteY481" fmla="*/ 1100569 h 1210683"/>
                <a:gd name="connsiteX482" fmla="*/ 973234 w 1203904"/>
                <a:gd name="connsiteY482" fmla="*/ 1102932 h 1210683"/>
                <a:gd name="connsiteX483" fmla="*/ 972438 w 1203904"/>
                <a:gd name="connsiteY483" fmla="*/ 1103057 h 1210683"/>
                <a:gd name="connsiteX484" fmla="*/ 966875 w 1203904"/>
                <a:gd name="connsiteY484" fmla="*/ 1102488 h 1210683"/>
                <a:gd name="connsiteX485" fmla="*/ 960984 w 1203904"/>
                <a:gd name="connsiteY485" fmla="*/ 1104604 h 1210683"/>
                <a:gd name="connsiteX486" fmla="*/ 955281 w 1203904"/>
                <a:gd name="connsiteY486" fmla="*/ 1109198 h 1210683"/>
                <a:gd name="connsiteX487" fmla="*/ 955021 w 1203904"/>
                <a:gd name="connsiteY487" fmla="*/ 1109391 h 1210683"/>
                <a:gd name="connsiteX488" fmla="*/ 949520 w 1203904"/>
                <a:gd name="connsiteY488" fmla="*/ 1112375 h 1210683"/>
                <a:gd name="connsiteX489" fmla="*/ 949954 w 1203904"/>
                <a:gd name="connsiteY489" fmla="*/ 1117012 h 1210683"/>
                <a:gd name="connsiteX490" fmla="*/ 955980 w 1203904"/>
                <a:gd name="connsiteY490" fmla="*/ 1122513 h 1210683"/>
                <a:gd name="connsiteX491" fmla="*/ 956438 w 1203904"/>
                <a:gd name="connsiteY491" fmla="*/ 1123169 h 1210683"/>
                <a:gd name="connsiteX492" fmla="*/ 958800 w 1203904"/>
                <a:gd name="connsiteY492" fmla="*/ 1129132 h 1210683"/>
                <a:gd name="connsiteX493" fmla="*/ 958959 w 1203904"/>
                <a:gd name="connsiteY493" fmla="*/ 1129797 h 1210683"/>
                <a:gd name="connsiteX494" fmla="*/ 955262 w 1203904"/>
                <a:gd name="connsiteY494" fmla="*/ 1143522 h 1210683"/>
                <a:gd name="connsiteX495" fmla="*/ 955238 w 1203904"/>
                <a:gd name="connsiteY495" fmla="*/ 1143575 h 1210683"/>
                <a:gd name="connsiteX496" fmla="*/ 952890 w 1203904"/>
                <a:gd name="connsiteY496" fmla="*/ 1149451 h 1210683"/>
                <a:gd name="connsiteX497" fmla="*/ 951155 w 1203904"/>
                <a:gd name="connsiteY497" fmla="*/ 1155299 h 1210683"/>
                <a:gd name="connsiteX498" fmla="*/ 949362 w 1203904"/>
                <a:gd name="connsiteY498" fmla="*/ 1161806 h 1210683"/>
                <a:gd name="connsiteX499" fmla="*/ 948725 w 1203904"/>
                <a:gd name="connsiteY499" fmla="*/ 1162780 h 1210683"/>
                <a:gd name="connsiteX500" fmla="*/ 931216 w 1203904"/>
                <a:gd name="connsiteY500" fmla="*/ 1173111 h 1210683"/>
                <a:gd name="connsiteX501" fmla="*/ 932079 w 1203904"/>
                <a:gd name="connsiteY501" fmla="*/ 1177474 h 1210683"/>
                <a:gd name="connsiteX502" fmla="*/ 934412 w 1203904"/>
                <a:gd name="connsiteY502" fmla="*/ 1183259 h 1210683"/>
                <a:gd name="connsiteX503" fmla="*/ 934417 w 1203904"/>
                <a:gd name="connsiteY503" fmla="*/ 1184579 h 1210683"/>
                <a:gd name="connsiteX504" fmla="*/ 932315 w 1203904"/>
                <a:gd name="connsiteY504" fmla="*/ 1190355 h 1210683"/>
                <a:gd name="connsiteX505" fmla="*/ 935507 w 1203904"/>
                <a:gd name="connsiteY505" fmla="*/ 1196164 h 1210683"/>
                <a:gd name="connsiteX506" fmla="*/ 935699 w 1203904"/>
                <a:gd name="connsiteY506" fmla="*/ 1197398 h 1210683"/>
                <a:gd name="connsiteX507" fmla="*/ 934668 w 1203904"/>
                <a:gd name="connsiteY507" fmla="*/ 1203072 h 1210683"/>
                <a:gd name="connsiteX508" fmla="*/ 939151 w 1203904"/>
                <a:gd name="connsiteY508" fmla="*/ 1208009 h 1210683"/>
                <a:gd name="connsiteX509" fmla="*/ 944463 w 1203904"/>
                <a:gd name="connsiteY509" fmla="*/ 1210134 h 1210683"/>
                <a:gd name="connsiteX510" fmla="*/ 949896 w 1203904"/>
                <a:gd name="connsiteY510" fmla="*/ 1210684 h 1210683"/>
                <a:gd name="connsiteX511" fmla="*/ 956187 w 1203904"/>
                <a:gd name="connsiteY511" fmla="*/ 1209536 h 1210683"/>
                <a:gd name="connsiteX512" fmla="*/ 956361 w 1203904"/>
                <a:gd name="connsiteY512" fmla="*/ 1209536 h 1210683"/>
                <a:gd name="connsiteX513" fmla="*/ 962305 w 1203904"/>
                <a:gd name="connsiteY513" fmla="*/ 1208891 h 1210683"/>
                <a:gd name="connsiteX514" fmla="*/ 962469 w 1203904"/>
                <a:gd name="connsiteY514" fmla="*/ 1208891 h 1210683"/>
                <a:gd name="connsiteX515" fmla="*/ 968924 w 1203904"/>
                <a:gd name="connsiteY515" fmla="*/ 1208891 h 1210683"/>
                <a:gd name="connsiteX516" fmla="*/ 974487 w 1203904"/>
                <a:gd name="connsiteY516" fmla="*/ 1208370 h 1210683"/>
                <a:gd name="connsiteX517" fmla="*/ 980137 w 1203904"/>
                <a:gd name="connsiteY517" fmla="*/ 1205791 h 1210683"/>
                <a:gd name="connsiteX518" fmla="*/ 982803 w 1203904"/>
                <a:gd name="connsiteY518" fmla="*/ 1199982 h 1210683"/>
                <a:gd name="connsiteX519" fmla="*/ 984471 w 1203904"/>
                <a:gd name="connsiteY519" fmla="*/ 1194376 h 1210683"/>
                <a:gd name="connsiteX520" fmla="*/ 984471 w 1203904"/>
                <a:gd name="connsiteY520" fmla="*/ 1188123 h 1210683"/>
                <a:gd name="connsiteX521" fmla="*/ 984471 w 1203904"/>
                <a:gd name="connsiteY521" fmla="*/ 1187950 h 1210683"/>
                <a:gd name="connsiteX522" fmla="*/ 985073 w 1203904"/>
                <a:gd name="connsiteY522" fmla="*/ 1182001 h 1210683"/>
                <a:gd name="connsiteX523" fmla="*/ 985271 w 1203904"/>
                <a:gd name="connsiteY523" fmla="*/ 1181306 h 1210683"/>
                <a:gd name="connsiteX524" fmla="*/ 988843 w 1203904"/>
                <a:gd name="connsiteY524" fmla="*/ 1174750 h 1210683"/>
                <a:gd name="connsiteX525" fmla="*/ 989021 w 1203904"/>
                <a:gd name="connsiteY525" fmla="*/ 1174476 h 1210683"/>
                <a:gd name="connsiteX526" fmla="*/ 993683 w 1203904"/>
                <a:gd name="connsiteY526" fmla="*/ 1168623 h 1210683"/>
                <a:gd name="connsiteX527" fmla="*/ 997173 w 1203904"/>
                <a:gd name="connsiteY527" fmla="*/ 1162245 h 1210683"/>
                <a:gd name="connsiteX528" fmla="*/ 997212 w 1203904"/>
                <a:gd name="connsiteY528" fmla="*/ 1162149 h 1210683"/>
                <a:gd name="connsiteX529" fmla="*/ 1000818 w 1203904"/>
                <a:gd name="connsiteY529" fmla="*/ 1156253 h 1210683"/>
                <a:gd name="connsiteX530" fmla="*/ 1001290 w 1203904"/>
                <a:gd name="connsiteY530" fmla="*/ 1155685 h 1210683"/>
                <a:gd name="connsiteX531" fmla="*/ 1007258 w 1203904"/>
                <a:gd name="connsiteY531" fmla="*/ 1151495 h 1210683"/>
                <a:gd name="connsiteX532" fmla="*/ 1007576 w 1203904"/>
                <a:gd name="connsiteY532" fmla="*/ 1151379 h 1210683"/>
                <a:gd name="connsiteX533" fmla="*/ 1022048 w 1203904"/>
                <a:gd name="connsiteY533" fmla="*/ 1112452 h 1210683"/>
                <a:gd name="connsiteX534" fmla="*/ 1022039 w 1203904"/>
                <a:gd name="connsiteY534" fmla="*/ 1112452 h 1210683"/>
                <a:gd name="connsiteX535" fmla="*/ 1020245 w 1203904"/>
                <a:gd name="connsiteY535" fmla="*/ 1105930 h 1210683"/>
                <a:gd name="connsiteX536" fmla="*/ 1018471 w 1203904"/>
                <a:gd name="connsiteY536" fmla="*/ 1099962 h 1210683"/>
                <a:gd name="connsiteX537" fmla="*/ 1018394 w 1203904"/>
                <a:gd name="connsiteY537" fmla="*/ 1099263 h 1210683"/>
                <a:gd name="connsiteX538" fmla="*/ 1018972 w 1203904"/>
                <a:gd name="connsiteY538" fmla="*/ 1093300 h 1210683"/>
                <a:gd name="connsiteX539" fmla="*/ 1019184 w 1203904"/>
                <a:gd name="connsiteY539" fmla="*/ 1092707 h 1210683"/>
                <a:gd name="connsiteX540" fmla="*/ 1022144 w 1203904"/>
                <a:gd name="connsiteY540" fmla="*/ 1086734 h 1210683"/>
                <a:gd name="connsiteX541" fmla="*/ 1022260 w 1203904"/>
                <a:gd name="connsiteY541" fmla="*/ 1086565 h 1210683"/>
                <a:gd name="connsiteX542" fmla="*/ 1026425 w 1203904"/>
                <a:gd name="connsiteY542" fmla="*/ 1080038 h 1210683"/>
                <a:gd name="connsiteX543" fmla="*/ 1026965 w 1203904"/>
                <a:gd name="connsiteY543" fmla="*/ 1079445 h 1210683"/>
                <a:gd name="connsiteX544" fmla="*/ 1033425 w 1203904"/>
                <a:gd name="connsiteY544" fmla="*/ 1075367 h 1210683"/>
                <a:gd name="connsiteX545" fmla="*/ 1039316 w 1203904"/>
                <a:gd name="connsiteY545" fmla="*/ 1070647 h 1210683"/>
                <a:gd name="connsiteX546" fmla="*/ 1039417 w 1203904"/>
                <a:gd name="connsiteY546" fmla="*/ 1070604 h 1210683"/>
                <a:gd name="connsiteX547" fmla="*/ 1045342 w 1203904"/>
                <a:gd name="connsiteY547" fmla="*/ 1066405 h 1210683"/>
                <a:gd name="connsiteX548" fmla="*/ 1045761 w 1203904"/>
                <a:gd name="connsiteY548" fmla="*/ 1066197 h 1210683"/>
                <a:gd name="connsiteX549" fmla="*/ 1052293 w 1203904"/>
                <a:gd name="connsiteY549" fmla="*/ 1063826 h 1210683"/>
                <a:gd name="connsiteX550" fmla="*/ 1058223 w 1203904"/>
                <a:gd name="connsiteY550" fmla="*/ 1061483 h 1210683"/>
                <a:gd name="connsiteX551" fmla="*/ 1058907 w 1203904"/>
                <a:gd name="connsiteY551" fmla="*/ 1061324 h 1210683"/>
                <a:gd name="connsiteX552" fmla="*/ 1065434 w 1203904"/>
                <a:gd name="connsiteY552" fmla="*/ 1061324 h 1210683"/>
                <a:gd name="connsiteX553" fmla="*/ 1065603 w 1203904"/>
                <a:gd name="connsiteY553" fmla="*/ 1061324 h 1210683"/>
                <a:gd name="connsiteX554" fmla="*/ 1071566 w 1203904"/>
                <a:gd name="connsiteY554" fmla="*/ 1061932 h 1210683"/>
                <a:gd name="connsiteX555" fmla="*/ 1072068 w 1203904"/>
                <a:gd name="connsiteY555" fmla="*/ 1062090 h 1210683"/>
                <a:gd name="connsiteX556" fmla="*/ 1076662 w 1203904"/>
                <a:gd name="connsiteY556" fmla="*/ 1063889 h 1210683"/>
                <a:gd name="connsiteX557" fmla="*/ 1079786 w 1203904"/>
                <a:gd name="connsiteY557" fmla="*/ 1059434 h 1210683"/>
                <a:gd name="connsiteX558" fmla="*/ 1080928 w 1203904"/>
                <a:gd name="connsiteY558" fmla="*/ 1053278 h 1210683"/>
                <a:gd name="connsiteX559" fmla="*/ 1080957 w 1203904"/>
                <a:gd name="connsiteY559" fmla="*/ 1053095 h 1210683"/>
                <a:gd name="connsiteX560" fmla="*/ 1082369 w 1203904"/>
                <a:gd name="connsiteY560" fmla="*/ 1048404 h 1210683"/>
                <a:gd name="connsiteX561" fmla="*/ 1076855 w 1203904"/>
                <a:gd name="connsiteY561" fmla="*/ 1044369 h 1210683"/>
                <a:gd name="connsiteX562" fmla="*/ 1076252 w 1203904"/>
                <a:gd name="connsiteY562" fmla="*/ 1043569 h 1210683"/>
                <a:gd name="connsiteX563" fmla="*/ 1073861 w 1203904"/>
                <a:gd name="connsiteY563" fmla="*/ 1037644 h 1210683"/>
                <a:gd name="connsiteX564" fmla="*/ 1073736 w 1203904"/>
                <a:gd name="connsiteY564" fmla="*/ 1036796 h 1210683"/>
                <a:gd name="connsiteX565" fmla="*/ 1074353 w 1203904"/>
                <a:gd name="connsiteY565" fmla="*/ 1030216 h 1210683"/>
                <a:gd name="connsiteX566" fmla="*/ 1074372 w 1203904"/>
                <a:gd name="connsiteY566" fmla="*/ 1030081 h 1210683"/>
                <a:gd name="connsiteX567" fmla="*/ 1075467 w 1203904"/>
                <a:gd name="connsiteY567" fmla="*/ 1024523 h 1210683"/>
                <a:gd name="connsiteX568" fmla="*/ 1075076 w 1203904"/>
                <a:gd name="connsiteY568" fmla="*/ 1022835 h 1210683"/>
                <a:gd name="connsiteX569" fmla="*/ 1071060 w 1203904"/>
                <a:gd name="connsiteY569" fmla="*/ 1017156 h 1210683"/>
                <a:gd name="connsiteX570" fmla="*/ 1070761 w 1203904"/>
                <a:gd name="connsiteY570" fmla="*/ 1016120 h 1210683"/>
                <a:gd name="connsiteX571" fmla="*/ 1070761 w 1203904"/>
                <a:gd name="connsiteY571" fmla="*/ 1009593 h 1210683"/>
                <a:gd name="connsiteX572" fmla="*/ 1070790 w 1203904"/>
                <a:gd name="connsiteY572" fmla="*/ 1009226 h 1210683"/>
                <a:gd name="connsiteX573" fmla="*/ 1071899 w 1203904"/>
                <a:gd name="connsiteY573" fmla="*/ 1003712 h 1210683"/>
                <a:gd name="connsiteX574" fmla="*/ 1070467 w 1203904"/>
                <a:gd name="connsiteY574" fmla="*/ 998341 h 1210683"/>
                <a:gd name="connsiteX575" fmla="*/ 1065213 w 1203904"/>
                <a:gd name="connsiteY575" fmla="*/ 995748 h 1210683"/>
                <a:gd name="connsiteX576" fmla="*/ 1064663 w 1203904"/>
                <a:gd name="connsiteY576" fmla="*/ 995338 h 1210683"/>
                <a:gd name="connsiteX577" fmla="*/ 1059871 w 1203904"/>
                <a:gd name="connsiteY577" fmla="*/ 989943 h 1210683"/>
                <a:gd name="connsiteX578" fmla="*/ 1046754 w 1203904"/>
                <a:gd name="connsiteY578" fmla="*/ 985648 h 1210683"/>
                <a:gd name="connsiteX579" fmla="*/ 1022573 w 1203904"/>
                <a:gd name="connsiteY579" fmla="*/ 974498 h 1210683"/>
                <a:gd name="connsiteX580" fmla="*/ 1016634 w 1203904"/>
                <a:gd name="connsiteY580" fmla="*/ 974498 h 1210683"/>
                <a:gd name="connsiteX581" fmla="*/ 1016152 w 1203904"/>
                <a:gd name="connsiteY581" fmla="*/ 974445 h 1210683"/>
                <a:gd name="connsiteX582" fmla="*/ 1009611 w 1203904"/>
                <a:gd name="connsiteY582" fmla="*/ 972685 h 1210683"/>
                <a:gd name="connsiteX583" fmla="*/ 1008671 w 1203904"/>
                <a:gd name="connsiteY583" fmla="*/ 972020 h 1210683"/>
                <a:gd name="connsiteX584" fmla="*/ 1003908 w 1203904"/>
                <a:gd name="connsiteY584" fmla="*/ 966100 h 1210683"/>
                <a:gd name="connsiteX585" fmla="*/ 1003705 w 1203904"/>
                <a:gd name="connsiteY585" fmla="*/ 965773 h 1210683"/>
                <a:gd name="connsiteX586" fmla="*/ 1000745 w 1203904"/>
                <a:gd name="connsiteY586" fmla="*/ 959838 h 1210683"/>
                <a:gd name="connsiteX587" fmla="*/ 1000620 w 1203904"/>
                <a:gd name="connsiteY587" fmla="*/ 959525 h 1210683"/>
                <a:gd name="connsiteX588" fmla="*/ 998837 w 1203904"/>
                <a:gd name="connsiteY588" fmla="*/ 953576 h 1210683"/>
                <a:gd name="connsiteX589" fmla="*/ 998832 w 1203904"/>
                <a:gd name="connsiteY589" fmla="*/ 952569 h 1210683"/>
                <a:gd name="connsiteX590" fmla="*/ 1000610 w 1203904"/>
                <a:gd name="connsiteY590" fmla="*/ 946041 h 1210683"/>
                <a:gd name="connsiteX591" fmla="*/ 1011018 w 1203904"/>
                <a:gd name="connsiteY591" fmla="*/ 928398 h 1210683"/>
                <a:gd name="connsiteX592" fmla="*/ 1009018 w 1203904"/>
                <a:gd name="connsiteY592" fmla="*/ 923389 h 1210683"/>
                <a:gd name="connsiteX593" fmla="*/ 1008897 w 1203904"/>
                <a:gd name="connsiteY593" fmla="*/ 922960 h 1210683"/>
                <a:gd name="connsiteX594" fmla="*/ 1008304 w 1203904"/>
                <a:gd name="connsiteY594" fmla="*/ 918838 h 1210683"/>
                <a:gd name="connsiteX595" fmla="*/ 1007128 w 1203904"/>
                <a:gd name="connsiteY595" fmla="*/ 912967 h 1210683"/>
                <a:gd name="connsiteX596" fmla="*/ 1007302 w 1203904"/>
                <a:gd name="connsiteY596" fmla="*/ 911694 h 1210683"/>
                <a:gd name="connsiteX597" fmla="*/ 1010869 w 1203904"/>
                <a:gd name="connsiteY597" fmla="*/ 905167 h 1210683"/>
                <a:gd name="connsiteX598" fmla="*/ 1011211 w 1203904"/>
                <a:gd name="connsiteY598" fmla="*/ 904771 h 1210683"/>
                <a:gd name="connsiteX599" fmla="*/ 1012262 w 1203904"/>
                <a:gd name="connsiteY599" fmla="*/ 903687 h 1210683"/>
                <a:gd name="connsiteX600" fmla="*/ 1016297 w 1203904"/>
                <a:gd name="connsiteY600" fmla="*/ 897921 h 1210683"/>
                <a:gd name="connsiteX601" fmla="*/ 1019575 w 1203904"/>
                <a:gd name="connsiteY601" fmla="*/ 892440 h 1210683"/>
                <a:gd name="connsiteX602" fmla="*/ 1019575 w 1203904"/>
                <a:gd name="connsiteY602" fmla="*/ 892368 h 1210683"/>
                <a:gd name="connsiteX603" fmla="*/ 1019628 w 1203904"/>
                <a:gd name="connsiteY603" fmla="*/ 892035 h 1210683"/>
                <a:gd name="connsiteX604" fmla="*/ 1020790 w 1203904"/>
                <a:gd name="connsiteY604" fmla="*/ 885484 h 1210683"/>
                <a:gd name="connsiteX605" fmla="*/ 1020877 w 1203904"/>
                <a:gd name="connsiteY605" fmla="*/ 885185 h 1210683"/>
                <a:gd name="connsiteX606" fmla="*/ 1023273 w 1203904"/>
                <a:gd name="connsiteY606" fmla="*/ 878638 h 1210683"/>
                <a:gd name="connsiteX607" fmla="*/ 1023417 w 1203904"/>
                <a:gd name="connsiteY607" fmla="*/ 878315 h 1210683"/>
                <a:gd name="connsiteX608" fmla="*/ 1026960 w 1203904"/>
                <a:gd name="connsiteY608" fmla="*/ 872453 h 1210683"/>
                <a:gd name="connsiteX609" fmla="*/ 1029896 w 1203904"/>
                <a:gd name="connsiteY609" fmla="*/ 866543 h 1210683"/>
                <a:gd name="connsiteX610" fmla="*/ 1040275 w 1203904"/>
                <a:gd name="connsiteY610" fmla="*/ 852428 h 1210683"/>
                <a:gd name="connsiteX611" fmla="*/ 1040487 w 1203904"/>
                <a:gd name="connsiteY611" fmla="*/ 852260 h 1210683"/>
                <a:gd name="connsiteX612" fmla="*/ 1046450 w 1203904"/>
                <a:gd name="connsiteY612" fmla="*/ 847487 h 1210683"/>
                <a:gd name="connsiteX613" fmla="*/ 1047058 w 1203904"/>
                <a:gd name="connsiteY613" fmla="*/ 847159 h 1210683"/>
                <a:gd name="connsiteX614" fmla="*/ 1053026 w 1203904"/>
                <a:gd name="connsiteY614" fmla="*/ 845385 h 1210683"/>
                <a:gd name="connsiteX615" fmla="*/ 1053860 w 1203904"/>
                <a:gd name="connsiteY615" fmla="*/ 845317 h 1210683"/>
                <a:gd name="connsiteX616" fmla="*/ 1060397 w 1203904"/>
                <a:gd name="connsiteY616" fmla="*/ 846518 h 1210683"/>
                <a:gd name="connsiteX617" fmla="*/ 1060884 w 1203904"/>
                <a:gd name="connsiteY617" fmla="*/ 846658 h 1210683"/>
                <a:gd name="connsiteX618" fmla="*/ 1066056 w 1203904"/>
                <a:gd name="connsiteY618" fmla="*/ 849275 h 1210683"/>
                <a:gd name="connsiteX619" fmla="*/ 1066302 w 1203904"/>
                <a:gd name="connsiteY619" fmla="*/ 849140 h 1210683"/>
                <a:gd name="connsiteX620" fmla="*/ 1069778 w 1203904"/>
                <a:gd name="connsiteY620" fmla="*/ 846841 h 1210683"/>
                <a:gd name="connsiteX621" fmla="*/ 1071398 w 1203904"/>
                <a:gd name="connsiteY621" fmla="*/ 846590 h 1210683"/>
                <a:gd name="connsiteX622" fmla="*/ 1072502 w 1203904"/>
                <a:gd name="connsiteY622" fmla="*/ 847733 h 1210683"/>
                <a:gd name="connsiteX623" fmla="*/ 1072569 w 1203904"/>
                <a:gd name="connsiteY623" fmla="*/ 847892 h 1210683"/>
                <a:gd name="connsiteX624" fmla="*/ 1077477 w 1203904"/>
                <a:gd name="connsiteY624" fmla="*/ 846552 h 1210683"/>
                <a:gd name="connsiteX625" fmla="*/ 1079617 w 1203904"/>
                <a:gd name="connsiteY625" fmla="*/ 847627 h 1210683"/>
                <a:gd name="connsiteX626" fmla="*/ 1078807 w 1203904"/>
                <a:gd name="connsiteY626" fmla="*/ 849897 h 1210683"/>
                <a:gd name="connsiteX627" fmla="*/ 1072275 w 1203904"/>
                <a:gd name="connsiteY627" fmla="*/ 853484 h 1210683"/>
                <a:gd name="connsiteX628" fmla="*/ 1071403 w 1203904"/>
                <a:gd name="connsiteY628" fmla="*/ 853691 h 1210683"/>
                <a:gd name="connsiteX629" fmla="*/ 1071340 w 1203904"/>
                <a:gd name="connsiteY629" fmla="*/ 853691 h 1210683"/>
                <a:gd name="connsiteX630" fmla="*/ 1071933 w 1203904"/>
                <a:gd name="connsiteY630" fmla="*/ 855494 h 1210683"/>
                <a:gd name="connsiteX631" fmla="*/ 1072024 w 1203904"/>
                <a:gd name="connsiteY631" fmla="*/ 856208 h 1210683"/>
                <a:gd name="connsiteX632" fmla="*/ 1071562 w 1203904"/>
                <a:gd name="connsiteY632" fmla="*/ 861279 h 1210683"/>
                <a:gd name="connsiteX633" fmla="*/ 1106169 w 1203904"/>
                <a:gd name="connsiteY633" fmla="*/ 869720 h 1210683"/>
                <a:gd name="connsiteX634" fmla="*/ 1106184 w 1203904"/>
                <a:gd name="connsiteY634" fmla="*/ 869720 h 1210683"/>
                <a:gd name="connsiteX635" fmla="*/ 1112735 w 1203904"/>
                <a:gd name="connsiteY635" fmla="*/ 868544 h 1210683"/>
                <a:gd name="connsiteX636" fmla="*/ 1112861 w 1203904"/>
                <a:gd name="connsiteY636" fmla="*/ 868544 h 1210683"/>
                <a:gd name="connsiteX637" fmla="*/ 1118814 w 1203904"/>
                <a:gd name="connsiteY637" fmla="*/ 867912 h 1210683"/>
                <a:gd name="connsiteX638" fmla="*/ 1119012 w 1203904"/>
                <a:gd name="connsiteY638" fmla="*/ 867912 h 1210683"/>
                <a:gd name="connsiteX639" fmla="*/ 1125549 w 1203904"/>
                <a:gd name="connsiteY639" fmla="*/ 867912 h 1210683"/>
                <a:gd name="connsiteX640" fmla="*/ 1125785 w 1203904"/>
                <a:gd name="connsiteY640" fmla="*/ 867912 h 1210683"/>
                <a:gd name="connsiteX641" fmla="*/ 1130533 w 1203904"/>
                <a:gd name="connsiteY641" fmla="*/ 868544 h 1210683"/>
                <a:gd name="connsiteX642" fmla="*/ 1130827 w 1203904"/>
                <a:gd name="connsiteY642" fmla="*/ 868606 h 1210683"/>
                <a:gd name="connsiteX643" fmla="*/ 1136752 w 1203904"/>
                <a:gd name="connsiteY643" fmla="*/ 870361 h 1210683"/>
                <a:gd name="connsiteX644" fmla="*/ 1137456 w 1203904"/>
                <a:gd name="connsiteY644" fmla="*/ 870776 h 1210683"/>
                <a:gd name="connsiteX645" fmla="*/ 1143429 w 1203904"/>
                <a:gd name="connsiteY645" fmla="*/ 876102 h 1210683"/>
                <a:gd name="connsiteX646" fmla="*/ 1143964 w 1203904"/>
                <a:gd name="connsiteY646" fmla="*/ 876946 h 1210683"/>
                <a:gd name="connsiteX647" fmla="*/ 1145608 w 1203904"/>
                <a:gd name="connsiteY647" fmla="*/ 882427 h 1210683"/>
                <a:gd name="connsiteX648" fmla="*/ 1151161 w 1203904"/>
                <a:gd name="connsiteY648" fmla="*/ 887412 h 1210683"/>
                <a:gd name="connsiteX649" fmla="*/ 1151344 w 1203904"/>
                <a:gd name="connsiteY649" fmla="*/ 887619 h 1210683"/>
                <a:gd name="connsiteX650" fmla="*/ 1156122 w 1203904"/>
                <a:gd name="connsiteY650" fmla="*/ 893607 h 1210683"/>
                <a:gd name="connsiteX651" fmla="*/ 1156503 w 1203904"/>
                <a:gd name="connsiteY651" fmla="*/ 895092 h 1210683"/>
                <a:gd name="connsiteX652" fmla="*/ 1155418 w 1203904"/>
                <a:gd name="connsiteY652" fmla="*/ 900481 h 1210683"/>
                <a:gd name="connsiteX653" fmla="*/ 1157582 w 1203904"/>
                <a:gd name="connsiteY653" fmla="*/ 905967 h 1210683"/>
                <a:gd name="connsiteX654" fmla="*/ 1157148 w 1203904"/>
                <a:gd name="connsiteY654" fmla="*/ 907934 h 1210683"/>
                <a:gd name="connsiteX655" fmla="*/ 1156825 w 1203904"/>
                <a:gd name="connsiteY655" fmla="*/ 908228 h 1210683"/>
                <a:gd name="connsiteX656" fmla="*/ 1179464 w 1203904"/>
                <a:gd name="connsiteY656" fmla="*/ 925047 h 1210683"/>
                <a:gd name="connsiteX657" fmla="*/ 1185658 w 1203904"/>
                <a:gd name="connsiteY657" fmla="*/ 925047 h 1210683"/>
                <a:gd name="connsiteX658" fmla="*/ 1186362 w 1203904"/>
                <a:gd name="connsiteY658" fmla="*/ 925144 h 1210683"/>
                <a:gd name="connsiteX659" fmla="*/ 1191602 w 1203904"/>
                <a:gd name="connsiteY659" fmla="*/ 927284 h 1210683"/>
                <a:gd name="connsiteX660" fmla="*/ 1195758 w 1203904"/>
                <a:gd name="connsiteY660" fmla="*/ 925616 h 1210683"/>
                <a:gd name="connsiteX661" fmla="*/ 1197859 w 1203904"/>
                <a:gd name="connsiteY661" fmla="*/ 897285 h 1210683"/>
                <a:gd name="connsiteX662" fmla="*/ 1201870 w 1203904"/>
                <a:gd name="connsiteY662" fmla="*/ 891510 h 1210683"/>
                <a:gd name="connsiteX663" fmla="*/ 1203905 w 1203904"/>
                <a:gd name="connsiteY663" fmla="*/ 885976 h 1210683"/>
                <a:gd name="connsiteX664" fmla="*/ 1200737 w 1203904"/>
                <a:gd name="connsiteY664" fmla="*/ 880181 h 1210683"/>
                <a:gd name="connsiteX665" fmla="*/ 1197189 w 1203904"/>
                <a:gd name="connsiteY665" fmla="*/ 874246 h 1210683"/>
                <a:gd name="connsiteX666" fmla="*/ 1197064 w 1203904"/>
                <a:gd name="connsiteY666" fmla="*/ 874015 h 1210683"/>
                <a:gd name="connsiteX667" fmla="*/ 1194793 w 1203904"/>
                <a:gd name="connsiteY667" fmla="*/ 868356 h 1210683"/>
                <a:gd name="connsiteX668" fmla="*/ 1189168 w 1203904"/>
                <a:gd name="connsiteY668" fmla="*/ 862113 h 1210683"/>
                <a:gd name="connsiteX669" fmla="*/ 1182679 w 1203904"/>
                <a:gd name="connsiteY669" fmla="*/ 856882 h 1210683"/>
                <a:gd name="connsiteX670" fmla="*/ 1182568 w 1203904"/>
                <a:gd name="connsiteY670" fmla="*/ 856728 h 1210683"/>
                <a:gd name="connsiteX671" fmla="*/ 1176648 w 1203904"/>
                <a:gd name="connsiteY671" fmla="*/ 850804 h 1210683"/>
                <a:gd name="connsiteX672" fmla="*/ 1176547 w 1203904"/>
                <a:gd name="connsiteY672" fmla="*/ 850702 h 1210683"/>
                <a:gd name="connsiteX673" fmla="*/ 1171514 w 1203904"/>
                <a:gd name="connsiteY673" fmla="*/ 845110 h 1210683"/>
                <a:gd name="connsiteX674" fmla="*/ 1165392 w 1203904"/>
                <a:gd name="connsiteY674" fmla="*/ 842893 h 1210683"/>
                <a:gd name="connsiteX675" fmla="*/ 1165344 w 1203904"/>
                <a:gd name="connsiteY675" fmla="*/ 842873 h 1210683"/>
                <a:gd name="connsiteX676" fmla="*/ 1159390 w 1203904"/>
                <a:gd name="connsiteY676" fmla="*/ 840502 h 1210683"/>
                <a:gd name="connsiteX677" fmla="*/ 1159024 w 1203904"/>
                <a:gd name="connsiteY677" fmla="*/ 840294 h 1210683"/>
                <a:gd name="connsiteX678" fmla="*/ 1153114 w 1203904"/>
                <a:gd name="connsiteY678" fmla="*/ 836149 h 1210683"/>
                <a:gd name="connsiteX679" fmla="*/ 1150202 w 1203904"/>
                <a:gd name="connsiteY679" fmla="*/ 834379 h 1210683"/>
                <a:gd name="connsiteX680" fmla="*/ 1149377 w 1203904"/>
                <a:gd name="connsiteY680" fmla="*/ 833328 h 1210683"/>
                <a:gd name="connsiteX681" fmla="*/ 1147671 w 1203904"/>
                <a:gd name="connsiteY681" fmla="*/ 827018 h 1210683"/>
                <a:gd name="connsiteX682" fmla="*/ 1144745 w 1203904"/>
                <a:gd name="connsiteY682" fmla="*/ 822135 h 1210683"/>
                <a:gd name="connsiteX683" fmla="*/ 1139823 w 1203904"/>
                <a:gd name="connsiteY683" fmla="*/ 822135 h 1210683"/>
                <a:gd name="connsiteX684" fmla="*/ 1138536 w 1203904"/>
                <a:gd name="connsiteY684" fmla="*/ 821624 h 1210683"/>
                <a:gd name="connsiteX685" fmla="*/ 1137972 w 1203904"/>
                <a:gd name="connsiteY685" fmla="*/ 820341 h 1210683"/>
                <a:gd name="connsiteX686" fmla="*/ 1137972 w 1203904"/>
                <a:gd name="connsiteY686" fmla="*/ 819768 h 1210683"/>
                <a:gd name="connsiteX687" fmla="*/ 1133450 w 1203904"/>
                <a:gd name="connsiteY687" fmla="*/ 818008 h 1210683"/>
                <a:gd name="connsiteX688" fmla="*/ 1127178 w 1203904"/>
                <a:gd name="connsiteY688" fmla="*/ 817391 h 1210683"/>
                <a:gd name="connsiteX689" fmla="*/ 1126503 w 1203904"/>
                <a:gd name="connsiteY689" fmla="*/ 817213 h 1210683"/>
                <a:gd name="connsiteX690" fmla="*/ 1120554 w 1203904"/>
                <a:gd name="connsiteY690" fmla="*/ 814248 h 1210683"/>
                <a:gd name="connsiteX691" fmla="*/ 1120521 w 1203904"/>
                <a:gd name="connsiteY691" fmla="*/ 814200 h 1210683"/>
                <a:gd name="connsiteX692" fmla="*/ 1114148 w 1203904"/>
                <a:gd name="connsiteY692" fmla="*/ 810739 h 1210683"/>
                <a:gd name="connsiteX693" fmla="*/ 1108435 w 1203904"/>
                <a:gd name="connsiteY693" fmla="*/ 809003 h 1210683"/>
                <a:gd name="connsiteX694" fmla="*/ 1102559 w 1203904"/>
                <a:gd name="connsiteY694" fmla="*/ 807841 h 1210683"/>
                <a:gd name="connsiteX695" fmla="*/ 1074064 w 1203904"/>
                <a:gd name="connsiteY695" fmla="*/ 794753 h 1210683"/>
                <a:gd name="connsiteX696" fmla="*/ 1072878 w 1203904"/>
                <a:gd name="connsiteY696" fmla="*/ 794035 h 1210683"/>
                <a:gd name="connsiteX697" fmla="*/ 1068327 w 1203904"/>
                <a:gd name="connsiteY697" fmla="*/ 787782 h 1210683"/>
                <a:gd name="connsiteX698" fmla="*/ 1062103 w 1203904"/>
                <a:gd name="connsiteY698" fmla="*/ 783830 h 1210683"/>
                <a:gd name="connsiteX699" fmla="*/ 1056309 w 1203904"/>
                <a:gd name="connsiteY699" fmla="*/ 780349 h 1210683"/>
                <a:gd name="connsiteX700" fmla="*/ 1049922 w 1203904"/>
                <a:gd name="connsiteY700" fmla="*/ 778011 h 1210683"/>
                <a:gd name="connsiteX701" fmla="*/ 1049743 w 1203904"/>
                <a:gd name="connsiteY701" fmla="*/ 777943 h 1210683"/>
                <a:gd name="connsiteX702" fmla="*/ 1043924 w 1203904"/>
                <a:gd name="connsiteY702" fmla="*/ 775051 h 1210683"/>
                <a:gd name="connsiteX703" fmla="*/ 1038226 w 1203904"/>
                <a:gd name="connsiteY703" fmla="*/ 773340 h 1210683"/>
                <a:gd name="connsiteX704" fmla="*/ 1000808 w 1203904"/>
                <a:gd name="connsiteY704" fmla="*/ 763221 h 1210683"/>
                <a:gd name="connsiteX705" fmla="*/ 1000808 w 1203904"/>
                <a:gd name="connsiteY705" fmla="*/ 763221 h 1210683"/>
                <a:gd name="connsiteX706" fmla="*/ 994271 w 1203904"/>
                <a:gd name="connsiteY706" fmla="*/ 762030 h 1210683"/>
                <a:gd name="connsiteX707" fmla="*/ 993784 w 1203904"/>
                <a:gd name="connsiteY707" fmla="*/ 761852 h 1210683"/>
                <a:gd name="connsiteX708" fmla="*/ 987946 w 1203904"/>
                <a:gd name="connsiteY708" fmla="*/ 758930 h 1210683"/>
                <a:gd name="connsiteX709" fmla="*/ 981559 w 1203904"/>
                <a:gd name="connsiteY709" fmla="*/ 756617 h 1210683"/>
                <a:gd name="connsiteX710" fmla="*/ 975634 w 1203904"/>
                <a:gd name="connsiteY710" fmla="*/ 754857 h 1210683"/>
                <a:gd name="connsiteX711" fmla="*/ 975306 w 1203904"/>
                <a:gd name="connsiteY711" fmla="*/ 754693 h 1210683"/>
                <a:gd name="connsiteX712" fmla="*/ 968919 w 1203904"/>
                <a:gd name="connsiteY712" fmla="*/ 751246 h 1210683"/>
                <a:gd name="connsiteX713" fmla="*/ 963163 w 1203904"/>
                <a:gd name="connsiteY713" fmla="*/ 749511 h 1210683"/>
                <a:gd name="connsiteX714" fmla="*/ 957200 w 1203904"/>
                <a:gd name="connsiteY714" fmla="*/ 747684 h 1210683"/>
                <a:gd name="connsiteX715" fmla="*/ 956858 w 1203904"/>
                <a:gd name="connsiteY715" fmla="*/ 747568 h 1210683"/>
                <a:gd name="connsiteX716" fmla="*/ 950721 w 1203904"/>
                <a:gd name="connsiteY716" fmla="*/ 744193 h 1210683"/>
                <a:gd name="connsiteX717" fmla="*/ 950586 w 1203904"/>
                <a:gd name="connsiteY717" fmla="*/ 744193 h 1210683"/>
                <a:gd name="connsiteX718" fmla="*/ 950075 w 1203904"/>
                <a:gd name="connsiteY718" fmla="*/ 744160 h 1210683"/>
                <a:gd name="connsiteX719" fmla="*/ 944107 w 1203904"/>
                <a:gd name="connsiteY719" fmla="*/ 742376 h 1210683"/>
                <a:gd name="connsiteX720" fmla="*/ 943866 w 1203904"/>
                <a:gd name="connsiteY720" fmla="*/ 742256 h 1210683"/>
                <a:gd name="connsiteX721" fmla="*/ 937459 w 1203904"/>
                <a:gd name="connsiteY721" fmla="*/ 739334 h 1210683"/>
                <a:gd name="connsiteX722" fmla="*/ 931621 w 1203904"/>
                <a:gd name="connsiteY722" fmla="*/ 737613 h 1210683"/>
                <a:gd name="connsiteX723" fmla="*/ 931086 w 1203904"/>
                <a:gd name="connsiteY723" fmla="*/ 737358 h 1210683"/>
                <a:gd name="connsiteX724" fmla="*/ 925133 w 1203904"/>
                <a:gd name="connsiteY724" fmla="*/ 733188 h 1210683"/>
                <a:gd name="connsiteX725" fmla="*/ 924824 w 1203904"/>
                <a:gd name="connsiteY725" fmla="*/ 732903 h 1210683"/>
                <a:gd name="connsiteX726" fmla="*/ 919502 w 1203904"/>
                <a:gd name="connsiteY726" fmla="*/ 726945 h 1210683"/>
                <a:gd name="connsiteX727" fmla="*/ 919198 w 1203904"/>
                <a:gd name="connsiteY727" fmla="*/ 726579 h 1210683"/>
                <a:gd name="connsiteX728" fmla="*/ 916224 w 1203904"/>
                <a:gd name="connsiteY728" fmla="*/ 720615 h 1210683"/>
                <a:gd name="connsiteX729" fmla="*/ 916050 w 1203904"/>
                <a:gd name="connsiteY729" fmla="*/ 719970 h 1210683"/>
                <a:gd name="connsiteX730" fmla="*/ 915457 w 1203904"/>
                <a:gd name="connsiteY730" fmla="*/ 714045 h 1210683"/>
                <a:gd name="connsiteX731" fmla="*/ 915780 w 1203904"/>
                <a:gd name="connsiteY731" fmla="*/ 712796 h 1210683"/>
                <a:gd name="connsiteX732" fmla="*/ 919931 w 1203904"/>
                <a:gd name="connsiteY732" fmla="*/ 706847 h 1210683"/>
                <a:gd name="connsiteX733" fmla="*/ 920481 w 1203904"/>
                <a:gd name="connsiteY733" fmla="*/ 706337 h 1210683"/>
                <a:gd name="connsiteX734" fmla="*/ 926294 w 1203904"/>
                <a:gd name="connsiteY734" fmla="*/ 702861 h 1210683"/>
                <a:gd name="connsiteX735" fmla="*/ 932041 w 1203904"/>
                <a:gd name="connsiteY735" fmla="*/ 697674 h 1210683"/>
                <a:gd name="connsiteX736" fmla="*/ 937339 w 1203904"/>
                <a:gd name="connsiteY736" fmla="*/ 691797 h 1210683"/>
                <a:gd name="connsiteX737" fmla="*/ 937392 w 1203904"/>
                <a:gd name="connsiteY737" fmla="*/ 691749 h 1210683"/>
                <a:gd name="connsiteX738" fmla="*/ 942873 w 1203904"/>
                <a:gd name="connsiteY738" fmla="*/ 686225 h 1210683"/>
                <a:gd name="connsiteX739" fmla="*/ 943360 w 1203904"/>
                <a:gd name="connsiteY739" fmla="*/ 681491 h 1210683"/>
                <a:gd name="connsiteX740" fmla="*/ 940698 w 1203904"/>
                <a:gd name="connsiteY740" fmla="*/ 676169 h 1210683"/>
                <a:gd name="connsiteX741" fmla="*/ 936346 w 1203904"/>
                <a:gd name="connsiteY741" fmla="*/ 670673 h 1210683"/>
                <a:gd name="connsiteX742" fmla="*/ 931028 w 1203904"/>
                <a:gd name="connsiteY742" fmla="*/ 668026 h 1210683"/>
                <a:gd name="connsiteX743" fmla="*/ 925750 w 1203904"/>
                <a:gd name="connsiteY743" fmla="*/ 667491 h 1210683"/>
                <a:gd name="connsiteX744" fmla="*/ 919545 w 1203904"/>
                <a:gd name="connsiteY744" fmla="*/ 669174 h 1210683"/>
                <a:gd name="connsiteX745" fmla="*/ 900754 w 1203904"/>
                <a:gd name="connsiteY745" fmla="*/ 673995 h 1210683"/>
                <a:gd name="connsiteX746" fmla="*/ 894213 w 1203904"/>
                <a:gd name="connsiteY746" fmla="*/ 674578 h 1210683"/>
                <a:gd name="connsiteX747" fmla="*/ 893706 w 1203904"/>
                <a:gd name="connsiteY747" fmla="*/ 674578 h 1210683"/>
                <a:gd name="connsiteX748" fmla="*/ 888201 w 1203904"/>
                <a:gd name="connsiteY748" fmla="*/ 673478 h 1210683"/>
                <a:gd name="connsiteX749" fmla="*/ 882691 w 1203904"/>
                <a:gd name="connsiteY749" fmla="*/ 675137 h 1210683"/>
                <a:gd name="connsiteX750" fmla="*/ 882484 w 1203904"/>
                <a:gd name="connsiteY750" fmla="*/ 675156 h 1210683"/>
                <a:gd name="connsiteX751" fmla="*/ 875966 w 1203904"/>
                <a:gd name="connsiteY751" fmla="*/ 676361 h 1210683"/>
                <a:gd name="connsiteX752" fmla="*/ 875966 w 1203904"/>
                <a:gd name="connsiteY752" fmla="*/ 676361 h 1210683"/>
                <a:gd name="connsiteX753" fmla="*/ 870008 w 1203904"/>
                <a:gd name="connsiteY753" fmla="*/ 677528 h 1210683"/>
                <a:gd name="connsiteX754" fmla="*/ 869984 w 1203904"/>
                <a:gd name="connsiteY754" fmla="*/ 677528 h 1210683"/>
                <a:gd name="connsiteX755" fmla="*/ 863437 w 1203904"/>
                <a:gd name="connsiteY755" fmla="*/ 678743 h 1210683"/>
                <a:gd name="connsiteX756" fmla="*/ 862589 w 1203904"/>
                <a:gd name="connsiteY756" fmla="*/ 678685 h 1210683"/>
                <a:gd name="connsiteX757" fmla="*/ 856978 w 1203904"/>
                <a:gd name="connsiteY757" fmla="*/ 676993 h 1210683"/>
                <a:gd name="connsiteX758" fmla="*/ 851395 w 1203904"/>
                <a:gd name="connsiteY758" fmla="*/ 677581 h 1210683"/>
                <a:gd name="connsiteX759" fmla="*/ 851207 w 1203904"/>
                <a:gd name="connsiteY759" fmla="*/ 677581 h 1210683"/>
                <a:gd name="connsiteX760" fmla="*/ 845263 w 1203904"/>
                <a:gd name="connsiteY760" fmla="*/ 677581 h 1210683"/>
                <a:gd name="connsiteX761" fmla="*/ 823097 w 1203904"/>
                <a:gd name="connsiteY761" fmla="*/ 668663 h 1210683"/>
                <a:gd name="connsiteX762" fmla="*/ 822712 w 1203904"/>
                <a:gd name="connsiteY762" fmla="*/ 668556 h 1210683"/>
                <a:gd name="connsiteX763" fmla="*/ 816932 w 1203904"/>
                <a:gd name="connsiteY763" fmla="*/ 666845 h 1210683"/>
                <a:gd name="connsiteX764" fmla="*/ 810573 w 1203904"/>
                <a:gd name="connsiteY764" fmla="*/ 666276 h 1210683"/>
                <a:gd name="connsiteX765" fmla="*/ 809932 w 1203904"/>
                <a:gd name="connsiteY765" fmla="*/ 666083 h 1210683"/>
                <a:gd name="connsiteX766" fmla="*/ 798025 w 1203904"/>
                <a:gd name="connsiteY766" fmla="*/ 660130 h 1210683"/>
                <a:gd name="connsiteX767" fmla="*/ 797398 w 1203904"/>
                <a:gd name="connsiteY767" fmla="*/ 659624 h 1210683"/>
                <a:gd name="connsiteX768" fmla="*/ 793257 w 1203904"/>
                <a:gd name="connsiteY768" fmla="*/ 654273 h 1210683"/>
                <a:gd name="connsiteX769" fmla="*/ 792872 w 1203904"/>
                <a:gd name="connsiteY769" fmla="*/ 653333 h 1210683"/>
                <a:gd name="connsiteX770" fmla="*/ 792365 w 1203904"/>
                <a:gd name="connsiteY770" fmla="*/ 648392 h 1210683"/>
                <a:gd name="connsiteX771" fmla="*/ 767852 w 1203904"/>
                <a:gd name="connsiteY771" fmla="*/ 633664 h 1210683"/>
                <a:gd name="connsiteX772" fmla="*/ 761320 w 1203904"/>
                <a:gd name="connsiteY772" fmla="*/ 627716 h 1210683"/>
                <a:gd name="connsiteX773" fmla="*/ 761060 w 1203904"/>
                <a:gd name="connsiteY773" fmla="*/ 627441 h 1210683"/>
                <a:gd name="connsiteX774" fmla="*/ 756572 w 1203904"/>
                <a:gd name="connsiteY774" fmla="*/ 621275 h 1210683"/>
                <a:gd name="connsiteX775" fmla="*/ 751033 w 1203904"/>
                <a:gd name="connsiteY775" fmla="*/ 618503 h 1210683"/>
                <a:gd name="connsiteX776" fmla="*/ 750787 w 1203904"/>
                <a:gd name="connsiteY776" fmla="*/ 618373 h 1210683"/>
                <a:gd name="connsiteX777" fmla="*/ 744838 w 1203904"/>
                <a:gd name="connsiteY777" fmla="*/ 614179 h 1210683"/>
                <a:gd name="connsiteX778" fmla="*/ 744742 w 1203904"/>
                <a:gd name="connsiteY778" fmla="*/ 614088 h 1210683"/>
                <a:gd name="connsiteX779" fmla="*/ 718146 w 1203904"/>
                <a:gd name="connsiteY779" fmla="*/ 584512 h 1210683"/>
                <a:gd name="connsiteX780" fmla="*/ 706677 w 1203904"/>
                <a:gd name="connsiteY780" fmla="*/ 559734 h 1210683"/>
                <a:gd name="connsiteX781" fmla="*/ 688267 w 1203904"/>
                <a:gd name="connsiteY781" fmla="*/ 506884 h 1210683"/>
                <a:gd name="connsiteX782" fmla="*/ 685452 w 1203904"/>
                <a:gd name="connsiteY782" fmla="*/ 501293 h 1210683"/>
                <a:gd name="connsiteX783" fmla="*/ 684483 w 1203904"/>
                <a:gd name="connsiteY783" fmla="*/ 500319 h 1210683"/>
                <a:gd name="connsiteX784" fmla="*/ 684044 w 1203904"/>
                <a:gd name="connsiteY784" fmla="*/ 499610 h 1210683"/>
                <a:gd name="connsiteX785" fmla="*/ 682275 w 1203904"/>
                <a:gd name="connsiteY785" fmla="*/ 494288 h 1210683"/>
                <a:gd name="connsiteX786" fmla="*/ 679942 w 1203904"/>
                <a:gd name="connsiteY786" fmla="*/ 488460 h 1210683"/>
                <a:gd name="connsiteX787" fmla="*/ 677011 w 1203904"/>
                <a:gd name="connsiteY787" fmla="*/ 482627 h 1210683"/>
                <a:gd name="connsiteX788" fmla="*/ 674653 w 1203904"/>
                <a:gd name="connsiteY788" fmla="*/ 478486 h 1210683"/>
                <a:gd name="connsiteX789" fmla="*/ 674557 w 1203904"/>
                <a:gd name="connsiteY789" fmla="*/ 478288 h 1210683"/>
                <a:gd name="connsiteX790" fmla="*/ 672190 w 1203904"/>
                <a:gd name="connsiteY790" fmla="*/ 472344 h 1210683"/>
                <a:gd name="connsiteX791" fmla="*/ 672103 w 1203904"/>
                <a:gd name="connsiteY791" fmla="*/ 472132 h 1210683"/>
                <a:gd name="connsiteX792" fmla="*/ 670508 w 1203904"/>
                <a:gd name="connsiteY792" fmla="*/ 466198 h 1210683"/>
                <a:gd name="connsiteX793" fmla="*/ 664954 w 1203904"/>
                <a:gd name="connsiteY793" fmla="*/ 462187 h 1210683"/>
                <a:gd name="connsiteX794" fmla="*/ 659603 w 1203904"/>
                <a:gd name="connsiteY794" fmla="*/ 462187 h 1210683"/>
                <a:gd name="connsiteX795" fmla="*/ 659082 w 1203904"/>
                <a:gd name="connsiteY795" fmla="*/ 462090 h 1210683"/>
                <a:gd name="connsiteX796" fmla="*/ 604421 w 1203904"/>
                <a:gd name="connsiteY796" fmla="*/ 425564 h 1210683"/>
                <a:gd name="connsiteX797" fmla="*/ 598009 w 1203904"/>
                <a:gd name="connsiteY797" fmla="*/ 422088 h 1210683"/>
                <a:gd name="connsiteX798" fmla="*/ 597758 w 1203904"/>
                <a:gd name="connsiteY798" fmla="*/ 421886 h 1210683"/>
                <a:gd name="connsiteX799" fmla="*/ 592219 w 1203904"/>
                <a:gd name="connsiteY799" fmla="*/ 417499 h 1210683"/>
                <a:gd name="connsiteX800" fmla="*/ 586902 w 1203904"/>
                <a:gd name="connsiteY800" fmla="*/ 416959 h 1210683"/>
                <a:gd name="connsiteX801" fmla="*/ 586396 w 1203904"/>
                <a:gd name="connsiteY801" fmla="*/ 416959 h 1210683"/>
                <a:gd name="connsiteX802" fmla="*/ 585861 w 1203904"/>
                <a:gd name="connsiteY802" fmla="*/ 416872 h 1210683"/>
                <a:gd name="connsiteX803" fmla="*/ 579922 w 1203904"/>
                <a:gd name="connsiteY803" fmla="*/ 415093 h 1210683"/>
                <a:gd name="connsiteX804" fmla="*/ 579208 w 1203904"/>
                <a:gd name="connsiteY804" fmla="*/ 414713 h 1210683"/>
                <a:gd name="connsiteX805" fmla="*/ 572666 w 1203904"/>
                <a:gd name="connsiteY805" fmla="*/ 408725 h 1210683"/>
                <a:gd name="connsiteX806" fmla="*/ 572527 w 1203904"/>
                <a:gd name="connsiteY806" fmla="*/ 408614 h 1210683"/>
                <a:gd name="connsiteX807" fmla="*/ 567359 w 1203904"/>
                <a:gd name="connsiteY807" fmla="*/ 402853 h 1210683"/>
                <a:gd name="connsiteX808" fmla="*/ 564635 w 1203904"/>
                <a:gd name="connsiteY808" fmla="*/ 401229 h 1210683"/>
                <a:gd name="connsiteX809" fmla="*/ 564274 w 1203904"/>
                <a:gd name="connsiteY809" fmla="*/ 400949 h 1210683"/>
                <a:gd name="connsiteX810" fmla="*/ 558325 w 1203904"/>
                <a:gd name="connsiteY810" fmla="*/ 394991 h 1210683"/>
                <a:gd name="connsiteX811" fmla="*/ 536969 w 1203904"/>
                <a:gd name="connsiteY811" fmla="*/ 349850 h 1210683"/>
                <a:gd name="connsiteX812" fmla="*/ 536386 w 1203904"/>
                <a:gd name="connsiteY812" fmla="*/ 343308 h 1210683"/>
                <a:gd name="connsiteX813" fmla="*/ 536371 w 1203904"/>
                <a:gd name="connsiteY813" fmla="*/ 343125 h 1210683"/>
                <a:gd name="connsiteX814" fmla="*/ 536371 w 1203904"/>
                <a:gd name="connsiteY814" fmla="*/ 336670 h 1210683"/>
                <a:gd name="connsiteX815" fmla="*/ 535846 w 1203904"/>
                <a:gd name="connsiteY815" fmla="*/ 330851 h 1210683"/>
                <a:gd name="connsiteX816" fmla="*/ 535720 w 1203904"/>
                <a:gd name="connsiteY816" fmla="*/ 330716 h 1210683"/>
                <a:gd name="connsiteX817" fmla="*/ 535296 w 1203904"/>
                <a:gd name="connsiteY817" fmla="*/ 330114 h 1210683"/>
                <a:gd name="connsiteX818" fmla="*/ 532939 w 1203904"/>
                <a:gd name="connsiteY818" fmla="*/ 324175 h 1210683"/>
                <a:gd name="connsiteX819" fmla="*/ 534009 w 1203904"/>
                <a:gd name="connsiteY819" fmla="*/ 303074 h 1210683"/>
                <a:gd name="connsiteX820" fmla="*/ 535991 w 1203904"/>
                <a:gd name="connsiteY820" fmla="*/ 301474 h 1210683"/>
                <a:gd name="connsiteX821" fmla="*/ 542522 w 1203904"/>
                <a:gd name="connsiteY821" fmla="*/ 302043 h 1210683"/>
                <a:gd name="connsiteX822" fmla="*/ 543183 w 1203904"/>
                <a:gd name="connsiteY822" fmla="*/ 302221 h 1210683"/>
                <a:gd name="connsiteX823" fmla="*/ 547767 w 1203904"/>
                <a:gd name="connsiteY823" fmla="*/ 304521 h 1210683"/>
                <a:gd name="connsiteX824" fmla="*/ 548163 w 1203904"/>
                <a:gd name="connsiteY824" fmla="*/ 303995 h 1210683"/>
                <a:gd name="connsiteX825" fmla="*/ 547715 w 1203904"/>
                <a:gd name="connsiteY825" fmla="*/ 301165 h 1210683"/>
                <a:gd name="connsiteX826" fmla="*/ 547811 w 1203904"/>
                <a:gd name="connsiteY826" fmla="*/ 300250 h 1210683"/>
                <a:gd name="connsiteX827" fmla="*/ 550183 w 1203904"/>
                <a:gd name="connsiteY827" fmla="*/ 293713 h 1210683"/>
                <a:gd name="connsiteX828" fmla="*/ 551856 w 1203904"/>
                <a:gd name="connsiteY828" fmla="*/ 292536 h 1210683"/>
                <a:gd name="connsiteX829" fmla="*/ 553572 w 1203904"/>
                <a:gd name="connsiteY829" fmla="*/ 293665 h 1210683"/>
                <a:gd name="connsiteX830" fmla="*/ 554468 w 1203904"/>
                <a:gd name="connsiteY830" fmla="*/ 295873 h 1210683"/>
                <a:gd name="connsiteX831" fmla="*/ 554941 w 1203904"/>
                <a:gd name="connsiteY831" fmla="*/ 294879 h 1210683"/>
                <a:gd name="connsiteX832" fmla="*/ 556681 w 1203904"/>
                <a:gd name="connsiteY832" fmla="*/ 288511 h 1210683"/>
                <a:gd name="connsiteX833" fmla="*/ 556681 w 1203904"/>
                <a:gd name="connsiteY833" fmla="*/ 288458 h 1210683"/>
                <a:gd name="connsiteX834" fmla="*/ 558209 w 1203904"/>
                <a:gd name="connsiteY834" fmla="*/ 283387 h 1210683"/>
                <a:gd name="connsiteX835" fmla="*/ 557342 w 1203904"/>
                <a:gd name="connsiteY835" fmla="*/ 282225 h 1210683"/>
                <a:gd name="connsiteX836" fmla="*/ 551966 w 1203904"/>
                <a:gd name="connsiteY836" fmla="*/ 280591 h 1210683"/>
                <a:gd name="connsiteX837" fmla="*/ 551340 w 1203904"/>
                <a:gd name="connsiteY837" fmla="*/ 280268 h 1210683"/>
                <a:gd name="connsiteX838" fmla="*/ 548871 w 1203904"/>
                <a:gd name="connsiteY838" fmla="*/ 278291 h 1210683"/>
                <a:gd name="connsiteX839" fmla="*/ 542947 w 1203904"/>
                <a:gd name="connsiteY839" fmla="*/ 278291 h 1210683"/>
                <a:gd name="connsiteX840" fmla="*/ 541139 w 1203904"/>
                <a:gd name="connsiteY840" fmla="*/ 276647 h 1210683"/>
                <a:gd name="connsiteX841" fmla="*/ 540599 w 1203904"/>
                <a:gd name="connsiteY841" fmla="*/ 270458 h 1210683"/>
                <a:gd name="connsiteX842" fmla="*/ 537760 w 1203904"/>
                <a:gd name="connsiteY842" fmla="*/ 264808 h 1210683"/>
                <a:gd name="connsiteX843" fmla="*/ 537567 w 1203904"/>
                <a:gd name="connsiteY843" fmla="*/ 263959 h 1210683"/>
                <a:gd name="connsiteX844" fmla="*/ 537567 w 1203904"/>
                <a:gd name="connsiteY844" fmla="*/ 257784 h 1210683"/>
                <a:gd name="connsiteX845" fmla="*/ 536757 w 1203904"/>
                <a:gd name="connsiteY845" fmla="*/ 255754 h 1210683"/>
                <a:gd name="connsiteX846" fmla="*/ 532688 w 1203904"/>
                <a:gd name="connsiteY846" fmla="*/ 253725 h 1210683"/>
                <a:gd name="connsiteX847" fmla="*/ 528567 w 1203904"/>
                <a:gd name="connsiteY847" fmla="*/ 251970 h 1210683"/>
                <a:gd name="connsiteX848" fmla="*/ 527458 w 1203904"/>
                <a:gd name="connsiteY848" fmla="*/ 250302 h 1210683"/>
                <a:gd name="connsiteX849" fmla="*/ 527458 w 1203904"/>
                <a:gd name="connsiteY849" fmla="*/ 250018 h 1210683"/>
                <a:gd name="connsiteX850" fmla="*/ 525457 w 1203904"/>
                <a:gd name="connsiteY850" fmla="*/ 244513 h 1210683"/>
                <a:gd name="connsiteX851" fmla="*/ 522010 w 1203904"/>
                <a:gd name="connsiteY851" fmla="*/ 243033 h 1210683"/>
                <a:gd name="connsiteX852" fmla="*/ 520921 w 1203904"/>
                <a:gd name="connsiteY852" fmla="*/ 241360 h 1210683"/>
                <a:gd name="connsiteX853" fmla="*/ 520921 w 1203904"/>
                <a:gd name="connsiteY853" fmla="*/ 238998 h 1210683"/>
                <a:gd name="connsiteX854" fmla="*/ 521017 w 1203904"/>
                <a:gd name="connsiteY854" fmla="*/ 238390 h 1210683"/>
                <a:gd name="connsiteX855" fmla="*/ 521610 w 1203904"/>
                <a:gd name="connsiteY855" fmla="*/ 236621 h 1210683"/>
                <a:gd name="connsiteX856" fmla="*/ 522907 w 1203904"/>
                <a:gd name="connsiteY856" fmla="*/ 235406 h 1210683"/>
                <a:gd name="connsiteX857" fmla="*/ 524623 w 1203904"/>
                <a:gd name="connsiteY857" fmla="*/ 235936 h 1210683"/>
                <a:gd name="connsiteX858" fmla="*/ 525476 w 1203904"/>
                <a:gd name="connsiteY858" fmla="*/ 236746 h 1210683"/>
                <a:gd name="connsiteX859" fmla="*/ 527284 w 1203904"/>
                <a:gd name="connsiteY859" fmla="*/ 235850 h 1210683"/>
                <a:gd name="connsiteX860" fmla="*/ 529820 w 1203904"/>
                <a:gd name="connsiteY860" fmla="*/ 230320 h 1210683"/>
                <a:gd name="connsiteX861" fmla="*/ 529251 w 1203904"/>
                <a:gd name="connsiteY861" fmla="*/ 224290 h 1210683"/>
                <a:gd name="connsiteX862" fmla="*/ 529318 w 1203904"/>
                <a:gd name="connsiteY862" fmla="*/ 223634 h 1210683"/>
                <a:gd name="connsiteX863" fmla="*/ 531097 w 1203904"/>
                <a:gd name="connsiteY863" fmla="*/ 217102 h 1210683"/>
                <a:gd name="connsiteX864" fmla="*/ 531546 w 1203904"/>
                <a:gd name="connsiteY864" fmla="*/ 216287 h 1210683"/>
                <a:gd name="connsiteX865" fmla="*/ 532158 w 1203904"/>
                <a:gd name="connsiteY865" fmla="*/ 215690 h 1210683"/>
                <a:gd name="connsiteX866" fmla="*/ 534530 w 1203904"/>
                <a:gd name="connsiteY866" fmla="*/ 213284 h 1210683"/>
                <a:gd name="connsiteX867" fmla="*/ 535022 w 1203904"/>
                <a:gd name="connsiteY867" fmla="*/ 212966 h 1210683"/>
                <a:gd name="connsiteX868" fmla="*/ 560841 w 1203904"/>
                <a:gd name="connsiteY868" fmla="*/ 206096 h 1210683"/>
                <a:gd name="connsiteX869" fmla="*/ 561453 w 1203904"/>
                <a:gd name="connsiteY869" fmla="*/ 207576 h 1210683"/>
                <a:gd name="connsiteX870" fmla="*/ 560692 w 1203904"/>
                <a:gd name="connsiteY870" fmla="*/ 208960 h 1210683"/>
                <a:gd name="connsiteX871" fmla="*/ 554815 w 1203904"/>
                <a:gd name="connsiteY871" fmla="*/ 213033 h 1210683"/>
                <a:gd name="connsiteX872" fmla="*/ 551402 w 1203904"/>
                <a:gd name="connsiteY872" fmla="*/ 216119 h 1210683"/>
                <a:gd name="connsiteX873" fmla="*/ 583528 w 1203904"/>
                <a:gd name="connsiteY873" fmla="*/ 197660 h 1210683"/>
                <a:gd name="connsiteX874" fmla="*/ 589428 w 1203904"/>
                <a:gd name="connsiteY874" fmla="*/ 192941 h 1210683"/>
                <a:gd name="connsiteX875" fmla="*/ 590233 w 1203904"/>
                <a:gd name="connsiteY875" fmla="*/ 192598 h 1210683"/>
                <a:gd name="connsiteX876" fmla="*/ 596191 w 1203904"/>
                <a:gd name="connsiteY876" fmla="*/ 191393 h 1210683"/>
                <a:gd name="connsiteX877" fmla="*/ 596221 w 1203904"/>
                <a:gd name="connsiteY877" fmla="*/ 191393 h 1210683"/>
                <a:gd name="connsiteX878" fmla="*/ 602487 w 1203904"/>
                <a:gd name="connsiteY878" fmla="*/ 190241 h 1210683"/>
                <a:gd name="connsiteX879" fmla="*/ 607419 w 1203904"/>
                <a:gd name="connsiteY879" fmla="*/ 187783 h 1210683"/>
                <a:gd name="connsiteX880" fmla="*/ 607530 w 1203904"/>
                <a:gd name="connsiteY880" fmla="*/ 187358 h 1210683"/>
                <a:gd name="connsiteX881" fmla="*/ 610499 w 1203904"/>
                <a:gd name="connsiteY881" fmla="*/ 183140 h 1210683"/>
                <a:gd name="connsiteX882" fmla="*/ 606435 w 1203904"/>
                <a:gd name="connsiteY882" fmla="*/ 181096 h 1210683"/>
                <a:gd name="connsiteX883" fmla="*/ 605438 w 1203904"/>
                <a:gd name="connsiteY883" fmla="*/ 179636 h 1210683"/>
                <a:gd name="connsiteX884" fmla="*/ 606204 w 1203904"/>
                <a:gd name="connsiteY884" fmla="*/ 178035 h 1210683"/>
                <a:gd name="connsiteX885" fmla="*/ 618102 w 1203904"/>
                <a:gd name="connsiteY885" fmla="*/ 169647 h 1210683"/>
                <a:gd name="connsiteX886" fmla="*/ 620073 w 1203904"/>
                <a:gd name="connsiteY886" fmla="*/ 169594 h 1210683"/>
                <a:gd name="connsiteX887" fmla="*/ 625714 w 1203904"/>
                <a:gd name="connsiteY887" fmla="*/ 172964 h 1210683"/>
                <a:gd name="connsiteX888" fmla="*/ 630091 w 1203904"/>
                <a:gd name="connsiteY888" fmla="*/ 173523 h 1210683"/>
                <a:gd name="connsiteX889" fmla="*/ 630520 w 1203904"/>
                <a:gd name="connsiteY889" fmla="*/ 173658 h 1210683"/>
                <a:gd name="connsiteX890" fmla="*/ 635726 w 1203904"/>
                <a:gd name="connsiteY890" fmla="*/ 175711 h 1210683"/>
                <a:gd name="connsiteX891" fmla="*/ 637201 w 1203904"/>
                <a:gd name="connsiteY891" fmla="*/ 175480 h 1210683"/>
                <a:gd name="connsiteX892" fmla="*/ 638406 w 1203904"/>
                <a:gd name="connsiteY892" fmla="*/ 176073 h 1210683"/>
                <a:gd name="connsiteX893" fmla="*/ 639366 w 1203904"/>
                <a:gd name="connsiteY893" fmla="*/ 178088 h 1210683"/>
                <a:gd name="connsiteX894" fmla="*/ 638787 w 1203904"/>
                <a:gd name="connsiteY894" fmla="*/ 181082 h 1210683"/>
                <a:gd name="connsiteX895" fmla="*/ 639780 w 1203904"/>
                <a:gd name="connsiteY895" fmla="*/ 180792 h 1210683"/>
                <a:gd name="connsiteX896" fmla="*/ 644977 w 1203904"/>
                <a:gd name="connsiteY896" fmla="*/ 177172 h 1210683"/>
                <a:gd name="connsiteX897" fmla="*/ 646573 w 1203904"/>
                <a:gd name="connsiteY897" fmla="*/ 171807 h 1210683"/>
                <a:gd name="connsiteX898" fmla="*/ 647228 w 1203904"/>
                <a:gd name="connsiteY898" fmla="*/ 170900 h 1210683"/>
                <a:gd name="connsiteX899" fmla="*/ 651986 w 1203904"/>
                <a:gd name="connsiteY899" fmla="*/ 167328 h 1210683"/>
                <a:gd name="connsiteX900" fmla="*/ 653741 w 1203904"/>
                <a:gd name="connsiteY900" fmla="*/ 167092 h 1210683"/>
                <a:gd name="connsiteX901" fmla="*/ 656725 w 1203904"/>
                <a:gd name="connsiteY901" fmla="*/ 168273 h 1210683"/>
                <a:gd name="connsiteX902" fmla="*/ 657164 w 1203904"/>
                <a:gd name="connsiteY902" fmla="*/ 168543 h 1210683"/>
                <a:gd name="connsiteX903" fmla="*/ 663141 w 1203904"/>
                <a:gd name="connsiteY903" fmla="*/ 173301 h 1210683"/>
                <a:gd name="connsiteX904" fmla="*/ 669693 w 1203904"/>
                <a:gd name="connsiteY904" fmla="*/ 178681 h 1210683"/>
                <a:gd name="connsiteX905" fmla="*/ 670344 w 1203904"/>
                <a:gd name="connsiteY905" fmla="*/ 179727 h 1210683"/>
                <a:gd name="connsiteX906" fmla="*/ 671448 w 1203904"/>
                <a:gd name="connsiteY906" fmla="*/ 185319 h 1210683"/>
                <a:gd name="connsiteX907" fmla="*/ 675391 w 1203904"/>
                <a:gd name="connsiteY907" fmla="*/ 190926 h 1210683"/>
                <a:gd name="connsiteX908" fmla="*/ 675584 w 1203904"/>
                <a:gd name="connsiteY908" fmla="*/ 192666 h 1210683"/>
                <a:gd name="connsiteX909" fmla="*/ 674653 w 1203904"/>
                <a:gd name="connsiteY909" fmla="*/ 193403 h 1210683"/>
                <a:gd name="connsiteX910" fmla="*/ 676278 w 1203904"/>
                <a:gd name="connsiteY910" fmla="*/ 193765 h 1210683"/>
                <a:gd name="connsiteX911" fmla="*/ 678457 w 1203904"/>
                <a:gd name="connsiteY911" fmla="*/ 192994 h 1210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Lst>
              <a:rect l="l" t="t" r="r" b="b"/>
              <a:pathLst>
                <a:path w="1203904" h="1210683">
                  <a:moveTo>
                    <a:pt x="678457" y="192994"/>
                  </a:moveTo>
                  <a:cubicBezTo>
                    <a:pt x="678457" y="192994"/>
                    <a:pt x="684198" y="190198"/>
                    <a:pt x="684198" y="187889"/>
                  </a:cubicBezTo>
                  <a:cubicBezTo>
                    <a:pt x="684198" y="182354"/>
                    <a:pt x="661739" y="166321"/>
                    <a:pt x="661739" y="166321"/>
                  </a:cubicBezTo>
                  <a:lnTo>
                    <a:pt x="655886" y="165810"/>
                  </a:lnTo>
                  <a:lnTo>
                    <a:pt x="654165" y="161481"/>
                  </a:lnTo>
                  <a:cubicBezTo>
                    <a:pt x="654165" y="161481"/>
                    <a:pt x="653823" y="154785"/>
                    <a:pt x="654864" y="153237"/>
                  </a:cubicBezTo>
                  <a:cubicBezTo>
                    <a:pt x="655891" y="151656"/>
                    <a:pt x="656764" y="148412"/>
                    <a:pt x="656764" y="148412"/>
                  </a:cubicBezTo>
                  <a:lnTo>
                    <a:pt x="656581" y="147877"/>
                  </a:lnTo>
                  <a:cubicBezTo>
                    <a:pt x="656581" y="147877"/>
                    <a:pt x="656171" y="139108"/>
                    <a:pt x="653741" y="141427"/>
                  </a:cubicBezTo>
                  <a:cubicBezTo>
                    <a:pt x="651278" y="143726"/>
                    <a:pt x="649219" y="145582"/>
                    <a:pt x="647296" y="143726"/>
                  </a:cubicBezTo>
                  <a:cubicBezTo>
                    <a:pt x="645348" y="141918"/>
                    <a:pt x="642104" y="138852"/>
                    <a:pt x="642104" y="138852"/>
                  </a:cubicBezTo>
                  <a:lnTo>
                    <a:pt x="643646" y="132494"/>
                  </a:lnTo>
                  <a:lnTo>
                    <a:pt x="655028" y="122197"/>
                  </a:lnTo>
                  <a:lnTo>
                    <a:pt x="657733" y="114913"/>
                  </a:lnTo>
                  <a:lnTo>
                    <a:pt x="651162" y="114542"/>
                  </a:lnTo>
                  <a:lnTo>
                    <a:pt x="646635" y="111196"/>
                  </a:lnTo>
                  <a:lnTo>
                    <a:pt x="640436" y="108896"/>
                  </a:lnTo>
                  <a:lnTo>
                    <a:pt x="634622" y="112107"/>
                  </a:lnTo>
                  <a:lnTo>
                    <a:pt x="632954" y="105242"/>
                  </a:lnTo>
                  <a:lnTo>
                    <a:pt x="635668" y="92347"/>
                  </a:lnTo>
                  <a:lnTo>
                    <a:pt x="647301" y="85892"/>
                  </a:lnTo>
                  <a:lnTo>
                    <a:pt x="652054" y="79818"/>
                  </a:lnTo>
                  <a:lnTo>
                    <a:pt x="657487" y="79948"/>
                  </a:lnTo>
                  <a:lnTo>
                    <a:pt x="659810" y="68788"/>
                  </a:lnTo>
                  <a:cubicBezTo>
                    <a:pt x="653809" y="67274"/>
                    <a:pt x="642615" y="64864"/>
                    <a:pt x="638773" y="64319"/>
                  </a:cubicBezTo>
                  <a:cubicBezTo>
                    <a:pt x="634102" y="63683"/>
                    <a:pt x="624166" y="65240"/>
                    <a:pt x="621977" y="65848"/>
                  </a:cubicBezTo>
                  <a:cubicBezTo>
                    <a:pt x="619774" y="66523"/>
                    <a:pt x="610475" y="64459"/>
                    <a:pt x="606734" y="62512"/>
                  </a:cubicBezTo>
                  <a:cubicBezTo>
                    <a:pt x="602984" y="60598"/>
                    <a:pt x="593810" y="62256"/>
                    <a:pt x="590460" y="61090"/>
                  </a:cubicBezTo>
                  <a:cubicBezTo>
                    <a:pt x="587095" y="59928"/>
                    <a:pt x="587230" y="61090"/>
                    <a:pt x="582838" y="60954"/>
                  </a:cubicBezTo>
                  <a:cubicBezTo>
                    <a:pt x="578451" y="60849"/>
                    <a:pt x="563594" y="55271"/>
                    <a:pt x="563594" y="55271"/>
                  </a:cubicBezTo>
                  <a:lnTo>
                    <a:pt x="553383" y="55801"/>
                  </a:lnTo>
                  <a:lnTo>
                    <a:pt x="541260" y="51511"/>
                  </a:lnTo>
                  <a:lnTo>
                    <a:pt x="535581" y="47534"/>
                  </a:lnTo>
                  <a:lnTo>
                    <a:pt x="533113" y="40307"/>
                  </a:lnTo>
                  <a:lnTo>
                    <a:pt x="527949" y="40062"/>
                  </a:lnTo>
                  <a:lnTo>
                    <a:pt x="527694" y="34629"/>
                  </a:lnTo>
                  <a:cubicBezTo>
                    <a:pt x="527694" y="34629"/>
                    <a:pt x="527694" y="33539"/>
                    <a:pt x="526908" y="29311"/>
                  </a:cubicBezTo>
                  <a:cubicBezTo>
                    <a:pt x="526137" y="25035"/>
                    <a:pt x="522275" y="27234"/>
                    <a:pt x="520988" y="27769"/>
                  </a:cubicBezTo>
                  <a:cubicBezTo>
                    <a:pt x="519677" y="28299"/>
                    <a:pt x="517874" y="26862"/>
                    <a:pt x="516322" y="25966"/>
                  </a:cubicBezTo>
                  <a:cubicBezTo>
                    <a:pt x="514770" y="25040"/>
                    <a:pt x="513102" y="23903"/>
                    <a:pt x="513353" y="21690"/>
                  </a:cubicBezTo>
                  <a:cubicBezTo>
                    <a:pt x="513622" y="19506"/>
                    <a:pt x="511689" y="11123"/>
                    <a:pt x="511689" y="11123"/>
                  </a:cubicBezTo>
                  <a:lnTo>
                    <a:pt x="516838" y="8915"/>
                  </a:lnTo>
                  <a:cubicBezTo>
                    <a:pt x="516838" y="8915"/>
                    <a:pt x="518000" y="7888"/>
                    <a:pt x="519937" y="2344"/>
                  </a:cubicBezTo>
                  <a:cubicBezTo>
                    <a:pt x="521885" y="-3224"/>
                    <a:pt x="505326" y="2590"/>
                    <a:pt x="502390" y="4774"/>
                  </a:cubicBezTo>
                  <a:cubicBezTo>
                    <a:pt x="499406" y="6991"/>
                    <a:pt x="491529" y="9551"/>
                    <a:pt x="491529" y="9551"/>
                  </a:cubicBezTo>
                  <a:cubicBezTo>
                    <a:pt x="491529" y="9551"/>
                    <a:pt x="486491" y="11870"/>
                    <a:pt x="478749" y="16802"/>
                  </a:cubicBezTo>
                  <a:cubicBezTo>
                    <a:pt x="471253" y="11499"/>
                    <a:pt x="464157" y="12540"/>
                    <a:pt x="462345" y="13948"/>
                  </a:cubicBezTo>
                  <a:cubicBezTo>
                    <a:pt x="460532" y="15360"/>
                    <a:pt x="458469" y="14073"/>
                    <a:pt x="456666" y="12786"/>
                  </a:cubicBezTo>
                  <a:cubicBezTo>
                    <a:pt x="454843" y="11499"/>
                    <a:pt x="452534" y="12010"/>
                    <a:pt x="447622" y="17819"/>
                  </a:cubicBezTo>
                  <a:cubicBezTo>
                    <a:pt x="439123" y="12010"/>
                    <a:pt x="424632" y="20398"/>
                    <a:pt x="424632" y="20398"/>
                  </a:cubicBezTo>
                  <a:lnTo>
                    <a:pt x="417796" y="26723"/>
                  </a:lnTo>
                  <a:lnTo>
                    <a:pt x="415203" y="39271"/>
                  </a:lnTo>
                  <a:lnTo>
                    <a:pt x="410430" y="45721"/>
                  </a:lnTo>
                  <a:lnTo>
                    <a:pt x="405923" y="44795"/>
                  </a:lnTo>
                  <a:cubicBezTo>
                    <a:pt x="405923" y="44795"/>
                    <a:pt x="404723" y="44950"/>
                    <a:pt x="398412" y="45986"/>
                  </a:cubicBezTo>
                  <a:cubicBezTo>
                    <a:pt x="392083" y="47028"/>
                    <a:pt x="385136" y="41204"/>
                    <a:pt x="384186" y="37063"/>
                  </a:cubicBezTo>
                  <a:cubicBezTo>
                    <a:pt x="383304" y="32922"/>
                    <a:pt x="376584" y="32151"/>
                    <a:pt x="374786" y="33713"/>
                  </a:cubicBezTo>
                  <a:cubicBezTo>
                    <a:pt x="372969" y="35241"/>
                    <a:pt x="370640" y="35019"/>
                    <a:pt x="367560" y="35805"/>
                  </a:cubicBezTo>
                  <a:cubicBezTo>
                    <a:pt x="365545" y="36272"/>
                    <a:pt x="363510" y="36036"/>
                    <a:pt x="361201" y="33510"/>
                  </a:cubicBezTo>
                  <a:cubicBezTo>
                    <a:pt x="361211" y="33611"/>
                    <a:pt x="361201" y="33732"/>
                    <a:pt x="361211" y="33838"/>
                  </a:cubicBezTo>
                  <a:cubicBezTo>
                    <a:pt x="361842" y="37825"/>
                    <a:pt x="358767" y="46627"/>
                    <a:pt x="356438" y="49341"/>
                  </a:cubicBezTo>
                  <a:cubicBezTo>
                    <a:pt x="354124" y="52046"/>
                    <a:pt x="353864" y="57479"/>
                    <a:pt x="353864" y="57479"/>
                  </a:cubicBezTo>
                  <a:lnTo>
                    <a:pt x="355402" y="63172"/>
                  </a:lnTo>
                  <a:cubicBezTo>
                    <a:pt x="355402" y="63172"/>
                    <a:pt x="356303" y="65124"/>
                    <a:pt x="359543" y="65124"/>
                  </a:cubicBezTo>
                  <a:cubicBezTo>
                    <a:pt x="362753" y="65124"/>
                    <a:pt x="362257" y="71179"/>
                    <a:pt x="362257" y="71179"/>
                  </a:cubicBezTo>
                  <a:lnTo>
                    <a:pt x="360059" y="77760"/>
                  </a:lnTo>
                  <a:lnTo>
                    <a:pt x="352702" y="75176"/>
                  </a:lnTo>
                  <a:lnTo>
                    <a:pt x="347665" y="75961"/>
                  </a:lnTo>
                  <a:lnTo>
                    <a:pt x="341210" y="71406"/>
                  </a:lnTo>
                  <a:cubicBezTo>
                    <a:pt x="341210" y="71406"/>
                    <a:pt x="340313" y="68952"/>
                    <a:pt x="339899" y="66387"/>
                  </a:cubicBezTo>
                  <a:cubicBezTo>
                    <a:pt x="339518" y="63837"/>
                    <a:pt x="327779" y="67819"/>
                    <a:pt x="327779" y="67819"/>
                  </a:cubicBezTo>
                  <a:lnTo>
                    <a:pt x="323388" y="81360"/>
                  </a:lnTo>
                  <a:lnTo>
                    <a:pt x="323638" y="87840"/>
                  </a:lnTo>
                  <a:lnTo>
                    <a:pt x="327133" y="93624"/>
                  </a:lnTo>
                  <a:lnTo>
                    <a:pt x="333337" y="94531"/>
                  </a:lnTo>
                  <a:lnTo>
                    <a:pt x="329592" y="101386"/>
                  </a:lnTo>
                  <a:lnTo>
                    <a:pt x="329076" y="107344"/>
                  </a:lnTo>
                  <a:lnTo>
                    <a:pt x="335145" y="112632"/>
                  </a:lnTo>
                  <a:lnTo>
                    <a:pt x="329847" y="119483"/>
                  </a:lnTo>
                  <a:lnTo>
                    <a:pt x="323397" y="118046"/>
                  </a:lnTo>
                  <a:lnTo>
                    <a:pt x="318114" y="112261"/>
                  </a:lnTo>
                  <a:lnTo>
                    <a:pt x="316692" y="105377"/>
                  </a:lnTo>
                  <a:cubicBezTo>
                    <a:pt x="316692" y="105377"/>
                    <a:pt x="315405" y="103213"/>
                    <a:pt x="312946" y="100749"/>
                  </a:cubicBezTo>
                  <a:cubicBezTo>
                    <a:pt x="310492" y="98276"/>
                    <a:pt x="306467" y="99602"/>
                    <a:pt x="303507" y="101386"/>
                  </a:cubicBezTo>
                  <a:cubicBezTo>
                    <a:pt x="300547" y="103213"/>
                    <a:pt x="299004" y="102952"/>
                    <a:pt x="295620" y="102832"/>
                  </a:cubicBezTo>
                  <a:cubicBezTo>
                    <a:pt x="292289" y="102697"/>
                    <a:pt x="291508" y="110193"/>
                    <a:pt x="291508" y="110193"/>
                  </a:cubicBezTo>
                  <a:cubicBezTo>
                    <a:pt x="291508" y="110193"/>
                    <a:pt x="284272" y="110805"/>
                    <a:pt x="280927" y="110709"/>
                  </a:cubicBezTo>
                  <a:cubicBezTo>
                    <a:pt x="277543" y="110564"/>
                    <a:pt x="272404" y="104355"/>
                    <a:pt x="272404" y="102952"/>
                  </a:cubicBezTo>
                  <a:cubicBezTo>
                    <a:pt x="272404" y="101516"/>
                    <a:pt x="271353" y="96604"/>
                    <a:pt x="268518" y="94671"/>
                  </a:cubicBezTo>
                  <a:cubicBezTo>
                    <a:pt x="265669" y="92728"/>
                    <a:pt x="268243" y="82657"/>
                    <a:pt x="268243" y="82657"/>
                  </a:cubicBezTo>
                  <a:lnTo>
                    <a:pt x="262965" y="86654"/>
                  </a:lnTo>
                  <a:lnTo>
                    <a:pt x="257421" y="82792"/>
                  </a:lnTo>
                  <a:lnTo>
                    <a:pt x="251091" y="88100"/>
                  </a:lnTo>
                  <a:lnTo>
                    <a:pt x="252128" y="94429"/>
                  </a:lnTo>
                  <a:lnTo>
                    <a:pt x="251607" y="99978"/>
                  </a:lnTo>
                  <a:lnTo>
                    <a:pt x="252750" y="106664"/>
                  </a:lnTo>
                  <a:lnTo>
                    <a:pt x="249014" y="119102"/>
                  </a:lnTo>
                  <a:lnTo>
                    <a:pt x="245798" y="121030"/>
                  </a:lnTo>
                  <a:lnTo>
                    <a:pt x="240872" y="127736"/>
                  </a:lnTo>
                  <a:lnTo>
                    <a:pt x="238283" y="129274"/>
                  </a:lnTo>
                  <a:lnTo>
                    <a:pt x="234291" y="135087"/>
                  </a:lnTo>
                  <a:lnTo>
                    <a:pt x="233790" y="140781"/>
                  </a:lnTo>
                  <a:lnTo>
                    <a:pt x="227041" y="146965"/>
                  </a:lnTo>
                  <a:lnTo>
                    <a:pt x="228743" y="150730"/>
                  </a:lnTo>
                  <a:lnTo>
                    <a:pt x="226274" y="153671"/>
                  </a:lnTo>
                  <a:lnTo>
                    <a:pt x="232860" y="165583"/>
                  </a:lnTo>
                  <a:cubicBezTo>
                    <a:pt x="232860" y="165583"/>
                    <a:pt x="230550" y="170997"/>
                    <a:pt x="229900" y="172414"/>
                  </a:cubicBezTo>
                  <a:cubicBezTo>
                    <a:pt x="229263" y="173836"/>
                    <a:pt x="226434" y="174911"/>
                    <a:pt x="225392" y="173349"/>
                  </a:cubicBezTo>
                  <a:cubicBezTo>
                    <a:pt x="224327" y="171758"/>
                    <a:pt x="222644" y="171363"/>
                    <a:pt x="217515" y="172670"/>
                  </a:cubicBezTo>
                  <a:cubicBezTo>
                    <a:pt x="224086" y="165429"/>
                    <a:pt x="212333" y="154727"/>
                    <a:pt x="209122" y="152534"/>
                  </a:cubicBezTo>
                  <a:cubicBezTo>
                    <a:pt x="205863" y="150335"/>
                    <a:pt x="207956" y="147226"/>
                    <a:pt x="210409" y="145293"/>
                  </a:cubicBezTo>
                  <a:cubicBezTo>
                    <a:pt x="212854" y="143360"/>
                    <a:pt x="211566" y="141812"/>
                    <a:pt x="210530" y="139368"/>
                  </a:cubicBezTo>
                  <a:cubicBezTo>
                    <a:pt x="209513" y="136905"/>
                    <a:pt x="207830" y="136509"/>
                    <a:pt x="205242" y="135762"/>
                  </a:cubicBezTo>
                  <a:cubicBezTo>
                    <a:pt x="202643" y="134938"/>
                    <a:pt x="200570" y="134938"/>
                    <a:pt x="198897" y="136370"/>
                  </a:cubicBezTo>
                  <a:cubicBezTo>
                    <a:pt x="197234" y="137806"/>
                    <a:pt x="188307" y="129028"/>
                    <a:pt x="188307" y="129028"/>
                  </a:cubicBezTo>
                  <a:cubicBezTo>
                    <a:pt x="188307" y="129028"/>
                    <a:pt x="185732" y="126974"/>
                    <a:pt x="184190" y="123079"/>
                  </a:cubicBezTo>
                  <a:cubicBezTo>
                    <a:pt x="182647" y="119193"/>
                    <a:pt x="181606" y="119333"/>
                    <a:pt x="178236" y="119102"/>
                  </a:cubicBezTo>
                  <a:cubicBezTo>
                    <a:pt x="174881" y="118803"/>
                    <a:pt x="174625" y="106824"/>
                    <a:pt x="176038" y="102832"/>
                  </a:cubicBezTo>
                  <a:cubicBezTo>
                    <a:pt x="177455" y="98787"/>
                    <a:pt x="177084" y="93629"/>
                    <a:pt x="176563" y="90018"/>
                  </a:cubicBezTo>
                  <a:cubicBezTo>
                    <a:pt x="176038" y="86408"/>
                    <a:pt x="168956" y="88982"/>
                    <a:pt x="168956" y="88982"/>
                  </a:cubicBezTo>
                  <a:lnTo>
                    <a:pt x="162101" y="91725"/>
                  </a:lnTo>
                  <a:lnTo>
                    <a:pt x="161325" y="99602"/>
                  </a:lnTo>
                  <a:lnTo>
                    <a:pt x="155531" y="103454"/>
                  </a:lnTo>
                  <a:lnTo>
                    <a:pt x="149567" y="109523"/>
                  </a:lnTo>
                  <a:lnTo>
                    <a:pt x="142977" y="111606"/>
                  </a:lnTo>
                  <a:lnTo>
                    <a:pt x="147239" y="122308"/>
                  </a:lnTo>
                  <a:lnTo>
                    <a:pt x="147128" y="125943"/>
                  </a:lnTo>
                  <a:lnTo>
                    <a:pt x="144019" y="133188"/>
                  </a:lnTo>
                  <a:lnTo>
                    <a:pt x="137303" y="135999"/>
                  </a:lnTo>
                  <a:cubicBezTo>
                    <a:pt x="137303" y="135999"/>
                    <a:pt x="135361" y="144401"/>
                    <a:pt x="134835" y="146720"/>
                  </a:cubicBezTo>
                  <a:cubicBezTo>
                    <a:pt x="134343" y="149043"/>
                    <a:pt x="129436" y="149578"/>
                    <a:pt x="124124" y="151111"/>
                  </a:cubicBezTo>
                  <a:cubicBezTo>
                    <a:pt x="118859" y="152688"/>
                    <a:pt x="118970" y="158646"/>
                    <a:pt x="118970" y="158646"/>
                  </a:cubicBezTo>
                  <a:lnTo>
                    <a:pt x="106046" y="157195"/>
                  </a:lnTo>
                  <a:lnTo>
                    <a:pt x="100497" y="150851"/>
                  </a:lnTo>
                  <a:lnTo>
                    <a:pt x="93006" y="149699"/>
                  </a:lnTo>
                  <a:lnTo>
                    <a:pt x="90938" y="149207"/>
                  </a:lnTo>
                  <a:cubicBezTo>
                    <a:pt x="90938" y="149207"/>
                    <a:pt x="82545" y="154611"/>
                    <a:pt x="78944" y="157195"/>
                  </a:cubicBezTo>
                  <a:cubicBezTo>
                    <a:pt x="75319" y="159765"/>
                    <a:pt x="67186" y="157952"/>
                    <a:pt x="67186" y="157952"/>
                  </a:cubicBezTo>
                  <a:lnTo>
                    <a:pt x="60471" y="160941"/>
                  </a:lnTo>
                  <a:cubicBezTo>
                    <a:pt x="60471" y="160941"/>
                    <a:pt x="53616" y="161177"/>
                    <a:pt x="50126" y="161977"/>
                  </a:cubicBezTo>
                  <a:cubicBezTo>
                    <a:pt x="48660" y="162281"/>
                    <a:pt x="46549" y="159610"/>
                    <a:pt x="44428" y="156081"/>
                  </a:cubicBezTo>
                  <a:lnTo>
                    <a:pt x="40065" y="157826"/>
                  </a:lnTo>
                  <a:lnTo>
                    <a:pt x="36464" y="164783"/>
                  </a:lnTo>
                  <a:lnTo>
                    <a:pt x="30515" y="167121"/>
                  </a:lnTo>
                  <a:lnTo>
                    <a:pt x="27676" y="165429"/>
                  </a:lnTo>
                  <a:lnTo>
                    <a:pt x="21823" y="168519"/>
                  </a:lnTo>
                  <a:lnTo>
                    <a:pt x="20160" y="177056"/>
                  </a:lnTo>
                  <a:lnTo>
                    <a:pt x="21341" y="183540"/>
                  </a:lnTo>
                  <a:lnTo>
                    <a:pt x="28302" y="187508"/>
                  </a:lnTo>
                  <a:lnTo>
                    <a:pt x="30771" y="191249"/>
                  </a:lnTo>
                  <a:cubicBezTo>
                    <a:pt x="30771" y="191249"/>
                    <a:pt x="33224" y="192690"/>
                    <a:pt x="36174" y="194377"/>
                  </a:cubicBezTo>
                  <a:cubicBezTo>
                    <a:pt x="31527" y="211158"/>
                    <a:pt x="46120" y="216562"/>
                    <a:pt x="46120" y="216562"/>
                  </a:cubicBezTo>
                  <a:lnTo>
                    <a:pt x="47301" y="219811"/>
                  </a:lnTo>
                  <a:lnTo>
                    <a:pt x="52975" y="224333"/>
                  </a:lnTo>
                  <a:lnTo>
                    <a:pt x="51929" y="230822"/>
                  </a:lnTo>
                  <a:lnTo>
                    <a:pt x="46862" y="236708"/>
                  </a:lnTo>
                  <a:lnTo>
                    <a:pt x="48670" y="242550"/>
                  </a:lnTo>
                  <a:cubicBezTo>
                    <a:pt x="48670" y="242550"/>
                    <a:pt x="47908" y="246147"/>
                    <a:pt x="46235" y="247820"/>
                  </a:cubicBezTo>
                  <a:cubicBezTo>
                    <a:pt x="44553" y="249507"/>
                    <a:pt x="40272" y="251469"/>
                    <a:pt x="36146" y="251088"/>
                  </a:cubicBezTo>
                  <a:cubicBezTo>
                    <a:pt x="32019" y="250673"/>
                    <a:pt x="31368" y="253527"/>
                    <a:pt x="31498" y="255345"/>
                  </a:cubicBezTo>
                  <a:cubicBezTo>
                    <a:pt x="31629" y="257114"/>
                    <a:pt x="28654" y="257765"/>
                    <a:pt x="27116" y="259601"/>
                  </a:cubicBezTo>
                  <a:cubicBezTo>
                    <a:pt x="25550" y="261409"/>
                    <a:pt x="23376" y="261014"/>
                    <a:pt x="21563" y="260257"/>
                  </a:cubicBezTo>
                  <a:cubicBezTo>
                    <a:pt x="13035" y="256352"/>
                    <a:pt x="0" y="263198"/>
                    <a:pt x="0" y="263198"/>
                  </a:cubicBezTo>
                  <a:lnTo>
                    <a:pt x="2584" y="268139"/>
                  </a:lnTo>
                  <a:lnTo>
                    <a:pt x="5038" y="274550"/>
                  </a:lnTo>
                  <a:lnTo>
                    <a:pt x="11092" y="279607"/>
                  </a:lnTo>
                  <a:lnTo>
                    <a:pt x="11473" y="287243"/>
                  </a:lnTo>
                  <a:lnTo>
                    <a:pt x="14968" y="293322"/>
                  </a:lnTo>
                  <a:cubicBezTo>
                    <a:pt x="14968" y="293322"/>
                    <a:pt x="21033" y="299001"/>
                    <a:pt x="22975" y="298471"/>
                  </a:cubicBezTo>
                  <a:cubicBezTo>
                    <a:pt x="24918" y="297960"/>
                    <a:pt x="27357" y="299088"/>
                    <a:pt x="31629" y="299348"/>
                  </a:cubicBezTo>
                  <a:cubicBezTo>
                    <a:pt x="35900" y="299642"/>
                    <a:pt x="37047" y="311496"/>
                    <a:pt x="37047" y="311496"/>
                  </a:cubicBezTo>
                  <a:cubicBezTo>
                    <a:pt x="37047" y="311496"/>
                    <a:pt x="37968" y="314856"/>
                    <a:pt x="39636" y="317980"/>
                  </a:cubicBezTo>
                  <a:cubicBezTo>
                    <a:pt x="36146" y="319513"/>
                    <a:pt x="29349" y="325833"/>
                    <a:pt x="29349" y="325833"/>
                  </a:cubicBezTo>
                  <a:lnTo>
                    <a:pt x="27488" y="332688"/>
                  </a:lnTo>
                  <a:lnTo>
                    <a:pt x="21307" y="338381"/>
                  </a:lnTo>
                  <a:lnTo>
                    <a:pt x="19495" y="344706"/>
                  </a:lnTo>
                  <a:lnTo>
                    <a:pt x="23631" y="350925"/>
                  </a:lnTo>
                  <a:lnTo>
                    <a:pt x="21693" y="357240"/>
                  </a:lnTo>
                  <a:lnTo>
                    <a:pt x="22595" y="365503"/>
                  </a:lnTo>
                  <a:lnTo>
                    <a:pt x="28924" y="373881"/>
                  </a:lnTo>
                  <a:lnTo>
                    <a:pt x="30857" y="380731"/>
                  </a:lnTo>
                  <a:lnTo>
                    <a:pt x="37577" y="381377"/>
                  </a:lnTo>
                  <a:lnTo>
                    <a:pt x="43897" y="386039"/>
                  </a:lnTo>
                  <a:lnTo>
                    <a:pt x="50887" y="389269"/>
                  </a:lnTo>
                  <a:lnTo>
                    <a:pt x="68690" y="397416"/>
                  </a:lnTo>
                  <a:lnTo>
                    <a:pt x="74760" y="397416"/>
                  </a:lnTo>
                  <a:lnTo>
                    <a:pt x="87033" y="393555"/>
                  </a:lnTo>
                  <a:lnTo>
                    <a:pt x="91044" y="394061"/>
                  </a:lnTo>
                  <a:lnTo>
                    <a:pt x="95566" y="391843"/>
                  </a:lnTo>
                  <a:lnTo>
                    <a:pt x="94659" y="398303"/>
                  </a:lnTo>
                  <a:lnTo>
                    <a:pt x="99948" y="405018"/>
                  </a:lnTo>
                  <a:cubicBezTo>
                    <a:pt x="99948" y="405018"/>
                    <a:pt x="97378" y="409661"/>
                    <a:pt x="90658" y="419225"/>
                  </a:cubicBezTo>
                  <a:cubicBezTo>
                    <a:pt x="75743" y="429266"/>
                    <a:pt x="77512" y="437939"/>
                    <a:pt x="80453" y="443497"/>
                  </a:cubicBezTo>
                  <a:lnTo>
                    <a:pt x="80795" y="443285"/>
                  </a:lnTo>
                  <a:lnTo>
                    <a:pt x="82622" y="443285"/>
                  </a:lnTo>
                  <a:lnTo>
                    <a:pt x="82728" y="443410"/>
                  </a:lnTo>
                  <a:lnTo>
                    <a:pt x="87949" y="442460"/>
                  </a:lnTo>
                  <a:lnTo>
                    <a:pt x="88802" y="442504"/>
                  </a:lnTo>
                  <a:lnTo>
                    <a:pt x="94144" y="444109"/>
                  </a:lnTo>
                  <a:lnTo>
                    <a:pt x="99475" y="441983"/>
                  </a:lnTo>
                  <a:lnTo>
                    <a:pt x="105993" y="439038"/>
                  </a:lnTo>
                  <a:lnTo>
                    <a:pt x="106364" y="438898"/>
                  </a:lnTo>
                  <a:lnTo>
                    <a:pt x="112289" y="437722"/>
                  </a:lnTo>
                  <a:lnTo>
                    <a:pt x="114641" y="437162"/>
                  </a:lnTo>
                  <a:lnTo>
                    <a:pt x="114704" y="437148"/>
                  </a:lnTo>
                  <a:lnTo>
                    <a:pt x="120310" y="436001"/>
                  </a:lnTo>
                  <a:lnTo>
                    <a:pt x="126582" y="432028"/>
                  </a:lnTo>
                  <a:lnTo>
                    <a:pt x="126934" y="431855"/>
                  </a:lnTo>
                  <a:lnTo>
                    <a:pt x="133105" y="429589"/>
                  </a:lnTo>
                  <a:lnTo>
                    <a:pt x="138783" y="423939"/>
                  </a:lnTo>
                  <a:lnTo>
                    <a:pt x="139251" y="423592"/>
                  </a:lnTo>
                  <a:lnTo>
                    <a:pt x="141695" y="422348"/>
                  </a:lnTo>
                  <a:lnTo>
                    <a:pt x="141213" y="417682"/>
                  </a:lnTo>
                  <a:lnTo>
                    <a:pt x="141820" y="416125"/>
                  </a:lnTo>
                  <a:lnTo>
                    <a:pt x="147755" y="410726"/>
                  </a:lnTo>
                  <a:lnTo>
                    <a:pt x="147755" y="408552"/>
                  </a:lnTo>
                  <a:lnTo>
                    <a:pt x="147861" y="407920"/>
                  </a:lnTo>
                  <a:lnTo>
                    <a:pt x="150242" y="401388"/>
                  </a:lnTo>
                  <a:lnTo>
                    <a:pt x="150729" y="400641"/>
                  </a:lnTo>
                  <a:lnTo>
                    <a:pt x="156683" y="395275"/>
                  </a:lnTo>
                  <a:lnTo>
                    <a:pt x="157232" y="394962"/>
                  </a:lnTo>
                  <a:lnTo>
                    <a:pt x="162766" y="392745"/>
                  </a:lnTo>
                  <a:cubicBezTo>
                    <a:pt x="175855" y="377231"/>
                    <a:pt x="164560" y="376716"/>
                    <a:pt x="186933" y="366693"/>
                  </a:cubicBezTo>
                  <a:lnTo>
                    <a:pt x="187453" y="365830"/>
                  </a:lnTo>
                  <a:lnTo>
                    <a:pt x="193320" y="362943"/>
                  </a:lnTo>
                  <a:lnTo>
                    <a:pt x="199775" y="358826"/>
                  </a:lnTo>
                  <a:lnTo>
                    <a:pt x="200951" y="358546"/>
                  </a:lnTo>
                  <a:lnTo>
                    <a:pt x="206881" y="359115"/>
                  </a:lnTo>
                  <a:lnTo>
                    <a:pt x="207329" y="359241"/>
                  </a:lnTo>
                  <a:lnTo>
                    <a:pt x="213875" y="361632"/>
                  </a:lnTo>
                  <a:lnTo>
                    <a:pt x="213914" y="361656"/>
                  </a:lnTo>
                  <a:lnTo>
                    <a:pt x="219723" y="363941"/>
                  </a:lnTo>
                  <a:lnTo>
                    <a:pt x="226082" y="365136"/>
                  </a:lnTo>
                  <a:lnTo>
                    <a:pt x="226120" y="365136"/>
                  </a:lnTo>
                  <a:lnTo>
                    <a:pt x="232050" y="366298"/>
                  </a:lnTo>
                  <a:lnTo>
                    <a:pt x="232565" y="366491"/>
                  </a:lnTo>
                  <a:lnTo>
                    <a:pt x="239131" y="370063"/>
                  </a:lnTo>
                  <a:lnTo>
                    <a:pt x="239512" y="370343"/>
                  </a:lnTo>
                  <a:lnTo>
                    <a:pt x="244424" y="375216"/>
                  </a:lnTo>
                  <a:lnTo>
                    <a:pt x="249100" y="371972"/>
                  </a:lnTo>
                  <a:lnTo>
                    <a:pt x="250903" y="371765"/>
                  </a:lnTo>
                  <a:lnTo>
                    <a:pt x="257465" y="374744"/>
                  </a:lnTo>
                  <a:lnTo>
                    <a:pt x="258192" y="375371"/>
                  </a:lnTo>
                  <a:lnTo>
                    <a:pt x="262145" y="381045"/>
                  </a:lnTo>
                  <a:lnTo>
                    <a:pt x="268378" y="384998"/>
                  </a:lnTo>
                  <a:lnTo>
                    <a:pt x="274226" y="388512"/>
                  </a:lnTo>
                  <a:lnTo>
                    <a:pt x="275354" y="389066"/>
                  </a:lnTo>
                  <a:lnTo>
                    <a:pt x="275672" y="389278"/>
                  </a:lnTo>
                  <a:lnTo>
                    <a:pt x="281553" y="393984"/>
                  </a:lnTo>
                  <a:lnTo>
                    <a:pt x="288013" y="398086"/>
                  </a:lnTo>
                  <a:lnTo>
                    <a:pt x="293918" y="401624"/>
                  </a:lnTo>
                  <a:lnTo>
                    <a:pt x="294164" y="401807"/>
                  </a:lnTo>
                  <a:lnTo>
                    <a:pt x="300350" y="406855"/>
                  </a:lnTo>
                  <a:lnTo>
                    <a:pt x="303169" y="407428"/>
                  </a:lnTo>
                  <a:lnTo>
                    <a:pt x="302524" y="404141"/>
                  </a:lnTo>
                  <a:lnTo>
                    <a:pt x="302914" y="402642"/>
                  </a:lnTo>
                  <a:lnTo>
                    <a:pt x="304302" y="401976"/>
                  </a:lnTo>
                  <a:lnTo>
                    <a:pt x="306081" y="401976"/>
                  </a:lnTo>
                  <a:lnTo>
                    <a:pt x="307306" y="402439"/>
                  </a:lnTo>
                  <a:lnTo>
                    <a:pt x="313062" y="407641"/>
                  </a:lnTo>
                  <a:lnTo>
                    <a:pt x="314922" y="408552"/>
                  </a:lnTo>
                  <a:lnTo>
                    <a:pt x="321122" y="409121"/>
                  </a:lnTo>
                  <a:lnTo>
                    <a:pt x="321773" y="409333"/>
                  </a:lnTo>
                  <a:lnTo>
                    <a:pt x="324178" y="410480"/>
                  </a:lnTo>
                  <a:lnTo>
                    <a:pt x="325345" y="411092"/>
                  </a:lnTo>
                  <a:lnTo>
                    <a:pt x="325518" y="411193"/>
                  </a:lnTo>
                  <a:lnTo>
                    <a:pt x="332070" y="415315"/>
                  </a:lnTo>
                  <a:lnTo>
                    <a:pt x="332508" y="415725"/>
                  </a:lnTo>
                  <a:cubicBezTo>
                    <a:pt x="344276" y="429271"/>
                    <a:pt x="348614" y="436618"/>
                    <a:pt x="349550" y="454792"/>
                  </a:cubicBezTo>
                  <a:cubicBezTo>
                    <a:pt x="351285" y="497479"/>
                    <a:pt x="355604" y="477010"/>
                    <a:pt x="370119" y="509970"/>
                  </a:cubicBezTo>
                  <a:cubicBezTo>
                    <a:pt x="374188" y="515784"/>
                    <a:pt x="376425" y="522836"/>
                    <a:pt x="376348" y="529952"/>
                  </a:cubicBezTo>
                  <a:lnTo>
                    <a:pt x="376348" y="542466"/>
                  </a:lnTo>
                  <a:lnTo>
                    <a:pt x="376309" y="542818"/>
                  </a:lnTo>
                  <a:lnTo>
                    <a:pt x="375114" y="548743"/>
                  </a:lnTo>
                  <a:lnTo>
                    <a:pt x="374810" y="549432"/>
                  </a:lnTo>
                  <a:lnTo>
                    <a:pt x="371590" y="554041"/>
                  </a:lnTo>
                  <a:lnTo>
                    <a:pt x="375610" y="557724"/>
                  </a:lnTo>
                  <a:lnTo>
                    <a:pt x="381207" y="556152"/>
                  </a:lnTo>
                  <a:lnTo>
                    <a:pt x="382017" y="556152"/>
                  </a:lnTo>
                  <a:lnTo>
                    <a:pt x="387971" y="557309"/>
                  </a:lnTo>
                  <a:lnTo>
                    <a:pt x="388303" y="557410"/>
                  </a:lnTo>
                  <a:lnTo>
                    <a:pt x="394252" y="559792"/>
                  </a:lnTo>
                  <a:lnTo>
                    <a:pt x="394859" y="560187"/>
                  </a:lnTo>
                  <a:lnTo>
                    <a:pt x="399589" y="564945"/>
                  </a:lnTo>
                  <a:lnTo>
                    <a:pt x="400143" y="566435"/>
                  </a:lnTo>
                  <a:lnTo>
                    <a:pt x="399550" y="572957"/>
                  </a:lnTo>
                  <a:lnTo>
                    <a:pt x="399454" y="573415"/>
                  </a:lnTo>
                  <a:lnTo>
                    <a:pt x="397718" y="578159"/>
                  </a:lnTo>
                  <a:cubicBezTo>
                    <a:pt x="403807" y="580299"/>
                    <a:pt x="409669" y="580521"/>
                    <a:pt x="415005" y="584556"/>
                  </a:cubicBezTo>
                  <a:lnTo>
                    <a:pt x="420983" y="589882"/>
                  </a:lnTo>
                  <a:lnTo>
                    <a:pt x="421441" y="590587"/>
                  </a:lnTo>
                  <a:lnTo>
                    <a:pt x="423581" y="595885"/>
                  </a:lnTo>
                  <a:lnTo>
                    <a:pt x="424131" y="596198"/>
                  </a:lnTo>
                  <a:lnTo>
                    <a:pt x="424526" y="596448"/>
                  </a:lnTo>
                  <a:lnTo>
                    <a:pt x="430494" y="601770"/>
                  </a:lnTo>
                  <a:lnTo>
                    <a:pt x="430836" y="602204"/>
                  </a:lnTo>
                  <a:lnTo>
                    <a:pt x="434245" y="607888"/>
                  </a:lnTo>
                  <a:lnTo>
                    <a:pt x="439928" y="612463"/>
                  </a:lnTo>
                  <a:lnTo>
                    <a:pt x="440574" y="613499"/>
                  </a:lnTo>
                  <a:lnTo>
                    <a:pt x="441775" y="619433"/>
                  </a:lnTo>
                  <a:lnTo>
                    <a:pt x="441582" y="620658"/>
                  </a:lnTo>
                  <a:lnTo>
                    <a:pt x="437995" y="627238"/>
                  </a:lnTo>
                  <a:lnTo>
                    <a:pt x="437026" y="628092"/>
                  </a:lnTo>
                  <a:lnTo>
                    <a:pt x="433165" y="629470"/>
                  </a:lnTo>
                  <a:lnTo>
                    <a:pt x="436154" y="632425"/>
                  </a:lnTo>
                  <a:lnTo>
                    <a:pt x="441485" y="629533"/>
                  </a:lnTo>
                  <a:lnTo>
                    <a:pt x="441827" y="629350"/>
                  </a:lnTo>
                  <a:lnTo>
                    <a:pt x="447786" y="627580"/>
                  </a:lnTo>
                  <a:lnTo>
                    <a:pt x="448842" y="627580"/>
                  </a:lnTo>
                  <a:lnTo>
                    <a:pt x="454694" y="629326"/>
                  </a:lnTo>
                  <a:cubicBezTo>
                    <a:pt x="461621" y="629581"/>
                    <a:pt x="467262" y="633308"/>
                    <a:pt x="473673" y="635506"/>
                  </a:cubicBezTo>
                  <a:cubicBezTo>
                    <a:pt x="495742" y="647210"/>
                    <a:pt x="491698" y="652354"/>
                    <a:pt x="501980" y="670736"/>
                  </a:cubicBezTo>
                  <a:lnTo>
                    <a:pt x="502795" y="671237"/>
                  </a:lnTo>
                  <a:lnTo>
                    <a:pt x="505471" y="675460"/>
                  </a:lnTo>
                  <a:lnTo>
                    <a:pt x="510643" y="677504"/>
                  </a:lnTo>
                  <a:lnTo>
                    <a:pt x="516341" y="678102"/>
                  </a:lnTo>
                  <a:lnTo>
                    <a:pt x="517296" y="678487"/>
                  </a:lnTo>
                  <a:lnTo>
                    <a:pt x="523201" y="683231"/>
                  </a:lnTo>
                  <a:lnTo>
                    <a:pt x="529627" y="687863"/>
                  </a:lnTo>
                  <a:lnTo>
                    <a:pt x="536063" y="691373"/>
                  </a:lnTo>
                  <a:lnTo>
                    <a:pt x="536559" y="691773"/>
                  </a:lnTo>
                  <a:lnTo>
                    <a:pt x="541905" y="697731"/>
                  </a:lnTo>
                  <a:lnTo>
                    <a:pt x="542219" y="698204"/>
                  </a:lnTo>
                  <a:lnTo>
                    <a:pt x="545198" y="704717"/>
                  </a:lnTo>
                  <a:lnTo>
                    <a:pt x="545203" y="704823"/>
                  </a:lnTo>
                  <a:lnTo>
                    <a:pt x="547589" y="710762"/>
                  </a:lnTo>
                  <a:lnTo>
                    <a:pt x="547671" y="710969"/>
                  </a:lnTo>
                  <a:lnTo>
                    <a:pt x="549175" y="716479"/>
                  </a:lnTo>
                  <a:lnTo>
                    <a:pt x="552887" y="717405"/>
                  </a:lnTo>
                  <a:lnTo>
                    <a:pt x="553388" y="717655"/>
                  </a:lnTo>
                  <a:lnTo>
                    <a:pt x="559332" y="721204"/>
                  </a:lnTo>
                  <a:lnTo>
                    <a:pt x="559569" y="721348"/>
                  </a:lnTo>
                  <a:lnTo>
                    <a:pt x="566096" y="726675"/>
                  </a:lnTo>
                  <a:lnTo>
                    <a:pt x="572054" y="731438"/>
                  </a:lnTo>
                  <a:lnTo>
                    <a:pt x="572170" y="731568"/>
                  </a:lnTo>
                  <a:lnTo>
                    <a:pt x="573399" y="732778"/>
                  </a:lnTo>
                  <a:lnTo>
                    <a:pt x="573457" y="732845"/>
                  </a:lnTo>
                  <a:lnTo>
                    <a:pt x="579387" y="739373"/>
                  </a:lnTo>
                  <a:lnTo>
                    <a:pt x="579464" y="739493"/>
                  </a:lnTo>
                  <a:lnTo>
                    <a:pt x="584226" y="745418"/>
                  </a:lnTo>
                  <a:lnTo>
                    <a:pt x="584376" y="745616"/>
                  </a:lnTo>
                  <a:lnTo>
                    <a:pt x="587514" y="750894"/>
                  </a:lnTo>
                  <a:lnTo>
                    <a:pt x="592701" y="751902"/>
                  </a:lnTo>
                  <a:lnTo>
                    <a:pt x="593024" y="752037"/>
                  </a:lnTo>
                  <a:lnTo>
                    <a:pt x="598949" y="754413"/>
                  </a:lnTo>
                  <a:lnTo>
                    <a:pt x="599031" y="754413"/>
                  </a:lnTo>
                  <a:lnTo>
                    <a:pt x="605495" y="757369"/>
                  </a:lnTo>
                  <a:lnTo>
                    <a:pt x="606908" y="757831"/>
                  </a:lnTo>
                  <a:lnTo>
                    <a:pt x="612577" y="757831"/>
                  </a:lnTo>
                  <a:lnTo>
                    <a:pt x="613430" y="758058"/>
                  </a:lnTo>
                  <a:lnTo>
                    <a:pt x="619982" y="761601"/>
                  </a:lnTo>
                  <a:lnTo>
                    <a:pt x="620464" y="761987"/>
                  </a:lnTo>
                  <a:lnTo>
                    <a:pt x="625800" y="767950"/>
                  </a:lnTo>
                  <a:lnTo>
                    <a:pt x="625887" y="768051"/>
                  </a:lnTo>
                  <a:lnTo>
                    <a:pt x="630645" y="774019"/>
                  </a:lnTo>
                  <a:lnTo>
                    <a:pt x="630915" y="774419"/>
                  </a:lnTo>
                  <a:lnTo>
                    <a:pt x="633017" y="779727"/>
                  </a:lnTo>
                  <a:lnTo>
                    <a:pt x="637250" y="781867"/>
                  </a:lnTo>
                  <a:lnTo>
                    <a:pt x="642880" y="776724"/>
                  </a:lnTo>
                  <a:lnTo>
                    <a:pt x="643275" y="776473"/>
                  </a:lnTo>
                  <a:lnTo>
                    <a:pt x="649224" y="773484"/>
                  </a:lnTo>
                  <a:lnTo>
                    <a:pt x="649374" y="773450"/>
                  </a:lnTo>
                  <a:lnTo>
                    <a:pt x="655327" y="771035"/>
                  </a:lnTo>
                  <a:lnTo>
                    <a:pt x="656180" y="770905"/>
                  </a:lnTo>
                  <a:lnTo>
                    <a:pt x="662153" y="771512"/>
                  </a:lnTo>
                  <a:cubicBezTo>
                    <a:pt x="671250" y="773778"/>
                    <a:pt x="675454" y="778474"/>
                    <a:pt x="684974" y="781077"/>
                  </a:cubicBezTo>
                  <a:lnTo>
                    <a:pt x="689024" y="775253"/>
                  </a:lnTo>
                  <a:lnTo>
                    <a:pt x="690827" y="774516"/>
                  </a:lnTo>
                  <a:lnTo>
                    <a:pt x="697369" y="775721"/>
                  </a:lnTo>
                  <a:lnTo>
                    <a:pt x="697407" y="775721"/>
                  </a:lnTo>
                  <a:lnTo>
                    <a:pt x="703370" y="776883"/>
                  </a:lnTo>
                  <a:cubicBezTo>
                    <a:pt x="710380" y="780219"/>
                    <a:pt x="713152" y="786298"/>
                    <a:pt x="718112" y="791836"/>
                  </a:cubicBezTo>
                  <a:lnTo>
                    <a:pt x="718170" y="791938"/>
                  </a:lnTo>
                  <a:lnTo>
                    <a:pt x="722354" y="797882"/>
                  </a:lnTo>
                  <a:lnTo>
                    <a:pt x="722595" y="798287"/>
                  </a:lnTo>
                  <a:lnTo>
                    <a:pt x="724803" y="804390"/>
                  </a:lnTo>
                  <a:lnTo>
                    <a:pt x="730405" y="809485"/>
                  </a:lnTo>
                  <a:lnTo>
                    <a:pt x="730805" y="809958"/>
                  </a:lnTo>
                  <a:lnTo>
                    <a:pt x="734367" y="816495"/>
                  </a:lnTo>
                  <a:lnTo>
                    <a:pt x="734401" y="816562"/>
                  </a:lnTo>
                  <a:lnTo>
                    <a:pt x="736146" y="820018"/>
                  </a:lnTo>
                  <a:lnTo>
                    <a:pt x="738441" y="823489"/>
                  </a:lnTo>
                  <a:lnTo>
                    <a:pt x="738721" y="824131"/>
                  </a:lnTo>
                  <a:lnTo>
                    <a:pt x="739921" y="830118"/>
                  </a:lnTo>
                  <a:lnTo>
                    <a:pt x="739940" y="830282"/>
                  </a:lnTo>
                  <a:lnTo>
                    <a:pt x="740229" y="833295"/>
                  </a:lnTo>
                  <a:lnTo>
                    <a:pt x="744293" y="830745"/>
                  </a:lnTo>
                  <a:lnTo>
                    <a:pt x="746077" y="830629"/>
                  </a:lnTo>
                  <a:lnTo>
                    <a:pt x="751008" y="833083"/>
                  </a:lnTo>
                  <a:lnTo>
                    <a:pt x="756629" y="828455"/>
                  </a:lnTo>
                  <a:lnTo>
                    <a:pt x="757767" y="828059"/>
                  </a:lnTo>
                  <a:lnTo>
                    <a:pt x="764323" y="828059"/>
                  </a:lnTo>
                  <a:lnTo>
                    <a:pt x="765476" y="828455"/>
                  </a:lnTo>
                  <a:lnTo>
                    <a:pt x="771371" y="833150"/>
                  </a:lnTo>
                  <a:lnTo>
                    <a:pt x="777228" y="837281"/>
                  </a:lnTo>
                  <a:lnTo>
                    <a:pt x="783765" y="841418"/>
                  </a:lnTo>
                  <a:cubicBezTo>
                    <a:pt x="784594" y="841958"/>
                    <a:pt x="784840" y="843071"/>
                    <a:pt x="784329" y="843876"/>
                  </a:cubicBezTo>
                  <a:lnTo>
                    <a:pt x="780767" y="849868"/>
                  </a:lnTo>
                  <a:lnTo>
                    <a:pt x="780680" y="849979"/>
                  </a:lnTo>
                  <a:lnTo>
                    <a:pt x="776187" y="856135"/>
                  </a:lnTo>
                  <a:lnTo>
                    <a:pt x="776009" y="857861"/>
                  </a:lnTo>
                  <a:lnTo>
                    <a:pt x="779417" y="855706"/>
                  </a:lnTo>
                  <a:lnTo>
                    <a:pt x="780010" y="855494"/>
                  </a:lnTo>
                  <a:lnTo>
                    <a:pt x="785356" y="854265"/>
                  </a:lnTo>
                  <a:lnTo>
                    <a:pt x="786108" y="854265"/>
                  </a:lnTo>
                  <a:lnTo>
                    <a:pt x="791348" y="855325"/>
                  </a:lnTo>
                  <a:lnTo>
                    <a:pt x="797268" y="851556"/>
                  </a:lnTo>
                  <a:lnTo>
                    <a:pt x="798261" y="851261"/>
                  </a:lnTo>
                  <a:lnTo>
                    <a:pt x="803492" y="851261"/>
                  </a:lnTo>
                  <a:lnTo>
                    <a:pt x="808934" y="846373"/>
                  </a:lnTo>
                  <a:lnTo>
                    <a:pt x="810785" y="846007"/>
                  </a:lnTo>
                  <a:lnTo>
                    <a:pt x="817308" y="848389"/>
                  </a:lnTo>
                  <a:lnTo>
                    <a:pt x="817935" y="848740"/>
                  </a:lnTo>
                  <a:lnTo>
                    <a:pt x="824471" y="854703"/>
                  </a:lnTo>
                  <a:lnTo>
                    <a:pt x="824650" y="854916"/>
                  </a:lnTo>
                  <a:lnTo>
                    <a:pt x="829408" y="860840"/>
                  </a:lnTo>
                  <a:lnTo>
                    <a:pt x="829649" y="861274"/>
                  </a:lnTo>
                  <a:lnTo>
                    <a:pt x="832623" y="867767"/>
                  </a:lnTo>
                  <a:lnTo>
                    <a:pt x="835549" y="873615"/>
                  </a:lnTo>
                  <a:lnTo>
                    <a:pt x="839088" y="879511"/>
                  </a:lnTo>
                  <a:lnTo>
                    <a:pt x="839266" y="879916"/>
                  </a:lnTo>
                  <a:lnTo>
                    <a:pt x="841064" y="885869"/>
                  </a:lnTo>
                  <a:lnTo>
                    <a:pt x="840717" y="887566"/>
                  </a:lnTo>
                  <a:lnTo>
                    <a:pt x="835839" y="893520"/>
                  </a:lnTo>
                  <a:lnTo>
                    <a:pt x="836340" y="899233"/>
                  </a:lnTo>
                  <a:lnTo>
                    <a:pt x="837362" y="904294"/>
                  </a:lnTo>
                  <a:lnTo>
                    <a:pt x="842641" y="907456"/>
                  </a:lnTo>
                  <a:lnTo>
                    <a:pt x="843161" y="907953"/>
                  </a:lnTo>
                  <a:lnTo>
                    <a:pt x="845576" y="911390"/>
                  </a:lnTo>
                  <a:lnTo>
                    <a:pt x="850604" y="911390"/>
                  </a:lnTo>
                  <a:lnTo>
                    <a:pt x="850942" y="911400"/>
                  </a:lnTo>
                  <a:lnTo>
                    <a:pt x="857493" y="912576"/>
                  </a:lnTo>
                  <a:lnTo>
                    <a:pt x="858298" y="912961"/>
                  </a:lnTo>
                  <a:lnTo>
                    <a:pt x="864266" y="917720"/>
                  </a:lnTo>
                  <a:lnTo>
                    <a:pt x="870205" y="922473"/>
                  </a:lnTo>
                  <a:lnTo>
                    <a:pt x="870422" y="922656"/>
                  </a:lnTo>
                  <a:lnTo>
                    <a:pt x="875590" y="928432"/>
                  </a:lnTo>
                  <a:lnTo>
                    <a:pt x="881471" y="932211"/>
                  </a:lnTo>
                  <a:lnTo>
                    <a:pt x="882922" y="932211"/>
                  </a:lnTo>
                  <a:lnTo>
                    <a:pt x="883708" y="931782"/>
                  </a:lnTo>
                  <a:lnTo>
                    <a:pt x="884533" y="931579"/>
                  </a:lnTo>
                  <a:lnTo>
                    <a:pt x="887189" y="931579"/>
                  </a:lnTo>
                  <a:lnTo>
                    <a:pt x="890231" y="927564"/>
                  </a:lnTo>
                  <a:lnTo>
                    <a:pt x="890404" y="927381"/>
                  </a:lnTo>
                  <a:lnTo>
                    <a:pt x="896338" y="921408"/>
                  </a:lnTo>
                  <a:lnTo>
                    <a:pt x="897442" y="920887"/>
                  </a:lnTo>
                  <a:lnTo>
                    <a:pt x="903391" y="920275"/>
                  </a:lnTo>
                  <a:lnTo>
                    <a:pt x="904428" y="920511"/>
                  </a:lnTo>
                  <a:lnTo>
                    <a:pt x="910984" y="924093"/>
                  </a:lnTo>
                  <a:lnTo>
                    <a:pt x="911476" y="924474"/>
                  </a:lnTo>
                  <a:lnTo>
                    <a:pt x="916209" y="929776"/>
                  </a:lnTo>
                  <a:lnTo>
                    <a:pt x="919767" y="933305"/>
                  </a:lnTo>
                  <a:lnTo>
                    <a:pt x="920027" y="933667"/>
                  </a:lnTo>
                  <a:lnTo>
                    <a:pt x="923469" y="939432"/>
                  </a:lnTo>
                  <a:lnTo>
                    <a:pt x="924487" y="940440"/>
                  </a:lnTo>
                  <a:lnTo>
                    <a:pt x="924800" y="940893"/>
                  </a:lnTo>
                  <a:lnTo>
                    <a:pt x="928367" y="947444"/>
                  </a:lnTo>
                  <a:lnTo>
                    <a:pt x="928570" y="948471"/>
                  </a:lnTo>
                  <a:lnTo>
                    <a:pt x="928044" y="954000"/>
                  </a:lnTo>
                  <a:lnTo>
                    <a:pt x="930252" y="960147"/>
                  </a:lnTo>
                  <a:lnTo>
                    <a:pt x="930300" y="960238"/>
                  </a:lnTo>
                  <a:lnTo>
                    <a:pt x="932084" y="966192"/>
                  </a:lnTo>
                  <a:lnTo>
                    <a:pt x="932152" y="966544"/>
                  </a:lnTo>
                  <a:lnTo>
                    <a:pt x="932682" y="972010"/>
                  </a:lnTo>
                  <a:lnTo>
                    <a:pt x="936587" y="977583"/>
                  </a:lnTo>
                  <a:lnTo>
                    <a:pt x="936755" y="977897"/>
                  </a:lnTo>
                  <a:lnTo>
                    <a:pt x="939735" y="984400"/>
                  </a:lnTo>
                  <a:lnTo>
                    <a:pt x="939792" y="984583"/>
                  </a:lnTo>
                  <a:lnTo>
                    <a:pt x="941942" y="990493"/>
                  </a:lnTo>
                  <a:lnTo>
                    <a:pt x="947337" y="993732"/>
                  </a:lnTo>
                  <a:lnTo>
                    <a:pt x="947838" y="994205"/>
                  </a:lnTo>
                  <a:lnTo>
                    <a:pt x="952615" y="1000130"/>
                  </a:lnTo>
                  <a:cubicBezTo>
                    <a:pt x="956029" y="1006166"/>
                    <a:pt x="958381" y="1012847"/>
                    <a:pt x="961717" y="1018873"/>
                  </a:cubicBezTo>
                  <a:cubicBezTo>
                    <a:pt x="965771" y="1034979"/>
                    <a:pt x="963448" y="1039284"/>
                    <a:pt x="970669" y="1055838"/>
                  </a:cubicBezTo>
                  <a:lnTo>
                    <a:pt x="974685" y="1062698"/>
                  </a:lnTo>
                  <a:lnTo>
                    <a:pt x="979197" y="1068376"/>
                  </a:lnTo>
                  <a:lnTo>
                    <a:pt x="984933" y="1072383"/>
                  </a:lnTo>
                  <a:lnTo>
                    <a:pt x="985710" y="1073660"/>
                  </a:lnTo>
                  <a:lnTo>
                    <a:pt x="986307" y="1079643"/>
                  </a:lnTo>
                  <a:cubicBezTo>
                    <a:pt x="986452" y="1083837"/>
                    <a:pt x="986626" y="1089949"/>
                    <a:pt x="984818" y="1093922"/>
                  </a:cubicBezTo>
                  <a:lnTo>
                    <a:pt x="980638" y="1099889"/>
                  </a:lnTo>
                  <a:lnTo>
                    <a:pt x="979771" y="1100569"/>
                  </a:lnTo>
                  <a:lnTo>
                    <a:pt x="973234" y="1102932"/>
                  </a:lnTo>
                  <a:lnTo>
                    <a:pt x="972438" y="1103057"/>
                  </a:lnTo>
                  <a:lnTo>
                    <a:pt x="966875" y="1102488"/>
                  </a:lnTo>
                  <a:lnTo>
                    <a:pt x="960984" y="1104604"/>
                  </a:lnTo>
                  <a:lnTo>
                    <a:pt x="955281" y="1109198"/>
                  </a:lnTo>
                  <a:lnTo>
                    <a:pt x="955021" y="1109391"/>
                  </a:lnTo>
                  <a:lnTo>
                    <a:pt x="949520" y="1112375"/>
                  </a:lnTo>
                  <a:lnTo>
                    <a:pt x="949954" y="1117012"/>
                  </a:lnTo>
                  <a:lnTo>
                    <a:pt x="955980" y="1122513"/>
                  </a:lnTo>
                  <a:lnTo>
                    <a:pt x="956438" y="1123169"/>
                  </a:lnTo>
                  <a:lnTo>
                    <a:pt x="958800" y="1129132"/>
                  </a:lnTo>
                  <a:lnTo>
                    <a:pt x="958959" y="1129797"/>
                  </a:lnTo>
                  <a:cubicBezTo>
                    <a:pt x="958911" y="1134415"/>
                    <a:pt x="956843" y="1139308"/>
                    <a:pt x="955262" y="1143522"/>
                  </a:cubicBezTo>
                  <a:lnTo>
                    <a:pt x="955238" y="1143575"/>
                  </a:lnTo>
                  <a:lnTo>
                    <a:pt x="952890" y="1149451"/>
                  </a:lnTo>
                  <a:lnTo>
                    <a:pt x="951155" y="1155299"/>
                  </a:lnTo>
                  <a:lnTo>
                    <a:pt x="949362" y="1161806"/>
                  </a:lnTo>
                  <a:lnTo>
                    <a:pt x="948725" y="1162780"/>
                  </a:lnTo>
                  <a:cubicBezTo>
                    <a:pt x="944010" y="1168011"/>
                    <a:pt x="937348" y="1170166"/>
                    <a:pt x="931216" y="1173111"/>
                  </a:cubicBezTo>
                  <a:lnTo>
                    <a:pt x="932079" y="1177474"/>
                  </a:lnTo>
                  <a:lnTo>
                    <a:pt x="934412" y="1183259"/>
                  </a:lnTo>
                  <a:lnTo>
                    <a:pt x="934417" y="1184579"/>
                  </a:lnTo>
                  <a:lnTo>
                    <a:pt x="932315" y="1190355"/>
                  </a:lnTo>
                  <a:lnTo>
                    <a:pt x="935507" y="1196164"/>
                  </a:lnTo>
                  <a:lnTo>
                    <a:pt x="935699" y="1197398"/>
                  </a:lnTo>
                  <a:lnTo>
                    <a:pt x="934668" y="1203072"/>
                  </a:lnTo>
                  <a:lnTo>
                    <a:pt x="939151" y="1208009"/>
                  </a:lnTo>
                  <a:lnTo>
                    <a:pt x="944463" y="1210134"/>
                  </a:lnTo>
                  <a:lnTo>
                    <a:pt x="949896" y="1210684"/>
                  </a:lnTo>
                  <a:lnTo>
                    <a:pt x="956187" y="1209536"/>
                  </a:lnTo>
                  <a:lnTo>
                    <a:pt x="956361" y="1209536"/>
                  </a:lnTo>
                  <a:lnTo>
                    <a:pt x="962305" y="1208891"/>
                  </a:lnTo>
                  <a:lnTo>
                    <a:pt x="962469" y="1208891"/>
                  </a:lnTo>
                  <a:lnTo>
                    <a:pt x="968924" y="1208891"/>
                  </a:lnTo>
                  <a:lnTo>
                    <a:pt x="974487" y="1208370"/>
                  </a:lnTo>
                  <a:lnTo>
                    <a:pt x="980137" y="1205791"/>
                  </a:lnTo>
                  <a:lnTo>
                    <a:pt x="982803" y="1199982"/>
                  </a:lnTo>
                  <a:lnTo>
                    <a:pt x="984471" y="1194376"/>
                  </a:lnTo>
                  <a:lnTo>
                    <a:pt x="984471" y="1188123"/>
                  </a:lnTo>
                  <a:lnTo>
                    <a:pt x="984471" y="1187950"/>
                  </a:lnTo>
                  <a:lnTo>
                    <a:pt x="985073" y="1182001"/>
                  </a:lnTo>
                  <a:lnTo>
                    <a:pt x="985271" y="1181306"/>
                  </a:lnTo>
                  <a:lnTo>
                    <a:pt x="988843" y="1174750"/>
                  </a:lnTo>
                  <a:lnTo>
                    <a:pt x="989021" y="1174476"/>
                  </a:lnTo>
                  <a:lnTo>
                    <a:pt x="993683" y="1168623"/>
                  </a:lnTo>
                  <a:lnTo>
                    <a:pt x="997173" y="1162245"/>
                  </a:lnTo>
                  <a:lnTo>
                    <a:pt x="997212" y="1162149"/>
                  </a:lnTo>
                  <a:lnTo>
                    <a:pt x="1000818" y="1156253"/>
                  </a:lnTo>
                  <a:lnTo>
                    <a:pt x="1001290" y="1155685"/>
                  </a:lnTo>
                  <a:lnTo>
                    <a:pt x="1007258" y="1151495"/>
                  </a:lnTo>
                  <a:lnTo>
                    <a:pt x="1007576" y="1151379"/>
                  </a:lnTo>
                  <a:cubicBezTo>
                    <a:pt x="1027096" y="1142123"/>
                    <a:pt x="1028498" y="1131118"/>
                    <a:pt x="1022048" y="1112452"/>
                  </a:cubicBezTo>
                  <a:lnTo>
                    <a:pt x="1022039" y="1112452"/>
                  </a:lnTo>
                  <a:lnTo>
                    <a:pt x="1020245" y="1105930"/>
                  </a:lnTo>
                  <a:lnTo>
                    <a:pt x="1018471" y="1099962"/>
                  </a:lnTo>
                  <a:lnTo>
                    <a:pt x="1018394" y="1099263"/>
                  </a:lnTo>
                  <a:lnTo>
                    <a:pt x="1018972" y="1093300"/>
                  </a:lnTo>
                  <a:lnTo>
                    <a:pt x="1019184" y="1092707"/>
                  </a:lnTo>
                  <a:lnTo>
                    <a:pt x="1022144" y="1086734"/>
                  </a:lnTo>
                  <a:lnTo>
                    <a:pt x="1022260" y="1086565"/>
                  </a:lnTo>
                  <a:lnTo>
                    <a:pt x="1026425" y="1080038"/>
                  </a:lnTo>
                  <a:lnTo>
                    <a:pt x="1026965" y="1079445"/>
                  </a:lnTo>
                  <a:lnTo>
                    <a:pt x="1033425" y="1075367"/>
                  </a:lnTo>
                  <a:lnTo>
                    <a:pt x="1039316" y="1070647"/>
                  </a:lnTo>
                  <a:lnTo>
                    <a:pt x="1039417" y="1070604"/>
                  </a:lnTo>
                  <a:lnTo>
                    <a:pt x="1045342" y="1066405"/>
                  </a:lnTo>
                  <a:lnTo>
                    <a:pt x="1045761" y="1066197"/>
                  </a:lnTo>
                  <a:lnTo>
                    <a:pt x="1052293" y="1063826"/>
                  </a:lnTo>
                  <a:lnTo>
                    <a:pt x="1058223" y="1061483"/>
                  </a:lnTo>
                  <a:lnTo>
                    <a:pt x="1058907" y="1061324"/>
                  </a:lnTo>
                  <a:lnTo>
                    <a:pt x="1065434" y="1061324"/>
                  </a:lnTo>
                  <a:lnTo>
                    <a:pt x="1065603" y="1061324"/>
                  </a:lnTo>
                  <a:lnTo>
                    <a:pt x="1071566" y="1061932"/>
                  </a:lnTo>
                  <a:lnTo>
                    <a:pt x="1072068" y="1062090"/>
                  </a:lnTo>
                  <a:lnTo>
                    <a:pt x="1076662" y="1063889"/>
                  </a:lnTo>
                  <a:lnTo>
                    <a:pt x="1079786" y="1059434"/>
                  </a:lnTo>
                  <a:lnTo>
                    <a:pt x="1080928" y="1053278"/>
                  </a:lnTo>
                  <a:lnTo>
                    <a:pt x="1080957" y="1053095"/>
                  </a:lnTo>
                  <a:lnTo>
                    <a:pt x="1082369" y="1048404"/>
                  </a:lnTo>
                  <a:lnTo>
                    <a:pt x="1076855" y="1044369"/>
                  </a:lnTo>
                  <a:lnTo>
                    <a:pt x="1076252" y="1043569"/>
                  </a:lnTo>
                  <a:lnTo>
                    <a:pt x="1073861" y="1037644"/>
                  </a:lnTo>
                  <a:lnTo>
                    <a:pt x="1073736" y="1036796"/>
                  </a:lnTo>
                  <a:lnTo>
                    <a:pt x="1074353" y="1030216"/>
                  </a:lnTo>
                  <a:lnTo>
                    <a:pt x="1074372" y="1030081"/>
                  </a:lnTo>
                  <a:lnTo>
                    <a:pt x="1075467" y="1024523"/>
                  </a:lnTo>
                  <a:lnTo>
                    <a:pt x="1075076" y="1022835"/>
                  </a:lnTo>
                  <a:lnTo>
                    <a:pt x="1071060" y="1017156"/>
                  </a:lnTo>
                  <a:lnTo>
                    <a:pt x="1070761" y="1016120"/>
                  </a:lnTo>
                  <a:lnTo>
                    <a:pt x="1070761" y="1009593"/>
                  </a:lnTo>
                  <a:lnTo>
                    <a:pt x="1070790" y="1009226"/>
                  </a:lnTo>
                  <a:lnTo>
                    <a:pt x="1071899" y="1003712"/>
                  </a:lnTo>
                  <a:lnTo>
                    <a:pt x="1070467" y="998341"/>
                  </a:lnTo>
                  <a:lnTo>
                    <a:pt x="1065213" y="995748"/>
                  </a:lnTo>
                  <a:lnTo>
                    <a:pt x="1064663" y="995338"/>
                  </a:lnTo>
                  <a:lnTo>
                    <a:pt x="1059871" y="989943"/>
                  </a:lnTo>
                  <a:cubicBezTo>
                    <a:pt x="1055369" y="989919"/>
                    <a:pt x="1050486" y="988117"/>
                    <a:pt x="1046754" y="985648"/>
                  </a:cubicBezTo>
                  <a:cubicBezTo>
                    <a:pt x="1035021" y="980871"/>
                    <a:pt x="1038954" y="973211"/>
                    <a:pt x="1022573" y="974498"/>
                  </a:cubicBezTo>
                  <a:lnTo>
                    <a:pt x="1016634" y="974498"/>
                  </a:lnTo>
                  <a:lnTo>
                    <a:pt x="1016152" y="974445"/>
                  </a:lnTo>
                  <a:lnTo>
                    <a:pt x="1009611" y="972685"/>
                  </a:lnTo>
                  <a:lnTo>
                    <a:pt x="1008671" y="972020"/>
                  </a:lnTo>
                  <a:lnTo>
                    <a:pt x="1003908" y="966100"/>
                  </a:lnTo>
                  <a:lnTo>
                    <a:pt x="1003705" y="965773"/>
                  </a:lnTo>
                  <a:lnTo>
                    <a:pt x="1000745" y="959838"/>
                  </a:lnTo>
                  <a:lnTo>
                    <a:pt x="1000620" y="959525"/>
                  </a:lnTo>
                  <a:lnTo>
                    <a:pt x="998837" y="953576"/>
                  </a:lnTo>
                  <a:lnTo>
                    <a:pt x="998832" y="952569"/>
                  </a:lnTo>
                  <a:lnTo>
                    <a:pt x="1000610" y="946041"/>
                  </a:lnTo>
                  <a:cubicBezTo>
                    <a:pt x="1002158" y="938960"/>
                    <a:pt x="1007388" y="934337"/>
                    <a:pt x="1011018" y="928398"/>
                  </a:cubicBezTo>
                  <a:lnTo>
                    <a:pt x="1009018" y="923389"/>
                  </a:lnTo>
                  <a:lnTo>
                    <a:pt x="1008897" y="922960"/>
                  </a:lnTo>
                  <a:lnTo>
                    <a:pt x="1008304" y="918838"/>
                  </a:lnTo>
                  <a:lnTo>
                    <a:pt x="1007128" y="912967"/>
                  </a:lnTo>
                  <a:lnTo>
                    <a:pt x="1007302" y="911694"/>
                  </a:lnTo>
                  <a:lnTo>
                    <a:pt x="1010869" y="905167"/>
                  </a:lnTo>
                  <a:lnTo>
                    <a:pt x="1011211" y="904771"/>
                  </a:lnTo>
                  <a:lnTo>
                    <a:pt x="1012262" y="903687"/>
                  </a:lnTo>
                  <a:lnTo>
                    <a:pt x="1016297" y="897921"/>
                  </a:lnTo>
                  <a:lnTo>
                    <a:pt x="1019575" y="892440"/>
                  </a:lnTo>
                  <a:lnTo>
                    <a:pt x="1019575" y="892368"/>
                  </a:lnTo>
                  <a:lnTo>
                    <a:pt x="1019628" y="892035"/>
                  </a:lnTo>
                  <a:lnTo>
                    <a:pt x="1020790" y="885484"/>
                  </a:lnTo>
                  <a:lnTo>
                    <a:pt x="1020877" y="885185"/>
                  </a:lnTo>
                  <a:lnTo>
                    <a:pt x="1023273" y="878638"/>
                  </a:lnTo>
                  <a:lnTo>
                    <a:pt x="1023417" y="878315"/>
                  </a:lnTo>
                  <a:lnTo>
                    <a:pt x="1026960" y="872453"/>
                  </a:lnTo>
                  <a:lnTo>
                    <a:pt x="1029896" y="866543"/>
                  </a:lnTo>
                  <a:cubicBezTo>
                    <a:pt x="1032533" y="861279"/>
                    <a:pt x="1035715" y="856280"/>
                    <a:pt x="1040275" y="852428"/>
                  </a:cubicBezTo>
                  <a:lnTo>
                    <a:pt x="1040487" y="852260"/>
                  </a:lnTo>
                  <a:lnTo>
                    <a:pt x="1046450" y="847487"/>
                  </a:lnTo>
                  <a:lnTo>
                    <a:pt x="1047058" y="847159"/>
                  </a:lnTo>
                  <a:lnTo>
                    <a:pt x="1053026" y="845385"/>
                  </a:lnTo>
                  <a:lnTo>
                    <a:pt x="1053860" y="845317"/>
                  </a:lnTo>
                  <a:lnTo>
                    <a:pt x="1060397" y="846518"/>
                  </a:lnTo>
                  <a:lnTo>
                    <a:pt x="1060884" y="846658"/>
                  </a:lnTo>
                  <a:lnTo>
                    <a:pt x="1066056" y="849275"/>
                  </a:lnTo>
                  <a:lnTo>
                    <a:pt x="1066302" y="849140"/>
                  </a:lnTo>
                  <a:lnTo>
                    <a:pt x="1069778" y="846841"/>
                  </a:lnTo>
                  <a:lnTo>
                    <a:pt x="1071398" y="846590"/>
                  </a:lnTo>
                  <a:lnTo>
                    <a:pt x="1072502" y="847733"/>
                  </a:lnTo>
                  <a:lnTo>
                    <a:pt x="1072569" y="847892"/>
                  </a:lnTo>
                  <a:lnTo>
                    <a:pt x="1077477" y="846552"/>
                  </a:lnTo>
                  <a:cubicBezTo>
                    <a:pt x="1078330" y="846296"/>
                    <a:pt x="1079284" y="846769"/>
                    <a:pt x="1079617" y="847627"/>
                  </a:cubicBezTo>
                  <a:cubicBezTo>
                    <a:pt x="1079974" y="848460"/>
                    <a:pt x="1079603" y="849434"/>
                    <a:pt x="1078807" y="849897"/>
                  </a:cubicBezTo>
                  <a:lnTo>
                    <a:pt x="1072275" y="853484"/>
                  </a:lnTo>
                  <a:lnTo>
                    <a:pt x="1071403" y="853691"/>
                  </a:lnTo>
                  <a:lnTo>
                    <a:pt x="1071340" y="853691"/>
                  </a:lnTo>
                  <a:lnTo>
                    <a:pt x="1071933" y="855494"/>
                  </a:lnTo>
                  <a:lnTo>
                    <a:pt x="1072024" y="856208"/>
                  </a:lnTo>
                  <a:lnTo>
                    <a:pt x="1071562" y="861279"/>
                  </a:lnTo>
                  <a:cubicBezTo>
                    <a:pt x="1083493" y="862913"/>
                    <a:pt x="1093838" y="872959"/>
                    <a:pt x="1106169" y="869720"/>
                  </a:cubicBezTo>
                  <a:lnTo>
                    <a:pt x="1106184" y="869720"/>
                  </a:lnTo>
                  <a:lnTo>
                    <a:pt x="1112735" y="868544"/>
                  </a:lnTo>
                  <a:lnTo>
                    <a:pt x="1112861" y="868544"/>
                  </a:lnTo>
                  <a:lnTo>
                    <a:pt x="1118814" y="867912"/>
                  </a:lnTo>
                  <a:lnTo>
                    <a:pt x="1119012" y="867912"/>
                  </a:lnTo>
                  <a:lnTo>
                    <a:pt x="1125549" y="867912"/>
                  </a:lnTo>
                  <a:lnTo>
                    <a:pt x="1125785" y="867912"/>
                  </a:lnTo>
                  <a:lnTo>
                    <a:pt x="1130533" y="868544"/>
                  </a:lnTo>
                  <a:lnTo>
                    <a:pt x="1130827" y="868606"/>
                  </a:lnTo>
                  <a:lnTo>
                    <a:pt x="1136752" y="870361"/>
                  </a:lnTo>
                  <a:lnTo>
                    <a:pt x="1137456" y="870776"/>
                  </a:lnTo>
                  <a:lnTo>
                    <a:pt x="1143429" y="876102"/>
                  </a:lnTo>
                  <a:lnTo>
                    <a:pt x="1143964" y="876946"/>
                  </a:lnTo>
                  <a:lnTo>
                    <a:pt x="1145608" y="882427"/>
                  </a:lnTo>
                  <a:lnTo>
                    <a:pt x="1151161" y="887412"/>
                  </a:lnTo>
                  <a:lnTo>
                    <a:pt x="1151344" y="887619"/>
                  </a:lnTo>
                  <a:lnTo>
                    <a:pt x="1156122" y="893607"/>
                  </a:lnTo>
                  <a:lnTo>
                    <a:pt x="1156503" y="895092"/>
                  </a:lnTo>
                  <a:lnTo>
                    <a:pt x="1155418" y="900481"/>
                  </a:lnTo>
                  <a:lnTo>
                    <a:pt x="1157582" y="905967"/>
                  </a:lnTo>
                  <a:lnTo>
                    <a:pt x="1157148" y="907934"/>
                  </a:lnTo>
                  <a:lnTo>
                    <a:pt x="1156825" y="908228"/>
                  </a:lnTo>
                  <a:cubicBezTo>
                    <a:pt x="1161429" y="915367"/>
                    <a:pt x="1171929" y="922960"/>
                    <a:pt x="1179464" y="925047"/>
                  </a:cubicBezTo>
                  <a:lnTo>
                    <a:pt x="1185658" y="925047"/>
                  </a:lnTo>
                  <a:lnTo>
                    <a:pt x="1186362" y="925144"/>
                  </a:lnTo>
                  <a:lnTo>
                    <a:pt x="1191602" y="927284"/>
                  </a:lnTo>
                  <a:lnTo>
                    <a:pt x="1195758" y="925616"/>
                  </a:lnTo>
                  <a:cubicBezTo>
                    <a:pt x="1195661" y="909770"/>
                    <a:pt x="1193063" y="913434"/>
                    <a:pt x="1197859" y="897285"/>
                  </a:cubicBezTo>
                  <a:lnTo>
                    <a:pt x="1201870" y="891510"/>
                  </a:lnTo>
                  <a:lnTo>
                    <a:pt x="1203905" y="885976"/>
                  </a:lnTo>
                  <a:lnTo>
                    <a:pt x="1200737" y="880181"/>
                  </a:lnTo>
                  <a:lnTo>
                    <a:pt x="1197189" y="874246"/>
                  </a:lnTo>
                  <a:lnTo>
                    <a:pt x="1197064" y="874015"/>
                  </a:lnTo>
                  <a:lnTo>
                    <a:pt x="1194793" y="868356"/>
                  </a:lnTo>
                  <a:lnTo>
                    <a:pt x="1189168" y="862113"/>
                  </a:lnTo>
                  <a:lnTo>
                    <a:pt x="1182679" y="856882"/>
                  </a:lnTo>
                  <a:lnTo>
                    <a:pt x="1182568" y="856728"/>
                  </a:lnTo>
                  <a:lnTo>
                    <a:pt x="1176648" y="850804"/>
                  </a:lnTo>
                  <a:lnTo>
                    <a:pt x="1176547" y="850702"/>
                  </a:lnTo>
                  <a:lnTo>
                    <a:pt x="1171514" y="845110"/>
                  </a:lnTo>
                  <a:lnTo>
                    <a:pt x="1165392" y="842893"/>
                  </a:lnTo>
                  <a:lnTo>
                    <a:pt x="1165344" y="842873"/>
                  </a:lnTo>
                  <a:lnTo>
                    <a:pt x="1159390" y="840502"/>
                  </a:lnTo>
                  <a:lnTo>
                    <a:pt x="1159024" y="840294"/>
                  </a:lnTo>
                  <a:lnTo>
                    <a:pt x="1153114" y="836149"/>
                  </a:lnTo>
                  <a:lnTo>
                    <a:pt x="1150202" y="834379"/>
                  </a:lnTo>
                  <a:lnTo>
                    <a:pt x="1149377" y="833328"/>
                  </a:lnTo>
                  <a:lnTo>
                    <a:pt x="1147671" y="827018"/>
                  </a:lnTo>
                  <a:lnTo>
                    <a:pt x="1144745" y="822135"/>
                  </a:lnTo>
                  <a:lnTo>
                    <a:pt x="1139823" y="822135"/>
                  </a:lnTo>
                  <a:lnTo>
                    <a:pt x="1138536" y="821624"/>
                  </a:lnTo>
                  <a:lnTo>
                    <a:pt x="1137972" y="820341"/>
                  </a:lnTo>
                  <a:lnTo>
                    <a:pt x="1137972" y="819768"/>
                  </a:lnTo>
                  <a:lnTo>
                    <a:pt x="1133450" y="818008"/>
                  </a:lnTo>
                  <a:lnTo>
                    <a:pt x="1127178" y="817391"/>
                  </a:lnTo>
                  <a:lnTo>
                    <a:pt x="1126503" y="817213"/>
                  </a:lnTo>
                  <a:lnTo>
                    <a:pt x="1120554" y="814248"/>
                  </a:lnTo>
                  <a:lnTo>
                    <a:pt x="1120521" y="814200"/>
                  </a:lnTo>
                  <a:lnTo>
                    <a:pt x="1114148" y="810739"/>
                  </a:lnTo>
                  <a:lnTo>
                    <a:pt x="1108435" y="809003"/>
                  </a:lnTo>
                  <a:lnTo>
                    <a:pt x="1102559" y="807841"/>
                  </a:lnTo>
                  <a:cubicBezTo>
                    <a:pt x="1085224" y="806067"/>
                    <a:pt x="1084206" y="796778"/>
                    <a:pt x="1074064" y="794753"/>
                  </a:cubicBezTo>
                  <a:lnTo>
                    <a:pt x="1072878" y="794035"/>
                  </a:lnTo>
                  <a:lnTo>
                    <a:pt x="1068327" y="787782"/>
                  </a:lnTo>
                  <a:lnTo>
                    <a:pt x="1062103" y="783830"/>
                  </a:lnTo>
                  <a:lnTo>
                    <a:pt x="1056309" y="780349"/>
                  </a:lnTo>
                  <a:lnTo>
                    <a:pt x="1049922" y="778011"/>
                  </a:lnTo>
                  <a:lnTo>
                    <a:pt x="1049743" y="777943"/>
                  </a:lnTo>
                  <a:lnTo>
                    <a:pt x="1043924" y="775051"/>
                  </a:lnTo>
                  <a:lnTo>
                    <a:pt x="1038226" y="773340"/>
                  </a:lnTo>
                  <a:cubicBezTo>
                    <a:pt x="1025548" y="771199"/>
                    <a:pt x="1012802" y="766248"/>
                    <a:pt x="1000808" y="763221"/>
                  </a:cubicBezTo>
                  <a:lnTo>
                    <a:pt x="1000808" y="763221"/>
                  </a:lnTo>
                  <a:lnTo>
                    <a:pt x="994271" y="762030"/>
                  </a:lnTo>
                  <a:lnTo>
                    <a:pt x="993784" y="761852"/>
                  </a:lnTo>
                  <a:lnTo>
                    <a:pt x="987946" y="758930"/>
                  </a:lnTo>
                  <a:lnTo>
                    <a:pt x="981559" y="756617"/>
                  </a:lnTo>
                  <a:lnTo>
                    <a:pt x="975634" y="754857"/>
                  </a:lnTo>
                  <a:lnTo>
                    <a:pt x="975306" y="754693"/>
                  </a:lnTo>
                  <a:lnTo>
                    <a:pt x="968919" y="751246"/>
                  </a:lnTo>
                  <a:lnTo>
                    <a:pt x="963163" y="749511"/>
                  </a:lnTo>
                  <a:lnTo>
                    <a:pt x="957200" y="747684"/>
                  </a:lnTo>
                  <a:lnTo>
                    <a:pt x="956858" y="747568"/>
                  </a:lnTo>
                  <a:lnTo>
                    <a:pt x="950721" y="744193"/>
                  </a:lnTo>
                  <a:lnTo>
                    <a:pt x="950586" y="744193"/>
                  </a:lnTo>
                  <a:lnTo>
                    <a:pt x="950075" y="744160"/>
                  </a:lnTo>
                  <a:lnTo>
                    <a:pt x="944107" y="742376"/>
                  </a:lnTo>
                  <a:lnTo>
                    <a:pt x="943866" y="742256"/>
                  </a:lnTo>
                  <a:lnTo>
                    <a:pt x="937459" y="739334"/>
                  </a:lnTo>
                  <a:lnTo>
                    <a:pt x="931621" y="737613"/>
                  </a:lnTo>
                  <a:lnTo>
                    <a:pt x="931086" y="737358"/>
                  </a:lnTo>
                  <a:lnTo>
                    <a:pt x="925133" y="733188"/>
                  </a:lnTo>
                  <a:lnTo>
                    <a:pt x="924824" y="732903"/>
                  </a:lnTo>
                  <a:lnTo>
                    <a:pt x="919502" y="726945"/>
                  </a:lnTo>
                  <a:lnTo>
                    <a:pt x="919198" y="726579"/>
                  </a:lnTo>
                  <a:lnTo>
                    <a:pt x="916224" y="720615"/>
                  </a:lnTo>
                  <a:lnTo>
                    <a:pt x="916050" y="719970"/>
                  </a:lnTo>
                  <a:lnTo>
                    <a:pt x="915457" y="714045"/>
                  </a:lnTo>
                  <a:lnTo>
                    <a:pt x="915780" y="712796"/>
                  </a:lnTo>
                  <a:lnTo>
                    <a:pt x="919931" y="706847"/>
                  </a:lnTo>
                  <a:lnTo>
                    <a:pt x="920481" y="706337"/>
                  </a:lnTo>
                  <a:lnTo>
                    <a:pt x="926294" y="702861"/>
                  </a:lnTo>
                  <a:lnTo>
                    <a:pt x="932041" y="697674"/>
                  </a:lnTo>
                  <a:lnTo>
                    <a:pt x="937339" y="691797"/>
                  </a:lnTo>
                  <a:lnTo>
                    <a:pt x="937392" y="691749"/>
                  </a:lnTo>
                  <a:lnTo>
                    <a:pt x="942873" y="686225"/>
                  </a:lnTo>
                  <a:lnTo>
                    <a:pt x="943360" y="681491"/>
                  </a:lnTo>
                  <a:lnTo>
                    <a:pt x="940698" y="676169"/>
                  </a:lnTo>
                  <a:lnTo>
                    <a:pt x="936346" y="670673"/>
                  </a:lnTo>
                  <a:lnTo>
                    <a:pt x="931028" y="668026"/>
                  </a:lnTo>
                  <a:lnTo>
                    <a:pt x="925750" y="667491"/>
                  </a:lnTo>
                  <a:lnTo>
                    <a:pt x="919545" y="669174"/>
                  </a:lnTo>
                  <a:cubicBezTo>
                    <a:pt x="913341" y="670991"/>
                    <a:pt x="907185" y="673069"/>
                    <a:pt x="900754" y="673995"/>
                  </a:cubicBezTo>
                  <a:lnTo>
                    <a:pt x="894213" y="674578"/>
                  </a:lnTo>
                  <a:lnTo>
                    <a:pt x="893706" y="674578"/>
                  </a:lnTo>
                  <a:lnTo>
                    <a:pt x="888201" y="673478"/>
                  </a:lnTo>
                  <a:lnTo>
                    <a:pt x="882691" y="675137"/>
                  </a:lnTo>
                  <a:lnTo>
                    <a:pt x="882484" y="675156"/>
                  </a:lnTo>
                  <a:lnTo>
                    <a:pt x="875966" y="676361"/>
                  </a:lnTo>
                  <a:lnTo>
                    <a:pt x="875966" y="676361"/>
                  </a:lnTo>
                  <a:lnTo>
                    <a:pt x="870008" y="677528"/>
                  </a:lnTo>
                  <a:lnTo>
                    <a:pt x="869984" y="677528"/>
                  </a:lnTo>
                  <a:lnTo>
                    <a:pt x="863437" y="678743"/>
                  </a:lnTo>
                  <a:lnTo>
                    <a:pt x="862589" y="678685"/>
                  </a:lnTo>
                  <a:lnTo>
                    <a:pt x="856978" y="676993"/>
                  </a:lnTo>
                  <a:lnTo>
                    <a:pt x="851395" y="677581"/>
                  </a:lnTo>
                  <a:lnTo>
                    <a:pt x="851207" y="677581"/>
                  </a:lnTo>
                  <a:lnTo>
                    <a:pt x="845263" y="677581"/>
                  </a:lnTo>
                  <a:cubicBezTo>
                    <a:pt x="835631" y="678593"/>
                    <a:pt x="829697" y="675518"/>
                    <a:pt x="823097" y="668663"/>
                  </a:cubicBezTo>
                  <a:lnTo>
                    <a:pt x="822712" y="668556"/>
                  </a:lnTo>
                  <a:lnTo>
                    <a:pt x="816932" y="666845"/>
                  </a:lnTo>
                  <a:lnTo>
                    <a:pt x="810573" y="666276"/>
                  </a:lnTo>
                  <a:lnTo>
                    <a:pt x="809932" y="666083"/>
                  </a:lnTo>
                  <a:lnTo>
                    <a:pt x="798025" y="660130"/>
                  </a:lnTo>
                  <a:lnTo>
                    <a:pt x="797398" y="659624"/>
                  </a:lnTo>
                  <a:lnTo>
                    <a:pt x="793257" y="654273"/>
                  </a:lnTo>
                  <a:lnTo>
                    <a:pt x="792872" y="653333"/>
                  </a:lnTo>
                  <a:lnTo>
                    <a:pt x="792365" y="648392"/>
                  </a:lnTo>
                  <a:cubicBezTo>
                    <a:pt x="780772" y="642838"/>
                    <a:pt x="777392" y="643629"/>
                    <a:pt x="767852" y="633664"/>
                  </a:cubicBezTo>
                  <a:lnTo>
                    <a:pt x="761320" y="627716"/>
                  </a:lnTo>
                  <a:lnTo>
                    <a:pt x="761060" y="627441"/>
                  </a:lnTo>
                  <a:lnTo>
                    <a:pt x="756572" y="621275"/>
                  </a:lnTo>
                  <a:lnTo>
                    <a:pt x="751033" y="618503"/>
                  </a:lnTo>
                  <a:lnTo>
                    <a:pt x="750787" y="618373"/>
                  </a:lnTo>
                  <a:lnTo>
                    <a:pt x="744838" y="614179"/>
                  </a:lnTo>
                  <a:lnTo>
                    <a:pt x="744742" y="614088"/>
                  </a:lnTo>
                  <a:cubicBezTo>
                    <a:pt x="737751" y="609431"/>
                    <a:pt x="722060" y="591989"/>
                    <a:pt x="718146" y="584512"/>
                  </a:cubicBezTo>
                  <a:cubicBezTo>
                    <a:pt x="714704" y="579349"/>
                    <a:pt x="708948" y="565890"/>
                    <a:pt x="706677" y="559734"/>
                  </a:cubicBezTo>
                  <a:cubicBezTo>
                    <a:pt x="699446" y="539077"/>
                    <a:pt x="697585" y="527647"/>
                    <a:pt x="688267" y="506884"/>
                  </a:cubicBezTo>
                  <a:lnTo>
                    <a:pt x="685452" y="501293"/>
                  </a:lnTo>
                  <a:lnTo>
                    <a:pt x="684483" y="500319"/>
                  </a:lnTo>
                  <a:lnTo>
                    <a:pt x="684044" y="499610"/>
                  </a:lnTo>
                  <a:lnTo>
                    <a:pt x="682275" y="494288"/>
                  </a:lnTo>
                  <a:lnTo>
                    <a:pt x="679942" y="488460"/>
                  </a:lnTo>
                  <a:lnTo>
                    <a:pt x="677011" y="482627"/>
                  </a:lnTo>
                  <a:lnTo>
                    <a:pt x="674653" y="478486"/>
                  </a:lnTo>
                  <a:lnTo>
                    <a:pt x="674557" y="478288"/>
                  </a:lnTo>
                  <a:lnTo>
                    <a:pt x="672190" y="472344"/>
                  </a:lnTo>
                  <a:lnTo>
                    <a:pt x="672103" y="472132"/>
                  </a:lnTo>
                  <a:lnTo>
                    <a:pt x="670508" y="466198"/>
                  </a:lnTo>
                  <a:lnTo>
                    <a:pt x="664954" y="462187"/>
                  </a:lnTo>
                  <a:lnTo>
                    <a:pt x="659603" y="462187"/>
                  </a:lnTo>
                  <a:lnTo>
                    <a:pt x="659082" y="462090"/>
                  </a:lnTo>
                  <a:cubicBezTo>
                    <a:pt x="636690" y="457111"/>
                    <a:pt x="622961" y="437312"/>
                    <a:pt x="604421" y="425564"/>
                  </a:cubicBezTo>
                  <a:lnTo>
                    <a:pt x="598009" y="422088"/>
                  </a:lnTo>
                  <a:lnTo>
                    <a:pt x="597758" y="421886"/>
                  </a:lnTo>
                  <a:lnTo>
                    <a:pt x="592219" y="417499"/>
                  </a:lnTo>
                  <a:lnTo>
                    <a:pt x="586902" y="416959"/>
                  </a:lnTo>
                  <a:lnTo>
                    <a:pt x="586396" y="416959"/>
                  </a:lnTo>
                  <a:lnTo>
                    <a:pt x="585861" y="416872"/>
                  </a:lnTo>
                  <a:lnTo>
                    <a:pt x="579922" y="415093"/>
                  </a:lnTo>
                  <a:lnTo>
                    <a:pt x="579208" y="414713"/>
                  </a:lnTo>
                  <a:lnTo>
                    <a:pt x="572666" y="408725"/>
                  </a:lnTo>
                  <a:lnTo>
                    <a:pt x="572527" y="408614"/>
                  </a:lnTo>
                  <a:lnTo>
                    <a:pt x="567359" y="402853"/>
                  </a:lnTo>
                  <a:lnTo>
                    <a:pt x="564635" y="401229"/>
                  </a:lnTo>
                  <a:lnTo>
                    <a:pt x="564274" y="400949"/>
                  </a:lnTo>
                  <a:lnTo>
                    <a:pt x="558325" y="394991"/>
                  </a:lnTo>
                  <a:cubicBezTo>
                    <a:pt x="543829" y="382997"/>
                    <a:pt x="542204" y="366168"/>
                    <a:pt x="536969" y="349850"/>
                  </a:cubicBezTo>
                  <a:lnTo>
                    <a:pt x="536386" y="343308"/>
                  </a:lnTo>
                  <a:lnTo>
                    <a:pt x="536371" y="343125"/>
                  </a:lnTo>
                  <a:lnTo>
                    <a:pt x="536371" y="336670"/>
                  </a:lnTo>
                  <a:lnTo>
                    <a:pt x="535846" y="330851"/>
                  </a:lnTo>
                  <a:lnTo>
                    <a:pt x="535720" y="330716"/>
                  </a:lnTo>
                  <a:lnTo>
                    <a:pt x="535296" y="330114"/>
                  </a:lnTo>
                  <a:lnTo>
                    <a:pt x="532939" y="324175"/>
                  </a:lnTo>
                  <a:cubicBezTo>
                    <a:pt x="531247" y="311390"/>
                    <a:pt x="533098" y="315927"/>
                    <a:pt x="534009" y="303074"/>
                  </a:cubicBezTo>
                  <a:cubicBezTo>
                    <a:pt x="534110" y="302081"/>
                    <a:pt x="534978" y="301363"/>
                    <a:pt x="535991" y="301474"/>
                  </a:cubicBezTo>
                  <a:lnTo>
                    <a:pt x="542522" y="302043"/>
                  </a:lnTo>
                  <a:lnTo>
                    <a:pt x="543183" y="302221"/>
                  </a:lnTo>
                  <a:lnTo>
                    <a:pt x="547767" y="304521"/>
                  </a:lnTo>
                  <a:lnTo>
                    <a:pt x="548163" y="303995"/>
                  </a:lnTo>
                  <a:lnTo>
                    <a:pt x="547715" y="301165"/>
                  </a:lnTo>
                  <a:lnTo>
                    <a:pt x="547811" y="300250"/>
                  </a:lnTo>
                  <a:lnTo>
                    <a:pt x="550183" y="293713"/>
                  </a:lnTo>
                  <a:cubicBezTo>
                    <a:pt x="550429" y="293018"/>
                    <a:pt x="551103" y="292556"/>
                    <a:pt x="551856" y="292536"/>
                  </a:cubicBezTo>
                  <a:cubicBezTo>
                    <a:pt x="552612" y="292536"/>
                    <a:pt x="553302" y="292951"/>
                    <a:pt x="553572" y="293665"/>
                  </a:cubicBezTo>
                  <a:lnTo>
                    <a:pt x="554468" y="295873"/>
                  </a:lnTo>
                  <a:lnTo>
                    <a:pt x="554941" y="294879"/>
                  </a:lnTo>
                  <a:lnTo>
                    <a:pt x="556681" y="288511"/>
                  </a:lnTo>
                  <a:lnTo>
                    <a:pt x="556681" y="288458"/>
                  </a:lnTo>
                  <a:lnTo>
                    <a:pt x="558209" y="283387"/>
                  </a:lnTo>
                  <a:lnTo>
                    <a:pt x="557342" y="282225"/>
                  </a:lnTo>
                  <a:lnTo>
                    <a:pt x="551966" y="280591"/>
                  </a:lnTo>
                  <a:lnTo>
                    <a:pt x="551340" y="280268"/>
                  </a:lnTo>
                  <a:lnTo>
                    <a:pt x="548871" y="278291"/>
                  </a:lnTo>
                  <a:lnTo>
                    <a:pt x="542947" y="278291"/>
                  </a:lnTo>
                  <a:cubicBezTo>
                    <a:pt x="542036" y="278291"/>
                    <a:pt x="541240" y="277592"/>
                    <a:pt x="541139" y="276647"/>
                  </a:cubicBezTo>
                  <a:lnTo>
                    <a:pt x="540599" y="270458"/>
                  </a:lnTo>
                  <a:lnTo>
                    <a:pt x="537760" y="264808"/>
                  </a:lnTo>
                  <a:lnTo>
                    <a:pt x="537567" y="263959"/>
                  </a:lnTo>
                  <a:lnTo>
                    <a:pt x="537567" y="257784"/>
                  </a:lnTo>
                  <a:lnTo>
                    <a:pt x="536757" y="255754"/>
                  </a:lnTo>
                  <a:lnTo>
                    <a:pt x="532688" y="253725"/>
                  </a:lnTo>
                  <a:lnTo>
                    <a:pt x="528567" y="251970"/>
                  </a:lnTo>
                  <a:lnTo>
                    <a:pt x="527458" y="250302"/>
                  </a:lnTo>
                  <a:lnTo>
                    <a:pt x="527458" y="250018"/>
                  </a:lnTo>
                  <a:lnTo>
                    <a:pt x="525457" y="244513"/>
                  </a:lnTo>
                  <a:lnTo>
                    <a:pt x="522010" y="243033"/>
                  </a:lnTo>
                  <a:lnTo>
                    <a:pt x="520921" y="241360"/>
                  </a:lnTo>
                  <a:lnTo>
                    <a:pt x="520921" y="238998"/>
                  </a:lnTo>
                  <a:lnTo>
                    <a:pt x="521017" y="238390"/>
                  </a:lnTo>
                  <a:lnTo>
                    <a:pt x="521610" y="236621"/>
                  </a:lnTo>
                  <a:lnTo>
                    <a:pt x="522907" y="235406"/>
                  </a:lnTo>
                  <a:lnTo>
                    <a:pt x="524623" y="235936"/>
                  </a:lnTo>
                  <a:lnTo>
                    <a:pt x="525476" y="236746"/>
                  </a:lnTo>
                  <a:lnTo>
                    <a:pt x="527284" y="235850"/>
                  </a:lnTo>
                  <a:lnTo>
                    <a:pt x="529820" y="230320"/>
                  </a:lnTo>
                  <a:lnTo>
                    <a:pt x="529251" y="224290"/>
                  </a:lnTo>
                  <a:lnTo>
                    <a:pt x="529318" y="223634"/>
                  </a:lnTo>
                  <a:lnTo>
                    <a:pt x="531097" y="217102"/>
                  </a:lnTo>
                  <a:lnTo>
                    <a:pt x="531546" y="216287"/>
                  </a:lnTo>
                  <a:lnTo>
                    <a:pt x="532158" y="215690"/>
                  </a:lnTo>
                  <a:lnTo>
                    <a:pt x="534530" y="213284"/>
                  </a:lnTo>
                  <a:lnTo>
                    <a:pt x="535022" y="212966"/>
                  </a:lnTo>
                  <a:cubicBezTo>
                    <a:pt x="557910" y="204708"/>
                    <a:pt x="547960" y="193259"/>
                    <a:pt x="560841" y="206096"/>
                  </a:cubicBezTo>
                  <a:lnTo>
                    <a:pt x="561453" y="207576"/>
                  </a:lnTo>
                  <a:lnTo>
                    <a:pt x="560692" y="208960"/>
                  </a:lnTo>
                  <a:lnTo>
                    <a:pt x="554815" y="213033"/>
                  </a:lnTo>
                  <a:lnTo>
                    <a:pt x="551402" y="216119"/>
                  </a:lnTo>
                  <a:cubicBezTo>
                    <a:pt x="564389" y="210180"/>
                    <a:pt x="571346" y="206935"/>
                    <a:pt x="583528" y="197660"/>
                  </a:cubicBezTo>
                  <a:lnTo>
                    <a:pt x="589428" y="192941"/>
                  </a:lnTo>
                  <a:lnTo>
                    <a:pt x="590233" y="192598"/>
                  </a:lnTo>
                  <a:lnTo>
                    <a:pt x="596191" y="191393"/>
                  </a:lnTo>
                  <a:lnTo>
                    <a:pt x="596221" y="191393"/>
                  </a:lnTo>
                  <a:lnTo>
                    <a:pt x="602487" y="190241"/>
                  </a:lnTo>
                  <a:lnTo>
                    <a:pt x="607419" y="187783"/>
                  </a:lnTo>
                  <a:lnTo>
                    <a:pt x="607530" y="187358"/>
                  </a:lnTo>
                  <a:lnTo>
                    <a:pt x="610499" y="183140"/>
                  </a:lnTo>
                  <a:lnTo>
                    <a:pt x="606435" y="181096"/>
                  </a:lnTo>
                  <a:lnTo>
                    <a:pt x="605438" y="179636"/>
                  </a:lnTo>
                  <a:lnTo>
                    <a:pt x="606204" y="178035"/>
                  </a:lnTo>
                  <a:lnTo>
                    <a:pt x="618102" y="169647"/>
                  </a:lnTo>
                  <a:lnTo>
                    <a:pt x="620073" y="169594"/>
                  </a:lnTo>
                  <a:lnTo>
                    <a:pt x="625714" y="172964"/>
                  </a:lnTo>
                  <a:lnTo>
                    <a:pt x="630091" y="173523"/>
                  </a:lnTo>
                  <a:lnTo>
                    <a:pt x="630520" y="173658"/>
                  </a:lnTo>
                  <a:lnTo>
                    <a:pt x="635726" y="175711"/>
                  </a:lnTo>
                  <a:lnTo>
                    <a:pt x="637201" y="175480"/>
                  </a:lnTo>
                  <a:lnTo>
                    <a:pt x="638406" y="176073"/>
                  </a:lnTo>
                  <a:cubicBezTo>
                    <a:pt x="639149" y="176449"/>
                    <a:pt x="639539" y="177254"/>
                    <a:pt x="639366" y="178088"/>
                  </a:cubicBezTo>
                  <a:lnTo>
                    <a:pt x="638787" y="181082"/>
                  </a:lnTo>
                  <a:lnTo>
                    <a:pt x="639780" y="180792"/>
                  </a:lnTo>
                  <a:lnTo>
                    <a:pt x="644977" y="177172"/>
                  </a:lnTo>
                  <a:lnTo>
                    <a:pt x="646573" y="171807"/>
                  </a:lnTo>
                  <a:lnTo>
                    <a:pt x="647228" y="170900"/>
                  </a:lnTo>
                  <a:lnTo>
                    <a:pt x="651986" y="167328"/>
                  </a:lnTo>
                  <a:lnTo>
                    <a:pt x="653741" y="167092"/>
                  </a:lnTo>
                  <a:lnTo>
                    <a:pt x="656725" y="168273"/>
                  </a:lnTo>
                  <a:lnTo>
                    <a:pt x="657164" y="168543"/>
                  </a:lnTo>
                  <a:lnTo>
                    <a:pt x="663141" y="173301"/>
                  </a:lnTo>
                  <a:lnTo>
                    <a:pt x="669693" y="178681"/>
                  </a:lnTo>
                  <a:lnTo>
                    <a:pt x="670344" y="179727"/>
                  </a:lnTo>
                  <a:lnTo>
                    <a:pt x="671448" y="185319"/>
                  </a:lnTo>
                  <a:lnTo>
                    <a:pt x="675391" y="190926"/>
                  </a:lnTo>
                  <a:lnTo>
                    <a:pt x="675584" y="192666"/>
                  </a:lnTo>
                  <a:lnTo>
                    <a:pt x="674653" y="193403"/>
                  </a:lnTo>
                  <a:lnTo>
                    <a:pt x="676278" y="193765"/>
                  </a:lnTo>
                  <a:lnTo>
                    <a:pt x="678457" y="19299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35" name="Freihandform: Form 634">
              <a:extLst>
                <a:ext uri="{FF2B5EF4-FFF2-40B4-BE49-F238E27FC236}">
                  <a16:creationId xmlns:a16="http://schemas.microsoft.com/office/drawing/2014/main" id="{C19E2AB8-4D10-C954-6192-EECAA3AC9D13}"/>
                </a:ext>
              </a:extLst>
            </p:cNvPr>
            <p:cNvSpPr/>
            <p:nvPr/>
          </p:nvSpPr>
          <p:spPr>
            <a:xfrm>
              <a:off x="5783335" y="4803819"/>
              <a:ext cx="371433" cy="266710"/>
            </a:xfrm>
            <a:custGeom>
              <a:avLst/>
              <a:gdLst>
                <a:gd name="connsiteX0" fmla="*/ 34728 w 290312"/>
                <a:gd name="connsiteY0" fmla="*/ 205968 h 208492"/>
                <a:gd name="connsiteX1" fmla="*/ 41429 w 290312"/>
                <a:gd name="connsiteY1" fmla="*/ 204526 h 208492"/>
                <a:gd name="connsiteX2" fmla="*/ 49957 w 290312"/>
                <a:gd name="connsiteY2" fmla="*/ 208142 h 208492"/>
                <a:gd name="connsiteX3" fmla="*/ 59777 w 290312"/>
                <a:gd name="connsiteY3" fmla="*/ 203630 h 208492"/>
                <a:gd name="connsiteX4" fmla="*/ 61199 w 290312"/>
                <a:gd name="connsiteY4" fmla="*/ 197189 h 208492"/>
                <a:gd name="connsiteX5" fmla="*/ 74099 w 290312"/>
                <a:gd name="connsiteY5" fmla="*/ 201306 h 208492"/>
                <a:gd name="connsiteX6" fmla="*/ 83808 w 290312"/>
                <a:gd name="connsiteY6" fmla="*/ 196953 h 208492"/>
                <a:gd name="connsiteX7" fmla="*/ 91169 w 290312"/>
                <a:gd name="connsiteY7" fmla="*/ 199508 h 208492"/>
                <a:gd name="connsiteX8" fmla="*/ 99808 w 290312"/>
                <a:gd name="connsiteY8" fmla="*/ 198481 h 208492"/>
                <a:gd name="connsiteX9" fmla="*/ 106663 w 290312"/>
                <a:gd name="connsiteY9" fmla="*/ 192272 h 208492"/>
                <a:gd name="connsiteX10" fmla="*/ 108851 w 290312"/>
                <a:gd name="connsiteY10" fmla="*/ 181956 h 208492"/>
                <a:gd name="connsiteX11" fmla="*/ 113113 w 290312"/>
                <a:gd name="connsiteY11" fmla="*/ 174219 h 208492"/>
                <a:gd name="connsiteX12" fmla="*/ 117770 w 290312"/>
                <a:gd name="connsiteY12" fmla="*/ 174460 h 208492"/>
                <a:gd name="connsiteX13" fmla="*/ 118411 w 290312"/>
                <a:gd name="connsiteY13" fmla="*/ 180920 h 208492"/>
                <a:gd name="connsiteX14" fmla="*/ 123709 w 290312"/>
                <a:gd name="connsiteY14" fmla="*/ 184795 h 208492"/>
                <a:gd name="connsiteX15" fmla="*/ 126683 w 290312"/>
                <a:gd name="connsiteY15" fmla="*/ 190329 h 208492"/>
                <a:gd name="connsiteX16" fmla="*/ 132492 w 290312"/>
                <a:gd name="connsiteY16" fmla="*/ 193048 h 208492"/>
                <a:gd name="connsiteX17" fmla="*/ 139198 w 290312"/>
                <a:gd name="connsiteY17" fmla="*/ 198616 h 208492"/>
                <a:gd name="connsiteX18" fmla="*/ 147851 w 290312"/>
                <a:gd name="connsiteY18" fmla="*/ 196018 h 208492"/>
                <a:gd name="connsiteX19" fmla="*/ 149153 w 290312"/>
                <a:gd name="connsiteY19" fmla="*/ 189814 h 208492"/>
                <a:gd name="connsiteX20" fmla="*/ 157420 w 290312"/>
                <a:gd name="connsiteY20" fmla="*/ 194186 h 208492"/>
                <a:gd name="connsiteX21" fmla="*/ 161151 w 290312"/>
                <a:gd name="connsiteY21" fmla="*/ 193048 h 208492"/>
                <a:gd name="connsiteX22" fmla="*/ 170851 w 290312"/>
                <a:gd name="connsiteY22" fmla="*/ 200781 h 208492"/>
                <a:gd name="connsiteX23" fmla="*/ 175372 w 290312"/>
                <a:gd name="connsiteY23" fmla="*/ 200684 h 208492"/>
                <a:gd name="connsiteX24" fmla="*/ 180266 w 290312"/>
                <a:gd name="connsiteY24" fmla="*/ 196948 h 208492"/>
                <a:gd name="connsiteX25" fmla="*/ 186224 w 290312"/>
                <a:gd name="connsiteY25" fmla="*/ 195136 h 208492"/>
                <a:gd name="connsiteX26" fmla="*/ 182348 w 290312"/>
                <a:gd name="connsiteY26" fmla="*/ 180230 h 208492"/>
                <a:gd name="connsiteX27" fmla="*/ 186846 w 290312"/>
                <a:gd name="connsiteY27" fmla="*/ 168385 h 208492"/>
                <a:gd name="connsiteX28" fmla="*/ 177045 w 290312"/>
                <a:gd name="connsiteY28" fmla="*/ 164495 h 208492"/>
                <a:gd name="connsiteX29" fmla="*/ 192544 w 290312"/>
                <a:gd name="connsiteY29" fmla="*/ 151566 h 208492"/>
                <a:gd name="connsiteX30" fmla="*/ 194863 w 290312"/>
                <a:gd name="connsiteY30" fmla="*/ 146152 h 208492"/>
                <a:gd name="connsiteX31" fmla="*/ 213847 w 290312"/>
                <a:gd name="connsiteY31" fmla="*/ 142055 h 208492"/>
                <a:gd name="connsiteX32" fmla="*/ 215018 w 290312"/>
                <a:gd name="connsiteY32" fmla="*/ 135682 h 208492"/>
                <a:gd name="connsiteX33" fmla="*/ 214362 w 290312"/>
                <a:gd name="connsiteY33" fmla="*/ 131690 h 208492"/>
                <a:gd name="connsiteX34" fmla="*/ 214362 w 290312"/>
                <a:gd name="connsiteY34" fmla="*/ 122117 h 208492"/>
                <a:gd name="connsiteX35" fmla="*/ 215148 w 290312"/>
                <a:gd name="connsiteY35" fmla="*/ 112586 h 208492"/>
                <a:gd name="connsiteX36" fmla="*/ 209122 w 290312"/>
                <a:gd name="connsiteY36" fmla="*/ 110498 h 208492"/>
                <a:gd name="connsiteX37" fmla="*/ 204832 w 290312"/>
                <a:gd name="connsiteY37" fmla="*/ 105196 h 208492"/>
                <a:gd name="connsiteX38" fmla="*/ 205497 w 290312"/>
                <a:gd name="connsiteY38" fmla="*/ 91736 h 208492"/>
                <a:gd name="connsiteX39" fmla="*/ 217226 w 290312"/>
                <a:gd name="connsiteY39" fmla="*/ 90898 h 208492"/>
                <a:gd name="connsiteX40" fmla="*/ 220326 w 290312"/>
                <a:gd name="connsiteY40" fmla="*/ 86761 h 208492"/>
                <a:gd name="connsiteX41" fmla="*/ 243904 w 290312"/>
                <a:gd name="connsiteY41" fmla="*/ 75187 h 208492"/>
                <a:gd name="connsiteX42" fmla="*/ 245808 w 290312"/>
                <a:gd name="connsiteY42" fmla="*/ 72434 h 208492"/>
                <a:gd name="connsiteX43" fmla="*/ 244603 w 290312"/>
                <a:gd name="connsiteY43" fmla="*/ 66076 h 208492"/>
                <a:gd name="connsiteX44" fmla="*/ 254938 w 290312"/>
                <a:gd name="connsiteY44" fmla="*/ 64663 h 208492"/>
                <a:gd name="connsiteX45" fmla="*/ 261523 w 290312"/>
                <a:gd name="connsiteY45" fmla="*/ 66760 h 208492"/>
                <a:gd name="connsiteX46" fmla="*/ 264107 w 290312"/>
                <a:gd name="connsiteY46" fmla="*/ 62489 h 208492"/>
                <a:gd name="connsiteX47" fmla="*/ 261774 w 290312"/>
                <a:gd name="connsiteY47" fmla="*/ 59370 h 208492"/>
                <a:gd name="connsiteX48" fmla="*/ 260627 w 290312"/>
                <a:gd name="connsiteY48" fmla="*/ 53335 h 208492"/>
                <a:gd name="connsiteX49" fmla="*/ 264613 w 290312"/>
                <a:gd name="connsiteY49" fmla="*/ 44633 h 208492"/>
                <a:gd name="connsiteX50" fmla="*/ 269531 w 290312"/>
                <a:gd name="connsiteY50" fmla="*/ 42840 h 208492"/>
                <a:gd name="connsiteX51" fmla="*/ 276241 w 290312"/>
                <a:gd name="connsiteY51" fmla="*/ 44783 h 208492"/>
                <a:gd name="connsiteX52" fmla="*/ 290313 w 290312"/>
                <a:gd name="connsiteY52" fmla="*/ 48731 h 208492"/>
                <a:gd name="connsiteX53" fmla="*/ 283747 w 290312"/>
                <a:gd name="connsiteY53" fmla="*/ 40796 h 208492"/>
                <a:gd name="connsiteX54" fmla="*/ 271083 w 290312"/>
                <a:gd name="connsiteY54" fmla="*/ 29298 h 208492"/>
                <a:gd name="connsiteX55" fmla="*/ 273397 w 290312"/>
                <a:gd name="connsiteY55" fmla="*/ 23499 h 208492"/>
                <a:gd name="connsiteX56" fmla="*/ 268740 w 290312"/>
                <a:gd name="connsiteY56" fmla="*/ 20380 h 208492"/>
                <a:gd name="connsiteX57" fmla="*/ 267327 w 290312"/>
                <a:gd name="connsiteY57" fmla="*/ 18298 h 208492"/>
                <a:gd name="connsiteX58" fmla="*/ 262675 w 290312"/>
                <a:gd name="connsiteY58" fmla="*/ 12373 h 208492"/>
                <a:gd name="connsiteX59" fmla="*/ 264107 w 290312"/>
                <a:gd name="connsiteY59" fmla="*/ 6068 h 208492"/>
                <a:gd name="connsiteX60" fmla="*/ 261774 w 290312"/>
                <a:gd name="connsiteY60" fmla="*/ 2172 h 208492"/>
                <a:gd name="connsiteX61" fmla="*/ 256857 w 290312"/>
                <a:gd name="connsiteY61" fmla="*/ 95 h 208492"/>
                <a:gd name="connsiteX62" fmla="*/ 249385 w 290312"/>
                <a:gd name="connsiteY62" fmla="*/ 1522 h 208492"/>
                <a:gd name="connsiteX63" fmla="*/ 242101 w 290312"/>
                <a:gd name="connsiteY63" fmla="*/ 986 h 208492"/>
                <a:gd name="connsiteX64" fmla="*/ 235303 w 290312"/>
                <a:gd name="connsiteY64" fmla="*/ 6680 h 208492"/>
                <a:gd name="connsiteX65" fmla="*/ 235303 w 290312"/>
                <a:gd name="connsiteY65" fmla="*/ 21909 h 208492"/>
                <a:gd name="connsiteX66" fmla="*/ 237752 w 290312"/>
                <a:gd name="connsiteY66" fmla="*/ 29906 h 208492"/>
                <a:gd name="connsiteX67" fmla="*/ 227137 w 290312"/>
                <a:gd name="connsiteY67" fmla="*/ 24241 h 208492"/>
                <a:gd name="connsiteX68" fmla="*/ 211017 w 290312"/>
                <a:gd name="connsiteY68" fmla="*/ 27582 h 208492"/>
                <a:gd name="connsiteX69" fmla="*/ 203525 w 290312"/>
                <a:gd name="connsiteY69" fmla="*/ 26445 h 208492"/>
                <a:gd name="connsiteX70" fmla="*/ 198372 w 290312"/>
                <a:gd name="connsiteY70" fmla="*/ 30697 h 208492"/>
                <a:gd name="connsiteX71" fmla="*/ 194617 w 290312"/>
                <a:gd name="connsiteY71" fmla="*/ 34977 h 208492"/>
                <a:gd name="connsiteX72" fmla="*/ 190346 w 290312"/>
                <a:gd name="connsiteY72" fmla="*/ 39615 h 208492"/>
                <a:gd name="connsiteX73" fmla="*/ 182859 w 290312"/>
                <a:gd name="connsiteY73" fmla="*/ 37812 h 208492"/>
                <a:gd name="connsiteX74" fmla="*/ 168387 w 290312"/>
                <a:gd name="connsiteY74" fmla="*/ 37161 h 208492"/>
                <a:gd name="connsiteX75" fmla="*/ 154966 w 290312"/>
                <a:gd name="connsiteY75" fmla="*/ 38077 h 208492"/>
                <a:gd name="connsiteX76" fmla="*/ 143604 w 290312"/>
                <a:gd name="connsiteY76" fmla="*/ 43119 h 208492"/>
                <a:gd name="connsiteX77" fmla="*/ 141006 w 290312"/>
                <a:gd name="connsiteY77" fmla="*/ 43119 h 208492"/>
                <a:gd name="connsiteX78" fmla="*/ 133533 w 290312"/>
                <a:gd name="connsiteY78" fmla="*/ 45819 h 208492"/>
                <a:gd name="connsiteX79" fmla="*/ 128481 w 290312"/>
                <a:gd name="connsiteY79" fmla="*/ 52785 h 208492"/>
                <a:gd name="connsiteX80" fmla="*/ 124991 w 290312"/>
                <a:gd name="connsiteY80" fmla="*/ 58604 h 208492"/>
                <a:gd name="connsiteX81" fmla="*/ 116998 w 290312"/>
                <a:gd name="connsiteY81" fmla="*/ 65203 h 208492"/>
                <a:gd name="connsiteX82" fmla="*/ 110404 w 290312"/>
                <a:gd name="connsiteY82" fmla="*/ 69055 h 208492"/>
                <a:gd name="connsiteX83" fmla="*/ 106933 w 290312"/>
                <a:gd name="connsiteY83" fmla="*/ 75534 h 208492"/>
                <a:gd name="connsiteX84" fmla="*/ 102141 w 290312"/>
                <a:gd name="connsiteY84" fmla="*/ 73442 h 208492"/>
                <a:gd name="connsiteX85" fmla="*/ 92847 w 290312"/>
                <a:gd name="connsiteY85" fmla="*/ 71383 h 208492"/>
                <a:gd name="connsiteX86" fmla="*/ 86262 w 290312"/>
                <a:gd name="connsiteY86" fmla="*/ 71769 h 208492"/>
                <a:gd name="connsiteX87" fmla="*/ 79407 w 290312"/>
                <a:gd name="connsiteY87" fmla="*/ 71624 h 208492"/>
                <a:gd name="connsiteX88" fmla="*/ 72046 w 290312"/>
                <a:gd name="connsiteY88" fmla="*/ 73042 h 208492"/>
                <a:gd name="connsiteX89" fmla="*/ 64949 w 290312"/>
                <a:gd name="connsiteY89" fmla="*/ 68153 h 208492"/>
                <a:gd name="connsiteX90" fmla="*/ 56036 w 290312"/>
                <a:gd name="connsiteY90" fmla="*/ 66066 h 208492"/>
                <a:gd name="connsiteX91" fmla="*/ 48164 w 290312"/>
                <a:gd name="connsiteY91" fmla="*/ 63752 h 208492"/>
                <a:gd name="connsiteX92" fmla="*/ 39906 w 290312"/>
                <a:gd name="connsiteY92" fmla="*/ 64036 h 208492"/>
                <a:gd name="connsiteX93" fmla="*/ 29826 w 290312"/>
                <a:gd name="connsiteY93" fmla="*/ 64287 h 208492"/>
                <a:gd name="connsiteX94" fmla="*/ 26856 w 290312"/>
                <a:gd name="connsiteY94" fmla="*/ 63453 h 208492"/>
                <a:gd name="connsiteX95" fmla="*/ 24533 w 290312"/>
                <a:gd name="connsiteY95" fmla="*/ 74613 h 208492"/>
                <a:gd name="connsiteX96" fmla="*/ 19100 w 290312"/>
                <a:gd name="connsiteY96" fmla="*/ 74483 h 208492"/>
                <a:gd name="connsiteX97" fmla="*/ 14346 w 290312"/>
                <a:gd name="connsiteY97" fmla="*/ 80557 h 208492"/>
                <a:gd name="connsiteX98" fmla="*/ 2714 w 290312"/>
                <a:gd name="connsiteY98" fmla="*/ 87012 h 208492"/>
                <a:gd name="connsiteX99" fmla="*/ 0 w 290312"/>
                <a:gd name="connsiteY99" fmla="*/ 99908 h 208492"/>
                <a:gd name="connsiteX100" fmla="*/ 1668 w 290312"/>
                <a:gd name="connsiteY100" fmla="*/ 106772 h 208492"/>
                <a:gd name="connsiteX101" fmla="*/ 7482 w 290312"/>
                <a:gd name="connsiteY101" fmla="*/ 103562 h 208492"/>
                <a:gd name="connsiteX102" fmla="*/ 13681 w 290312"/>
                <a:gd name="connsiteY102" fmla="*/ 105861 h 208492"/>
                <a:gd name="connsiteX103" fmla="*/ 18208 w 290312"/>
                <a:gd name="connsiteY103" fmla="*/ 109206 h 208492"/>
                <a:gd name="connsiteX104" fmla="*/ 24778 w 290312"/>
                <a:gd name="connsiteY104" fmla="*/ 109578 h 208492"/>
                <a:gd name="connsiteX105" fmla="*/ 22074 w 290312"/>
                <a:gd name="connsiteY105" fmla="*/ 116862 h 208492"/>
                <a:gd name="connsiteX106" fmla="*/ 10692 w 290312"/>
                <a:gd name="connsiteY106" fmla="*/ 127159 h 208492"/>
                <a:gd name="connsiteX107" fmla="*/ 9150 w 290312"/>
                <a:gd name="connsiteY107" fmla="*/ 133517 h 208492"/>
                <a:gd name="connsiteX108" fmla="*/ 14341 w 290312"/>
                <a:gd name="connsiteY108" fmla="*/ 138391 h 208492"/>
                <a:gd name="connsiteX109" fmla="*/ 20787 w 290312"/>
                <a:gd name="connsiteY109" fmla="*/ 136092 h 208492"/>
                <a:gd name="connsiteX110" fmla="*/ 23626 w 290312"/>
                <a:gd name="connsiteY110" fmla="*/ 142542 h 208492"/>
                <a:gd name="connsiteX111" fmla="*/ 23809 w 290312"/>
                <a:gd name="connsiteY111" fmla="*/ 143077 h 208492"/>
                <a:gd name="connsiteX112" fmla="*/ 21910 w 290312"/>
                <a:gd name="connsiteY112" fmla="*/ 147902 h 208492"/>
                <a:gd name="connsiteX113" fmla="*/ 21211 w 290312"/>
                <a:gd name="connsiteY113" fmla="*/ 156146 h 208492"/>
                <a:gd name="connsiteX114" fmla="*/ 22932 w 290312"/>
                <a:gd name="connsiteY114" fmla="*/ 160475 h 208492"/>
                <a:gd name="connsiteX115" fmla="*/ 28784 w 290312"/>
                <a:gd name="connsiteY115" fmla="*/ 160986 h 208492"/>
                <a:gd name="connsiteX116" fmla="*/ 51244 w 290312"/>
                <a:gd name="connsiteY116" fmla="*/ 182554 h 208492"/>
                <a:gd name="connsiteX117" fmla="*/ 45503 w 290312"/>
                <a:gd name="connsiteY117" fmla="*/ 187659 h 208492"/>
                <a:gd name="connsiteX118" fmla="*/ 43280 w 290312"/>
                <a:gd name="connsiteY118" fmla="*/ 188363 h 208492"/>
                <a:gd name="connsiteX119" fmla="*/ 41656 w 290312"/>
                <a:gd name="connsiteY119" fmla="*/ 188001 h 208492"/>
                <a:gd name="connsiteX120" fmla="*/ 41251 w 290312"/>
                <a:gd name="connsiteY120" fmla="*/ 188363 h 208492"/>
                <a:gd name="connsiteX121" fmla="*/ 36170 w 290312"/>
                <a:gd name="connsiteY121" fmla="*/ 189274 h 208492"/>
                <a:gd name="connsiteX122" fmla="*/ 36170 w 290312"/>
                <a:gd name="connsiteY122" fmla="*/ 193704 h 208492"/>
                <a:gd name="connsiteX123" fmla="*/ 35649 w 290312"/>
                <a:gd name="connsiteY123" fmla="*/ 195010 h 208492"/>
                <a:gd name="connsiteX124" fmla="*/ 34357 w 290312"/>
                <a:gd name="connsiteY124" fmla="*/ 195526 h 208492"/>
                <a:gd name="connsiteX125" fmla="*/ 33412 w 290312"/>
                <a:gd name="connsiteY125" fmla="*/ 195526 h 208492"/>
                <a:gd name="connsiteX126" fmla="*/ 27811 w 290312"/>
                <a:gd name="connsiteY126" fmla="*/ 197228 h 208492"/>
                <a:gd name="connsiteX127" fmla="*/ 23617 w 290312"/>
                <a:gd name="connsiteY127" fmla="*/ 198896 h 208492"/>
                <a:gd name="connsiteX128" fmla="*/ 25328 w 290312"/>
                <a:gd name="connsiteY128" fmla="*/ 203167 h 208492"/>
                <a:gd name="connsiteX129" fmla="*/ 25217 w 290312"/>
                <a:gd name="connsiteY129" fmla="*/ 204305 h 208492"/>
                <a:gd name="connsiteX130" fmla="*/ 34728 w 290312"/>
                <a:gd name="connsiteY130" fmla="*/ 205968 h 20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290312" h="208492">
                  <a:moveTo>
                    <a:pt x="34728" y="205968"/>
                  </a:moveTo>
                  <a:cubicBezTo>
                    <a:pt x="36271" y="204907"/>
                    <a:pt x="39236" y="204661"/>
                    <a:pt x="41429" y="204526"/>
                  </a:cubicBezTo>
                  <a:cubicBezTo>
                    <a:pt x="43618" y="204430"/>
                    <a:pt x="47763" y="206763"/>
                    <a:pt x="49957" y="208142"/>
                  </a:cubicBezTo>
                  <a:cubicBezTo>
                    <a:pt x="52165" y="209569"/>
                    <a:pt x="55901" y="206349"/>
                    <a:pt x="59777" y="203630"/>
                  </a:cubicBezTo>
                  <a:cubicBezTo>
                    <a:pt x="63662" y="200925"/>
                    <a:pt x="60172" y="198105"/>
                    <a:pt x="61199" y="197189"/>
                  </a:cubicBezTo>
                  <a:cubicBezTo>
                    <a:pt x="62226" y="196273"/>
                    <a:pt x="74099" y="201306"/>
                    <a:pt x="74099" y="201306"/>
                  </a:cubicBezTo>
                  <a:lnTo>
                    <a:pt x="83808" y="196953"/>
                  </a:lnTo>
                  <a:lnTo>
                    <a:pt x="91169" y="199508"/>
                  </a:lnTo>
                  <a:lnTo>
                    <a:pt x="99808" y="198481"/>
                  </a:lnTo>
                  <a:lnTo>
                    <a:pt x="106663" y="192272"/>
                  </a:lnTo>
                  <a:cubicBezTo>
                    <a:pt x="106663" y="192272"/>
                    <a:pt x="107955" y="187866"/>
                    <a:pt x="108851" y="181956"/>
                  </a:cubicBezTo>
                  <a:cubicBezTo>
                    <a:pt x="110158" y="180915"/>
                    <a:pt x="112848" y="176634"/>
                    <a:pt x="113113" y="174219"/>
                  </a:cubicBezTo>
                  <a:cubicBezTo>
                    <a:pt x="113364" y="171731"/>
                    <a:pt x="117770" y="174460"/>
                    <a:pt x="117770" y="174460"/>
                  </a:cubicBezTo>
                  <a:lnTo>
                    <a:pt x="118411" y="180920"/>
                  </a:lnTo>
                  <a:lnTo>
                    <a:pt x="123709" y="184795"/>
                  </a:lnTo>
                  <a:lnTo>
                    <a:pt x="126683" y="190329"/>
                  </a:lnTo>
                  <a:lnTo>
                    <a:pt x="132492" y="193048"/>
                  </a:lnTo>
                  <a:lnTo>
                    <a:pt x="139198" y="198616"/>
                  </a:lnTo>
                  <a:lnTo>
                    <a:pt x="147851" y="196018"/>
                  </a:lnTo>
                  <a:lnTo>
                    <a:pt x="149153" y="189814"/>
                  </a:lnTo>
                  <a:lnTo>
                    <a:pt x="157420" y="194186"/>
                  </a:lnTo>
                  <a:lnTo>
                    <a:pt x="161151" y="193048"/>
                  </a:lnTo>
                  <a:lnTo>
                    <a:pt x="170851" y="200781"/>
                  </a:lnTo>
                  <a:cubicBezTo>
                    <a:pt x="170851" y="200781"/>
                    <a:pt x="174066" y="200921"/>
                    <a:pt x="175372" y="200684"/>
                  </a:cubicBezTo>
                  <a:cubicBezTo>
                    <a:pt x="176664" y="200381"/>
                    <a:pt x="179244" y="198978"/>
                    <a:pt x="180266" y="196948"/>
                  </a:cubicBezTo>
                  <a:cubicBezTo>
                    <a:pt x="181297" y="194822"/>
                    <a:pt x="183876" y="195136"/>
                    <a:pt x="186224" y="195136"/>
                  </a:cubicBezTo>
                  <a:cubicBezTo>
                    <a:pt x="188543" y="195136"/>
                    <a:pt x="183626" y="183118"/>
                    <a:pt x="182348" y="180230"/>
                  </a:cubicBezTo>
                  <a:cubicBezTo>
                    <a:pt x="181046" y="177434"/>
                    <a:pt x="184922" y="171466"/>
                    <a:pt x="186846" y="168385"/>
                  </a:cubicBezTo>
                  <a:cubicBezTo>
                    <a:pt x="188803" y="165276"/>
                    <a:pt x="181702" y="166568"/>
                    <a:pt x="177045" y="164495"/>
                  </a:cubicBezTo>
                  <a:cubicBezTo>
                    <a:pt x="172389" y="162437"/>
                    <a:pt x="188142" y="153909"/>
                    <a:pt x="192544" y="151566"/>
                  </a:cubicBezTo>
                  <a:cubicBezTo>
                    <a:pt x="196940" y="149267"/>
                    <a:pt x="194863" y="146152"/>
                    <a:pt x="194863" y="146152"/>
                  </a:cubicBezTo>
                  <a:cubicBezTo>
                    <a:pt x="194863" y="146152"/>
                    <a:pt x="209580" y="143077"/>
                    <a:pt x="213847" y="142055"/>
                  </a:cubicBezTo>
                  <a:cubicBezTo>
                    <a:pt x="218118" y="141004"/>
                    <a:pt x="216435" y="137495"/>
                    <a:pt x="215018" y="135682"/>
                  </a:cubicBezTo>
                  <a:cubicBezTo>
                    <a:pt x="213591" y="133884"/>
                    <a:pt x="214362" y="131690"/>
                    <a:pt x="214362" y="131690"/>
                  </a:cubicBezTo>
                  <a:lnTo>
                    <a:pt x="214362" y="122117"/>
                  </a:lnTo>
                  <a:lnTo>
                    <a:pt x="215148" y="112586"/>
                  </a:lnTo>
                  <a:lnTo>
                    <a:pt x="209122" y="110498"/>
                  </a:lnTo>
                  <a:lnTo>
                    <a:pt x="204832" y="105196"/>
                  </a:lnTo>
                  <a:lnTo>
                    <a:pt x="205497" y="91736"/>
                  </a:lnTo>
                  <a:lnTo>
                    <a:pt x="217226" y="90898"/>
                  </a:lnTo>
                  <a:lnTo>
                    <a:pt x="220326" y="86761"/>
                  </a:lnTo>
                  <a:lnTo>
                    <a:pt x="243904" y="75187"/>
                  </a:lnTo>
                  <a:lnTo>
                    <a:pt x="245808" y="72434"/>
                  </a:lnTo>
                  <a:lnTo>
                    <a:pt x="244603" y="66076"/>
                  </a:lnTo>
                  <a:cubicBezTo>
                    <a:pt x="244603" y="66076"/>
                    <a:pt x="250937" y="62084"/>
                    <a:pt x="254938" y="64663"/>
                  </a:cubicBezTo>
                  <a:cubicBezTo>
                    <a:pt x="257247" y="66129"/>
                    <a:pt x="260101" y="67893"/>
                    <a:pt x="261523" y="66760"/>
                  </a:cubicBezTo>
                  <a:cubicBezTo>
                    <a:pt x="262941" y="65574"/>
                    <a:pt x="266156" y="64562"/>
                    <a:pt x="264107" y="62489"/>
                  </a:cubicBezTo>
                  <a:cubicBezTo>
                    <a:pt x="262039" y="60392"/>
                    <a:pt x="261774" y="59370"/>
                    <a:pt x="261774" y="59370"/>
                  </a:cubicBezTo>
                  <a:cubicBezTo>
                    <a:pt x="261774" y="59370"/>
                    <a:pt x="262039" y="55518"/>
                    <a:pt x="260627" y="53335"/>
                  </a:cubicBezTo>
                  <a:cubicBezTo>
                    <a:pt x="259195" y="51117"/>
                    <a:pt x="262290" y="46079"/>
                    <a:pt x="264613" y="44633"/>
                  </a:cubicBezTo>
                  <a:cubicBezTo>
                    <a:pt x="266951" y="43226"/>
                    <a:pt x="269531" y="42840"/>
                    <a:pt x="269531" y="42840"/>
                  </a:cubicBezTo>
                  <a:cubicBezTo>
                    <a:pt x="269531" y="42840"/>
                    <a:pt x="274790" y="41890"/>
                    <a:pt x="276241" y="44783"/>
                  </a:cubicBezTo>
                  <a:cubicBezTo>
                    <a:pt x="277215" y="46711"/>
                    <a:pt x="284229" y="48900"/>
                    <a:pt x="290313" y="48731"/>
                  </a:cubicBezTo>
                  <a:cubicBezTo>
                    <a:pt x="288399" y="47762"/>
                    <a:pt x="286639" y="46610"/>
                    <a:pt x="283747" y="40796"/>
                  </a:cubicBezTo>
                  <a:cubicBezTo>
                    <a:pt x="280382" y="34066"/>
                    <a:pt x="271083" y="29298"/>
                    <a:pt x="271083" y="29298"/>
                  </a:cubicBezTo>
                  <a:lnTo>
                    <a:pt x="273397" y="23499"/>
                  </a:lnTo>
                  <a:lnTo>
                    <a:pt x="268740" y="20380"/>
                  </a:lnTo>
                  <a:lnTo>
                    <a:pt x="267327" y="18298"/>
                  </a:lnTo>
                  <a:lnTo>
                    <a:pt x="262675" y="12373"/>
                  </a:lnTo>
                  <a:lnTo>
                    <a:pt x="264107" y="6068"/>
                  </a:lnTo>
                  <a:cubicBezTo>
                    <a:pt x="264107" y="6068"/>
                    <a:pt x="263447" y="4221"/>
                    <a:pt x="261774" y="2172"/>
                  </a:cubicBezTo>
                  <a:cubicBezTo>
                    <a:pt x="260101" y="95"/>
                    <a:pt x="259195" y="239"/>
                    <a:pt x="256857" y="95"/>
                  </a:cubicBezTo>
                  <a:cubicBezTo>
                    <a:pt x="254548" y="-35"/>
                    <a:pt x="252721" y="-305"/>
                    <a:pt x="249385" y="1522"/>
                  </a:cubicBezTo>
                  <a:cubicBezTo>
                    <a:pt x="247447" y="2558"/>
                    <a:pt x="244410" y="1820"/>
                    <a:pt x="242101" y="986"/>
                  </a:cubicBezTo>
                  <a:cubicBezTo>
                    <a:pt x="239584" y="3204"/>
                    <a:pt x="236947" y="5229"/>
                    <a:pt x="235303" y="6680"/>
                  </a:cubicBezTo>
                  <a:cubicBezTo>
                    <a:pt x="229345" y="10030"/>
                    <a:pt x="233621" y="19710"/>
                    <a:pt x="235303" y="21909"/>
                  </a:cubicBezTo>
                  <a:cubicBezTo>
                    <a:pt x="236976" y="24121"/>
                    <a:pt x="238524" y="26821"/>
                    <a:pt x="237752" y="29906"/>
                  </a:cubicBezTo>
                  <a:cubicBezTo>
                    <a:pt x="235424" y="26580"/>
                    <a:pt x="231809" y="27862"/>
                    <a:pt x="227137" y="24241"/>
                  </a:cubicBezTo>
                  <a:cubicBezTo>
                    <a:pt x="222524" y="20636"/>
                    <a:pt x="213851" y="26194"/>
                    <a:pt x="211017" y="27582"/>
                  </a:cubicBezTo>
                  <a:cubicBezTo>
                    <a:pt x="208158" y="29000"/>
                    <a:pt x="203525" y="26445"/>
                    <a:pt x="203525" y="26445"/>
                  </a:cubicBezTo>
                  <a:cubicBezTo>
                    <a:pt x="203525" y="26445"/>
                    <a:pt x="199520" y="30060"/>
                    <a:pt x="198372" y="30697"/>
                  </a:cubicBezTo>
                  <a:cubicBezTo>
                    <a:pt x="197201" y="31362"/>
                    <a:pt x="194997" y="32904"/>
                    <a:pt x="194617" y="34977"/>
                  </a:cubicBezTo>
                  <a:cubicBezTo>
                    <a:pt x="194241" y="37045"/>
                    <a:pt x="191893" y="38713"/>
                    <a:pt x="190346" y="39615"/>
                  </a:cubicBezTo>
                  <a:cubicBezTo>
                    <a:pt x="188808" y="40497"/>
                    <a:pt x="185308" y="41692"/>
                    <a:pt x="182859" y="37812"/>
                  </a:cubicBezTo>
                  <a:cubicBezTo>
                    <a:pt x="180415" y="33936"/>
                    <a:pt x="170600" y="35619"/>
                    <a:pt x="168387" y="37161"/>
                  </a:cubicBezTo>
                  <a:cubicBezTo>
                    <a:pt x="166204" y="38713"/>
                    <a:pt x="158707" y="39374"/>
                    <a:pt x="154966" y="38077"/>
                  </a:cubicBezTo>
                  <a:cubicBezTo>
                    <a:pt x="151240" y="36746"/>
                    <a:pt x="144505" y="40897"/>
                    <a:pt x="143604" y="43119"/>
                  </a:cubicBezTo>
                  <a:cubicBezTo>
                    <a:pt x="142698" y="45313"/>
                    <a:pt x="141917" y="45544"/>
                    <a:pt x="141006" y="43119"/>
                  </a:cubicBezTo>
                  <a:cubicBezTo>
                    <a:pt x="140104" y="40646"/>
                    <a:pt x="135712" y="45024"/>
                    <a:pt x="133533" y="45819"/>
                  </a:cubicBezTo>
                  <a:cubicBezTo>
                    <a:pt x="131355" y="46605"/>
                    <a:pt x="128481" y="49020"/>
                    <a:pt x="128481" y="52785"/>
                  </a:cubicBezTo>
                  <a:cubicBezTo>
                    <a:pt x="128481" y="56545"/>
                    <a:pt x="127725" y="57297"/>
                    <a:pt x="124991" y="58604"/>
                  </a:cubicBezTo>
                  <a:cubicBezTo>
                    <a:pt x="122296" y="59910"/>
                    <a:pt x="118546" y="62716"/>
                    <a:pt x="116998" y="65203"/>
                  </a:cubicBezTo>
                  <a:cubicBezTo>
                    <a:pt x="115451" y="67633"/>
                    <a:pt x="112853" y="69055"/>
                    <a:pt x="110404" y="69055"/>
                  </a:cubicBezTo>
                  <a:cubicBezTo>
                    <a:pt x="107960" y="69055"/>
                    <a:pt x="107323" y="73442"/>
                    <a:pt x="106933" y="75534"/>
                  </a:cubicBezTo>
                  <a:cubicBezTo>
                    <a:pt x="106538" y="77568"/>
                    <a:pt x="104465" y="76272"/>
                    <a:pt x="102141" y="73442"/>
                  </a:cubicBezTo>
                  <a:cubicBezTo>
                    <a:pt x="99813" y="70626"/>
                    <a:pt x="95807" y="73042"/>
                    <a:pt x="92847" y="71383"/>
                  </a:cubicBezTo>
                  <a:cubicBezTo>
                    <a:pt x="89858" y="69691"/>
                    <a:pt x="87279" y="70737"/>
                    <a:pt x="86262" y="71769"/>
                  </a:cubicBezTo>
                  <a:cubicBezTo>
                    <a:pt x="85216" y="72820"/>
                    <a:pt x="81860" y="72545"/>
                    <a:pt x="79407" y="71624"/>
                  </a:cubicBezTo>
                  <a:cubicBezTo>
                    <a:pt x="76958" y="70737"/>
                    <a:pt x="74369" y="71909"/>
                    <a:pt x="72046" y="73042"/>
                  </a:cubicBezTo>
                  <a:cubicBezTo>
                    <a:pt x="69727" y="74252"/>
                    <a:pt x="67784" y="71624"/>
                    <a:pt x="64949" y="68153"/>
                  </a:cubicBezTo>
                  <a:cubicBezTo>
                    <a:pt x="62100" y="64653"/>
                    <a:pt x="57979" y="64779"/>
                    <a:pt x="56036" y="66066"/>
                  </a:cubicBezTo>
                  <a:cubicBezTo>
                    <a:pt x="54098" y="67368"/>
                    <a:pt x="50883" y="65319"/>
                    <a:pt x="48164" y="63752"/>
                  </a:cubicBezTo>
                  <a:cubicBezTo>
                    <a:pt x="45450" y="62214"/>
                    <a:pt x="43131" y="62075"/>
                    <a:pt x="39906" y="64036"/>
                  </a:cubicBezTo>
                  <a:cubicBezTo>
                    <a:pt x="36681" y="65945"/>
                    <a:pt x="33841" y="65565"/>
                    <a:pt x="29826" y="64287"/>
                  </a:cubicBezTo>
                  <a:cubicBezTo>
                    <a:pt x="29151" y="64080"/>
                    <a:pt x="28076" y="63757"/>
                    <a:pt x="26856" y="63453"/>
                  </a:cubicBezTo>
                  <a:lnTo>
                    <a:pt x="24533" y="74613"/>
                  </a:lnTo>
                  <a:lnTo>
                    <a:pt x="19100" y="74483"/>
                  </a:lnTo>
                  <a:lnTo>
                    <a:pt x="14346" y="80557"/>
                  </a:lnTo>
                  <a:lnTo>
                    <a:pt x="2714" y="87012"/>
                  </a:lnTo>
                  <a:lnTo>
                    <a:pt x="0" y="99908"/>
                  </a:lnTo>
                  <a:lnTo>
                    <a:pt x="1668" y="106772"/>
                  </a:lnTo>
                  <a:lnTo>
                    <a:pt x="7482" y="103562"/>
                  </a:lnTo>
                  <a:lnTo>
                    <a:pt x="13681" y="105861"/>
                  </a:lnTo>
                  <a:lnTo>
                    <a:pt x="18208" y="109206"/>
                  </a:lnTo>
                  <a:lnTo>
                    <a:pt x="24778" y="109578"/>
                  </a:lnTo>
                  <a:lnTo>
                    <a:pt x="22074" y="116862"/>
                  </a:lnTo>
                  <a:lnTo>
                    <a:pt x="10692" y="127159"/>
                  </a:lnTo>
                  <a:lnTo>
                    <a:pt x="9150" y="133517"/>
                  </a:lnTo>
                  <a:cubicBezTo>
                    <a:pt x="9150" y="133517"/>
                    <a:pt x="12394" y="136583"/>
                    <a:pt x="14341" y="138391"/>
                  </a:cubicBezTo>
                  <a:cubicBezTo>
                    <a:pt x="16265" y="140252"/>
                    <a:pt x="18323" y="138391"/>
                    <a:pt x="20787" y="136092"/>
                  </a:cubicBezTo>
                  <a:cubicBezTo>
                    <a:pt x="23216" y="133773"/>
                    <a:pt x="23626" y="142542"/>
                    <a:pt x="23626" y="142542"/>
                  </a:cubicBezTo>
                  <a:lnTo>
                    <a:pt x="23809" y="143077"/>
                  </a:lnTo>
                  <a:cubicBezTo>
                    <a:pt x="23809" y="143077"/>
                    <a:pt x="22937" y="146321"/>
                    <a:pt x="21910" y="147902"/>
                  </a:cubicBezTo>
                  <a:cubicBezTo>
                    <a:pt x="20869" y="149450"/>
                    <a:pt x="21211" y="156146"/>
                    <a:pt x="21211" y="156146"/>
                  </a:cubicBezTo>
                  <a:lnTo>
                    <a:pt x="22932" y="160475"/>
                  </a:lnTo>
                  <a:lnTo>
                    <a:pt x="28784" y="160986"/>
                  </a:lnTo>
                  <a:cubicBezTo>
                    <a:pt x="28784" y="160986"/>
                    <a:pt x="51244" y="177015"/>
                    <a:pt x="51244" y="182554"/>
                  </a:cubicBezTo>
                  <a:cubicBezTo>
                    <a:pt x="51244" y="184863"/>
                    <a:pt x="45503" y="187659"/>
                    <a:pt x="45503" y="187659"/>
                  </a:cubicBezTo>
                  <a:lnTo>
                    <a:pt x="43280" y="188363"/>
                  </a:lnTo>
                  <a:lnTo>
                    <a:pt x="41656" y="188001"/>
                  </a:lnTo>
                  <a:lnTo>
                    <a:pt x="41251" y="188363"/>
                  </a:lnTo>
                  <a:lnTo>
                    <a:pt x="36170" y="189274"/>
                  </a:lnTo>
                  <a:lnTo>
                    <a:pt x="36170" y="193704"/>
                  </a:lnTo>
                  <a:lnTo>
                    <a:pt x="35649" y="195010"/>
                  </a:lnTo>
                  <a:lnTo>
                    <a:pt x="34357" y="195526"/>
                  </a:lnTo>
                  <a:lnTo>
                    <a:pt x="33412" y="195526"/>
                  </a:lnTo>
                  <a:lnTo>
                    <a:pt x="27811" y="197228"/>
                  </a:lnTo>
                  <a:lnTo>
                    <a:pt x="23617" y="198896"/>
                  </a:lnTo>
                  <a:lnTo>
                    <a:pt x="25328" y="203167"/>
                  </a:lnTo>
                  <a:lnTo>
                    <a:pt x="25217" y="204305"/>
                  </a:lnTo>
                  <a:cubicBezTo>
                    <a:pt x="28350" y="205274"/>
                    <a:pt x="33615" y="206710"/>
                    <a:pt x="34728" y="20596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36" name="Freihandform: Form 635">
              <a:extLst>
                <a:ext uri="{FF2B5EF4-FFF2-40B4-BE49-F238E27FC236}">
                  <a16:creationId xmlns:a16="http://schemas.microsoft.com/office/drawing/2014/main" id="{6EFF166B-CAB8-36E5-4D02-B6AFF0AA7506}"/>
                </a:ext>
              </a:extLst>
            </p:cNvPr>
            <p:cNvSpPr/>
            <p:nvPr/>
          </p:nvSpPr>
          <p:spPr>
            <a:xfrm>
              <a:off x="3719818" y="4089417"/>
              <a:ext cx="1461922" cy="1485956"/>
            </a:xfrm>
            <a:custGeom>
              <a:avLst/>
              <a:gdLst>
                <a:gd name="connsiteX0" fmla="*/ 1075457 w 1145699"/>
                <a:gd name="connsiteY0" fmla="*/ 973879 h 1164784"/>
                <a:gd name="connsiteX1" fmla="*/ 1084746 w 1145699"/>
                <a:gd name="connsiteY1" fmla="*/ 959673 h 1164784"/>
                <a:gd name="connsiteX2" fmla="*/ 1079458 w 1145699"/>
                <a:gd name="connsiteY2" fmla="*/ 952958 h 1164784"/>
                <a:gd name="connsiteX3" fmla="*/ 1080364 w 1145699"/>
                <a:gd name="connsiteY3" fmla="*/ 946498 h 1164784"/>
                <a:gd name="connsiteX4" fmla="*/ 1075842 w 1145699"/>
                <a:gd name="connsiteY4" fmla="*/ 948715 h 1164784"/>
                <a:gd name="connsiteX5" fmla="*/ 1071832 w 1145699"/>
                <a:gd name="connsiteY5" fmla="*/ 948209 h 1164784"/>
                <a:gd name="connsiteX6" fmla="*/ 1059558 w 1145699"/>
                <a:gd name="connsiteY6" fmla="*/ 952071 h 1164784"/>
                <a:gd name="connsiteX7" fmla="*/ 1053489 w 1145699"/>
                <a:gd name="connsiteY7" fmla="*/ 952071 h 1164784"/>
                <a:gd name="connsiteX8" fmla="*/ 1035686 w 1145699"/>
                <a:gd name="connsiteY8" fmla="*/ 943924 h 1164784"/>
                <a:gd name="connsiteX9" fmla="*/ 1028696 w 1145699"/>
                <a:gd name="connsiteY9" fmla="*/ 940694 h 1164784"/>
                <a:gd name="connsiteX10" fmla="*/ 1022376 w 1145699"/>
                <a:gd name="connsiteY10" fmla="*/ 936032 h 1164784"/>
                <a:gd name="connsiteX11" fmla="*/ 1015656 w 1145699"/>
                <a:gd name="connsiteY11" fmla="*/ 935386 h 1164784"/>
                <a:gd name="connsiteX12" fmla="*/ 1013723 w 1145699"/>
                <a:gd name="connsiteY12" fmla="*/ 928536 h 1164784"/>
                <a:gd name="connsiteX13" fmla="*/ 1007393 w 1145699"/>
                <a:gd name="connsiteY13" fmla="*/ 920158 h 1164784"/>
                <a:gd name="connsiteX14" fmla="*/ 1006492 w 1145699"/>
                <a:gd name="connsiteY14" fmla="*/ 911895 h 1164784"/>
                <a:gd name="connsiteX15" fmla="*/ 1008430 w 1145699"/>
                <a:gd name="connsiteY15" fmla="*/ 905580 h 1164784"/>
                <a:gd name="connsiteX16" fmla="*/ 1004293 w 1145699"/>
                <a:gd name="connsiteY16" fmla="*/ 899361 h 1164784"/>
                <a:gd name="connsiteX17" fmla="*/ 1006106 w 1145699"/>
                <a:gd name="connsiteY17" fmla="*/ 893036 h 1164784"/>
                <a:gd name="connsiteX18" fmla="*/ 1012286 w 1145699"/>
                <a:gd name="connsiteY18" fmla="*/ 887343 h 1164784"/>
                <a:gd name="connsiteX19" fmla="*/ 1014147 w 1145699"/>
                <a:gd name="connsiteY19" fmla="*/ 880488 h 1164784"/>
                <a:gd name="connsiteX20" fmla="*/ 1024434 w 1145699"/>
                <a:gd name="connsiteY20" fmla="*/ 872635 h 1164784"/>
                <a:gd name="connsiteX21" fmla="*/ 1021846 w 1145699"/>
                <a:gd name="connsiteY21" fmla="*/ 866151 h 1164784"/>
                <a:gd name="connsiteX22" fmla="*/ 1016427 w 1145699"/>
                <a:gd name="connsiteY22" fmla="*/ 854003 h 1164784"/>
                <a:gd name="connsiteX23" fmla="*/ 1007774 w 1145699"/>
                <a:gd name="connsiteY23" fmla="*/ 853126 h 1164784"/>
                <a:gd name="connsiteX24" fmla="*/ 999767 w 1145699"/>
                <a:gd name="connsiteY24" fmla="*/ 847977 h 1164784"/>
                <a:gd name="connsiteX25" fmla="*/ 996272 w 1145699"/>
                <a:gd name="connsiteY25" fmla="*/ 841898 h 1164784"/>
                <a:gd name="connsiteX26" fmla="*/ 995891 w 1145699"/>
                <a:gd name="connsiteY26" fmla="*/ 834262 h 1164784"/>
                <a:gd name="connsiteX27" fmla="*/ 989836 w 1145699"/>
                <a:gd name="connsiteY27" fmla="*/ 829205 h 1164784"/>
                <a:gd name="connsiteX28" fmla="*/ 987382 w 1145699"/>
                <a:gd name="connsiteY28" fmla="*/ 822794 h 1164784"/>
                <a:gd name="connsiteX29" fmla="*/ 984799 w 1145699"/>
                <a:gd name="connsiteY29" fmla="*/ 817852 h 1164784"/>
                <a:gd name="connsiteX30" fmla="*/ 1006362 w 1145699"/>
                <a:gd name="connsiteY30" fmla="*/ 814912 h 1164784"/>
                <a:gd name="connsiteX31" fmla="*/ 1011915 w 1145699"/>
                <a:gd name="connsiteY31" fmla="*/ 814256 h 1164784"/>
                <a:gd name="connsiteX32" fmla="*/ 1016297 w 1145699"/>
                <a:gd name="connsiteY32" fmla="*/ 809999 h 1164784"/>
                <a:gd name="connsiteX33" fmla="*/ 1020944 w 1145699"/>
                <a:gd name="connsiteY33" fmla="*/ 805743 h 1164784"/>
                <a:gd name="connsiteX34" fmla="*/ 1031034 w 1145699"/>
                <a:gd name="connsiteY34" fmla="*/ 802474 h 1164784"/>
                <a:gd name="connsiteX35" fmla="*/ 1033468 w 1145699"/>
                <a:gd name="connsiteY35" fmla="*/ 797205 h 1164784"/>
                <a:gd name="connsiteX36" fmla="*/ 1031661 w 1145699"/>
                <a:gd name="connsiteY36" fmla="*/ 791363 h 1164784"/>
                <a:gd name="connsiteX37" fmla="*/ 1036727 w 1145699"/>
                <a:gd name="connsiteY37" fmla="*/ 785477 h 1164784"/>
                <a:gd name="connsiteX38" fmla="*/ 1037745 w 1145699"/>
                <a:gd name="connsiteY38" fmla="*/ 778993 h 1164784"/>
                <a:gd name="connsiteX39" fmla="*/ 1032071 w 1145699"/>
                <a:gd name="connsiteY39" fmla="*/ 774471 h 1164784"/>
                <a:gd name="connsiteX40" fmla="*/ 1030889 w 1145699"/>
                <a:gd name="connsiteY40" fmla="*/ 771222 h 1164784"/>
                <a:gd name="connsiteX41" fmla="*/ 1020944 w 1145699"/>
                <a:gd name="connsiteY41" fmla="*/ 749037 h 1164784"/>
                <a:gd name="connsiteX42" fmla="*/ 1015540 w 1145699"/>
                <a:gd name="connsiteY42" fmla="*/ 745908 h 1164784"/>
                <a:gd name="connsiteX43" fmla="*/ 1013072 w 1145699"/>
                <a:gd name="connsiteY43" fmla="*/ 742167 h 1164784"/>
                <a:gd name="connsiteX44" fmla="*/ 1006111 w 1145699"/>
                <a:gd name="connsiteY44" fmla="*/ 738200 h 1164784"/>
                <a:gd name="connsiteX45" fmla="*/ 1004930 w 1145699"/>
                <a:gd name="connsiteY45" fmla="*/ 731716 h 1164784"/>
                <a:gd name="connsiteX46" fmla="*/ 1006593 w 1145699"/>
                <a:gd name="connsiteY46" fmla="*/ 723178 h 1164784"/>
                <a:gd name="connsiteX47" fmla="*/ 1012445 w 1145699"/>
                <a:gd name="connsiteY47" fmla="*/ 720088 h 1164784"/>
                <a:gd name="connsiteX48" fmla="*/ 1015285 w 1145699"/>
                <a:gd name="connsiteY48" fmla="*/ 721781 h 1164784"/>
                <a:gd name="connsiteX49" fmla="*/ 1021233 w 1145699"/>
                <a:gd name="connsiteY49" fmla="*/ 719443 h 1164784"/>
                <a:gd name="connsiteX50" fmla="*/ 1024834 w 1145699"/>
                <a:gd name="connsiteY50" fmla="*/ 712486 h 1164784"/>
                <a:gd name="connsiteX51" fmla="*/ 1029197 w 1145699"/>
                <a:gd name="connsiteY51" fmla="*/ 710741 h 1164784"/>
                <a:gd name="connsiteX52" fmla="*/ 1021846 w 1145699"/>
                <a:gd name="connsiteY52" fmla="*/ 696848 h 1164784"/>
                <a:gd name="connsiteX53" fmla="*/ 1013072 w 1145699"/>
                <a:gd name="connsiteY53" fmla="*/ 693768 h 1164784"/>
                <a:gd name="connsiteX54" fmla="*/ 1013188 w 1145699"/>
                <a:gd name="connsiteY54" fmla="*/ 687443 h 1164784"/>
                <a:gd name="connsiteX55" fmla="*/ 1007909 w 1145699"/>
                <a:gd name="connsiteY55" fmla="*/ 681330 h 1164784"/>
                <a:gd name="connsiteX56" fmla="*/ 1006106 w 1145699"/>
                <a:gd name="connsiteY56" fmla="*/ 675685 h 1164784"/>
                <a:gd name="connsiteX57" fmla="*/ 1007769 w 1145699"/>
                <a:gd name="connsiteY57" fmla="*/ 669196 h 1164784"/>
                <a:gd name="connsiteX58" fmla="*/ 1011771 w 1145699"/>
                <a:gd name="connsiteY58" fmla="*/ 664038 h 1164784"/>
                <a:gd name="connsiteX59" fmla="*/ 1007389 w 1145699"/>
                <a:gd name="connsiteY59" fmla="*/ 655655 h 1164784"/>
                <a:gd name="connsiteX60" fmla="*/ 1005826 w 1145699"/>
                <a:gd name="connsiteY60" fmla="*/ 653963 h 1164784"/>
                <a:gd name="connsiteX61" fmla="*/ 1003763 w 1145699"/>
                <a:gd name="connsiteY61" fmla="*/ 649325 h 1164784"/>
                <a:gd name="connsiteX62" fmla="*/ 1006877 w 1145699"/>
                <a:gd name="connsiteY62" fmla="*/ 644143 h 1164784"/>
                <a:gd name="connsiteX63" fmla="*/ 1000919 w 1145699"/>
                <a:gd name="connsiteY63" fmla="*/ 638223 h 1164784"/>
                <a:gd name="connsiteX64" fmla="*/ 970968 w 1145699"/>
                <a:gd name="connsiteY64" fmla="*/ 642128 h 1164784"/>
                <a:gd name="connsiteX65" fmla="*/ 956000 w 1145699"/>
                <a:gd name="connsiteY65" fmla="*/ 650116 h 1164784"/>
                <a:gd name="connsiteX66" fmla="*/ 952625 w 1145699"/>
                <a:gd name="connsiteY66" fmla="*/ 653057 h 1164784"/>
                <a:gd name="connsiteX67" fmla="*/ 956236 w 1145699"/>
                <a:gd name="connsiteY67" fmla="*/ 658485 h 1164784"/>
                <a:gd name="connsiteX68" fmla="*/ 959591 w 1145699"/>
                <a:gd name="connsiteY68" fmla="*/ 666386 h 1164784"/>
                <a:gd name="connsiteX69" fmla="*/ 945659 w 1145699"/>
                <a:gd name="connsiteY69" fmla="*/ 678250 h 1164784"/>
                <a:gd name="connsiteX70" fmla="*/ 930691 w 1145699"/>
                <a:gd name="connsiteY70" fmla="*/ 678896 h 1164784"/>
                <a:gd name="connsiteX71" fmla="*/ 932725 w 1145699"/>
                <a:gd name="connsiteY71" fmla="*/ 673848 h 1164784"/>
                <a:gd name="connsiteX72" fmla="*/ 940877 w 1145699"/>
                <a:gd name="connsiteY72" fmla="*/ 664173 h 1164784"/>
                <a:gd name="connsiteX73" fmla="*/ 947337 w 1145699"/>
                <a:gd name="connsiteY73" fmla="*/ 651254 h 1164784"/>
                <a:gd name="connsiteX74" fmla="*/ 946170 w 1145699"/>
                <a:gd name="connsiteY74" fmla="*/ 645064 h 1164784"/>
                <a:gd name="connsiteX75" fmla="*/ 942169 w 1145699"/>
                <a:gd name="connsiteY75" fmla="*/ 640947 h 1164784"/>
                <a:gd name="connsiteX76" fmla="*/ 943866 w 1145699"/>
                <a:gd name="connsiteY76" fmla="*/ 632814 h 1164784"/>
                <a:gd name="connsiteX77" fmla="*/ 949925 w 1145699"/>
                <a:gd name="connsiteY77" fmla="*/ 622209 h 1164784"/>
                <a:gd name="connsiteX78" fmla="*/ 951724 w 1145699"/>
                <a:gd name="connsiteY78" fmla="*/ 614467 h 1164784"/>
                <a:gd name="connsiteX79" fmla="*/ 967603 w 1145699"/>
                <a:gd name="connsiteY79" fmla="*/ 604623 h 1164784"/>
                <a:gd name="connsiteX80" fmla="*/ 976006 w 1145699"/>
                <a:gd name="connsiteY80" fmla="*/ 597281 h 1164784"/>
                <a:gd name="connsiteX81" fmla="*/ 976772 w 1145699"/>
                <a:gd name="connsiteY81" fmla="*/ 590971 h 1164784"/>
                <a:gd name="connsiteX82" fmla="*/ 979766 w 1145699"/>
                <a:gd name="connsiteY82" fmla="*/ 585533 h 1164784"/>
                <a:gd name="connsiteX83" fmla="*/ 979766 w 1145699"/>
                <a:gd name="connsiteY83" fmla="*/ 572748 h 1164784"/>
                <a:gd name="connsiteX84" fmla="*/ 1004559 w 1145699"/>
                <a:gd name="connsiteY84" fmla="*/ 558407 h 1164784"/>
                <a:gd name="connsiteX85" fmla="*/ 1005195 w 1145699"/>
                <a:gd name="connsiteY85" fmla="*/ 556469 h 1164784"/>
                <a:gd name="connsiteX86" fmla="*/ 1017218 w 1145699"/>
                <a:gd name="connsiteY86" fmla="*/ 545916 h 1164784"/>
                <a:gd name="connsiteX87" fmla="*/ 1036597 w 1145699"/>
                <a:gd name="connsiteY87" fmla="*/ 522396 h 1164784"/>
                <a:gd name="connsiteX88" fmla="*/ 1023162 w 1145699"/>
                <a:gd name="connsiteY88" fmla="*/ 519518 h 1164784"/>
                <a:gd name="connsiteX89" fmla="*/ 1026382 w 1145699"/>
                <a:gd name="connsiteY89" fmla="*/ 513198 h 1164784"/>
                <a:gd name="connsiteX90" fmla="*/ 1027548 w 1145699"/>
                <a:gd name="connsiteY90" fmla="*/ 512162 h 1164784"/>
                <a:gd name="connsiteX91" fmla="*/ 1030634 w 1145699"/>
                <a:gd name="connsiteY91" fmla="*/ 503793 h 1164784"/>
                <a:gd name="connsiteX92" fmla="*/ 1036597 w 1145699"/>
                <a:gd name="connsiteY92" fmla="*/ 501069 h 1164784"/>
                <a:gd name="connsiteX93" fmla="*/ 1043433 w 1145699"/>
                <a:gd name="connsiteY93" fmla="*/ 500534 h 1164784"/>
                <a:gd name="connsiteX94" fmla="*/ 1047955 w 1145699"/>
                <a:gd name="connsiteY94" fmla="*/ 507273 h 1164784"/>
                <a:gd name="connsiteX95" fmla="*/ 1053233 w 1145699"/>
                <a:gd name="connsiteY95" fmla="*/ 511795 h 1164784"/>
                <a:gd name="connsiteX96" fmla="*/ 1058936 w 1145699"/>
                <a:gd name="connsiteY96" fmla="*/ 510363 h 1164784"/>
                <a:gd name="connsiteX97" fmla="*/ 1065762 w 1145699"/>
                <a:gd name="connsiteY97" fmla="*/ 510224 h 1164784"/>
                <a:gd name="connsiteX98" fmla="*/ 1076754 w 1145699"/>
                <a:gd name="connsiteY98" fmla="*/ 501840 h 1164784"/>
                <a:gd name="connsiteX99" fmla="*/ 1076633 w 1145699"/>
                <a:gd name="connsiteY99" fmla="*/ 495530 h 1164784"/>
                <a:gd name="connsiteX100" fmla="*/ 1081671 w 1145699"/>
                <a:gd name="connsiteY100" fmla="*/ 491611 h 1164784"/>
                <a:gd name="connsiteX101" fmla="*/ 1084226 w 1145699"/>
                <a:gd name="connsiteY101" fmla="*/ 491172 h 1164784"/>
                <a:gd name="connsiteX102" fmla="*/ 1082688 w 1145699"/>
                <a:gd name="connsiteY102" fmla="*/ 484915 h 1164784"/>
                <a:gd name="connsiteX103" fmla="*/ 1079072 w 1145699"/>
                <a:gd name="connsiteY103" fmla="*/ 473919 h 1164784"/>
                <a:gd name="connsiteX104" fmla="*/ 1081039 w 1145699"/>
                <a:gd name="connsiteY104" fmla="*/ 466587 h 1164784"/>
                <a:gd name="connsiteX105" fmla="*/ 1087079 w 1145699"/>
                <a:gd name="connsiteY105" fmla="*/ 444146 h 1164784"/>
                <a:gd name="connsiteX106" fmla="*/ 1087610 w 1145699"/>
                <a:gd name="connsiteY106" fmla="*/ 433545 h 1164784"/>
                <a:gd name="connsiteX107" fmla="*/ 1086048 w 1145699"/>
                <a:gd name="connsiteY107" fmla="*/ 420482 h 1164784"/>
                <a:gd name="connsiteX108" fmla="*/ 1088502 w 1145699"/>
                <a:gd name="connsiteY108" fmla="*/ 414147 h 1164784"/>
                <a:gd name="connsiteX109" fmla="*/ 1096904 w 1145699"/>
                <a:gd name="connsiteY109" fmla="*/ 400480 h 1164784"/>
                <a:gd name="connsiteX110" fmla="*/ 1096904 w 1145699"/>
                <a:gd name="connsiteY110" fmla="*/ 395317 h 1164784"/>
                <a:gd name="connsiteX111" fmla="*/ 1102072 w 1145699"/>
                <a:gd name="connsiteY111" fmla="*/ 389634 h 1164784"/>
                <a:gd name="connsiteX112" fmla="*/ 1101315 w 1145699"/>
                <a:gd name="connsiteY112" fmla="*/ 383694 h 1164784"/>
                <a:gd name="connsiteX113" fmla="*/ 1106830 w 1145699"/>
                <a:gd name="connsiteY113" fmla="*/ 362498 h 1164784"/>
                <a:gd name="connsiteX114" fmla="*/ 1107881 w 1145699"/>
                <a:gd name="connsiteY114" fmla="*/ 356327 h 1164784"/>
                <a:gd name="connsiteX115" fmla="*/ 1109554 w 1145699"/>
                <a:gd name="connsiteY115" fmla="*/ 351150 h 1164784"/>
                <a:gd name="connsiteX116" fmla="*/ 1126344 w 1145699"/>
                <a:gd name="connsiteY116" fmla="*/ 334740 h 1164784"/>
                <a:gd name="connsiteX117" fmla="*/ 1133725 w 1145699"/>
                <a:gd name="connsiteY117" fmla="*/ 329090 h 1164784"/>
                <a:gd name="connsiteX118" fmla="*/ 1145699 w 1145699"/>
                <a:gd name="connsiteY118" fmla="*/ 307990 h 1164784"/>
                <a:gd name="connsiteX119" fmla="*/ 1124676 w 1145699"/>
                <a:gd name="connsiteY119" fmla="*/ 299732 h 1164784"/>
                <a:gd name="connsiteX120" fmla="*/ 1118993 w 1145699"/>
                <a:gd name="connsiteY120" fmla="*/ 297182 h 1164784"/>
                <a:gd name="connsiteX121" fmla="*/ 1112152 w 1145699"/>
                <a:gd name="connsiteY121" fmla="*/ 297182 h 1164784"/>
                <a:gd name="connsiteX122" fmla="*/ 1105832 w 1145699"/>
                <a:gd name="connsiteY122" fmla="*/ 296030 h 1164784"/>
                <a:gd name="connsiteX123" fmla="*/ 1095627 w 1145699"/>
                <a:gd name="connsiteY123" fmla="*/ 296131 h 1164784"/>
                <a:gd name="connsiteX124" fmla="*/ 1092127 w 1145699"/>
                <a:gd name="connsiteY124" fmla="*/ 292289 h 1164784"/>
                <a:gd name="connsiteX125" fmla="*/ 1085812 w 1145699"/>
                <a:gd name="connsiteY125" fmla="*/ 290192 h 1164784"/>
                <a:gd name="connsiteX126" fmla="*/ 1076493 w 1145699"/>
                <a:gd name="connsiteY126" fmla="*/ 279852 h 1164784"/>
                <a:gd name="connsiteX127" fmla="*/ 1069913 w 1145699"/>
                <a:gd name="connsiteY127" fmla="*/ 281423 h 1164784"/>
                <a:gd name="connsiteX128" fmla="*/ 1059978 w 1145699"/>
                <a:gd name="connsiteY128" fmla="*/ 285675 h 1164784"/>
                <a:gd name="connsiteX129" fmla="*/ 1055451 w 1145699"/>
                <a:gd name="connsiteY129" fmla="*/ 284904 h 1164784"/>
                <a:gd name="connsiteX130" fmla="*/ 1048480 w 1145699"/>
                <a:gd name="connsiteY130" fmla="*/ 284103 h 1164784"/>
                <a:gd name="connsiteX131" fmla="*/ 1042406 w 1145699"/>
                <a:gd name="connsiteY131" fmla="*/ 283597 h 1164784"/>
                <a:gd name="connsiteX132" fmla="*/ 1039436 w 1145699"/>
                <a:gd name="connsiteY132" fmla="*/ 275079 h 1164784"/>
                <a:gd name="connsiteX133" fmla="*/ 1031174 w 1145699"/>
                <a:gd name="connsiteY133" fmla="*/ 271854 h 1164784"/>
                <a:gd name="connsiteX134" fmla="*/ 1023682 w 1145699"/>
                <a:gd name="connsiteY134" fmla="*/ 275725 h 1164784"/>
                <a:gd name="connsiteX135" fmla="*/ 1019807 w 1145699"/>
                <a:gd name="connsiteY135" fmla="*/ 279061 h 1164784"/>
                <a:gd name="connsiteX136" fmla="*/ 1014889 w 1145699"/>
                <a:gd name="connsiteY136" fmla="*/ 274930 h 1164784"/>
                <a:gd name="connsiteX137" fmla="*/ 1012976 w 1145699"/>
                <a:gd name="connsiteY137" fmla="*/ 269396 h 1164784"/>
                <a:gd name="connsiteX138" fmla="*/ 1009481 w 1145699"/>
                <a:gd name="connsiteY138" fmla="*/ 263963 h 1164784"/>
                <a:gd name="connsiteX139" fmla="*/ 1007162 w 1145699"/>
                <a:gd name="connsiteY139" fmla="*/ 259185 h 1164784"/>
                <a:gd name="connsiteX140" fmla="*/ 1002891 w 1145699"/>
                <a:gd name="connsiteY140" fmla="*/ 252769 h 1164784"/>
                <a:gd name="connsiteX141" fmla="*/ 1002370 w 1145699"/>
                <a:gd name="connsiteY141" fmla="*/ 247293 h 1164784"/>
                <a:gd name="connsiteX142" fmla="*/ 999661 w 1145699"/>
                <a:gd name="connsiteY142" fmla="*/ 240852 h 1164784"/>
                <a:gd name="connsiteX143" fmla="*/ 992960 w 1145699"/>
                <a:gd name="connsiteY143" fmla="*/ 236870 h 1164784"/>
                <a:gd name="connsiteX144" fmla="*/ 985599 w 1145699"/>
                <a:gd name="connsiteY144" fmla="*/ 237357 h 1164784"/>
                <a:gd name="connsiteX145" fmla="*/ 985030 w 1145699"/>
                <a:gd name="connsiteY145" fmla="*/ 236967 h 1164784"/>
                <a:gd name="connsiteX146" fmla="*/ 985329 w 1145699"/>
                <a:gd name="connsiteY146" fmla="*/ 241749 h 1164784"/>
                <a:gd name="connsiteX147" fmla="*/ 985030 w 1145699"/>
                <a:gd name="connsiteY147" fmla="*/ 236967 h 1164784"/>
                <a:gd name="connsiteX148" fmla="*/ 975899 w 1145699"/>
                <a:gd name="connsiteY148" fmla="*/ 230517 h 1164784"/>
                <a:gd name="connsiteX149" fmla="*/ 965810 w 1145699"/>
                <a:gd name="connsiteY149" fmla="*/ 232585 h 1164784"/>
                <a:gd name="connsiteX150" fmla="*/ 963631 w 1145699"/>
                <a:gd name="connsiteY150" fmla="*/ 235414 h 1164784"/>
                <a:gd name="connsiteX151" fmla="*/ 956655 w 1145699"/>
                <a:gd name="connsiteY151" fmla="*/ 237637 h 1164784"/>
                <a:gd name="connsiteX152" fmla="*/ 949800 w 1145699"/>
                <a:gd name="connsiteY152" fmla="*/ 231457 h 1164784"/>
                <a:gd name="connsiteX153" fmla="*/ 942704 w 1145699"/>
                <a:gd name="connsiteY153" fmla="*/ 229731 h 1164784"/>
                <a:gd name="connsiteX154" fmla="*/ 938640 w 1145699"/>
                <a:gd name="connsiteY154" fmla="*/ 221834 h 1164784"/>
                <a:gd name="connsiteX155" fmla="*/ 936124 w 1145699"/>
                <a:gd name="connsiteY155" fmla="*/ 223290 h 1164784"/>
                <a:gd name="connsiteX156" fmla="*/ 931607 w 1145699"/>
                <a:gd name="connsiteY156" fmla="*/ 224351 h 1164784"/>
                <a:gd name="connsiteX157" fmla="*/ 928497 w 1145699"/>
                <a:gd name="connsiteY157" fmla="*/ 222924 h 1164784"/>
                <a:gd name="connsiteX158" fmla="*/ 922823 w 1145699"/>
                <a:gd name="connsiteY158" fmla="*/ 226530 h 1164784"/>
                <a:gd name="connsiteX159" fmla="*/ 915448 w 1145699"/>
                <a:gd name="connsiteY159" fmla="*/ 224958 h 1164784"/>
                <a:gd name="connsiteX160" fmla="*/ 909239 w 1145699"/>
                <a:gd name="connsiteY160" fmla="*/ 226776 h 1164784"/>
                <a:gd name="connsiteX161" fmla="*/ 897254 w 1145699"/>
                <a:gd name="connsiteY161" fmla="*/ 210525 h 1164784"/>
                <a:gd name="connsiteX162" fmla="*/ 894926 w 1145699"/>
                <a:gd name="connsiteY162" fmla="*/ 203559 h 1164784"/>
                <a:gd name="connsiteX163" fmla="*/ 873488 w 1145699"/>
                <a:gd name="connsiteY163" fmla="*/ 188297 h 1164784"/>
                <a:gd name="connsiteX164" fmla="*/ 865472 w 1145699"/>
                <a:gd name="connsiteY164" fmla="*/ 186094 h 1164784"/>
                <a:gd name="connsiteX165" fmla="*/ 859426 w 1145699"/>
                <a:gd name="connsiteY165" fmla="*/ 181707 h 1164784"/>
                <a:gd name="connsiteX166" fmla="*/ 859547 w 1145699"/>
                <a:gd name="connsiteY166" fmla="*/ 173584 h 1164784"/>
                <a:gd name="connsiteX167" fmla="*/ 857093 w 1145699"/>
                <a:gd name="connsiteY167" fmla="*/ 165688 h 1164784"/>
                <a:gd name="connsiteX168" fmla="*/ 861861 w 1145699"/>
                <a:gd name="connsiteY168" fmla="*/ 145301 h 1164784"/>
                <a:gd name="connsiteX169" fmla="*/ 859036 w 1145699"/>
                <a:gd name="connsiteY169" fmla="*/ 136918 h 1164784"/>
                <a:gd name="connsiteX170" fmla="*/ 847654 w 1145699"/>
                <a:gd name="connsiteY170" fmla="*/ 144120 h 1164784"/>
                <a:gd name="connsiteX171" fmla="*/ 845605 w 1145699"/>
                <a:gd name="connsiteY171" fmla="*/ 153429 h 1164784"/>
                <a:gd name="connsiteX172" fmla="*/ 841209 w 1145699"/>
                <a:gd name="connsiteY172" fmla="*/ 158862 h 1164784"/>
                <a:gd name="connsiteX173" fmla="*/ 833313 w 1145699"/>
                <a:gd name="connsiteY173" fmla="*/ 161581 h 1164784"/>
                <a:gd name="connsiteX174" fmla="*/ 810863 w 1145699"/>
                <a:gd name="connsiteY174" fmla="*/ 159888 h 1164784"/>
                <a:gd name="connsiteX175" fmla="*/ 805164 w 1145699"/>
                <a:gd name="connsiteY175" fmla="*/ 160274 h 1164784"/>
                <a:gd name="connsiteX176" fmla="*/ 800006 w 1145699"/>
                <a:gd name="connsiteY176" fmla="*/ 151471 h 1164784"/>
                <a:gd name="connsiteX177" fmla="*/ 805290 w 1145699"/>
                <a:gd name="connsiteY177" fmla="*/ 146222 h 1164784"/>
                <a:gd name="connsiteX178" fmla="*/ 801028 w 1145699"/>
                <a:gd name="connsiteY178" fmla="*/ 132261 h 1164784"/>
                <a:gd name="connsiteX179" fmla="*/ 801443 w 1145699"/>
                <a:gd name="connsiteY179" fmla="*/ 126838 h 1164784"/>
                <a:gd name="connsiteX180" fmla="*/ 807633 w 1145699"/>
                <a:gd name="connsiteY180" fmla="*/ 120253 h 1164784"/>
                <a:gd name="connsiteX181" fmla="*/ 800397 w 1145699"/>
                <a:gd name="connsiteY181" fmla="*/ 116367 h 1164784"/>
                <a:gd name="connsiteX182" fmla="*/ 797557 w 1145699"/>
                <a:gd name="connsiteY182" fmla="*/ 112231 h 1164784"/>
                <a:gd name="connsiteX183" fmla="*/ 794453 w 1145699"/>
                <a:gd name="connsiteY183" fmla="*/ 105790 h 1164784"/>
                <a:gd name="connsiteX184" fmla="*/ 782175 w 1145699"/>
                <a:gd name="connsiteY184" fmla="*/ 109261 h 1164784"/>
                <a:gd name="connsiteX185" fmla="*/ 776626 w 1145699"/>
                <a:gd name="connsiteY185" fmla="*/ 105279 h 1164784"/>
                <a:gd name="connsiteX186" fmla="*/ 769901 w 1145699"/>
                <a:gd name="connsiteY186" fmla="*/ 104734 h 1164784"/>
                <a:gd name="connsiteX187" fmla="*/ 764483 w 1145699"/>
                <a:gd name="connsiteY187" fmla="*/ 109512 h 1164784"/>
                <a:gd name="connsiteX188" fmla="*/ 761373 w 1145699"/>
                <a:gd name="connsiteY188" fmla="*/ 103322 h 1164784"/>
                <a:gd name="connsiteX189" fmla="*/ 762410 w 1145699"/>
                <a:gd name="connsiteY189" fmla="*/ 91203 h 1164784"/>
                <a:gd name="connsiteX190" fmla="*/ 752730 w 1145699"/>
                <a:gd name="connsiteY190" fmla="*/ 83051 h 1164784"/>
                <a:gd name="connsiteX191" fmla="*/ 750165 w 1145699"/>
                <a:gd name="connsiteY191" fmla="*/ 80458 h 1164784"/>
                <a:gd name="connsiteX192" fmla="*/ 741492 w 1145699"/>
                <a:gd name="connsiteY192" fmla="*/ 82395 h 1164784"/>
                <a:gd name="connsiteX193" fmla="*/ 735293 w 1145699"/>
                <a:gd name="connsiteY193" fmla="*/ 81369 h 1164784"/>
                <a:gd name="connsiteX194" fmla="*/ 731572 w 1145699"/>
                <a:gd name="connsiteY194" fmla="*/ 70532 h 1164784"/>
                <a:gd name="connsiteX195" fmla="*/ 730251 w 1145699"/>
                <a:gd name="connsiteY195" fmla="*/ 65885 h 1164784"/>
                <a:gd name="connsiteX196" fmla="*/ 729740 w 1145699"/>
                <a:gd name="connsiteY196" fmla="*/ 61503 h 1164784"/>
                <a:gd name="connsiteX197" fmla="*/ 729740 w 1145699"/>
                <a:gd name="connsiteY197" fmla="*/ 61088 h 1164784"/>
                <a:gd name="connsiteX198" fmla="*/ 729711 w 1145699"/>
                <a:gd name="connsiteY198" fmla="*/ 55409 h 1164784"/>
                <a:gd name="connsiteX199" fmla="*/ 726264 w 1145699"/>
                <a:gd name="connsiteY199" fmla="*/ 53712 h 1164784"/>
                <a:gd name="connsiteX200" fmla="*/ 723516 w 1145699"/>
                <a:gd name="connsiteY200" fmla="*/ 45266 h 1164784"/>
                <a:gd name="connsiteX201" fmla="*/ 718869 w 1145699"/>
                <a:gd name="connsiteY201" fmla="*/ 44061 h 1164784"/>
                <a:gd name="connsiteX202" fmla="*/ 717837 w 1145699"/>
                <a:gd name="connsiteY202" fmla="*/ 44905 h 1164784"/>
                <a:gd name="connsiteX203" fmla="*/ 704744 w 1145699"/>
                <a:gd name="connsiteY203" fmla="*/ 49215 h 1164784"/>
                <a:gd name="connsiteX204" fmla="*/ 700083 w 1145699"/>
                <a:gd name="connsiteY204" fmla="*/ 54729 h 1164784"/>
                <a:gd name="connsiteX205" fmla="*/ 698010 w 1145699"/>
                <a:gd name="connsiteY205" fmla="*/ 52690 h 1164784"/>
                <a:gd name="connsiteX206" fmla="*/ 692177 w 1145699"/>
                <a:gd name="connsiteY206" fmla="*/ 50078 h 1164784"/>
                <a:gd name="connsiteX207" fmla="*/ 685476 w 1145699"/>
                <a:gd name="connsiteY207" fmla="*/ 37360 h 1164784"/>
                <a:gd name="connsiteX208" fmla="*/ 679773 w 1145699"/>
                <a:gd name="connsiteY208" fmla="*/ 35972 h 1164784"/>
                <a:gd name="connsiteX209" fmla="*/ 677700 w 1145699"/>
                <a:gd name="connsiteY209" fmla="*/ 22869 h 1164784"/>
                <a:gd name="connsiteX210" fmla="*/ 680409 w 1145699"/>
                <a:gd name="connsiteY210" fmla="*/ 17702 h 1164784"/>
                <a:gd name="connsiteX211" fmla="*/ 676794 w 1145699"/>
                <a:gd name="connsiteY211" fmla="*/ 8156 h 1164784"/>
                <a:gd name="connsiteX212" fmla="*/ 676085 w 1145699"/>
                <a:gd name="connsiteY212" fmla="*/ 0 h 1164784"/>
                <a:gd name="connsiteX213" fmla="*/ 642745 w 1145699"/>
                <a:gd name="connsiteY213" fmla="*/ 6272 h 1164784"/>
                <a:gd name="connsiteX214" fmla="*/ 594741 w 1145699"/>
                <a:gd name="connsiteY214" fmla="*/ 23742 h 1164784"/>
                <a:gd name="connsiteX215" fmla="*/ 595247 w 1145699"/>
                <a:gd name="connsiteY215" fmla="*/ 29334 h 1164784"/>
                <a:gd name="connsiteX216" fmla="*/ 595232 w 1145699"/>
                <a:gd name="connsiteY216" fmla="*/ 29840 h 1164784"/>
                <a:gd name="connsiteX217" fmla="*/ 594046 w 1145699"/>
                <a:gd name="connsiteY217" fmla="*/ 36387 h 1164784"/>
                <a:gd name="connsiteX218" fmla="*/ 593815 w 1145699"/>
                <a:gd name="connsiteY218" fmla="*/ 36970 h 1164784"/>
                <a:gd name="connsiteX219" fmla="*/ 590484 w 1145699"/>
                <a:gd name="connsiteY219" fmla="*/ 42495 h 1164784"/>
                <a:gd name="connsiteX220" fmla="*/ 590484 w 1145699"/>
                <a:gd name="connsiteY220" fmla="*/ 54402 h 1164784"/>
                <a:gd name="connsiteX221" fmla="*/ 591072 w 1145699"/>
                <a:gd name="connsiteY221" fmla="*/ 60264 h 1164784"/>
                <a:gd name="connsiteX222" fmla="*/ 591033 w 1145699"/>
                <a:gd name="connsiteY222" fmla="*/ 60914 h 1164784"/>
                <a:gd name="connsiteX223" fmla="*/ 589269 w 1145699"/>
                <a:gd name="connsiteY223" fmla="*/ 67432 h 1164784"/>
                <a:gd name="connsiteX224" fmla="*/ 588078 w 1145699"/>
                <a:gd name="connsiteY224" fmla="*/ 73289 h 1164784"/>
                <a:gd name="connsiteX225" fmla="*/ 588054 w 1145699"/>
                <a:gd name="connsiteY225" fmla="*/ 73405 h 1164784"/>
                <a:gd name="connsiteX226" fmla="*/ 586439 w 1145699"/>
                <a:gd name="connsiteY226" fmla="*/ 79339 h 1164784"/>
                <a:gd name="connsiteX227" fmla="*/ 589153 w 1145699"/>
                <a:gd name="connsiteY227" fmla="*/ 85283 h 1164784"/>
                <a:gd name="connsiteX228" fmla="*/ 589033 w 1145699"/>
                <a:gd name="connsiteY228" fmla="*/ 87043 h 1164784"/>
                <a:gd name="connsiteX229" fmla="*/ 587490 w 1145699"/>
                <a:gd name="connsiteY229" fmla="*/ 87857 h 1164784"/>
                <a:gd name="connsiteX230" fmla="*/ 584685 w 1145699"/>
                <a:gd name="connsiteY230" fmla="*/ 87857 h 1164784"/>
                <a:gd name="connsiteX231" fmla="*/ 583359 w 1145699"/>
                <a:gd name="connsiteY231" fmla="*/ 92259 h 1164784"/>
                <a:gd name="connsiteX232" fmla="*/ 583359 w 1145699"/>
                <a:gd name="connsiteY232" fmla="*/ 97831 h 1164784"/>
                <a:gd name="connsiteX233" fmla="*/ 588252 w 1145699"/>
                <a:gd name="connsiteY233" fmla="*/ 103274 h 1164784"/>
                <a:gd name="connsiteX234" fmla="*/ 588584 w 1145699"/>
                <a:gd name="connsiteY234" fmla="*/ 103799 h 1164784"/>
                <a:gd name="connsiteX235" fmla="*/ 590951 w 1145699"/>
                <a:gd name="connsiteY235" fmla="*/ 109758 h 1164784"/>
                <a:gd name="connsiteX236" fmla="*/ 590783 w 1145699"/>
                <a:gd name="connsiteY236" fmla="*/ 111450 h 1164784"/>
                <a:gd name="connsiteX237" fmla="*/ 589269 w 1145699"/>
                <a:gd name="connsiteY237" fmla="*/ 112236 h 1164784"/>
                <a:gd name="connsiteX238" fmla="*/ 588666 w 1145699"/>
                <a:gd name="connsiteY238" fmla="*/ 112236 h 1164784"/>
                <a:gd name="connsiteX239" fmla="*/ 587625 w 1145699"/>
                <a:gd name="connsiteY239" fmla="*/ 111913 h 1164784"/>
                <a:gd name="connsiteX240" fmla="*/ 582322 w 1145699"/>
                <a:gd name="connsiteY240" fmla="*/ 108225 h 1164784"/>
                <a:gd name="connsiteX241" fmla="*/ 577926 w 1145699"/>
                <a:gd name="connsiteY241" fmla="*/ 109083 h 1164784"/>
                <a:gd name="connsiteX242" fmla="*/ 560562 w 1145699"/>
                <a:gd name="connsiteY242" fmla="*/ 127999 h 1164784"/>
                <a:gd name="connsiteX243" fmla="*/ 560595 w 1145699"/>
                <a:gd name="connsiteY243" fmla="*/ 127999 h 1164784"/>
                <a:gd name="connsiteX244" fmla="*/ 524055 w 1145699"/>
                <a:gd name="connsiteY244" fmla="*/ 141999 h 1164784"/>
                <a:gd name="connsiteX245" fmla="*/ 481116 w 1145699"/>
                <a:gd name="connsiteY245" fmla="*/ 151949 h 1164784"/>
                <a:gd name="connsiteX246" fmla="*/ 462595 w 1145699"/>
                <a:gd name="connsiteY246" fmla="*/ 159155 h 1164784"/>
                <a:gd name="connsiteX247" fmla="*/ 457317 w 1145699"/>
                <a:gd name="connsiteY247" fmla="*/ 161783 h 1164784"/>
                <a:gd name="connsiteX248" fmla="*/ 454641 w 1145699"/>
                <a:gd name="connsiteY248" fmla="*/ 167148 h 1164784"/>
                <a:gd name="connsiteX249" fmla="*/ 451662 w 1145699"/>
                <a:gd name="connsiteY249" fmla="*/ 173676 h 1164784"/>
                <a:gd name="connsiteX250" fmla="*/ 451493 w 1145699"/>
                <a:gd name="connsiteY250" fmla="*/ 173984 h 1164784"/>
                <a:gd name="connsiteX251" fmla="*/ 447111 w 1145699"/>
                <a:gd name="connsiteY251" fmla="*/ 179991 h 1164784"/>
                <a:gd name="connsiteX252" fmla="*/ 447579 w 1145699"/>
                <a:gd name="connsiteY252" fmla="*/ 184517 h 1164784"/>
                <a:gd name="connsiteX253" fmla="*/ 452708 w 1145699"/>
                <a:gd name="connsiteY253" fmla="*/ 189145 h 1164784"/>
                <a:gd name="connsiteX254" fmla="*/ 458242 w 1145699"/>
                <a:gd name="connsiteY254" fmla="*/ 190770 h 1164784"/>
                <a:gd name="connsiteX255" fmla="*/ 464524 w 1145699"/>
                <a:gd name="connsiteY255" fmla="*/ 192520 h 1164784"/>
                <a:gd name="connsiteX256" fmla="*/ 469952 w 1145699"/>
                <a:gd name="connsiteY256" fmla="*/ 192520 h 1164784"/>
                <a:gd name="connsiteX257" fmla="*/ 475645 w 1145699"/>
                <a:gd name="connsiteY257" fmla="*/ 190808 h 1164784"/>
                <a:gd name="connsiteX258" fmla="*/ 479169 w 1145699"/>
                <a:gd name="connsiteY258" fmla="*/ 189627 h 1164784"/>
                <a:gd name="connsiteX259" fmla="*/ 481348 w 1145699"/>
                <a:gd name="connsiteY259" fmla="*/ 190510 h 1164784"/>
                <a:gd name="connsiteX260" fmla="*/ 480900 w 1145699"/>
                <a:gd name="connsiteY260" fmla="*/ 192790 h 1164784"/>
                <a:gd name="connsiteX261" fmla="*/ 477915 w 1145699"/>
                <a:gd name="connsiteY261" fmla="*/ 195157 h 1164784"/>
                <a:gd name="connsiteX262" fmla="*/ 477462 w 1145699"/>
                <a:gd name="connsiteY262" fmla="*/ 195460 h 1164784"/>
                <a:gd name="connsiteX263" fmla="*/ 474478 w 1145699"/>
                <a:gd name="connsiteY263" fmla="*/ 196622 h 1164784"/>
                <a:gd name="connsiteX264" fmla="*/ 474285 w 1145699"/>
                <a:gd name="connsiteY264" fmla="*/ 196709 h 1164784"/>
                <a:gd name="connsiteX265" fmla="*/ 467725 w 1145699"/>
                <a:gd name="connsiteY265" fmla="*/ 198464 h 1164784"/>
                <a:gd name="connsiteX266" fmla="*/ 467228 w 1145699"/>
                <a:gd name="connsiteY266" fmla="*/ 198560 h 1164784"/>
                <a:gd name="connsiteX267" fmla="*/ 454954 w 1145699"/>
                <a:gd name="connsiteY267" fmla="*/ 198560 h 1164784"/>
                <a:gd name="connsiteX268" fmla="*/ 449594 w 1145699"/>
                <a:gd name="connsiteY268" fmla="*/ 199597 h 1164784"/>
                <a:gd name="connsiteX269" fmla="*/ 443404 w 1145699"/>
                <a:gd name="connsiteY269" fmla="*/ 204668 h 1164784"/>
                <a:gd name="connsiteX270" fmla="*/ 435156 w 1145699"/>
                <a:gd name="connsiteY270" fmla="*/ 208587 h 1164784"/>
                <a:gd name="connsiteX271" fmla="*/ 417854 w 1145699"/>
                <a:gd name="connsiteY271" fmla="*/ 211639 h 1164784"/>
                <a:gd name="connsiteX272" fmla="*/ 417546 w 1145699"/>
                <a:gd name="connsiteY272" fmla="*/ 211624 h 1164784"/>
                <a:gd name="connsiteX273" fmla="*/ 410994 w 1145699"/>
                <a:gd name="connsiteY273" fmla="*/ 210414 h 1164784"/>
                <a:gd name="connsiteX274" fmla="*/ 410397 w 1145699"/>
                <a:gd name="connsiteY274" fmla="*/ 210178 h 1164784"/>
                <a:gd name="connsiteX275" fmla="*/ 404448 w 1145699"/>
                <a:gd name="connsiteY275" fmla="*/ 206596 h 1164784"/>
                <a:gd name="connsiteX276" fmla="*/ 404323 w 1145699"/>
                <a:gd name="connsiteY276" fmla="*/ 206572 h 1164784"/>
                <a:gd name="connsiteX277" fmla="*/ 398697 w 1145699"/>
                <a:gd name="connsiteY277" fmla="*/ 202619 h 1164784"/>
                <a:gd name="connsiteX278" fmla="*/ 380050 w 1145699"/>
                <a:gd name="connsiteY278" fmla="*/ 199100 h 1164784"/>
                <a:gd name="connsiteX279" fmla="*/ 360700 w 1145699"/>
                <a:gd name="connsiteY279" fmla="*/ 193677 h 1164784"/>
                <a:gd name="connsiteX280" fmla="*/ 360199 w 1145699"/>
                <a:gd name="connsiteY280" fmla="*/ 193373 h 1164784"/>
                <a:gd name="connsiteX281" fmla="*/ 354684 w 1145699"/>
                <a:gd name="connsiteY281" fmla="*/ 188948 h 1164784"/>
                <a:gd name="connsiteX282" fmla="*/ 348672 w 1145699"/>
                <a:gd name="connsiteY282" fmla="*/ 188446 h 1164784"/>
                <a:gd name="connsiteX283" fmla="*/ 348658 w 1145699"/>
                <a:gd name="connsiteY283" fmla="*/ 188422 h 1164784"/>
                <a:gd name="connsiteX284" fmla="*/ 343625 w 1145699"/>
                <a:gd name="connsiteY284" fmla="*/ 187906 h 1164784"/>
                <a:gd name="connsiteX285" fmla="*/ 338881 w 1145699"/>
                <a:gd name="connsiteY285" fmla="*/ 193209 h 1164784"/>
                <a:gd name="connsiteX286" fmla="*/ 336447 w 1145699"/>
                <a:gd name="connsiteY286" fmla="*/ 193431 h 1164784"/>
                <a:gd name="connsiteX287" fmla="*/ 331670 w 1145699"/>
                <a:gd name="connsiteY287" fmla="*/ 189849 h 1164784"/>
                <a:gd name="connsiteX288" fmla="*/ 331168 w 1145699"/>
                <a:gd name="connsiteY288" fmla="*/ 187593 h 1164784"/>
                <a:gd name="connsiteX289" fmla="*/ 333685 w 1145699"/>
                <a:gd name="connsiteY289" fmla="*/ 182507 h 1164784"/>
                <a:gd name="connsiteX290" fmla="*/ 325133 w 1145699"/>
                <a:gd name="connsiteY290" fmla="*/ 164685 h 1164784"/>
                <a:gd name="connsiteX291" fmla="*/ 325032 w 1145699"/>
                <a:gd name="connsiteY291" fmla="*/ 163653 h 1164784"/>
                <a:gd name="connsiteX292" fmla="*/ 326232 w 1145699"/>
                <a:gd name="connsiteY292" fmla="*/ 157690 h 1164784"/>
                <a:gd name="connsiteX293" fmla="*/ 327076 w 1145699"/>
                <a:gd name="connsiteY293" fmla="*/ 156494 h 1164784"/>
                <a:gd name="connsiteX294" fmla="*/ 332132 w 1145699"/>
                <a:gd name="connsiteY294" fmla="*/ 153438 h 1164784"/>
                <a:gd name="connsiteX295" fmla="*/ 332132 w 1145699"/>
                <a:gd name="connsiteY295" fmla="*/ 149148 h 1164784"/>
                <a:gd name="connsiteX296" fmla="*/ 328131 w 1145699"/>
                <a:gd name="connsiteY296" fmla="*/ 144129 h 1164784"/>
                <a:gd name="connsiteX297" fmla="*/ 322973 w 1145699"/>
                <a:gd name="connsiteY297" fmla="*/ 142606 h 1164784"/>
                <a:gd name="connsiteX298" fmla="*/ 317227 w 1145699"/>
                <a:gd name="connsiteY298" fmla="*/ 142606 h 1164784"/>
                <a:gd name="connsiteX299" fmla="*/ 311138 w 1145699"/>
                <a:gd name="connsiteY299" fmla="*/ 146487 h 1164784"/>
                <a:gd name="connsiteX300" fmla="*/ 310150 w 1145699"/>
                <a:gd name="connsiteY300" fmla="*/ 146771 h 1164784"/>
                <a:gd name="connsiteX301" fmla="*/ 301830 w 1145699"/>
                <a:gd name="connsiteY301" fmla="*/ 146771 h 1164784"/>
                <a:gd name="connsiteX302" fmla="*/ 300528 w 1145699"/>
                <a:gd name="connsiteY302" fmla="*/ 146255 h 1164784"/>
                <a:gd name="connsiteX303" fmla="*/ 298927 w 1145699"/>
                <a:gd name="connsiteY303" fmla="*/ 144631 h 1164784"/>
                <a:gd name="connsiteX304" fmla="*/ 293379 w 1145699"/>
                <a:gd name="connsiteY304" fmla="*/ 141266 h 1164784"/>
                <a:gd name="connsiteX305" fmla="*/ 287064 w 1145699"/>
                <a:gd name="connsiteY305" fmla="*/ 139564 h 1164784"/>
                <a:gd name="connsiteX306" fmla="*/ 286504 w 1145699"/>
                <a:gd name="connsiteY306" fmla="*/ 139299 h 1164784"/>
                <a:gd name="connsiteX307" fmla="*/ 280835 w 1145699"/>
                <a:gd name="connsiteY307" fmla="*/ 135308 h 1164784"/>
                <a:gd name="connsiteX308" fmla="*/ 277119 w 1145699"/>
                <a:gd name="connsiteY308" fmla="*/ 134334 h 1164784"/>
                <a:gd name="connsiteX309" fmla="*/ 277374 w 1145699"/>
                <a:gd name="connsiteY309" fmla="*/ 136874 h 1164784"/>
                <a:gd name="connsiteX310" fmla="*/ 282744 w 1145699"/>
                <a:gd name="connsiteY310" fmla="*/ 141155 h 1164784"/>
                <a:gd name="connsiteX311" fmla="*/ 283410 w 1145699"/>
                <a:gd name="connsiteY311" fmla="*/ 142582 h 1164784"/>
                <a:gd name="connsiteX312" fmla="*/ 283410 w 1145699"/>
                <a:gd name="connsiteY312" fmla="*/ 149133 h 1164784"/>
                <a:gd name="connsiteX313" fmla="*/ 283120 w 1145699"/>
                <a:gd name="connsiteY313" fmla="*/ 150088 h 1164784"/>
                <a:gd name="connsiteX314" fmla="*/ 279404 w 1145699"/>
                <a:gd name="connsiteY314" fmla="*/ 155960 h 1164784"/>
                <a:gd name="connsiteX315" fmla="*/ 280946 w 1145699"/>
                <a:gd name="connsiteY315" fmla="*/ 161094 h 1164784"/>
                <a:gd name="connsiteX316" fmla="*/ 281023 w 1145699"/>
                <a:gd name="connsiteY316" fmla="*/ 161445 h 1164784"/>
                <a:gd name="connsiteX317" fmla="*/ 281597 w 1145699"/>
                <a:gd name="connsiteY317" fmla="*/ 167365 h 1164784"/>
                <a:gd name="connsiteX318" fmla="*/ 281611 w 1145699"/>
                <a:gd name="connsiteY318" fmla="*/ 167573 h 1164784"/>
                <a:gd name="connsiteX319" fmla="*/ 281611 w 1145699"/>
                <a:gd name="connsiteY319" fmla="*/ 173136 h 1164784"/>
                <a:gd name="connsiteX320" fmla="*/ 284258 w 1145699"/>
                <a:gd name="connsiteY320" fmla="*/ 178930 h 1164784"/>
                <a:gd name="connsiteX321" fmla="*/ 289860 w 1145699"/>
                <a:gd name="connsiteY321" fmla="*/ 183418 h 1164784"/>
                <a:gd name="connsiteX322" fmla="*/ 290549 w 1145699"/>
                <a:gd name="connsiteY322" fmla="*/ 184836 h 1164784"/>
                <a:gd name="connsiteX323" fmla="*/ 290549 w 1145699"/>
                <a:gd name="connsiteY323" fmla="*/ 190519 h 1164784"/>
                <a:gd name="connsiteX324" fmla="*/ 292222 w 1145699"/>
                <a:gd name="connsiteY324" fmla="*/ 196063 h 1164784"/>
                <a:gd name="connsiteX325" fmla="*/ 295100 w 1145699"/>
                <a:gd name="connsiteY325" fmla="*/ 201872 h 1164784"/>
                <a:gd name="connsiteX326" fmla="*/ 295317 w 1145699"/>
                <a:gd name="connsiteY326" fmla="*/ 202658 h 1164784"/>
                <a:gd name="connsiteX327" fmla="*/ 295317 w 1145699"/>
                <a:gd name="connsiteY327" fmla="*/ 209233 h 1164784"/>
                <a:gd name="connsiteX328" fmla="*/ 295302 w 1145699"/>
                <a:gd name="connsiteY328" fmla="*/ 209542 h 1164784"/>
                <a:gd name="connsiteX329" fmla="*/ 294121 w 1145699"/>
                <a:gd name="connsiteY329" fmla="*/ 216002 h 1164784"/>
                <a:gd name="connsiteX330" fmla="*/ 293572 w 1145699"/>
                <a:gd name="connsiteY330" fmla="*/ 221984 h 1164784"/>
                <a:gd name="connsiteX331" fmla="*/ 296305 w 1145699"/>
                <a:gd name="connsiteY331" fmla="*/ 227465 h 1164784"/>
                <a:gd name="connsiteX332" fmla="*/ 296440 w 1145699"/>
                <a:gd name="connsiteY332" fmla="*/ 228757 h 1164784"/>
                <a:gd name="connsiteX333" fmla="*/ 294671 w 1145699"/>
                <a:gd name="connsiteY333" fmla="*/ 235130 h 1164784"/>
                <a:gd name="connsiteX334" fmla="*/ 294116 w 1145699"/>
                <a:gd name="connsiteY334" fmla="*/ 240944 h 1164784"/>
                <a:gd name="connsiteX335" fmla="*/ 294049 w 1145699"/>
                <a:gd name="connsiteY335" fmla="*/ 241296 h 1164784"/>
                <a:gd name="connsiteX336" fmla="*/ 292270 w 1145699"/>
                <a:gd name="connsiteY336" fmla="*/ 247235 h 1164784"/>
                <a:gd name="connsiteX337" fmla="*/ 290573 w 1145699"/>
                <a:gd name="connsiteY337" fmla="*/ 252837 h 1164784"/>
                <a:gd name="connsiteX338" fmla="*/ 291142 w 1145699"/>
                <a:gd name="connsiteY338" fmla="*/ 259055 h 1164784"/>
                <a:gd name="connsiteX339" fmla="*/ 291113 w 1145699"/>
                <a:gd name="connsiteY339" fmla="*/ 259504 h 1164784"/>
                <a:gd name="connsiteX340" fmla="*/ 290612 w 1145699"/>
                <a:gd name="connsiteY340" fmla="*/ 262507 h 1164784"/>
                <a:gd name="connsiteX341" fmla="*/ 293273 w 1145699"/>
                <a:gd name="connsiteY341" fmla="*/ 268388 h 1164784"/>
                <a:gd name="connsiteX342" fmla="*/ 297795 w 1145699"/>
                <a:gd name="connsiteY342" fmla="*/ 274583 h 1164784"/>
                <a:gd name="connsiteX343" fmla="*/ 303555 w 1145699"/>
                <a:gd name="connsiteY343" fmla="*/ 279196 h 1164784"/>
                <a:gd name="connsiteX344" fmla="*/ 304105 w 1145699"/>
                <a:gd name="connsiteY344" fmla="*/ 281346 h 1164784"/>
                <a:gd name="connsiteX345" fmla="*/ 302225 w 1145699"/>
                <a:gd name="connsiteY345" fmla="*/ 282445 h 1164784"/>
                <a:gd name="connsiteX346" fmla="*/ 296368 w 1145699"/>
                <a:gd name="connsiteY346" fmla="*/ 281857 h 1164784"/>
                <a:gd name="connsiteX347" fmla="*/ 289903 w 1145699"/>
                <a:gd name="connsiteY347" fmla="*/ 281857 h 1164784"/>
                <a:gd name="connsiteX348" fmla="*/ 289397 w 1145699"/>
                <a:gd name="connsiteY348" fmla="*/ 281770 h 1164784"/>
                <a:gd name="connsiteX349" fmla="*/ 284287 w 1145699"/>
                <a:gd name="connsiteY349" fmla="*/ 280237 h 1164784"/>
                <a:gd name="connsiteX350" fmla="*/ 281414 w 1145699"/>
                <a:gd name="connsiteY350" fmla="*/ 282146 h 1164784"/>
                <a:gd name="connsiteX351" fmla="*/ 280392 w 1145699"/>
                <a:gd name="connsiteY351" fmla="*/ 282445 h 1164784"/>
                <a:gd name="connsiteX352" fmla="*/ 267892 w 1145699"/>
                <a:gd name="connsiteY352" fmla="*/ 282445 h 1164784"/>
                <a:gd name="connsiteX353" fmla="*/ 267222 w 1145699"/>
                <a:gd name="connsiteY353" fmla="*/ 282330 h 1164784"/>
                <a:gd name="connsiteX354" fmla="*/ 261268 w 1145699"/>
                <a:gd name="connsiteY354" fmla="*/ 279943 h 1164784"/>
                <a:gd name="connsiteX355" fmla="*/ 260207 w 1145699"/>
                <a:gd name="connsiteY355" fmla="*/ 278791 h 1164784"/>
                <a:gd name="connsiteX356" fmla="*/ 258424 w 1145699"/>
                <a:gd name="connsiteY356" fmla="*/ 272847 h 1164784"/>
                <a:gd name="connsiteX357" fmla="*/ 258424 w 1145699"/>
                <a:gd name="connsiteY357" fmla="*/ 271782 h 1164784"/>
                <a:gd name="connsiteX358" fmla="*/ 259504 w 1145699"/>
                <a:gd name="connsiteY358" fmla="*/ 268185 h 1164784"/>
                <a:gd name="connsiteX359" fmla="*/ 256418 w 1145699"/>
                <a:gd name="connsiteY359" fmla="*/ 268185 h 1164784"/>
                <a:gd name="connsiteX360" fmla="*/ 251270 w 1145699"/>
                <a:gd name="connsiteY360" fmla="*/ 270755 h 1164784"/>
                <a:gd name="connsiteX361" fmla="*/ 247958 w 1145699"/>
                <a:gd name="connsiteY361" fmla="*/ 275537 h 1164784"/>
                <a:gd name="connsiteX362" fmla="*/ 249944 w 1145699"/>
                <a:gd name="connsiteY362" fmla="*/ 280565 h 1164784"/>
                <a:gd name="connsiteX363" fmla="*/ 249992 w 1145699"/>
                <a:gd name="connsiteY363" fmla="*/ 280724 h 1164784"/>
                <a:gd name="connsiteX364" fmla="*/ 251776 w 1145699"/>
                <a:gd name="connsiteY364" fmla="*/ 286683 h 1164784"/>
                <a:gd name="connsiteX365" fmla="*/ 251882 w 1145699"/>
                <a:gd name="connsiteY365" fmla="*/ 287174 h 1164784"/>
                <a:gd name="connsiteX366" fmla="*/ 251882 w 1145699"/>
                <a:gd name="connsiteY366" fmla="*/ 288355 h 1164784"/>
                <a:gd name="connsiteX367" fmla="*/ 250971 w 1145699"/>
                <a:gd name="connsiteY367" fmla="*/ 289937 h 1164784"/>
                <a:gd name="connsiteX368" fmla="*/ 248016 w 1145699"/>
                <a:gd name="connsiteY368" fmla="*/ 291706 h 1164784"/>
                <a:gd name="connsiteX369" fmla="*/ 245832 w 1145699"/>
                <a:gd name="connsiteY369" fmla="*/ 291470 h 1164784"/>
                <a:gd name="connsiteX370" fmla="*/ 245451 w 1145699"/>
                <a:gd name="connsiteY370" fmla="*/ 289358 h 1164784"/>
                <a:gd name="connsiteX371" fmla="*/ 246266 w 1145699"/>
                <a:gd name="connsiteY371" fmla="*/ 287685 h 1164784"/>
                <a:gd name="connsiteX372" fmla="*/ 244188 w 1145699"/>
                <a:gd name="connsiteY372" fmla="*/ 282498 h 1164784"/>
                <a:gd name="connsiteX373" fmla="*/ 244068 w 1145699"/>
                <a:gd name="connsiteY373" fmla="*/ 282064 h 1164784"/>
                <a:gd name="connsiteX374" fmla="*/ 243542 w 1145699"/>
                <a:gd name="connsiteY374" fmla="*/ 278275 h 1164784"/>
                <a:gd name="connsiteX375" fmla="*/ 240896 w 1145699"/>
                <a:gd name="connsiteY375" fmla="*/ 273859 h 1164784"/>
                <a:gd name="connsiteX376" fmla="*/ 228015 w 1145699"/>
                <a:gd name="connsiteY376" fmla="*/ 275894 h 1164784"/>
                <a:gd name="connsiteX377" fmla="*/ 226689 w 1145699"/>
                <a:gd name="connsiteY377" fmla="*/ 275325 h 1164784"/>
                <a:gd name="connsiteX378" fmla="*/ 220745 w 1145699"/>
                <a:gd name="connsiteY378" fmla="*/ 268764 h 1164784"/>
                <a:gd name="connsiteX379" fmla="*/ 220263 w 1145699"/>
                <a:gd name="connsiteY379" fmla="*/ 267535 h 1164784"/>
                <a:gd name="connsiteX380" fmla="*/ 220263 w 1145699"/>
                <a:gd name="connsiteY380" fmla="*/ 265423 h 1164784"/>
                <a:gd name="connsiteX381" fmla="*/ 215163 w 1145699"/>
                <a:gd name="connsiteY381" fmla="*/ 267964 h 1164784"/>
                <a:gd name="connsiteX382" fmla="*/ 213967 w 1145699"/>
                <a:gd name="connsiteY382" fmla="*/ 268128 h 1164784"/>
                <a:gd name="connsiteX383" fmla="*/ 208881 w 1145699"/>
                <a:gd name="connsiteY383" fmla="*/ 267139 h 1164784"/>
                <a:gd name="connsiteX384" fmla="*/ 202986 w 1145699"/>
                <a:gd name="connsiteY384" fmla="*/ 271950 h 1164784"/>
                <a:gd name="connsiteX385" fmla="*/ 202663 w 1145699"/>
                <a:gd name="connsiteY385" fmla="*/ 272163 h 1164784"/>
                <a:gd name="connsiteX386" fmla="*/ 196858 w 1145699"/>
                <a:gd name="connsiteY386" fmla="*/ 275026 h 1164784"/>
                <a:gd name="connsiteX387" fmla="*/ 191074 w 1145699"/>
                <a:gd name="connsiteY387" fmla="*/ 279678 h 1164784"/>
                <a:gd name="connsiteX388" fmla="*/ 190134 w 1145699"/>
                <a:gd name="connsiteY388" fmla="*/ 280064 h 1164784"/>
                <a:gd name="connsiteX389" fmla="*/ 184185 w 1145699"/>
                <a:gd name="connsiteY389" fmla="*/ 280633 h 1164784"/>
                <a:gd name="connsiteX390" fmla="*/ 182242 w 1145699"/>
                <a:gd name="connsiteY390" fmla="*/ 279312 h 1164784"/>
                <a:gd name="connsiteX391" fmla="*/ 180632 w 1145699"/>
                <a:gd name="connsiteY391" fmla="*/ 273325 h 1164784"/>
                <a:gd name="connsiteX392" fmla="*/ 174515 w 1145699"/>
                <a:gd name="connsiteY392" fmla="*/ 268345 h 1164784"/>
                <a:gd name="connsiteX393" fmla="*/ 173888 w 1145699"/>
                <a:gd name="connsiteY393" fmla="*/ 266633 h 1164784"/>
                <a:gd name="connsiteX394" fmla="*/ 174934 w 1145699"/>
                <a:gd name="connsiteY394" fmla="*/ 260877 h 1164784"/>
                <a:gd name="connsiteX395" fmla="*/ 170682 w 1145699"/>
                <a:gd name="connsiteY395" fmla="*/ 255570 h 1164784"/>
                <a:gd name="connsiteX396" fmla="*/ 170484 w 1145699"/>
                <a:gd name="connsiteY396" fmla="*/ 255256 h 1164784"/>
                <a:gd name="connsiteX397" fmla="*/ 167491 w 1145699"/>
                <a:gd name="connsiteY397" fmla="*/ 249293 h 1164784"/>
                <a:gd name="connsiteX398" fmla="*/ 167327 w 1145699"/>
                <a:gd name="connsiteY398" fmla="*/ 248879 h 1164784"/>
                <a:gd name="connsiteX399" fmla="*/ 166324 w 1145699"/>
                <a:gd name="connsiteY399" fmla="*/ 243798 h 1164784"/>
                <a:gd name="connsiteX400" fmla="*/ 161176 w 1145699"/>
                <a:gd name="connsiteY400" fmla="*/ 241204 h 1164784"/>
                <a:gd name="connsiteX401" fmla="*/ 160231 w 1145699"/>
                <a:gd name="connsiteY401" fmla="*/ 240057 h 1164784"/>
                <a:gd name="connsiteX402" fmla="*/ 159276 w 1145699"/>
                <a:gd name="connsiteY402" fmla="*/ 236509 h 1164784"/>
                <a:gd name="connsiteX403" fmla="*/ 155531 w 1145699"/>
                <a:gd name="connsiteY403" fmla="*/ 240293 h 1164784"/>
                <a:gd name="connsiteX404" fmla="*/ 153082 w 1145699"/>
                <a:gd name="connsiteY404" fmla="*/ 240389 h 1164784"/>
                <a:gd name="connsiteX405" fmla="*/ 152768 w 1145699"/>
                <a:gd name="connsiteY405" fmla="*/ 237940 h 1164784"/>
                <a:gd name="connsiteX406" fmla="*/ 156553 w 1145699"/>
                <a:gd name="connsiteY406" fmla="*/ 232522 h 1164784"/>
                <a:gd name="connsiteX407" fmla="*/ 156225 w 1145699"/>
                <a:gd name="connsiteY407" fmla="*/ 229094 h 1164784"/>
                <a:gd name="connsiteX408" fmla="*/ 152768 w 1145699"/>
                <a:gd name="connsiteY408" fmla="*/ 230502 h 1164784"/>
                <a:gd name="connsiteX409" fmla="*/ 146400 w 1145699"/>
                <a:gd name="connsiteY409" fmla="*/ 235101 h 1164784"/>
                <a:gd name="connsiteX410" fmla="*/ 144732 w 1145699"/>
                <a:gd name="connsiteY410" fmla="*/ 235361 h 1164784"/>
                <a:gd name="connsiteX411" fmla="*/ 143580 w 1145699"/>
                <a:gd name="connsiteY411" fmla="*/ 234156 h 1164784"/>
                <a:gd name="connsiteX412" fmla="*/ 142192 w 1145699"/>
                <a:gd name="connsiteY412" fmla="*/ 229485 h 1164784"/>
                <a:gd name="connsiteX413" fmla="*/ 137978 w 1145699"/>
                <a:gd name="connsiteY413" fmla="*/ 229485 h 1164784"/>
                <a:gd name="connsiteX414" fmla="*/ 131789 w 1145699"/>
                <a:gd name="connsiteY414" fmla="*/ 232315 h 1164784"/>
                <a:gd name="connsiteX415" fmla="*/ 129894 w 1145699"/>
                <a:gd name="connsiteY415" fmla="*/ 232069 h 1164784"/>
                <a:gd name="connsiteX416" fmla="*/ 124432 w 1145699"/>
                <a:gd name="connsiteY416" fmla="*/ 227706 h 1164784"/>
                <a:gd name="connsiteX417" fmla="*/ 119925 w 1145699"/>
                <a:gd name="connsiteY417" fmla="*/ 227706 h 1164784"/>
                <a:gd name="connsiteX418" fmla="*/ 115461 w 1145699"/>
                <a:gd name="connsiteY418" fmla="*/ 232681 h 1164784"/>
                <a:gd name="connsiteX419" fmla="*/ 114386 w 1145699"/>
                <a:gd name="connsiteY419" fmla="*/ 238630 h 1164784"/>
                <a:gd name="connsiteX420" fmla="*/ 113793 w 1145699"/>
                <a:gd name="connsiteY420" fmla="*/ 244511 h 1164784"/>
                <a:gd name="connsiteX421" fmla="*/ 113007 w 1145699"/>
                <a:gd name="connsiteY421" fmla="*/ 245837 h 1164784"/>
                <a:gd name="connsiteX422" fmla="*/ 111464 w 1145699"/>
                <a:gd name="connsiteY422" fmla="*/ 246068 h 1164784"/>
                <a:gd name="connsiteX423" fmla="*/ 105516 w 1145699"/>
                <a:gd name="connsiteY423" fmla="*/ 244275 h 1164784"/>
                <a:gd name="connsiteX424" fmla="*/ 104971 w 1145699"/>
                <a:gd name="connsiteY424" fmla="*/ 244048 h 1164784"/>
                <a:gd name="connsiteX425" fmla="*/ 100984 w 1145699"/>
                <a:gd name="connsiteY425" fmla="*/ 241180 h 1164784"/>
                <a:gd name="connsiteX426" fmla="*/ 95653 w 1145699"/>
                <a:gd name="connsiteY426" fmla="*/ 239040 h 1164784"/>
                <a:gd name="connsiteX427" fmla="*/ 90253 w 1145699"/>
                <a:gd name="connsiteY427" fmla="*/ 239536 h 1164784"/>
                <a:gd name="connsiteX428" fmla="*/ 85384 w 1145699"/>
                <a:gd name="connsiteY428" fmla="*/ 244950 h 1164784"/>
                <a:gd name="connsiteX429" fmla="*/ 84025 w 1145699"/>
                <a:gd name="connsiteY429" fmla="*/ 245572 h 1164784"/>
                <a:gd name="connsiteX430" fmla="*/ 82670 w 1145699"/>
                <a:gd name="connsiteY430" fmla="*/ 244950 h 1164784"/>
                <a:gd name="connsiteX431" fmla="*/ 77305 w 1145699"/>
                <a:gd name="connsiteY431" fmla="*/ 239020 h 1164784"/>
                <a:gd name="connsiteX432" fmla="*/ 76861 w 1145699"/>
                <a:gd name="connsiteY432" fmla="*/ 237613 h 1164784"/>
                <a:gd name="connsiteX433" fmla="*/ 77199 w 1145699"/>
                <a:gd name="connsiteY433" fmla="*/ 233756 h 1164784"/>
                <a:gd name="connsiteX434" fmla="*/ 61300 w 1145699"/>
                <a:gd name="connsiteY434" fmla="*/ 235511 h 1164784"/>
                <a:gd name="connsiteX435" fmla="*/ 55891 w 1145699"/>
                <a:gd name="connsiteY435" fmla="*/ 239290 h 1164784"/>
                <a:gd name="connsiteX436" fmla="*/ 53982 w 1145699"/>
                <a:gd name="connsiteY436" fmla="*/ 239358 h 1164784"/>
                <a:gd name="connsiteX437" fmla="*/ 47754 w 1145699"/>
                <a:gd name="connsiteY437" fmla="*/ 235988 h 1164784"/>
                <a:gd name="connsiteX438" fmla="*/ 42581 w 1145699"/>
                <a:gd name="connsiteY438" fmla="*/ 235467 h 1164784"/>
                <a:gd name="connsiteX439" fmla="*/ 36445 w 1145699"/>
                <a:gd name="connsiteY439" fmla="*/ 237733 h 1164784"/>
                <a:gd name="connsiteX440" fmla="*/ 35635 w 1145699"/>
                <a:gd name="connsiteY440" fmla="*/ 237834 h 1164784"/>
                <a:gd name="connsiteX441" fmla="*/ 30289 w 1145699"/>
                <a:gd name="connsiteY441" fmla="*/ 237290 h 1164784"/>
                <a:gd name="connsiteX442" fmla="*/ 24875 w 1145699"/>
                <a:gd name="connsiteY442" fmla="*/ 240558 h 1164784"/>
                <a:gd name="connsiteX443" fmla="*/ 24229 w 1145699"/>
                <a:gd name="connsiteY443" fmla="*/ 240780 h 1164784"/>
                <a:gd name="connsiteX444" fmla="*/ 17822 w 1145699"/>
                <a:gd name="connsiteY444" fmla="*/ 241971 h 1164784"/>
                <a:gd name="connsiteX445" fmla="*/ 12177 w 1145699"/>
                <a:gd name="connsiteY445" fmla="*/ 243629 h 1164784"/>
                <a:gd name="connsiteX446" fmla="*/ 6788 w 1145699"/>
                <a:gd name="connsiteY446" fmla="*/ 247027 h 1164784"/>
                <a:gd name="connsiteX447" fmla="*/ 7289 w 1145699"/>
                <a:gd name="connsiteY447" fmla="*/ 251921 h 1164784"/>
                <a:gd name="connsiteX448" fmla="*/ 6879 w 1145699"/>
                <a:gd name="connsiteY448" fmla="*/ 253237 h 1164784"/>
                <a:gd name="connsiteX449" fmla="*/ 2068 w 1145699"/>
                <a:gd name="connsiteY449" fmla="*/ 259128 h 1164784"/>
                <a:gd name="connsiteX450" fmla="*/ 3105 w 1145699"/>
                <a:gd name="connsiteY450" fmla="*/ 264223 h 1164784"/>
                <a:gd name="connsiteX451" fmla="*/ 3119 w 1145699"/>
                <a:gd name="connsiteY451" fmla="*/ 264565 h 1164784"/>
                <a:gd name="connsiteX452" fmla="*/ 3119 w 1145699"/>
                <a:gd name="connsiteY452" fmla="*/ 268494 h 1164784"/>
                <a:gd name="connsiteX453" fmla="*/ 8566 w 1145699"/>
                <a:gd name="connsiteY453" fmla="*/ 267004 h 1164784"/>
                <a:gd name="connsiteX454" fmla="*/ 9796 w 1145699"/>
                <a:gd name="connsiteY454" fmla="*/ 267106 h 1164784"/>
                <a:gd name="connsiteX455" fmla="*/ 15807 w 1145699"/>
                <a:gd name="connsiteY455" fmla="*/ 269829 h 1164784"/>
                <a:gd name="connsiteX456" fmla="*/ 21095 w 1145699"/>
                <a:gd name="connsiteY456" fmla="*/ 268779 h 1164784"/>
                <a:gd name="connsiteX457" fmla="*/ 26967 w 1145699"/>
                <a:gd name="connsiteY457" fmla="*/ 267004 h 1164784"/>
                <a:gd name="connsiteX458" fmla="*/ 27305 w 1145699"/>
                <a:gd name="connsiteY458" fmla="*/ 266956 h 1164784"/>
                <a:gd name="connsiteX459" fmla="*/ 33171 w 1145699"/>
                <a:gd name="connsiteY459" fmla="*/ 266359 h 1164784"/>
                <a:gd name="connsiteX460" fmla="*/ 36045 w 1145699"/>
                <a:gd name="connsiteY460" fmla="*/ 265823 h 1164784"/>
                <a:gd name="connsiteX461" fmla="*/ 36213 w 1145699"/>
                <a:gd name="connsiteY461" fmla="*/ 265737 h 1164784"/>
                <a:gd name="connsiteX462" fmla="*/ 42191 w 1145699"/>
                <a:gd name="connsiteY462" fmla="*/ 265182 h 1164784"/>
                <a:gd name="connsiteX463" fmla="*/ 44148 w 1145699"/>
                <a:gd name="connsiteY463" fmla="*/ 266585 h 1164784"/>
                <a:gd name="connsiteX464" fmla="*/ 42890 w 1145699"/>
                <a:gd name="connsiteY464" fmla="*/ 268687 h 1164784"/>
                <a:gd name="connsiteX465" fmla="*/ 37365 w 1145699"/>
                <a:gd name="connsiteY465" fmla="*/ 270369 h 1164784"/>
                <a:gd name="connsiteX466" fmla="*/ 37081 w 1145699"/>
                <a:gd name="connsiteY466" fmla="*/ 270654 h 1164784"/>
                <a:gd name="connsiteX467" fmla="*/ 36155 w 1145699"/>
                <a:gd name="connsiteY467" fmla="*/ 271160 h 1164784"/>
                <a:gd name="connsiteX468" fmla="*/ 33841 w 1145699"/>
                <a:gd name="connsiteY468" fmla="*/ 271589 h 1164784"/>
                <a:gd name="connsiteX469" fmla="*/ 31364 w 1145699"/>
                <a:gd name="connsiteY469" fmla="*/ 274684 h 1164784"/>
                <a:gd name="connsiteX470" fmla="*/ 47571 w 1145699"/>
                <a:gd name="connsiteY470" fmla="*/ 282720 h 1164784"/>
                <a:gd name="connsiteX471" fmla="*/ 48188 w 1145699"/>
                <a:gd name="connsiteY471" fmla="*/ 284947 h 1164784"/>
                <a:gd name="connsiteX472" fmla="*/ 46192 w 1145699"/>
                <a:gd name="connsiteY472" fmla="*/ 286012 h 1164784"/>
                <a:gd name="connsiteX473" fmla="*/ 40489 w 1145699"/>
                <a:gd name="connsiteY473" fmla="*/ 284870 h 1164784"/>
                <a:gd name="connsiteX474" fmla="*/ 34193 w 1145699"/>
                <a:gd name="connsiteY474" fmla="*/ 285444 h 1164784"/>
                <a:gd name="connsiteX475" fmla="*/ 33205 w 1145699"/>
                <a:gd name="connsiteY475" fmla="*/ 285246 h 1164784"/>
                <a:gd name="connsiteX476" fmla="*/ 27642 w 1145699"/>
                <a:gd name="connsiteY476" fmla="*/ 282469 h 1164784"/>
                <a:gd name="connsiteX477" fmla="*/ 22117 w 1145699"/>
                <a:gd name="connsiteY477" fmla="*/ 282469 h 1164784"/>
                <a:gd name="connsiteX478" fmla="*/ 20710 w 1145699"/>
                <a:gd name="connsiteY478" fmla="*/ 281794 h 1164784"/>
                <a:gd name="connsiteX479" fmla="*/ 16704 w 1145699"/>
                <a:gd name="connsiteY479" fmla="*/ 276892 h 1164784"/>
                <a:gd name="connsiteX480" fmla="*/ 13628 w 1145699"/>
                <a:gd name="connsiteY480" fmla="*/ 280319 h 1164784"/>
                <a:gd name="connsiteX481" fmla="*/ 16578 w 1145699"/>
                <a:gd name="connsiteY481" fmla="*/ 285747 h 1164784"/>
                <a:gd name="connsiteX482" fmla="*/ 16603 w 1145699"/>
                <a:gd name="connsiteY482" fmla="*/ 285800 h 1164784"/>
                <a:gd name="connsiteX483" fmla="*/ 18584 w 1145699"/>
                <a:gd name="connsiteY483" fmla="*/ 289710 h 1164784"/>
                <a:gd name="connsiteX484" fmla="*/ 23361 w 1145699"/>
                <a:gd name="connsiteY484" fmla="*/ 285800 h 1164784"/>
                <a:gd name="connsiteX485" fmla="*/ 25468 w 1145699"/>
                <a:gd name="connsiteY485" fmla="*/ 285641 h 1164784"/>
                <a:gd name="connsiteX486" fmla="*/ 31388 w 1145699"/>
                <a:gd name="connsiteY486" fmla="*/ 289233 h 1164784"/>
                <a:gd name="connsiteX487" fmla="*/ 31600 w 1145699"/>
                <a:gd name="connsiteY487" fmla="*/ 289353 h 1164784"/>
                <a:gd name="connsiteX488" fmla="*/ 37558 w 1145699"/>
                <a:gd name="connsiteY488" fmla="*/ 294097 h 1164784"/>
                <a:gd name="connsiteX489" fmla="*/ 38185 w 1145699"/>
                <a:gd name="connsiteY489" fmla="*/ 295071 h 1164784"/>
                <a:gd name="connsiteX490" fmla="*/ 39949 w 1145699"/>
                <a:gd name="connsiteY490" fmla="*/ 301593 h 1164784"/>
                <a:gd name="connsiteX491" fmla="*/ 39549 w 1145699"/>
                <a:gd name="connsiteY491" fmla="*/ 303290 h 1164784"/>
                <a:gd name="connsiteX492" fmla="*/ 34193 w 1145699"/>
                <a:gd name="connsiteY492" fmla="*/ 309268 h 1164784"/>
                <a:gd name="connsiteX493" fmla="*/ 32381 w 1145699"/>
                <a:gd name="connsiteY493" fmla="*/ 309740 h 1164784"/>
                <a:gd name="connsiteX494" fmla="*/ 26061 w 1145699"/>
                <a:gd name="connsiteY494" fmla="*/ 308029 h 1164784"/>
                <a:gd name="connsiteX495" fmla="*/ 20430 w 1145699"/>
                <a:gd name="connsiteY495" fmla="*/ 308029 h 1164784"/>
                <a:gd name="connsiteX496" fmla="*/ 13985 w 1145699"/>
                <a:gd name="connsiteY496" fmla="*/ 308602 h 1164784"/>
                <a:gd name="connsiteX497" fmla="*/ 7834 w 1145699"/>
                <a:gd name="connsiteY497" fmla="*/ 308602 h 1164784"/>
                <a:gd name="connsiteX498" fmla="*/ 7670 w 1145699"/>
                <a:gd name="connsiteY498" fmla="*/ 308602 h 1164784"/>
                <a:gd name="connsiteX499" fmla="*/ 2242 w 1145699"/>
                <a:gd name="connsiteY499" fmla="*/ 308096 h 1164784"/>
                <a:gd name="connsiteX500" fmla="*/ 0 w 1145699"/>
                <a:gd name="connsiteY500" fmla="*/ 309171 h 1164784"/>
                <a:gd name="connsiteX501" fmla="*/ 1514 w 1145699"/>
                <a:gd name="connsiteY501" fmla="*/ 309947 h 1164784"/>
                <a:gd name="connsiteX502" fmla="*/ 7164 w 1145699"/>
                <a:gd name="connsiteY502" fmla="*/ 312768 h 1164784"/>
                <a:gd name="connsiteX503" fmla="*/ 13363 w 1145699"/>
                <a:gd name="connsiteY503" fmla="*/ 313327 h 1164784"/>
                <a:gd name="connsiteX504" fmla="*/ 14626 w 1145699"/>
                <a:gd name="connsiteY504" fmla="*/ 314002 h 1164784"/>
                <a:gd name="connsiteX505" fmla="*/ 19958 w 1145699"/>
                <a:gd name="connsiteY505" fmla="*/ 320529 h 1164784"/>
                <a:gd name="connsiteX506" fmla="*/ 20136 w 1145699"/>
                <a:gd name="connsiteY506" fmla="*/ 320731 h 1164784"/>
                <a:gd name="connsiteX507" fmla="*/ 23704 w 1145699"/>
                <a:gd name="connsiteY507" fmla="*/ 326680 h 1164784"/>
                <a:gd name="connsiteX508" fmla="*/ 23901 w 1145699"/>
                <a:gd name="connsiteY508" fmla="*/ 327162 h 1164784"/>
                <a:gd name="connsiteX509" fmla="*/ 25670 w 1145699"/>
                <a:gd name="connsiteY509" fmla="*/ 333713 h 1164784"/>
                <a:gd name="connsiteX510" fmla="*/ 25728 w 1145699"/>
                <a:gd name="connsiteY510" fmla="*/ 334017 h 1164784"/>
                <a:gd name="connsiteX511" fmla="*/ 26345 w 1145699"/>
                <a:gd name="connsiteY511" fmla="*/ 339937 h 1164784"/>
                <a:gd name="connsiteX512" fmla="*/ 26234 w 1145699"/>
                <a:gd name="connsiteY512" fmla="*/ 340771 h 1164784"/>
                <a:gd name="connsiteX513" fmla="*/ 24523 w 1145699"/>
                <a:gd name="connsiteY513" fmla="*/ 345452 h 1164784"/>
                <a:gd name="connsiteX514" fmla="*/ 29093 w 1145699"/>
                <a:gd name="connsiteY514" fmla="*/ 346696 h 1164784"/>
                <a:gd name="connsiteX515" fmla="*/ 34299 w 1145699"/>
                <a:gd name="connsiteY515" fmla="*/ 347742 h 1164784"/>
                <a:gd name="connsiteX516" fmla="*/ 38532 w 1145699"/>
                <a:gd name="connsiteY516" fmla="*/ 345191 h 1164784"/>
                <a:gd name="connsiteX517" fmla="*/ 37602 w 1145699"/>
                <a:gd name="connsiteY517" fmla="*/ 340477 h 1164784"/>
                <a:gd name="connsiteX518" fmla="*/ 38233 w 1145699"/>
                <a:gd name="connsiteY518" fmla="*/ 338737 h 1164784"/>
                <a:gd name="connsiteX519" fmla="*/ 40070 w 1145699"/>
                <a:gd name="connsiteY519" fmla="*/ 338438 h 1164784"/>
                <a:gd name="connsiteX520" fmla="*/ 43227 w 1145699"/>
                <a:gd name="connsiteY520" fmla="*/ 339686 h 1164784"/>
                <a:gd name="connsiteX521" fmla="*/ 42938 w 1145699"/>
                <a:gd name="connsiteY521" fmla="*/ 336736 h 1164784"/>
                <a:gd name="connsiteX522" fmla="*/ 44056 w 1145699"/>
                <a:gd name="connsiteY522" fmla="*/ 334885 h 1164784"/>
                <a:gd name="connsiteX523" fmla="*/ 46178 w 1145699"/>
                <a:gd name="connsiteY523" fmla="*/ 335425 h 1164784"/>
                <a:gd name="connsiteX524" fmla="*/ 50695 w 1145699"/>
                <a:gd name="connsiteY524" fmla="*/ 341084 h 1164784"/>
                <a:gd name="connsiteX525" fmla="*/ 55631 w 1145699"/>
                <a:gd name="connsiteY525" fmla="*/ 343528 h 1164784"/>
                <a:gd name="connsiteX526" fmla="*/ 60895 w 1145699"/>
                <a:gd name="connsiteY526" fmla="*/ 341976 h 1164784"/>
                <a:gd name="connsiteX527" fmla="*/ 63060 w 1145699"/>
                <a:gd name="connsiteY527" fmla="*/ 342955 h 1164784"/>
                <a:gd name="connsiteX528" fmla="*/ 66039 w 1145699"/>
                <a:gd name="connsiteY528" fmla="*/ 349482 h 1164784"/>
                <a:gd name="connsiteX529" fmla="*/ 66087 w 1145699"/>
                <a:gd name="connsiteY529" fmla="*/ 349583 h 1164784"/>
                <a:gd name="connsiteX530" fmla="*/ 68083 w 1145699"/>
                <a:gd name="connsiteY530" fmla="*/ 354573 h 1164784"/>
                <a:gd name="connsiteX531" fmla="*/ 89154 w 1145699"/>
                <a:gd name="connsiteY531" fmla="*/ 360941 h 1164784"/>
                <a:gd name="connsiteX532" fmla="*/ 95079 w 1145699"/>
                <a:gd name="connsiteY532" fmla="*/ 362189 h 1164784"/>
                <a:gd name="connsiteX533" fmla="*/ 96390 w 1145699"/>
                <a:gd name="connsiteY533" fmla="*/ 363216 h 1164784"/>
                <a:gd name="connsiteX534" fmla="*/ 98743 w 1145699"/>
                <a:gd name="connsiteY534" fmla="*/ 368442 h 1164784"/>
                <a:gd name="connsiteX535" fmla="*/ 101240 w 1145699"/>
                <a:gd name="connsiteY535" fmla="*/ 372645 h 1164784"/>
                <a:gd name="connsiteX536" fmla="*/ 105598 w 1145699"/>
                <a:gd name="connsiteY536" fmla="*/ 369599 h 1164784"/>
                <a:gd name="connsiteX537" fmla="*/ 106793 w 1145699"/>
                <a:gd name="connsiteY537" fmla="*/ 369286 h 1164784"/>
                <a:gd name="connsiteX538" fmla="*/ 113345 w 1145699"/>
                <a:gd name="connsiteY538" fmla="*/ 369873 h 1164784"/>
                <a:gd name="connsiteX539" fmla="*/ 114810 w 1145699"/>
                <a:gd name="connsiteY539" fmla="*/ 370843 h 1164784"/>
                <a:gd name="connsiteX540" fmla="*/ 114747 w 1145699"/>
                <a:gd name="connsiteY540" fmla="*/ 372588 h 1164784"/>
                <a:gd name="connsiteX541" fmla="*/ 112183 w 1145699"/>
                <a:gd name="connsiteY541" fmla="*/ 376873 h 1164784"/>
                <a:gd name="connsiteX542" fmla="*/ 115895 w 1145699"/>
                <a:gd name="connsiteY542" fmla="*/ 378758 h 1164784"/>
                <a:gd name="connsiteX543" fmla="*/ 121328 w 1145699"/>
                <a:gd name="connsiteY543" fmla="*/ 378271 h 1164784"/>
                <a:gd name="connsiteX544" fmla="*/ 126838 w 1145699"/>
                <a:gd name="connsiteY544" fmla="*/ 373325 h 1164784"/>
                <a:gd name="connsiteX545" fmla="*/ 128882 w 1145699"/>
                <a:gd name="connsiteY545" fmla="*/ 373031 h 1164784"/>
                <a:gd name="connsiteX546" fmla="*/ 129860 w 1145699"/>
                <a:gd name="connsiteY546" fmla="*/ 374853 h 1164784"/>
                <a:gd name="connsiteX547" fmla="*/ 129258 w 1145699"/>
                <a:gd name="connsiteY547" fmla="*/ 380783 h 1164784"/>
                <a:gd name="connsiteX548" fmla="*/ 128530 w 1145699"/>
                <a:gd name="connsiteY548" fmla="*/ 382051 h 1164784"/>
                <a:gd name="connsiteX549" fmla="*/ 123227 w 1145699"/>
                <a:gd name="connsiteY549" fmla="*/ 385951 h 1164784"/>
                <a:gd name="connsiteX550" fmla="*/ 125531 w 1145699"/>
                <a:gd name="connsiteY550" fmla="*/ 390521 h 1164784"/>
                <a:gd name="connsiteX551" fmla="*/ 125671 w 1145699"/>
                <a:gd name="connsiteY551" fmla="*/ 390983 h 1164784"/>
                <a:gd name="connsiteX552" fmla="*/ 126736 w 1145699"/>
                <a:gd name="connsiteY552" fmla="*/ 396233 h 1164784"/>
                <a:gd name="connsiteX553" fmla="*/ 128226 w 1145699"/>
                <a:gd name="connsiteY553" fmla="*/ 395481 h 1164784"/>
                <a:gd name="connsiteX554" fmla="*/ 134594 w 1145699"/>
                <a:gd name="connsiteY554" fmla="*/ 396040 h 1164784"/>
                <a:gd name="connsiteX555" fmla="*/ 139333 w 1145699"/>
                <a:gd name="connsiteY555" fmla="*/ 395597 h 1164784"/>
                <a:gd name="connsiteX556" fmla="*/ 139333 w 1145699"/>
                <a:gd name="connsiteY556" fmla="*/ 391340 h 1164784"/>
                <a:gd name="connsiteX557" fmla="*/ 140181 w 1145699"/>
                <a:gd name="connsiteY557" fmla="*/ 389793 h 1164784"/>
                <a:gd name="connsiteX558" fmla="*/ 141951 w 1145699"/>
                <a:gd name="connsiteY558" fmla="*/ 389701 h 1164784"/>
                <a:gd name="connsiteX559" fmla="*/ 144361 w 1145699"/>
                <a:gd name="connsiteY559" fmla="*/ 390887 h 1164784"/>
                <a:gd name="connsiteX560" fmla="*/ 145152 w 1145699"/>
                <a:gd name="connsiteY560" fmla="*/ 391683 h 1164784"/>
                <a:gd name="connsiteX561" fmla="*/ 147282 w 1145699"/>
                <a:gd name="connsiteY561" fmla="*/ 395954 h 1164784"/>
                <a:gd name="connsiteX562" fmla="*/ 152180 w 1145699"/>
                <a:gd name="connsiteY562" fmla="*/ 393317 h 1164784"/>
                <a:gd name="connsiteX563" fmla="*/ 153583 w 1145699"/>
                <a:gd name="connsiteY563" fmla="*/ 393133 h 1164784"/>
                <a:gd name="connsiteX564" fmla="*/ 159117 w 1145699"/>
                <a:gd name="connsiteY564" fmla="*/ 394811 h 1164784"/>
                <a:gd name="connsiteX565" fmla="*/ 165230 w 1145699"/>
                <a:gd name="connsiteY565" fmla="*/ 393726 h 1164784"/>
                <a:gd name="connsiteX566" fmla="*/ 166898 w 1145699"/>
                <a:gd name="connsiteY566" fmla="*/ 394247 h 1164784"/>
                <a:gd name="connsiteX567" fmla="*/ 167298 w 1145699"/>
                <a:gd name="connsiteY567" fmla="*/ 395954 h 1164784"/>
                <a:gd name="connsiteX568" fmla="*/ 165514 w 1145699"/>
                <a:gd name="connsiteY568" fmla="*/ 402505 h 1164784"/>
                <a:gd name="connsiteX569" fmla="*/ 164801 w 1145699"/>
                <a:gd name="connsiteY569" fmla="*/ 403508 h 1164784"/>
                <a:gd name="connsiteX570" fmla="*/ 158852 w 1145699"/>
                <a:gd name="connsiteY570" fmla="*/ 407663 h 1164784"/>
                <a:gd name="connsiteX571" fmla="*/ 157343 w 1145699"/>
                <a:gd name="connsiteY571" fmla="*/ 407967 h 1164784"/>
                <a:gd name="connsiteX572" fmla="*/ 150792 w 1145699"/>
                <a:gd name="connsiteY572" fmla="*/ 406178 h 1164784"/>
                <a:gd name="connsiteX573" fmla="*/ 150459 w 1145699"/>
                <a:gd name="connsiteY573" fmla="*/ 406048 h 1164784"/>
                <a:gd name="connsiteX574" fmla="*/ 150093 w 1145699"/>
                <a:gd name="connsiteY574" fmla="*/ 405850 h 1164784"/>
                <a:gd name="connsiteX575" fmla="*/ 150271 w 1145699"/>
                <a:gd name="connsiteY575" fmla="*/ 406178 h 1164784"/>
                <a:gd name="connsiteX576" fmla="*/ 155386 w 1145699"/>
                <a:gd name="connsiteY576" fmla="*/ 410242 h 1164784"/>
                <a:gd name="connsiteX577" fmla="*/ 160636 w 1145699"/>
                <a:gd name="connsiteY577" fmla="*/ 409741 h 1164784"/>
                <a:gd name="connsiteX578" fmla="*/ 166580 w 1145699"/>
                <a:gd name="connsiteY578" fmla="*/ 409143 h 1164784"/>
                <a:gd name="connsiteX579" fmla="*/ 167071 w 1145699"/>
                <a:gd name="connsiteY579" fmla="*/ 409148 h 1164784"/>
                <a:gd name="connsiteX580" fmla="*/ 173454 w 1145699"/>
                <a:gd name="connsiteY580" fmla="*/ 410339 h 1164784"/>
                <a:gd name="connsiteX581" fmla="*/ 179248 w 1145699"/>
                <a:gd name="connsiteY581" fmla="*/ 410339 h 1164784"/>
                <a:gd name="connsiteX582" fmla="*/ 180217 w 1145699"/>
                <a:gd name="connsiteY582" fmla="*/ 410633 h 1164784"/>
                <a:gd name="connsiteX583" fmla="*/ 186480 w 1145699"/>
                <a:gd name="connsiteY583" fmla="*/ 414620 h 1164784"/>
                <a:gd name="connsiteX584" fmla="*/ 192091 w 1145699"/>
                <a:gd name="connsiteY584" fmla="*/ 415738 h 1164784"/>
                <a:gd name="connsiteX585" fmla="*/ 193537 w 1145699"/>
                <a:gd name="connsiteY585" fmla="*/ 417767 h 1164784"/>
                <a:gd name="connsiteX586" fmla="*/ 191546 w 1145699"/>
                <a:gd name="connsiteY586" fmla="*/ 419305 h 1164784"/>
                <a:gd name="connsiteX587" fmla="*/ 186185 w 1145699"/>
                <a:gd name="connsiteY587" fmla="*/ 418736 h 1164784"/>
                <a:gd name="connsiteX588" fmla="*/ 186214 w 1145699"/>
                <a:gd name="connsiteY588" fmla="*/ 418736 h 1164784"/>
                <a:gd name="connsiteX589" fmla="*/ 182893 w 1145699"/>
                <a:gd name="connsiteY589" fmla="*/ 418385 h 1164784"/>
                <a:gd name="connsiteX590" fmla="*/ 183770 w 1145699"/>
                <a:gd name="connsiteY590" fmla="*/ 421672 h 1164784"/>
                <a:gd name="connsiteX591" fmla="*/ 184489 w 1145699"/>
                <a:gd name="connsiteY591" fmla="*/ 422106 h 1164784"/>
                <a:gd name="connsiteX592" fmla="*/ 187444 w 1145699"/>
                <a:gd name="connsiteY592" fmla="*/ 428643 h 1164784"/>
                <a:gd name="connsiteX593" fmla="*/ 187150 w 1145699"/>
                <a:gd name="connsiteY593" fmla="*/ 430562 h 1164784"/>
                <a:gd name="connsiteX594" fmla="*/ 185274 w 1145699"/>
                <a:gd name="connsiteY594" fmla="*/ 431183 h 1164784"/>
                <a:gd name="connsiteX595" fmla="*/ 180121 w 1145699"/>
                <a:gd name="connsiteY595" fmla="*/ 429588 h 1164784"/>
                <a:gd name="connsiteX596" fmla="*/ 175994 w 1145699"/>
                <a:gd name="connsiteY596" fmla="*/ 432234 h 1164784"/>
                <a:gd name="connsiteX597" fmla="*/ 179480 w 1145699"/>
                <a:gd name="connsiteY597" fmla="*/ 436631 h 1164784"/>
                <a:gd name="connsiteX598" fmla="*/ 179774 w 1145699"/>
                <a:gd name="connsiteY598" fmla="*/ 437089 h 1164784"/>
                <a:gd name="connsiteX599" fmla="*/ 182151 w 1145699"/>
                <a:gd name="connsiteY599" fmla="*/ 443669 h 1164784"/>
                <a:gd name="connsiteX600" fmla="*/ 181871 w 1145699"/>
                <a:gd name="connsiteY600" fmla="*/ 445385 h 1164784"/>
                <a:gd name="connsiteX601" fmla="*/ 180362 w 1145699"/>
                <a:gd name="connsiteY601" fmla="*/ 446050 h 1164784"/>
                <a:gd name="connsiteX602" fmla="*/ 180835 w 1145699"/>
                <a:gd name="connsiteY602" fmla="*/ 446393 h 1164784"/>
                <a:gd name="connsiteX603" fmla="*/ 185877 w 1145699"/>
                <a:gd name="connsiteY603" fmla="*/ 444903 h 1164784"/>
                <a:gd name="connsiteX604" fmla="*/ 187733 w 1145699"/>
                <a:gd name="connsiteY604" fmla="*/ 445419 h 1164784"/>
                <a:gd name="connsiteX605" fmla="*/ 192920 w 1145699"/>
                <a:gd name="connsiteY605" fmla="*/ 451107 h 1164784"/>
                <a:gd name="connsiteX606" fmla="*/ 197500 w 1145699"/>
                <a:gd name="connsiteY606" fmla="*/ 449748 h 1164784"/>
                <a:gd name="connsiteX607" fmla="*/ 203193 w 1145699"/>
                <a:gd name="connsiteY607" fmla="*/ 445771 h 1164784"/>
                <a:gd name="connsiteX608" fmla="*/ 203665 w 1145699"/>
                <a:gd name="connsiteY608" fmla="*/ 445554 h 1164784"/>
                <a:gd name="connsiteX609" fmla="*/ 207242 w 1145699"/>
                <a:gd name="connsiteY609" fmla="*/ 444325 h 1164784"/>
                <a:gd name="connsiteX610" fmla="*/ 208134 w 1145699"/>
                <a:gd name="connsiteY610" fmla="*/ 444243 h 1164784"/>
                <a:gd name="connsiteX611" fmla="*/ 214502 w 1145699"/>
                <a:gd name="connsiteY611" fmla="*/ 445443 h 1164784"/>
                <a:gd name="connsiteX612" fmla="*/ 220297 w 1145699"/>
                <a:gd name="connsiteY612" fmla="*/ 445443 h 1164784"/>
                <a:gd name="connsiteX613" fmla="*/ 221247 w 1145699"/>
                <a:gd name="connsiteY613" fmla="*/ 445698 h 1164784"/>
                <a:gd name="connsiteX614" fmla="*/ 227195 w 1145699"/>
                <a:gd name="connsiteY614" fmla="*/ 449295 h 1164784"/>
                <a:gd name="connsiteX615" fmla="*/ 227393 w 1145699"/>
                <a:gd name="connsiteY615" fmla="*/ 449391 h 1164784"/>
                <a:gd name="connsiteX616" fmla="*/ 233371 w 1145699"/>
                <a:gd name="connsiteY616" fmla="*/ 454154 h 1164784"/>
                <a:gd name="connsiteX617" fmla="*/ 233703 w 1145699"/>
                <a:gd name="connsiteY617" fmla="*/ 454549 h 1164784"/>
                <a:gd name="connsiteX618" fmla="*/ 237651 w 1145699"/>
                <a:gd name="connsiteY618" fmla="*/ 460180 h 1164784"/>
                <a:gd name="connsiteX619" fmla="*/ 243267 w 1145699"/>
                <a:gd name="connsiteY619" fmla="*/ 463535 h 1164784"/>
                <a:gd name="connsiteX620" fmla="*/ 244039 w 1145699"/>
                <a:gd name="connsiteY620" fmla="*/ 465661 h 1164784"/>
                <a:gd name="connsiteX621" fmla="*/ 242144 w 1145699"/>
                <a:gd name="connsiteY621" fmla="*/ 466871 h 1164784"/>
                <a:gd name="connsiteX622" fmla="*/ 236784 w 1145699"/>
                <a:gd name="connsiteY622" fmla="*/ 466312 h 1164784"/>
                <a:gd name="connsiteX623" fmla="*/ 235815 w 1145699"/>
                <a:gd name="connsiteY623" fmla="*/ 465921 h 1164784"/>
                <a:gd name="connsiteX624" fmla="*/ 229273 w 1145699"/>
                <a:gd name="connsiteY624" fmla="*/ 460556 h 1164784"/>
                <a:gd name="connsiteX625" fmla="*/ 229206 w 1145699"/>
                <a:gd name="connsiteY625" fmla="*/ 460508 h 1164784"/>
                <a:gd name="connsiteX626" fmla="*/ 223377 w 1145699"/>
                <a:gd name="connsiteY626" fmla="*/ 455253 h 1164784"/>
                <a:gd name="connsiteX627" fmla="*/ 218089 w 1145699"/>
                <a:gd name="connsiteY627" fmla="*/ 452105 h 1164784"/>
                <a:gd name="connsiteX628" fmla="*/ 212767 w 1145699"/>
                <a:gd name="connsiteY628" fmla="*/ 452607 h 1164784"/>
                <a:gd name="connsiteX629" fmla="*/ 212603 w 1145699"/>
                <a:gd name="connsiteY629" fmla="*/ 452607 h 1164784"/>
                <a:gd name="connsiteX630" fmla="*/ 206953 w 1145699"/>
                <a:gd name="connsiteY630" fmla="*/ 452607 h 1164784"/>
                <a:gd name="connsiteX631" fmla="*/ 206066 w 1145699"/>
                <a:gd name="connsiteY631" fmla="*/ 453792 h 1164784"/>
                <a:gd name="connsiteX632" fmla="*/ 206066 w 1145699"/>
                <a:gd name="connsiteY632" fmla="*/ 459163 h 1164784"/>
                <a:gd name="connsiteX633" fmla="*/ 205907 w 1145699"/>
                <a:gd name="connsiteY633" fmla="*/ 459881 h 1164784"/>
                <a:gd name="connsiteX634" fmla="*/ 202928 w 1145699"/>
                <a:gd name="connsiteY634" fmla="*/ 466447 h 1164784"/>
                <a:gd name="connsiteX635" fmla="*/ 201795 w 1145699"/>
                <a:gd name="connsiteY635" fmla="*/ 467454 h 1164784"/>
                <a:gd name="connsiteX636" fmla="*/ 200233 w 1145699"/>
                <a:gd name="connsiteY636" fmla="*/ 467927 h 1164784"/>
                <a:gd name="connsiteX637" fmla="*/ 202036 w 1145699"/>
                <a:gd name="connsiteY637" fmla="*/ 468819 h 1164784"/>
                <a:gd name="connsiteX638" fmla="*/ 207898 w 1145699"/>
                <a:gd name="connsiteY638" fmla="*/ 471128 h 1164784"/>
                <a:gd name="connsiteX639" fmla="*/ 208448 w 1145699"/>
                <a:gd name="connsiteY639" fmla="*/ 471509 h 1164784"/>
                <a:gd name="connsiteX640" fmla="*/ 214980 w 1145699"/>
                <a:gd name="connsiteY640" fmla="*/ 477462 h 1164784"/>
                <a:gd name="connsiteX641" fmla="*/ 215548 w 1145699"/>
                <a:gd name="connsiteY641" fmla="*/ 478301 h 1164784"/>
                <a:gd name="connsiteX642" fmla="*/ 217289 w 1145699"/>
                <a:gd name="connsiteY642" fmla="*/ 484867 h 1164784"/>
                <a:gd name="connsiteX643" fmla="*/ 217105 w 1145699"/>
                <a:gd name="connsiteY643" fmla="*/ 486260 h 1164784"/>
                <a:gd name="connsiteX644" fmla="*/ 215987 w 1145699"/>
                <a:gd name="connsiteY644" fmla="*/ 487080 h 1164784"/>
                <a:gd name="connsiteX645" fmla="*/ 214247 w 1145699"/>
                <a:gd name="connsiteY645" fmla="*/ 487542 h 1164784"/>
                <a:gd name="connsiteX646" fmla="*/ 212974 w 1145699"/>
                <a:gd name="connsiteY646" fmla="*/ 489205 h 1164784"/>
                <a:gd name="connsiteX647" fmla="*/ 210694 w 1145699"/>
                <a:gd name="connsiteY647" fmla="*/ 494942 h 1164784"/>
                <a:gd name="connsiteX648" fmla="*/ 210149 w 1145699"/>
                <a:gd name="connsiteY648" fmla="*/ 495684 h 1164784"/>
                <a:gd name="connsiteX649" fmla="*/ 204422 w 1145699"/>
                <a:gd name="connsiteY649" fmla="*/ 500264 h 1164784"/>
                <a:gd name="connsiteX650" fmla="*/ 200773 w 1145699"/>
                <a:gd name="connsiteY650" fmla="*/ 506011 h 1164784"/>
                <a:gd name="connsiteX651" fmla="*/ 201216 w 1145699"/>
                <a:gd name="connsiteY651" fmla="*/ 510686 h 1164784"/>
                <a:gd name="connsiteX652" fmla="*/ 215187 w 1145699"/>
                <a:gd name="connsiteY652" fmla="*/ 528827 h 1164784"/>
                <a:gd name="connsiteX653" fmla="*/ 215650 w 1145699"/>
                <a:gd name="connsiteY653" fmla="*/ 529270 h 1164784"/>
                <a:gd name="connsiteX654" fmla="*/ 216050 w 1145699"/>
                <a:gd name="connsiteY654" fmla="*/ 529888 h 1164784"/>
                <a:gd name="connsiteX655" fmla="*/ 218412 w 1145699"/>
                <a:gd name="connsiteY655" fmla="*/ 535817 h 1164784"/>
                <a:gd name="connsiteX656" fmla="*/ 221372 w 1145699"/>
                <a:gd name="connsiteY656" fmla="*/ 542330 h 1164784"/>
                <a:gd name="connsiteX657" fmla="*/ 221497 w 1145699"/>
                <a:gd name="connsiteY657" fmla="*/ 542730 h 1164784"/>
                <a:gd name="connsiteX658" fmla="*/ 238360 w 1145699"/>
                <a:gd name="connsiteY658" fmla="*/ 569340 h 1164784"/>
                <a:gd name="connsiteX659" fmla="*/ 243880 w 1145699"/>
                <a:gd name="connsiteY659" fmla="*/ 570444 h 1164784"/>
                <a:gd name="connsiteX660" fmla="*/ 244786 w 1145699"/>
                <a:gd name="connsiteY660" fmla="*/ 570955 h 1164784"/>
                <a:gd name="connsiteX661" fmla="*/ 250764 w 1145699"/>
                <a:gd name="connsiteY661" fmla="*/ 576904 h 1164784"/>
                <a:gd name="connsiteX662" fmla="*/ 250952 w 1145699"/>
                <a:gd name="connsiteY662" fmla="*/ 577150 h 1164784"/>
                <a:gd name="connsiteX663" fmla="*/ 254635 w 1145699"/>
                <a:gd name="connsiteY663" fmla="*/ 582390 h 1164784"/>
                <a:gd name="connsiteX664" fmla="*/ 259759 w 1145699"/>
                <a:gd name="connsiteY664" fmla="*/ 582944 h 1164784"/>
                <a:gd name="connsiteX665" fmla="*/ 260791 w 1145699"/>
                <a:gd name="connsiteY665" fmla="*/ 583368 h 1164784"/>
                <a:gd name="connsiteX666" fmla="*/ 266754 w 1145699"/>
                <a:gd name="connsiteY666" fmla="*/ 588705 h 1164784"/>
                <a:gd name="connsiteX667" fmla="*/ 266961 w 1145699"/>
                <a:gd name="connsiteY667" fmla="*/ 588960 h 1164784"/>
                <a:gd name="connsiteX668" fmla="*/ 270182 w 1145699"/>
                <a:gd name="connsiteY668" fmla="*/ 592990 h 1164784"/>
                <a:gd name="connsiteX669" fmla="*/ 272963 w 1145699"/>
                <a:gd name="connsiteY669" fmla="*/ 589018 h 1164784"/>
                <a:gd name="connsiteX670" fmla="*/ 274993 w 1145699"/>
                <a:gd name="connsiteY670" fmla="*/ 588315 h 1164784"/>
                <a:gd name="connsiteX671" fmla="*/ 280922 w 1145699"/>
                <a:gd name="connsiteY671" fmla="*/ 590122 h 1164784"/>
                <a:gd name="connsiteX672" fmla="*/ 282228 w 1145699"/>
                <a:gd name="connsiteY672" fmla="*/ 591858 h 1164784"/>
                <a:gd name="connsiteX673" fmla="*/ 282228 w 1145699"/>
                <a:gd name="connsiteY673" fmla="*/ 594832 h 1164784"/>
                <a:gd name="connsiteX674" fmla="*/ 281905 w 1145699"/>
                <a:gd name="connsiteY674" fmla="*/ 595883 h 1164784"/>
                <a:gd name="connsiteX675" fmla="*/ 277740 w 1145699"/>
                <a:gd name="connsiteY675" fmla="*/ 601817 h 1164784"/>
                <a:gd name="connsiteX676" fmla="*/ 277577 w 1145699"/>
                <a:gd name="connsiteY676" fmla="*/ 602010 h 1164784"/>
                <a:gd name="connsiteX677" fmla="*/ 272544 w 1145699"/>
                <a:gd name="connsiteY677" fmla="*/ 607559 h 1164784"/>
                <a:gd name="connsiteX678" fmla="*/ 275426 w 1145699"/>
                <a:gd name="connsiteY678" fmla="*/ 612317 h 1164784"/>
                <a:gd name="connsiteX679" fmla="*/ 275614 w 1145699"/>
                <a:gd name="connsiteY679" fmla="*/ 612775 h 1164784"/>
                <a:gd name="connsiteX680" fmla="*/ 277379 w 1145699"/>
                <a:gd name="connsiteY680" fmla="*/ 618646 h 1164784"/>
                <a:gd name="connsiteX681" fmla="*/ 279741 w 1145699"/>
                <a:gd name="connsiteY681" fmla="*/ 625178 h 1164784"/>
                <a:gd name="connsiteX682" fmla="*/ 279780 w 1145699"/>
                <a:gd name="connsiteY682" fmla="*/ 625251 h 1164784"/>
                <a:gd name="connsiteX683" fmla="*/ 281563 w 1145699"/>
                <a:gd name="connsiteY683" fmla="*/ 631233 h 1164784"/>
                <a:gd name="connsiteX684" fmla="*/ 281447 w 1145699"/>
                <a:gd name="connsiteY684" fmla="*/ 632559 h 1164784"/>
                <a:gd name="connsiteX685" fmla="*/ 278680 w 1145699"/>
                <a:gd name="connsiteY685" fmla="*/ 638088 h 1164784"/>
                <a:gd name="connsiteX686" fmla="*/ 278680 w 1145699"/>
                <a:gd name="connsiteY686" fmla="*/ 643646 h 1164784"/>
                <a:gd name="connsiteX687" fmla="*/ 278131 w 1145699"/>
                <a:gd name="connsiteY687" fmla="*/ 644953 h 1164784"/>
                <a:gd name="connsiteX688" fmla="*/ 272510 w 1145699"/>
                <a:gd name="connsiteY688" fmla="*/ 650506 h 1164784"/>
                <a:gd name="connsiteX689" fmla="*/ 270991 w 1145699"/>
                <a:gd name="connsiteY689" fmla="*/ 656098 h 1164784"/>
                <a:gd name="connsiteX690" fmla="*/ 272577 w 1145699"/>
                <a:gd name="connsiteY690" fmla="*/ 661440 h 1164784"/>
                <a:gd name="connsiteX691" fmla="*/ 275537 w 1145699"/>
                <a:gd name="connsiteY691" fmla="*/ 667851 h 1164784"/>
                <a:gd name="connsiteX692" fmla="*/ 274790 w 1145699"/>
                <a:gd name="connsiteY692" fmla="*/ 670170 h 1164784"/>
                <a:gd name="connsiteX693" fmla="*/ 272380 w 1145699"/>
                <a:gd name="connsiteY693" fmla="*/ 669673 h 1164784"/>
                <a:gd name="connsiteX694" fmla="*/ 267834 w 1145699"/>
                <a:gd name="connsiteY694" fmla="*/ 663421 h 1164784"/>
                <a:gd name="connsiteX695" fmla="*/ 264541 w 1145699"/>
                <a:gd name="connsiteY695" fmla="*/ 661348 h 1164784"/>
                <a:gd name="connsiteX696" fmla="*/ 259981 w 1145699"/>
                <a:gd name="connsiteY696" fmla="*/ 665436 h 1164784"/>
                <a:gd name="connsiteX697" fmla="*/ 258554 w 1145699"/>
                <a:gd name="connsiteY697" fmla="*/ 670209 h 1164784"/>
                <a:gd name="connsiteX698" fmla="*/ 258573 w 1145699"/>
                <a:gd name="connsiteY698" fmla="*/ 670252 h 1164784"/>
                <a:gd name="connsiteX699" fmla="*/ 264604 w 1145699"/>
                <a:gd name="connsiteY699" fmla="*/ 673588 h 1164784"/>
                <a:gd name="connsiteX700" fmla="*/ 264681 w 1145699"/>
                <a:gd name="connsiteY700" fmla="*/ 673588 h 1164784"/>
                <a:gd name="connsiteX701" fmla="*/ 270640 w 1145699"/>
                <a:gd name="connsiteY701" fmla="*/ 677160 h 1164784"/>
                <a:gd name="connsiteX702" fmla="*/ 270982 w 1145699"/>
                <a:gd name="connsiteY702" fmla="*/ 677435 h 1164784"/>
                <a:gd name="connsiteX703" fmla="*/ 276926 w 1145699"/>
                <a:gd name="connsiteY703" fmla="*/ 683398 h 1164784"/>
                <a:gd name="connsiteX704" fmla="*/ 277297 w 1145699"/>
                <a:gd name="connsiteY704" fmla="*/ 683928 h 1164784"/>
                <a:gd name="connsiteX705" fmla="*/ 280088 w 1145699"/>
                <a:gd name="connsiteY705" fmla="*/ 690075 h 1164784"/>
                <a:gd name="connsiteX706" fmla="*/ 300051 w 1145699"/>
                <a:gd name="connsiteY706" fmla="*/ 721809 h 1164784"/>
                <a:gd name="connsiteX707" fmla="*/ 300065 w 1145699"/>
                <a:gd name="connsiteY707" fmla="*/ 722017 h 1164784"/>
                <a:gd name="connsiteX708" fmla="*/ 300658 w 1145699"/>
                <a:gd name="connsiteY708" fmla="*/ 728211 h 1164784"/>
                <a:gd name="connsiteX709" fmla="*/ 301077 w 1145699"/>
                <a:gd name="connsiteY709" fmla="*/ 729079 h 1164784"/>
                <a:gd name="connsiteX710" fmla="*/ 301241 w 1145699"/>
                <a:gd name="connsiteY710" fmla="*/ 729937 h 1164784"/>
                <a:gd name="connsiteX711" fmla="*/ 301241 w 1145699"/>
                <a:gd name="connsiteY711" fmla="*/ 736455 h 1164784"/>
                <a:gd name="connsiteX712" fmla="*/ 301241 w 1145699"/>
                <a:gd name="connsiteY712" fmla="*/ 736623 h 1164784"/>
                <a:gd name="connsiteX713" fmla="*/ 300697 w 1145699"/>
                <a:gd name="connsiteY713" fmla="*/ 742471 h 1164784"/>
                <a:gd name="connsiteX714" fmla="*/ 300697 w 1145699"/>
                <a:gd name="connsiteY714" fmla="*/ 754128 h 1164784"/>
                <a:gd name="connsiteX715" fmla="*/ 301748 w 1145699"/>
                <a:gd name="connsiteY715" fmla="*/ 760009 h 1164784"/>
                <a:gd name="connsiteX716" fmla="*/ 307354 w 1145699"/>
                <a:gd name="connsiteY716" fmla="*/ 766179 h 1164784"/>
                <a:gd name="connsiteX717" fmla="*/ 307740 w 1145699"/>
                <a:gd name="connsiteY717" fmla="*/ 766859 h 1164784"/>
                <a:gd name="connsiteX718" fmla="*/ 309528 w 1145699"/>
                <a:gd name="connsiteY718" fmla="*/ 772808 h 1164784"/>
                <a:gd name="connsiteX719" fmla="*/ 309552 w 1145699"/>
                <a:gd name="connsiteY719" fmla="*/ 772899 h 1164784"/>
                <a:gd name="connsiteX720" fmla="*/ 310145 w 1145699"/>
                <a:gd name="connsiteY720" fmla="*/ 775300 h 1164784"/>
                <a:gd name="connsiteX721" fmla="*/ 310160 w 1145699"/>
                <a:gd name="connsiteY721" fmla="*/ 776086 h 1164784"/>
                <a:gd name="connsiteX722" fmla="*/ 308998 w 1145699"/>
                <a:gd name="connsiteY722" fmla="*/ 781948 h 1164784"/>
                <a:gd name="connsiteX723" fmla="*/ 308405 w 1145699"/>
                <a:gd name="connsiteY723" fmla="*/ 788350 h 1164784"/>
                <a:gd name="connsiteX724" fmla="*/ 306732 w 1145699"/>
                <a:gd name="connsiteY724" fmla="*/ 790042 h 1164784"/>
                <a:gd name="connsiteX725" fmla="*/ 304809 w 1145699"/>
                <a:gd name="connsiteY725" fmla="*/ 788668 h 1164784"/>
                <a:gd name="connsiteX726" fmla="*/ 304225 w 1145699"/>
                <a:gd name="connsiteY726" fmla="*/ 786306 h 1164784"/>
                <a:gd name="connsiteX727" fmla="*/ 304167 w 1145699"/>
                <a:gd name="connsiteY727" fmla="*/ 785819 h 1164784"/>
                <a:gd name="connsiteX728" fmla="*/ 304167 w 1145699"/>
                <a:gd name="connsiteY728" fmla="*/ 779378 h 1164784"/>
                <a:gd name="connsiteX729" fmla="*/ 303657 w 1145699"/>
                <a:gd name="connsiteY729" fmla="*/ 774162 h 1164784"/>
                <a:gd name="connsiteX730" fmla="*/ 301748 w 1145699"/>
                <a:gd name="connsiteY730" fmla="*/ 772253 h 1164784"/>
                <a:gd name="connsiteX731" fmla="*/ 301584 w 1145699"/>
                <a:gd name="connsiteY731" fmla="*/ 772118 h 1164784"/>
                <a:gd name="connsiteX732" fmla="*/ 296830 w 1145699"/>
                <a:gd name="connsiteY732" fmla="*/ 766146 h 1164784"/>
                <a:gd name="connsiteX733" fmla="*/ 296594 w 1145699"/>
                <a:gd name="connsiteY733" fmla="*/ 765803 h 1164784"/>
                <a:gd name="connsiteX734" fmla="*/ 293639 w 1145699"/>
                <a:gd name="connsiteY734" fmla="*/ 759228 h 1164784"/>
                <a:gd name="connsiteX735" fmla="*/ 293490 w 1145699"/>
                <a:gd name="connsiteY735" fmla="*/ 758645 h 1164784"/>
                <a:gd name="connsiteX736" fmla="*/ 292882 w 1145699"/>
                <a:gd name="connsiteY736" fmla="*/ 752117 h 1164784"/>
                <a:gd name="connsiteX737" fmla="*/ 292863 w 1145699"/>
                <a:gd name="connsiteY737" fmla="*/ 751944 h 1164784"/>
                <a:gd name="connsiteX738" fmla="*/ 292863 w 1145699"/>
                <a:gd name="connsiteY738" fmla="*/ 745995 h 1164784"/>
                <a:gd name="connsiteX739" fmla="*/ 292882 w 1145699"/>
                <a:gd name="connsiteY739" fmla="*/ 745850 h 1164784"/>
                <a:gd name="connsiteX740" fmla="*/ 293451 w 1145699"/>
                <a:gd name="connsiteY740" fmla="*/ 739540 h 1164784"/>
                <a:gd name="connsiteX741" fmla="*/ 292309 w 1145699"/>
                <a:gd name="connsiteY741" fmla="*/ 733842 h 1164784"/>
                <a:gd name="connsiteX742" fmla="*/ 292309 w 1145699"/>
                <a:gd name="connsiteY742" fmla="*/ 733784 h 1164784"/>
                <a:gd name="connsiteX743" fmla="*/ 291171 w 1145699"/>
                <a:gd name="connsiteY743" fmla="*/ 727541 h 1164784"/>
                <a:gd name="connsiteX744" fmla="*/ 288385 w 1145699"/>
                <a:gd name="connsiteY744" fmla="*/ 721964 h 1164784"/>
                <a:gd name="connsiteX745" fmla="*/ 283169 w 1145699"/>
                <a:gd name="connsiteY745" fmla="*/ 715610 h 1164784"/>
                <a:gd name="connsiteX746" fmla="*/ 282981 w 1145699"/>
                <a:gd name="connsiteY746" fmla="*/ 715273 h 1164784"/>
                <a:gd name="connsiteX747" fmla="*/ 280218 w 1145699"/>
                <a:gd name="connsiteY747" fmla="*/ 709791 h 1164784"/>
                <a:gd name="connsiteX748" fmla="*/ 274713 w 1145699"/>
                <a:gd name="connsiteY748" fmla="*/ 706509 h 1164784"/>
                <a:gd name="connsiteX749" fmla="*/ 274183 w 1145699"/>
                <a:gd name="connsiteY749" fmla="*/ 706007 h 1164784"/>
                <a:gd name="connsiteX750" fmla="*/ 269420 w 1145699"/>
                <a:gd name="connsiteY750" fmla="*/ 699432 h 1164784"/>
                <a:gd name="connsiteX751" fmla="*/ 269082 w 1145699"/>
                <a:gd name="connsiteY751" fmla="*/ 698222 h 1164784"/>
                <a:gd name="connsiteX752" fmla="*/ 269309 w 1145699"/>
                <a:gd name="connsiteY752" fmla="*/ 695556 h 1164784"/>
                <a:gd name="connsiteX753" fmla="*/ 266884 w 1145699"/>
                <a:gd name="connsiteY753" fmla="*/ 697262 h 1164784"/>
                <a:gd name="connsiteX754" fmla="*/ 263669 w 1145699"/>
                <a:gd name="connsiteY754" fmla="*/ 702666 h 1164784"/>
                <a:gd name="connsiteX755" fmla="*/ 261962 w 1145699"/>
                <a:gd name="connsiteY755" fmla="*/ 708914 h 1164784"/>
                <a:gd name="connsiteX756" fmla="*/ 260786 w 1145699"/>
                <a:gd name="connsiteY756" fmla="*/ 714776 h 1164784"/>
                <a:gd name="connsiteX757" fmla="*/ 259576 w 1145699"/>
                <a:gd name="connsiteY757" fmla="*/ 721337 h 1164784"/>
                <a:gd name="connsiteX758" fmla="*/ 258395 w 1145699"/>
                <a:gd name="connsiteY758" fmla="*/ 727859 h 1164784"/>
                <a:gd name="connsiteX759" fmla="*/ 258351 w 1145699"/>
                <a:gd name="connsiteY759" fmla="*/ 728062 h 1164784"/>
                <a:gd name="connsiteX760" fmla="*/ 256568 w 1145699"/>
                <a:gd name="connsiteY760" fmla="*/ 734025 h 1164784"/>
                <a:gd name="connsiteX761" fmla="*/ 247702 w 1145699"/>
                <a:gd name="connsiteY761" fmla="*/ 764781 h 1164784"/>
                <a:gd name="connsiteX762" fmla="*/ 238346 w 1145699"/>
                <a:gd name="connsiteY762" fmla="*/ 801318 h 1164784"/>
                <a:gd name="connsiteX763" fmla="*/ 242173 w 1145699"/>
                <a:gd name="connsiteY763" fmla="*/ 797133 h 1164784"/>
                <a:gd name="connsiteX764" fmla="*/ 243523 w 1145699"/>
                <a:gd name="connsiteY764" fmla="*/ 796535 h 1164784"/>
                <a:gd name="connsiteX765" fmla="*/ 249477 w 1145699"/>
                <a:gd name="connsiteY765" fmla="*/ 796535 h 1164784"/>
                <a:gd name="connsiteX766" fmla="*/ 250937 w 1145699"/>
                <a:gd name="connsiteY766" fmla="*/ 797282 h 1164784"/>
                <a:gd name="connsiteX767" fmla="*/ 255700 w 1145699"/>
                <a:gd name="connsiteY767" fmla="*/ 803829 h 1164784"/>
                <a:gd name="connsiteX768" fmla="*/ 256028 w 1145699"/>
                <a:gd name="connsiteY768" fmla="*/ 804533 h 1164784"/>
                <a:gd name="connsiteX769" fmla="*/ 257219 w 1145699"/>
                <a:gd name="connsiteY769" fmla="*/ 810506 h 1164784"/>
                <a:gd name="connsiteX770" fmla="*/ 256925 w 1145699"/>
                <a:gd name="connsiteY770" fmla="*/ 811889 h 1164784"/>
                <a:gd name="connsiteX771" fmla="*/ 255739 w 1145699"/>
                <a:gd name="connsiteY771" fmla="*/ 812641 h 1164784"/>
                <a:gd name="connsiteX772" fmla="*/ 249192 w 1145699"/>
                <a:gd name="connsiteY772" fmla="*/ 813832 h 1164784"/>
                <a:gd name="connsiteX773" fmla="*/ 248117 w 1145699"/>
                <a:gd name="connsiteY773" fmla="*/ 813687 h 1164784"/>
                <a:gd name="connsiteX774" fmla="*/ 243060 w 1145699"/>
                <a:gd name="connsiteY774" fmla="*/ 811393 h 1164784"/>
                <a:gd name="connsiteX775" fmla="*/ 240341 w 1145699"/>
                <a:gd name="connsiteY775" fmla="*/ 815905 h 1164784"/>
                <a:gd name="connsiteX776" fmla="*/ 236784 w 1145699"/>
                <a:gd name="connsiteY776" fmla="*/ 822451 h 1164784"/>
                <a:gd name="connsiteX777" fmla="*/ 236697 w 1145699"/>
                <a:gd name="connsiteY777" fmla="*/ 822606 h 1164784"/>
                <a:gd name="connsiteX778" fmla="*/ 232893 w 1145699"/>
                <a:gd name="connsiteY778" fmla="*/ 828010 h 1164784"/>
                <a:gd name="connsiteX779" fmla="*/ 233424 w 1145699"/>
                <a:gd name="connsiteY779" fmla="*/ 833284 h 1164784"/>
                <a:gd name="connsiteX780" fmla="*/ 233318 w 1145699"/>
                <a:gd name="connsiteY780" fmla="*/ 834142 h 1164784"/>
                <a:gd name="connsiteX781" fmla="*/ 226805 w 1145699"/>
                <a:gd name="connsiteY781" fmla="*/ 856042 h 1164784"/>
                <a:gd name="connsiteX782" fmla="*/ 210747 w 1145699"/>
                <a:gd name="connsiteY782" fmla="*/ 905387 h 1164784"/>
                <a:gd name="connsiteX783" fmla="*/ 193797 w 1145699"/>
                <a:gd name="connsiteY783" fmla="*/ 948807 h 1164784"/>
                <a:gd name="connsiteX784" fmla="*/ 189382 w 1145699"/>
                <a:gd name="connsiteY784" fmla="*/ 954886 h 1164784"/>
                <a:gd name="connsiteX785" fmla="*/ 189382 w 1145699"/>
                <a:gd name="connsiteY785" fmla="*/ 954886 h 1164784"/>
                <a:gd name="connsiteX786" fmla="*/ 188924 w 1145699"/>
                <a:gd name="connsiteY786" fmla="*/ 956115 h 1164784"/>
                <a:gd name="connsiteX787" fmla="*/ 183052 w 1145699"/>
                <a:gd name="connsiteY787" fmla="*/ 962565 h 1164784"/>
                <a:gd name="connsiteX788" fmla="*/ 178342 w 1145699"/>
                <a:gd name="connsiteY788" fmla="*/ 969020 h 1164784"/>
                <a:gd name="connsiteX789" fmla="*/ 177831 w 1145699"/>
                <a:gd name="connsiteY789" fmla="*/ 969497 h 1164784"/>
                <a:gd name="connsiteX790" fmla="*/ 171285 w 1145699"/>
                <a:gd name="connsiteY790" fmla="*/ 973667 h 1164784"/>
                <a:gd name="connsiteX791" fmla="*/ 170316 w 1145699"/>
                <a:gd name="connsiteY791" fmla="*/ 973976 h 1164784"/>
                <a:gd name="connsiteX792" fmla="*/ 164656 w 1145699"/>
                <a:gd name="connsiteY792" fmla="*/ 973976 h 1164784"/>
                <a:gd name="connsiteX793" fmla="*/ 158929 w 1145699"/>
                <a:gd name="connsiteY793" fmla="*/ 975629 h 1164784"/>
                <a:gd name="connsiteX794" fmla="*/ 158370 w 1145699"/>
                <a:gd name="connsiteY794" fmla="*/ 975523 h 1164784"/>
                <a:gd name="connsiteX795" fmla="*/ 161262 w 1145699"/>
                <a:gd name="connsiteY795" fmla="*/ 981250 h 1164784"/>
                <a:gd name="connsiteX796" fmla="*/ 166020 w 1145699"/>
                <a:gd name="connsiteY796" fmla="*/ 982812 h 1164784"/>
                <a:gd name="connsiteX797" fmla="*/ 169646 w 1145699"/>
                <a:gd name="connsiteY797" fmla="*/ 984234 h 1164784"/>
                <a:gd name="connsiteX798" fmla="*/ 173907 w 1145699"/>
                <a:gd name="connsiteY798" fmla="*/ 988978 h 1164784"/>
                <a:gd name="connsiteX799" fmla="*/ 183732 w 1145699"/>
                <a:gd name="connsiteY799" fmla="*/ 988216 h 1164784"/>
                <a:gd name="connsiteX800" fmla="*/ 190433 w 1145699"/>
                <a:gd name="connsiteY800" fmla="*/ 990940 h 1164784"/>
                <a:gd name="connsiteX801" fmla="*/ 193392 w 1145699"/>
                <a:gd name="connsiteY801" fmla="*/ 997404 h 1164784"/>
                <a:gd name="connsiteX802" fmla="*/ 189676 w 1145699"/>
                <a:gd name="connsiteY802" fmla="*/ 1009529 h 1164784"/>
                <a:gd name="connsiteX803" fmla="*/ 183346 w 1145699"/>
                <a:gd name="connsiteY803" fmla="*/ 1013679 h 1164784"/>
                <a:gd name="connsiteX804" fmla="*/ 184233 w 1145699"/>
                <a:gd name="connsiteY804" fmla="*/ 1020110 h 1164784"/>
                <a:gd name="connsiteX805" fmla="*/ 190948 w 1145699"/>
                <a:gd name="connsiteY805" fmla="*/ 1023518 h 1164784"/>
                <a:gd name="connsiteX806" fmla="*/ 194197 w 1145699"/>
                <a:gd name="connsiteY806" fmla="*/ 1017160 h 1164784"/>
                <a:gd name="connsiteX807" fmla="*/ 198830 w 1145699"/>
                <a:gd name="connsiteY807" fmla="*/ 1014446 h 1164784"/>
                <a:gd name="connsiteX808" fmla="*/ 202441 w 1145699"/>
                <a:gd name="connsiteY808" fmla="*/ 1015844 h 1164784"/>
                <a:gd name="connsiteX809" fmla="*/ 200893 w 1145699"/>
                <a:gd name="connsiteY809" fmla="*/ 1020655 h 1164784"/>
                <a:gd name="connsiteX810" fmla="*/ 225441 w 1145699"/>
                <a:gd name="connsiteY810" fmla="*/ 1033801 h 1164784"/>
                <a:gd name="connsiteX811" fmla="*/ 231645 w 1145699"/>
                <a:gd name="connsiteY811" fmla="*/ 1040347 h 1164784"/>
                <a:gd name="connsiteX812" fmla="*/ 243793 w 1145699"/>
                <a:gd name="connsiteY812" fmla="*/ 1043090 h 1164784"/>
                <a:gd name="connsiteX813" fmla="*/ 249988 w 1145699"/>
                <a:gd name="connsiteY813" fmla="*/ 1041572 h 1164784"/>
                <a:gd name="connsiteX814" fmla="*/ 254114 w 1145699"/>
                <a:gd name="connsiteY814" fmla="*/ 1050847 h 1164784"/>
                <a:gd name="connsiteX815" fmla="*/ 263399 w 1145699"/>
                <a:gd name="connsiteY815" fmla="*/ 1061689 h 1164784"/>
                <a:gd name="connsiteX816" fmla="*/ 268056 w 1145699"/>
                <a:gd name="connsiteY816" fmla="*/ 1069084 h 1164784"/>
                <a:gd name="connsiteX817" fmla="*/ 272206 w 1145699"/>
                <a:gd name="connsiteY817" fmla="*/ 1065449 h 1164784"/>
                <a:gd name="connsiteX818" fmla="*/ 283434 w 1145699"/>
                <a:gd name="connsiteY818" fmla="*/ 1068679 h 1164784"/>
                <a:gd name="connsiteX819" fmla="*/ 290809 w 1145699"/>
                <a:gd name="connsiteY819" fmla="*/ 1064412 h 1164784"/>
                <a:gd name="connsiteX820" fmla="*/ 309523 w 1145699"/>
                <a:gd name="connsiteY820" fmla="*/ 1080668 h 1164784"/>
                <a:gd name="connsiteX821" fmla="*/ 319845 w 1145699"/>
                <a:gd name="connsiteY821" fmla="*/ 1089471 h 1164784"/>
                <a:gd name="connsiteX822" fmla="*/ 331843 w 1145699"/>
                <a:gd name="connsiteY822" fmla="*/ 1087634 h 1164784"/>
                <a:gd name="connsiteX823" fmla="*/ 337792 w 1145699"/>
                <a:gd name="connsiteY823" fmla="*/ 1084799 h 1164784"/>
                <a:gd name="connsiteX824" fmla="*/ 344893 w 1145699"/>
                <a:gd name="connsiteY824" fmla="*/ 1088198 h 1164784"/>
                <a:gd name="connsiteX825" fmla="*/ 348267 w 1145699"/>
                <a:gd name="connsiteY825" fmla="*/ 1094248 h 1164784"/>
                <a:gd name="connsiteX826" fmla="*/ 354708 w 1145699"/>
                <a:gd name="connsiteY826" fmla="*/ 1088926 h 1164784"/>
                <a:gd name="connsiteX827" fmla="*/ 360391 w 1145699"/>
                <a:gd name="connsiteY827" fmla="*/ 1093857 h 1164784"/>
                <a:gd name="connsiteX828" fmla="*/ 369045 w 1145699"/>
                <a:gd name="connsiteY828" fmla="*/ 1093351 h 1164784"/>
                <a:gd name="connsiteX829" fmla="*/ 384678 w 1145699"/>
                <a:gd name="connsiteY829" fmla="*/ 1097468 h 1164784"/>
                <a:gd name="connsiteX830" fmla="*/ 386481 w 1145699"/>
                <a:gd name="connsiteY830" fmla="*/ 1090126 h 1164784"/>
                <a:gd name="connsiteX831" fmla="*/ 385073 w 1145699"/>
                <a:gd name="connsiteY831" fmla="*/ 1083517 h 1164784"/>
                <a:gd name="connsiteX832" fmla="*/ 386992 w 1145699"/>
                <a:gd name="connsiteY832" fmla="*/ 1077708 h 1164784"/>
                <a:gd name="connsiteX833" fmla="*/ 393707 w 1145699"/>
                <a:gd name="connsiteY833" fmla="*/ 1075384 h 1164784"/>
                <a:gd name="connsiteX834" fmla="*/ 403382 w 1145699"/>
                <a:gd name="connsiteY834" fmla="*/ 1079926 h 1164784"/>
                <a:gd name="connsiteX835" fmla="*/ 410483 w 1145699"/>
                <a:gd name="connsiteY835" fmla="*/ 1083917 h 1164784"/>
                <a:gd name="connsiteX836" fmla="*/ 416442 w 1145699"/>
                <a:gd name="connsiteY836" fmla="*/ 1084698 h 1164784"/>
                <a:gd name="connsiteX837" fmla="*/ 429086 w 1145699"/>
                <a:gd name="connsiteY837" fmla="*/ 1090888 h 1164784"/>
                <a:gd name="connsiteX838" fmla="*/ 432312 w 1145699"/>
                <a:gd name="connsiteY838" fmla="*/ 1097347 h 1164784"/>
                <a:gd name="connsiteX839" fmla="*/ 451175 w 1145699"/>
                <a:gd name="connsiteY839" fmla="*/ 1100592 h 1164784"/>
                <a:gd name="connsiteX840" fmla="*/ 456213 w 1145699"/>
                <a:gd name="connsiteY840" fmla="*/ 1108194 h 1164784"/>
                <a:gd name="connsiteX841" fmla="*/ 460855 w 1145699"/>
                <a:gd name="connsiteY841" fmla="*/ 1117999 h 1164784"/>
                <a:gd name="connsiteX842" fmla="*/ 487340 w 1145699"/>
                <a:gd name="connsiteY842" fmla="*/ 1134949 h 1164784"/>
                <a:gd name="connsiteX843" fmla="*/ 494571 w 1145699"/>
                <a:gd name="connsiteY843" fmla="*/ 1137273 h 1164784"/>
                <a:gd name="connsiteX844" fmla="*/ 507086 w 1145699"/>
                <a:gd name="connsiteY844" fmla="*/ 1145762 h 1164784"/>
                <a:gd name="connsiteX845" fmla="*/ 507997 w 1145699"/>
                <a:gd name="connsiteY845" fmla="*/ 1152492 h 1164784"/>
                <a:gd name="connsiteX846" fmla="*/ 514577 w 1145699"/>
                <a:gd name="connsiteY846" fmla="*/ 1157134 h 1164784"/>
                <a:gd name="connsiteX847" fmla="*/ 520381 w 1145699"/>
                <a:gd name="connsiteY847" fmla="*/ 1155856 h 1164784"/>
                <a:gd name="connsiteX848" fmla="*/ 525048 w 1145699"/>
                <a:gd name="connsiteY848" fmla="*/ 1149402 h 1164784"/>
                <a:gd name="connsiteX849" fmla="*/ 531507 w 1145699"/>
                <a:gd name="connsiteY849" fmla="*/ 1150052 h 1164784"/>
                <a:gd name="connsiteX850" fmla="*/ 537446 w 1145699"/>
                <a:gd name="connsiteY850" fmla="*/ 1148384 h 1164784"/>
                <a:gd name="connsiteX851" fmla="*/ 563652 w 1145699"/>
                <a:gd name="connsiteY851" fmla="*/ 1164784 h 1164784"/>
                <a:gd name="connsiteX852" fmla="*/ 569220 w 1145699"/>
                <a:gd name="connsiteY852" fmla="*/ 1162432 h 1164784"/>
                <a:gd name="connsiteX853" fmla="*/ 575414 w 1145699"/>
                <a:gd name="connsiteY853" fmla="*/ 1163849 h 1164784"/>
                <a:gd name="connsiteX854" fmla="*/ 578649 w 1145699"/>
                <a:gd name="connsiteY854" fmla="*/ 1157664 h 1164784"/>
                <a:gd name="connsiteX855" fmla="*/ 585374 w 1145699"/>
                <a:gd name="connsiteY855" fmla="*/ 1154179 h 1164784"/>
                <a:gd name="connsiteX856" fmla="*/ 591954 w 1145699"/>
                <a:gd name="connsiteY856" fmla="*/ 1155977 h 1164784"/>
                <a:gd name="connsiteX857" fmla="*/ 599826 w 1145699"/>
                <a:gd name="connsiteY857" fmla="*/ 1150308 h 1164784"/>
                <a:gd name="connsiteX858" fmla="*/ 606151 w 1145699"/>
                <a:gd name="connsiteY858" fmla="*/ 1148625 h 1164784"/>
                <a:gd name="connsiteX859" fmla="*/ 612220 w 1145699"/>
                <a:gd name="connsiteY859" fmla="*/ 1149397 h 1164784"/>
                <a:gd name="connsiteX860" fmla="*/ 618285 w 1145699"/>
                <a:gd name="connsiteY860" fmla="*/ 1154174 h 1164784"/>
                <a:gd name="connsiteX861" fmla="*/ 624745 w 1145699"/>
                <a:gd name="connsiteY861" fmla="*/ 1156387 h 1164784"/>
                <a:gd name="connsiteX862" fmla="*/ 626461 w 1145699"/>
                <a:gd name="connsiteY862" fmla="*/ 1156329 h 1164784"/>
                <a:gd name="connsiteX863" fmla="*/ 626673 w 1145699"/>
                <a:gd name="connsiteY863" fmla="*/ 1155919 h 1164784"/>
                <a:gd name="connsiteX864" fmla="*/ 626933 w 1145699"/>
                <a:gd name="connsiteY864" fmla="*/ 1155688 h 1164784"/>
                <a:gd name="connsiteX865" fmla="*/ 624542 w 1145699"/>
                <a:gd name="connsiteY865" fmla="*/ 1150852 h 1164784"/>
                <a:gd name="connsiteX866" fmla="*/ 624422 w 1145699"/>
                <a:gd name="connsiteY866" fmla="*/ 1150587 h 1164784"/>
                <a:gd name="connsiteX867" fmla="*/ 622855 w 1145699"/>
                <a:gd name="connsiteY867" fmla="*/ 1145323 h 1164784"/>
                <a:gd name="connsiteX868" fmla="*/ 616964 w 1145699"/>
                <a:gd name="connsiteY868" fmla="*/ 1142146 h 1164784"/>
                <a:gd name="connsiteX869" fmla="*/ 616034 w 1145699"/>
                <a:gd name="connsiteY869" fmla="*/ 1140555 h 1164784"/>
                <a:gd name="connsiteX870" fmla="*/ 616034 w 1145699"/>
                <a:gd name="connsiteY870" fmla="*/ 1133980 h 1164784"/>
                <a:gd name="connsiteX871" fmla="*/ 616034 w 1145699"/>
                <a:gd name="connsiteY871" fmla="*/ 1133802 h 1164784"/>
                <a:gd name="connsiteX872" fmla="*/ 616617 w 1145699"/>
                <a:gd name="connsiteY872" fmla="*/ 1127877 h 1164784"/>
                <a:gd name="connsiteX873" fmla="*/ 617205 w 1145699"/>
                <a:gd name="connsiteY873" fmla="*/ 1122006 h 1164784"/>
                <a:gd name="connsiteX874" fmla="*/ 617205 w 1145699"/>
                <a:gd name="connsiteY874" fmla="*/ 1115488 h 1164784"/>
                <a:gd name="connsiteX875" fmla="*/ 617219 w 1145699"/>
                <a:gd name="connsiteY875" fmla="*/ 1115358 h 1164784"/>
                <a:gd name="connsiteX876" fmla="*/ 617827 w 1145699"/>
                <a:gd name="connsiteY876" fmla="*/ 1109428 h 1164784"/>
                <a:gd name="connsiteX877" fmla="*/ 618232 w 1145699"/>
                <a:gd name="connsiteY877" fmla="*/ 1104709 h 1164784"/>
                <a:gd name="connsiteX878" fmla="*/ 613561 w 1145699"/>
                <a:gd name="connsiteY878" fmla="*/ 1105977 h 1164784"/>
                <a:gd name="connsiteX879" fmla="*/ 611806 w 1145699"/>
                <a:gd name="connsiteY879" fmla="*/ 1105514 h 1164784"/>
                <a:gd name="connsiteX880" fmla="*/ 611319 w 1145699"/>
                <a:gd name="connsiteY880" fmla="*/ 1103783 h 1164784"/>
                <a:gd name="connsiteX881" fmla="*/ 613103 w 1145699"/>
                <a:gd name="connsiteY881" fmla="*/ 1097208 h 1164784"/>
                <a:gd name="connsiteX882" fmla="*/ 613266 w 1145699"/>
                <a:gd name="connsiteY882" fmla="*/ 1096783 h 1164784"/>
                <a:gd name="connsiteX883" fmla="*/ 615658 w 1145699"/>
                <a:gd name="connsiteY883" fmla="*/ 1092604 h 1164784"/>
                <a:gd name="connsiteX884" fmla="*/ 615725 w 1145699"/>
                <a:gd name="connsiteY884" fmla="*/ 1092503 h 1164784"/>
                <a:gd name="connsiteX885" fmla="*/ 616916 w 1145699"/>
                <a:gd name="connsiteY885" fmla="*/ 1090729 h 1164784"/>
                <a:gd name="connsiteX886" fmla="*/ 618367 w 1145699"/>
                <a:gd name="connsiteY886" fmla="*/ 1090015 h 1164784"/>
                <a:gd name="connsiteX887" fmla="*/ 617480 w 1145699"/>
                <a:gd name="connsiteY887" fmla="*/ 1088530 h 1164784"/>
                <a:gd name="connsiteX888" fmla="*/ 617306 w 1145699"/>
                <a:gd name="connsiteY888" fmla="*/ 1087002 h 1164784"/>
                <a:gd name="connsiteX889" fmla="*/ 617899 w 1145699"/>
                <a:gd name="connsiteY889" fmla="*/ 1085243 h 1164784"/>
                <a:gd name="connsiteX890" fmla="*/ 619206 w 1145699"/>
                <a:gd name="connsiteY890" fmla="*/ 1084013 h 1164784"/>
                <a:gd name="connsiteX891" fmla="*/ 620420 w 1145699"/>
                <a:gd name="connsiteY891" fmla="*/ 1084375 h 1164784"/>
                <a:gd name="connsiteX892" fmla="*/ 621452 w 1145699"/>
                <a:gd name="connsiteY892" fmla="*/ 1080538 h 1164784"/>
                <a:gd name="connsiteX893" fmla="*/ 621563 w 1145699"/>
                <a:gd name="connsiteY893" fmla="*/ 1080205 h 1164784"/>
                <a:gd name="connsiteX894" fmla="*/ 624065 w 1145699"/>
                <a:gd name="connsiteY894" fmla="*/ 1075240 h 1164784"/>
                <a:gd name="connsiteX895" fmla="*/ 620512 w 1145699"/>
                <a:gd name="connsiteY895" fmla="*/ 1070188 h 1164784"/>
                <a:gd name="connsiteX896" fmla="*/ 620454 w 1145699"/>
                <a:gd name="connsiteY896" fmla="*/ 1068144 h 1164784"/>
                <a:gd name="connsiteX897" fmla="*/ 622334 w 1145699"/>
                <a:gd name="connsiteY897" fmla="*/ 1067334 h 1164784"/>
                <a:gd name="connsiteX898" fmla="*/ 627637 w 1145699"/>
                <a:gd name="connsiteY898" fmla="*/ 1068341 h 1164784"/>
                <a:gd name="connsiteX899" fmla="*/ 654450 w 1145699"/>
                <a:gd name="connsiteY899" fmla="*/ 1044305 h 1164784"/>
                <a:gd name="connsiteX900" fmla="*/ 654850 w 1145699"/>
                <a:gd name="connsiteY900" fmla="*/ 1044194 h 1164784"/>
                <a:gd name="connsiteX901" fmla="*/ 661382 w 1145699"/>
                <a:gd name="connsiteY901" fmla="*/ 1042372 h 1164784"/>
                <a:gd name="connsiteX902" fmla="*/ 662380 w 1145699"/>
                <a:gd name="connsiteY902" fmla="*/ 1042396 h 1164784"/>
                <a:gd name="connsiteX903" fmla="*/ 667630 w 1145699"/>
                <a:gd name="connsiteY903" fmla="*/ 1043973 h 1164784"/>
                <a:gd name="connsiteX904" fmla="*/ 672725 w 1145699"/>
                <a:gd name="connsiteY904" fmla="*/ 1041403 h 1164784"/>
                <a:gd name="connsiteX905" fmla="*/ 678500 w 1145699"/>
                <a:gd name="connsiteY905" fmla="*/ 1036221 h 1164784"/>
                <a:gd name="connsiteX906" fmla="*/ 678568 w 1145699"/>
                <a:gd name="connsiteY906" fmla="*/ 1036206 h 1164784"/>
                <a:gd name="connsiteX907" fmla="*/ 685124 w 1145699"/>
                <a:gd name="connsiteY907" fmla="*/ 1030836 h 1164784"/>
                <a:gd name="connsiteX908" fmla="*/ 685799 w 1145699"/>
                <a:gd name="connsiteY908" fmla="*/ 1030484 h 1164784"/>
                <a:gd name="connsiteX909" fmla="*/ 692143 w 1145699"/>
                <a:gd name="connsiteY909" fmla="*/ 1028744 h 1164784"/>
                <a:gd name="connsiteX910" fmla="*/ 697841 w 1145699"/>
                <a:gd name="connsiteY910" fmla="*/ 1025914 h 1164784"/>
                <a:gd name="connsiteX911" fmla="*/ 703679 w 1145699"/>
                <a:gd name="connsiteY911" fmla="*/ 1021831 h 1164784"/>
                <a:gd name="connsiteX912" fmla="*/ 709628 w 1145699"/>
                <a:gd name="connsiteY912" fmla="*/ 1017666 h 1164784"/>
                <a:gd name="connsiteX913" fmla="*/ 709685 w 1145699"/>
                <a:gd name="connsiteY913" fmla="*/ 1017627 h 1164784"/>
                <a:gd name="connsiteX914" fmla="*/ 716227 w 1145699"/>
                <a:gd name="connsiteY914" fmla="*/ 1013438 h 1164784"/>
                <a:gd name="connsiteX915" fmla="*/ 716695 w 1145699"/>
                <a:gd name="connsiteY915" fmla="*/ 1013231 h 1164784"/>
                <a:gd name="connsiteX916" fmla="*/ 722663 w 1145699"/>
                <a:gd name="connsiteY916" fmla="*/ 1011452 h 1164784"/>
                <a:gd name="connsiteX917" fmla="*/ 723155 w 1145699"/>
                <a:gd name="connsiteY917" fmla="*/ 1011370 h 1164784"/>
                <a:gd name="connsiteX918" fmla="*/ 729716 w 1145699"/>
                <a:gd name="connsiteY918" fmla="*/ 1011370 h 1164784"/>
                <a:gd name="connsiteX919" fmla="*/ 730058 w 1145699"/>
                <a:gd name="connsiteY919" fmla="*/ 1011394 h 1164784"/>
                <a:gd name="connsiteX920" fmla="*/ 733061 w 1145699"/>
                <a:gd name="connsiteY920" fmla="*/ 1012030 h 1164784"/>
                <a:gd name="connsiteX921" fmla="*/ 734474 w 1145699"/>
                <a:gd name="connsiteY921" fmla="*/ 1013438 h 1164784"/>
                <a:gd name="connsiteX922" fmla="*/ 735578 w 1145699"/>
                <a:gd name="connsiteY922" fmla="*/ 1019001 h 1164784"/>
                <a:gd name="connsiteX923" fmla="*/ 739290 w 1145699"/>
                <a:gd name="connsiteY923" fmla="*/ 1024073 h 1164784"/>
                <a:gd name="connsiteX924" fmla="*/ 743754 w 1145699"/>
                <a:gd name="connsiteY924" fmla="*/ 1022323 h 1164784"/>
                <a:gd name="connsiteX925" fmla="*/ 745373 w 1145699"/>
                <a:gd name="connsiteY925" fmla="*/ 1021214 h 1164784"/>
                <a:gd name="connsiteX926" fmla="*/ 746202 w 1145699"/>
                <a:gd name="connsiteY926" fmla="*/ 1020901 h 1164784"/>
                <a:gd name="connsiteX927" fmla="*/ 752151 w 1145699"/>
                <a:gd name="connsiteY927" fmla="*/ 1020332 h 1164784"/>
                <a:gd name="connsiteX928" fmla="*/ 754118 w 1145699"/>
                <a:gd name="connsiteY928" fmla="*/ 1021754 h 1164784"/>
                <a:gd name="connsiteX929" fmla="*/ 755044 w 1145699"/>
                <a:gd name="connsiteY929" fmla="*/ 1026401 h 1164784"/>
                <a:gd name="connsiteX930" fmla="*/ 760250 w 1145699"/>
                <a:gd name="connsiteY930" fmla="*/ 1026854 h 1164784"/>
                <a:gd name="connsiteX931" fmla="*/ 760428 w 1145699"/>
                <a:gd name="connsiteY931" fmla="*/ 1026883 h 1164784"/>
                <a:gd name="connsiteX932" fmla="*/ 763138 w 1145699"/>
                <a:gd name="connsiteY932" fmla="*/ 1027447 h 1164784"/>
                <a:gd name="connsiteX933" fmla="*/ 768807 w 1145699"/>
                <a:gd name="connsiteY933" fmla="*/ 1026883 h 1164784"/>
                <a:gd name="connsiteX934" fmla="*/ 769453 w 1145699"/>
                <a:gd name="connsiteY934" fmla="*/ 1026931 h 1164784"/>
                <a:gd name="connsiteX935" fmla="*/ 776028 w 1145699"/>
                <a:gd name="connsiteY935" fmla="*/ 1028715 h 1164784"/>
                <a:gd name="connsiteX936" fmla="*/ 777224 w 1145699"/>
                <a:gd name="connsiteY936" fmla="*/ 1029800 h 1164784"/>
                <a:gd name="connsiteX937" fmla="*/ 779615 w 1145699"/>
                <a:gd name="connsiteY937" fmla="*/ 1035739 h 1164784"/>
                <a:gd name="connsiteX938" fmla="*/ 779716 w 1145699"/>
                <a:gd name="connsiteY938" fmla="*/ 1036115 h 1164784"/>
                <a:gd name="connsiteX939" fmla="*/ 780661 w 1145699"/>
                <a:gd name="connsiteY939" fmla="*/ 1041307 h 1164784"/>
                <a:gd name="connsiteX940" fmla="*/ 785240 w 1145699"/>
                <a:gd name="connsiteY940" fmla="*/ 1041707 h 1164784"/>
                <a:gd name="connsiteX941" fmla="*/ 791247 w 1145699"/>
                <a:gd name="connsiteY941" fmla="*/ 1042295 h 1164784"/>
                <a:gd name="connsiteX942" fmla="*/ 795157 w 1145699"/>
                <a:gd name="connsiteY942" fmla="*/ 1040135 h 1164784"/>
                <a:gd name="connsiteX943" fmla="*/ 790317 w 1145699"/>
                <a:gd name="connsiteY943" fmla="*/ 1035295 h 1164784"/>
                <a:gd name="connsiteX944" fmla="*/ 789825 w 1145699"/>
                <a:gd name="connsiteY944" fmla="*/ 1033700 h 1164784"/>
                <a:gd name="connsiteX945" fmla="*/ 790967 w 1145699"/>
                <a:gd name="connsiteY945" fmla="*/ 1027929 h 1164784"/>
                <a:gd name="connsiteX946" fmla="*/ 790967 w 1145699"/>
                <a:gd name="connsiteY946" fmla="*/ 1022357 h 1164784"/>
                <a:gd name="connsiteX947" fmla="*/ 789261 w 1145699"/>
                <a:gd name="connsiteY947" fmla="*/ 1016061 h 1164784"/>
                <a:gd name="connsiteX948" fmla="*/ 790379 w 1145699"/>
                <a:gd name="connsiteY948" fmla="*/ 1013862 h 1164784"/>
                <a:gd name="connsiteX949" fmla="*/ 792664 w 1145699"/>
                <a:gd name="connsiteY949" fmla="*/ 1014827 h 1164784"/>
                <a:gd name="connsiteX950" fmla="*/ 795634 w 1145699"/>
                <a:gd name="connsiteY950" fmla="*/ 1021364 h 1164784"/>
                <a:gd name="connsiteX951" fmla="*/ 795798 w 1145699"/>
                <a:gd name="connsiteY951" fmla="*/ 1022125 h 1164784"/>
                <a:gd name="connsiteX952" fmla="*/ 795798 w 1145699"/>
                <a:gd name="connsiteY952" fmla="*/ 1028633 h 1164784"/>
                <a:gd name="connsiteX953" fmla="*/ 795798 w 1145699"/>
                <a:gd name="connsiteY953" fmla="*/ 1028860 h 1164784"/>
                <a:gd name="connsiteX954" fmla="*/ 795311 w 1145699"/>
                <a:gd name="connsiteY954" fmla="*/ 1033820 h 1164784"/>
                <a:gd name="connsiteX955" fmla="*/ 800479 w 1145699"/>
                <a:gd name="connsiteY955" fmla="*/ 1037966 h 1164784"/>
                <a:gd name="connsiteX956" fmla="*/ 800831 w 1145699"/>
                <a:gd name="connsiteY956" fmla="*/ 1038689 h 1164784"/>
                <a:gd name="connsiteX957" fmla="*/ 803487 w 1145699"/>
                <a:gd name="connsiteY957" fmla="*/ 1039991 h 1164784"/>
                <a:gd name="connsiteX958" fmla="*/ 803487 w 1145699"/>
                <a:gd name="connsiteY958" fmla="*/ 1037002 h 1164784"/>
                <a:gd name="connsiteX959" fmla="*/ 804817 w 1145699"/>
                <a:gd name="connsiteY959" fmla="*/ 1035223 h 1164784"/>
                <a:gd name="connsiteX960" fmla="*/ 811359 w 1145699"/>
                <a:gd name="connsiteY960" fmla="*/ 1033487 h 1164784"/>
                <a:gd name="connsiteX961" fmla="*/ 812646 w 1145699"/>
                <a:gd name="connsiteY961" fmla="*/ 1033589 h 1164784"/>
                <a:gd name="connsiteX962" fmla="*/ 818248 w 1145699"/>
                <a:gd name="connsiteY962" fmla="*/ 1036394 h 1164784"/>
                <a:gd name="connsiteX963" fmla="*/ 820017 w 1145699"/>
                <a:gd name="connsiteY963" fmla="*/ 1036394 h 1164784"/>
                <a:gd name="connsiteX964" fmla="*/ 822023 w 1145699"/>
                <a:gd name="connsiteY964" fmla="*/ 1034375 h 1164784"/>
                <a:gd name="connsiteX965" fmla="*/ 818658 w 1145699"/>
                <a:gd name="connsiteY965" fmla="*/ 1029062 h 1164784"/>
                <a:gd name="connsiteX966" fmla="*/ 818706 w 1145699"/>
                <a:gd name="connsiteY966" fmla="*/ 1026989 h 1164784"/>
                <a:gd name="connsiteX967" fmla="*/ 822876 w 1145699"/>
                <a:gd name="connsiteY967" fmla="*/ 1021069 h 1164784"/>
                <a:gd name="connsiteX968" fmla="*/ 824973 w 1145699"/>
                <a:gd name="connsiteY968" fmla="*/ 1020428 h 1164784"/>
                <a:gd name="connsiteX969" fmla="*/ 831524 w 1145699"/>
                <a:gd name="connsiteY969" fmla="*/ 1022800 h 1164784"/>
                <a:gd name="connsiteX970" fmla="*/ 832517 w 1145699"/>
                <a:gd name="connsiteY970" fmla="*/ 1023615 h 1164784"/>
                <a:gd name="connsiteX971" fmla="*/ 835641 w 1145699"/>
                <a:gd name="connsiteY971" fmla="*/ 1029424 h 1164784"/>
                <a:gd name="connsiteX972" fmla="*/ 841329 w 1145699"/>
                <a:gd name="connsiteY972" fmla="*/ 1030427 h 1164784"/>
                <a:gd name="connsiteX973" fmla="*/ 842771 w 1145699"/>
                <a:gd name="connsiteY973" fmla="*/ 1031723 h 1164784"/>
                <a:gd name="connsiteX974" fmla="*/ 842226 w 1145699"/>
                <a:gd name="connsiteY974" fmla="*/ 1033584 h 1164784"/>
                <a:gd name="connsiteX975" fmla="*/ 836258 w 1145699"/>
                <a:gd name="connsiteY975" fmla="*/ 1038950 h 1164784"/>
                <a:gd name="connsiteX976" fmla="*/ 835438 w 1145699"/>
                <a:gd name="connsiteY976" fmla="*/ 1039374 h 1164784"/>
                <a:gd name="connsiteX977" fmla="*/ 829466 w 1145699"/>
                <a:gd name="connsiteY977" fmla="*/ 1040579 h 1164784"/>
                <a:gd name="connsiteX978" fmla="*/ 829258 w 1145699"/>
                <a:gd name="connsiteY978" fmla="*/ 1040588 h 1164784"/>
                <a:gd name="connsiteX979" fmla="*/ 822259 w 1145699"/>
                <a:gd name="connsiteY979" fmla="*/ 1041186 h 1164784"/>
                <a:gd name="connsiteX980" fmla="*/ 821410 w 1145699"/>
                <a:gd name="connsiteY980" fmla="*/ 1041379 h 1164784"/>
                <a:gd name="connsiteX981" fmla="*/ 821410 w 1145699"/>
                <a:gd name="connsiteY981" fmla="*/ 1043789 h 1164784"/>
                <a:gd name="connsiteX982" fmla="*/ 850368 w 1145699"/>
                <a:gd name="connsiteY982" fmla="*/ 1045303 h 1164784"/>
                <a:gd name="connsiteX983" fmla="*/ 852297 w 1145699"/>
                <a:gd name="connsiteY983" fmla="*/ 1046629 h 1164784"/>
                <a:gd name="connsiteX984" fmla="*/ 854080 w 1145699"/>
                <a:gd name="connsiteY984" fmla="*/ 1053170 h 1164784"/>
                <a:gd name="connsiteX985" fmla="*/ 854124 w 1145699"/>
                <a:gd name="connsiteY985" fmla="*/ 1053334 h 1164784"/>
                <a:gd name="connsiteX986" fmla="*/ 855300 w 1145699"/>
                <a:gd name="connsiteY986" fmla="*/ 1059867 h 1164784"/>
                <a:gd name="connsiteX987" fmla="*/ 855285 w 1145699"/>
                <a:gd name="connsiteY987" fmla="*/ 1060570 h 1164784"/>
                <a:gd name="connsiteX988" fmla="*/ 854504 w 1145699"/>
                <a:gd name="connsiteY988" fmla="*/ 1064509 h 1164784"/>
                <a:gd name="connsiteX989" fmla="*/ 859031 w 1145699"/>
                <a:gd name="connsiteY989" fmla="*/ 1064919 h 1164784"/>
                <a:gd name="connsiteX990" fmla="*/ 859383 w 1145699"/>
                <a:gd name="connsiteY990" fmla="*/ 1065020 h 1164784"/>
                <a:gd name="connsiteX991" fmla="*/ 865255 w 1145699"/>
                <a:gd name="connsiteY991" fmla="*/ 1066750 h 1164784"/>
                <a:gd name="connsiteX992" fmla="*/ 871112 w 1145699"/>
                <a:gd name="connsiteY992" fmla="*/ 1067903 h 1164784"/>
                <a:gd name="connsiteX993" fmla="*/ 871579 w 1145699"/>
                <a:gd name="connsiteY993" fmla="*/ 1068062 h 1164784"/>
                <a:gd name="connsiteX994" fmla="*/ 877080 w 1145699"/>
                <a:gd name="connsiteY994" fmla="*/ 1070824 h 1164784"/>
                <a:gd name="connsiteX995" fmla="*/ 882503 w 1145699"/>
                <a:gd name="connsiteY995" fmla="*/ 1070269 h 1164784"/>
                <a:gd name="connsiteX996" fmla="*/ 883491 w 1145699"/>
                <a:gd name="connsiteY996" fmla="*/ 1070429 h 1164784"/>
                <a:gd name="connsiteX997" fmla="*/ 884672 w 1145699"/>
                <a:gd name="connsiteY997" fmla="*/ 1071075 h 1164784"/>
                <a:gd name="connsiteX998" fmla="*/ 885285 w 1145699"/>
                <a:gd name="connsiteY998" fmla="*/ 1071552 h 1164784"/>
                <a:gd name="connsiteX999" fmla="*/ 889792 w 1145699"/>
                <a:gd name="connsiteY999" fmla="*/ 1077173 h 1164784"/>
                <a:gd name="connsiteX1000" fmla="*/ 895379 w 1145699"/>
                <a:gd name="connsiteY1000" fmla="*/ 1080012 h 1164784"/>
                <a:gd name="connsiteX1001" fmla="*/ 896367 w 1145699"/>
                <a:gd name="connsiteY1001" fmla="*/ 1081459 h 1164784"/>
                <a:gd name="connsiteX1002" fmla="*/ 896850 w 1145699"/>
                <a:gd name="connsiteY1002" fmla="*/ 1086472 h 1164784"/>
                <a:gd name="connsiteX1003" fmla="*/ 900976 w 1145699"/>
                <a:gd name="connsiteY1003" fmla="*/ 1086911 h 1164784"/>
                <a:gd name="connsiteX1004" fmla="*/ 904968 w 1145699"/>
                <a:gd name="connsiteY1004" fmla="*/ 1085734 h 1164784"/>
                <a:gd name="connsiteX1005" fmla="*/ 904090 w 1145699"/>
                <a:gd name="connsiteY1005" fmla="*/ 1081372 h 1164784"/>
                <a:gd name="connsiteX1006" fmla="*/ 904765 w 1145699"/>
                <a:gd name="connsiteY1006" fmla="*/ 1079598 h 1164784"/>
                <a:gd name="connsiteX1007" fmla="*/ 906674 w 1145699"/>
                <a:gd name="connsiteY1007" fmla="*/ 1079400 h 1164784"/>
                <a:gd name="connsiteX1008" fmla="*/ 912473 w 1145699"/>
                <a:gd name="connsiteY1008" fmla="*/ 1082268 h 1164784"/>
                <a:gd name="connsiteX1009" fmla="*/ 919271 w 1145699"/>
                <a:gd name="connsiteY1009" fmla="*/ 1083970 h 1164784"/>
                <a:gd name="connsiteX1010" fmla="*/ 925113 w 1145699"/>
                <a:gd name="connsiteY1010" fmla="*/ 1084606 h 1164784"/>
                <a:gd name="connsiteX1011" fmla="*/ 926420 w 1145699"/>
                <a:gd name="connsiteY1011" fmla="*/ 1085378 h 1164784"/>
                <a:gd name="connsiteX1012" fmla="*/ 926675 w 1145699"/>
                <a:gd name="connsiteY1012" fmla="*/ 1086867 h 1164784"/>
                <a:gd name="connsiteX1013" fmla="*/ 926078 w 1145699"/>
                <a:gd name="connsiteY1013" fmla="*/ 1089042 h 1164784"/>
                <a:gd name="connsiteX1014" fmla="*/ 927625 w 1145699"/>
                <a:gd name="connsiteY1014" fmla="*/ 1088082 h 1164784"/>
                <a:gd name="connsiteX1015" fmla="*/ 929775 w 1145699"/>
                <a:gd name="connsiteY1015" fmla="*/ 1082741 h 1164784"/>
                <a:gd name="connsiteX1016" fmla="*/ 931284 w 1145699"/>
                <a:gd name="connsiteY1016" fmla="*/ 1081598 h 1164784"/>
                <a:gd name="connsiteX1017" fmla="*/ 937238 w 1145699"/>
                <a:gd name="connsiteY1017" fmla="*/ 1081000 h 1164784"/>
                <a:gd name="connsiteX1018" fmla="*/ 937734 w 1145699"/>
                <a:gd name="connsiteY1018" fmla="*/ 1081039 h 1164784"/>
                <a:gd name="connsiteX1019" fmla="*/ 944276 w 1145699"/>
                <a:gd name="connsiteY1019" fmla="*/ 1082230 h 1164784"/>
                <a:gd name="connsiteX1020" fmla="*/ 944767 w 1145699"/>
                <a:gd name="connsiteY1020" fmla="*/ 1082360 h 1164784"/>
                <a:gd name="connsiteX1021" fmla="*/ 948904 w 1145699"/>
                <a:gd name="connsiteY1021" fmla="*/ 1084433 h 1164784"/>
                <a:gd name="connsiteX1022" fmla="*/ 950581 w 1145699"/>
                <a:gd name="connsiteY1022" fmla="*/ 1079829 h 1164784"/>
                <a:gd name="connsiteX1023" fmla="*/ 951772 w 1145699"/>
                <a:gd name="connsiteY1023" fmla="*/ 1078701 h 1164784"/>
                <a:gd name="connsiteX1024" fmla="*/ 957721 w 1145699"/>
                <a:gd name="connsiteY1024" fmla="*/ 1076927 h 1164784"/>
                <a:gd name="connsiteX1025" fmla="*/ 957914 w 1145699"/>
                <a:gd name="connsiteY1025" fmla="*/ 1076869 h 1164784"/>
                <a:gd name="connsiteX1026" fmla="*/ 964286 w 1145699"/>
                <a:gd name="connsiteY1026" fmla="*/ 1075702 h 1164784"/>
                <a:gd name="connsiteX1027" fmla="*/ 970052 w 1145699"/>
                <a:gd name="connsiteY1027" fmla="*/ 1073369 h 1164784"/>
                <a:gd name="connsiteX1028" fmla="*/ 971257 w 1145699"/>
                <a:gd name="connsiteY1028" fmla="*/ 1073340 h 1164784"/>
                <a:gd name="connsiteX1029" fmla="*/ 975553 w 1145699"/>
                <a:gd name="connsiteY1029" fmla="*/ 1074618 h 1164784"/>
                <a:gd name="connsiteX1030" fmla="*/ 977298 w 1145699"/>
                <a:gd name="connsiteY1030" fmla="*/ 1069840 h 1164784"/>
                <a:gd name="connsiteX1031" fmla="*/ 978151 w 1145699"/>
                <a:gd name="connsiteY1031" fmla="*/ 1065107 h 1164784"/>
                <a:gd name="connsiteX1032" fmla="*/ 973214 w 1145699"/>
                <a:gd name="connsiteY1032" fmla="*/ 1063738 h 1164784"/>
                <a:gd name="connsiteX1033" fmla="*/ 971903 w 1145699"/>
                <a:gd name="connsiteY1033" fmla="*/ 1062166 h 1164784"/>
                <a:gd name="connsiteX1034" fmla="*/ 972906 w 1145699"/>
                <a:gd name="connsiteY1034" fmla="*/ 1060387 h 1164784"/>
                <a:gd name="connsiteX1035" fmla="*/ 979645 w 1145699"/>
                <a:gd name="connsiteY1035" fmla="*/ 1057003 h 1164784"/>
                <a:gd name="connsiteX1036" fmla="*/ 984138 w 1145699"/>
                <a:gd name="connsiteY1036" fmla="*/ 1050804 h 1164784"/>
                <a:gd name="connsiteX1037" fmla="*/ 984283 w 1145699"/>
                <a:gd name="connsiteY1037" fmla="*/ 1050649 h 1164784"/>
                <a:gd name="connsiteX1038" fmla="*/ 990227 w 1145699"/>
                <a:gd name="connsiteY1038" fmla="*/ 1044122 h 1164784"/>
                <a:gd name="connsiteX1039" fmla="*/ 991736 w 1145699"/>
                <a:gd name="connsiteY1039" fmla="*/ 1043539 h 1164784"/>
                <a:gd name="connsiteX1040" fmla="*/ 997612 w 1145699"/>
                <a:gd name="connsiteY1040" fmla="*/ 1044045 h 1164784"/>
                <a:gd name="connsiteX1041" fmla="*/ 1002765 w 1145699"/>
                <a:gd name="connsiteY1041" fmla="*/ 1040453 h 1164784"/>
                <a:gd name="connsiteX1042" fmla="*/ 1006665 w 1145699"/>
                <a:gd name="connsiteY1042" fmla="*/ 1034900 h 1164784"/>
                <a:gd name="connsiteX1043" fmla="*/ 1009582 w 1145699"/>
                <a:gd name="connsiteY1043" fmla="*/ 1029067 h 1164784"/>
                <a:gd name="connsiteX1044" fmla="*/ 1010488 w 1145699"/>
                <a:gd name="connsiteY1044" fmla="*/ 1028189 h 1164784"/>
                <a:gd name="connsiteX1045" fmla="*/ 1014663 w 1145699"/>
                <a:gd name="connsiteY1045" fmla="*/ 1026401 h 1164784"/>
                <a:gd name="connsiteX1046" fmla="*/ 1015005 w 1145699"/>
                <a:gd name="connsiteY1046" fmla="*/ 1026290 h 1164784"/>
                <a:gd name="connsiteX1047" fmla="*/ 1020660 w 1145699"/>
                <a:gd name="connsiteY1047" fmla="*/ 1025162 h 1164784"/>
                <a:gd name="connsiteX1048" fmla="*/ 1025543 w 1145699"/>
                <a:gd name="connsiteY1048" fmla="*/ 1022236 h 1164784"/>
                <a:gd name="connsiteX1049" fmla="*/ 1026054 w 1145699"/>
                <a:gd name="connsiteY1049" fmla="*/ 1017213 h 1164784"/>
                <a:gd name="connsiteX1050" fmla="*/ 1027004 w 1145699"/>
                <a:gd name="connsiteY1050" fmla="*/ 1015767 h 1164784"/>
                <a:gd name="connsiteX1051" fmla="*/ 1033444 w 1145699"/>
                <a:gd name="connsiteY1051" fmla="*/ 1012267 h 1164784"/>
                <a:gd name="connsiteX1052" fmla="*/ 1039316 w 1145699"/>
                <a:gd name="connsiteY1052" fmla="*/ 1008102 h 1164784"/>
                <a:gd name="connsiteX1053" fmla="*/ 1040907 w 1145699"/>
                <a:gd name="connsiteY1053" fmla="*/ 1007870 h 1164784"/>
                <a:gd name="connsiteX1054" fmla="*/ 1045911 w 1145699"/>
                <a:gd name="connsiteY1054" fmla="*/ 1009413 h 1164784"/>
                <a:gd name="connsiteX1055" fmla="*/ 1051127 w 1145699"/>
                <a:gd name="connsiteY1055" fmla="*/ 1005233 h 1164784"/>
                <a:gd name="connsiteX1056" fmla="*/ 1051175 w 1145699"/>
                <a:gd name="connsiteY1056" fmla="*/ 1005200 h 1164784"/>
                <a:gd name="connsiteX1057" fmla="*/ 1055933 w 1145699"/>
                <a:gd name="connsiteY1057" fmla="*/ 1001637 h 1164784"/>
                <a:gd name="connsiteX1058" fmla="*/ 1057052 w 1145699"/>
                <a:gd name="connsiteY1058" fmla="*/ 1001252 h 1164784"/>
                <a:gd name="connsiteX1059" fmla="*/ 1060079 w 1145699"/>
                <a:gd name="connsiteY1059" fmla="*/ 1001252 h 1164784"/>
                <a:gd name="connsiteX1060" fmla="*/ 1065256 w 1145699"/>
                <a:gd name="connsiteY1060" fmla="*/ 998171 h 1164784"/>
                <a:gd name="connsiteX1061" fmla="*/ 1075457 w 1145699"/>
                <a:gd name="connsiteY1061" fmla="*/ 973879 h 116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Lst>
              <a:rect l="l" t="t" r="r" b="b"/>
              <a:pathLst>
                <a:path w="1145699" h="1164784">
                  <a:moveTo>
                    <a:pt x="1075457" y="973879"/>
                  </a:moveTo>
                  <a:cubicBezTo>
                    <a:pt x="1082182" y="964315"/>
                    <a:pt x="1084746" y="959673"/>
                    <a:pt x="1084746" y="959673"/>
                  </a:cubicBezTo>
                  <a:lnTo>
                    <a:pt x="1079458" y="952958"/>
                  </a:lnTo>
                  <a:lnTo>
                    <a:pt x="1080364" y="946498"/>
                  </a:lnTo>
                  <a:lnTo>
                    <a:pt x="1075842" y="948715"/>
                  </a:lnTo>
                  <a:lnTo>
                    <a:pt x="1071832" y="948209"/>
                  </a:lnTo>
                  <a:lnTo>
                    <a:pt x="1059558" y="952071"/>
                  </a:lnTo>
                  <a:lnTo>
                    <a:pt x="1053489" y="952071"/>
                  </a:lnTo>
                  <a:lnTo>
                    <a:pt x="1035686" y="943924"/>
                  </a:lnTo>
                  <a:lnTo>
                    <a:pt x="1028696" y="940694"/>
                  </a:lnTo>
                  <a:lnTo>
                    <a:pt x="1022376" y="936032"/>
                  </a:lnTo>
                  <a:lnTo>
                    <a:pt x="1015656" y="935386"/>
                  </a:lnTo>
                  <a:lnTo>
                    <a:pt x="1013723" y="928536"/>
                  </a:lnTo>
                  <a:lnTo>
                    <a:pt x="1007393" y="920158"/>
                  </a:lnTo>
                  <a:lnTo>
                    <a:pt x="1006492" y="911895"/>
                  </a:lnTo>
                  <a:lnTo>
                    <a:pt x="1008430" y="905580"/>
                  </a:lnTo>
                  <a:lnTo>
                    <a:pt x="1004293" y="899361"/>
                  </a:lnTo>
                  <a:lnTo>
                    <a:pt x="1006106" y="893036"/>
                  </a:lnTo>
                  <a:lnTo>
                    <a:pt x="1012286" y="887343"/>
                  </a:lnTo>
                  <a:lnTo>
                    <a:pt x="1014147" y="880488"/>
                  </a:lnTo>
                  <a:cubicBezTo>
                    <a:pt x="1014147" y="880488"/>
                    <a:pt x="1020944" y="874168"/>
                    <a:pt x="1024434" y="872635"/>
                  </a:cubicBezTo>
                  <a:cubicBezTo>
                    <a:pt x="1022766" y="869516"/>
                    <a:pt x="1021846" y="866151"/>
                    <a:pt x="1021846" y="866151"/>
                  </a:cubicBezTo>
                  <a:cubicBezTo>
                    <a:pt x="1021846" y="866151"/>
                    <a:pt x="1020698" y="854297"/>
                    <a:pt x="1016427" y="854003"/>
                  </a:cubicBezTo>
                  <a:cubicBezTo>
                    <a:pt x="1012156" y="853743"/>
                    <a:pt x="1009717" y="852615"/>
                    <a:pt x="1007774" y="853126"/>
                  </a:cubicBezTo>
                  <a:cubicBezTo>
                    <a:pt x="1005831" y="853651"/>
                    <a:pt x="999767" y="847977"/>
                    <a:pt x="999767" y="847977"/>
                  </a:cubicBezTo>
                  <a:lnTo>
                    <a:pt x="996272" y="841898"/>
                  </a:lnTo>
                  <a:lnTo>
                    <a:pt x="995891" y="834262"/>
                  </a:lnTo>
                  <a:lnTo>
                    <a:pt x="989836" y="829205"/>
                  </a:lnTo>
                  <a:lnTo>
                    <a:pt x="987382" y="822794"/>
                  </a:lnTo>
                  <a:lnTo>
                    <a:pt x="984799" y="817852"/>
                  </a:lnTo>
                  <a:cubicBezTo>
                    <a:pt x="984799" y="817852"/>
                    <a:pt x="997834" y="811007"/>
                    <a:pt x="1006362" y="814912"/>
                  </a:cubicBezTo>
                  <a:cubicBezTo>
                    <a:pt x="1008169" y="815669"/>
                    <a:pt x="1010348" y="816064"/>
                    <a:pt x="1011915" y="814256"/>
                  </a:cubicBezTo>
                  <a:cubicBezTo>
                    <a:pt x="1013453" y="812419"/>
                    <a:pt x="1016432" y="811769"/>
                    <a:pt x="1016297" y="809999"/>
                  </a:cubicBezTo>
                  <a:cubicBezTo>
                    <a:pt x="1016167" y="808182"/>
                    <a:pt x="1016818" y="805328"/>
                    <a:pt x="1020944" y="805743"/>
                  </a:cubicBezTo>
                  <a:cubicBezTo>
                    <a:pt x="1025066" y="806124"/>
                    <a:pt x="1029352" y="804162"/>
                    <a:pt x="1031034" y="802474"/>
                  </a:cubicBezTo>
                  <a:cubicBezTo>
                    <a:pt x="1032707" y="800802"/>
                    <a:pt x="1033468" y="797205"/>
                    <a:pt x="1033468" y="797205"/>
                  </a:cubicBezTo>
                  <a:lnTo>
                    <a:pt x="1031661" y="791363"/>
                  </a:lnTo>
                  <a:lnTo>
                    <a:pt x="1036727" y="785477"/>
                  </a:lnTo>
                  <a:lnTo>
                    <a:pt x="1037745" y="778993"/>
                  </a:lnTo>
                  <a:lnTo>
                    <a:pt x="1032071" y="774471"/>
                  </a:lnTo>
                  <a:lnTo>
                    <a:pt x="1030889" y="771222"/>
                  </a:lnTo>
                  <a:cubicBezTo>
                    <a:pt x="1030889" y="771222"/>
                    <a:pt x="1016297" y="765822"/>
                    <a:pt x="1020944" y="749037"/>
                  </a:cubicBezTo>
                  <a:cubicBezTo>
                    <a:pt x="1017994" y="747345"/>
                    <a:pt x="1015540" y="745908"/>
                    <a:pt x="1015540" y="745908"/>
                  </a:cubicBezTo>
                  <a:lnTo>
                    <a:pt x="1013072" y="742167"/>
                  </a:lnTo>
                  <a:lnTo>
                    <a:pt x="1006111" y="738200"/>
                  </a:lnTo>
                  <a:lnTo>
                    <a:pt x="1004930" y="731716"/>
                  </a:lnTo>
                  <a:lnTo>
                    <a:pt x="1006593" y="723178"/>
                  </a:lnTo>
                  <a:lnTo>
                    <a:pt x="1012445" y="720088"/>
                  </a:lnTo>
                  <a:lnTo>
                    <a:pt x="1015285" y="721781"/>
                  </a:lnTo>
                  <a:lnTo>
                    <a:pt x="1021233" y="719443"/>
                  </a:lnTo>
                  <a:lnTo>
                    <a:pt x="1024834" y="712486"/>
                  </a:lnTo>
                  <a:lnTo>
                    <a:pt x="1029197" y="710741"/>
                  </a:lnTo>
                  <a:cubicBezTo>
                    <a:pt x="1026334" y="705998"/>
                    <a:pt x="1023441" y="699668"/>
                    <a:pt x="1021846" y="696848"/>
                  </a:cubicBezTo>
                  <a:cubicBezTo>
                    <a:pt x="1019146" y="691931"/>
                    <a:pt x="1013072" y="693768"/>
                    <a:pt x="1013072" y="693768"/>
                  </a:cubicBezTo>
                  <a:lnTo>
                    <a:pt x="1013188" y="687443"/>
                  </a:lnTo>
                  <a:lnTo>
                    <a:pt x="1007909" y="681330"/>
                  </a:lnTo>
                  <a:lnTo>
                    <a:pt x="1006106" y="675685"/>
                  </a:lnTo>
                  <a:lnTo>
                    <a:pt x="1007769" y="669196"/>
                  </a:lnTo>
                  <a:lnTo>
                    <a:pt x="1011771" y="664038"/>
                  </a:lnTo>
                  <a:lnTo>
                    <a:pt x="1007389" y="655655"/>
                  </a:lnTo>
                  <a:lnTo>
                    <a:pt x="1005826" y="653963"/>
                  </a:lnTo>
                  <a:lnTo>
                    <a:pt x="1003763" y="649325"/>
                  </a:lnTo>
                  <a:lnTo>
                    <a:pt x="1006877" y="644143"/>
                  </a:lnTo>
                  <a:lnTo>
                    <a:pt x="1000919" y="638223"/>
                  </a:lnTo>
                  <a:cubicBezTo>
                    <a:pt x="1000919" y="638223"/>
                    <a:pt x="980016" y="633586"/>
                    <a:pt x="970968" y="642128"/>
                  </a:cubicBezTo>
                  <a:cubicBezTo>
                    <a:pt x="967892" y="641824"/>
                    <a:pt x="962450" y="642128"/>
                    <a:pt x="956000" y="650116"/>
                  </a:cubicBezTo>
                  <a:cubicBezTo>
                    <a:pt x="956000" y="650116"/>
                    <a:pt x="951454" y="652025"/>
                    <a:pt x="952625" y="653057"/>
                  </a:cubicBezTo>
                  <a:cubicBezTo>
                    <a:pt x="954505" y="654725"/>
                    <a:pt x="956236" y="655399"/>
                    <a:pt x="956236" y="658485"/>
                  </a:cubicBezTo>
                  <a:cubicBezTo>
                    <a:pt x="956236" y="661589"/>
                    <a:pt x="957643" y="665966"/>
                    <a:pt x="959591" y="666386"/>
                  </a:cubicBezTo>
                  <a:cubicBezTo>
                    <a:pt x="951073" y="670493"/>
                    <a:pt x="946165" y="676080"/>
                    <a:pt x="945659" y="678250"/>
                  </a:cubicBezTo>
                  <a:cubicBezTo>
                    <a:pt x="941137" y="675685"/>
                    <a:pt x="933892" y="677233"/>
                    <a:pt x="930691" y="678896"/>
                  </a:cubicBezTo>
                  <a:cubicBezTo>
                    <a:pt x="932224" y="676080"/>
                    <a:pt x="934417" y="676080"/>
                    <a:pt x="932725" y="673848"/>
                  </a:cubicBezTo>
                  <a:cubicBezTo>
                    <a:pt x="931062" y="671684"/>
                    <a:pt x="931983" y="664038"/>
                    <a:pt x="940877" y="664173"/>
                  </a:cubicBezTo>
                  <a:cubicBezTo>
                    <a:pt x="943866" y="657347"/>
                    <a:pt x="946170" y="652714"/>
                    <a:pt x="947337" y="651254"/>
                  </a:cubicBezTo>
                  <a:cubicBezTo>
                    <a:pt x="948489" y="649841"/>
                    <a:pt x="947964" y="645580"/>
                    <a:pt x="946170" y="645064"/>
                  </a:cubicBezTo>
                  <a:cubicBezTo>
                    <a:pt x="944367" y="644519"/>
                    <a:pt x="942169" y="640947"/>
                    <a:pt x="942169" y="640947"/>
                  </a:cubicBezTo>
                  <a:cubicBezTo>
                    <a:pt x="942169" y="640947"/>
                    <a:pt x="939720" y="636676"/>
                    <a:pt x="943866" y="632814"/>
                  </a:cubicBezTo>
                  <a:cubicBezTo>
                    <a:pt x="947964" y="628905"/>
                    <a:pt x="951078" y="626065"/>
                    <a:pt x="949925" y="622209"/>
                  </a:cubicBezTo>
                  <a:cubicBezTo>
                    <a:pt x="948764" y="618343"/>
                    <a:pt x="949125" y="617427"/>
                    <a:pt x="951724" y="614467"/>
                  </a:cubicBezTo>
                  <a:cubicBezTo>
                    <a:pt x="954317" y="611488"/>
                    <a:pt x="967603" y="604623"/>
                    <a:pt x="967603" y="604623"/>
                  </a:cubicBezTo>
                  <a:lnTo>
                    <a:pt x="976006" y="597281"/>
                  </a:lnTo>
                  <a:lnTo>
                    <a:pt x="976772" y="590971"/>
                  </a:lnTo>
                  <a:lnTo>
                    <a:pt x="979766" y="585533"/>
                  </a:lnTo>
                  <a:lnTo>
                    <a:pt x="979766" y="572748"/>
                  </a:lnTo>
                  <a:cubicBezTo>
                    <a:pt x="979766" y="572748"/>
                    <a:pt x="997983" y="565257"/>
                    <a:pt x="1004559" y="558407"/>
                  </a:cubicBezTo>
                  <a:lnTo>
                    <a:pt x="1005195" y="556469"/>
                  </a:lnTo>
                  <a:cubicBezTo>
                    <a:pt x="1006236" y="552839"/>
                    <a:pt x="1011018" y="550033"/>
                    <a:pt x="1017218" y="545916"/>
                  </a:cubicBezTo>
                  <a:cubicBezTo>
                    <a:pt x="1020048" y="539678"/>
                    <a:pt x="1032427" y="527029"/>
                    <a:pt x="1036597" y="522396"/>
                  </a:cubicBezTo>
                  <a:cubicBezTo>
                    <a:pt x="1035035" y="521369"/>
                    <a:pt x="1030137" y="519802"/>
                    <a:pt x="1023162" y="519518"/>
                  </a:cubicBezTo>
                  <a:cubicBezTo>
                    <a:pt x="1025490" y="514114"/>
                    <a:pt x="1026382" y="513198"/>
                    <a:pt x="1026382" y="513198"/>
                  </a:cubicBezTo>
                  <a:lnTo>
                    <a:pt x="1027548" y="512162"/>
                  </a:lnTo>
                  <a:cubicBezTo>
                    <a:pt x="1031039" y="509992"/>
                    <a:pt x="1032586" y="507500"/>
                    <a:pt x="1030634" y="503793"/>
                  </a:cubicBezTo>
                  <a:cubicBezTo>
                    <a:pt x="1028701" y="500023"/>
                    <a:pt x="1034380" y="500438"/>
                    <a:pt x="1036597" y="501069"/>
                  </a:cubicBezTo>
                  <a:cubicBezTo>
                    <a:pt x="1038771" y="501744"/>
                    <a:pt x="1043433" y="500534"/>
                    <a:pt x="1043433" y="500534"/>
                  </a:cubicBezTo>
                  <a:lnTo>
                    <a:pt x="1047955" y="507273"/>
                  </a:lnTo>
                  <a:lnTo>
                    <a:pt x="1053233" y="511795"/>
                  </a:lnTo>
                  <a:cubicBezTo>
                    <a:pt x="1053233" y="511795"/>
                    <a:pt x="1056738" y="512460"/>
                    <a:pt x="1058936" y="510363"/>
                  </a:cubicBezTo>
                  <a:cubicBezTo>
                    <a:pt x="1061130" y="508305"/>
                    <a:pt x="1063179" y="508835"/>
                    <a:pt x="1065762" y="510224"/>
                  </a:cubicBezTo>
                  <a:cubicBezTo>
                    <a:pt x="1068356" y="511665"/>
                    <a:pt x="1076754" y="501840"/>
                    <a:pt x="1076754" y="501840"/>
                  </a:cubicBezTo>
                  <a:lnTo>
                    <a:pt x="1076633" y="495530"/>
                  </a:lnTo>
                  <a:lnTo>
                    <a:pt x="1081671" y="491611"/>
                  </a:lnTo>
                  <a:lnTo>
                    <a:pt x="1084226" y="491172"/>
                  </a:lnTo>
                  <a:cubicBezTo>
                    <a:pt x="1085031" y="488839"/>
                    <a:pt x="1084992" y="487407"/>
                    <a:pt x="1082688" y="484915"/>
                  </a:cubicBezTo>
                  <a:cubicBezTo>
                    <a:pt x="1079468" y="481434"/>
                    <a:pt x="1077935" y="476908"/>
                    <a:pt x="1079072" y="473919"/>
                  </a:cubicBezTo>
                  <a:cubicBezTo>
                    <a:pt x="1080244" y="470969"/>
                    <a:pt x="1081676" y="470458"/>
                    <a:pt x="1081039" y="466587"/>
                  </a:cubicBezTo>
                  <a:cubicBezTo>
                    <a:pt x="1080374" y="462706"/>
                    <a:pt x="1081266" y="454699"/>
                    <a:pt x="1087079" y="444146"/>
                  </a:cubicBezTo>
                  <a:cubicBezTo>
                    <a:pt x="1088502" y="441143"/>
                    <a:pt x="1090334" y="436115"/>
                    <a:pt x="1087610" y="433545"/>
                  </a:cubicBezTo>
                  <a:cubicBezTo>
                    <a:pt x="1084896" y="430952"/>
                    <a:pt x="1083604" y="425519"/>
                    <a:pt x="1086048" y="420482"/>
                  </a:cubicBezTo>
                  <a:cubicBezTo>
                    <a:pt x="1088502" y="415434"/>
                    <a:pt x="1088502" y="414147"/>
                    <a:pt x="1088502" y="414147"/>
                  </a:cubicBezTo>
                  <a:lnTo>
                    <a:pt x="1096904" y="400480"/>
                  </a:lnTo>
                  <a:lnTo>
                    <a:pt x="1096904" y="395317"/>
                  </a:lnTo>
                  <a:lnTo>
                    <a:pt x="1102072" y="389634"/>
                  </a:lnTo>
                  <a:lnTo>
                    <a:pt x="1101315" y="383694"/>
                  </a:lnTo>
                  <a:cubicBezTo>
                    <a:pt x="1101315" y="383694"/>
                    <a:pt x="1106830" y="364716"/>
                    <a:pt x="1106830" y="362498"/>
                  </a:cubicBezTo>
                  <a:cubicBezTo>
                    <a:pt x="1106830" y="360295"/>
                    <a:pt x="1107881" y="356327"/>
                    <a:pt x="1107881" y="356327"/>
                  </a:cubicBezTo>
                  <a:lnTo>
                    <a:pt x="1109554" y="351150"/>
                  </a:lnTo>
                  <a:cubicBezTo>
                    <a:pt x="1109554" y="351150"/>
                    <a:pt x="1120781" y="343895"/>
                    <a:pt x="1126344" y="334740"/>
                  </a:cubicBezTo>
                  <a:cubicBezTo>
                    <a:pt x="1132023" y="331366"/>
                    <a:pt x="1133725" y="329090"/>
                    <a:pt x="1133725" y="329090"/>
                  </a:cubicBezTo>
                  <a:cubicBezTo>
                    <a:pt x="1133725" y="329090"/>
                    <a:pt x="1135205" y="314074"/>
                    <a:pt x="1145699" y="307990"/>
                  </a:cubicBezTo>
                  <a:cubicBezTo>
                    <a:pt x="1138502" y="305816"/>
                    <a:pt x="1124676" y="299732"/>
                    <a:pt x="1124676" y="299732"/>
                  </a:cubicBezTo>
                  <a:cubicBezTo>
                    <a:pt x="1124676" y="299732"/>
                    <a:pt x="1122088" y="296025"/>
                    <a:pt x="1118993" y="297182"/>
                  </a:cubicBezTo>
                  <a:cubicBezTo>
                    <a:pt x="1115878" y="298320"/>
                    <a:pt x="1113690" y="298725"/>
                    <a:pt x="1112152" y="297182"/>
                  </a:cubicBezTo>
                  <a:cubicBezTo>
                    <a:pt x="1110605" y="295601"/>
                    <a:pt x="1109833" y="295100"/>
                    <a:pt x="1105832" y="296030"/>
                  </a:cubicBezTo>
                  <a:cubicBezTo>
                    <a:pt x="1101812" y="296912"/>
                    <a:pt x="1095627" y="296131"/>
                    <a:pt x="1095627" y="296131"/>
                  </a:cubicBezTo>
                  <a:lnTo>
                    <a:pt x="1092127" y="292289"/>
                  </a:lnTo>
                  <a:lnTo>
                    <a:pt x="1085812" y="290192"/>
                  </a:lnTo>
                  <a:cubicBezTo>
                    <a:pt x="1085812" y="290192"/>
                    <a:pt x="1079733" y="279852"/>
                    <a:pt x="1076493" y="279852"/>
                  </a:cubicBezTo>
                  <a:cubicBezTo>
                    <a:pt x="1073278" y="279852"/>
                    <a:pt x="1072492" y="278704"/>
                    <a:pt x="1069913" y="281423"/>
                  </a:cubicBezTo>
                  <a:cubicBezTo>
                    <a:pt x="1067329" y="284103"/>
                    <a:pt x="1062161" y="285675"/>
                    <a:pt x="1059978" y="285675"/>
                  </a:cubicBezTo>
                  <a:cubicBezTo>
                    <a:pt x="1057765" y="285675"/>
                    <a:pt x="1055451" y="284904"/>
                    <a:pt x="1055451" y="284904"/>
                  </a:cubicBezTo>
                  <a:cubicBezTo>
                    <a:pt x="1055451" y="284904"/>
                    <a:pt x="1051059" y="281929"/>
                    <a:pt x="1048480" y="284103"/>
                  </a:cubicBezTo>
                  <a:cubicBezTo>
                    <a:pt x="1045901" y="286302"/>
                    <a:pt x="1042406" y="286437"/>
                    <a:pt x="1042406" y="283597"/>
                  </a:cubicBezTo>
                  <a:cubicBezTo>
                    <a:pt x="1042406" y="280768"/>
                    <a:pt x="1041905" y="275204"/>
                    <a:pt x="1039436" y="275079"/>
                  </a:cubicBezTo>
                  <a:cubicBezTo>
                    <a:pt x="1036973" y="274930"/>
                    <a:pt x="1035185" y="270832"/>
                    <a:pt x="1031174" y="271854"/>
                  </a:cubicBezTo>
                  <a:cubicBezTo>
                    <a:pt x="1027182" y="272891"/>
                    <a:pt x="1024859" y="271724"/>
                    <a:pt x="1023682" y="275725"/>
                  </a:cubicBezTo>
                  <a:cubicBezTo>
                    <a:pt x="1022525" y="279755"/>
                    <a:pt x="1021340" y="280218"/>
                    <a:pt x="1019807" y="279061"/>
                  </a:cubicBezTo>
                  <a:cubicBezTo>
                    <a:pt x="1018259" y="277928"/>
                    <a:pt x="1014889" y="277519"/>
                    <a:pt x="1014889" y="274930"/>
                  </a:cubicBezTo>
                  <a:cubicBezTo>
                    <a:pt x="1014889" y="272351"/>
                    <a:pt x="1014788" y="271333"/>
                    <a:pt x="1012976" y="269396"/>
                  </a:cubicBezTo>
                  <a:cubicBezTo>
                    <a:pt x="1011168" y="267463"/>
                    <a:pt x="1009741" y="266705"/>
                    <a:pt x="1009481" y="263963"/>
                  </a:cubicBezTo>
                  <a:cubicBezTo>
                    <a:pt x="1009225" y="261263"/>
                    <a:pt x="1008319" y="259711"/>
                    <a:pt x="1007162" y="259185"/>
                  </a:cubicBezTo>
                  <a:cubicBezTo>
                    <a:pt x="1005990" y="258674"/>
                    <a:pt x="1002770" y="255184"/>
                    <a:pt x="1002891" y="252769"/>
                  </a:cubicBezTo>
                  <a:cubicBezTo>
                    <a:pt x="1003011" y="250286"/>
                    <a:pt x="1002370" y="247293"/>
                    <a:pt x="1002370" y="247293"/>
                  </a:cubicBezTo>
                  <a:lnTo>
                    <a:pt x="999661" y="240852"/>
                  </a:lnTo>
                  <a:lnTo>
                    <a:pt x="992960" y="236870"/>
                  </a:lnTo>
                  <a:lnTo>
                    <a:pt x="985599" y="237357"/>
                  </a:lnTo>
                  <a:lnTo>
                    <a:pt x="985030" y="236967"/>
                  </a:lnTo>
                  <a:cubicBezTo>
                    <a:pt x="985146" y="239555"/>
                    <a:pt x="985329" y="241749"/>
                    <a:pt x="985329" y="241749"/>
                  </a:cubicBezTo>
                  <a:cubicBezTo>
                    <a:pt x="985329" y="241749"/>
                    <a:pt x="985146" y="239555"/>
                    <a:pt x="985030" y="236967"/>
                  </a:cubicBezTo>
                  <a:lnTo>
                    <a:pt x="975899" y="230517"/>
                  </a:lnTo>
                  <a:lnTo>
                    <a:pt x="965810" y="232585"/>
                  </a:lnTo>
                  <a:cubicBezTo>
                    <a:pt x="965810" y="232585"/>
                    <a:pt x="965313" y="233872"/>
                    <a:pt x="963631" y="235414"/>
                  </a:cubicBezTo>
                  <a:cubicBezTo>
                    <a:pt x="961939" y="236967"/>
                    <a:pt x="958449" y="239425"/>
                    <a:pt x="956655" y="237637"/>
                  </a:cubicBezTo>
                  <a:cubicBezTo>
                    <a:pt x="954843" y="235829"/>
                    <a:pt x="951888" y="231538"/>
                    <a:pt x="949800" y="231457"/>
                  </a:cubicBezTo>
                  <a:cubicBezTo>
                    <a:pt x="947742" y="231298"/>
                    <a:pt x="942704" y="229731"/>
                    <a:pt x="942704" y="229731"/>
                  </a:cubicBezTo>
                  <a:lnTo>
                    <a:pt x="938640" y="221834"/>
                  </a:lnTo>
                  <a:lnTo>
                    <a:pt x="936124" y="223290"/>
                  </a:lnTo>
                  <a:lnTo>
                    <a:pt x="931607" y="224351"/>
                  </a:lnTo>
                  <a:lnTo>
                    <a:pt x="928497" y="222924"/>
                  </a:lnTo>
                  <a:lnTo>
                    <a:pt x="922823" y="226530"/>
                  </a:lnTo>
                  <a:lnTo>
                    <a:pt x="915448" y="224958"/>
                  </a:lnTo>
                  <a:cubicBezTo>
                    <a:pt x="915448" y="224958"/>
                    <a:pt x="913153" y="225117"/>
                    <a:pt x="909239" y="226776"/>
                  </a:cubicBezTo>
                  <a:cubicBezTo>
                    <a:pt x="906790" y="210911"/>
                    <a:pt x="900094" y="209739"/>
                    <a:pt x="897254" y="210525"/>
                  </a:cubicBezTo>
                  <a:cubicBezTo>
                    <a:pt x="894415" y="211301"/>
                    <a:pt x="894275" y="206129"/>
                    <a:pt x="894926" y="203559"/>
                  </a:cubicBezTo>
                  <a:cubicBezTo>
                    <a:pt x="888220" y="203665"/>
                    <a:pt x="877104" y="193214"/>
                    <a:pt x="873488" y="188297"/>
                  </a:cubicBezTo>
                  <a:cubicBezTo>
                    <a:pt x="869858" y="183404"/>
                    <a:pt x="865472" y="186094"/>
                    <a:pt x="865472" y="186094"/>
                  </a:cubicBezTo>
                  <a:cubicBezTo>
                    <a:pt x="865472" y="186094"/>
                    <a:pt x="860945" y="182748"/>
                    <a:pt x="859426" y="181707"/>
                  </a:cubicBezTo>
                  <a:cubicBezTo>
                    <a:pt x="857855" y="180661"/>
                    <a:pt x="856838" y="176308"/>
                    <a:pt x="859547" y="173584"/>
                  </a:cubicBezTo>
                  <a:cubicBezTo>
                    <a:pt x="862232" y="170875"/>
                    <a:pt x="859798" y="168551"/>
                    <a:pt x="857093" y="165688"/>
                  </a:cubicBezTo>
                  <a:cubicBezTo>
                    <a:pt x="854360" y="162848"/>
                    <a:pt x="861861" y="145301"/>
                    <a:pt x="861861" y="145301"/>
                  </a:cubicBezTo>
                  <a:lnTo>
                    <a:pt x="859036" y="136918"/>
                  </a:lnTo>
                  <a:lnTo>
                    <a:pt x="847654" y="144120"/>
                  </a:lnTo>
                  <a:cubicBezTo>
                    <a:pt x="847654" y="144120"/>
                    <a:pt x="846247" y="149066"/>
                    <a:pt x="845605" y="153429"/>
                  </a:cubicBezTo>
                  <a:cubicBezTo>
                    <a:pt x="844955" y="157835"/>
                    <a:pt x="842877" y="158862"/>
                    <a:pt x="841209" y="158862"/>
                  </a:cubicBezTo>
                  <a:cubicBezTo>
                    <a:pt x="839522" y="158862"/>
                    <a:pt x="836571" y="160018"/>
                    <a:pt x="833313" y="161581"/>
                  </a:cubicBezTo>
                  <a:cubicBezTo>
                    <a:pt x="827142" y="166218"/>
                    <a:pt x="810863" y="159888"/>
                    <a:pt x="810863" y="159888"/>
                  </a:cubicBezTo>
                  <a:cubicBezTo>
                    <a:pt x="810863" y="159888"/>
                    <a:pt x="809291" y="160274"/>
                    <a:pt x="805164" y="160274"/>
                  </a:cubicBezTo>
                  <a:cubicBezTo>
                    <a:pt x="801028" y="160274"/>
                    <a:pt x="799866" y="154084"/>
                    <a:pt x="800006" y="151471"/>
                  </a:cubicBezTo>
                  <a:cubicBezTo>
                    <a:pt x="800146" y="148911"/>
                    <a:pt x="802981" y="147104"/>
                    <a:pt x="805290" y="146222"/>
                  </a:cubicBezTo>
                  <a:cubicBezTo>
                    <a:pt x="807633" y="145301"/>
                    <a:pt x="801028" y="132261"/>
                    <a:pt x="801028" y="132261"/>
                  </a:cubicBezTo>
                  <a:lnTo>
                    <a:pt x="801443" y="126838"/>
                  </a:lnTo>
                  <a:cubicBezTo>
                    <a:pt x="801443" y="126838"/>
                    <a:pt x="802205" y="124779"/>
                    <a:pt x="807633" y="120253"/>
                  </a:cubicBezTo>
                  <a:cubicBezTo>
                    <a:pt x="799356" y="120624"/>
                    <a:pt x="800397" y="116888"/>
                    <a:pt x="800397" y="116367"/>
                  </a:cubicBezTo>
                  <a:cubicBezTo>
                    <a:pt x="800397" y="115856"/>
                    <a:pt x="799360" y="113812"/>
                    <a:pt x="797557" y="112231"/>
                  </a:cubicBezTo>
                  <a:cubicBezTo>
                    <a:pt x="795745" y="110688"/>
                    <a:pt x="794453" y="105790"/>
                    <a:pt x="794453" y="105790"/>
                  </a:cubicBezTo>
                  <a:lnTo>
                    <a:pt x="782175" y="109261"/>
                  </a:lnTo>
                  <a:lnTo>
                    <a:pt x="776626" y="105279"/>
                  </a:lnTo>
                  <a:lnTo>
                    <a:pt x="769901" y="104734"/>
                  </a:lnTo>
                  <a:lnTo>
                    <a:pt x="764483" y="109512"/>
                  </a:lnTo>
                  <a:lnTo>
                    <a:pt x="761373" y="103322"/>
                  </a:lnTo>
                  <a:cubicBezTo>
                    <a:pt x="761373" y="103322"/>
                    <a:pt x="762043" y="96742"/>
                    <a:pt x="762410" y="91203"/>
                  </a:cubicBezTo>
                  <a:cubicBezTo>
                    <a:pt x="762800" y="85645"/>
                    <a:pt x="753891" y="84343"/>
                    <a:pt x="752730" y="83051"/>
                  </a:cubicBezTo>
                  <a:cubicBezTo>
                    <a:pt x="751568" y="81769"/>
                    <a:pt x="750165" y="80458"/>
                    <a:pt x="750165" y="80458"/>
                  </a:cubicBezTo>
                  <a:lnTo>
                    <a:pt x="741492" y="82395"/>
                  </a:lnTo>
                  <a:cubicBezTo>
                    <a:pt x="741492" y="82395"/>
                    <a:pt x="737356" y="81904"/>
                    <a:pt x="735293" y="81369"/>
                  </a:cubicBezTo>
                  <a:cubicBezTo>
                    <a:pt x="733235" y="80848"/>
                    <a:pt x="730646" y="73111"/>
                    <a:pt x="731572" y="70532"/>
                  </a:cubicBezTo>
                  <a:cubicBezTo>
                    <a:pt x="732449" y="67938"/>
                    <a:pt x="732068" y="67687"/>
                    <a:pt x="730251" y="65885"/>
                  </a:cubicBezTo>
                  <a:lnTo>
                    <a:pt x="729740" y="61503"/>
                  </a:lnTo>
                  <a:lnTo>
                    <a:pt x="729740" y="61088"/>
                  </a:lnTo>
                  <a:lnTo>
                    <a:pt x="729711" y="55409"/>
                  </a:lnTo>
                  <a:lnTo>
                    <a:pt x="726264" y="53712"/>
                  </a:lnTo>
                  <a:lnTo>
                    <a:pt x="723516" y="45266"/>
                  </a:lnTo>
                  <a:lnTo>
                    <a:pt x="718869" y="44061"/>
                  </a:lnTo>
                  <a:lnTo>
                    <a:pt x="717837" y="44905"/>
                  </a:lnTo>
                  <a:cubicBezTo>
                    <a:pt x="717837" y="44905"/>
                    <a:pt x="705945" y="46963"/>
                    <a:pt x="704744" y="49215"/>
                  </a:cubicBezTo>
                  <a:cubicBezTo>
                    <a:pt x="703558" y="51480"/>
                    <a:pt x="700083" y="54729"/>
                    <a:pt x="700083" y="54729"/>
                  </a:cubicBezTo>
                  <a:lnTo>
                    <a:pt x="698010" y="52690"/>
                  </a:lnTo>
                  <a:lnTo>
                    <a:pt x="692177" y="50078"/>
                  </a:lnTo>
                  <a:cubicBezTo>
                    <a:pt x="692177" y="50078"/>
                    <a:pt x="687173" y="37852"/>
                    <a:pt x="685476" y="37360"/>
                  </a:cubicBezTo>
                  <a:cubicBezTo>
                    <a:pt x="683740" y="36830"/>
                    <a:pt x="679773" y="35972"/>
                    <a:pt x="679773" y="35972"/>
                  </a:cubicBezTo>
                  <a:lnTo>
                    <a:pt x="677700" y="22869"/>
                  </a:lnTo>
                  <a:lnTo>
                    <a:pt x="680409" y="17702"/>
                  </a:lnTo>
                  <a:cubicBezTo>
                    <a:pt x="682232" y="15643"/>
                    <a:pt x="676794" y="8156"/>
                    <a:pt x="676794" y="8156"/>
                  </a:cubicBezTo>
                  <a:lnTo>
                    <a:pt x="676085" y="0"/>
                  </a:lnTo>
                  <a:cubicBezTo>
                    <a:pt x="659203" y="7703"/>
                    <a:pt x="661869" y="-656"/>
                    <a:pt x="642745" y="6272"/>
                  </a:cubicBezTo>
                  <a:cubicBezTo>
                    <a:pt x="618001" y="8537"/>
                    <a:pt x="614250" y="5722"/>
                    <a:pt x="594741" y="23742"/>
                  </a:cubicBezTo>
                  <a:lnTo>
                    <a:pt x="595247" y="29334"/>
                  </a:lnTo>
                  <a:lnTo>
                    <a:pt x="595232" y="29840"/>
                  </a:lnTo>
                  <a:lnTo>
                    <a:pt x="594046" y="36387"/>
                  </a:lnTo>
                  <a:lnTo>
                    <a:pt x="593815" y="36970"/>
                  </a:lnTo>
                  <a:lnTo>
                    <a:pt x="590484" y="42495"/>
                  </a:lnTo>
                  <a:lnTo>
                    <a:pt x="590484" y="54402"/>
                  </a:lnTo>
                  <a:lnTo>
                    <a:pt x="591072" y="60264"/>
                  </a:lnTo>
                  <a:lnTo>
                    <a:pt x="591033" y="60914"/>
                  </a:lnTo>
                  <a:lnTo>
                    <a:pt x="589269" y="67432"/>
                  </a:lnTo>
                  <a:lnTo>
                    <a:pt x="588078" y="73289"/>
                  </a:lnTo>
                  <a:lnTo>
                    <a:pt x="588054" y="73405"/>
                  </a:lnTo>
                  <a:lnTo>
                    <a:pt x="586439" y="79339"/>
                  </a:lnTo>
                  <a:lnTo>
                    <a:pt x="589153" y="85283"/>
                  </a:lnTo>
                  <a:lnTo>
                    <a:pt x="589033" y="87043"/>
                  </a:lnTo>
                  <a:lnTo>
                    <a:pt x="587490" y="87857"/>
                  </a:lnTo>
                  <a:lnTo>
                    <a:pt x="584685" y="87857"/>
                  </a:lnTo>
                  <a:lnTo>
                    <a:pt x="583359" y="92259"/>
                  </a:lnTo>
                  <a:lnTo>
                    <a:pt x="583359" y="97831"/>
                  </a:lnTo>
                  <a:lnTo>
                    <a:pt x="588252" y="103274"/>
                  </a:lnTo>
                  <a:lnTo>
                    <a:pt x="588584" y="103799"/>
                  </a:lnTo>
                  <a:lnTo>
                    <a:pt x="590951" y="109758"/>
                  </a:lnTo>
                  <a:lnTo>
                    <a:pt x="590783" y="111450"/>
                  </a:lnTo>
                  <a:lnTo>
                    <a:pt x="589269" y="112236"/>
                  </a:lnTo>
                  <a:lnTo>
                    <a:pt x="588666" y="112236"/>
                  </a:lnTo>
                  <a:lnTo>
                    <a:pt x="587625" y="111913"/>
                  </a:lnTo>
                  <a:lnTo>
                    <a:pt x="582322" y="108225"/>
                  </a:lnTo>
                  <a:lnTo>
                    <a:pt x="577926" y="109083"/>
                  </a:lnTo>
                  <a:cubicBezTo>
                    <a:pt x="566356" y="127802"/>
                    <a:pt x="576928" y="116078"/>
                    <a:pt x="560562" y="127999"/>
                  </a:cubicBezTo>
                  <a:lnTo>
                    <a:pt x="560595" y="127999"/>
                  </a:lnTo>
                  <a:cubicBezTo>
                    <a:pt x="550621" y="137448"/>
                    <a:pt x="537606" y="141854"/>
                    <a:pt x="524055" y="141999"/>
                  </a:cubicBezTo>
                  <a:cubicBezTo>
                    <a:pt x="503431" y="148526"/>
                    <a:pt x="503243" y="139656"/>
                    <a:pt x="481116" y="151949"/>
                  </a:cubicBezTo>
                  <a:cubicBezTo>
                    <a:pt x="474753" y="153944"/>
                    <a:pt x="469233" y="157960"/>
                    <a:pt x="462595" y="159155"/>
                  </a:cubicBezTo>
                  <a:lnTo>
                    <a:pt x="457317" y="161783"/>
                  </a:lnTo>
                  <a:lnTo>
                    <a:pt x="454641" y="167148"/>
                  </a:lnTo>
                  <a:lnTo>
                    <a:pt x="451662" y="173676"/>
                  </a:lnTo>
                  <a:lnTo>
                    <a:pt x="451493" y="173984"/>
                  </a:lnTo>
                  <a:lnTo>
                    <a:pt x="447111" y="179991"/>
                  </a:lnTo>
                  <a:lnTo>
                    <a:pt x="447579" y="184517"/>
                  </a:lnTo>
                  <a:lnTo>
                    <a:pt x="452708" y="189145"/>
                  </a:lnTo>
                  <a:lnTo>
                    <a:pt x="458242" y="190770"/>
                  </a:lnTo>
                  <a:lnTo>
                    <a:pt x="464524" y="192520"/>
                  </a:lnTo>
                  <a:lnTo>
                    <a:pt x="469952" y="192520"/>
                  </a:lnTo>
                  <a:lnTo>
                    <a:pt x="475645" y="190808"/>
                  </a:lnTo>
                  <a:lnTo>
                    <a:pt x="479169" y="189627"/>
                  </a:lnTo>
                  <a:cubicBezTo>
                    <a:pt x="480017" y="189367"/>
                    <a:pt x="480938" y="189714"/>
                    <a:pt x="481348" y="190510"/>
                  </a:cubicBezTo>
                  <a:cubicBezTo>
                    <a:pt x="481777" y="191281"/>
                    <a:pt x="481584" y="192235"/>
                    <a:pt x="480900" y="192790"/>
                  </a:cubicBezTo>
                  <a:lnTo>
                    <a:pt x="477915" y="195157"/>
                  </a:lnTo>
                  <a:lnTo>
                    <a:pt x="477462" y="195460"/>
                  </a:lnTo>
                  <a:lnTo>
                    <a:pt x="474478" y="196622"/>
                  </a:lnTo>
                  <a:lnTo>
                    <a:pt x="474285" y="196709"/>
                  </a:lnTo>
                  <a:lnTo>
                    <a:pt x="467725" y="198464"/>
                  </a:lnTo>
                  <a:lnTo>
                    <a:pt x="467228" y="198560"/>
                  </a:lnTo>
                  <a:lnTo>
                    <a:pt x="454954" y="198560"/>
                  </a:lnTo>
                  <a:lnTo>
                    <a:pt x="449594" y="199597"/>
                  </a:lnTo>
                  <a:lnTo>
                    <a:pt x="443404" y="204668"/>
                  </a:lnTo>
                  <a:cubicBezTo>
                    <a:pt x="440536" y="206900"/>
                    <a:pt x="439287" y="206799"/>
                    <a:pt x="435156" y="208587"/>
                  </a:cubicBezTo>
                  <a:cubicBezTo>
                    <a:pt x="429776" y="210969"/>
                    <a:pt x="423779" y="212203"/>
                    <a:pt x="417854" y="211639"/>
                  </a:cubicBezTo>
                  <a:lnTo>
                    <a:pt x="417546" y="211624"/>
                  </a:lnTo>
                  <a:lnTo>
                    <a:pt x="410994" y="210414"/>
                  </a:lnTo>
                  <a:lnTo>
                    <a:pt x="410397" y="210178"/>
                  </a:lnTo>
                  <a:lnTo>
                    <a:pt x="404448" y="206596"/>
                  </a:lnTo>
                  <a:lnTo>
                    <a:pt x="404323" y="206572"/>
                  </a:lnTo>
                  <a:lnTo>
                    <a:pt x="398697" y="202619"/>
                  </a:lnTo>
                  <a:cubicBezTo>
                    <a:pt x="392227" y="202205"/>
                    <a:pt x="386645" y="198864"/>
                    <a:pt x="380050" y="199100"/>
                  </a:cubicBezTo>
                  <a:cubicBezTo>
                    <a:pt x="373350" y="198406"/>
                    <a:pt x="366972" y="196063"/>
                    <a:pt x="360700" y="193677"/>
                  </a:cubicBezTo>
                  <a:lnTo>
                    <a:pt x="360199" y="193373"/>
                  </a:lnTo>
                  <a:lnTo>
                    <a:pt x="354684" y="188948"/>
                  </a:lnTo>
                  <a:lnTo>
                    <a:pt x="348672" y="188446"/>
                  </a:lnTo>
                  <a:lnTo>
                    <a:pt x="348658" y="188422"/>
                  </a:lnTo>
                  <a:lnTo>
                    <a:pt x="343625" y="187906"/>
                  </a:lnTo>
                  <a:lnTo>
                    <a:pt x="338881" y="193209"/>
                  </a:lnTo>
                  <a:cubicBezTo>
                    <a:pt x="338279" y="193889"/>
                    <a:pt x="337185" y="193995"/>
                    <a:pt x="336447" y="193431"/>
                  </a:cubicBezTo>
                  <a:lnTo>
                    <a:pt x="331670" y="189849"/>
                  </a:lnTo>
                  <a:cubicBezTo>
                    <a:pt x="330975" y="189343"/>
                    <a:pt x="330758" y="188374"/>
                    <a:pt x="331168" y="187593"/>
                  </a:cubicBezTo>
                  <a:lnTo>
                    <a:pt x="333685" y="182507"/>
                  </a:lnTo>
                  <a:cubicBezTo>
                    <a:pt x="329872" y="177074"/>
                    <a:pt x="327596" y="170788"/>
                    <a:pt x="325133" y="164685"/>
                  </a:cubicBezTo>
                  <a:lnTo>
                    <a:pt x="325032" y="163653"/>
                  </a:lnTo>
                  <a:lnTo>
                    <a:pt x="326232" y="157690"/>
                  </a:lnTo>
                  <a:lnTo>
                    <a:pt x="327076" y="156494"/>
                  </a:lnTo>
                  <a:lnTo>
                    <a:pt x="332132" y="153438"/>
                  </a:lnTo>
                  <a:lnTo>
                    <a:pt x="332132" y="149148"/>
                  </a:lnTo>
                  <a:lnTo>
                    <a:pt x="328131" y="144129"/>
                  </a:lnTo>
                  <a:lnTo>
                    <a:pt x="322973" y="142606"/>
                  </a:lnTo>
                  <a:lnTo>
                    <a:pt x="317227" y="142606"/>
                  </a:lnTo>
                  <a:lnTo>
                    <a:pt x="311138" y="146487"/>
                  </a:lnTo>
                  <a:lnTo>
                    <a:pt x="310150" y="146771"/>
                  </a:lnTo>
                  <a:lnTo>
                    <a:pt x="301830" y="146771"/>
                  </a:lnTo>
                  <a:lnTo>
                    <a:pt x="300528" y="146255"/>
                  </a:lnTo>
                  <a:lnTo>
                    <a:pt x="298927" y="144631"/>
                  </a:lnTo>
                  <a:lnTo>
                    <a:pt x="293379" y="141266"/>
                  </a:lnTo>
                  <a:lnTo>
                    <a:pt x="287064" y="139564"/>
                  </a:lnTo>
                  <a:lnTo>
                    <a:pt x="286504" y="139299"/>
                  </a:lnTo>
                  <a:lnTo>
                    <a:pt x="280835" y="135308"/>
                  </a:lnTo>
                  <a:lnTo>
                    <a:pt x="277119" y="134334"/>
                  </a:lnTo>
                  <a:lnTo>
                    <a:pt x="277374" y="136874"/>
                  </a:lnTo>
                  <a:lnTo>
                    <a:pt x="282744" y="141155"/>
                  </a:lnTo>
                  <a:lnTo>
                    <a:pt x="283410" y="142582"/>
                  </a:lnTo>
                  <a:lnTo>
                    <a:pt x="283410" y="149133"/>
                  </a:lnTo>
                  <a:lnTo>
                    <a:pt x="283120" y="150088"/>
                  </a:lnTo>
                  <a:lnTo>
                    <a:pt x="279404" y="155960"/>
                  </a:lnTo>
                  <a:lnTo>
                    <a:pt x="280946" y="161094"/>
                  </a:lnTo>
                  <a:lnTo>
                    <a:pt x="281023" y="161445"/>
                  </a:lnTo>
                  <a:lnTo>
                    <a:pt x="281597" y="167365"/>
                  </a:lnTo>
                  <a:lnTo>
                    <a:pt x="281611" y="167573"/>
                  </a:lnTo>
                  <a:lnTo>
                    <a:pt x="281611" y="173136"/>
                  </a:lnTo>
                  <a:lnTo>
                    <a:pt x="284258" y="178930"/>
                  </a:lnTo>
                  <a:lnTo>
                    <a:pt x="289860" y="183418"/>
                  </a:lnTo>
                  <a:lnTo>
                    <a:pt x="290549" y="184836"/>
                  </a:lnTo>
                  <a:lnTo>
                    <a:pt x="290549" y="190519"/>
                  </a:lnTo>
                  <a:lnTo>
                    <a:pt x="292222" y="196063"/>
                  </a:lnTo>
                  <a:lnTo>
                    <a:pt x="295100" y="201872"/>
                  </a:lnTo>
                  <a:lnTo>
                    <a:pt x="295317" y="202658"/>
                  </a:lnTo>
                  <a:lnTo>
                    <a:pt x="295317" y="209233"/>
                  </a:lnTo>
                  <a:lnTo>
                    <a:pt x="295302" y="209542"/>
                  </a:lnTo>
                  <a:lnTo>
                    <a:pt x="294121" y="216002"/>
                  </a:lnTo>
                  <a:lnTo>
                    <a:pt x="293572" y="221984"/>
                  </a:lnTo>
                  <a:lnTo>
                    <a:pt x="296305" y="227465"/>
                  </a:lnTo>
                  <a:lnTo>
                    <a:pt x="296440" y="228757"/>
                  </a:lnTo>
                  <a:lnTo>
                    <a:pt x="294671" y="235130"/>
                  </a:lnTo>
                  <a:lnTo>
                    <a:pt x="294116" y="240944"/>
                  </a:lnTo>
                  <a:lnTo>
                    <a:pt x="294049" y="241296"/>
                  </a:lnTo>
                  <a:lnTo>
                    <a:pt x="292270" y="247235"/>
                  </a:lnTo>
                  <a:lnTo>
                    <a:pt x="290573" y="252837"/>
                  </a:lnTo>
                  <a:lnTo>
                    <a:pt x="291142" y="259055"/>
                  </a:lnTo>
                  <a:lnTo>
                    <a:pt x="291113" y="259504"/>
                  </a:lnTo>
                  <a:lnTo>
                    <a:pt x="290612" y="262507"/>
                  </a:lnTo>
                  <a:lnTo>
                    <a:pt x="293273" y="268388"/>
                  </a:lnTo>
                  <a:lnTo>
                    <a:pt x="297795" y="274583"/>
                  </a:lnTo>
                  <a:lnTo>
                    <a:pt x="303555" y="279196"/>
                  </a:lnTo>
                  <a:cubicBezTo>
                    <a:pt x="304192" y="279726"/>
                    <a:pt x="304394" y="280584"/>
                    <a:pt x="304105" y="281346"/>
                  </a:cubicBezTo>
                  <a:cubicBezTo>
                    <a:pt x="303791" y="282064"/>
                    <a:pt x="303049" y="282508"/>
                    <a:pt x="302225" y="282445"/>
                  </a:cubicBezTo>
                  <a:lnTo>
                    <a:pt x="296368" y="281857"/>
                  </a:lnTo>
                  <a:lnTo>
                    <a:pt x="289903" y="281857"/>
                  </a:lnTo>
                  <a:lnTo>
                    <a:pt x="289397" y="281770"/>
                  </a:lnTo>
                  <a:lnTo>
                    <a:pt x="284287" y="280237"/>
                  </a:lnTo>
                  <a:lnTo>
                    <a:pt x="281414" y="282146"/>
                  </a:lnTo>
                  <a:lnTo>
                    <a:pt x="280392" y="282445"/>
                  </a:lnTo>
                  <a:lnTo>
                    <a:pt x="267892" y="282445"/>
                  </a:lnTo>
                  <a:lnTo>
                    <a:pt x="267222" y="282330"/>
                  </a:lnTo>
                  <a:lnTo>
                    <a:pt x="261268" y="279943"/>
                  </a:lnTo>
                  <a:lnTo>
                    <a:pt x="260207" y="278791"/>
                  </a:lnTo>
                  <a:lnTo>
                    <a:pt x="258424" y="272847"/>
                  </a:lnTo>
                  <a:lnTo>
                    <a:pt x="258424" y="271782"/>
                  </a:lnTo>
                  <a:lnTo>
                    <a:pt x="259504" y="268185"/>
                  </a:lnTo>
                  <a:lnTo>
                    <a:pt x="256418" y="268185"/>
                  </a:lnTo>
                  <a:lnTo>
                    <a:pt x="251270" y="270755"/>
                  </a:lnTo>
                  <a:lnTo>
                    <a:pt x="247958" y="275537"/>
                  </a:lnTo>
                  <a:lnTo>
                    <a:pt x="249944" y="280565"/>
                  </a:lnTo>
                  <a:lnTo>
                    <a:pt x="249992" y="280724"/>
                  </a:lnTo>
                  <a:lnTo>
                    <a:pt x="251776" y="286683"/>
                  </a:lnTo>
                  <a:lnTo>
                    <a:pt x="251882" y="287174"/>
                  </a:lnTo>
                  <a:lnTo>
                    <a:pt x="251882" y="288355"/>
                  </a:lnTo>
                  <a:lnTo>
                    <a:pt x="250971" y="289937"/>
                  </a:lnTo>
                  <a:lnTo>
                    <a:pt x="248016" y="291706"/>
                  </a:lnTo>
                  <a:lnTo>
                    <a:pt x="245832" y="291470"/>
                  </a:lnTo>
                  <a:lnTo>
                    <a:pt x="245451" y="289358"/>
                  </a:lnTo>
                  <a:lnTo>
                    <a:pt x="246266" y="287685"/>
                  </a:lnTo>
                  <a:lnTo>
                    <a:pt x="244188" y="282498"/>
                  </a:lnTo>
                  <a:lnTo>
                    <a:pt x="244068" y="282064"/>
                  </a:lnTo>
                  <a:lnTo>
                    <a:pt x="243542" y="278275"/>
                  </a:lnTo>
                  <a:lnTo>
                    <a:pt x="240896" y="273859"/>
                  </a:lnTo>
                  <a:cubicBezTo>
                    <a:pt x="234031" y="275749"/>
                    <a:pt x="236528" y="276463"/>
                    <a:pt x="228015" y="275894"/>
                  </a:cubicBezTo>
                  <a:lnTo>
                    <a:pt x="226689" y="275325"/>
                  </a:lnTo>
                  <a:lnTo>
                    <a:pt x="220745" y="268764"/>
                  </a:lnTo>
                  <a:lnTo>
                    <a:pt x="220263" y="267535"/>
                  </a:lnTo>
                  <a:lnTo>
                    <a:pt x="220263" y="265423"/>
                  </a:lnTo>
                  <a:lnTo>
                    <a:pt x="215163" y="267964"/>
                  </a:lnTo>
                  <a:lnTo>
                    <a:pt x="213967" y="268128"/>
                  </a:lnTo>
                  <a:lnTo>
                    <a:pt x="208881" y="267139"/>
                  </a:lnTo>
                  <a:lnTo>
                    <a:pt x="202986" y="271950"/>
                  </a:lnTo>
                  <a:lnTo>
                    <a:pt x="202663" y="272163"/>
                  </a:lnTo>
                  <a:lnTo>
                    <a:pt x="196858" y="275026"/>
                  </a:lnTo>
                  <a:lnTo>
                    <a:pt x="191074" y="279678"/>
                  </a:lnTo>
                  <a:lnTo>
                    <a:pt x="190134" y="280064"/>
                  </a:lnTo>
                  <a:lnTo>
                    <a:pt x="184185" y="280633"/>
                  </a:lnTo>
                  <a:cubicBezTo>
                    <a:pt x="183303" y="280748"/>
                    <a:pt x="182478" y="280194"/>
                    <a:pt x="182242" y="279312"/>
                  </a:cubicBezTo>
                  <a:lnTo>
                    <a:pt x="180632" y="273325"/>
                  </a:lnTo>
                  <a:lnTo>
                    <a:pt x="174515" y="268345"/>
                  </a:lnTo>
                  <a:lnTo>
                    <a:pt x="173888" y="266633"/>
                  </a:lnTo>
                  <a:lnTo>
                    <a:pt x="174934" y="260877"/>
                  </a:lnTo>
                  <a:lnTo>
                    <a:pt x="170682" y="255570"/>
                  </a:lnTo>
                  <a:lnTo>
                    <a:pt x="170484" y="255256"/>
                  </a:lnTo>
                  <a:lnTo>
                    <a:pt x="167491" y="249293"/>
                  </a:lnTo>
                  <a:lnTo>
                    <a:pt x="167327" y="248879"/>
                  </a:lnTo>
                  <a:lnTo>
                    <a:pt x="166324" y="243798"/>
                  </a:lnTo>
                  <a:lnTo>
                    <a:pt x="161176" y="241204"/>
                  </a:lnTo>
                  <a:lnTo>
                    <a:pt x="160231" y="240057"/>
                  </a:lnTo>
                  <a:lnTo>
                    <a:pt x="159276" y="236509"/>
                  </a:lnTo>
                  <a:lnTo>
                    <a:pt x="155531" y="240293"/>
                  </a:lnTo>
                  <a:lnTo>
                    <a:pt x="153082" y="240389"/>
                  </a:lnTo>
                  <a:cubicBezTo>
                    <a:pt x="152383" y="239792"/>
                    <a:pt x="152219" y="238707"/>
                    <a:pt x="152768" y="237940"/>
                  </a:cubicBezTo>
                  <a:lnTo>
                    <a:pt x="156553" y="232522"/>
                  </a:lnTo>
                  <a:lnTo>
                    <a:pt x="156225" y="229094"/>
                  </a:lnTo>
                  <a:lnTo>
                    <a:pt x="152768" y="230502"/>
                  </a:lnTo>
                  <a:lnTo>
                    <a:pt x="146400" y="235101"/>
                  </a:lnTo>
                  <a:lnTo>
                    <a:pt x="144732" y="235361"/>
                  </a:lnTo>
                  <a:lnTo>
                    <a:pt x="143580" y="234156"/>
                  </a:lnTo>
                  <a:lnTo>
                    <a:pt x="142192" y="229485"/>
                  </a:lnTo>
                  <a:lnTo>
                    <a:pt x="137978" y="229485"/>
                  </a:lnTo>
                  <a:lnTo>
                    <a:pt x="131789" y="232315"/>
                  </a:lnTo>
                  <a:lnTo>
                    <a:pt x="129894" y="232069"/>
                  </a:lnTo>
                  <a:lnTo>
                    <a:pt x="124432" y="227706"/>
                  </a:lnTo>
                  <a:lnTo>
                    <a:pt x="119925" y="227706"/>
                  </a:lnTo>
                  <a:lnTo>
                    <a:pt x="115461" y="232681"/>
                  </a:lnTo>
                  <a:lnTo>
                    <a:pt x="114386" y="238630"/>
                  </a:lnTo>
                  <a:lnTo>
                    <a:pt x="113793" y="244511"/>
                  </a:lnTo>
                  <a:lnTo>
                    <a:pt x="113007" y="245837"/>
                  </a:lnTo>
                  <a:lnTo>
                    <a:pt x="111464" y="246068"/>
                  </a:lnTo>
                  <a:lnTo>
                    <a:pt x="105516" y="244275"/>
                  </a:lnTo>
                  <a:lnTo>
                    <a:pt x="104971" y="244048"/>
                  </a:lnTo>
                  <a:lnTo>
                    <a:pt x="100984" y="241180"/>
                  </a:lnTo>
                  <a:lnTo>
                    <a:pt x="95653" y="239040"/>
                  </a:lnTo>
                  <a:lnTo>
                    <a:pt x="90253" y="239536"/>
                  </a:lnTo>
                  <a:lnTo>
                    <a:pt x="85384" y="244950"/>
                  </a:lnTo>
                  <a:lnTo>
                    <a:pt x="84025" y="245572"/>
                  </a:lnTo>
                  <a:lnTo>
                    <a:pt x="82670" y="244950"/>
                  </a:lnTo>
                  <a:lnTo>
                    <a:pt x="77305" y="239020"/>
                  </a:lnTo>
                  <a:lnTo>
                    <a:pt x="76861" y="237613"/>
                  </a:lnTo>
                  <a:lnTo>
                    <a:pt x="77199" y="233756"/>
                  </a:lnTo>
                  <a:cubicBezTo>
                    <a:pt x="72079" y="235376"/>
                    <a:pt x="66685" y="236909"/>
                    <a:pt x="61300" y="235511"/>
                  </a:cubicBezTo>
                  <a:lnTo>
                    <a:pt x="55891" y="239290"/>
                  </a:lnTo>
                  <a:lnTo>
                    <a:pt x="53982" y="239358"/>
                  </a:lnTo>
                  <a:lnTo>
                    <a:pt x="47754" y="235988"/>
                  </a:lnTo>
                  <a:lnTo>
                    <a:pt x="42581" y="235467"/>
                  </a:lnTo>
                  <a:lnTo>
                    <a:pt x="36445" y="237733"/>
                  </a:lnTo>
                  <a:lnTo>
                    <a:pt x="35635" y="237834"/>
                  </a:lnTo>
                  <a:lnTo>
                    <a:pt x="30289" y="237290"/>
                  </a:lnTo>
                  <a:lnTo>
                    <a:pt x="24875" y="240558"/>
                  </a:lnTo>
                  <a:lnTo>
                    <a:pt x="24229" y="240780"/>
                  </a:lnTo>
                  <a:lnTo>
                    <a:pt x="17822" y="241971"/>
                  </a:lnTo>
                  <a:lnTo>
                    <a:pt x="12177" y="243629"/>
                  </a:lnTo>
                  <a:lnTo>
                    <a:pt x="6788" y="247027"/>
                  </a:lnTo>
                  <a:lnTo>
                    <a:pt x="7289" y="251921"/>
                  </a:lnTo>
                  <a:lnTo>
                    <a:pt x="6879" y="253237"/>
                  </a:lnTo>
                  <a:lnTo>
                    <a:pt x="2068" y="259128"/>
                  </a:lnTo>
                  <a:lnTo>
                    <a:pt x="3105" y="264223"/>
                  </a:lnTo>
                  <a:lnTo>
                    <a:pt x="3119" y="264565"/>
                  </a:lnTo>
                  <a:lnTo>
                    <a:pt x="3119" y="268494"/>
                  </a:lnTo>
                  <a:lnTo>
                    <a:pt x="8566" y="267004"/>
                  </a:lnTo>
                  <a:lnTo>
                    <a:pt x="9796" y="267106"/>
                  </a:lnTo>
                  <a:lnTo>
                    <a:pt x="15807" y="269829"/>
                  </a:lnTo>
                  <a:lnTo>
                    <a:pt x="21095" y="268779"/>
                  </a:lnTo>
                  <a:lnTo>
                    <a:pt x="26967" y="267004"/>
                  </a:lnTo>
                  <a:lnTo>
                    <a:pt x="27305" y="266956"/>
                  </a:lnTo>
                  <a:lnTo>
                    <a:pt x="33171" y="266359"/>
                  </a:lnTo>
                  <a:lnTo>
                    <a:pt x="36045" y="265823"/>
                  </a:lnTo>
                  <a:lnTo>
                    <a:pt x="36213" y="265737"/>
                  </a:lnTo>
                  <a:lnTo>
                    <a:pt x="42191" y="265182"/>
                  </a:lnTo>
                  <a:cubicBezTo>
                    <a:pt x="43107" y="265052"/>
                    <a:pt x="43960" y="265684"/>
                    <a:pt x="44148" y="266585"/>
                  </a:cubicBezTo>
                  <a:cubicBezTo>
                    <a:pt x="44341" y="267506"/>
                    <a:pt x="43772" y="268427"/>
                    <a:pt x="42890" y="268687"/>
                  </a:cubicBezTo>
                  <a:lnTo>
                    <a:pt x="37365" y="270369"/>
                  </a:lnTo>
                  <a:lnTo>
                    <a:pt x="37081" y="270654"/>
                  </a:lnTo>
                  <a:lnTo>
                    <a:pt x="36155" y="271160"/>
                  </a:lnTo>
                  <a:lnTo>
                    <a:pt x="33841" y="271589"/>
                  </a:lnTo>
                  <a:lnTo>
                    <a:pt x="31364" y="274684"/>
                  </a:lnTo>
                  <a:cubicBezTo>
                    <a:pt x="37433" y="275431"/>
                    <a:pt x="42880" y="279090"/>
                    <a:pt x="47571" y="282720"/>
                  </a:cubicBezTo>
                  <a:cubicBezTo>
                    <a:pt x="48270" y="283221"/>
                    <a:pt x="48540" y="284147"/>
                    <a:pt x="48188" y="284947"/>
                  </a:cubicBezTo>
                  <a:cubicBezTo>
                    <a:pt x="47865" y="285719"/>
                    <a:pt x="47002" y="286181"/>
                    <a:pt x="46192" y="286012"/>
                  </a:cubicBezTo>
                  <a:lnTo>
                    <a:pt x="40489" y="284870"/>
                  </a:lnTo>
                  <a:lnTo>
                    <a:pt x="34193" y="285444"/>
                  </a:lnTo>
                  <a:lnTo>
                    <a:pt x="33205" y="285246"/>
                  </a:lnTo>
                  <a:lnTo>
                    <a:pt x="27642" y="282469"/>
                  </a:lnTo>
                  <a:lnTo>
                    <a:pt x="22117" y="282469"/>
                  </a:lnTo>
                  <a:lnTo>
                    <a:pt x="20710" y="281794"/>
                  </a:lnTo>
                  <a:lnTo>
                    <a:pt x="16704" y="276892"/>
                  </a:lnTo>
                  <a:lnTo>
                    <a:pt x="13628" y="280319"/>
                  </a:lnTo>
                  <a:lnTo>
                    <a:pt x="16578" y="285747"/>
                  </a:lnTo>
                  <a:lnTo>
                    <a:pt x="16603" y="285800"/>
                  </a:lnTo>
                  <a:lnTo>
                    <a:pt x="18584" y="289710"/>
                  </a:lnTo>
                  <a:lnTo>
                    <a:pt x="23361" y="285800"/>
                  </a:lnTo>
                  <a:lnTo>
                    <a:pt x="25468" y="285641"/>
                  </a:lnTo>
                  <a:lnTo>
                    <a:pt x="31388" y="289233"/>
                  </a:lnTo>
                  <a:lnTo>
                    <a:pt x="31600" y="289353"/>
                  </a:lnTo>
                  <a:lnTo>
                    <a:pt x="37558" y="294097"/>
                  </a:lnTo>
                  <a:lnTo>
                    <a:pt x="38185" y="295071"/>
                  </a:lnTo>
                  <a:lnTo>
                    <a:pt x="39949" y="301593"/>
                  </a:lnTo>
                  <a:lnTo>
                    <a:pt x="39549" y="303290"/>
                  </a:lnTo>
                  <a:lnTo>
                    <a:pt x="34193" y="309268"/>
                  </a:lnTo>
                  <a:lnTo>
                    <a:pt x="32381" y="309740"/>
                  </a:lnTo>
                  <a:lnTo>
                    <a:pt x="26061" y="308029"/>
                  </a:lnTo>
                  <a:lnTo>
                    <a:pt x="20430" y="308029"/>
                  </a:lnTo>
                  <a:lnTo>
                    <a:pt x="13985" y="308602"/>
                  </a:lnTo>
                  <a:lnTo>
                    <a:pt x="7834" y="308602"/>
                  </a:lnTo>
                  <a:lnTo>
                    <a:pt x="7670" y="308602"/>
                  </a:lnTo>
                  <a:lnTo>
                    <a:pt x="2242" y="308096"/>
                  </a:lnTo>
                  <a:lnTo>
                    <a:pt x="0" y="309171"/>
                  </a:lnTo>
                  <a:lnTo>
                    <a:pt x="1514" y="309947"/>
                  </a:lnTo>
                  <a:lnTo>
                    <a:pt x="7164" y="312768"/>
                  </a:lnTo>
                  <a:lnTo>
                    <a:pt x="13363" y="313327"/>
                  </a:lnTo>
                  <a:lnTo>
                    <a:pt x="14626" y="314002"/>
                  </a:lnTo>
                  <a:lnTo>
                    <a:pt x="19958" y="320529"/>
                  </a:lnTo>
                  <a:lnTo>
                    <a:pt x="20136" y="320731"/>
                  </a:lnTo>
                  <a:lnTo>
                    <a:pt x="23704" y="326680"/>
                  </a:lnTo>
                  <a:lnTo>
                    <a:pt x="23901" y="327162"/>
                  </a:lnTo>
                  <a:lnTo>
                    <a:pt x="25670" y="333713"/>
                  </a:lnTo>
                  <a:lnTo>
                    <a:pt x="25728" y="334017"/>
                  </a:lnTo>
                  <a:lnTo>
                    <a:pt x="26345" y="339937"/>
                  </a:lnTo>
                  <a:lnTo>
                    <a:pt x="26234" y="340771"/>
                  </a:lnTo>
                  <a:lnTo>
                    <a:pt x="24523" y="345452"/>
                  </a:lnTo>
                  <a:lnTo>
                    <a:pt x="29093" y="346696"/>
                  </a:lnTo>
                  <a:lnTo>
                    <a:pt x="34299" y="347742"/>
                  </a:lnTo>
                  <a:lnTo>
                    <a:pt x="38532" y="345191"/>
                  </a:lnTo>
                  <a:lnTo>
                    <a:pt x="37602" y="340477"/>
                  </a:lnTo>
                  <a:lnTo>
                    <a:pt x="38233" y="338737"/>
                  </a:lnTo>
                  <a:lnTo>
                    <a:pt x="40070" y="338438"/>
                  </a:lnTo>
                  <a:lnTo>
                    <a:pt x="43227" y="339686"/>
                  </a:lnTo>
                  <a:lnTo>
                    <a:pt x="42938" y="336736"/>
                  </a:lnTo>
                  <a:cubicBezTo>
                    <a:pt x="42846" y="335950"/>
                    <a:pt x="43304" y="335193"/>
                    <a:pt x="44056" y="334885"/>
                  </a:cubicBezTo>
                  <a:cubicBezTo>
                    <a:pt x="44799" y="334596"/>
                    <a:pt x="45643" y="334784"/>
                    <a:pt x="46178" y="335425"/>
                  </a:cubicBezTo>
                  <a:lnTo>
                    <a:pt x="50695" y="341084"/>
                  </a:lnTo>
                  <a:lnTo>
                    <a:pt x="55631" y="343528"/>
                  </a:lnTo>
                  <a:lnTo>
                    <a:pt x="60895" y="341976"/>
                  </a:lnTo>
                  <a:cubicBezTo>
                    <a:pt x="61749" y="341677"/>
                    <a:pt x="62679" y="342121"/>
                    <a:pt x="63060" y="342955"/>
                  </a:cubicBezTo>
                  <a:lnTo>
                    <a:pt x="66039" y="349482"/>
                  </a:lnTo>
                  <a:lnTo>
                    <a:pt x="66087" y="349583"/>
                  </a:lnTo>
                  <a:lnTo>
                    <a:pt x="68083" y="354573"/>
                  </a:lnTo>
                  <a:cubicBezTo>
                    <a:pt x="90403" y="357325"/>
                    <a:pt x="71501" y="355614"/>
                    <a:pt x="89154" y="360941"/>
                  </a:cubicBezTo>
                  <a:lnTo>
                    <a:pt x="95079" y="362189"/>
                  </a:lnTo>
                  <a:lnTo>
                    <a:pt x="96390" y="363216"/>
                  </a:lnTo>
                  <a:lnTo>
                    <a:pt x="98743" y="368442"/>
                  </a:lnTo>
                  <a:lnTo>
                    <a:pt x="101240" y="372645"/>
                  </a:lnTo>
                  <a:lnTo>
                    <a:pt x="105598" y="369599"/>
                  </a:lnTo>
                  <a:lnTo>
                    <a:pt x="106793" y="369286"/>
                  </a:lnTo>
                  <a:lnTo>
                    <a:pt x="113345" y="369873"/>
                  </a:lnTo>
                  <a:lnTo>
                    <a:pt x="114810" y="370843"/>
                  </a:lnTo>
                  <a:lnTo>
                    <a:pt x="114747" y="372588"/>
                  </a:lnTo>
                  <a:lnTo>
                    <a:pt x="112183" y="376873"/>
                  </a:lnTo>
                  <a:lnTo>
                    <a:pt x="115895" y="378758"/>
                  </a:lnTo>
                  <a:lnTo>
                    <a:pt x="121328" y="378271"/>
                  </a:lnTo>
                  <a:lnTo>
                    <a:pt x="126838" y="373325"/>
                  </a:lnTo>
                  <a:lnTo>
                    <a:pt x="128882" y="373031"/>
                  </a:lnTo>
                  <a:cubicBezTo>
                    <a:pt x="129561" y="373369"/>
                    <a:pt x="129947" y="374063"/>
                    <a:pt x="129860" y="374853"/>
                  </a:cubicBezTo>
                  <a:lnTo>
                    <a:pt x="129258" y="380783"/>
                  </a:lnTo>
                  <a:lnTo>
                    <a:pt x="128530" y="382051"/>
                  </a:lnTo>
                  <a:lnTo>
                    <a:pt x="123227" y="385951"/>
                  </a:lnTo>
                  <a:lnTo>
                    <a:pt x="125531" y="390521"/>
                  </a:lnTo>
                  <a:lnTo>
                    <a:pt x="125671" y="390983"/>
                  </a:lnTo>
                  <a:lnTo>
                    <a:pt x="126736" y="396233"/>
                  </a:lnTo>
                  <a:lnTo>
                    <a:pt x="128226" y="395481"/>
                  </a:lnTo>
                  <a:lnTo>
                    <a:pt x="134594" y="396040"/>
                  </a:lnTo>
                  <a:lnTo>
                    <a:pt x="139333" y="395597"/>
                  </a:lnTo>
                  <a:lnTo>
                    <a:pt x="139333" y="391340"/>
                  </a:lnTo>
                  <a:lnTo>
                    <a:pt x="140181" y="389793"/>
                  </a:lnTo>
                  <a:lnTo>
                    <a:pt x="141951" y="389701"/>
                  </a:lnTo>
                  <a:lnTo>
                    <a:pt x="144361" y="390887"/>
                  </a:lnTo>
                  <a:lnTo>
                    <a:pt x="145152" y="391683"/>
                  </a:lnTo>
                  <a:lnTo>
                    <a:pt x="147282" y="395954"/>
                  </a:lnTo>
                  <a:lnTo>
                    <a:pt x="152180" y="393317"/>
                  </a:lnTo>
                  <a:lnTo>
                    <a:pt x="153583" y="393133"/>
                  </a:lnTo>
                  <a:lnTo>
                    <a:pt x="159117" y="394811"/>
                  </a:lnTo>
                  <a:lnTo>
                    <a:pt x="165230" y="393726"/>
                  </a:lnTo>
                  <a:lnTo>
                    <a:pt x="166898" y="394247"/>
                  </a:lnTo>
                  <a:lnTo>
                    <a:pt x="167298" y="395954"/>
                  </a:lnTo>
                  <a:lnTo>
                    <a:pt x="165514" y="402505"/>
                  </a:lnTo>
                  <a:lnTo>
                    <a:pt x="164801" y="403508"/>
                  </a:lnTo>
                  <a:lnTo>
                    <a:pt x="158852" y="407663"/>
                  </a:lnTo>
                  <a:lnTo>
                    <a:pt x="157343" y="407967"/>
                  </a:lnTo>
                  <a:lnTo>
                    <a:pt x="150792" y="406178"/>
                  </a:lnTo>
                  <a:lnTo>
                    <a:pt x="150459" y="406048"/>
                  </a:lnTo>
                  <a:lnTo>
                    <a:pt x="150093" y="405850"/>
                  </a:lnTo>
                  <a:lnTo>
                    <a:pt x="150271" y="406178"/>
                  </a:lnTo>
                  <a:lnTo>
                    <a:pt x="155386" y="410242"/>
                  </a:lnTo>
                  <a:lnTo>
                    <a:pt x="160636" y="409741"/>
                  </a:lnTo>
                  <a:lnTo>
                    <a:pt x="166580" y="409143"/>
                  </a:lnTo>
                  <a:lnTo>
                    <a:pt x="167071" y="409148"/>
                  </a:lnTo>
                  <a:lnTo>
                    <a:pt x="173454" y="410339"/>
                  </a:lnTo>
                  <a:lnTo>
                    <a:pt x="179248" y="410339"/>
                  </a:lnTo>
                  <a:lnTo>
                    <a:pt x="180217" y="410633"/>
                  </a:lnTo>
                  <a:lnTo>
                    <a:pt x="186480" y="414620"/>
                  </a:lnTo>
                  <a:lnTo>
                    <a:pt x="192091" y="415738"/>
                  </a:lnTo>
                  <a:cubicBezTo>
                    <a:pt x="193045" y="415931"/>
                    <a:pt x="193691" y="416818"/>
                    <a:pt x="193537" y="417767"/>
                  </a:cubicBezTo>
                  <a:cubicBezTo>
                    <a:pt x="193392" y="418736"/>
                    <a:pt x="192496" y="419411"/>
                    <a:pt x="191546" y="419305"/>
                  </a:cubicBezTo>
                  <a:lnTo>
                    <a:pt x="186185" y="418736"/>
                  </a:lnTo>
                  <a:lnTo>
                    <a:pt x="186214" y="418736"/>
                  </a:lnTo>
                  <a:lnTo>
                    <a:pt x="182893" y="418385"/>
                  </a:lnTo>
                  <a:lnTo>
                    <a:pt x="183770" y="421672"/>
                  </a:lnTo>
                  <a:lnTo>
                    <a:pt x="184489" y="422106"/>
                  </a:lnTo>
                  <a:lnTo>
                    <a:pt x="187444" y="428643"/>
                  </a:lnTo>
                  <a:lnTo>
                    <a:pt x="187150" y="430562"/>
                  </a:lnTo>
                  <a:lnTo>
                    <a:pt x="185274" y="431183"/>
                  </a:lnTo>
                  <a:lnTo>
                    <a:pt x="180121" y="429588"/>
                  </a:lnTo>
                  <a:lnTo>
                    <a:pt x="175994" y="432234"/>
                  </a:lnTo>
                  <a:lnTo>
                    <a:pt x="179480" y="436631"/>
                  </a:lnTo>
                  <a:lnTo>
                    <a:pt x="179774" y="437089"/>
                  </a:lnTo>
                  <a:lnTo>
                    <a:pt x="182151" y="443669"/>
                  </a:lnTo>
                  <a:lnTo>
                    <a:pt x="181871" y="445385"/>
                  </a:lnTo>
                  <a:lnTo>
                    <a:pt x="180362" y="446050"/>
                  </a:lnTo>
                  <a:lnTo>
                    <a:pt x="180835" y="446393"/>
                  </a:lnTo>
                  <a:lnTo>
                    <a:pt x="185877" y="444903"/>
                  </a:lnTo>
                  <a:lnTo>
                    <a:pt x="187733" y="445419"/>
                  </a:lnTo>
                  <a:lnTo>
                    <a:pt x="192920" y="451107"/>
                  </a:lnTo>
                  <a:lnTo>
                    <a:pt x="197500" y="449748"/>
                  </a:lnTo>
                  <a:lnTo>
                    <a:pt x="203193" y="445771"/>
                  </a:lnTo>
                  <a:lnTo>
                    <a:pt x="203665" y="445554"/>
                  </a:lnTo>
                  <a:lnTo>
                    <a:pt x="207242" y="444325"/>
                  </a:lnTo>
                  <a:lnTo>
                    <a:pt x="208134" y="444243"/>
                  </a:lnTo>
                  <a:lnTo>
                    <a:pt x="214502" y="445443"/>
                  </a:lnTo>
                  <a:lnTo>
                    <a:pt x="220297" y="445443"/>
                  </a:lnTo>
                  <a:lnTo>
                    <a:pt x="221247" y="445698"/>
                  </a:lnTo>
                  <a:lnTo>
                    <a:pt x="227195" y="449295"/>
                  </a:lnTo>
                  <a:lnTo>
                    <a:pt x="227393" y="449391"/>
                  </a:lnTo>
                  <a:lnTo>
                    <a:pt x="233371" y="454154"/>
                  </a:lnTo>
                  <a:lnTo>
                    <a:pt x="233703" y="454549"/>
                  </a:lnTo>
                  <a:lnTo>
                    <a:pt x="237651" y="460180"/>
                  </a:lnTo>
                  <a:lnTo>
                    <a:pt x="243267" y="463535"/>
                  </a:lnTo>
                  <a:cubicBezTo>
                    <a:pt x="244010" y="464008"/>
                    <a:pt x="244333" y="464875"/>
                    <a:pt x="244039" y="465661"/>
                  </a:cubicBezTo>
                  <a:cubicBezTo>
                    <a:pt x="243788" y="466481"/>
                    <a:pt x="242988" y="466992"/>
                    <a:pt x="242144" y="466871"/>
                  </a:cubicBezTo>
                  <a:lnTo>
                    <a:pt x="236784" y="466312"/>
                  </a:lnTo>
                  <a:lnTo>
                    <a:pt x="235815" y="465921"/>
                  </a:lnTo>
                  <a:lnTo>
                    <a:pt x="229273" y="460556"/>
                  </a:lnTo>
                  <a:lnTo>
                    <a:pt x="229206" y="460508"/>
                  </a:lnTo>
                  <a:lnTo>
                    <a:pt x="223377" y="455253"/>
                  </a:lnTo>
                  <a:lnTo>
                    <a:pt x="218089" y="452105"/>
                  </a:lnTo>
                  <a:lnTo>
                    <a:pt x="212767" y="452607"/>
                  </a:lnTo>
                  <a:lnTo>
                    <a:pt x="212603" y="452607"/>
                  </a:lnTo>
                  <a:lnTo>
                    <a:pt x="206953" y="452607"/>
                  </a:lnTo>
                  <a:lnTo>
                    <a:pt x="206066" y="453792"/>
                  </a:lnTo>
                  <a:lnTo>
                    <a:pt x="206066" y="459163"/>
                  </a:lnTo>
                  <a:lnTo>
                    <a:pt x="205907" y="459881"/>
                  </a:lnTo>
                  <a:lnTo>
                    <a:pt x="202928" y="466447"/>
                  </a:lnTo>
                  <a:lnTo>
                    <a:pt x="201795" y="467454"/>
                  </a:lnTo>
                  <a:lnTo>
                    <a:pt x="200233" y="467927"/>
                  </a:lnTo>
                  <a:lnTo>
                    <a:pt x="202036" y="468819"/>
                  </a:lnTo>
                  <a:lnTo>
                    <a:pt x="207898" y="471128"/>
                  </a:lnTo>
                  <a:lnTo>
                    <a:pt x="208448" y="471509"/>
                  </a:lnTo>
                  <a:lnTo>
                    <a:pt x="214980" y="477462"/>
                  </a:lnTo>
                  <a:lnTo>
                    <a:pt x="215548" y="478301"/>
                  </a:lnTo>
                  <a:lnTo>
                    <a:pt x="217289" y="484867"/>
                  </a:lnTo>
                  <a:lnTo>
                    <a:pt x="217105" y="486260"/>
                  </a:lnTo>
                  <a:lnTo>
                    <a:pt x="215987" y="487080"/>
                  </a:lnTo>
                  <a:lnTo>
                    <a:pt x="214247" y="487542"/>
                  </a:lnTo>
                  <a:lnTo>
                    <a:pt x="212974" y="489205"/>
                  </a:lnTo>
                  <a:lnTo>
                    <a:pt x="210694" y="494942"/>
                  </a:lnTo>
                  <a:lnTo>
                    <a:pt x="210149" y="495684"/>
                  </a:lnTo>
                  <a:lnTo>
                    <a:pt x="204422" y="500264"/>
                  </a:lnTo>
                  <a:lnTo>
                    <a:pt x="200773" y="506011"/>
                  </a:lnTo>
                  <a:lnTo>
                    <a:pt x="201216" y="510686"/>
                  </a:lnTo>
                  <a:cubicBezTo>
                    <a:pt x="207401" y="515493"/>
                    <a:pt x="210993" y="522483"/>
                    <a:pt x="215187" y="528827"/>
                  </a:cubicBezTo>
                  <a:lnTo>
                    <a:pt x="215650" y="529270"/>
                  </a:lnTo>
                  <a:lnTo>
                    <a:pt x="216050" y="529888"/>
                  </a:lnTo>
                  <a:lnTo>
                    <a:pt x="218412" y="535817"/>
                  </a:lnTo>
                  <a:lnTo>
                    <a:pt x="221372" y="542330"/>
                  </a:lnTo>
                  <a:lnTo>
                    <a:pt x="221497" y="542730"/>
                  </a:lnTo>
                  <a:cubicBezTo>
                    <a:pt x="223011" y="553466"/>
                    <a:pt x="229712" y="563010"/>
                    <a:pt x="238360" y="569340"/>
                  </a:cubicBezTo>
                  <a:lnTo>
                    <a:pt x="243880" y="570444"/>
                  </a:lnTo>
                  <a:lnTo>
                    <a:pt x="244786" y="570955"/>
                  </a:lnTo>
                  <a:lnTo>
                    <a:pt x="250764" y="576904"/>
                  </a:lnTo>
                  <a:lnTo>
                    <a:pt x="250952" y="577150"/>
                  </a:lnTo>
                  <a:lnTo>
                    <a:pt x="254635" y="582390"/>
                  </a:lnTo>
                  <a:lnTo>
                    <a:pt x="259759" y="582944"/>
                  </a:lnTo>
                  <a:lnTo>
                    <a:pt x="260791" y="583368"/>
                  </a:lnTo>
                  <a:lnTo>
                    <a:pt x="266754" y="588705"/>
                  </a:lnTo>
                  <a:lnTo>
                    <a:pt x="266961" y="588960"/>
                  </a:lnTo>
                  <a:lnTo>
                    <a:pt x="270182" y="592990"/>
                  </a:lnTo>
                  <a:lnTo>
                    <a:pt x="272963" y="589018"/>
                  </a:lnTo>
                  <a:cubicBezTo>
                    <a:pt x="273411" y="588392"/>
                    <a:pt x="274221" y="588117"/>
                    <a:pt x="274993" y="588315"/>
                  </a:cubicBezTo>
                  <a:lnTo>
                    <a:pt x="280922" y="590122"/>
                  </a:lnTo>
                  <a:cubicBezTo>
                    <a:pt x="281703" y="590349"/>
                    <a:pt x="282228" y="591067"/>
                    <a:pt x="282228" y="591858"/>
                  </a:cubicBezTo>
                  <a:lnTo>
                    <a:pt x="282228" y="594832"/>
                  </a:lnTo>
                  <a:lnTo>
                    <a:pt x="281905" y="595883"/>
                  </a:lnTo>
                  <a:lnTo>
                    <a:pt x="277740" y="601817"/>
                  </a:lnTo>
                  <a:lnTo>
                    <a:pt x="277577" y="602010"/>
                  </a:lnTo>
                  <a:lnTo>
                    <a:pt x="272544" y="607559"/>
                  </a:lnTo>
                  <a:lnTo>
                    <a:pt x="275426" y="612317"/>
                  </a:lnTo>
                  <a:lnTo>
                    <a:pt x="275614" y="612775"/>
                  </a:lnTo>
                  <a:lnTo>
                    <a:pt x="277379" y="618646"/>
                  </a:lnTo>
                  <a:lnTo>
                    <a:pt x="279741" y="625178"/>
                  </a:lnTo>
                  <a:lnTo>
                    <a:pt x="279780" y="625251"/>
                  </a:lnTo>
                  <a:lnTo>
                    <a:pt x="281563" y="631233"/>
                  </a:lnTo>
                  <a:lnTo>
                    <a:pt x="281447" y="632559"/>
                  </a:lnTo>
                  <a:lnTo>
                    <a:pt x="278680" y="638088"/>
                  </a:lnTo>
                  <a:lnTo>
                    <a:pt x="278680" y="643646"/>
                  </a:lnTo>
                  <a:lnTo>
                    <a:pt x="278131" y="644953"/>
                  </a:lnTo>
                  <a:lnTo>
                    <a:pt x="272510" y="650506"/>
                  </a:lnTo>
                  <a:lnTo>
                    <a:pt x="270991" y="656098"/>
                  </a:lnTo>
                  <a:lnTo>
                    <a:pt x="272577" y="661440"/>
                  </a:lnTo>
                  <a:lnTo>
                    <a:pt x="275537" y="667851"/>
                  </a:lnTo>
                  <a:cubicBezTo>
                    <a:pt x="275908" y="668738"/>
                    <a:pt x="275590" y="669707"/>
                    <a:pt x="274790" y="670170"/>
                  </a:cubicBezTo>
                  <a:cubicBezTo>
                    <a:pt x="273971" y="670686"/>
                    <a:pt x="272953" y="670464"/>
                    <a:pt x="272380" y="669673"/>
                  </a:cubicBezTo>
                  <a:lnTo>
                    <a:pt x="267834" y="663421"/>
                  </a:lnTo>
                  <a:lnTo>
                    <a:pt x="264541" y="661348"/>
                  </a:lnTo>
                  <a:lnTo>
                    <a:pt x="259981" y="665436"/>
                  </a:lnTo>
                  <a:lnTo>
                    <a:pt x="258554" y="670209"/>
                  </a:lnTo>
                  <a:lnTo>
                    <a:pt x="258573" y="670252"/>
                  </a:lnTo>
                  <a:lnTo>
                    <a:pt x="264604" y="673588"/>
                  </a:lnTo>
                  <a:lnTo>
                    <a:pt x="264681" y="673588"/>
                  </a:lnTo>
                  <a:lnTo>
                    <a:pt x="270640" y="677160"/>
                  </a:lnTo>
                  <a:lnTo>
                    <a:pt x="270982" y="677435"/>
                  </a:lnTo>
                  <a:lnTo>
                    <a:pt x="276926" y="683398"/>
                  </a:lnTo>
                  <a:lnTo>
                    <a:pt x="277297" y="683928"/>
                  </a:lnTo>
                  <a:lnTo>
                    <a:pt x="280088" y="690075"/>
                  </a:lnTo>
                  <a:cubicBezTo>
                    <a:pt x="290858" y="698434"/>
                    <a:pt x="298836" y="707854"/>
                    <a:pt x="300051" y="721809"/>
                  </a:cubicBezTo>
                  <a:lnTo>
                    <a:pt x="300065" y="722017"/>
                  </a:lnTo>
                  <a:lnTo>
                    <a:pt x="300658" y="728211"/>
                  </a:lnTo>
                  <a:lnTo>
                    <a:pt x="301077" y="729079"/>
                  </a:lnTo>
                  <a:lnTo>
                    <a:pt x="301241" y="729937"/>
                  </a:lnTo>
                  <a:lnTo>
                    <a:pt x="301241" y="736455"/>
                  </a:lnTo>
                  <a:lnTo>
                    <a:pt x="301241" y="736623"/>
                  </a:lnTo>
                  <a:lnTo>
                    <a:pt x="300697" y="742471"/>
                  </a:lnTo>
                  <a:lnTo>
                    <a:pt x="300697" y="754128"/>
                  </a:lnTo>
                  <a:lnTo>
                    <a:pt x="301748" y="760009"/>
                  </a:lnTo>
                  <a:lnTo>
                    <a:pt x="307354" y="766179"/>
                  </a:lnTo>
                  <a:lnTo>
                    <a:pt x="307740" y="766859"/>
                  </a:lnTo>
                  <a:lnTo>
                    <a:pt x="309528" y="772808"/>
                  </a:lnTo>
                  <a:lnTo>
                    <a:pt x="309552" y="772899"/>
                  </a:lnTo>
                  <a:lnTo>
                    <a:pt x="310145" y="775300"/>
                  </a:lnTo>
                  <a:lnTo>
                    <a:pt x="310160" y="776086"/>
                  </a:lnTo>
                  <a:lnTo>
                    <a:pt x="308998" y="781948"/>
                  </a:lnTo>
                  <a:lnTo>
                    <a:pt x="308405" y="788350"/>
                  </a:lnTo>
                  <a:cubicBezTo>
                    <a:pt x="308337" y="789266"/>
                    <a:pt x="307619" y="789955"/>
                    <a:pt x="306732" y="790042"/>
                  </a:cubicBezTo>
                  <a:cubicBezTo>
                    <a:pt x="305840" y="790085"/>
                    <a:pt x="305054" y="789541"/>
                    <a:pt x="304809" y="788668"/>
                  </a:cubicBezTo>
                  <a:lnTo>
                    <a:pt x="304225" y="786306"/>
                  </a:lnTo>
                  <a:lnTo>
                    <a:pt x="304167" y="785819"/>
                  </a:lnTo>
                  <a:lnTo>
                    <a:pt x="304167" y="779378"/>
                  </a:lnTo>
                  <a:lnTo>
                    <a:pt x="303657" y="774162"/>
                  </a:lnTo>
                  <a:lnTo>
                    <a:pt x="301748" y="772253"/>
                  </a:lnTo>
                  <a:lnTo>
                    <a:pt x="301584" y="772118"/>
                  </a:lnTo>
                  <a:lnTo>
                    <a:pt x="296830" y="766146"/>
                  </a:lnTo>
                  <a:lnTo>
                    <a:pt x="296594" y="765803"/>
                  </a:lnTo>
                  <a:lnTo>
                    <a:pt x="293639" y="759228"/>
                  </a:lnTo>
                  <a:lnTo>
                    <a:pt x="293490" y="758645"/>
                  </a:lnTo>
                  <a:lnTo>
                    <a:pt x="292882" y="752117"/>
                  </a:lnTo>
                  <a:lnTo>
                    <a:pt x="292863" y="751944"/>
                  </a:lnTo>
                  <a:lnTo>
                    <a:pt x="292863" y="745995"/>
                  </a:lnTo>
                  <a:lnTo>
                    <a:pt x="292882" y="745850"/>
                  </a:lnTo>
                  <a:lnTo>
                    <a:pt x="293451" y="739540"/>
                  </a:lnTo>
                  <a:lnTo>
                    <a:pt x="292309" y="733842"/>
                  </a:lnTo>
                  <a:lnTo>
                    <a:pt x="292309" y="733784"/>
                  </a:lnTo>
                  <a:lnTo>
                    <a:pt x="291171" y="727541"/>
                  </a:lnTo>
                  <a:lnTo>
                    <a:pt x="288385" y="721964"/>
                  </a:lnTo>
                  <a:lnTo>
                    <a:pt x="283169" y="715610"/>
                  </a:lnTo>
                  <a:lnTo>
                    <a:pt x="282981" y="715273"/>
                  </a:lnTo>
                  <a:lnTo>
                    <a:pt x="280218" y="709791"/>
                  </a:lnTo>
                  <a:lnTo>
                    <a:pt x="274713" y="706509"/>
                  </a:lnTo>
                  <a:lnTo>
                    <a:pt x="274183" y="706007"/>
                  </a:lnTo>
                  <a:lnTo>
                    <a:pt x="269420" y="699432"/>
                  </a:lnTo>
                  <a:lnTo>
                    <a:pt x="269082" y="698222"/>
                  </a:lnTo>
                  <a:lnTo>
                    <a:pt x="269309" y="695556"/>
                  </a:lnTo>
                  <a:lnTo>
                    <a:pt x="266884" y="697262"/>
                  </a:lnTo>
                  <a:lnTo>
                    <a:pt x="263669" y="702666"/>
                  </a:lnTo>
                  <a:lnTo>
                    <a:pt x="261962" y="708914"/>
                  </a:lnTo>
                  <a:lnTo>
                    <a:pt x="260786" y="714776"/>
                  </a:lnTo>
                  <a:lnTo>
                    <a:pt x="259576" y="721337"/>
                  </a:lnTo>
                  <a:lnTo>
                    <a:pt x="258395" y="727859"/>
                  </a:lnTo>
                  <a:lnTo>
                    <a:pt x="258351" y="728062"/>
                  </a:lnTo>
                  <a:lnTo>
                    <a:pt x="256568" y="734025"/>
                  </a:lnTo>
                  <a:cubicBezTo>
                    <a:pt x="253603" y="744515"/>
                    <a:pt x="249380" y="753597"/>
                    <a:pt x="247702" y="764781"/>
                  </a:cubicBezTo>
                  <a:cubicBezTo>
                    <a:pt x="245577" y="774461"/>
                    <a:pt x="240727" y="789646"/>
                    <a:pt x="238346" y="801318"/>
                  </a:cubicBezTo>
                  <a:lnTo>
                    <a:pt x="242173" y="797133"/>
                  </a:lnTo>
                  <a:lnTo>
                    <a:pt x="243523" y="796535"/>
                  </a:lnTo>
                  <a:lnTo>
                    <a:pt x="249477" y="796535"/>
                  </a:lnTo>
                  <a:lnTo>
                    <a:pt x="250937" y="797282"/>
                  </a:lnTo>
                  <a:lnTo>
                    <a:pt x="255700" y="803829"/>
                  </a:lnTo>
                  <a:lnTo>
                    <a:pt x="256028" y="804533"/>
                  </a:lnTo>
                  <a:lnTo>
                    <a:pt x="257219" y="810506"/>
                  </a:lnTo>
                  <a:lnTo>
                    <a:pt x="256925" y="811889"/>
                  </a:lnTo>
                  <a:lnTo>
                    <a:pt x="255739" y="812641"/>
                  </a:lnTo>
                  <a:lnTo>
                    <a:pt x="249192" y="813832"/>
                  </a:lnTo>
                  <a:lnTo>
                    <a:pt x="248117" y="813687"/>
                  </a:lnTo>
                  <a:lnTo>
                    <a:pt x="243060" y="811393"/>
                  </a:lnTo>
                  <a:lnTo>
                    <a:pt x="240341" y="815905"/>
                  </a:lnTo>
                  <a:lnTo>
                    <a:pt x="236784" y="822451"/>
                  </a:lnTo>
                  <a:lnTo>
                    <a:pt x="236697" y="822606"/>
                  </a:lnTo>
                  <a:lnTo>
                    <a:pt x="232893" y="828010"/>
                  </a:lnTo>
                  <a:lnTo>
                    <a:pt x="233424" y="833284"/>
                  </a:lnTo>
                  <a:lnTo>
                    <a:pt x="233318" y="834142"/>
                  </a:lnTo>
                  <a:cubicBezTo>
                    <a:pt x="231071" y="840857"/>
                    <a:pt x="230261" y="848739"/>
                    <a:pt x="226805" y="856042"/>
                  </a:cubicBezTo>
                  <a:cubicBezTo>
                    <a:pt x="223633" y="872519"/>
                    <a:pt x="215635" y="888910"/>
                    <a:pt x="210747" y="905387"/>
                  </a:cubicBezTo>
                  <a:cubicBezTo>
                    <a:pt x="202344" y="921213"/>
                    <a:pt x="201771" y="940038"/>
                    <a:pt x="193797" y="948807"/>
                  </a:cubicBezTo>
                  <a:lnTo>
                    <a:pt x="189382" y="954886"/>
                  </a:lnTo>
                  <a:lnTo>
                    <a:pt x="189382" y="954886"/>
                  </a:lnTo>
                  <a:lnTo>
                    <a:pt x="188924" y="956115"/>
                  </a:lnTo>
                  <a:lnTo>
                    <a:pt x="183052" y="962565"/>
                  </a:lnTo>
                  <a:lnTo>
                    <a:pt x="178342" y="969020"/>
                  </a:lnTo>
                  <a:lnTo>
                    <a:pt x="177831" y="969497"/>
                  </a:lnTo>
                  <a:lnTo>
                    <a:pt x="171285" y="973667"/>
                  </a:lnTo>
                  <a:lnTo>
                    <a:pt x="170316" y="973976"/>
                  </a:lnTo>
                  <a:lnTo>
                    <a:pt x="164656" y="973976"/>
                  </a:lnTo>
                  <a:lnTo>
                    <a:pt x="158929" y="975629"/>
                  </a:lnTo>
                  <a:lnTo>
                    <a:pt x="158370" y="975523"/>
                  </a:lnTo>
                  <a:cubicBezTo>
                    <a:pt x="159296" y="977606"/>
                    <a:pt x="161388" y="979558"/>
                    <a:pt x="161262" y="981250"/>
                  </a:cubicBezTo>
                  <a:cubicBezTo>
                    <a:pt x="160983" y="984099"/>
                    <a:pt x="162930" y="983965"/>
                    <a:pt x="166020" y="982812"/>
                  </a:cubicBezTo>
                  <a:cubicBezTo>
                    <a:pt x="169125" y="981622"/>
                    <a:pt x="169520" y="983815"/>
                    <a:pt x="169646" y="984234"/>
                  </a:cubicBezTo>
                  <a:cubicBezTo>
                    <a:pt x="169781" y="984606"/>
                    <a:pt x="170287" y="988216"/>
                    <a:pt x="173907" y="988978"/>
                  </a:cubicBezTo>
                  <a:cubicBezTo>
                    <a:pt x="177528" y="989769"/>
                    <a:pt x="183732" y="988216"/>
                    <a:pt x="183732" y="988216"/>
                  </a:cubicBezTo>
                  <a:lnTo>
                    <a:pt x="190433" y="990940"/>
                  </a:lnTo>
                  <a:lnTo>
                    <a:pt x="193392" y="997404"/>
                  </a:lnTo>
                  <a:lnTo>
                    <a:pt x="189676" y="1009529"/>
                  </a:lnTo>
                  <a:lnTo>
                    <a:pt x="183346" y="1013679"/>
                  </a:lnTo>
                  <a:lnTo>
                    <a:pt x="184233" y="1020110"/>
                  </a:lnTo>
                  <a:lnTo>
                    <a:pt x="190948" y="1023518"/>
                  </a:lnTo>
                  <a:lnTo>
                    <a:pt x="194197" y="1017160"/>
                  </a:lnTo>
                  <a:cubicBezTo>
                    <a:pt x="194197" y="1017160"/>
                    <a:pt x="194824" y="1016528"/>
                    <a:pt x="198830" y="1014446"/>
                  </a:cubicBezTo>
                  <a:cubicBezTo>
                    <a:pt x="202827" y="1012373"/>
                    <a:pt x="202441" y="1015844"/>
                    <a:pt x="202441" y="1015844"/>
                  </a:cubicBezTo>
                  <a:lnTo>
                    <a:pt x="200893" y="1020655"/>
                  </a:lnTo>
                  <a:lnTo>
                    <a:pt x="225441" y="1033801"/>
                  </a:lnTo>
                  <a:lnTo>
                    <a:pt x="231645" y="1040347"/>
                  </a:lnTo>
                  <a:lnTo>
                    <a:pt x="243793" y="1043090"/>
                  </a:lnTo>
                  <a:cubicBezTo>
                    <a:pt x="243793" y="1043090"/>
                    <a:pt x="247273" y="1042309"/>
                    <a:pt x="249988" y="1041572"/>
                  </a:cubicBezTo>
                  <a:cubicBezTo>
                    <a:pt x="250224" y="1045308"/>
                    <a:pt x="251530" y="1048278"/>
                    <a:pt x="254114" y="1050847"/>
                  </a:cubicBezTo>
                  <a:cubicBezTo>
                    <a:pt x="256688" y="1053407"/>
                    <a:pt x="261726" y="1058579"/>
                    <a:pt x="263399" y="1061689"/>
                  </a:cubicBezTo>
                  <a:cubicBezTo>
                    <a:pt x="265091" y="1064813"/>
                    <a:pt x="266118" y="1067493"/>
                    <a:pt x="268056" y="1069084"/>
                  </a:cubicBezTo>
                  <a:cubicBezTo>
                    <a:pt x="270008" y="1070607"/>
                    <a:pt x="272206" y="1065449"/>
                    <a:pt x="272206" y="1065449"/>
                  </a:cubicBezTo>
                  <a:lnTo>
                    <a:pt x="283434" y="1068679"/>
                  </a:lnTo>
                  <a:cubicBezTo>
                    <a:pt x="283434" y="1068679"/>
                    <a:pt x="287955" y="1067247"/>
                    <a:pt x="290809" y="1064412"/>
                  </a:cubicBezTo>
                  <a:cubicBezTo>
                    <a:pt x="293634" y="1061607"/>
                    <a:pt x="307981" y="1077173"/>
                    <a:pt x="309523" y="1080668"/>
                  </a:cubicBezTo>
                  <a:cubicBezTo>
                    <a:pt x="311066" y="1084158"/>
                    <a:pt x="315838" y="1088309"/>
                    <a:pt x="319845" y="1089471"/>
                  </a:cubicBezTo>
                  <a:cubicBezTo>
                    <a:pt x="321700" y="1087952"/>
                    <a:pt x="331843" y="1087634"/>
                    <a:pt x="331843" y="1087634"/>
                  </a:cubicBezTo>
                  <a:lnTo>
                    <a:pt x="337792" y="1084799"/>
                  </a:lnTo>
                  <a:lnTo>
                    <a:pt x="344893" y="1088198"/>
                  </a:lnTo>
                  <a:lnTo>
                    <a:pt x="348267" y="1094248"/>
                  </a:lnTo>
                  <a:lnTo>
                    <a:pt x="354708" y="1088926"/>
                  </a:lnTo>
                  <a:lnTo>
                    <a:pt x="360391" y="1093857"/>
                  </a:lnTo>
                  <a:cubicBezTo>
                    <a:pt x="360391" y="1093857"/>
                    <a:pt x="364788" y="1093717"/>
                    <a:pt x="369045" y="1093351"/>
                  </a:cubicBezTo>
                  <a:cubicBezTo>
                    <a:pt x="376276" y="1093096"/>
                    <a:pt x="384678" y="1097468"/>
                    <a:pt x="384678" y="1097468"/>
                  </a:cubicBezTo>
                  <a:lnTo>
                    <a:pt x="386481" y="1090126"/>
                  </a:lnTo>
                  <a:lnTo>
                    <a:pt x="385073" y="1083517"/>
                  </a:lnTo>
                  <a:lnTo>
                    <a:pt x="386992" y="1077708"/>
                  </a:lnTo>
                  <a:cubicBezTo>
                    <a:pt x="386992" y="1077708"/>
                    <a:pt x="388920" y="1076850"/>
                    <a:pt x="393707" y="1075384"/>
                  </a:cubicBezTo>
                  <a:cubicBezTo>
                    <a:pt x="394884" y="1077467"/>
                    <a:pt x="403382" y="1079926"/>
                    <a:pt x="403382" y="1079926"/>
                  </a:cubicBezTo>
                  <a:lnTo>
                    <a:pt x="410483" y="1083917"/>
                  </a:lnTo>
                  <a:lnTo>
                    <a:pt x="416442" y="1084698"/>
                  </a:lnTo>
                  <a:lnTo>
                    <a:pt x="429086" y="1090888"/>
                  </a:lnTo>
                  <a:lnTo>
                    <a:pt x="432312" y="1097347"/>
                  </a:lnTo>
                  <a:lnTo>
                    <a:pt x="451175" y="1100592"/>
                  </a:lnTo>
                  <a:lnTo>
                    <a:pt x="456213" y="1108194"/>
                  </a:lnTo>
                  <a:cubicBezTo>
                    <a:pt x="456213" y="1108194"/>
                    <a:pt x="459192" y="1118269"/>
                    <a:pt x="460855" y="1117999"/>
                  </a:cubicBezTo>
                  <a:cubicBezTo>
                    <a:pt x="477901" y="1116886"/>
                    <a:pt x="487340" y="1134949"/>
                    <a:pt x="487340" y="1134949"/>
                  </a:cubicBezTo>
                  <a:lnTo>
                    <a:pt x="494571" y="1137273"/>
                  </a:lnTo>
                  <a:lnTo>
                    <a:pt x="507086" y="1145762"/>
                  </a:lnTo>
                  <a:lnTo>
                    <a:pt x="507997" y="1152492"/>
                  </a:lnTo>
                  <a:lnTo>
                    <a:pt x="514577" y="1157134"/>
                  </a:lnTo>
                  <a:lnTo>
                    <a:pt x="520381" y="1155856"/>
                  </a:lnTo>
                  <a:lnTo>
                    <a:pt x="525048" y="1149402"/>
                  </a:lnTo>
                  <a:lnTo>
                    <a:pt x="531507" y="1150052"/>
                  </a:lnTo>
                  <a:cubicBezTo>
                    <a:pt x="531507" y="1150052"/>
                    <a:pt x="534462" y="1149262"/>
                    <a:pt x="537446" y="1148384"/>
                  </a:cubicBezTo>
                  <a:cubicBezTo>
                    <a:pt x="544808" y="1146027"/>
                    <a:pt x="563652" y="1164784"/>
                    <a:pt x="563652" y="1164784"/>
                  </a:cubicBezTo>
                  <a:lnTo>
                    <a:pt x="569220" y="1162432"/>
                  </a:lnTo>
                  <a:lnTo>
                    <a:pt x="575414" y="1163849"/>
                  </a:lnTo>
                  <a:lnTo>
                    <a:pt x="578649" y="1157664"/>
                  </a:lnTo>
                  <a:lnTo>
                    <a:pt x="585374" y="1154179"/>
                  </a:lnTo>
                  <a:lnTo>
                    <a:pt x="591954" y="1155977"/>
                  </a:lnTo>
                  <a:lnTo>
                    <a:pt x="599826" y="1150308"/>
                  </a:lnTo>
                  <a:lnTo>
                    <a:pt x="606151" y="1148625"/>
                  </a:lnTo>
                  <a:lnTo>
                    <a:pt x="612220" y="1149397"/>
                  </a:lnTo>
                  <a:lnTo>
                    <a:pt x="618285" y="1154174"/>
                  </a:lnTo>
                  <a:lnTo>
                    <a:pt x="624745" y="1156387"/>
                  </a:lnTo>
                  <a:lnTo>
                    <a:pt x="626461" y="1156329"/>
                  </a:lnTo>
                  <a:lnTo>
                    <a:pt x="626673" y="1155919"/>
                  </a:lnTo>
                  <a:lnTo>
                    <a:pt x="626933" y="1155688"/>
                  </a:lnTo>
                  <a:lnTo>
                    <a:pt x="624542" y="1150852"/>
                  </a:lnTo>
                  <a:lnTo>
                    <a:pt x="624422" y="1150587"/>
                  </a:lnTo>
                  <a:lnTo>
                    <a:pt x="622855" y="1145323"/>
                  </a:lnTo>
                  <a:lnTo>
                    <a:pt x="616964" y="1142146"/>
                  </a:lnTo>
                  <a:lnTo>
                    <a:pt x="616034" y="1140555"/>
                  </a:lnTo>
                  <a:lnTo>
                    <a:pt x="616034" y="1133980"/>
                  </a:lnTo>
                  <a:lnTo>
                    <a:pt x="616034" y="1133802"/>
                  </a:lnTo>
                  <a:lnTo>
                    <a:pt x="616617" y="1127877"/>
                  </a:lnTo>
                  <a:lnTo>
                    <a:pt x="617205" y="1122006"/>
                  </a:lnTo>
                  <a:lnTo>
                    <a:pt x="617205" y="1115488"/>
                  </a:lnTo>
                  <a:lnTo>
                    <a:pt x="617219" y="1115358"/>
                  </a:lnTo>
                  <a:lnTo>
                    <a:pt x="617827" y="1109428"/>
                  </a:lnTo>
                  <a:lnTo>
                    <a:pt x="618232" y="1104709"/>
                  </a:lnTo>
                  <a:lnTo>
                    <a:pt x="613561" y="1105977"/>
                  </a:lnTo>
                  <a:lnTo>
                    <a:pt x="611806" y="1105514"/>
                  </a:lnTo>
                  <a:lnTo>
                    <a:pt x="611319" y="1103783"/>
                  </a:lnTo>
                  <a:lnTo>
                    <a:pt x="613103" y="1097208"/>
                  </a:lnTo>
                  <a:lnTo>
                    <a:pt x="613266" y="1096783"/>
                  </a:lnTo>
                  <a:lnTo>
                    <a:pt x="615658" y="1092604"/>
                  </a:lnTo>
                  <a:lnTo>
                    <a:pt x="615725" y="1092503"/>
                  </a:lnTo>
                  <a:lnTo>
                    <a:pt x="616916" y="1090729"/>
                  </a:lnTo>
                  <a:cubicBezTo>
                    <a:pt x="617263" y="1090247"/>
                    <a:pt x="617793" y="1090035"/>
                    <a:pt x="618367" y="1090015"/>
                  </a:cubicBezTo>
                  <a:lnTo>
                    <a:pt x="617480" y="1088530"/>
                  </a:lnTo>
                  <a:lnTo>
                    <a:pt x="617306" y="1087002"/>
                  </a:lnTo>
                  <a:lnTo>
                    <a:pt x="617899" y="1085243"/>
                  </a:lnTo>
                  <a:lnTo>
                    <a:pt x="619206" y="1084013"/>
                  </a:lnTo>
                  <a:lnTo>
                    <a:pt x="620420" y="1084375"/>
                  </a:lnTo>
                  <a:lnTo>
                    <a:pt x="621452" y="1080538"/>
                  </a:lnTo>
                  <a:lnTo>
                    <a:pt x="621563" y="1080205"/>
                  </a:lnTo>
                  <a:lnTo>
                    <a:pt x="624065" y="1075240"/>
                  </a:lnTo>
                  <a:lnTo>
                    <a:pt x="620512" y="1070188"/>
                  </a:lnTo>
                  <a:lnTo>
                    <a:pt x="620454" y="1068144"/>
                  </a:lnTo>
                  <a:lnTo>
                    <a:pt x="622334" y="1067334"/>
                  </a:lnTo>
                  <a:lnTo>
                    <a:pt x="627637" y="1068341"/>
                  </a:lnTo>
                  <a:cubicBezTo>
                    <a:pt x="633128" y="1057847"/>
                    <a:pt x="643806" y="1049271"/>
                    <a:pt x="654450" y="1044305"/>
                  </a:cubicBezTo>
                  <a:lnTo>
                    <a:pt x="654850" y="1044194"/>
                  </a:lnTo>
                  <a:lnTo>
                    <a:pt x="661382" y="1042372"/>
                  </a:lnTo>
                  <a:lnTo>
                    <a:pt x="662380" y="1042396"/>
                  </a:lnTo>
                  <a:lnTo>
                    <a:pt x="667630" y="1043973"/>
                  </a:lnTo>
                  <a:lnTo>
                    <a:pt x="672725" y="1041403"/>
                  </a:lnTo>
                  <a:lnTo>
                    <a:pt x="678500" y="1036221"/>
                  </a:lnTo>
                  <a:lnTo>
                    <a:pt x="678568" y="1036206"/>
                  </a:lnTo>
                  <a:lnTo>
                    <a:pt x="685124" y="1030836"/>
                  </a:lnTo>
                  <a:lnTo>
                    <a:pt x="685799" y="1030484"/>
                  </a:lnTo>
                  <a:lnTo>
                    <a:pt x="692143" y="1028744"/>
                  </a:lnTo>
                  <a:lnTo>
                    <a:pt x="697841" y="1025914"/>
                  </a:lnTo>
                  <a:lnTo>
                    <a:pt x="703679" y="1021831"/>
                  </a:lnTo>
                  <a:lnTo>
                    <a:pt x="709628" y="1017666"/>
                  </a:lnTo>
                  <a:lnTo>
                    <a:pt x="709685" y="1017627"/>
                  </a:lnTo>
                  <a:lnTo>
                    <a:pt x="716227" y="1013438"/>
                  </a:lnTo>
                  <a:lnTo>
                    <a:pt x="716695" y="1013231"/>
                  </a:lnTo>
                  <a:lnTo>
                    <a:pt x="722663" y="1011452"/>
                  </a:lnTo>
                  <a:lnTo>
                    <a:pt x="723155" y="1011370"/>
                  </a:lnTo>
                  <a:lnTo>
                    <a:pt x="729716" y="1011370"/>
                  </a:lnTo>
                  <a:lnTo>
                    <a:pt x="730058" y="1011394"/>
                  </a:lnTo>
                  <a:lnTo>
                    <a:pt x="733061" y="1012030"/>
                  </a:lnTo>
                  <a:lnTo>
                    <a:pt x="734474" y="1013438"/>
                  </a:lnTo>
                  <a:lnTo>
                    <a:pt x="735578" y="1019001"/>
                  </a:lnTo>
                  <a:lnTo>
                    <a:pt x="739290" y="1024073"/>
                  </a:lnTo>
                  <a:lnTo>
                    <a:pt x="743754" y="1022323"/>
                  </a:lnTo>
                  <a:lnTo>
                    <a:pt x="745373" y="1021214"/>
                  </a:lnTo>
                  <a:lnTo>
                    <a:pt x="746202" y="1020901"/>
                  </a:lnTo>
                  <a:lnTo>
                    <a:pt x="752151" y="1020332"/>
                  </a:lnTo>
                  <a:cubicBezTo>
                    <a:pt x="753082" y="1020197"/>
                    <a:pt x="753940" y="1020828"/>
                    <a:pt x="754118" y="1021754"/>
                  </a:cubicBezTo>
                  <a:lnTo>
                    <a:pt x="755044" y="1026401"/>
                  </a:lnTo>
                  <a:lnTo>
                    <a:pt x="760250" y="1026854"/>
                  </a:lnTo>
                  <a:lnTo>
                    <a:pt x="760428" y="1026883"/>
                  </a:lnTo>
                  <a:lnTo>
                    <a:pt x="763138" y="1027447"/>
                  </a:lnTo>
                  <a:lnTo>
                    <a:pt x="768807" y="1026883"/>
                  </a:lnTo>
                  <a:lnTo>
                    <a:pt x="769453" y="1026931"/>
                  </a:lnTo>
                  <a:lnTo>
                    <a:pt x="776028" y="1028715"/>
                  </a:lnTo>
                  <a:lnTo>
                    <a:pt x="777224" y="1029800"/>
                  </a:lnTo>
                  <a:lnTo>
                    <a:pt x="779615" y="1035739"/>
                  </a:lnTo>
                  <a:lnTo>
                    <a:pt x="779716" y="1036115"/>
                  </a:lnTo>
                  <a:lnTo>
                    <a:pt x="780661" y="1041307"/>
                  </a:lnTo>
                  <a:lnTo>
                    <a:pt x="785240" y="1041707"/>
                  </a:lnTo>
                  <a:lnTo>
                    <a:pt x="791247" y="1042295"/>
                  </a:lnTo>
                  <a:lnTo>
                    <a:pt x="795157" y="1040135"/>
                  </a:lnTo>
                  <a:lnTo>
                    <a:pt x="790317" y="1035295"/>
                  </a:lnTo>
                  <a:lnTo>
                    <a:pt x="789825" y="1033700"/>
                  </a:lnTo>
                  <a:lnTo>
                    <a:pt x="790967" y="1027929"/>
                  </a:lnTo>
                  <a:lnTo>
                    <a:pt x="790967" y="1022357"/>
                  </a:lnTo>
                  <a:lnTo>
                    <a:pt x="789261" y="1016061"/>
                  </a:lnTo>
                  <a:cubicBezTo>
                    <a:pt x="789010" y="1015135"/>
                    <a:pt x="789516" y="1014224"/>
                    <a:pt x="790379" y="1013862"/>
                  </a:cubicBezTo>
                  <a:cubicBezTo>
                    <a:pt x="791281" y="1013554"/>
                    <a:pt x="792284" y="1013978"/>
                    <a:pt x="792664" y="1014827"/>
                  </a:cubicBezTo>
                  <a:lnTo>
                    <a:pt x="795634" y="1021364"/>
                  </a:lnTo>
                  <a:lnTo>
                    <a:pt x="795798" y="1022125"/>
                  </a:lnTo>
                  <a:lnTo>
                    <a:pt x="795798" y="1028633"/>
                  </a:lnTo>
                  <a:lnTo>
                    <a:pt x="795798" y="1028860"/>
                  </a:lnTo>
                  <a:lnTo>
                    <a:pt x="795311" y="1033820"/>
                  </a:lnTo>
                  <a:lnTo>
                    <a:pt x="800479" y="1037966"/>
                  </a:lnTo>
                  <a:lnTo>
                    <a:pt x="800831" y="1038689"/>
                  </a:lnTo>
                  <a:lnTo>
                    <a:pt x="803487" y="1039991"/>
                  </a:lnTo>
                  <a:lnTo>
                    <a:pt x="803487" y="1037002"/>
                  </a:lnTo>
                  <a:cubicBezTo>
                    <a:pt x="803487" y="1036187"/>
                    <a:pt x="804027" y="1035464"/>
                    <a:pt x="804817" y="1035223"/>
                  </a:cubicBezTo>
                  <a:lnTo>
                    <a:pt x="811359" y="1033487"/>
                  </a:lnTo>
                  <a:lnTo>
                    <a:pt x="812646" y="1033589"/>
                  </a:lnTo>
                  <a:lnTo>
                    <a:pt x="818248" y="1036394"/>
                  </a:lnTo>
                  <a:lnTo>
                    <a:pt x="820017" y="1036394"/>
                  </a:lnTo>
                  <a:lnTo>
                    <a:pt x="822023" y="1034375"/>
                  </a:lnTo>
                  <a:lnTo>
                    <a:pt x="818658" y="1029062"/>
                  </a:lnTo>
                  <a:lnTo>
                    <a:pt x="818706" y="1026989"/>
                  </a:lnTo>
                  <a:lnTo>
                    <a:pt x="822876" y="1021069"/>
                  </a:lnTo>
                  <a:cubicBezTo>
                    <a:pt x="823319" y="1020428"/>
                    <a:pt x="824197" y="1020125"/>
                    <a:pt x="824973" y="1020428"/>
                  </a:cubicBezTo>
                  <a:lnTo>
                    <a:pt x="831524" y="1022800"/>
                  </a:lnTo>
                  <a:lnTo>
                    <a:pt x="832517" y="1023615"/>
                  </a:lnTo>
                  <a:lnTo>
                    <a:pt x="835641" y="1029424"/>
                  </a:lnTo>
                  <a:lnTo>
                    <a:pt x="841329" y="1030427"/>
                  </a:lnTo>
                  <a:lnTo>
                    <a:pt x="842771" y="1031723"/>
                  </a:lnTo>
                  <a:lnTo>
                    <a:pt x="842226" y="1033584"/>
                  </a:lnTo>
                  <a:lnTo>
                    <a:pt x="836258" y="1038950"/>
                  </a:lnTo>
                  <a:lnTo>
                    <a:pt x="835438" y="1039374"/>
                  </a:lnTo>
                  <a:lnTo>
                    <a:pt x="829466" y="1040579"/>
                  </a:lnTo>
                  <a:lnTo>
                    <a:pt x="829258" y="1040588"/>
                  </a:lnTo>
                  <a:lnTo>
                    <a:pt x="822259" y="1041186"/>
                  </a:lnTo>
                  <a:lnTo>
                    <a:pt x="821410" y="1041379"/>
                  </a:lnTo>
                  <a:lnTo>
                    <a:pt x="821410" y="1043789"/>
                  </a:lnTo>
                  <a:cubicBezTo>
                    <a:pt x="829499" y="1050982"/>
                    <a:pt x="840823" y="1045472"/>
                    <a:pt x="850368" y="1045303"/>
                  </a:cubicBezTo>
                  <a:cubicBezTo>
                    <a:pt x="851255" y="1045236"/>
                    <a:pt x="852046" y="1045809"/>
                    <a:pt x="852297" y="1046629"/>
                  </a:cubicBezTo>
                  <a:lnTo>
                    <a:pt x="854080" y="1053170"/>
                  </a:lnTo>
                  <a:lnTo>
                    <a:pt x="854124" y="1053334"/>
                  </a:lnTo>
                  <a:lnTo>
                    <a:pt x="855300" y="1059867"/>
                  </a:lnTo>
                  <a:lnTo>
                    <a:pt x="855285" y="1060570"/>
                  </a:lnTo>
                  <a:lnTo>
                    <a:pt x="854504" y="1064509"/>
                  </a:lnTo>
                  <a:lnTo>
                    <a:pt x="859031" y="1064919"/>
                  </a:lnTo>
                  <a:lnTo>
                    <a:pt x="859383" y="1065020"/>
                  </a:lnTo>
                  <a:lnTo>
                    <a:pt x="865255" y="1066750"/>
                  </a:lnTo>
                  <a:lnTo>
                    <a:pt x="871112" y="1067903"/>
                  </a:lnTo>
                  <a:lnTo>
                    <a:pt x="871579" y="1068062"/>
                  </a:lnTo>
                  <a:lnTo>
                    <a:pt x="877080" y="1070824"/>
                  </a:lnTo>
                  <a:lnTo>
                    <a:pt x="882503" y="1070269"/>
                  </a:lnTo>
                  <a:lnTo>
                    <a:pt x="883491" y="1070429"/>
                  </a:lnTo>
                  <a:lnTo>
                    <a:pt x="884672" y="1071075"/>
                  </a:lnTo>
                  <a:lnTo>
                    <a:pt x="885285" y="1071552"/>
                  </a:lnTo>
                  <a:lnTo>
                    <a:pt x="889792" y="1077173"/>
                  </a:lnTo>
                  <a:lnTo>
                    <a:pt x="895379" y="1080012"/>
                  </a:lnTo>
                  <a:lnTo>
                    <a:pt x="896367" y="1081459"/>
                  </a:lnTo>
                  <a:lnTo>
                    <a:pt x="896850" y="1086472"/>
                  </a:lnTo>
                  <a:lnTo>
                    <a:pt x="900976" y="1086911"/>
                  </a:lnTo>
                  <a:lnTo>
                    <a:pt x="904968" y="1085734"/>
                  </a:lnTo>
                  <a:lnTo>
                    <a:pt x="904090" y="1081372"/>
                  </a:lnTo>
                  <a:lnTo>
                    <a:pt x="904765" y="1079598"/>
                  </a:lnTo>
                  <a:lnTo>
                    <a:pt x="906674" y="1079400"/>
                  </a:lnTo>
                  <a:lnTo>
                    <a:pt x="912473" y="1082268"/>
                  </a:lnTo>
                  <a:lnTo>
                    <a:pt x="919271" y="1083970"/>
                  </a:lnTo>
                  <a:lnTo>
                    <a:pt x="925113" y="1084606"/>
                  </a:lnTo>
                  <a:lnTo>
                    <a:pt x="926420" y="1085378"/>
                  </a:lnTo>
                  <a:lnTo>
                    <a:pt x="926675" y="1086867"/>
                  </a:lnTo>
                  <a:lnTo>
                    <a:pt x="926078" y="1089042"/>
                  </a:lnTo>
                  <a:lnTo>
                    <a:pt x="927625" y="1088082"/>
                  </a:lnTo>
                  <a:lnTo>
                    <a:pt x="929775" y="1082741"/>
                  </a:lnTo>
                  <a:lnTo>
                    <a:pt x="931284" y="1081598"/>
                  </a:lnTo>
                  <a:lnTo>
                    <a:pt x="937238" y="1081000"/>
                  </a:lnTo>
                  <a:lnTo>
                    <a:pt x="937734" y="1081039"/>
                  </a:lnTo>
                  <a:lnTo>
                    <a:pt x="944276" y="1082230"/>
                  </a:lnTo>
                  <a:lnTo>
                    <a:pt x="944767" y="1082360"/>
                  </a:lnTo>
                  <a:lnTo>
                    <a:pt x="948904" y="1084433"/>
                  </a:lnTo>
                  <a:lnTo>
                    <a:pt x="950581" y="1079829"/>
                  </a:lnTo>
                  <a:lnTo>
                    <a:pt x="951772" y="1078701"/>
                  </a:lnTo>
                  <a:lnTo>
                    <a:pt x="957721" y="1076927"/>
                  </a:lnTo>
                  <a:lnTo>
                    <a:pt x="957914" y="1076869"/>
                  </a:lnTo>
                  <a:lnTo>
                    <a:pt x="964286" y="1075702"/>
                  </a:lnTo>
                  <a:lnTo>
                    <a:pt x="970052" y="1073369"/>
                  </a:lnTo>
                  <a:lnTo>
                    <a:pt x="971257" y="1073340"/>
                  </a:lnTo>
                  <a:lnTo>
                    <a:pt x="975553" y="1074618"/>
                  </a:lnTo>
                  <a:lnTo>
                    <a:pt x="977298" y="1069840"/>
                  </a:lnTo>
                  <a:lnTo>
                    <a:pt x="978151" y="1065107"/>
                  </a:lnTo>
                  <a:lnTo>
                    <a:pt x="973214" y="1063738"/>
                  </a:lnTo>
                  <a:cubicBezTo>
                    <a:pt x="972501" y="1063559"/>
                    <a:pt x="971956" y="1062942"/>
                    <a:pt x="971903" y="1062166"/>
                  </a:cubicBezTo>
                  <a:cubicBezTo>
                    <a:pt x="971821" y="1061409"/>
                    <a:pt x="972221" y="1060720"/>
                    <a:pt x="972906" y="1060387"/>
                  </a:cubicBezTo>
                  <a:lnTo>
                    <a:pt x="979645" y="1057003"/>
                  </a:lnTo>
                  <a:lnTo>
                    <a:pt x="984138" y="1050804"/>
                  </a:lnTo>
                  <a:lnTo>
                    <a:pt x="984283" y="1050649"/>
                  </a:lnTo>
                  <a:lnTo>
                    <a:pt x="990227" y="1044122"/>
                  </a:lnTo>
                  <a:lnTo>
                    <a:pt x="991736" y="1043539"/>
                  </a:lnTo>
                  <a:lnTo>
                    <a:pt x="997612" y="1044045"/>
                  </a:lnTo>
                  <a:lnTo>
                    <a:pt x="1002765" y="1040453"/>
                  </a:lnTo>
                  <a:lnTo>
                    <a:pt x="1006665" y="1034900"/>
                  </a:lnTo>
                  <a:lnTo>
                    <a:pt x="1009582" y="1029067"/>
                  </a:lnTo>
                  <a:lnTo>
                    <a:pt x="1010488" y="1028189"/>
                  </a:lnTo>
                  <a:lnTo>
                    <a:pt x="1014663" y="1026401"/>
                  </a:lnTo>
                  <a:lnTo>
                    <a:pt x="1015005" y="1026290"/>
                  </a:lnTo>
                  <a:lnTo>
                    <a:pt x="1020660" y="1025162"/>
                  </a:lnTo>
                  <a:lnTo>
                    <a:pt x="1025543" y="1022236"/>
                  </a:lnTo>
                  <a:lnTo>
                    <a:pt x="1026054" y="1017213"/>
                  </a:lnTo>
                  <a:lnTo>
                    <a:pt x="1027004" y="1015767"/>
                  </a:lnTo>
                  <a:lnTo>
                    <a:pt x="1033444" y="1012267"/>
                  </a:lnTo>
                  <a:lnTo>
                    <a:pt x="1039316" y="1008102"/>
                  </a:lnTo>
                  <a:lnTo>
                    <a:pt x="1040907" y="1007870"/>
                  </a:lnTo>
                  <a:lnTo>
                    <a:pt x="1045911" y="1009413"/>
                  </a:lnTo>
                  <a:lnTo>
                    <a:pt x="1051127" y="1005233"/>
                  </a:lnTo>
                  <a:lnTo>
                    <a:pt x="1051175" y="1005200"/>
                  </a:lnTo>
                  <a:lnTo>
                    <a:pt x="1055933" y="1001637"/>
                  </a:lnTo>
                  <a:lnTo>
                    <a:pt x="1057052" y="1001252"/>
                  </a:lnTo>
                  <a:lnTo>
                    <a:pt x="1060079" y="1001252"/>
                  </a:lnTo>
                  <a:lnTo>
                    <a:pt x="1065256" y="998171"/>
                  </a:lnTo>
                  <a:cubicBezTo>
                    <a:pt x="1062311" y="992593"/>
                    <a:pt x="1060542" y="983921"/>
                    <a:pt x="1075457" y="97387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37" name="Freihandform: Form 636">
              <a:extLst>
                <a:ext uri="{FF2B5EF4-FFF2-40B4-BE49-F238E27FC236}">
                  <a16:creationId xmlns:a16="http://schemas.microsoft.com/office/drawing/2014/main" id="{DCE552C8-0142-B40B-3D8F-08443F0E1928}"/>
                </a:ext>
              </a:extLst>
            </p:cNvPr>
            <p:cNvSpPr/>
            <p:nvPr/>
          </p:nvSpPr>
          <p:spPr>
            <a:xfrm>
              <a:off x="2988063" y="5119744"/>
              <a:ext cx="1544463" cy="1373239"/>
            </a:xfrm>
            <a:custGeom>
              <a:avLst/>
              <a:gdLst>
                <a:gd name="connsiteX0" fmla="*/ 1192401 w 1211013"/>
                <a:gd name="connsiteY0" fmla="*/ 346397 h 1076613"/>
                <a:gd name="connsiteX1" fmla="*/ 1186337 w 1211013"/>
                <a:gd name="connsiteY1" fmla="*/ 341619 h 1076613"/>
                <a:gd name="connsiteX2" fmla="*/ 1180267 w 1211013"/>
                <a:gd name="connsiteY2" fmla="*/ 340848 h 1076613"/>
                <a:gd name="connsiteX3" fmla="*/ 1173943 w 1211013"/>
                <a:gd name="connsiteY3" fmla="*/ 342530 h 1076613"/>
                <a:gd name="connsiteX4" fmla="*/ 1166070 w 1211013"/>
                <a:gd name="connsiteY4" fmla="*/ 348200 h 1076613"/>
                <a:gd name="connsiteX5" fmla="*/ 1159490 w 1211013"/>
                <a:gd name="connsiteY5" fmla="*/ 346402 h 1076613"/>
                <a:gd name="connsiteX6" fmla="*/ 1152765 w 1211013"/>
                <a:gd name="connsiteY6" fmla="*/ 349887 h 1076613"/>
                <a:gd name="connsiteX7" fmla="*/ 1149531 w 1211013"/>
                <a:gd name="connsiteY7" fmla="*/ 356072 h 1076613"/>
                <a:gd name="connsiteX8" fmla="*/ 1143336 w 1211013"/>
                <a:gd name="connsiteY8" fmla="*/ 354655 h 1076613"/>
                <a:gd name="connsiteX9" fmla="*/ 1137768 w 1211013"/>
                <a:gd name="connsiteY9" fmla="*/ 357007 h 1076613"/>
                <a:gd name="connsiteX10" fmla="*/ 1111563 w 1211013"/>
                <a:gd name="connsiteY10" fmla="*/ 340607 h 1076613"/>
                <a:gd name="connsiteX11" fmla="*/ 1105624 w 1211013"/>
                <a:gd name="connsiteY11" fmla="*/ 342275 h 1076613"/>
                <a:gd name="connsiteX12" fmla="*/ 1099164 w 1211013"/>
                <a:gd name="connsiteY12" fmla="*/ 341624 h 1076613"/>
                <a:gd name="connsiteX13" fmla="*/ 1094497 w 1211013"/>
                <a:gd name="connsiteY13" fmla="*/ 348079 h 1076613"/>
                <a:gd name="connsiteX14" fmla="*/ 1088693 w 1211013"/>
                <a:gd name="connsiteY14" fmla="*/ 349357 h 1076613"/>
                <a:gd name="connsiteX15" fmla="*/ 1082113 w 1211013"/>
                <a:gd name="connsiteY15" fmla="*/ 344714 h 1076613"/>
                <a:gd name="connsiteX16" fmla="*/ 1081202 w 1211013"/>
                <a:gd name="connsiteY16" fmla="*/ 337985 h 1076613"/>
                <a:gd name="connsiteX17" fmla="*/ 1068687 w 1211013"/>
                <a:gd name="connsiteY17" fmla="*/ 329495 h 1076613"/>
                <a:gd name="connsiteX18" fmla="*/ 1061456 w 1211013"/>
                <a:gd name="connsiteY18" fmla="*/ 327172 h 1076613"/>
                <a:gd name="connsiteX19" fmla="*/ 1034971 w 1211013"/>
                <a:gd name="connsiteY19" fmla="*/ 310222 h 1076613"/>
                <a:gd name="connsiteX20" fmla="*/ 1030329 w 1211013"/>
                <a:gd name="connsiteY20" fmla="*/ 300417 h 1076613"/>
                <a:gd name="connsiteX21" fmla="*/ 1025291 w 1211013"/>
                <a:gd name="connsiteY21" fmla="*/ 292815 h 1076613"/>
                <a:gd name="connsiteX22" fmla="*/ 1006428 w 1211013"/>
                <a:gd name="connsiteY22" fmla="*/ 289570 h 1076613"/>
                <a:gd name="connsiteX23" fmla="*/ 1003203 w 1211013"/>
                <a:gd name="connsiteY23" fmla="*/ 283110 h 1076613"/>
                <a:gd name="connsiteX24" fmla="*/ 990558 w 1211013"/>
                <a:gd name="connsiteY24" fmla="*/ 276921 h 1076613"/>
                <a:gd name="connsiteX25" fmla="*/ 984600 w 1211013"/>
                <a:gd name="connsiteY25" fmla="*/ 276140 h 1076613"/>
                <a:gd name="connsiteX26" fmla="*/ 977499 w 1211013"/>
                <a:gd name="connsiteY26" fmla="*/ 272148 h 1076613"/>
                <a:gd name="connsiteX27" fmla="*/ 967824 w 1211013"/>
                <a:gd name="connsiteY27" fmla="*/ 267607 h 1076613"/>
                <a:gd name="connsiteX28" fmla="*/ 961108 w 1211013"/>
                <a:gd name="connsiteY28" fmla="*/ 269931 h 1076613"/>
                <a:gd name="connsiteX29" fmla="*/ 959190 w 1211013"/>
                <a:gd name="connsiteY29" fmla="*/ 275740 h 1076613"/>
                <a:gd name="connsiteX30" fmla="*/ 960597 w 1211013"/>
                <a:gd name="connsiteY30" fmla="*/ 282349 h 1076613"/>
                <a:gd name="connsiteX31" fmla="*/ 958795 w 1211013"/>
                <a:gd name="connsiteY31" fmla="*/ 289691 h 1076613"/>
                <a:gd name="connsiteX32" fmla="*/ 943161 w 1211013"/>
                <a:gd name="connsiteY32" fmla="*/ 285574 h 1076613"/>
                <a:gd name="connsiteX33" fmla="*/ 934508 w 1211013"/>
                <a:gd name="connsiteY33" fmla="*/ 286080 h 1076613"/>
                <a:gd name="connsiteX34" fmla="*/ 928824 w 1211013"/>
                <a:gd name="connsiteY34" fmla="*/ 281148 h 1076613"/>
                <a:gd name="connsiteX35" fmla="*/ 922384 w 1211013"/>
                <a:gd name="connsiteY35" fmla="*/ 286471 h 1076613"/>
                <a:gd name="connsiteX36" fmla="*/ 919009 w 1211013"/>
                <a:gd name="connsiteY36" fmla="*/ 280421 h 1076613"/>
                <a:gd name="connsiteX37" fmla="*/ 911908 w 1211013"/>
                <a:gd name="connsiteY37" fmla="*/ 277022 h 1076613"/>
                <a:gd name="connsiteX38" fmla="*/ 905959 w 1211013"/>
                <a:gd name="connsiteY38" fmla="*/ 279857 h 1076613"/>
                <a:gd name="connsiteX39" fmla="*/ 893961 w 1211013"/>
                <a:gd name="connsiteY39" fmla="*/ 281693 h 1076613"/>
                <a:gd name="connsiteX40" fmla="*/ 883640 w 1211013"/>
                <a:gd name="connsiteY40" fmla="*/ 272891 h 1076613"/>
                <a:gd name="connsiteX41" fmla="*/ 864926 w 1211013"/>
                <a:gd name="connsiteY41" fmla="*/ 256635 h 1076613"/>
                <a:gd name="connsiteX42" fmla="*/ 857550 w 1211013"/>
                <a:gd name="connsiteY42" fmla="*/ 260901 h 1076613"/>
                <a:gd name="connsiteX43" fmla="*/ 846322 w 1211013"/>
                <a:gd name="connsiteY43" fmla="*/ 257672 h 1076613"/>
                <a:gd name="connsiteX44" fmla="*/ 842172 w 1211013"/>
                <a:gd name="connsiteY44" fmla="*/ 261306 h 1076613"/>
                <a:gd name="connsiteX45" fmla="*/ 837515 w 1211013"/>
                <a:gd name="connsiteY45" fmla="*/ 253911 h 1076613"/>
                <a:gd name="connsiteX46" fmla="*/ 828230 w 1211013"/>
                <a:gd name="connsiteY46" fmla="*/ 243070 h 1076613"/>
                <a:gd name="connsiteX47" fmla="*/ 824104 w 1211013"/>
                <a:gd name="connsiteY47" fmla="*/ 233795 h 1076613"/>
                <a:gd name="connsiteX48" fmla="*/ 817909 w 1211013"/>
                <a:gd name="connsiteY48" fmla="*/ 235313 h 1076613"/>
                <a:gd name="connsiteX49" fmla="*/ 805761 w 1211013"/>
                <a:gd name="connsiteY49" fmla="*/ 232570 h 1076613"/>
                <a:gd name="connsiteX50" fmla="*/ 799557 w 1211013"/>
                <a:gd name="connsiteY50" fmla="*/ 226024 h 1076613"/>
                <a:gd name="connsiteX51" fmla="*/ 775010 w 1211013"/>
                <a:gd name="connsiteY51" fmla="*/ 212878 h 1076613"/>
                <a:gd name="connsiteX52" fmla="*/ 776557 w 1211013"/>
                <a:gd name="connsiteY52" fmla="*/ 208066 h 1076613"/>
                <a:gd name="connsiteX53" fmla="*/ 772947 w 1211013"/>
                <a:gd name="connsiteY53" fmla="*/ 206668 h 1076613"/>
                <a:gd name="connsiteX54" fmla="*/ 768314 w 1211013"/>
                <a:gd name="connsiteY54" fmla="*/ 209382 h 1076613"/>
                <a:gd name="connsiteX55" fmla="*/ 765065 w 1211013"/>
                <a:gd name="connsiteY55" fmla="*/ 215741 h 1076613"/>
                <a:gd name="connsiteX56" fmla="*/ 758349 w 1211013"/>
                <a:gd name="connsiteY56" fmla="*/ 212333 h 1076613"/>
                <a:gd name="connsiteX57" fmla="*/ 757462 w 1211013"/>
                <a:gd name="connsiteY57" fmla="*/ 205902 h 1076613"/>
                <a:gd name="connsiteX58" fmla="*/ 763792 w 1211013"/>
                <a:gd name="connsiteY58" fmla="*/ 201751 h 1076613"/>
                <a:gd name="connsiteX59" fmla="*/ 767509 w 1211013"/>
                <a:gd name="connsiteY59" fmla="*/ 189627 h 1076613"/>
                <a:gd name="connsiteX60" fmla="*/ 764549 w 1211013"/>
                <a:gd name="connsiteY60" fmla="*/ 183163 h 1076613"/>
                <a:gd name="connsiteX61" fmla="*/ 757848 w 1211013"/>
                <a:gd name="connsiteY61" fmla="*/ 180439 h 1076613"/>
                <a:gd name="connsiteX62" fmla="*/ 748023 w 1211013"/>
                <a:gd name="connsiteY62" fmla="*/ 181201 h 1076613"/>
                <a:gd name="connsiteX63" fmla="*/ 743762 w 1211013"/>
                <a:gd name="connsiteY63" fmla="*/ 176457 h 1076613"/>
                <a:gd name="connsiteX64" fmla="*/ 740137 w 1211013"/>
                <a:gd name="connsiteY64" fmla="*/ 175035 h 1076613"/>
                <a:gd name="connsiteX65" fmla="*/ 735379 w 1211013"/>
                <a:gd name="connsiteY65" fmla="*/ 173473 h 1076613"/>
                <a:gd name="connsiteX66" fmla="*/ 732486 w 1211013"/>
                <a:gd name="connsiteY66" fmla="*/ 167746 h 1076613"/>
                <a:gd name="connsiteX67" fmla="*/ 731344 w 1211013"/>
                <a:gd name="connsiteY67" fmla="*/ 167515 h 1076613"/>
                <a:gd name="connsiteX68" fmla="*/ 730741 w 1211013"/>
                <a:gd name="connsiteY68" fmla="*/ 165813 h 1076613"/>
                <a:gd name="connsiteX69" fmla="*/ 730968 w 1211013"/>
                <a:gd name="connsiteY69" fmla="*/ 164603 h 1076613"/>
                <a:gd name="connsiteX70" fmla="*/ 727241 w 1211013"/>
                <a:gd name="connsiteY70" fmla="*/ 164945 h 1076613"/>
                <a:gd name="connsiteX71" fmla="*/ 721688 w 1211013"/>
                <a:gd name="connsiteY71" fmla="*/ 168802 h 1076613"/>
                <a:gd name="connsiteX72" fmla="*/ 720637 w 1211013"/>
                <a:gd name="connsiteY72" fmla="*/ 169149 h 1076613"/>
                <a:gd name="connsiteX73" fmla="*/ 714920 w 1211013"/>
                <a:gd name="connsiteY73" fmla="*/ 169149 h 1076613"/>
                <a:gd name="connsiteX74" fmla="*/ 712755 w 1211013"/>
                <a:gd name="connsiteY74" fmla="*/ 169694 h 1076613"/>
                <a:gd name="connsiteX75" fmla="*/ 712013 w 1211013"/>
                <a:gd name="connsiteY75" fmla="*/ 169718 h 1076613"/>
                <a:gd name="connsiteX76" fmla="*/ 708720 w 1211013"/>
                <a:gd name="connsiteY76" fmla="*/ 169178 h 1076613"/>
                <a:gd name="connsiteX77" fmla="*/ 702511 w 1211013"/>
                <a:gd name="connsiteY77" fmla="*/ 170291 h 1076613"/>
                <a:gd name="connsiteX78" fmla="*/ 702342 w 1211013"/>
                <a:gd name="connsiteY78" fmla="*/ 170340 h 1076613"/>
                <a:gd name="connsiteX79" fmla="*/ 695801 w 1211013"/>
                <a:gd name="connsiteY79" fmla="*/ 170932 h 1076613"/>
                <a:gd name="connsiteX80" fmla="*/ 694827 w 1211013"/>
                <a:gd name="connsiteY80" fmla="*/ 170735 h 1076613"/>
                <a:gd name="connsiteX81" fmla="*/ 689336 w 1211013"/>
                <a:gd name="connsiteY81" fmla="*/ 167968 h 1076613"/>
                <a:gd name="connsiteX82" fmla="*/ 683320 w 1211013"/>
                <a:gd name="connsiteY82" fmla="*/ 168522 h 1076613"/>
                <a:gd name="connsiteX83" fmla="*/ 682679 w 1211013"/>
                <a:gd name="connsiteY83" fmla="*/ 168489 h 1076613"/>
                <a:gd name="connsiteX84" fmla="*/ 676108 w 1211013"/>
                <a:gd name="connsiteY84" fmla="*/ 166714 h 1076613"/>
                <a:gd name="connsiteX85" fmla="*/ 675665 w 1211013"/>
                <a:gd name="connsiteY85" fmla="*/ 166483 h 1076613"/>
                <a:gd name="connsiteX86" fmla="*/ 669716 w 1211013"/>
                <a:gd name="connsiteY86" fmla="*/ 162930 h 1076613"/>
                <a:gd name="connsiteX87" fmla="*/ 669027 w 1211013"/>
                <a:gd name="connsiteY87" fmla="*/ 162188 h 1076613"/>
                <a:gd name="connsiteX88" fmla="*/ 668622 w 1211013"/>
                <a:gd name="connsiteY88" fmla="*/ 161354 h 1076613"/>
                <a:gd name="connsiteX89" fmla="*/ 662355 w 1211013"/>
                <a:gd name="connsiteY89" fmla="*/ 156229 h 1076613"/>
                <a:gd name="connsiteX90" fmla="*/ 656517 w 1211013"/>
                <a:gd name="connsiteY90" fmla="*/ 151548 h 1076613"/>
                <a:gd name="connsiteX91" fmla="*/ 651031 w 1211013"/>
                <a:gd name="connsiteY91" fmla="*/ 148280 h 1076613"/>
                <a:gd name="connsiteX92" fmla="*/ 644899 w 1211013"/>
                <a:gd name="connsiteY92" fmla="*/ 147697 h 1076613"/>
                <a:gd name="connsiteX93" fmla="*/ 643650 w 1211013"/>
                <a:gd name="connsiteY93" fmla="*/ 147027 h 1076613"/>
                <a:gd name="connsiteX94" fmla="*/ 638993 w 1211013"/>
                <a:gd name="connsiteY94" fmla="*/ 141329 h 1076613"/>
                <a:gd name="connsiteX95" fmla="*/ 634134 w 1211013"/>
                <a:gd name="connsiteY95" fmla="*/ 142307 h 1076613"/>
                <a:gd name="connsiteX96" fmla="*/ 633233 w 1211013"/>
                <a:gd name="connsiteY96" fmla="*/ 142264 h 1076613"/>
                <a:gd name="connsiteX97" fmla="*/ 627872 w 1211013"/>
                <a:gd name="connsiteY97" fmla="*/ 140649 h 1076613"/>
                <a:gd name="connsiteX98" fmla="*/ 621875 w 1211013"/>
                <a:gd name="connsiteY98" fmla="*/ 142847 h 1076613"/>
                <a:gd name="connsiteX99" fmla="*/ 621634 w 1211013"/>
                <a:gd name="connsiteY99" fmla="*/ 142915 h 1076613"/>
                <a:gd name="connsiteX100" fmla="*/ 618838 w 1211013"/>
                <a:gd name="connsiteY100" fmla="*/ 143455 h 1076613"/>
                <a:gd name="connsiteX101" fmla="*/ 613685 w 1211013"/>
                <a:gd name="connsiteY101" fmla="*/ 145807 h 1076613"/>
                <a:gd name="connsiteX102" fmla="*/ 614143 w 1211013"/>
                <a:gd name="connsiteY102" fmla="*/ 150454 h 1076613"/>
                <a:gd name="connsiteX103" fmla="*/ 613323 w 1211013"/>
                <a:gd name="connsiteY103" fmla="*/ 152166 h 1076613"/>
                <a:gd name="connsiteX104" fmla="*/ 611395 w 1211013"/>
                <a:gd name="connsiteY104" fmla="*/ 152233 h 1076613"/>
                <a:gd name="connsiteX105" fmla="*/ 608416 w 1211013"/>
                <a:gd name="connsiteY105" fmla="*/ 150396 h 1076613"/>
                <a:gd name="connsiteX106" fmla="*/ 608083 w 1211013"/>
                <a:gd name="connsiteY106" fmla="*/ 150131 h 1076613"/>
                <a:gd name="connsiteX107" fmla="*/ 605552 w 1211013"/>
                <a:gd name="connsiteY107" fmla="*/ 147639 h 1076613"/>
                <a:gd name="connsiteX108" fmla="*/ 600254 w 1211013"/>
                <a:gd name="connsiteY108" fmla="*/ 147128 h 1076613"/>
                <a:gd name="connsiteX109" fmla="*/ 599256 w 1211013"/>
                <a:gd name="connsiteY109" fmla="*/ 146709 h 1076613"/>
                <a:gd name="connsiteX110" fmla="*/ 595708 w 1211013"/>
                <a:gd name="connsiteY110" fmla="*/ 143734 h 1076613"/>
                <a:gd name="connsiteX111" fmla="*/ 589321 w 1211013"/>
                <a:gd name="connsiteY111" fmla="*/ 138484 h 1076613"/>
                <a:gd name="connsiteX112" fmla="*/ 583690 w 1211013"/>
                <a:gd name="connsiteY112" fmla="*/ 135669 h 1076613"/>
                <a:gd name="connsiteX113" fmla="*/ 578065 w 1211013"/>
                <a:gd name="connsiteY113" fmla="*/ 133992 h 1076613"/>
                <a:gd name="connsiteX114" fmla="*/ 571716 w 1211013"/>
                <a:gd name="connsiteY114" fmla="*/ 133403 h 1076613"/>
                <a:gd name="connsiteX115" fmla="*/ 570308 w 1211013"/>
                <a:gd name="connsiteY115" fmla="*/ 132492 h 1076613"/>
                <a:gd name="connsiteX116" fmla="*/ 570207 w 1211013"/>
                <a:gd name="connsiteY116" fmla="*/ 130877 h 1076613"/>
                <a:gd name="connsiteX117" fmla="*/ 572535 w 1211013"/>
                <a:gd name="connsiteY117" fmla="*/ 125762 h 1076613"/>
                <a:gd name="connsiteX118" fmla="*/ 567324 w 1211013"/>
                <a:gd name="connsiteY118" fmla="*/ 122427 h 1076613"/>
                <a:gd name="connsiteX119" fmla="*/ 561997 w 1211013"/>
                <a:gd name="connsiteY119" fmla="*/ 119259 h 1076613"/>
                <a:gd name="connsiteX120" fmla="*/ 556101 w 1211013"/>
                <a:gd name="connsiteY120" fmla="*/ 120281 h 1076613"/>
                <a:gd name="connsiteX121" fmla="*/ 549834 w 1211013"/>
                <a:gd name="connsiteY121" fmla="*/ 121424 h 1076613"/>
                <a:gd name="connsiteX122" fmla="*/ 544108 w 1211013"/>
                <a:gd name="connsiteY122" fmla="*/ 124307 h 1076613"/>
                <a:gd name="connsiteX123" fmla="*/ 543129 w 1211013"/>
                <a:gd name="connsiteY123" fmla="*/ 124500 h 1076613"/>
                <a:gd name="connsiteX124" fmla="*/ 536587 w 1211013"/>
                <a:gd name="connsiteY124" fmla="*/ 123892 h 1076613"/>
                <a:gd name="connsiteX125" fmla="*/ 535074 w 1211013"/>
                <a:gd name="connsiteY125" fmla="*/ 122779 h 1076613"/>
                <a:gd name="connsiteX126" fmla="*/ 535430 w 1211013"/>
                <a:gd name="connsiteY126" fmla="*/ 120870 h 1076613"/>
                <a:gd name="connsiteX127" fmla="*/ 537609 w 1211013"/>
                <a:gd name="connsiteY127" fmla="*/ 118411 h 1076613"/>
                <a:gd name="connsiteX128" fmla="*/ 536341 w 1211013"/>
                <a:gd name="connsiteY128" fmla="*/ 118536 h 1076613"/>
                <a:gd name="connsiteX129" fmla="*/ 536177 w 1211013"/>
                <a:gd name="connsiteY129" fmla="*/ 118536 h 1076613"/>
                <a:gd name="connsiteX130" fmla="*/ 530672 w 1211013"/>
                <a:gd name="connsiteY130" fmla="*/ 118536 h 1076613"/>
                <a:gd name="connsiteX131" fmla="*/ 524540 w 1211013"/>
                <a:gd name="connsiteY131" fmla="*/ 121906 h 1076613"/>
                <a:gd name="connsiteX132" fmla="*/ 524468 w 1211013"/>
                <a:gd name="connsiteY132" fmla="*/ 121920 h 1076613"/>
                <a:gd name="connsiteX133" fmla="*/ 518534 w 1211013"/>
                <a:gd name="connsiteY133" fmla="*/ 124890 h 1076613"/>
                <a:gd name="connsiteX134" fmla="*/ 516866 w 1211013"/>
                <a:gd name="connsiteY134" fmla="*/ 124856 h 1076613"/>
                <a:gd name="connsiteX135" fmla="*/ 515897 w 1211013"/>
                <a:gd name="connsiteY135" fmla="*/ 123497 h 1076613"/>
                <a:gd name="connsiteX136" fmla="*/ 515506 w 1211013"/>
                <a:gd name="connsiteY136" fmla="*/ 120349 h 1076613"/>
                <a:gd name="connsiteX137" fmla="*/ 514402 w 1211013"/>
                <a:gd name="connsiteY137" fmla="*/ 120349 h 1076613"/>
                <a:gd name="connsiteX138" fmla="*/ 508058 w 1211013"/>
                <a:gd name="connsiteY138" fmla="*/ 122070 h 1076613"/>
                <a:gd name="connsiteX139" fmla="*/ 507769 w 1211013"/>
                <a:gd name="connsiteY139" fmla="*/ 122070 h 1076613"/>
                <a:gd name="connsiteX140" fmla="*/ 501830 w 1211013"/>
                <a:gd name="connsiteY140" fmla="*/ 122706 h 1076613"/>
                <a:gd name="connsiteX141" fmla="*/ 501459 w 1211013"/>
                <a:gd name="connsiteY141" fmla="*/ 122706 h 1076613"/>
                <a:gd name="connsiteX142" fmla="*/ 495592 w 1211013"/>
                <a:gd name="connsiteY142" fmla="*/ 122070 h 1076613"/>
                <a:gd name="connsiteX143" fmla="*/ 489147 w 1211013"/>
                <a:gd name="connsiteY143" fmla="*/ 122070 h 1076613"/>
                <a:gd name="connsiteX144" fmla="*/ 488669 w 1211013"/>
                <a:gd name="connsiteY144" fmla="*/ 122070 h 1076613"/>
                <a:gd name="connsiteX145" fmla="*/ 482123 w 1211013"/>
                <a:gd name="connsiteY145" fmla="*/ 120281 h 1076613"/>
                <a:gd name="connsiteX146" fmla="*/ 475634 w 1211013"/>
                <a:gd name="connsiteY146" fmla="*/ 118512 h 1076613"/>
                <a:gd name="connsiteX147" fmla="*/ 469738 w 1211013"/>
                <a:gd name="connsiteY147" fmla="*/ 117321 h 1076613"/>
                <a:gd name="connsiteX148" fmla="*/ 468827 w 1211013"/>
                <a:gd name="connsiteY148" fmla="*/ 116815 h 1076613"/>
                <a:gd name="connsiteX149" fmla="*/ 468543 w 1211013"/>
                <a:gd name="connsiteY149" fmla="*/ 116536 h 1076613"/>
                <a:gd name="connsiteX150" fmla="*/ 463052 w 1211013"/>
                <a:gd name="connsiteY150" fmla="*/ 114916 h 1076613"/>
                <a:gd name="connsiteX151" fmla="*/ 456544 w 1211013"/>
                <a:gd name="connsiteY151" fmla="*/ 113142 h 1076613"/>
                <a:gd name="connsiteX152" fmla="*/ 456245 w 1211013"/>
                <a:gd name="connsiteY152" fmla="*/ 113055 h 1076613"/>
                <a:gd name="connsiteX153" fmla="*/ 449699 w 1211013"/>
                <a:gd name="connsiteY153" fmla="*/ 110042 h 1076613"/>
                <a:gd name="connsiteX154" fmla="*/ 449530 w 1211013"/>
                <a:gd name="connsiteY154" fmla="*/ 109951 h 1076613"/>
                <a:gd name="connsiteX155" fmla="*/ 443793 w 1211013"/>
                <a:gd name="connsiteY155" fmla="*/ 106533 h 1076613"/>
                <a:gd name="connsiteX156" fmla="*/ 437473 w 1211013"/>
                <a:gd name="connsiteY156" fmla="*/ 104826 h 1076613"/>
                <a:gd name="connsiteX157" fmla="*/ 436919 w 1211013"/>
                <a:gd name="connsiteY157" fmla="*/ 104518 h 1076613"/>
                <a:gd name="connsiteX158" fmla="*/ 431279 w 1211013"/>
                <a:gd name="connsiteY158" fmla="*/ 100598 h 1076613"/>
                <a:gd name="connsiteX159" fmla="*/ 425137 w 1211013"/>
                <a:gd name="connsiteY159" fmla="*/ 99466 h 1076613"/>
                <a:gd name="connsiteX160" fmla="*/ 424944 w 1211013"/>
                <a:gd name="connsiteY160" fmla="*/ 99417 h 1076613"/>
                <a:gd name="connsiteX161" fmla="*/ 418991 w 1211013"/>
                <a:gd name="connsiteY161" fmla="*/ 97634 h 1076613"/>
                <a:gd name="connsiteX162" fmla="*/ 418388 w 1211013"/>
                <a:gd name="connsiteY162" fmla="*/ 97325 h 1076613"/>
                <a:gd name="connsiteX163" fmla="*/ 415775 w 1211013"/>
                <a:gd name="connsiteY163" fmla="*/ 95243 h 1076613"/>
                <a:gd name="connsiteX164" fmla="*/ 409668 w 1211013"/>
                <a:gd name="connsiteY164" fmla="*/ 94110 h 1076613"/>
                <a:gd name="connsiteX165" fmla="*/ 409060 w 1211013"/>
                <a:gd name="connsiteY165" fmla="*/ 93883 h 1076613"/>
                <a:gd name="connsiteX166" fmla="*/ 403102 w 1211013"/>
                <a:gd name="connsiteY166" fmla="*/ 90326 h 1076613"/>
                <a:gd name="connsiteX167" fmla="*/ 402567 w 1211013"/>
                <a:gd name="connsiteY167" fmla="*/ 89810 h 1076613"/>
                <a:gd name="connsiteX168" fmla="*/ 398753 w 1211013"/>
                <a:gd name="connsiteY168" fmla="*/ 84425 h 1076613"/>
                <a:gd name="connsiteX169" fmla="*/ 393566 w 1211013"/>
                <a:gd name="connsiteY169" fmla="*/ 82988 h 1076613"/>
                <a:gd name="connsiteX170" fmla="*/ 387651 w 1211013"/>
                <a:gd name="connsiteY170" fmla="*/ 86194 h 1076613"/>
                <a:gd name="connsiteX171" fmla="*/ 385535 w 1211013"/>
                <a:gd name="connsiteY171" fmla="*/ 85900 h 1076613"/>
                <a:gd name="connsiteX172" fmla="*/ 385135 w 1211013"/>
                <a:gd name="connsiteY172" fmla="*/ 83837 h 1076613"/>
                <a:gd name="connsiteX173" fmla="*/ 387131 w 1211013"/>
                <a:gd name="connsiteY173" fmla="*/ 79397 h 1076613"/>
                <a:gd name="connsiteX174" fmla="*/ 364401 w 1211013"/>
                <a:gd name="connsiteY174" fmla="*/ 75078 h 1076613"/>
                <a:gd name="connsiteX175" fmla="*/ 363654 w 1211013"/>
                <a:gd name="connsiteY175" fmla="*/ 74687 h 1076613"/>
                <a:gd name="connsiteX176" fmla="*/ 357686 w 1211013"/>
                <a:gd name="connsiteY176" fmla="*/ 69953 h 1076613"/>
                <a:gd name="connsiteX177" fmla="*/ 357252 w 1211013"/>
                <a:gd name="connsiteY177" fmla="*/ 69413 h 1076613"/>
                <a:gd name="connsiteX178" fmla="*/ 353738 w 1211013"/>
                <a:gd name="connsiteY178" fmla="*/ 63002 h 1076613"/>
                <a:gd name="connsiteX179" fmla="*/ 349915 w 1211013"/>
                <a:gd name="connsiteY179" fmla="*/ 58210 h 1076613"/>
                <a:gd name="connsiteX180" fmla="*/ 345354 w 1211013"/>
                <a:gd name="connsiteY180" fmla="*/ 60027 h 1076613"/>
                <a:gd name="connsiteX181" fmla="*/ 338957 w 1211013"/>
                <a:gd name="connsiteY181" fmla="*/ 64115 h 1076613"/>
                <a:gd name="connsiteX182" fmla="*/ 337309 w 1211013"/>
                <a:gd name="connsiteY182" fmla="*/ 64260 h 1076613"/>
                <a:gd name="connsiteX183" fmla="*/ 332006 w 1211013"/>
                <a:gd name="connsiteY183" fmla="*/ 62110 h 1076613"/>
                <a:gd name="connsiteX184" fmla="*/ 326115 w 1211013"/>
                <a:gd name="connsiteY184" fmla="*/ 64294 h 1076613"/>
                <a:gd name="connsiteX185" fmla="*/ 325093 w 1211013"/>
                <a:gd name="connsiteY185" fmla="*/ 64352 h 1076613"/>
                <a:gd name="connsiteX186" fmla="*/ 319728 w 1211013"/>
                <a:gd name="connsiteY186" fmla="*/ 63161 h 1076613"/>
                <a:gd name="connsiteX187" fmla="*/ 319197 w 1211013"/>
                <a:gd name="connsiteY187" fmla="*/ 62949 h 1076613"/>
                <a:gd name="connsiteX188" fmla="*/ 313519 w 1211013"/>
                <a:gd name="connsiteY188" fmla="*/ 59560 h 1076613"/>
                <a:gd name="connsiteX189" fmla="*/ 307642 w 1211013"/>
                <a:gd name="connsiteY189" fmla="*/ 58485 h 1076613"/>
                <a:gd name="connsiteX190" fmla="*/ 302060 w 1211013"/>
                <a:gd name="connsiteY190" fmla="*/ 59618 h 1076613"/>
                <a:gd name="connsiteX191" fmla="*/ 301370 w 1211013"/>
                <a:gd name="connsiteY191" fmla="*/ 59618 h 1076613"/>
                <a:gd name="connsiteX192" fmla="*/ 294833 w 1211013"/>
                <a:gd name="connsiteY192" fmla="*/ 58432 h 1076613"/>
                <a:gd name="connsiteX193" fmla="*/ 294375 w 1211013"/>
                <a:gd name="connsiteY193" fmla="*/ 58306 h 1076613"/>
                <a:gd name="connsiteX194" fmla="*/ 288354 w 1211013"/>
                <a:gd name="connsiteY194" fmla="*/ 55520 h 1076613"/>
                <a:gd name="connsiteX195" fmla="*/ 282382 w 1211013"/>
                <a:gd name="connsiteY195" fmla="*/ 56638 h 1076613"/>
                <a:gd name="connsiteX196" fmla="*/ 281543 w 1211013"/>
                <a:gd name="connsiteY196" fmla="*/ 56576 h 1076613"/>
                <a:gd name="connsiteX197" fmla="*/ 275575 w 1211013"/>
                <a:gd name="connsiteY197" fmla="*/ 54782 h 1076613"/>
                <a:gd name="connsiteX198" fmla="*/ 275430 w 1211013"/>
                <a:gd name="connsiteY198" fmla="*/ 54744 h 1076613"/>
                <a:gd name="connsiteX199" fmla="*/ 269954 w 1211013"/>
                <a:gd name="connsiteY199" fmla="*/ 52541 h 1076613"/>
                <a:gd name="connsiteX200" fmla="*/ 263928 w 1211013"/>
                <a:gd name="connsiteY200" fmla="*/ 53659 h 1076613"/>
                <a:gd name="connsiteX201" fmla="*/ 262525 w 1211013"/>
                <a:gd name="connsiteY201" fmla="*/ 53346 h 1076613"/>
                <a:gd name="connsiteX202" fmla="*/ 257989 w 1211013"/>
                <a:gd name="connsiteY202" fmla="*/ 49914 h 1076613"/>
                <a:gd name="connsiteX203" fmla="*/ 252917 w 1211013"/>
                <a:gd name="connsiteY203" fmla="*/ 48226 h 1076613"/>
                <a:gd name="connsiteX204" fmla="*/ 252816 w 1211013"/>
                <a:gd name="connsiteY204" fmla="*/ 48207 h 1076613"/>
                <a:gd name="connsiteX205" fmla="*/ 247181 w 1211013"/>
                <a:gd name="connsiteY205" fmla="*/ 45936 h 1076613"/>
                <a:gd name="connsiteX206" fmla="*/ 241164 w 1211013"/>
                <a:gd name="connsiteY206" fmla="*/ 45936 h 1076613"/>
                <a:gd name="connsiteX207" fmla="*/ 236223 w 1211013"/>
                <a:gd name="connsiteY207" fmla="*/ 46930 h 1076613"/>
                <a:gd name="connsiteX208" fmla="*/ 233042 w 1211013"/>
                <a:gd name="connsiteY208" fmla="*/ 52739 h 1076613"/>
                <a:gd name="connsiteX209" fmla="*/ 231186 w 1211013"/>
                <a:gd name="connsiteY209" fmla="*/ 53655 h 1076613"/>
                <a:gd name="connsiteX210" fmla="*/ 229667 w 1211013"/>
                <a:gd name="connsiteY210" fmla="*/ 52208 h 1076613"/>
                <a:gd name="connsiteX211" fmla="*/ 229089 w 1211013"/>
                <a:gd name="connsiteY211" fmla="*/ 49229 h 1076613"/>
                <a:gd name="connsiteX212" fmla="*/ 229190 w 1211013"/>
                <a:gd name="connsiteY212" fmla="*/ 48202 h 1076613"/>
                <a:gd name="connsiteX213" fmla="*/ 230829 w 1211013"/>
                <a:gd name="connsiteY213" fmla="*/ 44085 h 1076613"/>
                <a:gd name="connsiteX214" fmla="*/ 226804 w 1211013"/>
                <a:gd name="connsiteY214" fmla="*/ 42924 h 1076613"/>
                <a:gd name="connsiteX215" fmla="*/ 220267 w 1211013"/>
                <a:gd name="connsiteY215" fmla="*/ 41125 h 1076613"/>
                <a:gd name="connsiteX216" fmla="*/ 220016 w 1211013"/>
                <a:gd name="connsiteY216" fmla="*/ 41015 h 1076613"/>
                <a:gd name="connsiteX217" fmla="*/ 213455 w 1211013"/>
                <a:gd name="connsiteY217" fmla="*/ 38011 h 1076613"/>
                <a:gd name="connsiteX218" fmla="*/ 212790 w 1211013"/>
                <a:gd name="connsiteY218" fmla="*/ 37539 h 1076613"/>
                <a:gd name="connsiteX219" fmla="*/ 208041 w 1211013"/>
                <a:gd name="connsiteY219" fmla="*/ 31590 h 1076613"/>
                <a:gd name="connsiteX220" fmla="*/ 207694 w 1211013"/>
                <a:gd name="connsiteY220" fmla="*/ 30905 h 1076613"/>
                <a:gd name="connsiteX221" fmla="*/ 206002 w 1211013"/>
                <a:gd name="connsiteY221" fmla="*/ 24672 h 1076613"/>
                <a:gd name="connsiteX222" fmla="*/ 201490 w 1211013"/>
                <a:gd name="connsiteY222" fmla="*/ 18468 h 1076613"/>
                <a:gd name="connsiteX223" fmla="*/ 196554 w 1211013"/>
                <a:gd name="connsiteY223" fmla="*/ 13035 h 1076613"/>
                <a:gd name="connsiteX224" fmla="*/ 190933 w 1211013"/>
                <a:gd name="connsiteY224" fmla="*/ 11478 h 1076613"/>
                <a:gd name="connsiteX225" fmla="*/ 185408 w 1211013"/>
                <a:gd name="connsiteY225" fmla="*/ 12572 h 1076613"/>
                <a:gd name="connsiteX226" fmla="*/ 183306 w 1211013"/>
                <a:gd name="connsiteY226" fmla="*/ 11304 h 1076613"/>
                <a:gd name="connsiteX227" fmla="*/ 181976 w 1211013"/>
                <a:gd name="connsiteY227" fmla="*/ 6961 h 1076613"/>
                <a:gd name="connsiteX228" fmla="*/ 177666 w 1211013"/>
                <a:gd name="connsiteY228" fmla="*/ 7810 h 1076613"/>
                <a:gd name="connsiteX229" fmla="*/ 176258 w 1211013"/>
                <a:gd name="connsiteY229" fmla="*/ 7525 h 1076613"/>
                <a:gd name="connsiteX230" fmla="*/ 175531 w 1211013"/>
                <a:gd name="connsiteY230" fmla="*/ 6291 h 1076613"/>
                <a:gd name="connsiteX231" fmla="*/ 175246 w 1211013"/>
                <a:gd name="connsiteY231" fmla="*/ 4199 h 1076613"/>
                <a:gd name="connsiteX232" fmla="*/ 171534 w 1211013"/>
                <a:gd name="connsiteY232" fmla="*/ 5327 h 1076613"/>
                <a:gd name="connsiteX233" fmla="*/ 165200 w 1211013"/>
                <a:gd name="connsiteY233" fmla="*/ 9371 h 1076613"/>
                <a:gd name="connsiteX234" fmla="*/ 164751 w 1211013"/>
                <a:gd name="connsiteY234" fmla="*/ 9583 h 1076613"/>
                <a:gd name="connsiteX235" fmla="*/ 158798 w 1211013"/>
                <a:gd name="connsiteY235" fmla="*/ 11343 h 1076613"/>
                <a:gd name="connsiteX236" fmla="*/ 156865 w 1211013"/>
                <a:gd name="connsiteY236" fmla="*/ 10755 h 1076613"/>
                <a:gd name="connsiteX237" fmla="*/ 156662 w 1211013"/>
                <a:gd name="connsiteY237" fmla="*/ 8798 h 1076613"/>
                <a:gd name="connsiteX238" fmla="*/ 159516 w 1211013"/>
                <a:gd name="connsiteY238" fmla="*/ 3119 h 1076613"/>
                <a:gd name="connsiteX239" fmla="*/ 160071 w 1211013"/>
                <a:gd name="connsiteY239" fmla="*/ 0 h 1076613"/>
                <a:gd name="connsiteX240" fmla="*/ 138440 w 1211013"/>
                <a:gd name="connsiteY240" fmla="*/ 7549 h 1076613"/>
                <a:gd name="connsiteX241" fmla="*/ 131898 w 1211013"/>
                <a:gd name="connsiteY241" fmla="*/ 11753 h 1076613"/>
                <a:gd name="connsiteX242" fmla="*/ 131431 w 1211013"/>
                <a:gd name="connsiteY242" fmla="*/ 11941 h 1076613"/>
                <a:gd name="connsiteX243" fmla="*/ 125704 w 1211013"/>
                <a:gd name="connsiteY243" fmla="*/ 13647 h 1076613"/>
                <a:gd name="connsiteX244" fmla="*/ 119953 w 1211013"/>
                <a:gd name="connsiteY244" fmla="*/ 17099 h 1076613"/>
                <a:gd name="connsiteX245" fmla="*/ 118704 w 1211013"/>
                <a:gd name="connsiteY245" fmla="*/ 17340 h 1076613"/>
                <a:gd name="connsiteX246" fmla="*/ 113011 w 1211013"/>
                <a:gd name="connsiteY246" fmla="*/ 16414 h 1076613"/>
                <a:gd name="connsiteX247" fmla="*/ 111309 w 1211013"/>
                <a:gd name="connsiteY247" fmla="*/ 20666 h 1076613"/>
                <a:gd name="connsiteX248" fmla="*/ 111309 w 1211013"/>
                <a:gd name="connsiteY248" fmla="*/ 24668 h 1076613"/>
                <a:gd name="connsiteX249" fmla="*/ 115074 w 1211013"/>
                <a:gd name="connsiteY249" fmla="*/ 23877 h 1076613"/>
                <a:gd name="connsiteX250" fmla="*/ 115778 w 1211013"/>
                <a:gd name="connsiteY250" fmla="*/ 23877 h 1076613"/>
                <a:gd name="connsiteX251" fmla="*/ 120767 w 1211013"/>
                <a:gd name="connsiteY251" fmla="*/ 24879 h 1076613"/>
                <a:gd name="connsiteX252" fmla="*/ 121288 w 1211013"/>
                <a:gd name="connsiteY252" fmla="*/ 24402 h 1076613"/>
                <a:gd name="connsiteX253" fmla="*/ 122585 w 1211013"/>
                <a:gd name="connsiteY253" fmla="*/ 23829 h 1076613"/>
                <a:gd name="connsiteX254" fmla="*/ 124937 w 1211013"/>
                <a:gd name="connsiteY254" fmla="*/ 23829 h 1076613"/>
                <a:gd name="connsiteX255" fmla="*/ 126581 w 1211013"/>
                <a:gd name="connsiteY255" fmla="*/ 24870 h 1076613"/>
                <a:gd name="connsiteX256" fmla="*/ 126398 w 1211013"/>
                <a:gd name="connsiteY256" fmla="*/ 26779 h 1076613"/>
                <a:gd name="connsiteX257" fmla="*/ 124629 w 1211013"/>
                <a:gd name="connsiteY257" fmla="*/ 29146 h 1076613"/>
                <a:gd name="connsiteX258" fmla="*/ 123978 w 1211013"/>
                <a:gd name="connsiteY258" fmla="*/ 29691 h 1076613"/>
                <a:gd name="connsiteX259" fmla="*/ 122778 w 1211013"/>
                <a:gd name="connsiteY259" fmla="*/ 30288 h 1076613"/>
                <a:gd name="connsiteX260" fmla="*/ 121977 w 1211013"/>
                <a:gd name="connsiteY260" fmla="*/ 30472 h 1076613"/>
                <a:gd name="connsiteX261" fmla="*/ 116188 w 1211013"/>
                <a:gd name="connsiteY261" fmla="*/ 30472 h 1076613"/>
                <a:gd name="connsiteX262" fmla="*/ 114876 w 1211013"/>
                <a:gd name="connsiteY262" fmla="*/ 30708 h 1076613"/>
                <a:gd name="connsiteX263" fmla="*/ 116858 w 1211013"/>
                <a:gd name="connsiteY263" fmla="*/ 31797 h 1076613"/>
                <a:gd name="connsiteX264" fmla="*/ 122778 w 1211013"/>
                <a:gd name="connsiteY264" fmla="*/ 34757 h 1076613"/>
                <a:gd name="connsiteX265" fmla="*/ 123173 w 1211013"/>
                <a:gd name="connsiteY265" fmla="*/ 35042 h 1076613"/>
                <a:gd name="connsiteX266" fmla="*/ 125839 w 1211013"/>
                <a:gd name="connsiteY266" fmla="*/ 34584 h 1076613"/>
                <a:gd name="connsiteX267" fmla="*/ 127897 w 1211013"/>
                <a:gd name="connsiteY267" fmla="*/ 35938 h 1076613"/>
                <a:gd name="connsiteX268" fmla="*/ 126716 w 1211013"/>
                <a:gd name="connsiteY268" fmla="*/ 38113 h 1076613"/>
                <a:gd name="connsiteX269" fmla="*/ 123149 w 1211013"/>
                <a:gd name="connsiteY269" fmla="*/ 39298 h 1076613"/>
                <a:gd name="connsiteX270" fmla="*/ 122580 w 1211013"/>
                <a:gd name="connsiteY270" fmla="*/ 39390 h 1076613"/>
                <a:gd name="connsiteX271" fmla="*/ 122098 w 1211013"/>
                <a:gd name="connsiteY271" fmla="*/ 39390 h 1076613"/>
                <a:gd name="connsiteX272" fmla="*/ 117812 w 1211013"/>
                <a:gd name="connsiteY272" fmla="*/ 39886 h 1076613"/>
                <a:gd name="connsiteX273" fmla="*/ 115262 w 1211013"/>
                <a:gd name="connsiteY273" fmla="*/ 44924 h 1076613"/>
                <a:gd name="connsiteX274" fmla="*/ 113690 w 1211013"/>
                <a:gd name="connsiteY274" fmla="*/ 45936 h 1076613"/>
                <a:gd name="connsiteX275" fmla="*/ 112061 w 1211013"/>
                <a:gd name="connsiteY275" fmla="*/ 45011 h 1076613"/>
                <a:gd name="connsiteX276" fmla="*/ 108783 w 1211013"/>
                <a:gd name="connsiteY276" fmla="*/ 39028 h 1076613"/>
                <a:gd name="connsiteX277" fmla="*/ 104743 w 1211013"/>
                <a:gd name="connsiteY277" fmla="*/ 37389 h 1076613"/>
                <a:gd name="connsiteX278" fmla="*/ 100834 w 1211013"/>
                <a:gd name="connsiteY278" fmla="*/ 42813 h 1076613"/>
                <a:gd name="connsiteX279" fmla="*/ 99233 w 1211013"/>
                <a:gd name="connsiteY279" fmla="*/ 43560 h 1076613"/>
                <a:gd name="connsiteX280" fmla="*/ 97724 w 1211013"/>
                <a:gd name="connsiteY280" fmla="*/ 42581 h 1076613"/>
                <a:gd name="connsiteX281" fmla="*/ 95377 w 1211013"/>
                <a:gd name="connsiteY281" fmla="*/ 37862 h 1076613"/>
                <a:gd name="connsiteX282" fmla="*/ 91178 w 1211013"/>
                <a:gd name="connsiteY282" fmla="*/ 38676 h 1076613"/>
                <a:gd name="connsiteX283" fmla="*/ 85528 w 1211013"/>
                <a:gd name="connsiteY283" fmla="*/ 42653 h 1076613"/>
                <a:gd name="connsiteX284" fmla="*/ 83845 w 1211013"/>
                <a:gd name="connsiteY284" fmla="*/ 42875 h 1076613"/>
                <a:gd name="connsiteX285" fmla="*/ 77709 w 1211013"/>
                <a:gd name="connsiteY285" fmla="*/ 40639 h 1076613"/>
                <a:gd name="connsiteX286" fmla="*/ 72184 w 1211013"/>
                <a:gd name="connsiteY286" fmla="*/ 41169 h 1076613"/>
                <a:gd name="connsiteX287" fmla="*/ 72160 w 1211013"/>
                <a:gd name="connsiteY287" fmla="*/ 41169 h 1076613"/>
                <a:gd name="connsiteX288" fmla="*/ 66211 w 1211013"/>
                <a:gd name="connsiteY288" fmla="*/ 41767 h 1076613"/>
                <a:gd name="connsiteX289" fmla="*/ 64968 w 1211013"/>
                <a:gd name="connsiteY289" fmla="*/ 41439 h 1076613"/>
                <a:gd name="connsiteX290" fmla="*/ 58542 w 1211013"/>
                <a:gd name="connsiteY290" fmla="*/ 36710 h 1076613"/>
                <a:gd name="connsiteX291" fmla="*/ 53514 w 1211013"/>
                <a:gd name="connsiteY291" fmla="*/ 34232 h 1076613"/>
                <a:gd name="connsiteX292" fmla="*/ 47743 w 1211013"/>
                <a:gd name="connsiteY292" fmla="*/ 36825 h 1076613"/>
                <a:gd name="connsiteX293" fmla="*/ 47150 w 1211013"/>
                <a:gd name="connsiteY293" fmla="*/ 37037 h 1076613"/>
                <a:gd name="connsiteX294" fmla="*/ 44239 w 1211013"/>
                <a:gd name="connsiteY294" fmla="*/ 37254 h 1076613"/>
                <a:gd name="connsiteX295" fmla="*/ 47150 w 1211013"/>
                <a:gd name="connsiteY295" fmla="*/ 40523 h 1076613"/>
                <a:gd name="connsiteX296" fmla="*/ 47444 w 1211013"/>
                <a:gd name="connsiteY296" fmla="*/ 42581 h 1076613"/>
                <a:gd name="connsiteX297" fmla="*/ 45641 w 1211013"/>
                <a:gd name="connsiteY297" fmla="*/ 43560 h 1076613"/>
                <a:gd name="connsiteX298" fmla="*/ 39427 w 1211013"/>
                <a:gd name="connsiteY298" fmla="*/ 42991 h 1076613"/>
                <a:gd name="connsiteX299" fmla="*/ 33185 w 1211013"/>
                <a:gd name="connsiteY299" fmla="*/ 44697 h 1076613"/>
                <a:gd name="connsiteX300" fmla="*/ 32895 w 1211013"/>
                <a:gd name="connsiteY300" fmla="*/ 44750 h 1076613"/>
                <a:gd name="connsiteX301" fmla="*/ 26956 w 1211013"/>
                <a:gd name="connsiteY301" fmla="*/ 45324 h 1076613"/>
                <a:gd name="connsiteX302" fmla="*/ 26575 w 1211013"/>
                <a:gd name="connsiteY302" fmla="*/ 45324 h 1076613"/>
                <a:gd name="connsiteX303" fmla="*/ 21152 w 1211013"/>
                <a:gd name="connsiteY303" fmla="*/ 44813 h 1076613"/>
                <a:gd name="connsiteX304" fmla="*/ 16891 w 1211013"/>
                <a:gd name="connsiteY304" fmla="*/ 46934 h 1076613"/>
                <a:gd name="connsiteX305" fmla="*/ 17845 w 1211013"/>
                <a:gd name="connsiteY305" fmla="*/ 52136 h 1076613"/>
                <a:gd name="connsiteX306" fmla="*/ 17537 w 1211013"/>
                <a:gd name="connsiteY306" fmla="*/ 53510 h 1076613"/>
                <a:gd name="connsiteX307" fmla="*/ 16360 w 1211013"/>
                <a:gd name="connsiteY307" fmla="*/ 54233 h 1076613"/>
                <a:gd name="connsiteX308" fmla="*/ 10079 w 1211013"/>
                <a:gd name="connsiteY308" fmla="*/ 55400 h 1076613"/>
                <a:gd name="connsiteX309" fmla="*/ 5364 w 1211013"/>
                <a:gd name="connsiteY309" fmla="*/ 57766 h 1076613"/>
                <a:gd name="connsiteX310" fmla="*/ 5364 w 1211013"/>
                <a:gd name="connsiteY310" fmla="*/ 62549 h 1076613"/>
                <a:gd name="connsiteX311" fmla="*/ 5355 w 1211013"/>
                <a:gd name="connsiteY311" fmla="*/ 62741 h 1076613"/>
                <a:gd name="connsiteX312" fmla="*/ 4786 w 1211013"/>
                <a:gd name="connsiteY312" fmla="*/ 68353 h 1076613"/>
                <a:gd name="connsiteX313" fmla="*/ 6030 w 1211013"/>
                <a:gd name="connsiteY313" fmla="*/ 72841 h 1076613"/>
                <a:gd name="connsiteX314" fmla="*/ 10783 w 1211013"/>
                <a:gd name="connsiteY314" fmla="*/ 71529 h 1076613"/>
                <a:gd name="connsiteX315" fmla="*/ 12947 w 1211013"/>
                <a:gd name="connsiteY315" fmla="*/ 72547 h 1076613"/>
                <a:gd name="connsiteX316" fmla="*/ 15917 w 1211013"/>
                <a:gd name="connsiteY316" fmla="*/ 79093 h 1076613"/>
                <a:gd name="connsiteX317" fmla="*/ 15864 w 1211013"/>
                <a:gd name="connsiteY317" fmla="*/ 80708 h 1076613"/>
                <a:gd name="connsiteX318" fmla="*/ 13319 w 1211013"/>
                <a:gd name="connsiteY318" fmla="*/ 85293 h 1076613"/>
                <a:gd name="connsiteX319" fmla="*/ 15334 w 1211013"/>
                <a:gd name="connsiteY319" fmla="*/ 89805 h 1076613"/>
                <a:gd name="connsiteX320" fmla="*/ 15232 w 1211013"/>
                <a:gd name="connsiteY320" fmla="*/ 91478 h 1076613"/>
                <a:gd name="connsiteX321" fmla="*/ 12118 w 1211013"/>
                <a:gd name="connsiteY321" fmla="*/ 96713 h 1076613"/>
                <a:gd name="connsiteX322" fmla="*/ 13319 w 1211013"/>
                <a:gd name="connsiteY322" fmla="*/ 100044 h 1076613"/>
                <a:gd name="connsiteX323" fmla="*/ 17286 w 1211013"/>
                <a:gd name="connsiteY323" fmla="*/ 96858 h 1076613"/>
                <a:gd name="connsiteX324" fmla="*/ 18612 w 1211013"/>
                <a:gd name="connsiteY324" fmla="*/ 96472 h 1076613"/>
                <a:gd name="connsiteX325" fmla="*/ 25139 w 1211013"/>
                <a:gd name="connsiteY325" fmla="*/ 97070 h 1076613"/>
                <a:gd name="connsiteX326" fmla="*/ 25163 w 1211013"/>
                <a:gd name="connsiteY326" fmla="*/ 97070 h 1076613"/>
                <a:gd name="connsiteX327" fmla="*/ 30741 w 1211013"/>
                <a:gd name="connsiteY327" fmla="*/ 97605 h 1076613"/>
                <a:gd name="connsiteX328" fmla="*/ 36337 w 1211013"/>
                <a:gd name="connsiteY328" fmla="*/ 95956 h 1076613"/>
                <a:gd name="connsiteX329" fmla="*/ 38405 w 1211013"/>
                <a:gd name="connsiteY329" fmla="*/ 96723 h 1076613"/>
                <a:gd name="connsiteX330" fmla="*/ 38242 w 1211013"/>
                <a:gd name="connsiteY330" fmla="*/ 98882 h 1076613"/>
                <a:gd name="connsiteX331" fmla="*/ 34072 w 1211013"/>
                <a:gd name="connsiteY331" fmla="*/ 103631 h 1076613"/>
                <a:gd name="connsiteX332" fmla="*/ 33180 w 1211013"/>
                <a:gd name="connsiteY332" fmla="*/ 104209 h 1076613"/>
                <a:gd name="connsiteX333" fmla="*/ 26739 w 1211013"/>
                <a:gd name="connsiteY333" fmla="*/ 105959 h 1076613"/>
                <a:gd name="connsiteX334" fmla="*/ 21273 w 1211013"/>
                <a:gd name="connsiteY334" fmla="*/ 108128 h 1076613"/>
                <a:gd name="connsiteX335" fmla="*/ 16327 w 1211013"/>
                <a:gd name="connsiteY335" fmla="*/ 113624 h 1076613"/>
                <a:gd name="connsiteX336" fmla="*/ 13193 w 1211013"/>
                <a:gd name="connsiteY336" fmla="*/ 118850 h 1076613"/>
                <a:gd name="connsiteX337" fmla="*/ 14283 w 1211013"/>
                <a:gd name="connsiteY337" fmla="*/ 124041 h 1076613"/>
                <a:gd name="connsiteX338" fmla="*/ 15334 w 1211013"/>
                <a:gd name="connsiteY338" fmla="*/ 127975 h 1076613"/>
                <a:gd name="connsiteX339" fmla="*/ 19663 w 1211013"/>
                <a:gd name="connsiteY339" fmla="*/ 124823 h 1076613"/>
                <a:gd name="connsiteX340" fmla="*/ 25525 w 1211013"/>
                <a:gd name="connsiteY340" fmla="*/ 119534 h 1076613"/>
                <a:gd name="connsiteX341" fmla="*/ 27130 w 1211013"/>
                <a:gd name="connsiteY341" fmla="*/ 119105 h 1076613"/>
                <a:gd name="connsiteX342" fmla="*/ 31276 w 1211013"/>
                <a:gd name="connsiteY342" fmla="*/ 119973 h 1076613"/>
                <a:gd name="connsiteX343" fmla="*/ 32124 w 1211013"/>
                <a:gd name="connsiteY343" fmla="*/ 115760 h 1076613"/>
                <a:gd name="connsiteX344" fmla="*/ 33377 w 1211013"/>
                <a:gd name="connsiteY344" fmla="*/ 114414 h 1076613"/>
                <a:gd name="connsiteX345" fmla="*/ 35200 w 1211013"/>
                <a:gd name="connsiteY345" fmla="*/ 114839 h 1076613"/>
                <a:gd name="connsiteX346" fmla="*/ 39852 w 1211013"/>
                <a:gd name="connsiteY346" fmla="*/ 119486 h 1076613"/>
                <a:gd name="connsiteX347" fmla="*/ 44523 w 1211013"/>
                <a:gd name="connsiteY347" fmla="*/ 114839 h 1076613"/>
                <a:gd name="connsiteX348" fmla="*/ 46885 w 1211013"/>
                <a:gd name="connsiteY348" fmla="*/ 114665 h 1076613"/>
                <a:gd name="connsiteX349" fmla="*/ 47401 w 1211013"/>
                <a:gd name="connsiteY349" fmla="*/ 116974 h 1076613"/>
                <a:gd name="connsiteX350" fmla="*/ 32057 w 1211013"/>
                <a:gd name="connsiteY350" fmla="*/ 135462 h 1076613"/>
                <a:gd name="connsiteX351" fmla="*/ 31550 w 1211013"/>
                <a:gd name="connsiteY351" fmla="*/ 141295 h 1076613"/>
                <a:gd name="connsiteX352" fmla="*/ 30760 w 1211013"/>
                <a:gd name="connsiteY352" fmla="*/ 142611 h 1076613"/>
                <a:gd name="connsiteX353" fmla="*/ 24816 w 1211013"/>
                <a:gd name="connsiteY353" fmla="*/ 146786 h 1076613"/>
                <a:gd name="connsiteX354" fmla="*/ 23606 w 1211013"/>
                <a:gd name="connsiteY354" fmla="*/ 146877 h 1076613"/>
                <a:gd name="connsiteX355" fmla="*/ 23707 w 1211013"/>
                <a:gd name="connsiteY355" fmla="*/ 147017 h 1076613"/>
                <a:gd name="connsiteX356" fmla="*/ 25737 w 1211013"/>
                <a:gd name="connsiteY356" fmla="*/ 152628 h 1076613"/>
                <a:gd name="connsiteX357" fmla="*/ 30104 w 1211013"/>
                <a:gd name="connsiteY357" fmla="*/ 153496 h 1076613"/>
                <a:gd name="connsiteX358" fmla="*/ 36106 w 1211013"/>
                <a:gd name="connsiteY358" fmla="*/ 150772 h 1076613"/>
                <a:gd name="connsiteX359" fmla="*/ 37200 w 1211013"/>
                <a:gd name="connsiteY359" fmla="*/ 150657 h 1076613"/>
                <a:gd name="connsiteX360" fmla="*/ 43732 w 1211013"/>
                <a:gd name="connsiteY360" fmla="*/ 151838 h 1076613"/>
                <a:gd name="connsiteX361" fmla="*/ 45227 w 1211013"/>
                <a:gd name="connsiteY361" fmla="*/ 153327 h 1076613"/>
                <a:gd name="connsiteX362" fmla="*/ 44321 w 1211013"/>
                <a:gd name="connsiteY362" fmla="*/ 155207 h 1076613"/>
                <a:gd name="connsiteX363" fmla="*/ 40155 w 1211013"/>
                <a:gd name="connsiteY363" fmla="*/ 157589 h 1076613"/>
                <a:gd name="connsiteX364" fmla="*/ 40054 w 1211013"/>
                <a:gd name="connsiteY364" fmla="*/ 157647 h 1076613"/>
                <a:gd name="connsiteX365" fmla="*/ 34120 w 1211013"/>
                <a:gd name="connsiteY365" fmla="*/ 160626 h 1076613"/>
                <a:gd name="connsiteX366" fmla="*/ 33782 w 1211013"/>
                <a:gd name="connsiteY366" fmla="*/ 160727 h 1076613"/>
                <a:gd name="connsiteX367" fmla="*/ 27424 w 1211013"/>
                <a:gd name="connsiteY367" fmla="*/ 162487 h 1076613"/>
                <a:gd name="connsiteX368" fmla="*/ 21841 w 1211013"/>
                <a:gd name="connsiteY368" fmla="*/ 165519 h 1076613"/>
                <a:gd name="connsiteX369" fmla="*/ 21114 w 1211013"/>
                <a:gd name="connsiteY369" fmla="*/ 169443 h 1076613"/>
                <a:gd name="connsiteX370" fmla="*/ 25558 w 1211013"/>
                <a:gd name="connsiteY370" fmla="*/ 170200 h 1076613"/>
                <a:gd name="connsiteX371" fmla="*/ 31791 w 1211013"/>
                <a:gd name="connsiteY371" fmla="*/ 169115 h 1076613"/>
                <a:gd name="connsiteX372" fmla="*/ 32278 w 1211013"/>
                <a:gd name="connsiteY372" fmla="*/ 169043 h 1076613"/>
                <a:gd name="connsiteX373" fmla="*/ 37374 w 1211013"/>
                <a:gd name="connsiteY373" fmla="*/ 169563 h 1076613"/>
                <a:gd name="connsiteX374" fmla="*/ 38131 w 1211013"/>
                <a:gd name="connsiteY374" fmla="*/ 167360 h 1076613"/>
                <a:gd name="connsiteX375" fmla="*/ 39090 w 1211013"/>
                <a:gd name="connsiteY375" fmla="*/ 166247 h 1076613"/>
                <a:gd name="connsiteX376" fmla="*/ 45637 w 1211013"/>
                <a:gd name="connsiteY376" fmla="*/ 163277 h 1076613"/>
                <a:gd name="connsiteX377" fmla="*/ 47372 w 1211013"/>
                <a:gd name="connsiteY377" fmla="*/ 163403 h 1076613"/>
                <a:gd name="connsiteX378" fmla="*/ 48206 w 1211013"/>
                <a:gd name="connsiteY378" fmla="*/ 164936 h 1076613"/>
                <a:gd name="connsiteX379" fmla="*/ 48206 w 1211013"/>
                <a:gd name="connsiteY379" fmla="*/ 165509 h 1076613"/>
                <a:gd name="connsiteX380" fmla="*/ 47849 w 1211013"/>
                <a:gd name="connsiteY380" fmla="*/ 166613 h 1076613"/>
                <a:gd name="connsiteX381" fmla="*/ 46061 w 1211013"/>
                <a:gd name="connsiteY381" fmla="*/ 168951 h 1076613"/>
                <a:gd name="connsiteX382" fmla="*/ 45757 w 1211013"/>
                <a:gd name="connsiteY382" fmla="*/ 169332 h 1076613"/>
                <a:gd name="connsiteX383" fmla="*/ 26956 w 1211013"/>
                <a:gd name="connsiteY383" fmla="*/ 179687 h 1076613"/>
                <a:gd name="connsiteX384" fmla="*/ 21432 w 1211013"/>
                <a:gd name="connsiteY384" fmla="*/ 183558 h 1076613"/>
                <a:gd name="connsiteX385" fmla="*/ 16206 w 1211013"/>
                <a:gd name="connsiteY385" fmla="*/ 189362 h 1076613"/>
                <a:gd name="connsiteX386" fmla="*/ 16086 w 1211013"/>
                <a:gd name="connsiteY386" fmla="*/ 189497 h 1076613"/>
                <a:gd name="connsiteX387" fmla="*/ 10585 w 1211013"/>
                <a:gd name="connsiteY387" fmla="*/ 194410 h 1076613"/>
                <a:gd name="connsiteX388" fmla="*/ 9505 w 1211013"/>
                <a:gd name="connsiteY388" fmla="*/ 200349 h 1076613"/>
                <a:gd name="connsiteX389" fmla="*/ 9462 w 1211013"/>
                <a:gd name="connsiteY389" fmla="*/ 200561 h 1076613"/>
                <a:gd name="connsiteX390" fmla="*/ 7683 w 1211013"/>
                <a:gd name="connsiteY390" fmla="*/ 206485 h 1076613"/>
                <a:gd name="connsiteX391" fmla="*/ 6068 w 1211013"/>
                <a:gd name="connsiteY391" fmla="*/ 212410 h 1076613"/>
                <a:gd name="connsiteX392" fmla="*/ 7683 w 1211013"/>
                <a:gd name="connsiteY392" fmla="*/ 216401 h 1076613"/>
                <a:gd name="connsiteX393" fmla="*/ 12431 w 1211013"/>
                <a:gd name="connsiteY393" fmla="*/ 215563 h 1076613"/>
                <a:gd name="connsiteX394" fmla="*/ 18072 w 1211013"/>
                <a:gd name="connsiteY394" fmla="*/ 212159 h 1076613"/>
                <a:gd name="connsiteX395" fmla="*/ 20583 w 1211013"/>
                <a:gd name="connsiteY395" fmla="*/ 212801 h 1076613"/>
                <a:gd name="connsiteX396" fmla="*/ 20636 w 1211013"/>
                <a:gd name="connsiteY396" fmla="*/ 213085 h 1076613"/>
                <a:gd name="connsiteX397" fmla="*/ 31256 w 1211013"/>
                <a:gd name="connsiteY397" fmla="*/ 205087 h 1076613"/>
                <a:gd name="connsiteX398" fmla="*/ 41230 w 1211013"/>
                <a:gd name="connsiteY398" fmla="*/ 203135 h 1076613"/>
                <a:gd name="connsiteX399" fmla="*/ 50655 w 1211013"/>
                <a:gd name="connsiteY399" fmla="*/ 203265 h 1076613"/>
                <a:gd name="connsiteX400" fmla="*/ 64457 w 1211013"/>
                <a:gd name="connsiteY400" fmla="*/ 206500 h 1076613"/>
                <a:gd name="connsiteX401" fmla="*/ 72097 w 1211013"/>
                <a:gd name="connsiteY401" fmla="*/ 202913 h 1076613"/>
                <a:gd name="connsiteX402" fmla="*/ 78943 w 1211013"/>
                <a:gd name="connsiteY402" fmla="*/ 201597 h 1076613"/>
                <a:gd name="connsiteX403" fmla="*/ 77651 w 1211013"/>
                <a:gd name="connsiteY403" fmla="*/ 212969 h 1076613"/>
                <a:gd name="connsiteX404" fmla="*/ 83465 w 1211013"/>
                <a:gd name="connsiteY404" fmla="*/ 212314 h 1076613"/>
                <a:gd name="connsiteX405" fmla="*/ 85263 w 1211013"/>
                <a:gd name="connsiteY405" fmla="*/ 218764 h 1076613"/>
                <a:gd name="connsiteX406" fmla="*/ 68848 w 1211013"/>
                <a:gd name="connsiteY406" fmla="*/ 234045 h 1076613"/>
                <a:gd name="connsiteX407" fmla="*/ 70940 w 1211013"/>
                <a:gd name="connsiteY407" fmla="*/ 241108 h 1076613"/>
                <a:gd name="connsiteX408" fmla="*/ 80370 w 1211013"/>
                <a:gd name="connsiteY408" fmla="*/ 248469 h 1076613"/>
                <a:gd name="connsiteX409" fmla="*/ 94041 w 1211013"/>
                <a:gd name="connsiteY409" fmla="*/ 243610 h 1076613"/>
                <a:gd name="connsiteX410" fmla="*/ 99469 w 1211013"/>
                <a:gd name="connsiteY410" fmla="*/ 237752 h 1076613"/>
                <a:gd name="connsiteX411" fmla="*/ 104382 w 1211013"/>
                <a:gd name="connsiteY411" fmla="*/ 244882 h 1076613"/>
                <a:gd name="connsiteX412" fmla="*/ 121037 w 1211013"/>
                <a:gd name="connsiteY412" fmla="*/ 246131 h 1076613"/>
                <a:gd name="connsiteX413" fmla="*/ 125043 w 1211013"/>
                <a:gd name="connsiteY413" fmla="*/ 250966 h 1076613"/>
                <a:gd name="connsiteX414" fmla="*/ 125815 w 1211013"/>
                <a:gd name="connsiteY414" fmla="*/ 256852 h 1076613"/>
                <a:gd name="connsiteX415" fmla="*/ 133441 w 1211013"/>
                <a:gd name="connsiteY415" fmla="*/ 258448 h 1076613"/>
                <a:gd name="connsiteX416" fmla="*/ 138344 w 1211013"/>
                <a:gd name="connsiteY416" fmla="*/ 254307 h 1076613"/>
                <a:gd name="connsiteX417" fmla="*/ 141974 w 1211013"/>
                <a:gd name="connsiteY417" fmla="*/ 260000 h 1076613"/>
                <a:gd name="connsiteX418" fmla="*/ 143391 w 1211013"/>
                <a:gd name="connsiteY418" fmla="*/ 264252 h 1076613"/>
                <a:gd name="connsiteX419" fmla="*/ 150111 w 1211013"/>
                <a:gd name="connsiteY419" fmla="*/ 259460 h 1076613"/>
                <a:gd name="connsiteX420" fmla="*/ 156701 w 1211013"/>
                <a:gd name="connsiteY420" fmla="*/ 261167 h 1076613"/>
                <a:gd name="connsiteX421" fmla="*/ 167017 w 1211013"/>
                <a:gd name="connsiteY421" fmla="*/ 258833 h 1076613"/>
                <a:gd name="connsiteX422" fmla="*/ 175670 w 1211013"/>
                <a:gd name="connsiteY422" fmla="*/ 245899 h 1076613"/>
                <a:gd name="connsiteX423" fmla="*/ 187433 w 1211013"/>
                <a:gd name="connsiteY423" fmla="*/ 254818 h 1076613"/>
                <a:gd name="connsiteX424" fmla="*/ 191299 w 1211013"/>
                <a:gd name="connsiteY424" fmla="*/ 252383 h 1076613"/>
                <a:gd name="connsiteX425" fmla="*/ 194129 w 1211013"/>
                <a:gd name="connsiteY425" fmla="*/ 257407 h 1076613"/>
                <a:gd name="connsiteX426" fmla="*/ 201365 w 1211013"/>
                <a:gd name="connsiteY426" fmla="*/ 258833 h 1076613"/>
                <a:gd name="connsiteX427" fmla="*/ 207574 w 1211013"/>
                <a:gd name="connsiteY427" fmla="*/ 258284 h 1076613"/>
                <a:gd name="connsiteX428" fmla="*/ 221641 w 1211013"/>
                <a:gd name="connsiteY428" fmla="*/ 263587 h 1076613"/>
                <a:gd name="connsiteX429" fmla="*/ 231600 w 1211013"/>
                <a:gd name="connsiteY429" fmla="*/ 267077 h 1076613"/>
                <a:gd name="connsiteX430" fmla="*/ 230935 w 1211013"/>
                <a:gd name="connsiteY430" fmla="*/ 274216 h 1076613"/>
                <a:gd name="connsiteX431" fmla="*/ 231600 w 1211013"/>
                <a:gd name="connsiteY431" fmla="*/ 282339 h 1076613"/>
                <a:gd name="connsiteX432" fmla="*/ 226023 w 1211013"/>
                <a:gd name="connsiteY432" fmla="*/ 291624 h 1076613"/>
                <a:gd name="connsiteX433" fmla="*/ 226023 w 1211013"/>
                <a:gd name="connsiteY433" fmla="*/ 299631 h 1076613"/>
                <a:gd name="connsiteX434" fmla="*/ 232237 w 1211013"/>
                <a:gd name="connsiteY434" fmla="*/ 304167 h 1076613"/>
                <a:gd name="connsiteX435" fmla="*/ 256899 w 1211013"/>
                <a:gd name="connsiteY435" fmla="*/ 323518 h 1076613"/>
                <a:gd name="connsiteX436" fmla="*/ 246703 w 1211013"/>
                <a:gd name="connsiteY436" fmla="*/ 332826 h 1076613"/>
                <a:gd name="connsiteX437" fmla="*/ 239853 w 1211013"/>
                <a:gd name="connsiteY437" fmla="*/ 344979 h 1076613"/>
                <a:gd name="connsiteX438" fmla="*/ 232632 w 1211013"/>
                <a:gd name="connsiteY438" fmla="*/ 343533 h 1076613"/>
                <a:gd name="connsiteX439" fmla="*/ 227585 w 1211013"/>
                <a:gd name="connsiteY439" fmla="*/ 349988 h 1076613"/>
                <a:gd name="connsiteX440" fmla="*/ 202657 w 1211013"/>
                <a:gd name="connsiteY440" fmla="*/ 356998 h 1076613"/>
                <a:gd name="connsiteX441" fmla="*/ 190277 w 1211013"/>
                <a:gd name="connsiteY441" fmla="*/ 366682 h 1076613"/>
                <a:gd name="connsiteX442" fmla="*/ 187428 w 1211013"/>
                <a:gd name="connsiteY442" fmla="*/ 372337 h 1076613"/>
                <a:gd name="connsiteX443" fmla="*/ 181089 w 1211013"/>
                <a:gd name="connsiteY443" fmla="*/ 379814 h 1076613"/>
                <a:gd name="connsiteX444" fmla="*/ 167658 w 1211013"/>
                <a:gd name="connsiteY444" fmla="*/ 378141 h 1076613"/>
                <a:gd name="connsiteX445" fmla="*/ 172566 w 1211013"/>
                <a:gd name="connsiteY445" fmla="*/ 391591 h 1076613"/>
                <a:gd name="connsiteX446" fmla="*/ 175029 w 1211013"/>
                <a:gd name="connsiteY446" fmla="*/ 404761 h 1076613"/>
                <a:gd name="connsiteX447" fmla="*/ 170368 w 1211013"/>
                <a:gd name="connsiteY447" fmla="*/ 417020 h 1076613"/>
                <a:gd name="connsiteX448" fmla="*/ 165209 w 1211013"/>
                <a:gd name="connsiteY448" fmla="*/ 438058 h 1076613"/>
                <a:gd name="connsiteX449" fmla="*/ 166766 w 1211013"/>
                <a:gd name="connsiteY449" fmla="*/ 444923 h 1076613"/>
                <a:gd name="connsiteX450" fmla="*/ 160437 w 1211013"/>
                <a:gd name="connsiteY450" fmla="*/ 454896 h 1076613"/>
                <a:gd name="connsiteX451" fmla="*/ 163652 w 1211013"/>
                <a:gd name="connsiteY451" fmla="*/ 469855 h 1076613"/>
                <a:gd name="connsiteX452" fmla="*/ 155515 w 1211013"/>
                <a:gd name="connsiteY452" fmla="*/ 474517 h 1076613"/>
                <a:gd name="connsiteX453" fmla="*/ 152304 w 1211013"/>
                <a:gd name="connsiteY453" fmla="*/ 479935 h 1076613"/>
                <a:gd name="connsiteX454" fmla="*/ 143902 w 1211013"/>
                <a:gd name="connsiteY454" fmla="*/ 479410 h 1076613"/>
                <a:gd name="connsiteX455" fmla="*/ 136285 w 1211013"/>
                <a:gd name="connsiteY455" fmla="*/ 481507 h 1076613"/>
                <a:gd name="connsiteX456" fmla="*/ 134984 w 1211013"/>
                <a:gd name="connsiteY456" fmla="*/ 495313 h 1076613"/>
                <a:gd name="connsiteX457" fmla="*/ 139491 w 1211013"/>
                <a:gd name="connsiteY457" fmla="*/ 499300 h 1076613"/>
                <a:gd name="connsiteX458" fmla="*/ 142740 w 1211013"/>
                <a:gd name="connsiteY458" fmla="*/ 515300 h 1076613"/>
                <a:gd name="connsiteX459" fmla="*/ 128659 w 1211013"/>
                <a:gd name="connsiteY459" fmla="*/ 535441 h 1076613"/>
                <a:gd name="connsiteX460" fmla="*/ 126070 w 1211013"/>
                <a:gd name="connsiteY460" fmla="*/ 540098 h 1076613"/>
                <a:gd name="connsiteX461" fmla="*/ 116019 w 1211013"/>
                <a:gd name="connsiteY461" fmla="*/ 556266 h 1076613"/>
                <a:gd name="connsiteX462" fmla="*/ 102709 w 1211013"/>
                <a:gd name="connsiteY462" fmla="*/ 552622 h 1076613"/>
                <a:gd name="connsiteX463" fmla="*/ 66814 w 1211013"/>
                <a:gd name="connsiteY463" fmla="*/ 543226 h 1076613"/>
                <a:gd name="connsiteX464" fmla="*/ 66549 w 1211013"/>
                <a:gd name="connsiteY464" fmla="*/ 551851 h 1076613"/>
                <a:gd name="connsiteX465" fmla="*/ 71991 w 1211013"/>
                <a:gd name="connsiteY465" fmla="*/ 563348 h 1076613"/>
                <a:gd name="connsiteX466" fmla="*/ 84111 w 1211013"/>
                <a:gd name="connsiteY466" fmla="*/ 575101 h 1076613"/>
                <a:gd name="connsiteX467" fmla="*/ 79150 w 1211013"/>
                <a:gd name="connsiteY467" fmla="*/ 589240 h 1076613"/>
                <a:gd name="connsiteX468" fmla="*/ 83855 w 1211013"/>
                <a:gd name="connsiteY468" fmla="*/ 601967 h 1076613"/>
                <a:gd name="connsiteX469" fmla="*/ 81276 w 1211013"/>
                <a:gd name="connsiteY469" fmla="*/ 608822 h 1076613"/>
                <a:gd name="connsiteX470" fmla="*/ 87466 w 1211013"/>
                <a:gd name="connsiteY470" fmla="*/ 616048 h 1076613"/>
                <a:gd name="connsiteX471" fmla="*/ 90315 w 1211013"/>
                <a:gd name="connsiteY471" fmla="*/ 628818 h 1076613"/>
                <a:gd name="connsiteX472" fmla="*/ 98206 w 1211013"/>
                <a:gd name="connsiteY472" fmla="*/ 627169 h 1076613"/>
                <a:gd name="connsiteX473" fmla="*/ 103485 w 1211013"/>
                <a:gd name="connsiteY473" fmla="*/ 633889 h 1076613"/>
                <a:gd name="connsiteX474" fmla="*/ 103620 w 1211013"/>
                <a:gd name="connsiteY474" fmla="*/ 639930 h 1076613"/>
                <a:gd name="connsiteX475" fmla="*/ 105298 w 1211013"/>
                <a:gd name="connsiteY475" fmla="*/ 642374 h 1076613"/>
                <a:gd name="connsiteX476" fmla="*/ 92513 w 1211013"/>
                <a:gd name="connsiteY476" fmla="*/ 658938 h 1076613"/>
                <a:gd name="connsiteX477" fmla="*/ 65527 w 1211013"/>
                <a:gd name="connsiteY477" fmla="*/ 674561 h 1076613"/>
                <a:gd name="connsiteX478" fmla="*/ 61381 w 1211013"/>
                <a:gd name="connsiteY478" fmla="*/ 682786 h 1076613"/>
                <a:gd name="connsiteX479" fmla="*/ 62046 w 1211013"/>
                <a:gd name="connsiteY479" fmla="*/ 689019 h 1076613"/>
                <a:gd name="connsiteX480" fmla="*/ 55707 w 1211013"/>
                <a:gd name="connsiteY480" fmla="*/ 695348 h 1076613"/>
                <a:gd name="connsiteX481" fmla="*/ 51306 w 1211013"/>
                <a:gd name="connsiteY481" fmla="*/ 705949 h 1076613"/>
                <a:gd name="connsiteX482" fmla="*/ 50279 w 1211013"/>
                <a:gd name="connsiteY482" fmla="*/ 709420 h 1076613"/>
                <a:gd name="connsiteX483" fmla="*/ 52091 w 1211013"/>
                <a:gd name="connsiteY483" fmla="*/ 716256 h 1076613"/>
                <a:gd name="connsiteX484" fmla="*/ 57375 w 1211013"/>
                <a:gd name="connsiteY484" fmla="*/ 727503 h 1076613"/>
                <a:gd name="connsiteX485" fmla="*/ 60740 w 1211013"/>
                <a:gd name="connsiteY485" fmla="*/ 736951 h 1076613"/>
                <a:gd name="connsiteX486" fmla="*/ 62943 w 1211013"/>
                <a:gd name="connsiteY486" fmla="*/ 743401 h 1076613"/>
                <a:gd name="connsiteX487" fmla="*/ 68241 w 1211013"/>
                <a:gd name="connsiteY487" fmla="*/ 751529 h 1076613"/>
                <a:gd name="connsiteX488" fmla="*/ 81676 w 1211013"/>
                <a:gd name="connsiteY488" fmla="*/ 752031 h 1076613"/>
                <a:gd name="connsiteX489" fmla="*/ 79213 w 1211013"/>
                <a:gd name="connsiteY489" fmla="*/ 759676 h 1076613"/>
                <a:gd name="connsiteX490" fmla="*/ 73269 w 1211013"/>
                <a:gd name="connsiteY490" fmla="*/ 764044 h 1076613"/>
                <a:gd name="connsiteX491" fmla="*/ 70685 w 1211013"/>
                <a:gd name="connsiteY491" fmla="*/ 771149 h 1076613"/>
                <a:gd name="connsiteX492" fmla="*/ 64881 w 1211013"/>
                <a:gd name="connsiteY492" fmla="*/ 772827 h 1076613"/>
                <a:gd name="connsiteX493" fmla="*/ 58040 w 1211013"/>
                <a:gd name="connsiteY493" fmla="*/ 770768 h 1076613"/>
                <a:gd name="connsiteX494" fmla="*/ 50674 w 1211013"/>
                <a:gd name="connsiteY494" fmla="*/ 775170 h 1076613"/>
                <a:gd name="connsiteX495" fmla="*/ 44210 w 1211013"/>
                <a:gd name="connsiteY495" fmla="*/ 773473 h 1076613"/>
                <a:gd name="connsiteX496" fmla="*/ 40594 w 1211013"/>
                <a:gd name="connsiteY496" fmla="*/ 779301 h 1076613"/>
                <a:gd name="connsiteX497" fmla="*/ 31690 w 1211013"/>
                <a:gd name="connsiteY497" fmla="*/ 792838 h 1076613"/>
                <a:gd name="connsiteX498" fmla="*/ 17744 w 1211013"/>
                <a:gd name="connsiteY498" fmla="*/ 800098 h 1076613"/>
                <a:gd name="connsiteX499" fmla="*/ 13362 w 1211013"/>
                <a:gd name="connsiteY499" fmla="*/ 806818 h 1076613"/>
                <a:gd name="connsiteX500" fmla="*/ 11781 w 1211013"/>
                <a:gd name="connsiteY500" fmla="*/ 812482 h 1076613"/>
                <a:gd name="connsiteX501" fmla="*/ 303 w 1211013"/>
                <a:gd name="connsiteY501" fmla="*/ 823729 h 1076613"/>
                <a:gd name="connsiteX502" fmla="*/ 1315 w 1211013"/>
                <a:gd name="connsiteY502" fmla="*/ 829287 h 1076613"/>
                <a:gd name="connsiteX503" fmla="*/ 4039 w 1211013"/>
                <a:gd name="connsiteY503" fmla="*/ 837154 h 1076613"/>
                <a:gd name="connsiteX504" fmla="*/ 2361 w 1211013"/>
                <a:gd name="connsiteY504" fmla="*/ 855642 h 1076613"/>
                <a:gd name="connsiteX505" fmla="*/ 1715 w 1211013"/>
                <a:gd name="connsiteY505" fmla="*/ 862208 h 1076613"/>
                <a:gd name="connsiteX506" fmla="*/ 2019 w 1211013"/>
                <a:gd name="connsiteY506" fmla="*/ 866233 h 1076613"/>
                <a:gd name="connsiteX507" fmla="*/ 2347 w 1211013"/>
                <a:gd name="connsiteY507" fmla="*/ 866677 h 1076613"/>
                <a:gd name="connsiteX508" fmla="*/ 3532 w 1211013"/>
                <a:gd name="connsiteY508" fmla="*/ 870808 h 1076613"/>
                <a:gd name="connsiteX509" fmla="*/ 3412 w 1211013"/>
                <a:gd name="connsiteY509" fmla="*/ 872100 h 1076613"/>
                <a:gd name="connsiteX510" fmla="*/ 3041 w 1211013"/>
                <a:gd name="connsiteY510" fmla="*/ 872871 h 1076613"/>
                <a:gd name="connsiteX511" fmla="*/ 4646 w 1211013"/>
                <a:gd name="connsiteY511" fmla="*/ 876906 h 1076613"/>
                <a:gd name="connsiteX512" fmla="*/ 28740 w 1211013"/>
                <a:gd name="connsiteY512" fmla="*/ 877248 h 1076613"/>
                <a:gd name="connsiteX513" fmla="*/ 28885 w 1211013"/>
                <a:gd name="connsiteY513" fmla="*/ 877282 h 1076613"/>
                <a:gd name="connsiteX514" fmla="*/ 35426 w 1211013"/>
                <a:gd name="connsiteY514" fmla="*/ 878449 h 1076613"/>
                <a:gd name="connsiteX515" fmla="*/ 35981 w 1211013"/>
                <a:gd name="connsiteY515" fmla="*/ 878671 h 1076613"/>
                <a:gd name="connsiteX516" fmla="*/ 42464 w 1211013"/>
                <a:gd name="connsiteY516" fmla="*/ 882223 h 1076613"/>
                <a:gd name="connsiteX517" fmla="*/ 46673 w 1211013"/>
                <a:gd name="connsiteY517" fmla="*/ 884301 h 1076613"/>
                <a:gd name="connsiteX518" fmla="*/ 48163 w 1211013"/>
                <a:gd name="connsiteY518" fmla="*/ 880488 h 1076613"/>
                <a:gd name="connsiteX519" fmla="*/ 48163 w 1211013"/>
                <a:gd name="connsiteY519" fmla="*/ 874906 h 1076613"/>
                <a:gd name="connsiteX520" fmla="*/ 49026 w 1211013"/>
                <a:gd name="connsiteY520" fmla="*/ 873349 h 1076613"/>
                <a:gd name="connsiteX521" fmla="*/ 50800 w 1211013"/>
                <a:gd name="connsiteY521" fmla="*/ 873247 h 1076613"/>
                <a:gd name="connsiteX522" fmla="*/ 51990 w 1211013"/>
                <a:gd name="connsiteY522" fmla="*/ 873864 h 1076613"/>
                <a:gd name="connsiteX523" fmla="*/ 52892 w 1211013"/>
                <a:gd name="connsiteY523" fmla="*/ 874853 h 1076613"/>
                <a:gd name="connsiteX524" fmla="*/ 54497 w 1211013"/>
                <a:gd name="connsiteY524" fmla="*/ 879254 h 1076613"/>
                <a:gd name="connsiteX525" fmla="*/ 59130 w 1211013"/>
                <a:gd name="connsiteY525" fmla="*/ 876309 h 1076613"/>
                <a:gd name="connsiteX526" fmla="*/ 60952 w 1211013"/>
                <a:gd name="connsiteY526" fmla="*/ 876284 h 1076613"/>
                <a:gd name="connsiteX527" fmla="*/ 61926 w 1211013"/>
                <a:gd name="connsiteY527" fmla="*/ 877904 h 1076613"/>
                <a:gd name="connsiteX528" fmla="*/ 61926 w 1211013"/>
                <a:gd name="connsiteY528" fmla="*/ 879037 h 1076613"/>
                <a:gd name="connsiteX529" fmla="*/ 61318 w 1211013"/>
                <a:gd name="connsiteY529" fmla="*/ 880444 h 1076613"/>
                <a:gd name="connsiteX530" fmla="*/ 55374 w 1211013"/>
                <a:gd name="connsiteY530" fmla="*/ 885766 h 1076613"/>
                <a:gd name="connsiteX531" fmla="*/ 55085 w 1211013"/>
                <a:gd name="connsiteY531" fmla="*/ 885974 h 1076613"/>
                <a:gd name="connsiteX532" fmla="*/ 53605 w 1211013"/>
                <a:gd name="connsiteY532" fmla="*/ 886861 h 1076613"/>
                <a:gd name="connsiteX533" fmla="*/ 87220 w 1211013"/>
                <a:gd name="connsiteY533" fmla="*/ 920345 h 1076613"/>
                <a:gd name="connsiteX534" fmla="*/ 91380 w 1211013"/>
                <a:gd name="connsiteY534" fmla="*/ 926921 h 1076613"/>
                <a:gd name="connsiteX535" fmla="*/ 91453 w 1211013"/>
                <a:gd name="connsiteY535" fmla="*/ 926988 h 1076613"/>
                <a:gd name="connsiteX536" fmla="*/ 95034 w 1211013"/>
                <a:gd name="connsiteY536" fmla="*/ 933520 h 1076613"/>
                <a:gd name="connsiteX537" fmla="*/ 95184 w 1211013"/>
                <a:gd name="connsiteY537" fmla="*/ 933877 h 1076613"/>
                <a:gd name="connsiteX538" fmla="*/ 96977 w 1211013"/>
                <a:gd name="connsiteY538" fmla="*/ 939850 h 1076613"/>
                <a:gd name="connsiteX539" fmla="*/ 97011 w 1211013"/>
                <a:gd name="connsiteY539" fmla="*/ 940052 h 1076613"/>
                <a:gd name="connsiteX540" fmla="*/ 98110 w 1211013"/>
                <a:gd name="connsiteY540" fmla="*/ 946108 h 1076613"/>
                <a:gd name="connsiteX541" fmla="*/ 100679 w 1211013"/>
                <a:gd name="connsiteY541" fmla="*/ 949251 h 1076613"/>
                <a:gd name="connsiteX542" fmla="*/ 101181 w 1211013"/>
                <a:gd name="connsiteY542" fmla="*/ 946585 h 1076613"/>
                <a:gd name="connsiteX543" fmla="*/ 101422 w 1211013"/>
                <a:gd name="connsiteY543" fmla="*/ 945915 h 1076613"/>
                <a:gd name="connsiteX544" fmla="*/ 105592 w 1211013"/>
                <a:gd name="connsiteY544" fmla="*/ 939354 h 1076613"/>
                <a:gd name="connsiteX545" fmla="*/ 107144 w 1211013"/>
                <a:gd name="connsiteY545" fmla="*/ 938525 h 1076613"/>
                <a:gd name="connsiteX546" fmla="*/ 109506 w 1211013"/>
                <a:gd name="connsiteY546" fmla="*/ 938525 h 1076613"/>
                <a:gd name="connsiteX547" fmla="*/ 110277 w 1211013"/>
                <a:gd name="connsiteY547" fmla="*/ 938737 h 1076613"/>
                <a:gd name="connsiteX548" fmla="*/ 116800 w 1211013"/>
                <a:gd name="connsiteY548" fmla="*/ 941677 h 1076613"/>
                <a:gd name="connsiteX549" fmla="*/ 117730 w 1211013"/>
                <a:gd name="connsiteY549" fmla="*/ 944087 h 1076613"/>
                <a:gd name="connsiteX550" fmla="*/ 115349 w 1211013"/>
                <a:gd name="connsiteY550" fmla="*/ 945004 h 1076613"/>
                <a:gd name="connsiteX551" fmla="*/ 111743 w 1211013"/>
                <a:gd name="connsiteY551" fmla="*/ 943437 h 1076613"/>
                <a:gd name="connsiteX552" fmla="*/ 106811 w 1211013"/>
                <a:gd name="connsiteY552" fmla="*/ 944772 h 1076613"/>
                <a:gd name="connsiteX553" fmla="*/ 105317 w 1211013"/>
                <a:gd name="connsiteY553" fmla="*/ 950326 h 1076613"/>
                <a:gd name="connsiteX554" fmla="*/ 105143 w 1211013"/>
                <a:gd name="connsiteY554" fmla="*/ 950749 h 1076613"/>
                <a:gd name="connsiteX555" fmla="*/ 103586 w 1211013"/>
                <a:gd name="connsiteY555" fmla="*/ 953579 h 1076613"/>
                <a:gd name="connsiteX556" fmla="*/ 103567 w 1211013"/>
                <a:gd name="connsiteY556" fmla="*/ 953768 h 1076613"/>
                <a:gd name="connsiteX557" fmla="*/ 103413 w 1211013"/>
                <a:gd name="connsiteY557" fmla="*/ 953936 h 1076613"/>
                <a:gd name="connsiteX558" fmla="*/ 101586 w 1211013"/>
                <a:gd name="connsiteY558" fmla="*/ 957316 h 1076613"/>
                <a:gd name="connsiteX559" fmla="*/ 99980 w 1211013"/>
                <a:gd name="connsiteY559" fmla="*/ 958237 h 1076613"/>
                <a:gd name="connsiteX560" fmla="*/ 99710 w 1211013"/>
                <a:gd name="connsiteY560" fmla="*/ 958237 h 1076613"/>
                <a:gd name="connsiteX561" fmla="*/ 94152 w 1211013"/>
                <a:gd name="connsiteY561" fmla="*/ 960247 h 1076613"/>
                <a:gd name="connsiteX562" fmla="*/ 91795 w 1211013"/>
                <a:gd name="connsiteY562" fmla="*/ 964918 h 1076613"/>
                <a:gd name="connsiteX563" fmla="*/ 93337 w 1211013"/>
                <a:gd name="connsiteY563" fmla="*/ 970539 h 1076613"/>
                <a:gd name="connsiteX564" fmla="*/ 97045 w 1211013"/>
                <a:gd name="connsiteY564" fmla="*/ 976352 h 1076613"/>
                <a:gd name="connsiteX565" fmla="*/ 102444 w 1211013"/>
                <a:gd name="connsiteY565" fmla="*/ 978532 h 1076613"/>
                <a:gd name="connsiteX566" fmla="*/ 103051 w 1211013"/>
                <a:gd name="connsiteY566" fmla="*/ 978941 h 1076613"/>
                <a:gd name="connsiteX567" fmla="*/ 109019 w 1211013"/>
                <a:gd name="connsiteY567" fmla="*/ 984870 h 1076613"/>
                <a:gd name="connsiteX568" fmla="*/ 109511 w 1211013"/>
                <a:gd name="connsiteY568" fmla="*/ 986409 h 1076613"/>
                <a:gd name="connsiteX569" fmla="*/ 108932 w 1211013"/>
                <a:gd name="connsiteY569" fmla="*/ 990593 h 1076613"/>
                <a:gd name="connsiteX570" fmla="*/ 108918 w 1211013"/>
                <a:gd name="connsiteY570" fmla="*/ 990660 h 1076613"/>
                <a:gd name="connsiteX571" fmla="*/ 108209 w 1211013"/>
                <a:gd name="connsiteY571" fmla="*/ 994599 h 1076613"/>
                <a:gd name="connsiteX572" fmla="*/ 111521 w 1211013"/>
                <a:gd name="connsiteY572" fmla="*/ 993939 h 1076613"/>
                <a:gd name="connsiteX573" fmla="*/ 113387 w 1211013"/>
                <a:gd name="connsiteY573" fmla="*/ 994695 h 1076613"/>
                <a:gd name="connsiteX574" fmla="*/ 113387 w 1211013"/>
                <a:gd name="connsiteY574" fmla="*/ 996710 h 1076613"/>
                <a:gd name="connsiteX575" fmla="*/ 112215 w 1211013"/>
                <a:gd name="connsiteY575" fmla="*/ 998475 h 1076613"/>
                <a:gd name="connsiteX576" fmla="*/ 111034 w 1211013"/>
                <a:gd name="connsiteY576" fmla="*/ 1000297 h 1076613"/>
                <a:gd name="connsiteX577" fmla="*/ 109342 w 1211013"/>
                <a:gd name="connsiteY577" fmla="*/ 1001059 h 1076613"/>
                <a:gd name="connsiteX578" fmla="*/ 103591 w 1211013"/>
                <a:gd name="connsiteY578" fmla="*/ 1000543 h 1076613"/>
                <a:gd name="connsiteX579" fmla="*/ 104705 w 1211013"/>
                <a:gd name="connsiteY579" fmla="*/ 1004722 h 1076613"/>
                <a:gd name="connsiteX580" fmla="*/ 104724 w 1211013"/>
                <a:gd name="connsiteY580" fmla="*/ 1004872 h 1076613"/>
                <a:gd name="connsiteX581" fmla="*/ 105842 w 1211013"/>
                <a:gd name="connsiteY581" fmla="*/ 1010252 h 1076613"/>
                <a:gd name="connsiteX582" fmla="*/ 106035 w 1211013"/>
                <a:gd name="connsiteY582" fmla="*/ 1010478 h 1076613"/>
                <a:gd name="connsiteX583" fmla="*/ 106392 w 1211013"/>
                <a:gd name="connsiteY583" fmla="*/ 1010961 h 1076613"/>
                <a:gd name="connsiteX584" fmla="*/ 108759 w 1211013"/>
                <a:gd name="connsiteY584" fmla="*/ 1015680 h 1076613"/>
                <a:gd name="connsiteX585" fmla="*/ 108942 w 1211013"/>
                <a:gd name="connsiteY585" fmla="*/ 1016345 h 1076613"/>
                <a:gd name="connsiteX586" fmla="*/ 109477 w 1211013"/>
                <a:gd name="connsiteY586" fmla="*/ 1021730 h 1076613"/>
                <a:gd name="connsiteX587" fmla="*/ 113898 w 1211013"/>
                <a:gd name="connsiteY587" fmla="*/ 1027274 h 1076613"/>
                <a:gd name="connsiteX588" fmla="*/ 114255 w 1211013"/>
                <a:gd name="connsiteY588" fmla="*/ 1027963 h 1076613"/>
                <a:gd name="connsiteX589" fmla="*/ 116019 w 1211013"/>
                <a:gd name="connsiteY589" fmla="*/ 1034462 h 1076613"/>
                <a:gd name="connsiteX590" fmla="*/ 117624 w 1211013"/>
                <a:gd name="connsiteY590" fmla="*/ 1039831 h 1076613"/>
                <a:gd name="connsiteX591" fmla="*/ 122782 w 1211013"/>
                <a:gd name="connsiteY591" fmla="*/ 1043972 h 1076613"/>
                <a:gd name="connsiteX592" fmla="*/ 128885 w 1211013"/>
                <a:gd name="connsiteY592" fmla="*/ 1045072 h 1076613"/>
                <a:gd name="connsiteX593" fmla="*/ 129719 w 1211013"/>
                <a:gd name="connsiteY593" fmla="*/ 1045448 h 1076613"/>
                <a:gd name="connsiteX594" fmla="*/ 136247 w 1211013"/>
                <a:gd name="connsiteY594" fmla="*/ 1050809 h 1076613"/>
                <a:gd name="connsiteX595" fmla="*/ 136709 w 1211013"/>
                <a:gd name="connsiteY595" fmla="*/ 1051416 h 1076613"/>
                <a:gd name="connsiteX596" fmla="*/ 139607 w 1211013"/>
                <a:gd name="connsiteY596" fmla="*/ 1057157 h 1076613"/>
                <a:gd name="connsiteX597" fmla="*/ 144726 w 1211013"/>
                <a:gd name="connsiteY597" fmla="*/ 1063400 h 1076613"/>
                <a:gd name="connsiteX598" fmla="*/ 150342 w 1211013"/>
                <a:gd name="connsiteY598" fmla="*/ 1067922 h 1076613"/>
                <a:gd name="connsiteX599" fmla="*/ 156667 w 1211013"/>
                <a:gd name="connsiteY599" fmla="*/ 1070766 h 1076613"/>
                <a:gd name="connsiteX600" fmla="*/ 157535 w 1211013"/>
                <a:gd name="connsiteY600" fmla="*/ 1071595 h 1076613"/>
                <a:gd name="connsiteX601" fmla="*/ 160292 w 1211013"/>
                <a:gd name="connsiteY601" fmla="*/ 1076613 h 1076613"/>
                <a:gd name="connsiteX602" fmla="*/ 166752 w 1211013"/>
                <a:gd name="connsiteY602" fmla="*/ 1074825 h 1076613"/>
                <a:gd name="connsiteX603" fmla="*/ 173082 w 1211013"/>
                <a:gd name="connsiteY603" fmla="*/ 1073099 h 1076613"/>
                <a:gd name="connsiteX604" fmla="*/ 178707 w 1211013"/>
                <a:gd name="connsiteY604" fmla="*/ 1070043 h 1076613"/>
                <a:gd name="connsiteX605" fmla="*/ 179739 w 1211013"/>
                <a:gd name="connsiteY605" fmla="*/ 1064943 h 1076613"/>
                <a:gd name="connsiteX606" fmla="*/ 180086 w 1211013"/>
                <a:gd name="connsiteY606" fmla="*/ 1064167 h 1076613"/>
                <a:gd name="connsiteX607" fmla="*/ 184859 w 1211013"/>
                <a:gd name="connsiteY607" fmla="*/ 1058208 h 1076613"/>
                <a:gd name="connsiteX608" fmla="*/ 186131 w 1211013"/>
                <a:gd name="connsiteY608" fmla="*/ 1057519 h 1076613"/>
                <a:gd name="connsiteX609" fmla="*/ 187486 w 1211013"/>
                <a:gd name="connsiteY609" fmla="*/ 1058016 h 1076613"/>
                <a:gd name="connsiteX610" fmla="*/ 192080 w 1211013"/>
                <a:gd name="connsiteY610" fmla="*/ 1062132 h 1076613"/>
                <a:gd name="connsiteX611" fmla="*/ 206065 w 1211013"/>
                <a:gd name="connsiteY611" fmla="*/ 1044156 h 1076613"/>
                <a:gd name="connsiteX612" fmla="*/ 206542 w 1211013"/>
                <a:gd name="connsiteY612" fmla="*/ 1042271 h 1076613"/>
                <a:gd name="connsiteX613" fmla="*/ 206880 w 1211013"/>
                <a:gd name="connsiteY613" fmla="*/ 1041562 h 1076613"/>
                <a:gd name="connsiteX614" fmla="*/ 211652 w 1211013"/>
                <a:gd name="connsiteY614" fmla="*/ 1035613 h 1076613"/>
                <a:gd name="connsiteX615" fmla="*/ 212187 w 1211013"/>
                <a:gd name="connsiteY615" fmla="*/ 1035127 h 1076613"/>
                <a:gd name="connsiteX616" fmla="*/ 218772 w 1211013"/>
                <a:gd name="connsiteY616" fmla="*/ 1031583 h 1076613"/>
                <a:gd name="connsiteX617" fmla="*/ 219259 w 1211013"/>
                <a:gd name="connsiteY617" fmla="*/ 1031390 h 1076613"/>
                <a:gd name="connsiteX618" fmla="*/ 225218 w 1211013"/>
                <a:gd name="connsiteY618" fmla="*/ 1030214 h 1076613"/>
                <a:gd name="connsiteX619" fmla="*/ 225251 w 1211013"/>
                <a:gd name="connsiteY619" fmla="*/ 1030214 h 1076613"/>
                <a:gd name="connsiteX620" fmla="*/ 231783 w 1211013"/>
                <a:gd name="connsiteY620" fmla="*/ 1029033 h 1076613"/>
                <a:gd name="connsiteX621" fmla="*/ 231923 w 1211013"/>
                <a:gd name="connsiteY621" fmla="*/ 1029004 h 1076613"/>
                <a:gd name="connsiteX622" fmla="*/ 237544 w 1211013"/>
                <a:gd name="connsiteY622" fmla="*/ 1028436 h 1076613"/>
                <a:gd name="connsiteX623" fmla="*/ 240822 w 1211013"/>
                <a:gd name="connsiteY623" fmla="*/ 1026796 h 1076613"/>
                <a:gd name="connsiteX624" fmla="*/ 241193 w 1211013"/>
                <a:gd name="connsiteY624" fmla="*/ 1026662 h 1076613"/>
                <a:gd name="connsiteX625" fmla="*/ 248333 w 1211013"/>
                <a:gd name="connsiteY625" fmla="*/ 1024858 h 1076613"/>
                <a:gd name="connsiteX626" fmla="*/ 249095 w 1211013"/>
                <a:gd name="connsiteY626" fmla="*/ 1024858 h 1076613"/>
                <a:gd name="connsiteX627" fmla="*/ 255631 w 1211013"/>
                <a:gd name="connsiteY627" fmla="*/ 1026054 h 1076613"/>
                <a:gd name="connsiteX628" fmla="*/ 256123 w 1211013"/>
                <a:gd name="connsiteY628" fmla="*/ 1026194 h 1076613"/>
                <a:gd name="connsiteX629" fmla="*/ 261855 w 1211013"/>
                <a:gd name="connsiteY629" fmla="*/ 1029067 h 1076613"/>
                <a:gd name="connsiteX630" fmla="*/ 267977 w 1211013"/>
                <a:gd name="connsiteY630" fmla="*/ 1030161 h 1076613"/>
                <a:gd name="connsiteX631" fmla="*/ 273593 w 1211013"/>
                <a:gd name="connsiteY631" fmla="*/ 1030161 h 1076613"/>
                <a:gd name="connsiteX632" fmla="*/ 278727 w 1211013"/>
                <a:gd name="connsiteY632" fmla="*/ 1029168 h 1076613"/>
                <a:gd name="connsiteX633" fmla="*/ 283673 w 1211013"/>
                <a:gd name="connsiteY633" fmla="*/ 1023094 h 1076613"/>
                <a:gd name="connsiteX634" fmla="*/ 285086 w 1211013"/>
                <a:gd name="connsiteY634" fmla="*/ 1022458 h 1076613"/>
                <a:gd name="connsiteX635" fmla="*/ 290495 w 1211013"/>
                <a:gd name="connsiteY635" fmla="*/ 1022458 h 1076613"/>
                <a:gd name="connsiteX636" fmla="*/ 296376 w 1211013"/>
                <a:gd name="connsiteY636" fmla="*/ 1018698 h 1076613"/>
                <a:gd name="connsiteX637" fmla="*/ 301505 w 1211013"/>
                <a:gd name="connsiteY637" fmla="*/ 1013000 h 1076613"/>
                <a:gd name="connsiteX638" fmla="*/ 302595 w 1211013"/>
                <a:gd name="connsiteY638" fmla="*/ 1011336 h 1076613"/>
                <a:gd name="connsiteX639" fmla="*/ 302980 w 1211013"/>
                <a:gd name="connsiteY639" fmla="*/ 1010931 h 1076613"/>
                <a:gd name="connsiteX640" fmla="*/ 308934 w 1211013"/>
                <a:gd name="connsiteY640" fmla="*/ 1006188 h 1076613"/>
                <a:gd name="connsiteX641" fmla="*/ 310756 w 1211013"/>
                <a:gd name="connsiteY641" fmla="*/ 1005918 h 1076613"/>
                <a:gd name="connsiteX642" fmla="*/ 316584 w 1211013"/>
                <a:gd name="connsiteY642" fmla="*/ 1008222 h 1076613"/>
                <a:gd name="connsiteX643" fmla="*/ 322904 w 1211013"/>
                <a:gd name="connsiteY643" fmla="*/ 1009943 h 1076613"/>
                <a:gd name="connsiteX644" fmla="*/ 328699 w 1211013"/>
                <a:gd name="connsiteY644" fmla="*/ 1010522 h 1076613"/>
                <a:gd name="connsiteX645" fmla="*/ 335226 w 1211013"/>
                <a:gd name="connsiteY645" fmla="*/ 1011120 h 1076613"/>
                <a:gd name="connsiteX646" fmla="*/ 335284 w 1211013"/>
                <a:gd name="connsiteY646" fmla="*/ 1011158 h 1076613"/>
                <a:gd name="connsiteX647" fmla="*/ 339628 w 1211013"/>
                <a:gd name="connsiteY647" fmla="*/ 1011683 h 1076613"/>
                <a:gd name="connsiteX648" fmla="*/ 345750 w 1211013"/>
                <a:gd name="connsiteY648" fmla="*/ 1009442 h 1076613"/>
                <a:gd name="connsiteX649" fmla="*/ 347046 w 1211013"/>
                <a:gd name="connsiteY649" fmla="*/ 1009471 h 1076613"/>
                <a:gd name="connsiteX650" fmla="*/ 352990 w 1211013"/>
                <a:gd name="connsiteY650" fmla="*/ 1011872 h 1076613"/>
                <a:gd name="connsiteX651" fmla="*/ 353092 w 1211013"/>
                <a:gd name="connsiteY651" fmla="*/ 1011896 h 1076613"/>
                <a:gd name="connsiteX652" fmla="*/ 359098 w 1211013"/>
                <a:gd name="connsiteY652" fmla="*/ 1014610 h 1076613"/>
                <a:gd name="connsiteX653" fmla="*/ 364449 w 1211013"/>
                <a:gd name="connsiteY653" fmla="*/ 1013563 h 1076613"/>
                <a:gd name="connsiteX654" fmla="*/ 364657 w 1211013"/>
                <a:gd name="connsiteY654" fmla="*/ 1013510 h 1076613"/>
                <a:gd name="connsiteX655" fmla="*/ 371198 w 1211013"/>
                <a:gd name="connsiteY655" fmla="*/ 1012908 h 1076613"/>
                <a:gd name="connsiteX656" fmla="*/ 372278 w 1211013"/>
                <a:gd name="connsiteY656" fmla="*/ 1013183 h 1076613"/>
                <a:gd name="connsiteX657" fmla="*/ 377957 w 1211013"/>
                <a:gd name="connsiteY657" fmla="*/ 1016567 h 1076613"/>
                <a:gd name="connsiteX658" fmla="*/ 381192 w 1211013"/>
                <a:gd name="connsiteY658" fmla="*/ 1017092 h 1076613"/>
                <a:gd name="connsiteX659" fmla="*/ 381505 w 1211013"/>
                <a:gd name="connsiteY659" fmla="*/ 1017170 h 1076613"/>
                <a:gd name="connsiteX660" fmla="*/ 387651 w 1211013"/>
                <a:gd name="connsiteY660" fmla="*/ 1019406 h 1076613"/>
                <a:gd name="connsiteX661" fmla="*/ 393186 w 1211013"/>
                <a:gd name="connsiteY661" fmla="*/ 1018866 h 1076613"/>
                <a:gd name="connsiteX662" fmla="*/ 393981 w 1211013"/>
                <a:gd name="connsiteY662" fmla="*/ 1018973 h 1076613"/>
                <a:gd name="connsiteX663" fmla="*/ 411813 w 1211013"/>
                <a:gd name="connsiteY663" fmla="*/ 1029004 h 1076613"/>
                <a:gd name="connsiteX664" fmla="*/ 416735 w 1211013"/>
                <a:gd name="connsiteY664" fmla="*/ 1029004 h 1076613"/>
                <a:gd name="connsiteX665" fmla="*/ 422317 w 1211013"/>
                <a:gd name="connsiteY665" fmla="*/ 1026194 h 1076613"/>
                <a:gd name="connsiteX666" fmla="*/ 423146 w 1211013"/>
                <a:gd name="connsiteY666" fmla="*/ 1026011 h 1076613"/>
                <a:gd name="connsiteX667" fmla="*/ 428989 w 1211013"/>
                <a:gd name="connsiteY667" fmla="*/ 1026011 h 1076613"/>
                <a:gd name="connsiteX668" fmla="*/ 435473 w 1211013"/>
                <a:gd name="connsiteY668" fmla="*/ 1025408 h 1076613"/>
                <a:gd name="connsiteX669" fmla="*/ 435950 w 1211013"/>
                <a:gd name="connsiteY669" fmla="*/ 1025427 h 1076613"/>
                <a:gd name="connsiteX670" fmla="*/ 460353 w 1211013"/>
                <a:gd name="connsiteY670" fmla="*/ 1030214 h 1076613"/>
                <a:gd name="connsiteX671" fmla="*/ 460555 w 1211013"/>
                <a:gd name="connsiteY671" fmla="*/ 1030224 h 1076613"/>
                <a:gd name="connsiteX672" fmla="*/ 466412 w 1211013"/>
                <a:gd name="connsiteY672" fmla="*/ 1032008 h 1076613"/>
                <a:gd name="connsiteX673" fmla="*/ 472289 w 1211013"/>
                <a:gd name="connsiteY673" fmla="*/ 1033160 h 1076613"/>
                <a:gd name="connsiteX674" fmla="*/ 473421 w 1211013"/>
                <a:gd name="connsiteY674" fmla="*/ 1033917 h 1076613"/>
                <a:gd name="connsiteX675" fmla="*/ 477090 w 1211013"/>
                <a:gd name="connsiteY675" fmla="*/ 1039195 h 1076613"/>
                <a:gd name="connsiteX676" fmla="*/ 482243 w 1211013"/>
                <a:gd name="connsiteY676" fmla="*/ 1039716 h 1076613"/>
                <a:gd name="connsiteX677" fmla="*/ 483087 w 1211013"/>
                <a:gd name="connsiteY677" fmla="*/ 1040015 h 1076613"/>
                <a:gd name="connsiteX678" fmla="*/ 488660 w 1211013"/>
                <a:gd name="connsiteY678" fmla="*/ 1043915 h 1076613"/>
                <a:gd name="connsiteX679" fmla="*/ 494358 w 1211013"/>
                <a:gd name="connsiteY679" fmla="*/ 1044431 h 1076613"/>
                <a:gd name="connsiteX680" fmla="*/ 499444 w 1211013"/>
                <a:gd name="connsiteY680" fmla="*/ 1042878 h 1076613"/>
                <a:gd name="connsiteX681" fmla="*/ 504443 w 1211013"/>
                <a:gd name="connsiteY681" fmla="*/ 1036814 h 1076613"/>
                <a:gd name="connsiteX682" fmla="*/ 504443 w 1211013"/>
                <a:gd name="connsiteY682" fmla="*/ 1036765 h 1076613"/>
                <a:gd name="connsiteX683" fmla="*/ 509177 w 1211013"/>
                <a:gd name="connsiteY683" fmla="*/ 1030841 h 1076613"/>
                <a:gd name="connsiteX684" fmla="*/ 510271 w 1211013"/>
                <a:gd name="connsiteY684" fmla="*/ 1030209 h 1076613"/>
                <a:gd name="connsiteX685" fmla="*/ 516205 w 1211013"/>
                <a:gd name="connsiteY685" fmla="*/ 1029033 h 1076613"/>
                <a:gd name="connsiteX686" fmla="*/ 516726 w 1211013"/>
                <a:gd name="connsiteY686" fmla="*/ 1028999 h 1076613"/>
                <a:gd name="connsiteX687" fmla="*/ 523272 w 1211013"/>
                <a:gd name="connsiteY687" fmla="*/ 1029587 h 1076613"/>
                <a:gd name="connsiteX688" fmla="*/ 524102 w 1211013"/>
                <a:gd name="connsiteY688" fmla="*/ 1029886 h 1076613"/>
                <a:gd name="connsiteX689" fmla="*/ 525350 w 1211013"/>
                <a:gd name="connsiteY689" fmla="*/ 1030706 h 1076613"/>
                <a:gd name="connsiteX690" fmla="*/ 530658 w 1211013"/>
                <a:gd name="connsiteY690" fmla="*/ 1030156 h 1076613"/>
                <a:gd name="connsiteX691" fmla="*/ 530841 w 1211013"/>
                <a:gd name="connsiteY691" fmla="*/ 1030156 h 1076613"/>
                <a:gd name="connsiteX692" fmla="*/ 536795 w 1211013"/>
                <a:gd name="connsiteY692" fmla="*/ 1030156 h 1076613"/>
                <a:gd name="connsiteX693" fmla="*/ 538033 w 1211013"/>
                <a:gd name="connsiteY693" fmla="*/ 1030653 h 1076613"/>
                <a:gd name="connsiteX694" fmla="*/ 544551 w 1211013"/>
                <a:gd name="connsiteY694" fmla="*/ 1036607 h 1076613"/>
                <a:gd name="connsiteX695" fmla="*/ 544980 w 1211013"/>
                <a:gd name="connsiteY695" fmla="*/ 1037190 h 1076613"/>
                <a:gd name="connsiteX696" fmla="*/ 547906 w 1211013"/>
                <a:gd name="connsiteY696" fmla="*/ 1043616 h 1076613"/>
                <a:gd name="connsiteX697" fmla="*/ 551363 w 1211013"/>
                <a:gd name="connsiteY697" fmla="*/ 1049025 h 1076613"/>
                <a:gd name="connsiteX698" fmla="*/ 556309 w 1211013"/>
                <a:gd name="connsiteY698" fmla="*/ 1048118 h 1076613"/>
                <a:gd name="connsiteX699" fmla="*/ 561660 w 1211013"/>
                <a:gd name="connsiteY699" fmla="*/ 1044353 h 1076613"/>
                <a:gd name="connsiteX700" fmla="*/ 565656 w 1211013"/>
                <a:gd name="connsiteY700" fmla="*/ 1038650 h 1076613"/>
                <a:gd name="connsiteX701" fmla="*/ 565931 w 1211013"/>
                <a:gd name="connsiteY701" fmla="*/ 1038375 h 1076613"/>
                <a:gd name="connsiteX702" fmla="*/ 571841 w 1211013"/>
                <a:gd name="connsiteY702" fmla="*/ 1033039 h 1076613"/>
                <a:gd name="connsiteX703" fmla="*/ 577751 w 1211013"/>
                <a:gd name="connsiteY703" fmla="*/ 1027110 h 1076613"/>
                <a:gd name="connsiteX704" fmla="*/ 578383 w 1211013"/>
                <a:gd name="connsiteY704" fmla="*/ 1026700 h 1076613"/>
                <a:gd name="connsiteX705" fmla="*/ 583497 w 1211013"/>
                <a:gd name="connsiteY705" fmla="*/ 1024665 h 1076613"/>
                <a:gd name="connsiteX706" fmla="*/ 585045 w 1211013"/>
                <a:gd name="connsiteY706" fmla="*/ 1019546 h 1076613"/>
                <a:gd name="connsiteX707" fmla="*/ 601406 w 1211013"/>
                <a:gd name="connsiteY707" fmla="*/ 988505 h 1076613"/>
                <a:gd name="connsiteX708" fmla="*/ 598851 w 1211013"/>
                <a:gd name="connsiteY708" fmla="*/ 983376 h 1076613"/>
                <a:gd name="connsiteX709" fmla="*/ 599256 w 1211013"/>
                <a:gd name="connsiteY709" fmla="*/ 981270 h 1076613"/>
                <a:gd name="connsiteX710" fmla="*/ 601484 w 1211013"/>
                <a:gd name="connsiteY710" fmla="*/ 981077 h 1076613"/>
                <a:gd name="connsiteX711" fmla="*/ 605735 w 1211013"/>
                <a:gd name="connsiteY711" fmla="*/ 983916 h 1076613"/>
                <a:gd name="connsiteX712" fmla="*/ 611096 w 1211013"/>
                <a:gd name="connsiteY712" fmla="*/ 979520 h 1076613"/>
                <a:gd name="connsiteX713" fmla="*/ 616317 w 1211013"/>
                <a:gd name="connsiteY713" fmla="*/ 973099 h 1076613"/>
                <a:gd name="connsiteX714" fmla="*/ 616799 w 1211013"/>
                <a:gd name="connsiteY714" fmla="*/ 972717 h 1076613"/>
                <a:gd name="connsiteX715" fmla="*/ 622714 w 1211013"/>
                <a:gd name="connsiteY715" fmla="*/ 969141 h 1076613"/>
                <a:gd name="connsiteX716" fmla="*/ 624478 w 1211013"/>
                <a:gd name="connsiteY716" fmla="*/ 967998 h 1076613"/>
                <a:gd name="connsiteX717" fmla="*/ 625163 w 1211013"/>
                <a:gd name="connsiteY717" fmla="*/ 967718 h 1076613"/>
                <a:gd name="connsiteX718" fmla="*/ 631526 w 1211013"/>
                <a:gd name="connsiteY718" fmla="*/ 966547 h 1076613"/>
                <a:gd name="connsiteX719" fmla="*/ 634303 w 1211013"/>
                <a:gd name="connsiteY719" fmla="*/ 965438 h 1076613"/>
                <a:gd name="connsiteX720" fmla="*/ 634462 w 1211013"/>
                <a:gd name="connsiteY720" fmla="*/ 965366 h 1076613"/>
                <a:gd name="connsiteX721" fmla="*/ 639837 w 1211013"/>
                <a:gd name="connsiteY721" fmla="*/ 963746 h 1076613"/>
                <a:gd name="connsiteX722" fmla="*/ 644243 w 1211013"/>
                <a:gd name="connsiteY722" fmla="*/ 957706 h 1076613"/>
                <a:gd name="connsiteX723" fmla="*/ 645183 w 1211013"/>
                <a:gd name="connsiteY723" fmla="*/ 957045 h 1076613"/>
                <a:gd name="connsiteX724" fmla="*/ 650809 w 1211013"/>
                <a:gd name="connsiteY724" fmla="*/ 955368 h 1076613"/>
                <a:gd name="connsiteX725" fmla="*/ 656464 w 1211013"/>
                <a:gd name="connsiteY725" fmla="*/ 950851 h 1076613"/>
                <a:gd name="connsiteX726" fmla="*/ 657587 w 1211013"/>
                <a:gd name="connsiteY726" fmla="*/ 950379 h 1076613"/>
                <a:gd name="connsiteX727" fmla="*/ 663878 w 1211013"/>
                <a:gd name="connsiteY727" fmla="*/ 950379 h 1076613"/>
                <a:gd name="connsiteX728" fmla="*/ 669566 w 1211013"/>
                <a:gd name="connsiteY728" fmla="*/ 948715 h 1076613"/>
                <a:gd name="connsiteX729" fmla="*/ 671201 w 1211013"/>
                <a:gd name="connsiteY729" fmla="*/ 948966 h 1076613"/>
                <a:gd name="connsiteX730" fmla="*/ 677684 w 1211013"/>
                <a:gd name="connsiteY730" fmla="*/ 953835 h 1076613"/>
                <a:gd name="connsiteX731" fmla="*/ 682770 w 1211013"/>
                <a:gd name="connsiteY731" fmla="*/ 952842 h 1076613"/>
                <a:gd name="connsiteX732" fmla="*/ 689259 w 1211013"/>
                <a:gd name="connsiteY732" fmla="*/ 951073 h 1076613"/>
                <a:gd name="connsiteX733" fmla="*/ 689741 w 1211013"/>
                <a:gd name="connsiteY733" fmla="*/ 951054 h 1076613"/>
                <a:gd name="connsiteX734" fmla="*/ 695680 w 1211013"/>
                <a:gd name="connsiteY734" fmla="*/ 951054 h 1076613"/>
                <a:gd name="connsiteX735" fmla="*/ 696755 w 1211013"/>
                <a:gd name="connsiteY735" fmla="*/ 951357 h 1076613"/>
                <a:gd name="connsiteX736" fmla="*/ 702824 w 1211013"/>
                <a:gd name="connsiteY736" fmla="*/ 955754 h 1076613"/>
                <a:gd name="connsiteX737" fmla="*/ 708094 w 1211013"/>
                <a:gd name="connsiteY737" fmla="*/ 955754 h 1076613"/>
                <a:gd name="connsiteX738" fmla="*/ 713782 w 1211013"/>
                <a:gd name="connsiteY738" fmla="*/ 955214 h 1076613"/>
                <a:gd name="connsiteX739" fmla="*/ 719581 w 1211013"/>
                <a:gd name="connsiteY739" fmla="*/ 953478 h 1076613"/>
                <a:gd name="connsiteX740" fmla="*/ 719943 w 1211013"/>
                <a:gd name="connsiteY740" fmla="*/ 953392 h 1076613"/>
                <a:gd name="connsiteX741" fmla="*/ 725260 w 1211013"/>
                <a:gd name="connsiteY741" fmla="*/ 952929 h 1076613"/>
                <a:gd name="connsiteX742" fmla="*/ 726562 w 1211013"/>
                <a:gd name="connsiteY742" fmla="*/ 948648 h 1076613"/>
                <a:gd name="connsiteX743" fmla="*/ 725969 w 1211013"/>
                <a:gd name="connsiteY743" fmla="*/ 946681 h 1076613"/>
                <a:gd name="connsiteX744" fmla="*/ 724720 w 1211013"/>
                <a:gd name="connsiteY744" fmla="*/ 949434 h 1076613"/>
                <a:gd name="connsiteX745" fmla="*/ 723443 w 1211013"/>
                <a:gd name="connsiteY745" fmla="*/ 950451 h 1076613"/>
                <a:gd name="connsiteX746" fmla="*/ 721857 w 1211013"/>
                <a:gd name="connsiteY746" fmla="*/ 950012 h 1076613"/>
                <a:gd name="connsiteX747" fmla="*/ 715296 w 1211013"/>
                <a:gd name="connsiteY747" fmla="*/ 944068 h 1076613"/>
                <a:gd name="connsiteX748" fmla="*/ 714814 w 1211013"/>
                <a:gd name="connsiteY748" fmla="*/ 943340 h 1076613"/>
                <a:gd name="connsiteX749" fmla="*/ 712437 w 1211013"/>
                <a:gd name="connsiteY749" fmla="*/ 936784 h 1076613"/>
                <a:gd name="connsiteX750" fmla="*/ 712991 w 1211013"/>
                <a:gd name="connsiteY750" fmla="*/ 934754 h 1076613"/>
                <a:gd name="connsiteX751" fmla="*/ 719543 w 1211013"/>
                <a:gd name="connsiteY751" fmla="*/ 929413 h 1076613"/>
                <a:gd name="connsiteX752" fmla="*/ 719745 w 1211013"/>
                <a:gd name="connsiteY752" fmla="*/ 929249 h 1076613"/>
                <a:gd name="connsiteX753" fmla="*/ 724821 w 1211013"/>
                <a:gd name="connsiteY753" fmla="*/ 926227 h 1076613"/>
                <a:gd name="connsiteX754" fmla="*/ 724821 w 1211013"/>
                <a:gd name="connsiteY754" fmla="*/ 921286 h 1076613"/>
                <a:gd name="connsiteX755" fmla="*/ 724952 w 1211013"/>
                <a:gd name="connsiteY755" fmla="*/ 920635 h 1076613"/>
                <a:gd name="connsiteX756" fmla="*/ 726157 w 1211013"/>
                <a:gd name="connsiteY756" fmla="*/ 917655 h 1076613"/>
                <a:gd name="connsiteX757" fmla="*/ 726340 w 1211013"/>
                <a:gd name="connsiteY757" fmla="*/ 917255 h 1076613"/>
                <a:gd name="connsiteX758" fmla="*/ 731117 w 1211013"/>
                <a:gd name="connsiteY758" fmla="*/ 910723 h 1076613"/>
                <a:gd name="connsiteX759" fmla="*/ 731247 w 1211013"/>
                <a:gd name="connsiteY759" fmla="*/ 910578 h 1076613"/>
                <a:gd name="connsiteX760" fmla="*/ 736434 w 1211013"/>
                <a:gd name="connsiteY760" fmla="*/ 904809 h 1076613"/>
                <a:gd name="connsiteX761" fmla="*/ 739182 w 1211013"/>
                <a:gd name="connsiteY761" fmla="*/ 899298 h 1076613"/>
                <a:gd name="connsiteX762" fmla="*/ 740344 w 1211013"/>
                <a:gd name="connsiteY762" fmla="*/ 893012 h 1076613"/>
                <a:gd name="connsiteX763" fmla="*/ 740402 w 1211013"/>
                <a:gd name="connsiteY763" fmla="*/ 892737 h 1076613"/>
                <a:gd name="connsiteX764" fmla="*/ 742774 w 1211013"/>
                <a:gd name="connsiteY764" fmla="*/ 886147 h 1076613"/>
                <a:gd name="connsiteX765" fmla="*/ 742861 w 1211013"/>
                <a:gd name="connsiteY765" fmla="*/ 885998 h 1076613"/>
                <a:gd name="connsiteX766" fmla="*/ 745840 w 1211013"/>
                <a:gd name="connsiteY766" fmla="*/ 880015 h 1076613"/>
                <a:gd name="connsiteX767" fmla="*/ 746534 w 1211013"/>
                <a:gd name="connsiteY767" fmla="*/ 879234 h 1076613"/>
                <a:gd name="connsiteX768" fmla="*/ 752473 w 1211013"/>
                <a:gd name="connsiteY768" fmla="*/ 875711 h 1076613"/>
                <a:gd name="connsiteX769" fmla="*/ 753268 w 1211013"/>
                <a:gd name="connsiteY769" fmla="*/ 875455 h 1076613"/>
                <a:gd name="connsiteX770" fmla="*/ 758292 w 1211013"/>
                <a:gd name="connsiteY770" fmla="*/ 874978 h 1076613"/>
                <a:gd name="connsiteX771" fmla="*/ 758759 w 1211013"/>
                <a:gd name="connsiteY771" fmla="*/ 869964 h 1076613"/>
                <a:gd name="connsiteX772" fmla="*/ 759347 w 1211013"/>
                <a:gd name="connsiteY772" fmla="*/ 863953 h 1076613"/>
                <a:gd name="connsiteX773" fmla="*/ 759815 w 1211013"/>
                <a:gd name="connsiteY773" fmla="*/ 862969 h 1076613"/>
                <a:gd name="connsiteX774" fmla="*/ 765161 w 1211013"/>
                <a:gd name="connsiteY774" fmla="*/ 856987 h 1076613"/>
                <a:gd name="connsiteX775" fmla="*/ 766188 w 1211013"/>
                <a:gd name="connsiteY775" fmla="*/ 856433 h 1076613"/>
                <a:gd name="connsiteX776" fmla="*/ 771794 w 1211013"/>
                <a:gd name="connsiteY776" fmla="*/ 855406 h 1076613"/>
                <a:gd name="connsiteX777" fmla="*/ 774383 w 1211013"/>
                <a:gd name="connsiteY777" fmla="*/ 849736 h 1076613"/>
                <a:gd name="connsiteX778" fmla="*/ 774836 w 1211013"/>
                <a:gd name="connsiteY778" fmla="*/ 849114 h 1076613"/>
                <a:gd name="connsiteX779" fmla="*/ 780756 w 1211013"/>
                <a:gd name="connsiteY779" fmla="*/ 843764 h 1076613"/>
                <a:gd name="connsiteX780" fmla="*/ 781132 w 1211013"/>
                <a:gd name="connsiteY780" fmla="*/ 843518 h 1076613"/>
                <a:gd name="connsiteX781" fmla="*/ 787650 w 1211013"/>
                <a:gd name="connsiteY781" fmla="*/ 839984 h 1076613"/>
                <a:gd name="connsiteX782" fmla="*/ 788161 w 1211013"/>
                <a:gd name="connsiteY782" fmla="*/ 839791 h 1076613"/>
                <a:gd name="connsiteX783" fmla="*/ 812086 w 1211013"/>
                <a:gd name="connsiteY783" fmla="*/ 834609 h 1076613"/>
                <a:gd name="connsiteX784" fmla="*/ 813571 w 1211013"/>
                <a:gd name="connsiteY784" fmla="*/ 829726 h 1076613"/>
                <a:gd name="connsiteX785" fmla="*/ 814352 w 1211013"/>
                <a:gd name="connsiteY785" fmla="*/ 828723 h 1076613"/>
                <a:gd name="connsiteX786" fmla="*/ 820874 w 1211013"/>
                <a:gd name="connsiteY786" fmla="*/ 824582 h 1076613"/>
                <a:gd name="connsiteX787" fmla="*/ 821708 w 1211013"/>
                <a:gd name="connsiteY787" fmla="*/ 824249 h 1076613"/>
                <a:gd name="connsiteX788" fmla="*/ 828457 w 1211013"/>
                <a:gd name="connsiteY788" fmla="*/ 823714 h 1076613"/>
                <a:gd name="connsiteX789" fmla="*/ 834599 w 1211013"/>
                <a:gd name="connsiteY789" fmla="*/ 820374 h 1076613"/>
                <a:gd name="connsiteX790" fmla="*/ 840470 w 1211013"/>
                <a:gd name="connsiteY790" fmla="*/ 816271 h 1076613"/>
                <a:gd name="connsiteX791" fmla="*/ 840875 w 1211013"/>
                <a:gd name="connsiteY791" fmla="*/ 816020 h 1076613"/>
                <a:gd name="connsiteX792" fmla="*/ 845566 w 1211013"/>
                <a:gd name="connsiteY792" fmla="*/ 814324 h 1076613"/>
                <a:gd name="connsiteX793" fmla="*/ 815619 w 1211013"/>
                <a:gd name="connsiteY793" fmla="*/ 784267 h 1076613"/>
                <a:gd name="connsiteX794" fmla="*/ 806981 w 1211013"/>
                <a:gd name="connsiteY794" fmla="*/ 765095 h 1076613"/>
                <a:gd name="connsiteX795" fmla="*/ 805800 w 1211013"/>
                <a:gd name="connsiteY795" fmla="*/ 758620 h 1076613"/>
                <a:gd name="connsiteX796" fmla="*/ 804599 w 1211013"/>
                <a:gd name="connsiteY796" fmla="*/ 752628 h 1076613"/>
                <a:gd name="connsiteX797" fmla="*/ 804599 w 1211013"/>
                <a:gd name="connsiteY797" fmla="*/ 751915 h 1076613"/>
                <a:gd name="connsiteX798" fmla="*/ 805159 w 1211013"/>
                <a:gd name="connsiteY798" fmla="*/ 749181 h 1076613"/>
                <a:gd name="connsiteX799" fmla="*/ 805159 w 1211013"/>
                <a:gd name="connsiteY799" fmla="*/ 742992 h 1076613"/>
                <a:gd name="connsiteX800" fmla="*/ 803457 w 1211013"/>
                <a:gd name="connsiteY800" fmla="*/ 736816 h 1076613"/>
                <a:gd name="connsiteX801" fmla="*/ 801099 w 1211013"/>
                <a:gd name="connsiteY801" fmla="*/ 730327 h 1076613"/>
                <a:gd name="connsiteX802" fmla="*/ 801022 w 1211013"/>
                <a:gd name="connsiteY802" fmla="*/ 729942 h 1076613"/>
                <a:gd name="connsiteX803" fmla="*/ 800425 w 1211013"/>
                <a:gd name="connsiteY803" fmla="*/ 725781 h 1076613"/>
                <a:gd name="connsiteX804" fmla="*/ 800425 w 1211013"/>
                <a:gd name="connsiteY804" fmla="*/ 725680 h 1076613"/>
                <a:gd name="connsiteX805" fmla="*/ 799808 w 1211013"/>
                <a:gd name="connsiteY805" fmla="*/ 719731 h 1076613"/>
                <a:gd name="connsiteX806" fmla="*/ 799215 w 1211013"/>
                <a:gd name="connsiteY806" fmla="*/ 713200 h 1076613"/>
                <a:gd name="connsiteX807" fmla="*/ 799398 w 1211013"/>
                <a:gd name="connsiteY807" fmla="*/ 712216 h 1076613"/>
                <a:gd name="connsiteX808" fmla="*/ 801654 w 1211013"/>
                <a:gd name="connsiteY808" fmla="*/ 707680 h 1076613"/>
                <a:gd name="connsiteX809" fmla="*/ 802816 w 1211013"/>
                <a:gd name="connsiteY809" fmla="*/ 701963 h 1076613"/>
                <a:gd name="connsiteX810" fmla="*/ 803134 w 1211013"/>
                <a:gd name="connsiteY810" fmla="*/ 701259 h 1076613"/>
                <a:gd name="connsiteX811" fmla="*/ 807819 w 1211013"/>
                <a:gd name="connsiteY811" fmla="*/ 694770 h 1076613"/>
                <a:gd name="connsiteX812" fmla="*/ 811372 w 1211013"/>
                <a:gd name="connsiteY812" fmla="*/ 688874 h 1076613"/>
                <a:gd name="connsiteX813" fmla="*/ 811638 w 1211013"/>
                <a:gd name="connsiteY813" fmla="*/ 688537 h 1076613"/>
                <a:gd name="connsiteX814" fmla="*/ 817056 w 1211013"/>
                <a:gd name="connsiteY814" fmla="*/ 683128 h 1076613"/>
                <a:gd name="connsiteX815" fmla="*/ 817056 w 1211013"/>
                <a:gd name="connsiteY815" fmla="*/ 682689 h 1076613"/>
                <a:gd name="connsiteX816" fmla="*/ 818068 w 1211013"/>
                <a:gd name="connsiteY816" fmla="*/ 681046 h 1076613"/>
                <a:gd name="connsiteX817" fmla="*/ 818570 w 1211013"/>
                <a:gd name="connsiteY817" fmla="*/ 680829 h 1076613"/>
                <a:gd name="connsiteX818" fmla="*/ 820117 w 1211013"/>
                <a:gd name="connsiteY818" fmla="*/ 675574 h 1076613"/>
                <a:gd name="connsiteX819" fmla="*/ 820445 w 1211013"/>
                <a:gd name="connsiteY819" fmla="*/ 675020 h 1076613"/>
                <a:gd name="connsiteX820" fmla="*/ 825155 w 1211013"/>
                <a:gd name="connsiteY820" fmla="*/ 669080 h 1076613"/>
                <a:gd name="connsiteX821" fmla="*/ 829903 w 1211013"/>
                <a:gd name="connsiteY821" fmla="*/ 662553 h 1076613"/>
                <a:gd name="connsiteX822" fmla="*/ 830231 w 1211013"/>
                <a:gd name="connsiteY822" fmla="*/ 662250 h 1076613"/>
                <a:gd name="connsiteX823" fmla="*/ 836628 w 1211013"/>
                <a:gd name="connsiteY823" fmla="*/ 656980 h 1076613"/>
                <a:gd name="connsiteX824" fmla="*/ 841863 w 1211013"/>
                <a:gd name="connsiteY824" fmla="*/ 650569 h 1076613"/>
                <a:gd name="connsiteX825" fmla="*/ 843854 w 1211013"/>
                <a:gd name="connsiteY825" fmla="*/ 649986 h 1076613"/>
                <a:gd name="connsiteX826" fmla="*/ 844057 w 1211013"/>
                <a:gd name="connsiteY826" fmla="*/ 650034 h 1076613"/>
                <a:gd name="connsiteX827" fmla="*/ 845161 w 1211013"/>
                <a:gd name="connsiteY827" fmla="*/ 647513 h 1076613"/>
                <a:gd name="connsiteX828" fmla="*/ 847528 w 1211013"/>
                <a:gd name="connsiteY828" fmla="*/ 641010 h 1076613"/>
                <a:gd name="connsiteX829" fmla="*/ 847721 w 1211013"/>
                <a:gd name="connsiteY829" fmla="*/ 640624 h 1076613"/>
                <a:gd name="connsiteX830" fmla="*/ 848906 w 1211013"/>
                <a:gd name="connsiteY830" fmla="*/ 638802 h 1076613"/>
                <a:gd name="connsiteX831" fmla="*/ 849278 w 1211013"/>
                <a:gd name="connsiteY831" fmla="*/ 638406 h 1076613"/>
                <a:gd name="connsiteX832" fmla="*/ 855241 w 1211013"/>
                <a:gd name="connsiteY832" fmla="*/ 633644 h 1076613"/>
                <a:gd name="connsiteX833" fmla="*/ 855496 w 1211013"/>
                <a:gd name="connsiteY833" fmla="*/ 633480 h 1076613"/>
                <a:gd name="connsiteX834" fmla="*/ 861522 w 1211013"/>
                <a:gd name="connsiteY834" fmla="*/ 630178 h 1076613"/>
                <a:gd name="connsiteX835" fmla="*/ 864265 w 1211013"/>
                <a:gd name="connsiteY835" fmla="*/ 624735 h 1076613"/>
                <a:gd name="connsiteX836" fmla="*/ 864545 w 1211013"/>
                <a:gd name="connsiteY836" fmla="*/ 624335 h 1076613"/>
                <a:gd name="connsiteX837" fmla="*/ 870489 w 1211013"/>
                <a:gd name="connsiteY837" fmla="*/ 617779 h 1076613"/>
                <a:gd name="connsiteX838" fmla="*/ 870759 w 1211013"/>
                <a:gd name="connsiteY838" fmla="*/ 617513 h 1076613"/>
                <a:gd name="connsiteX839" fmla="*/ 877199 w 1211013"/>
                <a:gd name="connsiteY839" fmla="*/ 612881 h 1076613"/>
                <a:gd name="connsiteX840" fmla="*/ 882989 w 1211013"/>
                <a:gd name="connsiteY840" fmla="*/ 607077 h 1076613"/>
                <a:gd name="connsiteX841" fmla="*/ 888268 w 1211013"/>
                <a:gd name="connsiteY841" fmla="*/ 600607 h 1076613"/>
                <a:gd name="connsiteX842" fmla="*/ 908302 w 1211013"/>
                <a:gd name="connsiteY842" fmla="*/ 573553 h 1076613"/>
                <a:gd name="connsiteX843" fmla="*/ 908572 w 1211013"/>
                <a:gd name="connsiteY843" fmla="*/ 573149 h 1076613"/>
                <a:gd name="connsiteX844" fmla="*/ 914550 w 1211013"/>
                <a:gd name="connsiteY844" fmla="*/ 566602 h 1076613"/>
                <a:gd name="connsiteX845" fmla="*/ 915206 w 1211013"/>
                <a:gd name="connsiteY845" fmla="*/ 566139 h 1076613"/>
                <a:gd name="connsiteX846" fmla="*/ 921145 w 1211013"/>
                <a:gd name="connsiteY846" fmla="*/ 563772 h 1076613"/>
                <a:gd name="connsiteX847" fmla="*/ 922909 w 1211013"/>
                <a:gd name="connsiteY847" fmla="*/ 563989 h 1076613"/>
                <a:gd name="connsiteX848" fmla="*/ 929080 w 1211013"/>
                <a:gd name="connsiteY848" fmla="*/ 568477 h 1076613"/>
                <a:gd name="connsiteX849" fmla="*/ 932377 w 1211013"/>
                <a:gd name="connsiteY849" fmla="*/ 564857 h 1076613"/>
                <a:gd name="connsiteX850" fmla="*/ 932690 w 1211013"/>
                <a:gd name="connsiteY850" fmla="*/ 564568 h 1076613"/>
                <a:gd name="connsiteX851" fmla="*/ 938629 w 1211013"/>
                <a:gd name="connsiteY851" fmla="*/ 560427 h 1076613"/>
                <a:gd name="connsiteX852" fmla="*/ 939160 w 1211013"/>
                <a:gd name="connsiteY852" fmla="*/ 560133 h 1076613"/>
                <a:gd name="connsiteX853" fmla="*/ 944082 w 1211013"/>
                <a:gd name="connsiteY853" fmla="*/ 558691 h 1076613"/>
                <a:gd name="connsiteX854" fmla="*/ 944781 w 1211013"/>
                <a:gd name="connsiteY854" fmla="*/ 555480 h 1076613"/>
                <a:gd name="connsiteX855" fmla="*/ 943335 w 1211013"/>
                <a:gd name="connsiteY855" fmla="*/ 554420 h 1076613"/>
                <a:gd name="connsiteX856" fmla="*/ 943031 w 1211013"/>
                <a:gd name="connsiteY856" fmla="*/ 554092 h 1076613"/>
                <a:gd name="connsiteX857" fmla="*/ 938731 w 1211013"/>
                <a:gd name="connsiteY857" fmla="*/ 548741 h 1076613"/>
                <a:gd name="connsiteX858" fmla="*/ 933544 w 1211013"/>
                <a:gd name="connsiteY858" fmla="*/ 548201 h 1076613"/>
                <a:gd name="connsiteX859" fmla="*/ 931938 w 1211013"/>
                <a:gd name="connsiteY859" fmla="*/ 546750 h 1076613"/>
                <a:gd name="connsiteX860" fmla="*/ 930738 w 1211013"/>
                <a:gd name="connsiteY860" fmla="*/ 540797 h 1076613"/>
                <a:gd name="connsiteX861" fmla="*/ 931447 w 1211013"/>
                <a:gd name="connsiteY861" fmla="*/ 538989 h 1076613"/>
                <a:gd name="connsiteX862" fmla="*/ 937906 w 1211013"/>
                <a:gd name="connsiteY862" fmla="*/ 534274 h 1076613"/>
                <a:gd name="connsiteX863" fmla="*/ 943764 w 1211013"/>
                <a:gd name="connsiteY863" fmla="*/ 529010 h 1076613"/>
                <a:gd name="connsiteX864" fmla="*/ 949703 w 1211013"/>
                <a:gd name="connsiteY864" fmla="*/ 523114 h 1076613"/>
                <a:gd name="connsiteX865" fmla="*/ 949905 w 1211013"/>
                <a:gd name="connsiteY865" fmla="*/ 522892 h 1076613"/>
                <a:gd name="connsiteX866" fmla="*/ 956336 w 1211013"/>
                <a:gd name="connsiteY866" fmla="*/ 518202 h 1076613"/>
                <a:gd name="connsiteX867" fmla="*/ 962188 w 1211013"/>
                <a:gd name="connsiteY867" fmla="*/ 512388 h 1076613"/>
                <a:gd name="connsiteX868" fmla="*/ 962796 w 1211013"/>
                <a:gd name="connsiteY868" fmla="*/ 511954 h 1076613"/>
                <a:gd name="connsiteX869" fmla="*/ 968749 w 1211013"/>
                <a:gd name="connsiteY869" fmla="*/ 509592 h 1076613"/>
                <a:gd name="connsiteX870" fmla="*/ 969593 w 1211013"/>
                <a:gd name="connsiteY870" fmla="*/ 509491 h 1076613"/>
                <a:gd name="connsiteX871" fmla="*/ 975614 w 1211013"/>
                <a:gd name="connsiteY871" fmla="*/ 510012 h 1076613"/>
                <a:gd name="connsiteX872" fmla="*/ 977533 w 1211013"/>
                <a:gd name="connsiteY872" fmla="*/ 509071 h 1076613"/>
                <a:gd name="connsiteX873" fmla="*/ 978169 w 1211013"/>
                <a:gd name="connsiteY873" fmla="*/ 508874 h 1076613"/>
                <a:gd name="connsiteX874" fmla="*/ 984397 w 1211013"/>
                <a:gd name="connsiteY874" fmla="*/ 508329 h 1076613"/>
                <a:gd name="connsiteX875" fmla="*/ 990052 w 1211013"/>
                <a:gd name="connsiteY875" fmla="*/ 505519 h 1076613"/>
                <a:gd name="connsiteX876" fmla="*/ 990404 w 1211013"/>
                <a:gd name="connsiteY876" fmla="*/ 505360 h 1076613"/>
                <a:gd name="connsiteX877" fmla="*/ 995181 w 1211013"/>
                <a:gd name="connsiteY877" fmla="*/ 504183 h 1076613"/>
                <a:gd name="connsiteX878" fmla="*/ 995764 w 1211013"/>
                <a:gd name="connsiteY878" fmla="*/ 504116 h 1076613"/>
                <a:gd name="connsiteX879" fmla="*/ 1001959 w 1211013"/>
                <a:gd name="connsiteY879" fmla="*/ 504685 h 1076613"/>
                <a:gd name="connsiteX880" fmla="*/ 1020606 w 1211013"/>
                <a:gd name="connsiteY880" fmla="*/ 498770 h 1076613"/>
                <a:gd name="connsiteX881" fmla="*/ 1042863 w 1211013"/>
                <a:gd name="connsiteY881" fmla="*/ 496408 h 1076613"/>
                <a:gd name="connsiteX882" fmla="*/ 1048812 w 1211013"/>
                <a:gd name="connsiteY882" fmla="*/ 495207 h 1076613"/>
                <a:gd name="connsiteX883" fmla="*/ 1049173 w 1211013"/>
                <a:gd name="connsiteY883" fmla="*/ 495207 h 1076613"/>
                <a:gd name="connsiteX884" fmla="*/ 1054876 w 1211013"/>
                <a:gd name="connsiteY884" fmla="*/ 495207 h 1076613"/>
                <a:gd name="connsiteX885" fmla="*/ 1061210 w 1211013"/>
                <a:gd name="connsiteY885" fmla="*/ 493496 h 1076613"/>
                <a:gd name="connsiteX886" fmla="*/ 1061495 w 1211013"/>
                <a:gd name="connsiteY886" fmla="*/ 493385 h 1076613"/>
                <a:gd name="connsiteX887" fmla="*/ 1084745 w 1211013"/>
                <a:gd name="connsiteY887" fmla="*/ 488535 h 1076613"/>
                <a:gd name="connsiteX888" fmla="*/ 1088071 w 1211013"/>
                <a:gd name="connsiteY888" fmla="*/ 482967 h 1076613"/>
                <a:gd name="connsiteX889" fmla="*/ 1088303 w 1211013"/>
                <a:gd name="connsiteY889" fmla="*/ 482707 h 1076613"/>
                <a:gd name="connsiteX890" fmla="*/ 1093553 w 1211013"/>
                <a:gd name="connsiteY890" fmla="*/ 476850 h 1076613"/>
                <a:gd name="connsiteX891" fmla="*/ 1097641 w 1211013"/>
                <a:gd name="connsiteY891" fmla="*/ 470458 h 1076613"/>
                <a:gd name="connsiteX892" fmla="*/ 1098691 w 1211013"/>
                <a:gd name="connsiteY892" fmla="*/ 469648 h 1076613"/>
                <a:gd name="connsiteX893" fmla="*/ 1123330 w 1211013"/>
                <a:gd name="connsiteY893" fmla="*/ 459669 h 1076613"/>
                <a:gd name="connsiteX894" fmla="*/ 1147896 w 1211013"/>
                <a:gd name="connsiteY894" fmla="*/ 450654 h 1076613"/>
                <a:gd name="connsiteX895" fmla="*/ 1153349 w 1211013"/>
                <a:gd name="connsiteY895" fmla="*/ 448523 h 1076613"/>
                <a:gd name="connsiteX896" fmla="*/ 1154833 w 1211013"/>
                <a:gd name="connsiteY896" fmla="*/ 446528 h 1076613"/>
                <a:gd name="connsiteX897" fmla="*/ 1155484 w 1211013"/>
                <a:gd name="connsiteY897" fmla="*/ 446017 h 1076613"/>
                <a:gd name="connsiteX898" fmla="*/ 1161433 w 1211013"/>
                <a:gd name="connsiteY898" fmla="*/ 443023 h 1076613"/>
                <a:gd name="connsiteX899" fmla="*/ 1161910 w 1211013"/>
                <a:gd name="connsiteY899" fmla="*/ 442883 h 1076613"/>
                <a:gd name="connsiteX900" fmla="*/ 1168004 w 1211013"/>
                <a:gd name="connsiteY900" fmla="*/ 441745 h 1076613"/>
                <a:gd name="connsiteX901" fmla="*/ 1173596 w 1211013"/>
                <a:gd name="connsiteY901" fmla="*/ 437286 h 1076613"/>
                <a:gd name="connsiteX902" fmla="*/ 1174049 w 1211013"/>
                <a:gd name="connsiteY902" fmla="*/ 437016 h 1076613"/>
                <a:gd name="connsiteX903" fmla="*/ 1179573 w 1211013"/>
                <a:gd name="connsiteY903" fmla="*/ 434823 h 1076613"/>
                <a:gd name="connsiteX904" fmla="*/ 1184023 w 1211013"/>
                <a:gd name="connsiteY904" fmla="*/ 429246 h 1076613"/>
                <a:gd name="connsiteX905" fmla="*/ 1184635 w 1211013"/>
                <a:gd name="connsiteY905" fmla="*/ 428744 h 1076613"/>
                <a:gd name="connsiteX906" fmla="*/ 1190420 w 1211013"/>
                <a:gd name="connsiteY906" fmla="*/ 425842 h 1076613"/>
                <a:gd name="connsiteX907" fmla="*/ 1195380 w 1211013"/>
                <a:gd name="connsiteY907" fmla="*/ 422000 h 1076613"/>
                <a:gd name="connsiteX908" fmla="*/ 1199112 w 1211013"/>
                <a:gd name="connsiteY908" fmla="*/ 416152 h 1076613"/>
                <a:gd name="connsiteX909" fmla="*/ 1199112 w 1211013"/>
                <a:gd name="connsiteY909" fmla="*/ 410204 h 1076613"/>
                <a:gd name="connsiteX910" fmla="*/ 1192363 w 1211013"/>
                <a:gd name="connsiteY910" fmla="*/ 386886 h 1076613"/>
                <a:gd name="connsiteX911" fmla="*/ 1191982 w 1211013"/>
                <a:gd name="connsiteY911" fmla="*/ 385579 h 1076613"/>
                <a:gd name="connsiteX912" fmla="*/ 1192565 w 1211013"/>
                <a:gd name="connsiteY912" fmla="*/ 379043 h 1076613"/>
                <a:gd name="connsiteX913" fmla="*/ 1192744 w 1211013"/>
                <a:gd name="connsiteY913" fmla="*/ 378344 h 1076613"/>
                <a:gd name="connsiteX914" fmla="*/ 1195723 w 1211013"/>
                <a:gd name="connsiteY914" fmla="*/ 372429 h 1076613"/>
                <a:gd name="connsiteX915" fmla="*/ 1197897 w 1211013"/>
                <a:gd name="connsiteY915" fmla="*/ 371493 h 1076613"/>
                <a:gd name="connsiteX916" fmla="*/ 1203658 w 1211013"/>
                <a:gd name="connsiteY916" fmla="*/ 373229 h 1076613"/>
                <a:gd name="connsiteX917" fmla="*/ 1208271 w 1211013"/>
                <a:gd name="connsiteY917" fmla="*/ 373706 h 1076613"/>
                <a:gd name="connsiteX918" fmla="*/ 1211014 w 1211013"/>
                <a:gd name="connsiteY918" fmla="*/ 369165 h 1076613"/>
                <a:gd name="connsiteX919" fmla="*/ 1211014 w 1211013"/>
                <a:gd name="connsiteY919" fmla="*/ 364344 h 1076613"/>
                <a:gd name="connsiteX920" fmla="*/ 1206198 w 1211013"/>
                <a:gd name="connsiteY920" fmla="*/ 362435 h 1076613"/>
                <a:gd name="connsiteX921" fmla="*/ 1205649 w 1211013"/>
                <a:gd name="connsiteY921" fmla="*/ 362108 h 1076613"/>
                <a:gd name="connsiteX922" fmla="*/ 1199714 w 1211013"/>
                <a:gd name="connsiteY922" fmla="*/ 356713 h 1076613"/>
                <a:gd name="connsiteX923" fmla="*/ 1199126 w 1211013"/>
                <a:gd name="connsiteY923" fmla="*/ 355021 h 1076613"/>
                <a:gd name="connsiteX924" fmla="*/ 1200317 w 1211013"/>
                <a:gd name="connsiteY924" fmla="*/ 349067 h 1076613"/>
                <a:gd name="connsiteX925" fmla="*/ 1200621 w 1211013"/>
                <a:gd name="connsiteY925" fmla="*/ 348576 h 1076613"/>
                <a:gd name="connsiteX926" fmla="*/ 1198904 w 1211013"/>
                <a:gd name="connsiteY926" fmla="*/ 348633 h 1076613"/>
                <a:gd name="connsiteX927" fmla="*/ 1192401 w 1211013"/>
                <a:gd name="connsiteY927" fmla="*/ 346397 h 1076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Lst>
              <a:rect l="l" t="t" r="r" b="b"/>
              <a:pathLst>
                <a:path w="1211013" h="1076613">
                  <a:moveTo>
                    <a:pt x="1192401" y="346397"/>
                  </a:moveTo>
                  <a:lnTo>
                    <a:pt x="1186337" y="341619"/>
                  </a:lnTo>
                  <a:lnTo>
                    <a:pt x="1180267" y="340848"/>
                  </a:lnTo>
                  <a:lnTo>
                    <a:pt x="1173943" y="342530"/>
                  </a:lnTo>
                  <a:lnTo>
                    <a:pt x="1166070" y="348200"/>
                  </a:lnTo>
                  <a:lnTo>
                    <a:pt x="1159490" y="346402"/>
                  </a:lnTo>
                  <a:lnTo>
                    <a:pt x="1152765" y="349887"/>
                  </a:lnTo>
                  <a:lnTo>
                    <a:pt x="1149531" y="356072"/>
                  </a:lnTo>
                  <a:lnTo>
                    <a:pt x="1143336" y="354655"/>
                  </a:lnTo>
                  <a:lnTo>
                    <a:pt x="1137768" y="357007"/>
                  </a:lnTo>
                  <a:cubicBezTo>
                    <a:pt x="1137768" y="357007"/>
                    <a:pt x="1118929" y="338245"/>
                    <a:pt x="1111563" y="340607"/>
                  </a:cubicBezTo>
                  <a:cubicBezTo>
                    <a:pt x="1108579" y="341484"/>
                    <a:pt x="1105624" y="342275"/>
                    <a:pt x="1105624" y="342275"/>
                  </a:cubicBezTo>
                  <a:lnTo>
                    <a:pt x="1099164" y="341624"/>
                  </a:lnTo>
                  <a:lnTo>
                    <a:pt x="1094497" y="348079"/>
                  </a:lnTo>
                  <a:lnTo>
                    <a:pt x="1088693" y="349357"/>
                  </a:lnTo>
                  <a:lnTo>
                    <a:pt x="1082113" y="344714"/>
                  </a:lnTo>
                  <a:lnTo>
                    <a:pt x="1081202" y="337985"/>
                  </a:lnTo>
                  <a:lnTo>
                    <a:pt x="1068687" y="329495"/>
                  </a:lnTo>
                  <a:lnTo>
                    <a:pt x="1061456" y="327172"/>
                  </a:lnTo>
                  <a:cubicBezTo>
                    <a:pt x="1061456" y="327172"/>
                    <a:pt x="1052017" y="309109"/>
                    <a:pt x="1034971" y="310222"/>
                  </a:cubicBezTo>
                  <a:cubicBezTo>
                    <a:pt x="1033308" y="310492"/>
                    <a:pt x="1030329" y="300417"/>
                    <a:pt x="1030329" y="300417"/>
                  </a:cubicBezTo>
                  <a:lnTo>
                    <a:pt x="1025291" y="292815"/>
                  </a:lnTo>
                  <a:lnTo>
                    <a:pt x="1006428" y="289570"/>
                  </a:lnTo>
                  <a:lnTo>
                    <a:pt x="1003203" y="283110"/>
                  </a:lnTo>
                  <a:lnTo>
                    <a:pt x="990558" y="276921"/>
                  </a:lnTo>
                  <a:lnTo>
                    <a:pt x="984600" y="276140"/>
                  </a:lnTo>
                  <a:lnTo>
                    <a:pt x="977499" y="272148"/>
                  </a:lnTo>
                  <a:cubicBezTo>
                    <a:pt x="977499" y="272148"/>
                    <a:pt x="968995" y="269685"/>
                    <a:pt x="967824" y="267607"/>
                  </a:cubicBezTo>
                  <a:cubicBezTo>
                    <a:pt x="963037" y="269077"/>
                    <a:pt x="961108" y="269931"/>
                    <a:pt x="961108" y="269931"/>
                  </a:cubicBezTo>
                  <a:lnTo>
                    <a:pt x="959190" y="275740"/>
                  </a:lnTo>
                  <a:lnTo>
                    <a:pt x="960597" y="282349"/>
                  </a:lnTo>
                  <a:lnTo>
                    <a:pt x="958795" y="289691"/>
                  </a:lnTo>
                  <a:cubicBezTo>
                    <a:pt x="958795" y="289691"/>
                    <a:pt x="950392" y="285323"/>
                    <a:pt x="943161" y="285574"/>
                  </a:cubicBezTo>
                  <a:cubicBezTo>
                    <a:pt x="938899" y="285940"/>
                    <a:pt x="934508" y="286080"/>
                    <a:pt x="934508" y="286080"/>
                  </a:cubicBezTo>
                  <a:lnTo>
                    <a:pt x="928824" y="281148"/>
                  </a:lnTo>
                  <a:lnTo>
                    <a:pt x="922384" y="286471"/>
                  </a:lnTo>
                  <a:lnTo>
                    <a:pt x="919009" y="280421"/>
                  </a:lnTo>
                  <a:lnTo>
                    <a:pt x="911908" y="277022"/>
                  </a:lnTo>
                  <a:lnTo>
                    <a:pt x="905959" y="279857"/>
                  </a:lnTo>
                  <a:cubicBezTo>
                    <a:pt x="905959" y="279857"/>
                    <a:pt x="895817" y="280170"/>
                    <a:pt x="893961" y="281693"/>
                  </a:cubicBezTo>
                  <a:cubicBezTo>
                    <a:pt x="889955" y="280531"/>
                    <a:pt x="885182" y="276376"/>
                    <a:pt x="883640" y="272891"/>
                  </a:cubicBezTo>
                  <a:cubicBezTo>
                    <a:pt x="882092" y="269396"/>
                    <a:pt x="867751" y="253830"/>
                    <a:pt x="864926" y="256635"/>
                  </a:cubicBezTo>
                  <a:cubicBezTo>
                    <a:pt x="862072" y="259470"/>
                    <a:pt x="857550" y="260901"/>
                    <a:pt x="857550" y="260901"/>
                  </a:cubicBezTo>
                  <a:lnTo>
                    <a:pt x="846322" y="257672"/>
                  </a:lnTo>
                  <a:cubicBezTo>
                    <a:pt x="846322" y="257672"/>
                    <a:pt x="844124" y="262830"/>
                    <a:pt x="842172" y="261306"/>
                  </a:cubicBezTo>
                  <a:cubicBezTo>
                    <a:pt x="840234" y="259716"/>
                    <a:pt x="839207" y="257035"/>
                    <a:pt x="837515" y="253911"/>
                  </a:cubicBezTo>
                  <a:cubicBezTo>
                    <a:pt x="835842" y="250802"/>
                    <a:pt x="830805" y="245630"/>
                    <a:pt x="828230" y="243070"/>
                  </a:cubicBezTo>
                  <a:cubicBezTo>
                    <a:pt x="825647" y="240500"/>
                    <a:pt x="824340" y="237536"/>
                    <a:pt x="824104" y="233795"/>
                  </a:cubicBezTo>
                  <a:cubicBezTo>
                    <a:pt x="821390" y="234532"/>
                    <a:pt x="817909" y="235313"/>
                    <a:pt x="817909" y="235313"/>
                  </a:cubicBezTo>
                  <a:lnTo>
                    <a:pt x="805761" y="232570"/>
                  </a:lnTo>
                  <a:lnTo>
                    <a:pt x="799557" y="226024"/>
                  </a:lnTo>
                  <a:lnTo>
                    <a:pt x="775010" y="212878"/>
                  </a:lnTo>
                  <a:lnTo>
                    <a:pt x="776557" y="208066"/>
                  </a:lnTo>
                  <a:cubicBezTo>
                    <a:pt x="776557" y="208066"/>
                    <a:pt x="776943" y="204596"/>
                    <a:pt x="772947" y="206668"/>
                  </a:cubicBezTo>
                  <a:cubicBezTo>
                    <a:pt x="768941" y="208751"/>
                    <a:pt x="768314" y="209382"/>
                    <a:pt x="768314" y="209382"/>
                  </a:cubicBezTo>
                  <a:lnTo>
                    <a:pt x="765065" y="215741"/>
                  </a:lnTo>
                  <a:lnTo>
                    <a:pt x="758349" y="212333"/>
                  </a:lnTo>
                  <a:lnTo>
                    <a:pt x="757462" y="205902"/>
                  </a:lnTo>
                  <a:lnTo>
                    <a:pt x="763792" y="201751"/>
                  </a:lnTo>
                  <a:lnTo>
                    <a:pt x="767509" y="189627"/>
                  </a:lnTo>
                  <a:lnTo>
                    <a:pt x="764549" y="183163"/>
                  </a:lnTo>
                  <a:lnTo>
                    <a:pt x="757848" y="180439"/>
                  </a:lnTo>
                  <a:cubicBezTo>
                    <a:pt x="757848" y="180439"/>
                    <a:pt x="751644" y="181991"/>
                    <a:pt x="748023" y="181201"/>
                  </a:cubicBezTo>
                  <a:cubicBezTo>
                    <a:pt x="744403" y="180439"/>
                    <a:pt x="743897" y="176828"/>
                    <a:pt x="743762" y="176457"/>
                  </a:cubicBezTo>
                  <a:cubicBezTo>
                    <a:pt x="743632" y="176038"/>
                    <a:pt x="743241" y="173844"/>
                    <a:pt x="740137" y="175035"/>
                  </a:cubicBezTo>
                  <a:cubicBezTo>
                    <a:pt x="737047" y="176187"/>
                    <a:pt x="735104" y="176322"/>
                    <a:pt x="735379" y="173473"/>
                  </a:cubicBezTo>
                  <a:cubicBezTo>
                    <a:pt x="735509" y="171776"/>
                    <a:pt x="733417" y="169824"/>
                    <a:pt x="732486" y="167746"/>
                  </a:cubicBezTo>
                  <a:lnTo>
                    <a:pt x="731344" y="167515"/>
                  </a:lnTo>
                  <a:lnTo>
                    <a:pt x="730741" y="165813"/>
                  </a:lnTo>
                  <a:lnTo>
                    <a:pt x="730968" y="164603"/>
                  </a:lnTo>
                  <a:lnTo>
                    <a:pt x="727241" y="164945"/>
                  </a:lnTo>
                  <a:lnTo>
                    <a:pt x="721688" y="168802"/>
                  </a:lnTo>
                  <a:lnTo>
                    <a:pt x="720637" y="169149"/>
                  </a:lnTo>
                  <a:lnTo>
                    <a:pt x="714920" y="169149"/>
                  </a:lnTo>
                  <a:lnTo>
                    <a:pt x="712755" y="169694"/>
                  </a:lnTo>
                  <a:lnTo>
                    <a:pt x="712013" y="169718"/>
                  </a:lnTo>
                  <a:lnTo>
                    <a:pt x="708720" y="169178"/>
                  </a:lnTo>
                  <a:lnTo>
                    <a:pt x="702511" y="170291"/>
                  </a:lnTo>
                  <a:lnTo>
                    <a:pt x="702342" y="170340"/>
                  </a:lnTo>
                  <a:lnTo>
                    <a:pt x="695801" y="170932"/>
                  </a:lnTo>
                  <a:lnTo>
                    <a:pt x="694827" y="170735"/>
                  </a:lnTo>
                  <a:lnTo>
                    <a:pt x="689336" y="167968"/>
                  </a:lnTo>
                  <a:lnTo>
                    <a:pt x="683320" y="168522"/>
                  </a:lnTo>
                  <a:lnTo>
                    <a:pt x="682679" y="168489"/>
                  </a:lnTo>
                  <a:lnTo>
                    <a:pt x="676108" y="166714"/>
                  </a:lnTo>
                  <a:lnTo>
                    <a:pt x="675665" y="166483"/>
                  </a:lnTo>
                  <a:lnTo>
                    <a:pt x="669716" y="162930"/>
                  </a:lnTo>
                  <a:lnTo>
                    <a:pt x="669027" y="162188"/>
                  </a:lnTo>
                  <a:lnTo>
                    <a:pt x="668622" y="161354"/>
                  </a:lnTo>
                  <a:lnTo>
                    <a:pt x="662355" y="156229"/>
                  </a:lnTo>
                  <a:lnTo>
                    <a:pt x="656517" y="151548"/>
                  </a:lnTo>
                  <a:lnTo>
                    <a:pt x="651031" y="148280"/>
                  </a:lnTo>
                  <a:lnTo>
                    <a:pt x="644899" y="147697"/>
                  </a:lnTo>
                  <a:lnTo>
                    <a:pt x="643650" y="147027"/>
                  </a:lnTo>
                  <a:lnTo>
                    <a:pt x="638993" y="141329"/>
                  </a:lnTo>
                  <a:lnTo>
                    <a:pt x="634134" y="142307"/>
                  </a:lnTo>
                  <a:lnTo>
                    <a:pt x="633233" y="142264"/>
                  </a:lnTo>
                  <a:lnTo>
                    <a:pt x="627872" y="140649"/>
                  </a:lnTo>
                  <a:lnTo>
                    <a:pt x="621875" y="142847"/>
                  </a:lnTo>
                  <a:lnTo>
                    <a:pt x="621634" y="142915"/>
                  </a:lnTo>
                  <a:lnTo>
                    <a:pt x="618838" y="143455"/>
                  </a:lnTo>
                  <a:lnTo>
                    <a:pt x="613685" y="145807"/>
                  </a:lnTo>
                  <a:lnTo>
                    <a:pt x="614143" y="150454"/>
                  </a:lnTo>
                  <a:lnTo>
                    <a:pt x="613323" y="152166"/>
                  </a:lnTo>
                  <a:lnTo>
                    <a:pt x="611395" y="152233"/>
                  </a:lnTo>
                  <a:lnTo>
                    <a:pt x="608416" y="150396"/>
                  </a:lnTo>
                  <a:lnTo>
                    <a:pt x="608083" y="150131"/>
                  </a:lnTo>
                  <a:lnTo>
                    <a:pt x="605552" y="147639"/>
                  </a:lnTo>
                  <a:lnTo>
                    <a:pt x="600254" y="147128"/>
                  </a:lnTo>
                  <a:lnTo>
                    <a:pt x="599256" y="146709"/>
                  </a:lnTo>
                  <a:lnTo>
                    <a:pt x="595708" y="143734"/>
                  </a:lnTo>
                  <a:lnTo>
                    <a:pt x="589321" y="138484"/>
                  </a:lnTo>
                  <a:lnTo>
                    <a:pt x="583690" y="135669"/>
                  </a:lnTo>
                  <a:lnTo>
                    <a:pt x="578065" y="133992"/>
                  </a:lnTo>
                  <a:lnTo>
                    <a:pt x="571716" y="133403"/>
                  </a:lnTo>
                  <a:lnTo>
                    <a:pt x="570308" y="132492"/>
                  </a:lnTo>
                  <a:lnTo>
                    <a:pt x="570207" y="130877"/>
                  </a:lnTo>
                  <a:lnTo>
                    <a:pt x="572535" y="125762"/>
                  </a:lnTo>
                  <a:lnTo>
                    <a:pt x="567324" y="122427"/>
                  </a:lnTo>
                  <a:lnTo>
                    <a:pt x="561997" y="119259"/>
                  </a:lnTo>
                  <a:lnTo>
                    <a:pt x="556101" y="120281"/>
                  </a:lnTo>
                  <a:lnTo>
                    <a:pt x="549834" y="121424"/>
                  </a:lnTo>
                  <a:lnTo>
                    <a:pt x="544108" y="124307"/>
                  </a:lnTo>
                  <a:lnTo>
                    <a:pt x="543129" y="124500"/>
                  </a:lnTo>
                  <a:lnTo>
                    <a:pt x="536587" y="123892"/>
                  </a:lnTo>
                  <a:lnTo>
                    <a:pt x="535074" y="122779"/>
                  </a:lnTo>
                  <a:lnTo>
                    <a:pt x="535430" y="120870"/>
                  </a:lnTo>
                  <a:lnTo>
                    <a:pt x="537609" y="118411"/>
                  </a:lnTo>
                  <a:lnTo>
                    <a:pt x="536341" y="118536"/>
                  </a:lnTo>
                  <a:lnTo>
                    <a:pt x="536177" y="118536"/>
                  </a:lnTo>
                  <a:lnTo>
                    <a:pt x="530672" y="118536"/>
                  </a:lnTo>
                  <a:lnTo>
                    <a:pt x="524540" y="121906"/>
                  </a:lnTo>
                  <a:lnTo>
                    <a:pt x="524468" y="121920"/>
                  </a:lnTo>
                  <a:lnTo>
                    <a:pt x="518534" y="124890"/>
                  </a:lnTo>
                  <a:lnTo>
                    <a:pt x="516866" y="124856"/>
                  </a:lnTo>
                  <a:lnTo>
                    <a:pt x="515897" y="123497"/>
                  </a:lnTo>
                  <a:lnTo>
                    <a:pt x="515506" y="120349"/>
                  </a:lnTo>
                  <a:lnTo>
                    <a:pt x="514402" y="120349"/>
                  </a:lnTo>
                  <a:lnTo>
                    <a:pt x="508058" y="122070"/>
                  </a:lnTo>
                  <a:lnTo>
                    <a:pt x="507769" y="122070"/>
                  </a:lnTo>
                  <a:lnTo>
                    <a:pt x="501830" y="122706"/>
                  </a:lnTo>
                  <a:lnTo>
                    <a:pt x="501459" y="122706"/>
                  </a:lnTo>
                  <a:lnTo>
                    <a:pt x="495592" y="122070"/>
                  </a:lnTo>
                  <a:lnTo>
                    <a:pt x="489147" y="122070"/>
                  </a:lnTo>
                  <a:lnTo>
                    <a:pt x="488669" y="122070"/>
                  </a:lnTo>
                  <a:lnTo>
                    <a:pt x="482123" y="120281"/>
                  </a:lnTo>
                  <a:lnTo>
                    <a:pt x="475634" y="118512"/>
                  </a:lnTo>
                  <a:lnTo>
                    <a:pt x="469738" y="117321"/>
                  </a:lnTo>
                  <a:lnTo>
                    <a:pt x="468827" y="116815"/>
                  </a:lnTo>
                  <a:lnTo>
                    <a:pt x="468543" y="116536"/>
                  </a:lnTo>
                  <a:lnTo>
                    <a:pt x="463052" y="114916"/>
                  </a:lnTo>
                  <a:lnTo>
                    <a:pt x="456544" y="113142"/>
                  </a:lnTo>
                  <a:lnTo>
                    <a:pt x="456245" y="113055"/>
                  </a:lnTo>
                  <a:lnTo>
                    <a:pt x="449699" y="110042"/>
                  </a:lnTo>
                  <a:lnTo>
                    <a:pt x="449530" y="109951"/>
                  </a:lnTo>
                  <a:lnTo>
                    <a:pt x="443793" y="106533"/>
                  </a:lnTo>
                  <a:lnTo>
                    <a:pt x="437473" y="104826"/>
                  </a:lnTo>
                  <a:lnTo>
                    <a:pt x="436919" y="104518"/>
                  </a:lnTo>
                  <a:lnTo>
                    <a:pt x="431279" y="100598"/>
                  </a:lnTo>
                  <a:lnTo>
                    <a:pt x="425137" y="99466"/>
                  </a:lnTo>
                  <a:lnTo>
                    <a:pt x="424944" y="99417"/>
                  </a:lnTo>
                  <a:lnTo>
                    <a:pt x="418991" y="97634"/>
                  </a:lnTo>
                  <a:lnTo>
                    <a:pt x="418388" y="97325"/>
                  </a:lnTo>
                  <a:lnTo>
                    <a:pt x="415775" y="95243"/>
                  </a:lnTo>
                  <a:lnTo>
                    <a:pt x="409668" y="94110"/>
                  </a:lnTo>
                  <a:lnTo>
                    <a:pt x="409060" y="93883"/>
                  </a:lnTo>
                  <a:lnTo>
                    <a:pt x="403102" y="90326"/>
                  </a:lnTo>
                  <a:lnTo>
                    <a:pt x="402567" y="89810"/>
                  </a:lnTo>
                  <a:lnTo>
                    <a:pt x="398753" y="84425"/>
                  </a:lnTo>
                  <a:lnTo>
                    <a:pt x="393566" y="82988"/>
                  </a:lnTo>
                  <a:lnTo>
                    <a:pt x="387651" y="86194"/>
                  </a:lnTo>
                  <a:lnTo>
                    <a:pt x="385535" y="85900"/>
                  </a:lnTo>
                  <a:lnTo>
                    <a:pt x="385135" y="83837"/>
                  </a:lnTo>
                  <a:lnTo>
                    <a:pt x="387131" y="79397"/>
                  </a:lnTo>
                  <a:cubicBezTo>
                    <a:pt x="376029" y="78216"/>
                    <a:pt x="375228" y="77343"/>
                    <a:pt x="364401" y="75078"/>
                  </a:cubicBezTo>
                  <a:lnTo>
                    <a:pt x="363654" y="74687"/>
                  </a:lnTo>
                  <a:lnTo>
                    <a:pt x="357686" y="69953"/>
                  </a:lnTo>
                  <a:lnTo>
                    <a:pt x="357252" y="69413"/>
                  </a:lnTo>
                  <a:lnTo>
                    <a:pt x="353738" y="63002"/>
                  </a:lnTo>
                  <a:lnTo>
                    <a:pt x="349915" y="58210"/>
                  </a:lnTo>
                  <a:lnTo>
                    <a:pt x="345354" y="60027"/>
                  </a:lnTo>
                  <a:lnTo>
                    <a:pt x="338957" y="64115"/>
                  </a:lnTo>
                  <a:lnTo>
                    <a:pt x="337309" y="64260"/>
                  </a:lnTo>
                  <a:lnTo>
                    <a:pt x="332006" y="62110"/>
                  </a:lnTo>
                  <a:lnTo>
                    <a:pt x="326115" y="64294"/>
                  </a:lnTo>
                  <a:lnTo>
                    <a:pt x="325093" y="64352"/>
                  </a:lnTo>
                  <a:lnTo>
                    <a:pt x="319728" y="63161"/>
                  </a:lnTo>
                  <a:lnTo>
                    <a:pt x="319197" y="62949"/>
                  </a:lnTo>
                  <a:lnTo>
                    <a:pt x="313519" y="59560"/>
                  </a:lnTo>
                  <a:lnTo>
                    <a:pt x="307642" y="58485"/>
                  </a:lnTo>
                  <a:lnTo>
                    <a:pt x="302060" y="59618"/>
                  </a:lnTo>
                  <a:lnTo>
                    <a:pt x="301370" y="59618"/>
                  </a:lnTo>
                  <a:lnTo>
                    <a:pt x="294833" y="58432"/>
                  </a:lnTo>
                  <a:lnTo>
                    <a:pt x="294375" y="58306"/>
                  </a:lnTo>
                  <a:lnTo>
                    <a:pt x="288354" y="55520"/>
                  </a:lnTo>
                  <a:lnTo>
                    <a:pt x="282382" y="56638"/>
                  </a:lnTo>
                  <a:lnTo>
                    <a:pt x="281543" y="56576"/>
                  </a:lnTo>
                  <a:lnTo>
                    <a:pt x="275575" y="54782"/>
                  </a:lnTo>
                  <a:lnTo>
                    <a:pt x="275430" y="54744"/>
                  </a:lnTo>
                  <a:lnTo>
                    <a:pt x="269954" y="52541"/>
                  </a:lnTo>
                  <a:lnTo>
                    <a:pt x="263928" y="53659"/>
                  </a:lnTo>
                  <a:lnTo>
                    <a:pt x="262525" y="53346"/>
                  </a:lnTo>
                  <a:lnTo>
                    <a:pt x="257989" y="49914"/>
                  </a:lnTo>
                  <a:lnTo>
                    <a:pt x="252917" y="48226"/>
                  </a:lnTo>
                  <a:lnTo>
                    <a:pt x="252816" y="48207"/>
                  </a:lnTo>
                  <a:lnTo>
                    <a:pt x="247181" y="45936"/>
                  </a:lnTo>
                  <a:lnTo>
                    <a:pt x="241164" y="45936"/>
                  </a:lnTo>
                  <a:lnTo>
                    <a:pt x="236223" y="46930"/>
                  </a:lnTo>
                  <a:lnTo>
                    <a:pt x="233042" y="52739"/>
                  </a:lnTo>
                  <a:cubicBezTo>
                    <a:pt x="232704" y="53404"/>
                    <a:pt x="231962" y="53765"/>
                    <a:pt x="231186" y="53655"/>
                  </a:cubicBezTo>
                  <a:cubicBezTo>
                    <a:pt x="230448" y="53529"/>
                    <a:pt x="229826" y="52946"/>
                    <a:pt x="229667" y="52208"/>
                  </a:cubicBezTo>
                  <a:lnTo>
                    <a:pt x="229089" y="49229"/>
                  </a:lnTo>
                  <a:lnTo>
                    <a:pt x="229190" y="48202"/>
                  </a:lnTo>
                  <a:lnTo>
                    <a:pt x="230829" y="44085"/>
                  </a:lnTo>
                  <a:lnTo>
                    <a:pt x="226804" y="42924"/>
                  </a:lnTo>
                  <a:lnTo>
                    <a:pt x="220267" y="41125"/>
                  </a:lnTo>
                  <a:lnTo>
                    <a:pt x="220016" y="41015"/>
                  </a:lnTo>
                  <a:lnTo>
                    <a:pt x="213455" y="38011"/>
                  </a:lnTo>
                  <a:lnTo>
                    <a:pt x="212790" y="37539"/>
                  </a:lnTo>
                  <a:lnTo>
                    <a:pt x="208041" y="31590"/>
                  </a:lnTo>
                  <a:lnTo>
                    <a:pt x="207694" y="30905"/>
                  </a:lnTo>
                  <a:lnTo>
                    <a:pt x="206002" y="24672"/>
                  </a:lnTo>
                  <a:lnTo>
                    <a:pt x="201490" y="18468"/>
                  </a:lnTo>
                  <a:lnTo>
                    <a:pt x="196554" y="13035"/>
                  </a:lnTo>
                  <a:lnTo>
                    <a:pt x="190933" y="11478"/>
                  </a:lnTo>
                  <a:lnTo>
                    <a:pt x="185408" y="12572"/>
                  </a:lnTo>
                  <a:cubicBezTo>
                    <a:pt x="184497" y="12799"/>
                    <a:pt x="183572" y="12230"/>
                    <a:pt x="183306" y="11304"/>
                  </a:cubicBezTo>
                  <a:lnTo>
                    <a:pt x="181976" y="6961"/>
                  </a:lnTo>
                  <a:lnTo>
                    <a:pt x="177666" y="7810"/>
                  </a:lnTo>
                  <a:lnTo>
                    <a:pt x="176258" y="7525"/>
                  </a:lnTo>
                  <a:lnTo>
                    <a:pt x="175531" y="6291"/>
                  </a:lnTo>
                  <a:lnTo>
                    <a:pt x="175246" y="4199"/>
                  </a:lnTo>
                  <a:lnTo>
                    <a:pt x="171534" y="5327"/>
                  </a:lnTo>
                  <a:lnTo>
                    <a:pt x="165200" y="9371"/>
                  </a:lnTo>
                  <a:lnTo>
                    <a:pt x="164751" y="9583"/>
                  </a:lnTo>
                  <a:lnTo>
                    <a:pt x="158798" y="11343"/>
                  </a:lnTo>
                  <a:lnTo>
                    <a:pt x="156865" y="10755"/>
                  </a:lnTo>
                  <a:lnTo>
                    <a:pt x="156662" y="8798"/>
                  </a:lnTo>
                  <a:lnTo>
                    <a:pt x="159516" y="3119"/>
                  </a:lnTo>
                  <a:lnTo>
                    <a:pt x="160071" y="0"/>
                  </a:lnTo>
                  <a:cubicBezTo>
                    <a:pt x="144765" y="7043"/>
                    <a:pt x="147966" y="-1721"/>
                    <a:pt x="138440" y="7549"/>
                  </a:cubicBezTo>
                  <a:lnTo>
                    <a:pt x="131898" y="11753"/>
                  </a:lnTo>
                  <a:lnTo>
                    <a:pt x="131431" y="11941"/>
                  </a:lnTo>
                  <a:lnTo>
                    <a:pt x="125704" y="13647"/>
                  </a:lnTo>
                  <a:lnTo>
                    <a:pt x="119953" y="17099"/>
                  </a:lnTo>
                  <a:lnTo>
                    <a:pt x="118704" y="17340"/>
                  </a:lnTo>
                  <a:lnTo>
                    <a:pt x="113011" y="16414"/>
                  </a:lnTo>
                  <a:lnTo>
                    <a:pt x="111309" y="20666"/>
                  </a:lnTo>
                  <a:lnTo>
                    <a:pt x="111309" y="24668"/>
                  </a:lnTo>
                  <a:lnTo>
                    <a:pt x="115074" y="23877"/>
                  </a:lnTo>
                  <a:lnTo>
                    <a:pt x="115778" y="23877"/>
                  </a:lnTo>
                  <a:lnTo>
                    <a:pt x="120767" y="24879"/>
                  </a:lnTo>
                  <a:lnTo>
                    <a:pt x="121288" y="24402"/>
                  </a:lnTo>
                  <a:lnTo>
                    <a:pt x="122585" y="23829"/>
                  </a:lnTo>
                  <a:lnTo>
                    <a:pt x="124937" y="23829"/>
                  </a:lnTo>
                  <a:lnTo>
                    <a:pt x="126581" y="24870"/>
                  </a:lnTo>
                  <a:lnTo>
                    <a:pt x="126398" y="26779"/>
                  </a:lnTo>
                  <a:lnTo>
                    <a:pt x="124629" y="29146"/>
                  </a:lnTo>
                  <a:lnTo>
                    <a:pt x="123978" y="29691"/>
                  </a:lnTo>
                  <a:lnTo>
                    <a:pt x="122778" y="30288"/>
                  </a:lnTo>
                  <a:lnTo>
                    <a:pt x="121977" y="30472"/>
                  </a:lnTo>
                  <a:lnTo>
                    <a:pt x="116188" y="30472"/>
                  </a:lnTo>
                  <a:lnTo>
                    <a:pt x="114876" y="30708"/>
                  </a:lnTo>
                  <a:lnTo>
                    <a:pt x="116858" y="31797"/>
                  </a:lnTo>
                  <a:lnTo>
                    <a:pt x="122778" y="34757"/>
                  </a:lnTo>
                  <a:lnTo>
                    <a:pt x="123173" y="35042"/>
                  </a:lnTo>
                  <a:lnTo>
                    <a:pt x="125839" y="34584"/>
                  </a:lnTo>
                  <a:cubicBezTo>
                    <a:pt x="126779" y="34449"/>
                    <a:pt x="127671" y="35042"/>
                    <a:pt x="127897" y="35938"/>
                  </a:cubicBezTo>
                  <a:cubicBezTo>
                    <a:pt x="128128" y="36859"/>
                    <a:pt x="127603" y="37828"/>
                    <a:pt x="126716" y="38113"/>
                  </a:cubicBezTo>
                  <a:lnTo>
                    <a:pt x="123149" y="39298"/>
                  </a:lnTo>
                  <a:lnTo>
                    <a:pt x="122580" y="39390"/>
                  </a:lnTo>
                  <a:lnTo>
                    <a:pt x="122098" y="39390"/>
                  </a:lnTo>
                  <a:lnTo>
                    <a:pt x="117812" y="39886"/>
                  </a:lnTo>
                  <a:lnTo>
                    <a:pt x="115262" y="44924"/>
                  </a:lnTo>
                  <a:lnTo>
                    <a:pt x="113690" y="45936"/>
                  </a:lnTo>
                  <a:lnTo>
                    <a:pt x="112061" y="45011"/>
                  </a:lnTo>
                  <a:lnTo>
                    <a:pt x="108783" y="39028"/>
                  </a:lnTo>
                  <a:lnTo>
                    <a:pt x="104743" y="37389"/>
                  </a:lnTo>
                  <a:lnTo>
                    <a:pt x="100834" y="42813"/>
                  </a:lnTo>
                  <a:lnTo>
                    <a:pt x="99233" y="43560"/>
                  </a:lnTo>
                  <a:lnTo>
                    <a:pt x="97724" y="42581"/>
                  </a:lnTo>
                  <a:lnTo>
                    <a:pt x="95377" y="37862"/>
                  </a:lnTo>
                  <a:lnTo>
                    <a:pt x="91178" y="38676"/>
                  </a:lnTo>
                  <a:lnTo>
                    <a:pt x="85528" y="42653"/>
                  </a:lnTo>
                  <a:lnTo>
                    <a:pt x="83845" y="42875"/>
                  </a:lnTo>
                  <a:lnTo>
                    <a:pt x="77709" y="40639"/>
                  </a:lnTo>
                  <a:lnTo>
                    <a:pt x="72184" y="41169"/>
                  </a:lnTo>
                  <a:lnTo>
                    <a:pt x="72160" y="41169"/>
                  </a:lnTo>
                  <a:lnTo>
                    <a:pt x="66211" y="41767"/>
                  </a:lnTo>
                  <a:lnTo>
                    <a:pt x="64968" y="41439"/>
                  </a:lnTo>
                  <a:lnTo>
                    <a:pt x="58542" y="36710"/>
                  </a:lnTo>
                  <a:lnTo>
                    <a:pt x="53514" y="34232"/>
                  </a:lnTo>
                  <a:lnTo>
                    <a:pt x="47743" y="36825"/>
                  </a:lnTo>
                  <a:lnTo>
                    <a:pt x="47150" y="37037"/>
                  </a:lnTo>
                  <a:lnTo>
                    <a:pt x="44239" y="37254"/>
                  </a:lnTo>
                  <a:lnTo>
                    <a:pt x="47150" y="40523"/>
                  </a:lnTo>
                  <a:lnTo>
                    <a:pt x="47444" y="42581"/>
                  </a:lnTo>
                  <a:lnTo>
                    <a:pt x="45641" y="43560"/>
                  </a:lnTo>
                  <a:lnTo>
                    <a:pt x="39427" y="42991"/>
                  </a:lnTo>
                  <a:lnTo>
                    <a:pt x="33185" y="44697"/>
                  </a:lnTo>
                  <a:lnTo>
                    <a:pt x="32895" y="44750"/>
                  </a:lnTo>
                  <a:lnTo>
                    <a:pt x="26956" y="45324"/>
                  </a:lnTo>
                  <a:lnTo>
                    <a:pt x="26575" y="45324"/>
                  </a:lnTo>
                  <a:lnTo>
                    <a:pt x="21152" y="44813"/>
                  </a:lnTo>
                  <a:lnTo>
                    <a:pt x="16891" y="46934"/>
                  </a:lnTo>
                  <a:lnTo>
                    <a:pt x="17845" y="52136"/>
                  </a:lnTo>
                  <a:lnTo>
                    <a:pt x="17537" y="53510"/>
                  </a:lnTo>
                  <a:lnTo>
                    <a:pt x="16360" y="54233"/>
                  </a:lnTo>
                  <a:lnTo>
                    <a:pt x="10079" y="55400"/>
                  </a:lnTo>
                  <a:lnTo>
                    <a:pt x="5364" y="57766"/>
                  </a:lnTo>
                  <a:lnTo>
                    <a:pt x="5364" y="62549"/>
                  </a:lnTo>
                  <a:lnTo>
                    <a:pt x="5355" y="62741"/>
                  </a:lnTo>
                  <a:lnTo>
                    <a:pt x="4786" y="68353"/>
                  </a:lnTo>
                  <a:lnTo>
                    <a:pt x="6030" y="72841"/>
                  </a:lnTo>
                  <a:lnTo>
                    <a:pt x="10783" y="71529"/>
                  </a:lnTo>
                  <a:cubicBezTo>
                    <a:pt x="11660" y="71288"/>
                    <a:pt x="12566" y="71703"/>
                    <a:pt x="12947" y="72547"/>
                  </a:cubicBezTo>
                  <a:lnTo>
                    <a:pt x="15917" y="79093"/>
                  </a:lnTo>
                  <a:lnTo>
                    <a:pt x="15864" y="80708"/>
                  </a:lnTo>
                  <a:lnTo>
                    <a:pt x="13319" y="85293"/>
                  </a:lnTo>
                  <a:lnTo>
                    <a:pt x="15334" y="89805"/>
                  </a:lnTo>
                  <a:lnTo>
                    <a:pt x="15232" y="91478"/>
                  </a:lnTo>
                  <a:lnTo>
                    <a:pt x="12118" y="96713"/>
                  </a:lnTo>
                  <a:lnTo>
                    <a:pt x="13319" y="100044"/>
                  </a:lnTo>
                  <a:lnTo>
                    <a:pt x="17286" y="96858"/>
                  </a:lnTo>
                  <a:lnTo>
                    <a:pt x="18612" y="96472"/>
                  </a:lnTo>
                  <a:lnTo>
                    <a:pt x="25139" y="97070"/>
                  </a:lnTo>
                  <a:lnTo>
                    <a:pt x="25163" y="97070"/>
                  </a:lnTo>
                  <a:lnTo>
                    <a:pt x="30741" y="97605"/>
                  </a:lnTo>
                  <a:lnTo>
                    <a:pt x="36337" y="95956"/>
                  </a:lnTo>
                  <a:cubicBezTo>
                    <a:pt x="37142" y="95701"/>
                    <a:pt x="37952" y="96024"/>
                    <a:pt x="38405" y="96723"/>
                  </a:cubicBezTo>
                  <a:lnTo>
                    <a:pt x="38242" y="98882"/>
                  </a:lnTo>
                  <a:lnTo>
                    <a:pt x="34072" y="103631"/>
                  </a:lnTo>
                  <a:lnTo>
                    <a:pt x="33180" y="104209"/>
                  </a:lnTo>
                  <a:lnTo>
                    <a:pt x="26739" y="105959"/>
                  </a:lnTo>
                  <a:lnTo>
                    <a:pt x="21273" y="108128"/>
                  </a:lnTo>
                  <a:lnTo>
                    <a:pt x="16327" y="113624"/>
                  </a:lnTo>
                  <a:lnTo>
                    <a:pt x="13193" y="118850"/>
                  </a:lnTo>
                  <a:lnTo>
                    <a:pt x="14283" y="124041"/>
                  </a:lnTo>
                  <a:lnTo>
                    <a:pt x="15334" y="127975"/>
                  </a:lnTo>
                  <a:lnTo>
                    <a:pt x="19663" y="124823"/>
                  </a:lnTo>
                  <a:lnTo>
                    <a:pt x="25525" y="119534"/>
                  </a:lnTo>
                  <a:lnTo>
                    <a:pt x="27130" y="119105"/>
                  </a:lnTo>
                  <a:lnTo>
                    <a:pt x="31276" y="119973"/>
                  </a:lnTo>
                  <a:lnTo>
                    <a:pt x="32124" y="115760"/>
                  </a:lnTo>
                  <a:lnTo>
                    <a:pt x="33377" y="114414"/>
                  </a:lnTo>
                  <a:lnTo>
                    <a:pt x="35200" y="114839"/>
                  </a:lnTo>
                  <a:lnTo>
                    <a:pt x="39852" y="119486"/>
                  </a:lnTo>
                  <a:lnTo>
                    <a:pt x="44523" y="114839"/>
                  </a:lnTo>
                  <a:lnTo>
                    <a:pt x="46885" y="114665"/>
                  </a:lnTo>
                  <a:cubicBezTo>
                    <a:pt x="47627" y="115172"/>
                    <a:pt x="47830" y="116222"/>
                    <a:pt x="47401" y="116974"/>
                  </a:cubicBezTo>
                  <a:cubicBezTo>
                    <a:pt x="44480" y="124736"/>
                    <a:pt x="38049" y="130169"/>
                    <a:pt x="32057" y="135462"/>
                  </a:cubicBezTo>
                  <a:lnTo>
                    <a:pt x="31550" y="141295"/>
                  </a:lnTo>
                  <a:lnTo>
                    <a:pt x="30760" y="142611"/>
                  </a:lnTo>
                  <a:lnTo>
                    <a:pt x="24816" y="146786"/>
                  </a:lnTo>
                  <a:lnTo>
                    <a:pt x="23606" y="146877"/>
                  </a:lnTo>
                  <a:lnTo>
                    <a:pt x="23707" y="147017"/>
                  </a:lnTo>
                  <a:lnTo>
                    <a:pt x="25737" y="152628"/>
                  </a:lnTo>
                  <a:lnTo>
                    <a:pt x="30104" y="153496"/>
                  </a:lnTo>
                  <a:lnTo>
                    <a:pt x="36106" y="150772"/>
                  </a:lnTo>
                  <a:lnTo>
                    <a:pt x="37200" y="150657"/>
                  </a:lnTo>
                  <a:lnTo>
                    <a:pt x="43732" y="151838"/>
                  </a:lnTo>
                  <a:cubicBezTo>
                    <a:pt x="44475" y="151992"/>
                    <a:pt x="45092" y="152566"/>
                    <a:pt x="45227" y="153327"/>
                  </a:cubicBezTo>
                  <a:cubicBezTo>
                    <a:pt x="45342" y="154055"/>
                    <a:pt x="44976" y="154841"/>
                    <a:pt x="44321" y="155207"/>
                  </a:cubicBezTo>
                  <a:lnTo>
                    <a:pt x="40155" y="157589"/>
                  </a:lnTo>
                  <a:lnTo>
                    <a:pt x="40054" y="157647"/>
                  </a:lnTo>
                  <a:lnTo>
                    <a:pt x="34120" y="160626"/>
                  </a:lnTo>
                  <a:lnTo>
                    <a:pt x="33782" y="160727"/>
                  </a:lnTo>
                  <a:lnTo>
                    <a:pt x="27424" y="162487"/>
                  </a:lnTo>
                  <a:lnTo>
                    <a:pt x="21841" y="165519"/>
                  </a:lnTo>
                  <a:lnTo>
                    <a:pt x="21114" y="169443"/>
                  </a:lnTo>
                  <a:lnTo>
                    <a:pt x="25558" y="170200"/>
                  </a:lnTo>
                  <a:lnTo>
                    <a:pt x="31791" y="169115"/>
                  </a:lnTo>
                  <a:lnTo>
                    <a:pt x="32278" y="169043"/>
                  </a:lnTo>
                  <a:lnTo>
                    <a:pt x="37374" y="169563"/>
                  </a:lnTo>
                  <a:lnTo>
                    <a:pt x="38131" y="167360"/>
                  </a:lnTo>
                  <a:lnTo>
                    <a:pt x="39090" y="166247"/>
                  </a:lnTo>
                  <a:lnTo>
                    <a:pt x="45637" y="163277"/>
                  </a:lnTo>
                  <a:lnTo>
                    <a:pt x="47372" y="163403"/>
                  </a:lnTo>
                  <a:lnTo>
                    <a:pt x="48206" y="164936"/>
                  </a:lnTo>
                  <a:lnTo>
                    <a:pt x="48206" y="165509"/>
                  </a:lnTo>
                  <a:lnTo>
                    <a:pt x="47849" y="166613"/>
                  </a:lnTo>
                  <a:lnTo>
                    <a:pt x="46061" y="168951"/>
                  </a:lnTo>
                  <a:lnTo>
                    <a:pt x="45757" y="169332"/>
                  </a:lnTo>
                  <a:cubicBezTo>
                    <a:pt x="40469" y="174167"/>
                    <a:pt x="34115" y="178289"/>
                    <a:pt x="26956" y="179687"/>
                  </a:cubicBezTo>
                  <a:lnTo>
                    <a:pt x="21432" y="183558"/>
                  </a:lnTo>
                  <a:lnTo>
                    <a:pt x="16206" y="189362"/>
                  </a:lnTo>
                  <a:lnTo>
                    <a:pt x="16086" y="189497"/>
                  </a:lnTo>
                  <a:lnTo>
                    <a:pt x="10585" y="194410"/>
                  </a:lnTo>
                  <a:lnTo>
                    <a:pt x="9505" y="200349"/>
                  </a:lnTo>
                  <a:lnTo>
                    <a:pt x="9462" y="200561"/>
                  </a:lnTo>
                  <a:lnTo>
                    <a:pt x="7683" y="206485"/>
                  </a:lnTo>
                  <a:lnTo>
                    <a:pt x="6068" y="212410"/>
                  </a:lnTo>
                  <a:lnTo>
                    <a:pt x="7683" y="216401"/>
                  </a:lnTo>
                  <a:lnTo>
                    <a:pt x="12431" y="215563"/>
                  </a:lnTo>
                  <a:lnTo>
                    <a:pt x="18072" y="212159"/>
                  </a:lnTo>
                  <a:cubicBezTo>
                    <a:pt x="18949" y="211658"/>
                    <a:pt x="20063" y="211913"/>
                    <a:pt x="20583" y="212801"/>
                  </a:cubicBezTo>
                  <a:cubicBezTo>
                    <a:pt x="20646" y="212873"/>
                    <a:pt x="20598" y="212984"/>
                    <a:pt x="20636" y="213085"/>
                  </a:cubicBezTo>
                  <a:cubicBezTo>
                    <a:pt x="24237" y="211142"/>
                    <a:pt x="30051" y="207628"/>
                    <a:pt x="31256" y="205087"/>
                  </a:cubicBezTo>
                  <a:cubicBezTo>
                    <a:pt x="36969" y="204581"/>
                    <a:pt x="39288" y="204581"/>
                    <a:pt x="41230" y="203135"/>
                  </a:cubicBezTo>
                  <a:cubicBezTo>
                    <a:pt x="43168" y="201732"/>
                    <a:pt x="47030" y="201101"/>
                    <a:pt x="50655" y="203265"/>
                  </a:cubicBezTo>
                  <a:cubicBezTo>
                    <a:pt x="54261" y="205516"/>
                    <a:pt x="62032" y="208433"/>
                    <a:pt x="64457" y="206500"/>
                  </a:cubicBezTo>
                  <a:cubicBezTo>
                    <a:pt x="66925" y="204581"/>
                    <a:pt x="69133" y="202643"/>
                    <a:pt x="72097" y="202913"/>
                  </a:cubicBezTo>
                  <a:cubicBezTo>
                    <a:pt x="75062" y="203135"/>
                    <a:pt x="78943" y="201597"/>
                    <a:pt x="78943" y="201597"/>
                  </a:cubicBezTo>
                  <a:lnTo>
                    <a:pt x="77651" y="212969"/>
                  </a:lnTo>
                  <a:lnTo>
                    <a:pt x="83465" y="212314"/>
                  </a:lnTo>
                  <a:cubicBezTo>
                    <a:pt x="83465" y="212314"/>
                    <a:pt x="87206" y="217853"/>
                    <a:pt x="85263" y="218764"/>
                  </a:cubicBezTo>
                  <a:cubicBezTo>
                    <a:pt x="83339" y="219651"/>
                    <a:pt x="73640" y="223054"/>
                    <a:pt x="68848" y="234045"/>
                  </a:cubicBezTo>
                  <a:cubicBezTo>
                    <a:pt x="67706" y="236836"/>
                    <a:pt x="71982" y="237107"/>
                    <a:pt x="70940" y="241108"/>
                  </a:cubicBezTo>
                  <a:cubicBezTo>
                    <a:pt x="69904" y="245133"/>
                    <a:pt x="71577" y="249264"/>
                    <a:pt x="80370" y="248469"/>
                  </a:cubicBezTo>
                  <a:cubicBezTo>
                    <a:pt x="83961" y="247722"/>
                    <a:pt x="92889" y="243610"/>
                    <a:pt x="94041" y="243610"/>
                  </a:cubicBezTo>
                  <a:cubicBezTo>
                    <a:pt x="95222" y="243610"/>
                    <a:pt x="99469" y="237752"/>
                    <a:pt x="99469" y="237752"/>
                  </a:cubicBezTo>
                  <a:cubicBezTo>
                    <a:pt x="99469" y="237752"/>
                    <a:pt x="99469" y="244882"/>
                    <a:pt x="104382" y="244882"/>
                  </a:cubicBezTo>
                  <a:cubicBezTo>
                    <a:pt x="109299" y="244882"/>
                    <a:pt x="118704" y="244728"/>
                    <a:pt x="121037" y="246131"/>
                  </a:cubicBezTo>
                  <a:cubicBezTo>
                    <a:pt x="123366" y="247587"/>
                    <a:pt x="125043" y="250966"/>
                    <a:pt x="125043" y="250966"/>
                  </a:cubicBezTo>
                  <a:lnTo>
                    <a:pt x="125815" y="256852"/>
                  </a:lnTo>
                  <a:lnTo>
                    <a:pt x="133441" y="258448"/>
                  </a:lnTo>
                  <a:lnTo>
                    <a:pt x="138344" y="254307"/>
                  </a:lnTo>
                  <a:lnTo>
                    <a:pt x="141974" y="260000"/>
                  </a:lnTo>
                  <a:lnTo>
                    <a:pt x="143391" y="264252"/>
                  </a:lnTo>
                  <a:lnTo>
                    <a:pt x="150111" y="259460"/>
                  </a:lnTo>
                  <a:lnTo>
                    <a:pt x="156701" y="261167"/>
                  </a:lnTo>
                  <a:lnTo>
                    <a:pt x="167017" y="258833"/>
                  </a:lnTo>
                  <a:lnTo>
                    <a:pt x="175670" y="245899"/>
                  </a:lnTo>
                  <a:lnTo>
                    <a:pt x="187433" y="254818"/>
                  </a:lnTo>
                  <a:lnTo>
                    <a:pt x="191299" y="252383"/>
                  </a:lnTo>
                  <a:lnTo>
                    <a:pt x="194129" y="257407"/>
                  </a:lnTo>
                  <a:lnTo>
                    <a:pt x="201365" y="258833"/>
                  </a:lnTo>
                  <a:lnTo>
                    <a:pt x="207574" y="258284"/>
                  </a:lnTo>
                  <a:cubicBezTo>
                    <a:pt x="207574" y="258284"/>
                    <a:pt x="215832" y="263746"/>
                    <a:pt x="221641" y="263587"/>
                  </a:cubicBezTo>
                  <a:cubicBezTo>
                    <a:pt x="227450" y="263490"/>
                    <a:pt x="233398" y="265650"/>
                    <a:pt x="231600" y="267077"/>
                  </a:cubicBezTo>
                  <a:cubicBezTo>
                    <a:pt x="229778" y="268489"/>
                    <a:pt x="229011" y="271714"/>
                    <a:pt x="230935" y="274216"/>
                  </a:cubicBezTo>
                  <a:cubicBezTo>
                    <a:pt x="232887" y="276636"/>
                    <a:pt x="234435" y="278950"/>
                    <a:pt x="231600" y="282339"/>
                  </a:cubicBezTo>
                  <a:cubicBezTo>
                    <a:pt x="228742" y="285666"/>
                    <a:pt x="226023" y="291624"/>
                    <a:pt x="226023" y="291624"/>
                  </a:cubicBezTo>
                  <a:lnTo>
                    <a:pt x="226023" y="299631"/>
                  </a:lnTo>
                  <a:cubicBezTo>
                    <a:pt x="226023" y="299631"/>
                    <a:pt x="229392" y="305180"/>
                    <a:pt x="232237" y="304167"/>
                  </a:cubicBezTo>
                  <a:cubicBezTo>
                    <a:pt x="235066" y="303121"/>
                    <a:pt x="251992" y="301829"/>
                    <a:pt x="256899" y="323518"/>
                  </a:cubicBezTo>
                  <a:cubicBezTo>
                    <a:pt x="249794" y="329736"/>
                    <a:pt x="246703" y="332826"/>
                    <a:pt x="246703" y="332826"/>
                  </a:cubicBezTo>
                  <a:lnTo>
                    <a:pt x="239853" y="344979"/>
                  </a:lnTo>
                  <a:lnTo>
                    <a:pt x="232632" y="343533"/>
                  </a:lnTo>
                  <a:lnTo>
                    <a:pt x="227585" y="349988"/>
                  </a:lnTo>
                  <a:cubicBezTo>
                    <a:pt x="227585" y="349988"/>
                    <a:pt x="216473" y="359176"/>
                    <a:pt x="202657" y="356998"/>
                  </a:cubicBezTo>
                  <a:cubicBezTo>
                    <a:pt x="193218" y="363954"/>
                    <a:pt x="190277" y="366682"/>
                    <a:pt x="190277" y="366682"/>
                  </a:cubicBezTo>
                  <a:lnTo>
                    <a:pt x="187428" y="372337"/>
                  </a:lnTo>
                  <a:lnTo>
                    <a:pt x="181089" y="379814"/>
                  </a:lnTo>
                  <a:lnTo>
                    <a:pt x="167658" y="378141"/>
                  </a:lnTo>
                  <a:cubicBezTo>
                    <a:pt x="167658" y="378141"/>
                    <a:pt x="172686" y="387421"/>
                    <a:pt x="172566" y="391591"/>
                  </a:cubicBezTo>
                  <a:cubicBezTo>
                    <a:pt x="172440" y="395703"/>
                    <a:pt x="177468" y="400215"/>
                    <a:pt x="175029" y="404761"/>
                  </a:cubicBezTo>
                  <a:cubicBezTo>
                    <a:pt x="172566" y="409278"/>
                    <a:pt x="170368" y="417020"/>
                    <a:pt x="170368" y="417020"/>
                  </a:cubicBezTo>
                  <a:cubicBezTo>
                    <a:pt x="170368" y="417020"/>
                    <a:pt x="173342" y="428653"/>
                    <a:pt x="165209" y="438058"/>
                  </a:cubicBezTo>
                  <a:cubicBezTo>
                    <a:pt x="166501" y="443245"/>
                    <a:pt x="166766" y="444923"/>
                    <a:pt x="166766" y="444923"/>
                  </a:cubicBezTo>
                  <a:cubicBezTo>
                    <a:pt x="166766" y="444923"/>
                    <a:pt x="162751" y="453175"/>
                    <a:pt x="160437" y="454896"/>
                  </a:cubicBezTo>
                  <a:cubicBezTo>
                    <a:pt x="158108" y="456550"/>
                    <a:pt x="157062" y="463376"/>
                    <a:pt x="163652" y="469855"/>
                  </a:cubicBezTo>
                  <a:cubicBezTo>
                    <a:pt x="157332" y="473451"/>
                    <a:pt x="155515" y="474517"/>
                    <a:pt x="155515" y="474517"/>
                  </a:cubicBezTo>
                  <a:lnTo>
                    <a:pt x="152304" y="479935"/>
                  </a:lnTo>
                  <a:cubicBezTo>
                    <a:pt x="152304" y="479935"/>
                    <a:pt x="145324" y="480822"/>
                    <a:pt x="143902" y="479410"/>
                  </a:cubicBezTo>
                  <a:cubicBezTo>
                    <a:pt x="138734" y="480697"/>
                    <a:pt x="136285" y="481507"/>
                    <a:pt x="136285" y="481507"/>
                  </a:cubicBezTo>
                  <a:cubicBezTo>
                    <a:pt x="136285" y="481507"/>
                    <a:pt x="130717" y="493496"/>
                    <a:pt x="134984" y="495313"/>
                  </a:cubicBezTo>
                  <a:cubicBezTo>
                    <a:pt x="139260" y="497106"/>
                    <a:pt x="139491" y="499300"/>
                    <a:pt x="139491" y="499300"/>
                  </a:cubicBezTo>
                  <a:cubicBezTo>
                    <a:pt x="139491" y="499300"/>
                    <a:pt x="144668" y="510677"/>
                    <a:pt x="142740" y="515300"/>
                  </a:cubicBezTo>
                  <a:cubicBezTo>
                    <a:pt x="140807" y="519971"/>
                    <a:pt x="132920" y="535340"/>
                    <a:pt x="128659" y="535441"/>
                  </a:cubicBezTo>
                  <a:cubicBezTo>
                    <a:pt x="125819" y="535581"/>
                    <a:pt x="126205" y="537008"/>
                    <a:pt x="126070" y="540098"/>
                  </a:cubicBezTo>
                  <a:cubicBezTo>
                    <a:pt x="125959" y="543222"/>
                    <a:pt x="122324" y="556266"/>
                    <a:pt x="116019" y="556266"/>
                  </a:cubicBezTo>
                  <a:cubicBezTo>
                    <a:pt x="112138" y="556266"/>
                    <a:pt x="109304" y="553041"/>
                    <a:pt x="102709" y="552622"/>
                  </a:cubicBezTo>
                  <a:cubicBezTo>
                    <a:pt x="96124" y="552231"/>
                    <a:pt x="74691" y="552492"/>
                    <a:pt x="66814" y="543226"/>
                  </a:cubicBezTo>
                  <a:cubicBezTo>
                    <a:pt x="65397" y="548375"/>
                    <a:pt x="66549" y="551851"/>
                    <a:pt x="66549" y="551851"/>
                  </a:cubicBezTo>
                  <a:cubicBezTo>
                    <a:pt x="66549" y="551851"/>
                    <a:pt x="70825" y="558580"/>
                    <a:pt x="71991" y="563348"/>
                  </a:cubicBezTo>
                  <a:cubicBezTo>
                    <a:pt x="73139" y="568130"/>
                    <a:pt x="78557" y="573433"/>
                    <a:pt x="84111" y="575101"/>
                  </a:cubicBezTo>
                  <a:cubicBezTo>
                    <a:pt x="81667" y="579367"/>
                    <a:pt x="79150" y="589240"/>
                    <a:pt x="79150" y="589240"/>
                  </a:cubicBezTo>
                  <a:lnTo>
                    <a:pt x="83855" y="601967"/>
                  </a:lnTo>
                  <a:lnTo>
                    <a:pt x="81276" y="608822"/>
                  </a:lnTo>
                  <a:lnTo>
                    <a:pt x="87466" y="616048"/>
                  </a:lnTo>
                  <a:lnTo>
                    <a:pt x="90315" y="628818"/>
                  </a:lnTo>
                  <a:lnTo>
                    <a:pt x="98206" y="627169"/>
                  </a:lnTo>
                  <a:lnTo>
                    <a:pt x="103485" y="633889"/>
                  </a:lnTo>
                  <a:lnTo>
                    <a:pt x="103620" y="639930"/>
                  </a:lnTo>
                  <a:lnTo>
                    <a:pt x="105298" y="642374"/>
                  </a:lnTo>
                  <a:cubicBezTo>
                    <a:pt x="105298" y="642374"/>
                    <a:pt x="92899" y="653486"/>
                    <a:pt x="92513" y="658938"/>
                  </a:cubicBezTo>
                  <a:cubicBezTo>
                    <a:pt x="87340" y="664602"/>
                    <a:pt x="67720" y="673646"/>
                    <a:pt x="65527" y="674561"/>
                  </a:cubicBezTo>
                  <a:cubicBezTo>
                    <a:pt x="63324" y="675449"/>
                    <a:pt x="61381" y="682786"/>
                    <a:pt x="61381" y="682786"/>
                  </a:cubicBezTo>
                  <a:lnTo>
                    <a:pt x="62046" y="689019"/>
                  </a:lnTo>
                  <a:lnTo>
                    <a:pt x="55707" y="695348"/>
                  </a:lnTo>
                  <a:cubicBezTo>
                    <a:pt x="55707" y="695348"/>
                    <a:pt x="50419" y="704118"/>
                    <a:pt x="51306" y="705949"/>
                  </a:cubicBezTo>
                  <a:cubicBezTo>
                    <a:pt x="52217" y="707767"/>
                    <a:pt x="51571" y="708013"/>
                    <a:pt x="50279" y="709420"/>
                  </a:cubicBezTo>
                  <a:cubicBezTo>
                    <a:pt x="48982" y="710852"/>
                    <a:pt x="50544" y="714448"/>
                    <a:pt x="52091" y="716256"/>
                  </a:cubicBezTo>
                  <a:cubicBezTo>
                    <a:pt x="53644" y="718088"/>
                    <a:pt x="57375" y="727503"/>
                    <a:pt x="57375" y="727503"/>
                  </a:cubicBezTo>
                  <a:cubicBezTo>
                    <a:pt x="57375" y="727503"/>
                    <a:pt x="59578" y="734844"/>
                    <a:pt x="60740" y="736951"/>
                  </a:cubicBezTo>
                  <a:cubicBezTo>
                    <a:pt x="61911" y="739000"/>
                    <a:pt x="62943" y="741329"/>
                    <a:pt x="62943" y="743401"/>
                  </a:cubicBezTo>
                  <a:cubicBezTo>
                    <a:pt x="62943" y="745460"/>
                    <a:pt x="63329" y="751129"/>
                    <a:pt x="68241" y="751529"/>
                  </a:cubicBezTo>
                  <a:cubicBezTo>
                    <a:pt x="70955" y="751640"/>
                    <a:pt x="77395" y="747909"/>
                    <a:pt x="81676" y="752031"/>
                  </a:cubicBezTo>
                  <a:cubicBezTo>
                    <a:pt x="80620" y="753337"/>
                    <a:pt x="79213" y="759676"/>
                    <a:pt x="79213" y="759676"/>
                  </a:cubicBezTo>
                  <a:lnTo>
                    <a:pt x="73269" y="764044"/>
                  </a:lnTo>
                  <a:lnTo>
                    <a:pt x="70685" y="771149"/>
                  </a:lnTo>
                  <a:lnTo>
                    <a:pt x="64881" y="772827"/>
                  </a:lnTo>
                  <a:lnTo>
                    <a:pt x="58040" y="770768"/>
                  </a:lnTo>
                  <a:lnTo>
                    <a:pt x="50674" y="775170"/>
                  </a:lnTo>
                  <a:lnTo>
                    <a:pt x="44210" y="773473"/>
                  </a:lnTo>
                  <a:cubicBezTo>
                    <a:pt x="44210" y="773473"/>
                    <a:pt x="40854" y="775690"/>
                    <a:pt x="40594" y="779301"/>
                  </a:cubicBezTo>
                  <a:cubicBezTo>
                    <a:pt x="40353" y="782936"/>
                    <a:pt x="33484" y="791830"/>
                    <a:pt x="31690" y="792838"/>
                  </a:cubicBezTo>
                  <a:cubicBezTo>
                    <a:pt x="29878" y="793884"/>
                    <a:pt x="19407" y="797909"/>
                    <a:pt x="17744" y="800098"/>
                  </a:cubicBezTo>
                  <a:cubicBezTo>
                    <a:pt x="16042" y="802286"/>
                    <a:pt x="13362" y="806818"/>
                    <a:pt x="13362" y="806818"/>
                  </a:cubicBezTo>
                  <a:lnTo>
                    <a:pt x="11781" y="812482"/>
                  </a:lnTo>
                  <a:lnTo>
                    <a:pt x="303" y="823729"/>
                  </a:lnTo>
                  <a:cubicBezTo>
                    <a:pt x="303" y="823729"/>
                    <a:pt x="-840" y="826424"/>
                    <a:pt x="1315" y="829287"/>
                  </a:cubicBezTo>
                  <a:cubicBezTo>
                    <a:pt x="3523" y="832127"/>
                    <a:pt x="4564" y="833163"/>
                    <a:pt x="4039" y="837154"/>
                  </a:cubicBezTo>
                  <a:cubicBezTo>
                    <a:pt x="3523" y="841170"/>
                    <a:pt x="3923" y="852914"/>
                    <a:pt x="2361" y="855642"/>
                  </a:cubicBezTo>
                  <a:cubicBezTo>
                    <a:pt x="823" y="858342"/>
                    <a:pt x="418" y="859248"/>
                    <a:pt x="1715" y="862208"/>
                  </a:cubicBezTo>
                  <a:cubicBezTo>
                    <a:pt x="2236" y="863384"/>
                    <a:pt x="2187" y="864806"/>
                    <a:pt x="2019" y="866233"/>
                  </a:cubicBezTo>
                  <a:cubicBezTo>
                    <a:pt x="2120" y="866349"/>
                    <a:pt x="2298" y="866445"/>
                    <a:pt x="2347" y="866677"/>
                  </a:cubicBezTo>
                  <a:lnTo>
                    <a:pt x="3532" y="870808"/>
                  </a:lnTo>
                  <a:lnTo>
                    <a:pt x="3412" y="872100"/>
                  </a:lnTo>
                  <a:lnTo>
                    <a:pt x="3041" y="872871"/>
                  </a:lnTo>
                  <a:lnTo>
                    <a:pt x="4646" y="876906"/>
                  </a:lnTo>
                  <a:cubicBezTo>
                    <a:pt x="15136" y="872997"/>
                    <a:pt x="18515" y="877210"/>
                    <a:pt x="28740" y="877248"/>
                  </a:cubicBezTo>
                  <a:lnTo>
                    <a:pt x="28885" y="877282"/>
                  </a:lnTo>
                  <a:lnTo>
                    <a:pt x="35426" y="878449"/>
                  </a:lnTo>
                  <a:lnTo>
                    <a:pt x="35981" y="878671"/>
                  </a:lnTo>
                  <a:lnTo>
                    <a:pt x="42464" y="882223"/>
                  </a:lnTo>
                  <a:lnTo>
                    <a:pt x="46673" y="884301"/>
                  </a:lnTo>
                  <a:lnTo>
                    <a:pt x="48163" y="880488"/>
                  </a:lnTo>
                  <a:lnTo>
                    <a:pt x="48163" y="874906"/>
                  </a:lnTo>
                  <a:lnTo>
                    <a:pt x="49026" y="873349"/>
                  </a:lnTo>
                  <a:lnTo>
                    <a:pt x="50800" y="873247"/>
                  </a:lnTo>
                  <a:lnTo>
                    <a:pt x="51990" y="873864"/>
                  </a:lnTo>
                  <a:lnTo>
                    <a:pt x="52892" y="874853"/>
                  </a:lnTo>
                  <a:lnTo>
                    <a:pt x="54497" y="879254"/>
                  </a:lnTo>
                  <a:lnTo>
                    <a:pt x="59130" y="876309"/>
                  </a:lnTo>
                  <a:lnTo>
                    <a:pt x="60952" y="876284"/>
                  </a:lnTo>
                  <a:lnTo>
                    <a:pt x="61926" y="877904"/>
                  </a:lnTo>
                  <a:lnTo>
                    <a:pt x="61926" y="879037"/>
                  </a:lnTo>
                  <a:lnTo>
                    <a:pt x="61318" y="880444"/>
                  </a:lnTo>
                  <a:lnTo>
                    <a:pt x="55374" y="885766"/>
                  </a:lnTo>
                  <a:lnTo>
                    <a:pt x="55085" y="885974"/>
                  </a:lnTo>
                  <a:lnTo>
                    <a:pt x="53605" y="886861"/>
                  </a:lnTo>
                  <a:cubicBezTo>
                    <a:pt x="56555" y="895307"/>
                    <a:pt x="80384" y="909923"/>
                    <a:pt x="87220" y="920345"/>
                  </a:cubicBezTo>
                  <a:lnTo>
                    <a:pt x="91380" y="926921"/>
                  </a:lnTo>
                  <a:lnTo>
                    <a:pt x="91453" y="926988"/>
                  </a:lnTo>
                  <a:lnTo>
                    <a:pt x="95034" y="933520"/>
                  </a:lnTo>
                  <a:lnTo>
                    <a:pt x="95184" y="933877"/>
                  </a:lnTo>
                  <a:lnTo>
                    <a:pt x="96977" y="939850"/>
                  </a:lnTo>
                  <a:lnTo>
                    <a:pt x="97011" y="940052"/>
                  </a:lnTo>
                  <a:lnTo>
                    <a:pt x="98110" y="946108"/>
                  </a:lnTo>
                  <a:lnTo>
                    <a:pt x="100679" y="949251"/>
                  </a:lnTo>
                  <a:lnTo>
                    <a:pt x="101181" y="946585"/>
                  </a:lnTo>
                  <a:lnTo>
                    <a:pt x="101422" y="945915"/>
                  </a:lnTo>
                  <a:lnTo>
                    <a:pt x="105592" y="939354"/>
                  </a:lnTo>
                  <a:lnTo>
                    <a:pt x="107144" y="938525"/>
                  </a:lnTo>
                  <a:lnTo>
                    <a:pt x="109506" y="938525"/>
                  </a:lnTo>
                  <a:lnTo>
                    <a:pt x="110277" y="938737"/>
                  </a:lnTo>
                  <a:lnTo>
                    <a:pt x="116800" y="941677"/>
                  </a:lnTo>
                  <a:cubicBezTo>
                    <a:pt x="117730" y="942073"/>
                    <a:pt x="118130" y="943142"/>
                    <a:pt x="117730" y="944087"/>
                  </a:cubicBezTo>
                  <a:cubicBezTo>
                    <a:pt x="117320" y="944980"/>
                    <a:pt x="116250" y="945399"/>
                    <a:pt x="115349" y="945004"/>
                  </a:cubicBezTo>
                  <a:lnTo>
                    <a:pt x="111743" y="943437"/>
                  </a:lnTo>
                  <a:lnTo>
                    <a:pt x="106811" y="944772"/>
                  </a:lnTo>
                  <a:lnTo>
                    <a:pt x="105317" y="950326"/>
                  </a:lnTo>
                  <a:lnTo>
                    <a:pt x="105143" y="950749"/>
                  </a:lnTo>
                  <a:lnTo>
                    <a:pt x="103586" y="953579"/>
                  </a:lnTo>
                  <a:lnTo>
                    <a:pt x="103567" y="953768"/>
                  </a:lnTo>
                  <a:lnTo>
                    <a:pt x="103413" y="953936"/>
                  </a:lnTo>
                  <a:lnTo>
                    <a:pt x="101586" y="957316"/>
                  </a:lnTo>
                  <a:lnTo>
                    <a:pt x="99980" y="958237"/>
                  </a:lnTo>
                  <a:lnTo>
                    <a:pt x="99710" y="958237"/>
                  </a:lnTo>
                  <a:lnTo>
                    <a:pt x="94152" y="960247"/>
                  </a:lnTo>
                  <a:lnTo>
                    <a:pt x="91795" y="964918"/>
                  </a:lnTo>
                  <a:lnTo>
                    <a:pt x="93337" y="970539"/>
                  </a:lnTo>
                  <a:lnTo>
                    <a:pt x="97045" y="976352"/>
                  </a:lnTo>
                  <a:lnTo>
                    <a:pt x="102444" y="978532"/>
                  </a:lnTo>
                  <a:lnTo>
                    <a:pt x="103051" y="978941"/>
                  </a:lnTo>
                  <a:lnTo>
                    <a:pt x="109019" y="984870"/>
                  </a:lnTo>
                  <a:lnTo>
                    <a:pt x="109511" y="986409"/>
                  </a:lnTo>
                  <a:lnTo>
                    <a:pt x="108932" y="990593"/>
                  </a:lnTo>
                  <a:lnTo>
                    <a:pt x="108918" y="990660"/>
                  </a:lnTo>
                  <a:lnTo>
                    <a:pt x="108209" y="994599"/>
                  </a:lnTo>
                  <a:lnTo>
                    <a:pt x="111521" y="993939"/>
                  </a:lnTo>
                  <a:lnTo>
                    <a:pt x="113387" y="994695"/>
                  </a:lnTo>
                  <a:lnTo>
                    <a:pt x="113387" y="996710"/>
                  </a:lnTo>
                  <a:lnTo>
                    <a:pt x="112215" y="998475"/>
                  </a:lnTo>
                  <a:lnTo>
                    <a:pt x="111034" y="1000297"/>
                  </a:lnTo>
                  <a:lnTo>
                    <a:pt x="109342" y="1001059"/>
                  </a:lnTo>
                  <a:lnTo>
                    <a:pt x="103591" y="1000543"/>
                  </a:lnTo>
                  <a:lnTo>
                    <a:pt x="104705" y="1004722"/>
                  </a:lnTo>
                  <a:lnTo>
                    <a:pt x="104724" y="1004872"/>
                  </a:lnTo>
                  <a:lnTo>
                    <a:pt x="105842" y="1010252"/>
                  </a:lnTo>
                  <a:lnTo>
                    <a:pt x="106035" y="1010478"/>
                  </a:lnTo>
                  <a:lnTo>
                    <a:pt x="106392" y="1010961"/>
                  </a:lnTo>
                  <a:lnTo>
                    <a:pt x="108759" y="1015680"/>
                  </a:lnTo>
                  <a:lnTo>
                    <a:pt x="108942" y="1016345"/>
                  </a:lnTo>
                  <a:lnTo>
                    <a:pt x="109477" y="1021730"/>
                  </a:lnTo>
                  <a:lnTo>
                    <a:pt x="113898" y="1027274"/>
                  </a:lnTo>
                  <a:lnTo>
                    <a:pt x="114255" y="1027963"/>
                  </a:lnTo>
                  <a:lnTo>
                    <a:pt x="116019" y="1034462"/>
                  </a:lnTo>
                  <a:lnTo>
                    <a:pt x="117624" y="1039831"/>
                  </a:lnTo>
                  <a:lnTo>
                    <a:pt x="122782" y="1043972"/>
                  </a:lnTo>
                  <a:lnTo>
                    <a:pt x="128885" y="1045072"/>
                  </a:lnTo>
                  <a:lnTo>
                    <a:pt x="129719" y="1045448"/>
                  </a:lnTo>
                  <a:lnTo>
                    <a:pt x="136247" y="1050809"/>
                  </a:lnTo>
                  <a:lnTo>
                    <a:pt x="136709" y="1051416"/>
                  </a:lnTo>
                  <a:lnTo>
                    <a:pt x="139607" y="1057157"/>
                  </a:lnTo>
                  <a:lnTo>
                    <a:pt x="144726" y="1063400"/>
                  </a:lnTo>
                  <a:lnTo>
                    <a:pt x="150342" y="1067922"/>
                  </a:lnTo>
                  <a:lnTo>
                    <a:pt x="156667" y="1070766"/>
                  </a:lnTo>
                  <a:lnTo>
                    <a:pt x="157535" y="1071595"/>
                  </a:lnTo>
                  <a:lnTo>
                    <a:pt x="160292" y="1076613"/>
                  </a:lnTo>
                  <a:lnTo>
                    <a:pt x="166752" y="1074825"/>
                  </a:lnTo>
                  <a:lnTo>
                    <a:pt x="173082" y="1073099"/>
                  </a:lnTo>
                  <a:lnTo>
                    <a:pt x="178707" y="1070043"/>
                  </a:lnTo>
                  <a:lnTo>
                    <a:pt x="179739" y="1064943"/>
                  </a:lnTo>
                  <a:lnTo>
                    <a:pt x="180086" y="1064167"/>
                  </a:lnTo>
                  <a:lnTo>
                    <a:pt x="184859" y="1058208"/>
                  </a:lnTo>
                  <a:lnTo>
                    <a:pt x="186131" y="1057519"/>
                  </a:lnTo>
                  <a:lnTo>
                    <a:pt x="187486" y="1058016"/>
                  </a:lnTo>
                  <a:lnTo>
                    <a:pt x="192080" y="1062132"/>
                  </a:lnTo>
                  <a:cubicBezTo>
                    <a:pt x="198877" y="1048142"/>
                    <a:pt x="192596" y="1057818"/>
                    <a:pt x="206065" y="1044156"/>
                  </a:cubicBezTo>
                  <a:lnTo>
                    <a:pt x="206542" y="1042271"/>
                  </a:lnTo>
                  <a:lnTo>
                    <a:pt x="206880" y="1041562"/>
                  </a:lnTo>
                  <a:lnTo>
                    <a:pt x="211652" y="1035613"/>
                  </a:lnTo>
                  <a:lnTo>
                    <a:pt x="212187" y="1035127"/>
                  </a:lnTo>
                  <a:lnTo>
                    <a:pt x="218772" y="1031583"/>
                  </a:lnTo>
                  <a:lnTo>
                    <a:pt x="219259" y="1031390"/>
                  </a:lnTo>
                  <a:lnTo>
                    <a:pt x="225218" y="1030214"/>
                  </a:lnTo>
                  <a:lnTo>
                    <a:pt x="225251" y="1030214"/>
                  </a:lnTo>
                  <a:lnTo>
                    <a:pt x="231783" y="1029033"/>
                  </a:lnTo>
                  <a:lnTo>
                    <a:pt x="231923" y="1029004"/>
                  </a:lnTo>
                  <a:lnTo>
                    <a:pt x="237544" y="1028436"/>
                  </a:lnTo>
                  <a:lnTo>
                    <a:pt x="240822" y="1026796"/>
                  </a:lnTo>
                  <a:lnTo>
                    <a:pt x="241193" y="1026662"/>
                  </a:lnTo>
                  <a:lnTo>
                    <a:pt x="248333" y="1024858"/>
                  </a:lnTo>
                  <a:lnTo>
                    <a:pt x="249095" y="1024858"/>
                  </a:lnTo>
                  <a:lnTo>
                    <a:pt x="255631" y="1026054"/>
                  </a:lnTo>
                  <a:lnTo>
                    <a:pt x="256123" y="1026194"/>
                  </a:lnTo>
                  <a:lnTo>
                    <a:pt x="261855" y="1029067"/>
                  </a:lnTo>
                  <a:lnTo>
                    <a:pt x="267977" y="1030161"/>
                  </a:lnTo>
                  <a:lnTo>
                    <a:pt x="273593" y="1030161"/>
                  </a:lnTo>
                  <a:lnTo>
                    <a:pt x="278727" y="1029168"/>
                  </a:lnTo>
                  <a:lnTo>
                    <a:pt x="283673" y="1023094"/>
                  </a:lnTo>
                  <a:lnTo>
                    <a:pt x="285086" y="1022458"/>
                  </a:lnTo>
                  <a:lnTo>
                    <a:pt x="290495" y="1022458"/>
                  </a:lnTo>
                  <a:lnTo>
                    <a:pt x="296376" y="1018698"/>
                  </a:lnTo>
                  <a:lnTo>
                    <a:pt x="301505" y="1013000"/>
                  </a:lnTo>
                  <a:lnTo>
                    <a:pt x="302595" y="1011336"/>
                  </a:lnTo>
                  <a:lnTo>
                    <a:pt x="302980" y="1010931"/>
                  </a:lnTo>
                  <a:lnTo>
                    <a:pt x="308934" y="1006188"/>
                  </a:lnTo>
                  <a:lnTo>
                    <a:pt x="310756" y="1005918"/>
                  </a:lnTo>
                  <a:lnTo>
                    <a:pt x="316584" y="1008222"/>
                  </a:lnTo>
                  <a:lnTo>
                    <a:pt x="322904" y="1009943"/>
                  </a:lnTo>
                  <a:lnTo>
                    <a:pt x="328699" y="1010522"/>
                  </a:lnTo>
                  <a:lnTo>
                    <a:pt x="335226" y="1011120"/>
                  </a:lnTo>
                  <a:lnTo>
                    <a:pt x="335284" y="1011158"/>
                  </a:lnTo>
                  <a:lnTo>
                    <a:pt x="339628" y="1011683"/>
                  </a:lnTo>
                  <a:lnTo>
                    <a:pt x="345750" y="1009442"/>
                  </a:lnTo>
                  <a:lnTo>
                    <a:pt x="347046" y="1009471"/>
                  </a:lnTo>
                  <a:lnTo>
                    <a:pt x="352990" y="1011872"/>
                  </a:lnTo>
                  <a:lnTo>
                    <a:pt x="353092" y="1011896"/>
                  </a:lnTo>
                  <a:lnTo>
                    <a:pt x="359098" y="1014610"/>
                  </a:lnTo>
                  <a:lnTo>
                    <a:pt x="364449" y="1013563"/>
                  </a:lnTo>
                  <a:lnTo>
                    <a:pt x="364657" y="1013510"/>
                  </a:lnTo>
                  <a:lnTo>
                    <a:pt x="371198" y="1012908"/>
                  </a:lnTo>
                  <a:lnTo>
                    <a:pt x="372278" y="1013183"/>
                  </a:lnTo>
                  <a:lnTo>
                    <a:pt x="377957" y="1016567"/>
                  </a:lnTo>
                  <a:lnTo>
                    <a:pt x="381192" y="1017092"/>
                  </a:lnTo>
                  <a:lnTo>
                    <a:pt x="381505" y="1017170"/>
                  </a:lnTo>
                  <a:lnTo>
                    <a:pt x="387651" y="1019406"/>
                  </a:lnTo>
                  <a:lnTo>
                    <a:pt x="393186" y="1018866"/>
                  </a:lnTo>
                  <a:lnTo>
                    <a:pt x="393981" y="1018973"/>
                  </a:lnTo>
                  <a:cubicBezTo>
                    <a:pt x="400899" y="1020356"/>
                    <a:pt x="406293" y="1024993"/>
                    <a:pt x="411813" y="1029004"/>
                  </a:cubicBezTo>
                  <a:lnTo>
                    <a:pt x="416735" y="1029004"/>
                  </a:lnTo>
                  <a:lnTo>
                    <a:pt x="422317" y="1026194"/>
                  </a:lnTo>
                  <a:lnTo>
                    <a:pt x="423146" y="1026011"/>
                  </a:lnTo>
                  <a:lnTo>
                    <a:pt x="428989" y="1026011"/>
                  </a:lnTo>
                  <a:lnTo>
                    <a:pt x="435473" y="1025408"/>
                  </a:lnTo>
                  <a:lnTo>
                    <a:pt x="435950" y="1025427"/>
                  </a:lnTo>
                  <a:cubicBezTo>
                    <a:pt x="444189" y="1026705"/>
                    <a:pt x="452196" y="1028855"/>
                    <a:pt x="460353" y="1030214"/>
                  </a:cubicBezTo>
                  <a:lnTo>
                    <a:pt x="460555" y="1030224"/>
                  </a:lnTo>
                  <a:lnTo>
                    <a:pt x="466412" y="1032008"/>
                  </a:lnTo>
                  <a:lnTo>
                    <a:pt x="472289" y="1033160"/>
                  </a:lnTo>
                  <a:lnTo>
                    <a:pt x="473421" y="1033917"/>
                  </a:lnTo>
                  <a:lnTo>
                    <a:pt x="477090" y="1039195"/>
                  </a:lnTo>
                  <a:lnTo>
                    <a:pt x="482243" y="1039716"/>
                  </a:lnTo>
                  <a:lnTo>
                    <a:pt x="483087" y="1040015"/>
                  </a:lnTo>
                  <a:lnTo>
                    <a:pt x="488660" y="1043915"/>
                  </a:lnTo>
                  <a:lnTo>
                    <a:pt x="494358" y="1044431"/>
                  </a:lnTo>
                  <a:lnTo>
                    <a:pt x="499444" y="1042878"/>
                  </a:lnTo>
                  <a:lnTo>
                    <a:pt x="504443" y="1036814"/>
                  </a:lnTo>
                  <a:lnTo>
                    <a:pt x="504443" y="1036765"/>
                  </a:lnTo>
                  <a:lnTo>
                    <a:pt x="509177" y="1030841"/>
                  </a:lnTo>
                  <a:lnTo>
                    <a:pt x="510271" y="1030209"/>
                  </a:lnTo>
                  <a:lnTo>
                    <a:pt x="516205" y="1029033"/>
                  </a:lnTo>
                  <a:lnTo>
                    <a:pt x="516726" y="1028999"/>
                  </a:lnTo>
                  <a:lnTo>
                    <a:pt x="523272" y="1029587"/>
                  </a:lnTo>
                  <a:lnTo>
                    <a:pt x="524102" y="1029886"/>
                  </a:lnTo>
                  <a:lnTo>
                    <a:pt x="525350" y="1030706"/>
                  </a:lnTo>
                  <a:lnTo>
                    <a:pt x="530658" y="1030156"/>
                  </a:lnTo>
                  <a:lnTo>
                    <a:pt x="530841" y="1030156"/>
                  </a:lnTo>
                  <a:lnTo>
                    <a:pt x="536795" y="1030156"/>
                  </a:lnTo>
                  <a:lnTo>
                    <a:pt x="538033" y="1030653"/>
                  </a:lnTo>
                  <a:lnTo>
                    <a:pt x="544551" y="1036607"/>
                  </a:lnTo>
                  <a:lnTo>
                    <a:pt x="544980" y="1037190"/>
                  </a:lnTo>
                  <a:lnTo>
                    <a:pt x="547906" y="1043616"/>
                  </a:lnTo>
                  <a:lnTo>
                    <a:pt x="551363" y="1049025"/>
                  </a:lnTo>
                  <a:lnTo>
                    <a:pt x="556309" y="1048118"/>
                  </a:lnTo>
                  <a:lnTo>
                    <a:pt x="561660" y="1044353"/>
                  </a:lnTo>
                  <a:lnTo>
                    <a:pt x="565656" y="1038650"/>
                  </a:lnTo>
                  <a:lnTo>
                    <a:pt x="565931" y="1038375"/>
                  </a:lnTo>
                  <a:lnTo>
                    <a:pt x="571841" y="1033039"/>
                  </a:lnTo>
                  <a:lnTo>
                    <a:pt x="577751" y="1027110"/>
                  </a:lnTo>
                  <a:lnTo>
                    <a:pt x="578383" y="1026700"/>
                  </a:lnTo>
                  <a:lnTo>
                    <a:pt x="583497" y="1024665"/>
                  </a:lnTo>
                  <a:lnTo>
                    <a:pt x="585045" y="1019546"/>
                  </a:lnTo>
                  <a:cubicBezTo>
                    <a:pt x="592368" y="1006853"/>
                    <a:pt x="595279" y="1001945"/>
                    <a:pt x="601406" y="988505"/>
                  </a:cubicBezTo>
                  <a:lnTo>
                    <a:pt x="598851" y="983376"/>
                  </a:lnTo>
                  <a:lnTo>
                    <a:pt x="599256" y="981270"/>
                  </a:lnTo>
                  <a:lnTo>
                    <a:pt x="601484" y="981077"/>
                  </a:lnTo>
                  <a:lnTo>
                    <a:pt x="605735" y="983916"/>
                  </a:lnTo>
                  <a:lnTo>
                    <a:pt x="611096" y="979520"/>
                  </a:lnTo>
                  <a:lnTo>
                    <a:pt x="616317" y="973099"/>
                  </a:lnTo>
                  <a:lnTo>
                    <a:pt x="616799" y="972717"/>
                  </a:lnTo>
                  <a:lnTo>
                    <a:pt x="622714" y="969141"/>
                  </a:lnTo>
                  <a:lnTo>
                    <a:pt x="624478" y="967998"/>
                  </a:lnTo>
                  <a:lnTo>
                    <a:pt x="625163" y="967718"/>
                  </a:lnTo>
                  <a:lnTo>
                    <a:pt x="631526" y="966547"/>
                  </a:lnTo>
                  <a:lnTo>
                    <a:pt x="634303" y="965438"/>
                  </a:lnTo>
                  <a:lnTo>
                    <a:pt x="634462" y="965366"/>
                  </a:lnTo>
                  <a:lnTo>
                    <a:pt x="639837" y="963746"/>
                  </a:lnTo>
                  <a:lnTo>
                    <a:pt x="644243" y="957706"/>
                  </a:lnTo>
                  <a:lnTo>
                    <a:pt x="645183" y="957045"/>
                  </a:lnTo>
                  <a:lnTo>
                    <a:pt x="650809" y="955368"/>
                  </a:lnTo>
                  <a:lnTo>
                    <a:pt x="656464" y="950851"/>
                  </a:lnTo>
                  <a:lnTo>
                    <a:pt x="657587" y="950379"/>
                  </a:lnTo>
                  <a:lnTo>
                    <a:pt x="663878" y="950379"/>
                  </a:lnTo>
                  <a:lnTo>
                    <a:pt x="669566" y="948715"/>
                  </a:lnTo>
                  <a:lnTo>
                    <a:pt x="671201" y="948966"/>
                  </a:lnTo>
                  <a:lnTo>
                    <a:pt x="677684" y="953835"/>
                  </a:lnTo>
                  <a:lnTo>
                    <a:pt x="682770" y="952842"/>
                  </a:lnTo>
                  <a:lnTo>
                    <a:pt x="689259" y="951073"/>
                  </a:lnTo>
                  <a:lnTo>
                    <a:pt x="689741" y="951054"/>
                  </a:lnTo>
                  <a:lnTo>
                    <a:pt x="695680" y="951054"/>
                  </a:lnTo>
                  <a:lnTo>
                    <a:pt x="696755" y="951357"/>
                  </a:lnTo>
                  <a:lnTo>
                    <a:pt x="702824" y="955754"/>
                  </a:lnTo>
                  <a:lnTo>
                    <a:pt x="708094" y="955754"/>
                  </a:lnTo>
                  <a:lnTo>
                    <a:pt x="713782" y="955214"/>
                  </a:lnTo>
                  <a:lnTo>
                    <a:pt x="719581" y="953478"/>
                  </a:lnTo>
                  <a:lnTo>
                    <a:pt x="719943" y="953392"/>
                  </a:lnTo>
                  <a:lnTo>
                    <a:pt x="725260" y="952929"/>
                  </a:lnTo>
                  <a:lnTo>
                    <a:pt x="726562" y="948648"/>
                  </a:lnTo>
                  <a:lnTo>
                    <a:pt x="725969" y="946681"/>
                  </a:lnTo>
                  <a:lnTo>
                    <a:pt x="724720" y="949434"/>
                  </a:lnTo>
                  <a:lnTo>
                    <a:pt x="723443" y="950451"/>
                  </a:lnTo>
                  <a:lnTo>
                    <a:pt x="721857" y="950012"/>
                  </a:lnTo>
                  <a:lnTo>
                    <a:pt x="715296" y="944068"/>
                  </a:lnTo>
                  <a:lnTo>
                    <a:pt x="714814" y="943340"/>
                  </a:lnTo>
                  <a:lnTo>
                    <a:pt x="712437" y="936784"/>
                  </a:lnTo>
                  <a:lnTo>
                    <a:pt x="712991" y="934754"/>
                  </a:lnTo>
                  <a:lnTo>
                    <a:pt x="719543" y="929413"/>
                  </a:lnTo>
                  <a:lnTo>
                    <a:pt x="719745" y="929249"/>
                  </a:lnTo>
                  <a:lnTo>
                    <a:pt x="724821" y="926227"/>
                  </a:lnTo>
                  <a:lnTo>
                    <a:pt x="724821" y="921286"/>
                  </a:lnTo>
                  <a:lnTo>
                    <a:pt x="724952" y="920635"/>
                  </a:lnTo>
                  <a:lnTo>
                    <a:pt x="726157" y="917655"/>
                  </a:lnTo>
                  <a:lnTo>
                    <a:pt x="726340" y="917255"/>
                  </a:lnTo>
                  <a:lnTo>
                    <a:pt x="731117" y="910723"/>
                  </a:lnTo>
                  <a:lnTo>
                    <a:pt x="731247" y="910578"/>
                  </a:lnTo>
                  <a:lnTo>
                    <a:pt x="736434" y="904809"/>
                  </a:lnTo>
                  <a:lnTo>
                    <a:pt x="739182" y="899298"/>
                  </a:lnTo>
                  <a:lnTo>
                    <a:pt x="740344" y="893012"/>
                  </a:lnTo>
                  <a:lnTo>
                    <a:pt x="740402" y="892737"/>
                  </a:lnTo>
                  <a:lnTo>
                    <a:pt x="742774" y="886147"/>
                  </a:lnTo>
                  <a:lnTo>
                    <a:pt x="742861" y="885998"/>
                  </a:lnTo>
                  <a:lnTo>
                    <a:pt x="745840" y="880015"/>
                  </a:lnTo>
                  <a:lnTo>
                    <a:pt x="746534" y="879234"/>
                  </a:lnTo>
                  <a:lnTo>
                    <a:pt x="752473" y="875711"/>
                  </a:lnTo>
                  <a:lnTo>
                    <a:pt x="753268" y="875455"/>
                  </a:lnTo>
                  <a:lnTo>
                    <a:pt x="758292" y="874978"/>
                  </a:lnTo>
                  <a:lnTo>
                    <a:pt x="758759" y="869964"/>
                  </a:lnTo>
                  <a:lnTo>
                    <a:pt x="759347" y="863953"/>
                  </a:lnTo>
                  <a:lnTo>
                    <a:pt x="759815" y="862969"/>
                  </a:lnTo>
                  <a:lnTo>
                    <a:pt x="765161" y="856987"/>
                  </a:lnTo>
                  <a:lnTo>
                    <a:pt x="766188" y="856433"/>
                  </a:lnTo>
                  <a:lnTo>
                    <a:pt x="771794" y="855406"/>
                  </a:lnTo>
                  <a:lnTo>
                    <a:pt x="774383" y="849736"/>
                  </a:lnTo>
                  <a:lnTo>
                    <a:pt x="774836" y="849114"/>
                  </a:lnTo>
                  <a:lnTo>
                    <a:pt x="780756" y="843764"/>
                  </a:lnTo>
                  <a:lnTo>
                    <a:pt x="781132" y="843518"/>
                  </a:lnTo>
                  <a:lnTo>
                    <a:pt x="787650" y="839984"/>
                  </a:lnTo>
                  <a:lnTo>
                    <a:pt x="788161" y="839791"/>
                  </a:lnTo>
                  <a:cubicBezTo>
                    <a:pt x="796674" y="838524"/>
                    <a:pt x="804190" y="835920"/>
                    <a:pt x="812086" y="834609"/>
                  </a:cubicBezTo>
                  <a:lnTo>
                    <a:pt x="813571" y="829726"/>
                  </a:lnTo>
                  <a:lnTo>
                    <a:pt x="814352" y="828723"/>
                  </a:lnTo>
                  <a:lnTo>
                    <a:pt x="820874" y="824582"/>
                  </a:lnTo>
                  <a:lnTo>
                    <a:pt x="821708" y="824249"/>
                  </a:lnTo>
                  <a:lnTo>
                    <a:pt x="828457" y="823714"/>
                  </a:lnTo>
                  <a:lnTo>
                    <a:pt x="834599" y="820374"/>
                  </a:lnTo>
                  <a:lnTo>
                    <a:pt x="840470" y="816271"/>
                  </a:lnTo>
                  <a:lnTo>
                    <a:pt x="840875" y="816020"/>
                  </a:lnTo>
                  <a:lnTo>
                    <a:pt x="845566" y="814324"/>
                  </a:lnTo>
                  <a:cubicBezTo>
                    <a:pt x="836204" y="787921"/>
                    <a:pt x="830274" y="807869"/>
                    <a:pt x="815619" y="784267"/>
                  </a:cubicBezTo>
                  <a:cubicBezTo>
                    <a:pt x="812452" y="778067"/>
                    <a:pt x="808195" y="772205"/>
                    <a:pt x="806981" y="765095"/>
                  </a:cubicBezTo>
                  <a:lnTo>
                    <a:pt x="805800" y="758620"/>
                  </a:lnTo>
                  <a:lnTo>
                    <a:pt x="804599" y="752628"/>
                  </a:lnTo>
                  <a:lnTo>
                    <a:pt x="804599" y="751915"/>
                  </a:lnTo>
                  <a:lnTo>
                    <a:pt x="805159" y="749181"/>
                  </a:lnTo>
                  <a:lnTo>
                    <a:pt x="805159" y="742992"/>
                  </a:lnTo>
                  <a:lnTo>
                    <a:pt x="803457" y="736816"/>
                  </a:lnTo>
                  <a:lnTo>
                    <a:pt x="801099" y="730327"/>
                  </a:lnTo>
                  <a:lnTo>
                    <a:pt x="801022" y="729942"/>
                  </a:lnTo>
                  <a:lnTo>
                    <a:pt x="800425" y="725781"/>
                  </a:lnTo>
                  <a:lnTo>
                    <a:pt x="800425" y="725680"/>
                  </a:lnTo>
                  <a:lnTo>
                    <a:pt x="799808" y="719731"/>
                  </a:lnTo>
                  <a:lnTo>
                    <a:pt x="799215" y="713200"/>
                  </a:lnTo>
                  <a:lnTo>
                    <a:pt x="799398" y="712216"/>
                  </a:lnTo>
                  <a:lnTo>
                    <a:pt x="801654" y="707680"/>
                  </a:lnTo>
                  <a:lnTo>
                    <a:pt x="802816" y="701963"/>
                  </a:lnTo>
                  <a:lnTo>
                    <a:pt x="803134" y="701259"/>
                  </a:lnTo>
                  <a:lnTo>
                    <a:pt x="807819" y="694770"/>
                  </a:lnTo>
                  <a:lnTo>
                    <a:pt x="811372" y="688874"/>
                  </a:lnTo>
                  <a:lnTo>
                    <a:pt x="811638" y="688537"/>
                  </a:lnTo>
                  <a:lnTo>
                    <a:pt x="817056" y="683128"/>
                  </a:lnTo>
                  <a:lnTo>
                    <a:pt x="817056" y="682689"/>
                  </a:lnTo>
                  <a:lnTo>
                    <a:pt x="818068" y="681046"/>
                  </a:lnTo>
                  <a:lnTo>
                    <a:pt x="818570" y="680829"/>
                  </a:lnTo>
                  <a:lnTo>
                    <a:pt x="820117" y="675574"/>
                  </a:lnTo>
                  <a:lnTo>
                    <a:pt x="820445" y="675020"/>
                  </a:lnTo>
                  <a:lnTo>
                    <a:pt x="825155" y="669080"/>
                  </a:lnTo>
                  <a:lnTo>
                    <a:pt x="829903" y="662553"/>
                  </a:lnTo>
                  <a:lnTo>
                    <a:pt x="830231" y="662250"/>
                  </a:lnTo>
                  <a:lnTo>
                    <a:pt x="836628" y="656980"/>
                  </a:lnTo>
                  <a:lnTo>
                    <a:pt x="841863" y="650569"/>
                  </a:lnTo>
                  <a:lnTo>
                    <a:pt x="843854" y="649986"/>
                  </a:lnTo>
                  <a:lnTo>
                    <a:pt x="844057" y="650034"/>
                  </a:lnTo>
                  <a:lnTo>
                    <a:pt x="845161" y="647513"/>
                  </a:lnTo>
                  <a:lnTo>
                    <a:pt x="847528" y="641010"/>
                  </a:lnTo>
                  <a:lnTo>
                    <a:pt x="847721" y="640624"/>
                  </a:lnTo>
                  <a:lnTo>
                    <a:pt x="848906" y="638802"/>
                  </a:lnTo>
                  <a:lnTo>
                    <a:pt x="849278" y="638406"/>
                  </a:lnTo>
                  <a:lnTo>
                    <a:pt x="855241" y="633644"/>
                  </a:lnTo>
                  <a:lnTo>
                    <a:pt x="855496" y="633480"/>
                  </a:lnTo>
                  <a:lnTo>
                    <a:pt x="861522" y="630178"/>
                  </a:lnTo>
                  <a:lnTo>
                    <a:pt x="864265" y="624735"/>
                  </a:lnTo>
                  <a:lnTo>
                    <a:pt x="864545" y="624335"/>
                  </a:lnTo>
                  <a:lnTo>
                    <a:pt x="870489" y="617779"/>
                  </a:lnTo>
                  <a:lnTo>
                    <a:pt x="870759" y="617513"/>
                  </a:lnTo>
                  <a:lnTo>
                    <a:pt x="877199" y="612881"/>
                  </a:lnTo>
                  <a:lnTo>
                    <a:pt x="882989" y="607077"/>
                  </a:lnTo>
                  <a:lnTo>
                    <a:pt x="888268" y="600607"/>
                  </a:lnTo>
                  <a:cubicBezTo>
                    <a:pt x="893021" y="594548"/>
                    <a:pt x="905497" y="579709"/>
                    <a:pt x="908302" y="573553"/>
                  </a:cubicBezTo>
                  <a:lnTo>
                    <a:pt x="908572" y="573149"/>
                  </a:lnTo>
                  <a:lnTo>
                    <a:pt x="914550" y="566602"/>
                  </a:lnTo>
                  <a:lnTo>
                    <a:pt x="915206" y="566139"/>
                  </a:lnTo>
                  <a:lnTo>
                    <a:pt x="921145" y="563772"/>
                  </a:lnTo>
                  <a:lnTo>
                    <a:pt x="922909" y="563989"/>
                  </a:lnTo>
                  <a:lnTo>
                    <a:pt x="929080" y="568477"/>
                  </a:lnTo>
                  <a:lnTo>
                    <a:pt x="932377" y="564857"/>
                  </a:lnTo>
                  <a:lnTo>
                    <a:pt x="932690" y="564568"/>
                  </a:lnTo>
                  <a:lnTo>
                    <a:pt x="938629" y="560427"/>
                  </a:lnTo>
                  <a:lnTo>
                    <a:pt x="939160" y="560133"/>
                  </a:lnTo>
                  <a:lnTo>
                    <a:pt x="944082" y="558691"/>
                  </a:lnTo>
                  <a:lnTo>
                    <a:pt x="944781" y="555480"/>
                  </a:lnTo>
                  <a:lnTo>
                    <a:pt x="943335" y="554420"/>
                  </a:lnTo>
                  <a:lnTo>
                    <a:pt x="943031" y="554092"/>
                  </a:lnTo>
                  <a:lnTo>
                    <a:pt x="938731" y="548741"/>
                  </a:lnTo>
                  <a:lnTo>
                    <a:pt x="933544" y="548201"/>
                  </a:lnTo>
                  <a:cubicBezTo>
                    <a:pt x="932753" y="548129"/>
                    <a:pt x="932093" y="547546"/>
                    <a:pt x="931938" y="546750"/>
                  </a:cubicBezTo>
                  <a:lnTo>
                    <a:pt x="930738" y="540797"/>
                  </a:lnTo>
                  <a:lnTo>
                    <a:pt x="931447" y="538989"/>
                  </a:lnTo>
                  <a:lnTo>
                    <a:pt x="937906" y="534274"/>
                  </a:lnTo>
                  <a:lnTo>
                    <a:pt x="943764" y="529010"/>
                  </a:lnTo>
                  <a:lnTo>
                    <a:pt x="949703" y="523114"/>
                  </a:lnTo>
                  <a:lnTo>
                    <a:pt x="949905" y="522892"/>
                  </a:lnTo>
                  <a:lnTo>
                    <a:pt x="956336" y="518202"/>
                  </a:lnTo>
                  <a:lnTo>
                    <a:pt x="962188" y="512388"/>
                  </a:lnTo>
                  <a:lnTo>
                    <a:pt x="962796" y="511954"/>
                  </a:lnTo>
                  <a:lnTo>
                    <a:pt x="968749" y="509592"/>
                  </a:lnTo>
                  <a:lnTo>
                    <a:pt x="969593" y="509491"/>
                  </a:lnTo>
                  <a:lnTo>
                    <a:pt x="975614" y="510012"/>
                  </a:lnTo>
                  <a:lnTo>
                    <a:pt x="977533" y="509071"/>
                  </a:lnTo>
                  <a:lnTo>
                    <a:pt x="978169" y="508874"/>
                  </a:lnTo>
                  <a:lnTo>
                    <a:pt x="984397" y="508329"/>
                  </a:lnTo>
                  <a:lnTo>
                    <a:pt x="990052" y="505519"/>
                  </a:lnTo>
                  <a:lnTo>
                    <a:pt x="990404" y="505360"/>
                  </a:lnTo>
                  <a:lnTo>
                    <a:pt x="995181" y="504183"/>
                  </a:lnTo>
                  <a:lnTo>
                    <a:pt x="995764" y="504116"/>
                  </a:lnTo>
                  <a:lnTo>
                    <a:pt x="1001959" y="504685"/>
                  </a:lnTo>
                  <a:cubicBezTo>
                    <a:pt x="1008486" y="503422"/>
                    <a:pt x="1013948" y="499517"/>
                    <a:pt x="1020606" y="498770"/>
                  </a:cubicBezTo>
                  <a:cubicBezTo>
                    <a:pt x="1028864" y="498529"/>
                    <a:pt x="1034904" y="499763"/>
                    <a:pt x="1042863" y="496408"/>
                  </a:cubicBezTo>
                  <a:lnTo>
                    <a:pt x="1048812" y="495207"/>
                  </a:lnTo>
                  <a:lnTo>
                    <a:pt x="1049173" y="495207"/>
                  </a:lnTo>
                  <a:lnTo>
                    <a:pt x="1054876" y="495207"/>
                  </a:lnTo>
                  <a:lnTo>
                    <a:pt x="1061210" y="493496"/>
                  </a:lnTo>
                  <a:lnTo>
                    <a:pt x="1061495" y="493385"/>
                  </a:lnTo>
                  <a:cubicBezTo>
                    <a:pt x="1070153" y="491543"/>
                    <a:pt x="1076777" y="495328"/>
                    <a:pt x="1084745" y="488535"/>
                  </a:cubicBezTo>
                  <a:lnTo>
                    <a:pt x="1088071" y="482967"/>
                  </a:lnTo>
                  <a:lnTo>
                    <a:pt x="1088303" y="482707"/>
                  </a:lnTo>
                  <a:lnTo>
                    <a:pt x="1093553" y="476850"/>
                  </a:lnTo>
                  <a:lnTo>
                    <a:pt x="1097641" y="470458"/>
                  </a:lnTo>
                  <a:lnTo>
                    <a:pt x="1098691" y="469648"/>
                  </a:lnTo>
                  <a:cubicBezTo>
                    <a:pt x="1111765" y="466833"/>
                    <a:pt x="1112667" y="464832"/>
                    <a:pt x="1123330" y="459669"/>
                  </a:cubicBezTo>
                  <a:cubicBezTo>
                    <a:pt x="1130474" y="454949"/>
                    <a:pt x="1140058" y="454361"/>
                    <a:pt x="1147896" y="450654"/>
                  </a:cubicBezTo>
                  <a:lnTo>
                    <a:pt x="1153349" y="448523"/>
                  </a:lnTo>
                  <a:lnTo>
                    <a:pt x="1154833" y="446528"/>
                  </a:lnTo>
                  <a:lnTo>
                    <a:pt x="1155484" y="446017"/>
                  </a:lnTo>
                  <a:lnTo>
                    <a:pt x="1161433" y="443023"/>
                  </a:lnTo>
                  <a:lnTo>
                    <a:pt x="1161910" y="442883"/>
                  </a:lnTo>
                  <a:lnTo>
                    <a:pt x="1168004" y="441745"/>
                  </a:lnTo>
                  <a:lnTo>
                    <a:pt x="1173596" y="437286"/>
                  </a:lnTo>
                  <a:lnTo>
                    <a:pt x="1174049" y="437016"/>
                  </a:lnTo>
                  <a:lnTo>
                    <a:pt x="1179573" y="434823"/>
                  </a:lnTo>
                  <a:lnTo>
                    <a:pt x="1184023" y="429246"/>
                  </a:lnTo>
                  <a:lnTo>
                    <a:pt x="1184635" y="428744"/>
                  </a:lnTo>
                  <a:lnTo>
                    <a:pt x="1190420" y="425842"/>
                  </a:lnTo>
                  <a:lnTo>
                    <a:pt x="1195380" y="422000"/>
                  </a:lnTo>
                  <a:lnTo>
                    <a:pt x="1199112" y="416152"/>
                  </a:lnTo>
                  <a:lnTo>
                    <a:pt x="1199112" y="410204"/>
                  </a:lnTo>
                  <a:cubicBezTo>
                    <a:pt x="1195911" y="394589"/>
                    <a:pt x="1207225" y="404785"/>
                    <a:pt x="1192363" y="386886"/>
                  </a:cubicBezTo>
                  <a:lnTo>
                    <a:pt x="1191982" y="385579"/>
                  </a:lnTo>
                  <a:lnTo>
                    <a:pt x="1192565" y="379043"/>
                  </a:lnTo>
                  <a:lnTo>
                    <a:pt x="1192744" y="378344"/>
                  </a:lnTo>
                  <a:lnTo>
                    <a:pt x="1195723" y="372429"/>
                  </a:lnTo>
                  <a:cubicBezTo>
                    <a:pt x="1196123" y="371628"/>
                    <a:pt x="1197015" y="371228"/>
                    <a:pt x="1197897" y="371493"/>
                  </a:cubicBezTo>
                  <a:lnTo>
                    <a:pt x="1203658" y="373229"/>
                  </a:lnTo>
                  <a:lnTo>
                    <a:pt x="1208271" y="373706"/>
                  </a:lnTo>
                  <a:lnTo>
                    <a:pt x="1211014" y="369165"/>
                  </a:lnTo>
                  <a:lnTo>
                    <a:pt x="1211014" y="364344"/>
                  </a:lnTo>
                  <a:lnTo>
                    <a:pt x="1206198" y="362435"/>
                  </a:lnTo>
                  <a:lnTo>
                    <a:pt x="1205649" y="362108"/>
                  </a:lnTo>
                  <a:lnTo>
                    <a:pt x="1199714" y="356713"/>
                  </a:lnTo>
                  <a:lnTo>
                    <a:pt x="1199126" y="355021"/>
                  </a:lnTo>
                  <a:lnTo>
                    <a:pt x="1200317" y="349067"/>
                  </a:lnTo>
                  <a:lnTo>
                    <a:pt x="1200621" y="348576"/>
                  </a:lnTo>
                  <a:lnTo>
                    <a:pt x="1198904" y="348633"/>
                  </a:lnTo>
                  <a:lnTo>
                    <a:pt x="1192401" y="34639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39" name="Freihandform: Form 638">
              <a:extLst>
                <a:ext uri="{FF2B5EF4-FFF2-40B4-BE49-F238E27FC236}">
                  <a16:creationId xmlns:a16="http://schemas.microsoft.com/office/drawing/2014/main" id="{3BF4E56D-572A-0463-8E90-C50E25C49254}"/>
                </a:ext>
              </a:extLst>
            </p:cNvPr>
            <p:cNvSpPr/>
            <p:nvPr/>
          </p:nvSpPr>
          <p:spPr>
            <a:xfrm>
              <a:off x="4688084" y="3716341"/>
              <a:ext cx="403179" cy="455629"/>
            </a:xfrm>
            <a:custGeom>
              <a:avLst/>
              <a:gdLst>
                <a:gd name="connsiteX0" fmla="*/ 316099 w 316098"/>
                <a:gd name="connsiteY0" fmla="*/ 37105 h 356756"/>
                <a:gd name="connsiteX1" fmla="*/ 315390 w 316098"/>
                <a:gd name="connsiteY1" fmla="*/ 30727 h 356756"/>
                <a:gd name="connsiteX2" fmla="*/ 315106 w 316098"/>
                <a:gd name="connsiteY2" fmla="*/ 30814 h 356756"/>
                <a:gd name="connsiteX3" fmla="*/ 309133 w 316098"/>
                <a:gd name="connsiteY3" fmla="*/ 29609 h 356756"/>
                <a:gd name="connsiteX4" fmla="*/ 308029 w 316098"/>
                <a:gd name="connsiteY4" fmla="*/ 28905 h 356756"/>
                <a:gd name="connsiteX5" fmla="*/ 304158 w 316098"/>
                <a:gd name="connsiteY5" fmla="*/ 23376 h 356756"/>
                <a:gd name="connsiteX6" fmla="*/ 298768 w 316098"/>
                <a:gd name="connsiteY6" fmla="*/ 21235 h 356756"/>
                <a:gd name="connsiteX7" fmla="*/ 295240 w 316098"/>
                <a:gd name="connsiteY7" fmla="*/ 20064 h 356756"/>
                <a:gd name="connsiteX8" fmla="*/ 294994 w 316098"/>
                <a:gd name="connsiteY8" fmla="*/ 19958 h 356756"/>
                <a:gd name="connsiteX9" fmla="*/ 293808 w 316098"/>
                <a:gd name="connsiteY9" fmla="*/ 19351 h 356756"/>
                <a:gd name="connsiteX10" fmla="*/ 292959 w 316098"/>
                <a:gd name="connsiteY10" fmla="*/ 18473 h 356756"/>
                <a:gd name="connsiteX11" fmla="*/ 290014 w 316098"/>
                <a:gd name="connsiteY11" fmla="*/ 11941 h 356756"/>
                <a:gd name="connsiteX12" fmla="*/ 289918 w 316098"/>
                <a:gd name="connsiteY12" fmla="*/ 11695 h 356756"/>
                <a:gd name="connsiteX13" fmla="*/ 288283 w 316098"/>
                <a:gd name="connsiteY13" fmla="*/ 6262 h 356756"/>
                <a:gd name="connsiteX14" fmla="*/ 283019 w 316098"/>
                <a:gd name="connsiteY14" fmla="*/ 1509 h 356756"/>
                <a:gd name="connsiteX15" fmla="*/ 277953 w 316098"/>
                <a:gd name="connsiteY15" fmla="*/ 0 h 356756"/>
                <a:gd name="connsiteX16" fmla="*/ 271927 w 316098"/>
                <a:gd name="connsiteY16" fmla="*/ 1629 h 356756"/>
                <a:gd name="connsiteX17" fmla="*/ 265978 w 316098"/>
                <a:gd name="connsiteY17" fmla="*/ 3413 h 356756"/>
                <a:gd name="connsiteX18" fmla="*/ 265824 w 316098"/>
                <a:gd name="connsiteY18" fmla="*/ 3437 h 356756"/>
                <a:gd name="connsiteX19" fmla="*/ 259880 w 316098"/>
                <a:gd name="connsiteY19" fmla="*/ 4652 h 356756"/>
                <a:gd name="connsiteX20" fmla="*/ 259706 w 316098"/>
                <a:gd name="connsiteY20" fmla="*/ 4667 h 356756"/>
                <a:gd name="connsiteX21" fmla="*/ 253897 w 316098"/>
                <a:gd name="connsiteY21" fmla="*/ 5245 h 356756"/>
                <a:gd name="connsiteX22" fmla="*/ 247500 w 316098"/>
                <a:gd name="connsiteY22" fmla="*/ 6985 h 356756"/>
                <a:gd name="connsiteX23" fmla="*/ 246502 w 316098"/>
                <a:gd name="connsiteY23" fmla="*/ 6966 h 356756"/>
                <a:gd name="connsiteX24" fmla="*/ 240809 w 316098"/>
                <a:gd name="connsiteY24" fmla="*/ 5259 h 356756"/>
                <a:gd name="connsiteX25" fmla="*/ 229244 w 316098"/>
                <a:gd name="connsiteY25" fmla="*/ 5259 h 356756"/>
                <a:gd name="connsiteX26" fmla="*/ 223483 w 316098"/>
                <a:gd name="connsiteY26" fmla="*/ 5857 h 356756"/>
                <a:gd name="connsiteX27" fmla="*/ 217718 w 316098"/>
                <a:gd name="connsiteY27" fmla="*/ 6985 h 356756"/>
                <a:gd name="connsiteX28" fmla="*/ 214271 w 316098"/>
                <a:gd name="connsiteY28" fmla="*/ 8157 h 356756"/>
                <a:gd name="connsiteX29" fmla="*/ 213673 w 316098"/>
                <a:gd name="connsiteY29" fmla="*/ 8248 h 356756"/>
                <a:gd name="connsiteX30" fmla="*/ 212328 w 316098"/>
                <a:gd name="connsiteY30" fmla="*/ 8248 h 356756"/>
                <a:gd name="connsiteX31" fmla="*/ 206621 w 316098"/>
                <a:gd name="connsiteY31" fmla="*/ 11097 h 356756"/>
                <a:gd name="connsiteX32" fmla="*/ 200715 w 316098"/>
                <a:gd name="connsiteY32" fmla="*/ 13435 h 356756"/>
                <a:gd name="connsiteX33" fmla="*/ 194188 w 316098"/>
                <a:gd name="connsiteY33" fmla="*/ 16391 h 356756"/>
                <a:gd name="connsiteX34" fmla="*/ 193976 w 316098"/>
                <a:gd name="connsiteY34" fmla="*/ 16501 h 356756"/>
                <a:gd name="connsiteX35" fmla="*/ 188398 w 316098"/>
                <a:gd name="connsiteY35" fmla="*/ 18193 h 356756"/>
                <a:gd name="connsiteX36" fmla="*/ 182763 w 316098"/>
                <a:gd name="connsiteY36" fmla="*/ 23246 h 356756"/>
                <a:gd name="connsiteX37" fmla="*/ 182623 w 316098"/>
                <a:gd name="connsiteY37" fmla="*/ 23356 h 356756"/>
                <a:gd name="connsiteX38" fmla="*/ 176496 w 316098"/>
                <a:gd name="connsiteY38" fmla="*/ 27840 h 356756"/>
                <a:gd name="connsiteX39" fmla="*/ 174365 w 316098"/>
                <a:gd name="connsiteY39" fmla="*/ 33186 h 356756"/>
                <a:gd name="connsiteX40" fmla="*/ 173198 w 316098"/>
                <a:gd name="connsiteY40" fmla="*/ 37819 h 356756"/>
                <a:gd name="connsiteX41" fmla="*/ 173034 w 316098"/>
                <a:gd name="connsiteY41" fmla="*/ 38267 h 356756"/>
                <a:gd name="connsiteX42" fmla="*/ 169453 w 316098"/>
                <a:gd name="connsiteY42" fmla="*/ 44784 h 356756"/>
                <a:gd name="connsiteX43" fmla="*/ 168339 w 316098"/>
                <a:gd name="connsiteY43" fmla="*/ 45657 h 356756"/>
                <a:gd name="connsiteX44" fmla="*/ 162222 w 316098"/>
                <a:gd name="connsiteY44" fmla="*/ 47339 h 356756"/>
                <a:gd name="connsiteX45" fmla="*/ 156596 w 316098"/>
                <a:gd name="connsiteY45" fmla="*/ 52430 h 356756"/>
                <a:gd name="connsiteX46" fmla="*/ 156514 w 316098"/>
                <a:gd name="connsiteY46" fmla="*/ 52478 h 356756"/>
                <a:gd name="connsiteX47" fmla="*/ 150556 w 316098"/>
                <a:gd name="connsiteY47" fmla="*/ 57241 h 356756"/>
                <a:gd name="connsiteX48" fmla="*/ 150450 w 316098"/>
                <a:gd name="connsiteY48" fmla="*/ 57309 h 356756"/>
                <a:gd name="connsiteX49" fmla="*/ 144510 w 316098"/>
                <a:gd name="connsiteY49" fmla="*/ 61488 h 356756"/>
                <a:gd name="connsiteX50" fmla="*/ 143999 w 316098"/>
                <a:gd name="connsiteY50" fmla="*/ 61719 h 356756"/>
                <a:gd name="connsiteX51" fmla="*/ 138089 w 316098"/>
                <a:gd name="connsiteY51" fmla="*/ 63508 h 356756"/>
                <a:gd name="connsiteX52" fmla="*/ 136571 w 316098"/>
                <a:gd name="connsiteY52" fmla="*/ 64000 h 356756"/>
                <a:gd name="connsiteX53" fmla="*/ 130824 w 316098"/>
                <a:gd name="connsiteY53" fmla="*/ 68006 h 356756"/>
                <a:gd name="connsiteX54" fmla="*/ 129108 w 316098"/>
                <a:gd name="connsiteY54" fmla="*/ 68237 h 356756"/>
                <a:gd name="connsiteX55" fmla="*/ 123150 w 316098"/>
                <a:gd name="connsiteY55" fmla="*/ 65836 h 356756"/>
                <a:gd name="connsiteX56" fmla="*/ 122133 w 316098"/>
                <a:gd name="connsiteY56" fmla="*/ 64805 h 356756"/>
                <a:gd name="connsiteX57" fmla="*/ 120450 w 316098"/>
                <a:gd name="connsiteY57" fmla="*/ 60558 h 356756"/>
                <a:gd name="connsiteX58" fmla="*/ 117085 w 316098"/>
                <a:gd name="connsiteY58" fmla="*/ 61907 h 356756"/>
                <a:gd name="connsiteX59" fmla="*/ 108962 w 316098"/>
                <a:gd name="connsiteY59" fmla="*/ 90706 h 356756"/>
                <a:gd name="connsiteX60" fmla="*/ 107781 w 316098"/>
                <a:gd name="connsiteY60" fmla="*/ 96631 h 356756"/>
                <a:gd name="connsiteX61" fmla="*/ 106576 w 316098"/>
                <a:gd name="connsiteY61" fmla="*/ 103149 h 356756"/>
                <a:gd name="connsiteX62" fmla="*/ 106523 w 316098"/>
                <a:gd name="connsiteY62" fmla="*/ 103351 h 356756"/>
                <a:gd name="connsiteX63" fmla="*/ 104735 w 316098"/>
                <a:gd name="connsiteY63" fmla="*/ 109290 h 356756"/>
                <a:gd name="connsiteX64" fmla="*/ 103028 w 316098"/>
                <a:gd name="connsiteY64" fmla="*/ 115567 h 356756"/>
                <a:gd name="connsiteX65" fmla="*/ 103028 w 316098"/>
                <a:gd name="connsiteY65" fmla="*/ 121887 h 356756"/>
                <a:gd name="connsiteX66" fmla="*/ 102715 w 316098"/>
                <a:gd name="connsiteY66" fmla="*/ 122942 h 356756"/>
                <a:gd name="connsiteX67" fmla="*/ 98598 w 316098"/>
                <a:gd name="connsiteY67" fmla="*/ 128752 h 356756"/>
                <a:gd name="connsiteX68" fmla="*/ 95696 w 316098"/>
                <a:gd name="connsiteY68" fmla="*/ 134561 h 356756"/>
                <a:gd name="connsiteX69" fmla="*/ 92905 w 316098"/>
                <a:gd name="connsiteY69" fmla="*/ 140702 h 356756"/>
                <a:gd name="connsiteX70" fmla="*/ 92905 w 316098"/>
                <a:gd name="connsiteY70" fmla="*/ 140924 h 356756"/>
                <a:gd name="connsiteX71" fmla="*/ 92649 w 316098"/>
                <a:gd name="connsiteY71" fmla="*/ 141849 h 356756"/>
                <a:gd name="connsiteX72" fmla="*/ 89096 w 316098"/>
                <a:gd name="connsiteY72" fmla="*/ 147784 h 356756"/>
                <a:gd name="connsiteX73" fmla="*/ 85548 w 316098"/>
                <a:gd name="connsiteY73" fmla="*/ 154282 h 356756"/>
                <a:gd name="connsiteX74" fmla="*/ 85360 w 316098"/>
                <a:gd name="connsiteY74" fmla="*/ 154533 h 356756"/>
                <a:gd name="connsiteX75" fmla="*/ 80612 w 316098"/>
                <a:gd name="connsiteY75" fmla="*/ 160539 h 356756"/>
                <a:gd name="connsiteX76" fmla="*/ 80520 w 316098"/>
                <a:gd name="connsiteY76" fmla="*/ 160597 h 356756"/>
                <a:gd name="connsiteX77" fmla="*/ 74586 w 316098"/>
                <a:gd name="connsiteY77" fmla="*/ 167158 h 356756"/>
                <a:gd name="connsiteX78" fmla="*/ 63879 w 316098"/>
                <a:gd name="connsiteY78" fmla="*/ 179056 h 356756"/>
                <a:gd name="connsiteX79" fmla="*/ 63735 w 316098"/>
                <a:gd name="connsiteY79" fmla="*/ 179157 h 356756"/>
                <a:gd name="connsiteX80" fmla="*/ 57815 w 316098"/>
                <a:gd name="connsiteY80" fmla="*/ 184498 h 356756"/>
                <a:gd name="connsiteX81" fmla="*/ 56571 w 316098"/>
                <a:gd name="connsiteY81" fmla="*/ 184980 h 356756"/>
                <a:gd name="connsiteX82" fmla="*/ 54865 w 316098"/>
                <a:gd name="connsiteY82" fmla="*/ 184980 h 356756"/>
                <a:gd name="connsiteX83" fmla="*/ 51022 w 316098"/>
                <a:gd name="connsiteY83" fmla="*/ 185395 h 356756"/>
                <a:gd name="connsiteX84" fmla="*/ 51803 w 316098"/>
                <a:gd name="connsiteY84" fmla="*/ 189367 h 356756"/>
                <a:gd name="connsiteX85" fmla="*/ 51803 w 316098"/>
                <a:gd name="connsiteY85" fmla="*/ 190047 h 356756"/>
                <a:gd name="connsiteX86" fmla="*/ 50772 w 316098"/>
                <a:gd name="connsiteY86" fmla="*/ 195841 h 356756"/>
                <a:gd name="connsiteX87" fmla="*/ 54238 w 316098"/>
                <a:gd name="connsiteY87" fmla="*/ 200797 h 356756"/>
                <a:gd name="connsiteX88" fmla="*/ 59762 w 316098"/>
                <a:gd name="connsiteY88" fmla="*/ 203535 h 356756"/>
                <a:gd name="connsiteX89" fmla="*/ 60182 w 316098"/>
                <a:gd name="connsiteY89" fmla="*/ 203824 h 356756"/>
                <a:gd name="connsiteX90" fmla="*/ 66015 w 316098"/>
                <a:gd name="connsiteY90" fmla="*/ 209084 h 356756"/>
                <a:gd name="connsiteX91" fmla="*/ 78978 w 316098"/>
                <a:gd name="connsiteY91" fmla="*/ 217337 h 356756"/>
                <a:gd name="connsiteX92" fmla="*/ 79291 w 316098"/>
                <a:gd name="connsiteY92" fmla="*/ 217583 h 356756"/>
                <a:gd name="connsiteX93" fmla="*/ 79551 w 316098"/>
                <a:gd name="connsiteY93" fmla="*/ 217872 h 356756"/>
                <a:gd name="connsiteX94" fmla="*/ 85042 w 316098"/>
                <a:gd name="connsiteY94" fmla="*/ 219501 h 356756"/>
                <a:gd name="connsiteX95" fmla="*/ 90996 w 316098"/>
                <a:gd name="connsiteY95" fmla="*/ 221131 h 356756"/>
                <a:gd name="connsiteX96" fmla="*/ 96356 w 316098"/>
                <a:gd name="connsiteY96" fmla="*/ 218976 h 356756"/>
                <a:gd name="connsiteX97" fmla="*/ 97017 w 316098"/>
                <a:gd name="connsiteY97" fmla="*/ 218817 h 356756"/>
                <a:gd name="connsiteX98" fmla="*/ 97831 w 316098"/>
                <a:gd name="connsiteY98" fmla="*/ 218817 h 356756"/>
                <a:gd name="connsiteX99" fmla="*/ 103708 w 316098"/>
                <a:gd name="connsiteY99" fmla="*/ 216151 h 356756"/>
                <a:gd name="connsiteX100" fmla="*/ 108847 w 316098"/>
                <a:gd name="connsiteY100" fmla="*/ 211051 h 356756"/>
                <a:gd name="connsiteX101" fmla="*/ 111354 w 316098"/>
                <a:gd name="connsiteY101" fmla="*/ 210998 h 356756"/>
                <a:gd name="connsiteX102" fmla="*/ 111542 w 316098"/>
                <a:gd name="connsiteY102" fmla="*/ 213500 h 356756"/>
                <a:gd name="connsiteX103" fmla="*/ 109392 w 316098"/>
                <a:gd name="connsiteY103" fmla="*/ 216107 h 356756"/>
                <a:gd name="connsiteX104" fmla="*/ 110365 w 316098"/>
                <a:gd name="connsiteY104" fmla="*/ 215905 h 356756"/>
                <a:gd name="connsiteX105" fmla="*/ 112414 w 316098"/>
                <a:gd name="connsiteY105" fmla="*/ 217033 h 356756"/>
                <a:gd name="connsiteX106" fmla="*/ 114805 w 316098"/>
                <a:gd name="connsiteY106" fmla="*/ 222982 h 356756"/>
                <a:gd name="connsiteX107" fmla="*/ 114444 w 316098"/>
                <a:gd name="connsiteY107" fmla="*/ 224891 h 356756"/>
                <a:gd name="connsiteX108" fmla="*/ 112607 w 316098"/>
                <a:gd name="connsiteY108" fmla="*/ 225383 h 356756"/>
                <a:gd name="connsiteX109" fmla="*/ 106952 w 316098"/>
                <a:gd name="connsiteY109" fmla="*/ 223724 h 356756"/>
                <a:gd name="connsiteX110" fmla="*/ 100758 w 316098"/>
                <a:gd name="connsiteY110" fmla="*/ 224250 h 356756"/>
                <a:gd name="connsiteX111" fmla="*/ 100608 w 316098"/>
                <a:gd name="connsiteY111" fmla="*/ 224250 h 356756"/>
                <a:gd name="connsiteX112" fmla="*/ 98053 w 316098"/>
                <a:gd name="connsiteY112" fmla="*/ 224250 h 356756"/>
                <a:gd name="connsiteX113" fmla="*/ 92505 w 316098"/>
                <a:gd name="connsiteY113" fmla="*/ 227046 h 356756"/>
                <a:gd name="connsiteX114" fmla="*/ 91685 w 316098"/>
                <a:gd name="connsiteY114" fmla="*/ 227229 h 356756"/>
                <a:gd name="connsiteX115" fmla="*/ 85134 w 316098"/>
                <a:gd name="connsiteY115" fmla="*/ 227229 h 356756"/>
                <a:gd name="connsiteX116" fmla="*/ 84599 w 316098"/>
                <a:gd name="connsiteY116" fmla="*/ 227152 h 356756"/>
                <a:gd name="connsiteX117" fmla="*/ 79701 w 316098"/>
                <a:gd name="connsiteY117" fmla="*/ 225657 h 356756"/>
                <a:gd name="connsiteX118" fmla="*/ 66029 w 316098"/>
                <a:gd name="connsiteY118" fmla="*/ 233120 h 356756"/>
                <a:gd name="connsiteX119" fmla="*/ 65075 w 316098"/>
                <a:gd name="connsiteY119" fmla="*/ 233139 h 356756"/>
                <a:gd name="connsiteX120" fmla="*/ 61339 w 316098"/>
                <a:gd name="connsiteY120" fmla="*/ 232199 h 356756"/>
                <a:gd name="connsiteX121" fmla="*/ 62486 w 316098"/>
                <a:gd name="connsiteY121" fmla="*/ 236229 h 356756"/>
                <a:gd name="connsiteX122" fmla="*/ 61802 w 316098"/>
                <a:gd name="connsiteY122" fmla="*/ 238201 h 356756"/>
                <a:gd name="connsiteX123" fmla="*/ 59724 w 316098"/>
                <a:gd name="connsiteY123" fmla="*/ 238259 h 356756"/>
                <a:gd name="connsiteX124" fmla="*/ 56364 w 316098"/>
                <a:gd name="connsiteY124" fmla="*/ 236046 h 356756"/>
                <a:gd name="connsiteX125" fmla="*/ 51548 w 316098"/>
                <a:gd name="connsiteY125" fmla="*/ 234556 h 356756"/>
                <a:gd name="connsiteX126" fmla="*/ 47257 w 316098"/>
                <a:gd name="connsiteY126" fmla="*/ 237656 h 356756"/>
                <a:gd name="connsiteX127" fmla="*/ 50420 w 316098"/>
                <a:gd name="connsiteY127" fmla="*/ 241595 h 356756"/>
                <a:gd name="connsiteX128" fmla="*/ 56306 w 316098"/>
                <a:gd name="connsiteY128" fmla="*/ 242675 h 356756"/>
                <a:gd name="connsiteX129" fmla="*/ 56494 w 316098"/>
                <a:gd name="connsiteY129" fmla="*/ 242699 h 356756"/>
                <a:gd name="connsiteX130" fmla="*/ 62462 w 316098"/>
                <a:gd name="connsiteY130" fmla="*/ 244531 h 356756"/>
                <a:gd name="connsiteX131" fmla="*/ 63103 w 316098"/>
                <a:gd name="connsiteY131" fmla="*/ 244858 h 356756"/>
                <a:gd name="connsiteX132" fmla="*/ 67259 w 316098"/>
                <a:gd name="connsiteY132" fmla="*/ 248440 h 356756"/>
                <a:gd name="connsiteX133" fmla="*/ 67827 w 316098"/>
                <a:gd name="connsiteY133" fmla="*/ 250282 h 356756"/>
                <a:gd name="connsiteX134" fmla="*/ 66049 w 316098"/>
                <a:gd name="connsiteY134" fmla="*/ 256857 h 356756"/>
                <a:gd name="connsiteX135" fmla="*/ 64641 w 316098"/>
                <a:gd name="connsiteY135" fmla="*/ 258159 h 356756"/>
                <a:gd name="connsiteX136" fmla="*/ 61676 w 316098"/>
                <a:gd name="connsiteY136" fmla="*/ 258751 h 356756"/>
                <a:gd name="connsiteX137" fmla="*/ 61151 w 316098"/>
                <a:gd name="connsiteY137" fmla="*/ 258766 h 356756"/>
                <a:gd name="connsiteX138" fmla="*/ 55207 w 316098"/>
                <a:gd name="connsiteY138" fmla="*/ 258163 h 356756"/>
                <a:gd name="connsiteX139" fmla="*/ 54228 w 316098"/>
                <a:gd name="connsiteY139" fmla="*/ 257797 h 356756"/>
                <a:gd name="connsiteX140" fmla="*/ 47677 w 316098"/>
                <a:gd name="connsiteY140" fmla="*/ 252432 h 356756"/>
                <a:gd name="connsiteX141" fmla="*/ 47257 w 316098"/>
                <a:gd name="connsiteY141" fmla="*/ 251969 h 356756"/>
                <a:gd name="connsiteX142" fmla="*/ 43979 w 316098"/>
                <a:gd name="connsiteY142" fmla="*/ 246444 h 356756"/>
                <a:gd name="connsiteX143" fmla="*/ 38600 w 316098"/>
                <a:gd name="connsiteY143" fmla="*/ 243774 h 356756"/>
                <a:gd name="connsiteX144" fmla="*/ 32130 w 316098"/>
                <a:gd name="connsiteY144" fmla="*/ 241402 h 356756"/>
                <a:gd name="connsiteX145" fmla="*/ 30925 w 316098"/>
                <a:gd name="connsiteY145" fmla="*/ 239546 h 356756"/>
                <a:gd name="connsiteX146" fmla="*/ 31402 w 316098"/>
                <a:gd name="connsiteY146" fmla="*/ 234561 h 356756"/>
                <a:gd name="connsiteX147" fmla="*/ 28461 w 316098"/>
                <a:gd name="connsiteY147" fmla="*/ 233795 h 356756"/>
                <a:gd name="connsiteX148" fmla="*/ 22214 w 316098"/>
                <a:gd name="connsiteY148" fmla="*/ 234373 h 356756"/>
                <a:gd name="connsiteX149" fmla="*/ 21857 w 316098"/>
                <a:gd name="connsiteY149" fmla="*/ 234373 h 356756"/>
                <a:gd name="connsiteX150" fmla="*/ 15904 w 316098"/>
                <a:gd name="connsiteY150" fmla="*/ 233766 h 356756"/>
                <a:gd name="connsiteX151" fmla="*/ 15947 w 316098"/>
                <a:gd name="connsiteY151" fmla="*/ 233766 h 356756"/>
                <a:gd name="connsiteX152" fmla="*/ 9834 w 316098"/>
                <a:gd name="connsiteY152" fmla="*/ 233221 h 356756"/>
                <a:gd name="connsiteX153" fmla="*/ 4483 w 316098"/>
                <a:gd name="connsiteY153" fmla="*/ 235371 h 356756"/>
                <a:gd name="connsiteX154" fmla="*/ 0 w 316098"/>
                <a:gd name="connsiteY154" fmla="*/ 238495 h 356756"/>
                <a:gd name="connsiteX155" fmla="*/ 2222 w 316098"/>
                <a:gd name="connsiteY155" fmla="*/ 242954 h 356756"/>
                <a:gd name="connsiteX156" fmla="*/ 5968 w 316098"/>
                <a:gd name="connsiteY156" fmla="*/ 248869 h 356756"/>
                <a:gd name="connsiteX157" fmla="*/ 10832 w 316098"/>
                <a:gd name="connsiteY157" fmla="*/ 250330 h 356756"/>
                <a:gd name="connsiteX158" fmla="*/ 16974 w 316098"/>
                <a:gd name="connsiteY158" fmla="*/ 249240 h 356756"/>
                <a:gd name="connsiteX159" fmla="*/ 18632 w 316098"/>
                <a:gd name="connsiteY159" fmla="*/ 249799 h 356756"/>
                <a:gd name="connsiteX160" fmla="*/ 23805 w 316098"/>
                <a:gd name="connsiteY160" fmla="*/ 255536 h 356756"/>
                <a:gd name="connsiteX161" fmla="*/ 28857 w 316098"/>
                <a:gd name="connsiteY161" fmla="*/ 258549 h 356756"/>
                <a:gd name="connsiteX162" fmla="*/ 33292 w 316098"/>
                <a:gd name="connsiteY162" fmla="*/ 257238 h 356756"/>
                <a:gd name="connsiteX163" fmla="*/ 35919 w 316098"/>
                <a:gd name="connsiteY163" fmla="*/ 251983 h 356756"/>
                <a:gd name="connsiteX164" fmla="*/ 38146 w 316098"/>
                <a:gd name="connsiteY164" fmla="*/ 251077 h 356756"/>
                <a:gd name="connsiteX165" fmla="*/ 44698 w 316098"/>
                <a:gd name="connsiteY165" fmla="*/ 253459 h 356756"/>
                <a:gd name="connsiteX166" fmla="*/ 45204 w 316098"/>
                <a:gd name="connsiteY166" fmla="*/ 253767 h 356756"/>
                <a:gd name="connsiteX167" fmla="*/ 50810 w 316098"/>
                <a:gd name="connsiteY167" fmla="*/ 258217 h 356756"/>
                <a:gd name="connsiteX168" fmla="*/ 56908 w 316098"/>
                <a:gd name="connsiteY168" fmla="*/ 259340 h 356756"/>
                <a:gd name="connsiteX169" fmla="*/ 57612 w 316098"/>
                <a:gd name="connsiteY169" fmla="*/ 259648 h 356756"/>
                <a:gd name="connsiteX170" fmla="*/ 63537 w 316098"/>
                <a:gd name="connsiteY170" fmla="*/ 263784 h 356756"/>
                <a:gd name="connsiteX171" fmla="*/ 64299 w 316098"/>
                <a:gd name="connsiteY171" fmla="*/ 264912 h 356756"/>
                <a:gd name="connsiteX172" fmla="*/ 64381 w 316098"/>
                <a:gd name="connsiteY172" fmla="*/ 265192 h 356756"/>
                <a:gd name="connsiteX173" fmla="*/ 71269 w 316098"/>
                <a:gd name="connsiteY173" fmla="*/ 268012 h 356756"/>
                <a:gd name="connsiteX174" fmla="*/ 76158 w 316098"/>
                <a:gd name="connsiteY174" fmla="*/ 267492 h 356756"/>
                <a:gd name="connsiteX175" fmla="*/ 75246 w 316098"/>
                <a:gd name="connsiteY175" fmla="*/ 261794 h 356756"/>
                <a:gd name="connsiteX176" fmla="*/ 80168 w 316098"/>
                <a:gd name="connsiteY176" fmla="*/ 254447 h 356756"/>
                <a:gd name="connsiteX177" fmla="*/ 87004 w 316098"/>
                <a:gd name="connsiteY177" fmla="*/ 253039 h 356756"/>
                <a:gd name="connsiteX178" fmla="*/ 91651 w 316098"/>
                <a:gd name="connsiteY178" fmla="*/ 259238 h 356756"/>
                <a:gd name="connsiteX179" fmla="*/ 97610 w 316098"/>
                <a:gd name="connsiteY179" fmla="*/ 261046 h 356756"/>
                <a:gd name="connsiteX180" fmla="*/ 101997 w 316098"/>
                <a:gd name="connsiteY180" fmla="*/ 254066 h 356756"/>
                <a:gd name="connsiteX181" fmla="*/ 105882 w 316098"/>
                <a:gd name="connsiteY181" fmla="*/ 251101 h 356756"/>
                <a:gd name="connsiteX182" fmla="*/ 111691 w 316098"/>
                <a:gd name="connsiteY182" fmla="*/ 256630 h 356756"/>
                <a:gd name="connsiteX183" fmla="*/ 106919 w 316098"/>
                <a:gd name="connsiteY183" fmla="*/ 262840 h 356756"/>
                <a:gd name="connsiteX184" fmla="*/ 118397 w 316098"/>
                <a:gd name="connsiteY184" fmla="*/ 265819 h 356756"/>
                <a:gd name="connsiteX185" fmla="*/ 124847 w 316098"/>
                <a:gd name="connsiteY185" fmla="*/ 261803 h 356756"/>
                <a:gd name="connsiteX186" fmla="*/ 128072 w 316098"/>
                <a:gd name="connsiteY186" fmla="*/ 256144 h 356756"/>
                <a:gd name="connsiteX187" fmla="*/ 131822 w 316098"/>
                <a:gd name="connsiteY187" fmla="*/ 260154 h 356756"/>
                <a:gd name="connsiteX188" fmla="*/ 135698 w 316098"/>
                <a:gd name="connsiteY188" fmla="*/ 276420 h 356756"/>
                <a:gd name="connsiteX189" fmla="*/ 143315 w 316098"/>
                <a:gd name="connsiteY189" fmla="*/ 279403 h 356756"/>
                <a:gd name="connsiteX190" fmla="*/ 143595 w 316098"/>
                <a:gd name="connsiteY190" fmla="*/ 284947 h 356756"/>
                <a:gd name="connsiteX191" fmla="*/ 157271 w 316098"/>
                <a:gd name="connsiteY191" fmla="*/ 285743 h 356756"/>
                <a:gd name="connsiteX192" fmla="*/ 163986 w 316098"/>
                <a:gd name="connsiteY192" fmla="*/ 283014 h 356756"/>
                <a:gd name="connsiteX193" fmla="*/ 169019 w 316098"/>
                <a:gd name="connsiteY193" fmla="*/ 285738 h 356756"/>
                <a:gd name="connsiteX194" fmla="*/ 171072 w 316098"/>
                <a:gd name="connsiteY194" fmla="*/ 292699 h 356756"/>
                <a:gd name="connsiteX195" fmla="*/ 178708 w 316098"/>
                <a:gd name="connsiteY195" fmla="*/ 298243 h 356756"/>
                <a:gd name="connsiteX196" fmla="*/ 185048 w 316098"/>
                <a:gd name="connsiteY196" fmla="*/ 296821 h 356756"/>
                <a:gd name="connsiteX197" fmla="*/ 194062 w 316098"/>
                <a:gd name="connsiteY197" fmla="*/ 302654 h 356756"/>
                <a:gd name="connsiteX198" fmla="*/ 192510 w 316098"/>
                <a:gd name="connsiteY198" fmla="*/ 309605 h 356756"/>
                <a:gd name="connsiteX199" fmla="*/ 186195 w 316098"/>
                <a:gd name="connsiteY199" fmla="*/ 316595 h 356756"/>
                <a:gd name="connsiteX200" fmla="*/ 177416 w 316098"/>
                <a:gd name="connsiteY200" fmla="*/ 338144 h 356756"/>
                <a:gd name="connsiteX201" fmla="*/ 173410 w 316098"/>
                <a:gd name="connsiteY201" fmla="*/ 343972 h 356756"/>
                <a:gd name="connsiteX202" fmla="*/ 178063 w 316098"/>
                <a:gd name="connsiteY202" fmla="*/ 348614 h 356756"/>
                <a:gd name="connsiteX203" fmla="*/ 177286 w 316098"/>
                <a:gd name="connsiteY203" fmla="*/ 354925 h 356756"/>
                <a:gd name="connsiteX204" fmla="*/ 182440 w 316098"/>
                <a:gd name="connsiteY204" fmla="*/ 353883 h 356756"/>
                <a:gd name="connsiteX205" fmla="*/ 195099 w 316098"/>
                <a:gd name="connsiteY205" fmla="*/ 356757 h 356756"/>
                <a:gd name="connsiteX206" fmla="*/ 198078 w 316098"/>
                <a:gd name="connsiteY206" fmla="*/ 356198 h 356756"/>
                <a:gd name="connsiteX207" fmla="*/ 205198 w 316098"/>
                <a:gd name="connsiteY207" fmla="*/ 356188 h 356756"/>
                <a:gd name="connsiteX208" fmla="*/ 205449 w 316098"/>
                <a:gd name="connsiteY208" fmla="*/ 345770 h 356756"/>
                <a:gd name="connsiteX209" fmla="*/ 210998 w 316098"/>
                <a:gd name="connsiteY209" fmla="*/ 340853 h 356756"/>
                <a:gd name="connsiteX210" fmla="*/ 209691 w 316098"/>
                <a:gd name="connsiteY210" fmla="*/ 335415 h 356756"/>
                <a:gd name="connsiteX211" fmla="*/ 206081 w 316098"/>
                <a:gd name="connsiteY211" fmla="*/ 333338 h 356756"/>
                <a:gd name="connsiteX212" fmla="*/ 202200 w 316098"/>
                <a:gd name="connsiteY212" fmla="*/ 326651 h 356756"/>
                <a:gd name="connsiteX213" fmla="*/ 196266 w 316098"/>
                <a:gd name="connsiteY213" fmla="*/ 323942 h 356756"/>
                <a:gd name="connsiteX214" fmla="*/ 195094 w 316098"/>
                <a:gd name="connsiteY214" fmla="*/ 316595 h 356756"/>
                <a:gd name="connsiteX215" fmla="*/ 201028 w 316098"/>
                <a:gd name="connsiteY215" fmla="*/ 319386 h 356756"/>
                <a:gd name="connsiteX216" fmla="*/ 216141 w 316098"/>
                <a:gd name="connsiteY216" fmla="*/ 306404 h 356756"/>
                <a:gd name="connsiteX217" fmla="*/ 216517 w 316098"/>
                <a:gd name="connsiteY217" fmla="*/ 298629 h 356756"/>
                <a:gd name="connsiteX218" fmla="*/ 212531 w 316098"/>
                <a:gd name="connsiteY218" fmla="*/ 293851 h 356756"/>
                <a:gd name="connsiteX219" fmla="*/ 218426 w 316098"/>
                <a:gd name="connsiteY219" fmla="*/ 285511 h 356756"/>
                <a:gd name="connsiteX220" fmla="*/ 225325 w 316098"/>
                <a:gd name="connsiteY220" fmla="*/ 270620 h 356756"/>
                <a:gd name="connsiteX221" fmla="*/ 223628 w 316098"/>
                <a:gd name="connsiteY221" fmla="*/ 254076 h 356756"/>
                <a:gd name="connsiteX222" fmla="*/ 216662 w 316098"/>
                <a:gd name="connsiteY222" fmla="*/ 243629 h 356756"/>
                <a:gd name="connsiteX223" fmla="*/ 217703 w 316098"/>
                <a:gd name="connsiteY223" fmla="*/ 237666 h 356756"/>
                <a:gd name="connsiteX224" fmla="*/ 212916 w 316098"/>
                <a:gd name="connsiteY224" fmla="*/ 234711 h 356756"/>
                <a:gd name="connsiteX225" fmla="*/ 212916 w 316098"/>
                <a:gd name="connsiteY225" fmla="*/ 229018 h 356756"/>
                <a:gd name="connsiteX226" fmla="*/ 206861 w 316098"/>
                <a:gd name="connsiteY226" fmla="*/ 223194 h 356756"/>
                <a:gd name="connsiteX227" fmla="*/ 207879 w 316098"/>
                <a:gd name="connsiteY227" fmla="*/ 217771 h 356756"/>
                <a:gd name="connsiteX228" fmla="*/ 208650 w 316098"/>
                <a:gd name="connsiteY228" fmla="*/ 213403 h 356756"/>
                <a:gd name="connsiteX229" fmla="*/ 215640 w 316098"/>
                <a:gd name="connsiteY229" fmla="*/ 209397 h 356756"/>
                <a:gd name="connsiteX230" fmla="*/ 224028 w 316098"/>
                <a:gd name="connsiteY230" fmla="*/ 213114 h 356756"/>
                <a:gd name="connsiteX231" fmla="*/ 222490 w 316098"/>
                <a:gd name="connsiteY231" fmla="*/ 203984 h 356756"/>
                <a:gd name="connsiteX232" fmla="*/ 228044 w 316098"/>
                <a:gd name="connsiteY232" fmla="*/ 209513 h 356756"/>
                <a:gd name="connsiteX233" fmla="*/ 232662 w 316098"/>
                <a:gd name="connsiteY233" fmla="*/ 208751 h 356756"/>
                <a:gd name="connsiteX234" fmla="*/ 239773 w 316098"/>
                <a:gd name="connsiteY234" fmla="*/ 212497 h 356756"/>
                <a:gd name="connsiteX235" fmla="*/ 245721 w 316098"/>
                <a:gd name="connsiteY235" fmla="*/ 210559 h 356756"/>
                <a:gd name="connsiteX236" fmla="*/ 251390 w 316098"/>
                <a:gd name="connsiteY236" fmla="*/ 210940 h 356756"/>
                <a:gd name="connsiteX237" fmla="*/ 266759 w 316098"/>
                <a:gd name="connsiteY237" fmla="*/ 207064 h 356756"/>
                <a:gd name="connsiteX238" fmla="*/ 275672 w 316098"/>
                <a:gd name="connsiteY238" fmla="*/ 203207 h 356756"/>
                <a:gd name="connsiteX239" fmla="*/ 276574 w 316098"/>
                <a:gd name="connsiteY239" fmla="*/ 193894 h 356756"/>
                <a:gd name="connsiteX240" fmla="*/ 269227 w 316098"/>
                <a:gd name="connsiteY240" fmla="*/ 184190 h 356756"/>
                <a:gd name="connsiteX241" fmla="*/ 274376 w 316098"/>
                <a:gd name="connsiteY241" fmla="*/ 178520 h 356756"/>
                <a:gd name="connsiteX242" fmla="*/ 282918 w 316098"/>
                <a:gd name="connsiteY242" fmla="*/ 177378 h 356756"/>
                <a:gd name="connsiteX243" fmla="*/ 286133 w 316098"/>
                <a:gd name="connsiteY243" fmla="*/ 170369 h 356756"/>
                <a:gd name="connsiteX244" fmla="*/ 292853 w 316098"/>
                <a:gd name="connsiteY244" fmla="*/ 165866 h 356756"/>
                <a:gd name="connsiteX245" fmla="*/ 298296 w 316098"/>
                <a:gd name="connsiteY245" fmla="*/ 162492 h 356756"/>
                <a:gd name="connsiteX246" fmla="*/ 298397 w 316098"/>
                <a:gd name="connsiteY246" fmla="*/ 153207 h 356756"/>
                <a:gd name="connsiteX247" fmla="*/ 300089 w 316098"/>
                <a:gd name="connsiteY247" fmla="*/ 143913 h 356756"/>
                <a:gd name="connsiteX248" fmla="*/ 293393 w 316098"/>
                <a:gd name="connsiteY248" fmla="*/ 135645 h 356756"/>
                <a:gd name="connsiteX249" fmla="*/ 289223 w 316098"/>
                <a:gd name="connsiteY249" fmla="*/ 135901 h 356756"/>
                <a:gd name="connsiteX250" fmla="*/ 277890 w 316098"/>
                <a:gd name="connsiteY250" fmla="*/ 132806 h 356756"/>
                <a:gd name="connsiteX251" fmla="*/ 271922 w 316098"/>
                <a:gd name="connsiteY251" fmla="*/ 126486 h 356756"/>
                <a:gd name="connsiteX252" fmla="*/ 271922 w 316098"/>
                <a:gd name="connsiteY252" fmla="*/ 121564 h 356756"/>
                <a:gd name="connsiteX253" fmla="*/ 274115 w 316098"/>
                <a:gd name="connsiteY253" fmla="*/ 115639 h 356756"/>
                <a:gd name="connsiteX254" fmla="*/ 279158 w 316098"/>
                <a:gd name="connsiteY254" fmla="*/ 107242 h 356756"/>
                <a:gd name="connsiteX255" fmla="*/ 287165 w 316098"/>
                <a:gd name="connsiteY255" fmla="*/ 107242 h 356756"/>
                <a:gd name="connsiteX256" fmla="*/ 299805 w 316098"/>
                <a:gd name="connsiteY256" fmla="*/ 110225 h 356756"/>
                <a:gd name="connsiteX257" fmla="*/ 300875 w 316098"/>
                <a:gd name="connsiteY257" fmla="*/ 98309 h 356756"/>
                <a:gd name="connsiteX258" fmla="*/ 302533 w 316098"/>
                <a:gd name="connsiteY258" fmla="*/ 89395 h 356756"/>
                <a:gd name="connsiteX259" fmla="*/ 304717 w 316098"/>
                <a:gd name="connsiteY259" fmla="*/ 81412 h 356756"/>
                <a:gd name="connsiteX260" fmla="*/ 314301 w 316098"/>
                <a:gd name="connsiteY260" fmla="*/ 45233 h 356756"/>
                <a:gd name="connsiteX261" fmla="*/ 316099 w 316098"/>
                <a:gd name="connsiteY261" fmla="*/ 37105 h 356756"/>
                <a:gd name="connsiteX262" fmla="*/ 202388 w 316098"/>
                <a:gd name="connsiteY262" fmla="*/ 123309 h 356756"/>
                <a:gd name="connsiteX263" fmla="*/ 201872 w 316098"/>
                <a:gd name="connsiteY263" fmla="*/ 125902 h 356756"/>
                <a:gd name="connsiteX264" fmla="*/ 198015 w 316098"/>
                <a:gd name="connsiteY264" fmla="*/ 131398 h 356756"/>
                <a:gd name="connsiteX265" fmla="*/ 197037 w 316098"/>
                <a:gd name="connsiteY265" fmla="*/ 132381 h 356756"/>
                <a:gd name="connsiteX266" fmla="*/ 191324 w 316098"/>
                <a:gd name="connsiteY266" fmla="*/ 136383 h 356756"/>
                <a:gd name="connsiteX267" fmla="*/ 185549 w 316098"/>
                <a:gd name="connsiteY267" fmla="*/ 139246 h 356756"/>
                <a:gd name="connsiteX268" fmla="*/ 182657 w 316098"/>
                <a:gd name="connsiteY268" fmla="*/ 140427 h 356756"/>
                <a:gd name="connsiteX269" fmla="*/ 182054 w 316098"/>
                <a:gd name="connsiteY269" fmla="*/ 140823 h 356756"/>
                <a:gd name="connsiteX270" fmla="*/ 179648 w 316098"/>
                <a:gd name="connsiteY270" fmla="*/ 143199 h 356756"/>
                <a:gd name="connsiteX271" fmla="*/ 179369 w 316098"/>
                <a:gd name="connsiteY271" fmla="*/ 143609 h 356756"/>
                <a:gd name="connsiteX272" fmla="*/ 176091 w 316098"/>
                <a:gd name="connsiteY272" fmla="*/ 149625 h 356756"/>
                <a:gd name="connsiteX273" fmla="*/ 170350 w 316098"/>
                <a:gd name="connsiteY273" fmla="*/ 152248 h 356756"/>
                <a:gd name="connsiteX274" fmla="*/ 165312 w 316098"/>
                <a:gd name="connsiteY274" fmla="*/ 152768 h 356756"/>
                <a:gd name="connsiteX275" fmla="*/ 160120 w 316098"/>
                <a:gd name="connsiteY275" fmla="*/ 149625 h 356756"/>
                <a:gd name="connsiteX276" fmla="*/ 157358 w 316098"/>
                <a:gd name="connsiteY276" fmla="*/ 146304 h 356756"/>
                <a:gd name="connsiteX277" fmla="*/ 156297 w 316098"/>
                <a:gd name="connsiteY277" fmla="*/ 145696 h 356756"/>
                <a:gd name="connsiteX278" fmla="*/ 150001 w 316098"/>
                <a:gd name="connsiteY278" fmla="*/ 144564 h 356756"/>
                <a:gd name="connsiteX279" fmla="*/ 139502 w 316098"/>
                <a:gd name="connsiteY279" fmla="*/ 139299 h 356756"/>
                <a:gd name="connsiteX280" fmla="*/ 139372 w 316098"/>
                <a:gd name="connsiteY280" fmla="*/ 139222 h 356756"/>
                <a:gd name="connsiteX281" fmla="*/ 134310 w 316098"/>
                <a:gd name="connsiteY281" fmla="*/ 137217 h 356756"/>
                <a:gd name="connsiteX282" fmla="*/ 138104 w 316098"/>
                <a:gd name="connsiteY282" fmla="*/ 133982 h 356756"/>
                <a:gd name="connsiteX283" fmla="*/ 138697 w 316098"/>
                <a:gd name="connsiteY283" fmla="*/ 132946 h 356756"/>
                <a:gd name="connsiteX284" fmla="*/ 139854 w 316098"/>
                <a:gd name="connsiteY284" fmla="*/ 127199 h 356756"/>
                <a:gd name="connsiteX285" fmla="*/ 142736 w 316098"/>
                <a:gd name="connsiteY285" fmla="*/ 120865 h 356756"/>
                <a:gd name="connsiteX286" fmla="*/ 142886 w 316098"/>
                <a:gd name="connsiteY286" fmla="*/ 120074 h 356756"/>
                <a:gd name="connsiteX287" fmla="*/ 142886 w 316098"/>
                <a:gd name="connsiteY287" fmla="*/ 119505 h 356756"/>
                <a:gd name="connsiteX288" fmla="*/ 142857 w 316098"/>
                <a:gd name="connsiteY288" fmla="*/ 119139 h 356756"/>
                <a:gd name="connsiteX289" fmla="*/ 141676 w 316098"/>
                <a:gd name="connsiteY289" fmla="*/ 113200 h 356756"/>
                <a:gd name="connsiteX290" fmla="*/ 141594 w 316098"/>
                <a:gd name="connsiteY290" fmla="*/ 112906 h 356756"/>
                <a:gd name="connsiteX291" fmla="*/ 139425 w 316098"/>
                <a:gd name="connsiteY291" fmla="*/ 106952 h 356756"/>
                <a:gd name="connsiteX292" fmla="*/ 140442 w 316098"/>
                <a:gd name="connsiteY292" fmla="*/ 103578 h 356756"/>
                <a:gd name="connsiteX293" fmla="*/ 145084 w 316098"/>
                <a:gd name="connsiteY293" fmla="*/ 105651 h 356756"/>
                <a:gd name="connsiteX294" fmla="*/ 146506 w 316098"/>
                <a:gd name="connsiteY294" fmla="*/ 105708 h 356756"/>
                <a:gd name="connsiteX295" fmla="*/ 152460 w 316098"/>
                <a:gd name="connsiteY295" fmla="*/ 103351 h 356756"/>
                <a:gd name="connsiteX296" fmla="*/ 153072 w 316098"/>
                <a:gd name="connsiteY296" fmla="*/ 102903 h 356756"/>
                <a:gd name="connsiteX297" fmla="*/ 159026 w 316098"/>
                <a:gd name="connsiteY297" fmla="*/ 96978 h 356756"/>
                <a:gd name="connsiteX298" fmla="*/ 159026 w 316098"/>
                <a:gd name="connsiteY298" fmla="*/ 96896 h 356756"/>
                <a:gd name="connsiteX299" fmla="*/ 159190 w 316098"/>
                <a:gd name="connsiteY299" fmla="*/ 96790 h 356756"/>
                <a:gd name="connsiteX300" fmla="*/ 160968 w 316098"/>
                <a:gd name="connsiteY300" fmla="*/ 94390 h 356756"/>
                <a:gd name="connsiteX301" fmla="*/ 161325 w 316098"/>
                <a:gd name="connsiteY301" fmla="*/ 93305 h 356756"/>
                <a:gd name="connsiteX302" fmla="*/ 161325 w 316098"/>
                <a:gd name="connsiteY302" fmla="*/ 92712 h 356756"/>
                <a:gd name="connsiteX303" fmla="*/ 160867 w 316098"/>
                <a:gd name="connsiteY303" fmla="*/ 91516 h 356756"/>
                <a:gd name="connsiteX304" fmla="*/ 155521 w 316098"/>
                <a:gd name="connsiteY304" fmla="*/ 85563 h 356756"/>
                <a:gd name="connsiteX305" fmla="*/ 153800 w 316098"/>
                <a:gd name="connsiteY305" fmla="*/ 84989 h 356756"/>
                <a:gd name="connsiteX306" fmla="*/ 149331 w 316098"/>
                <a:gd name="connsiteY306" fmla="*/ 85881 h 356756"/>
                <a:gd name="connsiteX307" fmla="*/ 147687 w 316098"/>
                <a:gd name="connsiteY307" fmla="*/ 81754 h 356756"/>
                <a:gd name="connsiteX308" fmla="*/ 148251 w 316098"/>
                <a:gd name="connsiteY308" fmla="*/ 75608 h 356756"/>
                <a:gd name="connsiteX309" fmla="*/ 148160 w 316098"/>
                <a:gd name="connsiteY309" fmla="*/ 74986 h 356756"/>
                <a:gd name="connsiteX310" fmla="*/ 146376 w 316098"/>
                <a:gd name="connsiteY310" fmla="*/ 68999 h 356756"/>
                <a:gd name="connsiteX311" fmla="*/ 146202 w 316098"/>
                <a:gd name="connsiteY311" fmla="*/ 68555 h 356756"/>
                <a:gd name="connsiteX312" fmla="*/ 143522 w 316098"/>
                <a:gd name="connsiteY312" fmla="*/ 64111 h 356756"/>
                <a:gd name="connsiteX313" fmla="*/ 163359 w 316098"/>
                <a:gd name="connsiteY313" fmla="*/ 49639 h 356756"/>
                <a:gd name="connsiteX314" fmla="*/ 168026 w 316098"/>
                <a:gd name="connsiteY314" fmla="*/ 51741 h 356756"/>
                <a:gd name="connsiteX315" fmla="*/ 168980 w 316098"/>
                <a:gd name="connsiteY315" fmla="*/ 56523 h 356756"/>
                <a:gd name="connsiteX316" fmla="*/ 168460 w 316098"/>
                <a:gd name="connsiteY316" fmla="*/ 62385 h 356756"/>
                <a:gd name="connsiteX317" fmla="*/ 165124 w 316098"/>
                <a:gd name="connsiteY317" fmla="*/ 67991 h 356756"/>
                <a:gd name="connsiteX318" fmla="*/ 165066 w 316098"/>
                <a:gd name="connsiteY318" fmla="*/ 69736 h 356756"/>
                <a:gd name="connsiteX319" fmla="*/ 168011 w 316098"/>
                <a:gd name="connsiteY319" fmla="*/ 75680 h 356756"/>
                <a:gd name="connsiteX320" fmla="*/ 169491 w 316098"/>
                <a:gd name="connsiteY320" fmla="*/ 76659 h 356756"/>
                <a:gd name="connsiteX321" fmla="*/ 175686 w 316098"/>
                <a:gd name="connsiteY321" fmla="*/ 77233 h 356756"/>
                <a:gd name="connsiteX322" fmla="*/ 181316 w 316098"/>
                <a:gd name="connsiteY322" fmla="*/ 80091 h 356756"/>
                <a:gd name="connsiteX323" fmla="*/ 182951 w 316098"/>
                <a:gd name="connsiteY323" fmla="*/ 80091 h 356756"/>
                <a:gd name="connsiteX324" fmla="*/ 188177 w 316098"/>
                <a:gd name="connsiteY324" fmla="*/ 77464 h 356756"/>
                <a:gd name="connsiteX325" fmla="*/ 190987 w 316098"/>
                <a:gd name="connsiteY325" fmla="*/ 78568 h 356756"/>
                <a:gd name="connsiteX326" fmla="*/ 185819 w 316098"/>
                <a:gd name="connsiteY326" fmla="*/ 82328 h 356756"/>
                <a:gd name="connsiteX327" fmla="*/ 185308 w 316098"/>
                <a:gd name="connsiteY327" fmla="*/ 82979 h 356756"/>
                <a:gd name="connsiteX328" fmla="*/ 182300 w 316098"/>
                <a:gd name="connsiteY328" fmla="*/ 88947 h 356756"/>
                <a:gd name="connsiteX329" fmla="*/ 182088 w 316098"/>
                <a:gd name="connsiteY329" fmla="*/ 89723 h 356756"/>
                <a:gd name="connsiteX330" fmla="*/ 182088 w 316098"/>
                <a:gd name="connsiteY330" fmla="*/ 102252 h 356756"/>
                <a:gd name="connsiteX331" fmla="*/ 182435 w 316098"/>
                <a:gd name="connsiteY331" fmla="*/ 103250 h 356756"/>
                <a:gd name="connsiteX332" fmla="*/ 186614 w 316098"/>
                <a:gd name="connsiteY332" fmla="*/ 109232 h 356756"/>
                <a:gd name="connsiteX333" fmla="*/ 187733 w 316098"/>
                <a:gd name="connsiteY333" fmla="*/ 109965 h 356756"/>
                <a:gd name="connsiteX334" fmla="*/ 190698 w 316098"/>
                <a:gd name="connsiteY334" fmla="*/ 110577 h 356756"/>
                <a:gd name="connsiteX335" fmla="*/ 190900 w 316098"/>
                <a:gd name="connsiteY335" fmla="*/ 110601 h 356756"/>
                <a:gd name="connsiteX336" fmla="*/ 197447 w 316098"/>
                <a:gd name="connsiteY336" fmla="*/ 111199 h 356756"/>
                <a:gd name="connsiteX337" fmla="*/ 197586 w 316098"/>
                <a:gd name="connsiteY337" fmla="*/ 111199 h 356756"/>
                <a:gd name="connsiteX338" fmla="*/ 200281 w 316098"/>
                <a:gd name="connsiteY338" fmla="*/ 111199 h 356756"/>
                <a:gd name="connsiteX339" fmla="*/ 198820 w 316098"/>
                <a:gd name="connsiteY339" fmla="*/ 112472 h 356756"/>
                <a:gd name="connsiteX340" fmla="*/ 199486 w 316098"/>
                <a:gd name="connsiteY340" fmla="*/ 114419 h 356756"/>
                <a:gd name="connsiteX341" fmla="*/ 201390 w 316098"/>
                <a:gd name="connsiteY341" fmla="*/ 115871 h 356756"/>
                <a:gd name="connsiteX342" fmla="*/ 202880 w 316098"/>
                <a:gd name="connsiteY342" fmla="*/ 120802 h 356756"/>
                <a:gd name="connsiteX343" fmla="*/ 202388 w 316098"/>
                <a:gd name="connsiteY343" fmla="*/ 123309 h 356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Lst>
              <a:rect l="l" t="t" r="r" b="b"/>
              <a:pathLst>
                <a:path w="316098" h="356756">
                  <a:moveTo>
                    <a:pt x="316099" y="37105"/>
                  </a:moveTo>
                  <a:lnTo>
                    <a:pt x="315390" y="30727"/>
                  </a:lnTo>
                  <a:lnTo>
                    <a:pt x="315106" y="30814"/>
                  </a:lnTo>
                  <a:lnTo>
                    <a:pt x="309133" y="29609"/>
                  </a:lnTo>
                  <a:lnTo>
                    <a:pt x="308029" y="28905"/>
                  </a:lnTo>
                  <a:lnTo>
                    <a:pt x="304158" y="23376"/>
                  </a:lnTo>
                  <a:lnTo>
                    <a:pt x="298768" y="21235"/>
                  </a:lnTo>
                  <a:lnTo>
                    <a:pt x="295240" y="20064"/>
                  </a:lnTo>
                  <a:lnTo>
                    <a:pt x="294994" y="19958"/>
                  </a:lnTo>
                  <a:lnTo>
                    <a:pt x="293808" y="19351"/>
                  </a:lnTo>
                  <a:lnTo>
                    <a:pt x="292959" y="18473"/>
                  </a:lnTo>
                  <a:lnTo>
                    <a:pt x="290014" y="11941"/>
                  </a:lnTo>
                  <a:lnTo>
                    <a:pt x="289918" y="11695"/>
                  </a:lnTo>
                  <a:lnTo>
                    <a:pt x="288283" y="6262"/>
                  </a:lnTo>
                  <a:lnTo>
                    <a:pt x="283019" y="1509"/>
                  </a:lnTo>
                  <a:lnTo>
                    <a:pt x="277953" y="0"/>
                  </a:lnTo>
                  <a:lnTo>
                    <a:pt x="271927" y="1629"/>
                  </a:lnTo>
                  <a:lnTo>
                    <a:pt x="265978" y="3413"/>
                  </a:lnTo>
                  <a:lnTo>
                    <a:pt x="265824" y="3437"/>
                  </a:lnTo>
                  <a:lnTo>
                    <a:pt x="259880" y="4652"/>
                  </a:lnTo>
                  <a:lnTo>
                    <a:pt x="259706" y="4667"/>
                  </a:lnTo>
                  <a:lnTo>
                    <a:pt x="253897" y="5245"/>
                  </a:lnTo>
                  <a:lnTo>
                    <a:pt x="247500" y="6985"/>
                  </a:lnTo>
                  <a:lnTo>
                    <a:pt x="246502" y="6966"/>
                  </a:lnTo>
                  <a:lnTo>
                    <a:pt x="240809" y="5259"/>
                  </a:lnTo>
                  <a:lnTo>
                    <a:pt x="229244" y="5259"/>
                  </a:lnTo>
                  <a:lnTo>
                    <a:pt x="223483" y="5857"/>
                  </a:lnTo>
                  <a:lnTo>
                    <a:pt x="217718" y="6985"/>
                  </a:lnTo>
                  <a:lnTo>
                    <a:pt x="214271" y="8157"/>
                  </a:lnTo>
                  <a:lnTo>
                    <a:pt x="213673" y="8248"/>
                  </a:lnTo>
                  <a:lnTo>
                    <a:pt x="212328" y="8248"/>
                  </a:lnTo>
                  <a:lnTo>
                    <a:pt x="206621" y="11097"/>
                  </a:lnTo>
                  <a:lnTo>
                    <a:pt x="200715" y="13435"/>
                  </a:lnTo>
                  <a:lnTo>
                    <a:pt x="194188" y="16391"/>
                  </a:lnTo>
                  <a:lnTo>
                    <a:pt x="193976" y="16501"/>
                  </a:lnTo>
                  <a:lnTo>
                    <a:pt x="188398" y="18193"/>
                  </a:lnTo>
                  <a:lnTo>
                    <a:pt x="182763" y="23246"/>
                  </a:lnTo>
                  <a:lnTo>
                    <a:pt x="182623" y="23356"/>
                  </a:lnTo>
                  <a:lnTo>
                    <a:pt x="176496" y="27840"/>
                  </a:lnTo>
                  <a:lnTo>
                    <a:pt x="174365" y="33186"/>
                  </a:lnTo>
                  <a:lnTo>
                    <a:pt x="173198" y="37819"/>
                  </a:lnTo>
                  <a:lnTo>
                    <a:pt x="173034" y="38267"/>
                  </a:lnTo>
                  <a:lnTo>
                    <a:pt x="169453" y="44784"/>
                  </a:lnTo>
                  <a:lnTo>
                    <a:pt x="168339" y="45657"/>
                  </a:lnTo>
                  <a:lnTo>
                    <a:pt x="162222" y="47339"/>
                  </a:lnTo>
                  <a:lnTo>
                    <a:pt x="156596" y="52430"/>
                  </a:lnTo>
                  <a:lnTo>
                    <a:pt x="156514" y="52478"/>
                  </a:lnTo>
                  <a:lnTo>
                    <a:pt x="150556" y="57241"/>
                  </a:lnTo>
                  <a:lnTo>
                    <a:pt x="150450" y="57309"/>
                  </a:lnTo>
                  <a:lnTo>
                    <a:pt x="144510" y="61488"/>
                  </a:lnTo>
                  <a:lnTo>
                    <a:pt x="143999" y="61719"/>
                  </a:lnTo>
                  <a:lnTo>
                    <a:pt x="138089" y="63508"/>
                  </a:lnTo>
                  <a:lnTo>
                    <a:pt x="136571" y="64000"/>
                  </a:lnTo>
                  <a:lnTo>
                    <a:pt x="130824" y="68006"/>
                  </a:lnTo>
                  <a:lnTo>
                    <a:pt x="129108" y="68237"/>
                  </a:lnTo>
                  <a:lnTo>
                    <a:pt x="123150" y="65836"/>
                  </a:lnTo>
                  <a:lnTo>
                    <a:pt x="122133" y="64805"/>
                  </a:lnTo>
                  <a:lnTo>
                    <a:pt x="120450" y="60558"/>
                  </a:lnTo>
                  <a:lnTo>
                    <a:pt x="117085" y="61907"/>
                  </a:lnTo>
                  <a:cubicBezTo>
                    <a:pt x="115928" y="71014"/>
                    <a:pt x="109864" y="82425"/>
                    <a:pt x="108962" y="90706"/>
                  </a:cubicBezTo>
                  <a:lnTo>
                    <a:pt x="107781" y="96631"/>
                  </a:lnTo>
                  <a:lnTo>
                    <a:pt x="106576" y="103149"/>
                  </a:lnTo>
                  <a:lnTo>
                    <a:pt x="106523" y="103351"/>
                  </a:lnTo>
                  <a:lnTo>
                    <a:pt x="104735" y="109290"/>
                  </a:lnTo>
                  <a:lnTo>
                    <a:pt x="103028" y="115567"/>
                  </a:lnTo>
                  <a:lnTo>
                    <a:pt x="103028" y="121887"/>
                  </a:lnTo>
                  <a:lnTo>
                    <a:pt x="102715" y="122942"/>
                  </a:lnTo>
                  <a:lnTo>
                    <a:pt x="98598" y="128752"/>
                  </a:lnTo>
                  <a:lnTo>
                    <a:pt x="95696" y="134561"/>
                  </a:lnTo>
                  <a:lnTo>
                    <a:pt x="92905" y="140702"/>
                  </a:lnTo>
                  <a:lnTo>
                    <a:pt x="92905" y="140924"/>
                  </a:lnTo>
                  <a:lnTo>
                    <a:pt x="92649" y="141849"/>
                  </a:lnTo>
                  <a:lnTo>
                    <a:pt x="89096" y="147784"/>
                  </a:lnTo>
                  <a:lnTo>
                    <a:pt x="85548" y="154282"/>
                  </a:lnTo>
                  <a:lnTo>
                    <a:pt x="85360" y="154533"/>
                  </a:lnTo>
                  <a:lnTo>
                    <a:pt x="80612" y="160539"/>
                  </a:lnTo>
                  <a:lnTo>
                    <a:pt x="80520" y="160597"/>
                  </a:lnTo>
                  <a:lnTo>
                    <a:pt x="74586" y="167158"/>
                  </a:lnTo>
                  <a:lnTo>
                    <a:pt x="63879" y="179056"/>
                  </a:lnTo>
                  <a:lnTo>
                    <a:pt x="63735" y="179157"/>
                  </a:lnTo>
                  <a:lnTo>
                    <a:pt x="57815" y="184498"/>
                  </a:lnTo>
                  <a:lnTo>
                    <a:pt x="56571" y="184980"/>
                  </a:lnTo>
                  <a:lnTo>
                    <a:pt x="54865" y="184980"/>
                  </a:lnTo>
                  <a:lnTo>
                    <a:pt x="51022" y="185395"/>
                  </a:lnTo>
                  <a:lnTo>
                    <a:pt x="51803" y="189367"/>
                  </a:lnTo>
                  <a:lnTo>
                    <a:pt x="51803" y="190047"/>
                  </a:lnTo>
                  <a:lnTo>
                    <a:pt x="50772" y="195841"/>
                  </a:lnTo>
                  <a:lnTo>
                    <a:pt x="54238" y="200797"/>
                  </a:lnTo>
                  <a:lnTo>
                    <a:pt x="59762" y="203535"/>
                  </a:lnTo>
                  <a:lnTo>
                    <a:pt x="60182" y="203824"/>
                  </a:lnTo>
                  <a:lnTo>
                    <a:pt x="66015" y="209084"/>
                  </a:lnTo>
                  <a:lnTo>
                    <a:pt x="78978" y="217337"/>
                  </a:lnTo>
                  <a:lnTo>
                    <a:pt x="79291" y="217583"/>
                  </a:lnTo>
                  <a:lnTo>
                    <a:pt x="79551" y="217872"/>
                  </a:lnTo>
                  <a:lnTo>
                    <a:pt x="85042" y="219501"/>
                  </a:lnTo>
                  <a:lnTo>
                    <a:pt x="90996" y="221131"/>
                  </a:lnTo>
                  <a:lnTo>
                    <a:pt x="96356" y="218976"/>
                  </a:lnTo>
                  <a:lnTo>
                    <a:pt x="97017" y="218817"/>
                  </a:lnTo>
                  <a:lnTo>
                    <a:pt x="97831" y="218817"/>
                  </a:lnTo>
                  <a:lnTo>
                    <a:pt x="103708" y="216151"/>
                  </a:lnTo>
                  <a:lnTo>
                    <a:pt x="108847" y="211051"/>
                  </a:lnTo>
                  <a:lnTo>
                    <a:pt x="111354" y="210998"/>
                  </a:lnTo>
                  <a:cubicBezTo>
                    <a:pt x="112072" y="211620"/>
                    <a:pt x="112154" y="212719"/>
                    <a:pt x="111542" y="213500"/>
                  </a:cubicBezTo>
                  <a:lnTo>
                    <a:pt x="109392" y="216107"/>
                  </a:lnTo>
                  <a:lnTo>
                    <a:pt x="110365" y="215905"/>
                  </a:lnTo>
                  <a:cubicBezTo>
                    <a:pt x="111233" y="215727"/>
                    <a:pt x="112091" y="216175"/>
                    <a:pt x="112414" y="217033"/>
                  </a:cubicBezTo>
                  <a:lnTo>
                    <a:pt x="114805" y="222982"/>
                  </a:lnTo>
                  <a:lnTo>
                    <a:pt x="114444" y="224891"/>
                  </a:lnTo>
                  <a:lnTo>
                    <a:pt x="112607" y="225383"/>
                  </a:lnTo>
                  <a:lnTo>
                    <a:pt x="106952" y="223724"/>
                  </a:lnTo>
                  <a:lnTo>
                    <a:pt x="100758" y="224250"/>
                  </a:lnTo>
                  <a:lnTo>
                    <a:pt x="100608" y="224250"/>
                  </a:lnTo>
                  <a:lnTo>
                    <a:pt x="98053" y="224250"/>
                  </a:lnTo>
                  <a:lnTo>
                    <a:pt x="92505" y="227046"/>
                  </a:lnTo>
                  <a:lnTo>
                    <a:pt x="91685" y="227229"/>
                  </a:lnTo>
                  <a:lnTo>
                    <a:pt x="85134" y="227229"/>
                  </a:lnTo>
                  <a:lnTo>
                    <a:pt x="84599" y="227152"/>
                  </a:lnTo>
                  <a:lnTo>
                    <a:pt x="79701" y="225657"/>
                  </a:lnTo>
                  <a:cubicBezTo>
                    <a:pt x="75999" y="229345"/>
                    <a:pt x="71347" y="232484"/>
                    <a:pt x="66029" y="233120"/>
                  </a:cubicBezTo>
                  <a:lnTo>
                    <a:pt x="65075" y="233139"/>
                  </a:lnTo>
                  <a:lnTo>
                    <a:pt x="61339" y="232199"/>
                  </a:lnTo>
                  <a:lnTo>
                    <a:pt x="62486" y="236229"/>
                  </a:lnTo>
                  <a:lnTo>
                    <a:pt x="61802" y="238201"/>
                  </a:lnTo>
                  <a:lnTo>
                    <a:pt x="59724" y="238259"/>
                  </a:lnTo>
                  <a:lnTo>
                    <a:pt x="56364" y="236046"/>
                  </a:lnTo>
                  <a:lnTo>
                    <a:pt x="51548" y="234556"/>
                  </a:lnTo>
                  <a:lnTo>
                    <a:pt x="47257" y="237656"/>
                  </a:lnTo>
                  <a:lnTo>
                    <a:pt x="50420" y="241595"/>
                  </a:lnTo>
                  <a:lnTo>
                    <a:pt x="56306" y="242675"/>
                  </a:lnTo>
                  <a:lnTo>
                    <a:pt x="56494" y="242699"/>
                  </a:lnTo>
                  <a:lnTo>
                    <a:pt x="62462" y="244531"/>
                  </a:lnTo>
                  <a:lnTo>
                    <a:pt x="63103" y="244858"/>
                  </a:lnTo>
                  <a:lnTo>
                    <a:pt x="67259" y="248440"/>
                  </a:lnTo>
                  <a:lnTo>
                    <a:pt x="67827" y="250282"/>
                  </a:lnTo>
                  <a:lnTo>
                    <a:pt x="66049" y="256857"/>
                  </a:lnTo>
                  <a:lnTo>
                    <a:pt x="64641" y="258159"/>
                  </a:lnTo>
                  <a:lnTo>
                    <a:pt x="61676" y="258751"/>
                  </a:lnTo>
                  <a:lnTo>
                    <a:pt x="61151" y="258766"/>
                  </a:lnTo>
                  <a:lnTo>
                    <a:pt x="55207" y="258163"/>
                  </a:lnTo>
                  <a:lnTo>
                    <a:pt x="54228" y="257797"/>
                  </a:lnTo>
                  <a:lnTo>
                    <a:pt x="47677" y="252432"/>
                  </a:lnTo>
                  <a:lnTo>
                    <a:pt x="47257" y="251969"/>
                  </a:lnTo>
                  <a:lnTo>
                    <a:pt x="43979" y="246444"/>
                  </a:lnTo>
                  <a:lnTo>
                    <a:pt x="38600" y="243774"/>
                  </a:lnTo>
                  <a:lnTo>
                    <a:pt x="32130" y="241402"/>
                  </a:lnTo>
                  <a:cubicBezTo>
                    <a:pt x="31364" y="241142"/>
                    <a:pt x="30877" y="240322"/>
                    <a:pt x="30925" y="239546"/>
                  </a:cubicBezTo>
                  <a:lnTo>
                    <a:pt x="31402" y="234561"/>
                  </a:lnTo>
                  <a:lnTo>
                    <a:pt x="28461" y="233795"/>
                  </a:lnTo>
                  <a:lnTo>
                    <a:pt x="22214" y="234373"/>
                  </a:lnTo>
                  <a:lnTo>
                    <a:pt x="21857" y="234373"/>
                  </a:lnTo>
                  <a:lnTo>
                    <a:pt x="15904" y="233766"/>
                  </a:lnTo>
                  <a:lnTo>
                    <a:pt x="15947" y="233766"/>
                  </a:lnTo>
                  <a:lnTo>
                    <a:pt x="9834" y="233221"/>
                  </a:lnTo>
                  <a:lnTo>
                    <a:pt x="4483" y="235371"/>
                  </a:lnTo>
                  <a:lnTo>
                    <a:pt x="0" y="238495"/>
                  </a:lnTo>
                  <a:lnTo>
                    <a:pt x="2222" y="242954"/>
                  </a:lnTo>
                  <a:lnTo>
                    <a:pt x="5968" y="248869"/>
                  </a:lnTo>
                  <a:lnTo>
                    <a:pt x="10832" y="250330"/>
                  </a:lnTo>
                  <a:lnTo>
                    <a:pt x="16974" y="249240"/>
                  </a:lnTo>
                  <a:lnTo>
                    <a:pt x="18632" y="249799"/>
                  </a:lnTo>
                  <a:lnTo>
                    <a:pt x="23805" y="255536"/>
                  </a:lnTo>
                  <a:lnTo>
                    <a:pt x="28857" y="258549"/>
                  </a:lnTo>
                  <a:lnTo>
                    <a:pt x="33292" y="257238"/>
                  </a:lnTo>
                  <a:lnTo>
                    <a:pt x="35919" y="251983"/>
                  </a:lnTo>
                  <a:cubicBezTo>
                    <a:pt x="36314" y="251120"/>
                    <a:pt x="37283" y="250778"/>
                    <a:pt x="38146" y="251077"/>
                  </a:cubicBezTo>
                  <a:lnTo>
                    <a:pt x="44698" y="253459"/>
                  </a:lnTo>
                  <a:lnTo>
                    <a:pt x="45204" y="253767"/>
                  </a:lnTo>
                  <a:lnTo>
                    <a:pt x="50810" y="258217"/>
                  </a:lnTo>
                  <a:lnTo>
                    <a:pt x="56908" y="259340"/>
                  </a:lnTo>
                  <a:lnTo>
                    <a:pt x="57612" y="259648"/>
                  </a:lnTo>
                  <a:lnTo>
                    <a:pt x="63537" y="263784"/>
                  </a:lnTo>
                  <a:lnTo>
                    <a:pt x="64299" y="264912"/>
                  </a:lnTo>
                  <a:lnTo>
                    <a:pt x="64381" y="265192"/>
                  </a:lnTo>
                  <a:lnTo>
                    <a:pt x="71269" y="268012"/>
                  </a:lnTo>
                  <a:cubicBezTo>
                    <a:pt x="71269" y="268012"/>
                    <a:pt x="73578" y="268128"/>
                    <a:pt x="76158" y="267492"/>
                  </a:cubicBezTo>
                  <a:cubicBezTo>
                    <a:pt x="78737" y="266874"/>
                    <a:pt x="76939" y="264912"/>
                    <a:pt x="75246" y="261794"/>
                  </a:cubicBezTo>
                  <a:cubicBezTo>
                    <a:pt x="73578" y="258713"/>
                    <a:pt x="78361" y="256626"/>
                    <a:pt x="80168" y="254447"/>
                  </a:cubicBezTo>
                  <a:cubicBezTo>
                    <a:pt x="81981" y="252258"/>
                    <a:pt x="84806" y="253280"/>
                    <a:pt x="87004" y="253039"/>
                  </a:cubicBezTo>
                  <a:cubicBezTo>
                    <a:pt x="89202" y="252784"/>
                    <a:pt x="91651" y="259238"/>
                    <a:pt x="91651" y="259238"/>
                  </a:cubicBezTo>
                  <a:lnTo>
                    <a:pt x="97610" y="261046"/>
                  </a:lnTo>
                  <a:lnTo>
                    <a:pt x="101997" y="254066"/>
                  </a:lnTo>
                  <a:lnTo>
                    <a:pt x="105882" y="251101"/>
                  </a:lnTo>
                  <a:lnTo>
                    <a:pt x="111691" y="256630"/>
                  </a:lnTo>
                  <a:cubicBezTo>
                    <a:pt x="111691" y="256630"/>
                    <a:pt x="111166" y="259238"/>
                    <a:pt x="106919" y="262840"/>
                  </a:cubicBezTo>
                  <a:cubicBezTo>
                    <a:pt x="108456" y="262840"/>
                    <a:pt x="118397" y="265819"/>
                    <a:pt x="118397" y="265819"/>
                  </a:cubicBezTo>
                  <a:lnTo>
                    <a:pt x="124847" y="261803"/>
                  </a:lnTo>
                  <a:lnTo>
                    <a:pt x="128072" y="256144"/>
                  </a:lnTo>
                  <a:cubicBezTo>
                    <a:pt x="128072" y="256144"/>
                    <a:pt x="130800" y="257811"/>
                    <a:pt x="131822" y="260154"/>
                  </a:cubicBezTo>
                  <a:cubicBezTo>
                    <a:pt x="132078" y="269049"/>
                    <a:pt x="135698" y="276420"/>
                    <a:pt x="135698" y="276420"/>
                  </a:cubicBezTo>
                  <a:lnTo>
                    <a:pt x="143315" y="279403"/>
                  </a:lnTo>
                  <a:cubicBezTo>
                    <a:pt x="143315" y="279403"/>
                    <a:pt x="143729" y="281944"/>
                    <a:pt x="143595" y="284947"/>
                  </a:cubicBezTo>
                  <a:cubicBezTo>
                    <a:pt x="143469" y="287883"/>
                    <a:pt x="157271" y="285743"/>
                    <a:pt x="157271" y="285743"/>
                  </a:cubicBezTo>
                  <a:lnTo>
                    <a:pt x="163986" y="283014"/>
                  </a:lnTo>
                  <a:lnTo>
                    <a:pt x="169019" y="285738"/>
                  </a:lnTo>
                  <a:lnTo>
                    <a:pt x="171072" y="292699"/>
                  </a:lnTo>
                  <a:lnTo>
                    <a:pt x="178708" y="298243"/>
                  </a:lnTo>
                  <a:lnTo>
                    <a:pt x="185048" y="296821"/>
                  </a:lnTo>
                  <a:lnTo>
                    <a:pt x="194062" y="302654"/>
                  </a:lnTo>
                  <a:lnTo>
                    <a:pt x="192510" y="309605"/>
                  </a:lnTo>
                  <a:cubicBezTo>
                    <a:pt x="192510" y="309605"/>
                    <a:pt x="189676" y="312560"/>
                    <a:pt x="186195" y="316595"/>
                  </a:cubicBezTo>
                  <a:cubicBezTo>
                    <a:pt x="186976" y="331838"/>
                    <a:pt x="180271" y="336187"/>
                    <a:pt x="177416" y="338144"/>
                  </a:cubicBezTo>
                  <a:cubicBezTo>
                    <a:pt x="174572" y="340077"/>
                    <a:pt x="173165" y="340853"/>
                    <a:pt x="173410" y="343972"/>
                  </a:cubicBezTo>
                  <a:cubicBezTo>
                    <a:pt x="173666" y="347048"/>
                    <a:pt x="178063" y="348614"/>
                    <a:pt x="178063" y="348614"/>
                  </a:cubicBezTo>
                  <a:lnTo>
                    <a:pt x="177286" y="354925"/>
                  </a:lnTo>
                  <a:lnTo>
                    <a:pt x="182440" y="353883"/>
                  </a:lnTo>
                  <a:lnTo>
                    <a:pt x="195099" y="356757"/>
                  </a:lnTo>
                  <a:lnTo>
                    <a:pt x="198078" y="356198"/>
                  </a:lnTo>
                  <a:cubicBezTo>
                    <a:pt x="198078" y="356198"/>
                    <a:pt x="201665" y="355262"/>
                    <a:pt x="205198" y="356188"/>
                  </a:cubicBezTo>
                  <a:cubicBezTo>
                    <a:pt x="205309" y="352360"/>
                    <a:pt x="205449" y="345770"/>
                    <a:pt x="205449" y="345770"/>
                  </a:cubicBezTo>
                  <a:lnTo>
                    <a:pt x="210998" y="340853"/>
                  </a:lnTo>
                  <a:lnTo>
                    <a:pt x="209691" y="335415"/>
                  </a:lnTo>
                  <a:lnTo>
                    <a:pt x="206081" y="333338"/>
                  </a:lnTo>
                  <a:lnTo>
                    <a:pt x="202200" y="326651"/>
                  </a:lnTo>
                  <a:lnTo>
                    <a:pt x="196266" y="323942"/>
                  </a:lnTo>
                  <a:lnTo>
                    <a:pt x="195094" y="316595"/>
                  </a:lnTo>
                  <a:lnTo>
                    <a:pt x="201028" y="319386"/>
                  </a:lnTo>
                  <a:cubicBezTo>
                    <a:pt x="201028" y="319386"/>
                    <a:pt x="207633" y="308843"/>
                    <a:pt x="216141" y="306404"/>
                  </a:cubicBezTo>
                  <a:cubicBezTo>
                    <a:pt x="218455" y="305975"/>
                    <a:pt x="220533" y="299540"/>
                    <a:pt x="216517" y="298629"/>
                  </a:cubicBezTo>
                  <a:cubicBezTo>
                    <a:pt x="212531" y="297713"/>
                    <a:pt x="211899" y="295784"/>
                    <a:pt x="212531" y="293851"/>
                  </a:cubicBezTo>
                  <a:cubicBezTo>
                    <a:pt x="213186" y="291928"/>
                    <a:pt x="214642" y="289243"/>
                    <a:pt x="218426" y="285511"/>
                  </a:cubicBezTo>
                  <a:cubicBezTo>
                    <a:pt x="222211" y="281833"/>
                    <a:pt x="226978" y="274732"/>
                    <a:pt x="225325" y="270620"/>
                  </a:cubicBezTo>
                  <a:cubicBezTo>
                    <a:pt x="223628" y="266474"/>
                    <a:pt x="228796" y="260415"/>
                    <a:pt x="223628" y="254076"/>
                  </a:cubicBezTo>
                  <a:cubicBezTo>
                    <a:pt x="218455" y="247755"/>
                    <a:pt x="216662" y="243629"/>
                    <a:pt x="216662" y="243629"/>
                  </a:cubicBezTo>
                  <a:lnTo>
                    <a:pt x="217703" y="237666"/>
                  </a:lnTo>
                  <a:lnTo>
                    <a:pt x="212916" y="234711"/>
                  </a:lnTo>
                  <a:lnTo>
                    <a:pt x="212916" y="229018"/>
                  </a:lnTo>
                  <a:cubicBezTo>
                    <a:pt x="212916" y="229018"/>
                    <a:pt x="205300" y="225788"/>
                    <a:pt x="206861" y="223194"/>
                  </a:cubicBezTo>
                  <a:cubicBezTo>
                    <a:pt x="208380" y="220639"/>
                    <a:pt x="209686" y="219945"/>
                    <a:pt x="207879" y="217771"/>
                  </a:cubicBezTo>
                  <a:cubicBezTo>
                    <a:pt x="206076" y="215592"/>
                    <a:pt x="206577" y="213114"/>
                    <a:pt x="208650" y="213403"/>
                  </a:cubicBezTo>
                  <a:cubicBezTo>
                    <a:pt x="210718" y="213664"/>
                    <a:pt x="215640" y="209397"/>
                    <a:pt x="215640" y="209397"/>
                  </a:cubicBezTo>
                  <a:lnTo>
                    <a:pt x="224028" y="213114"/>
                  </a:lnTo>
                  <a:lnTo>
                    <a:pt x="222490" y="203984"/>
                  </a:lnTo>
                  <a:lnTo>
                    <a:pt x="228044" y="209513"/>
                  </a:lnTo>
                  <a:lnTo>
                    <a:pt x="232662" y="208751"/>
                  </a:lnTo>
                  <a:lnTo>
                    <a:pt x="239773" y="212497"/>
                  </a:lnTo>
                  <a:lnTo>
                    <a:pt x="245721" y="210559"/>
                  </a:lnTo>
                  <a:lnTo>
                    <a:pt x="251390" y="210940"/>
                  </a:lnTo>
                  <a:cubicBezTo>
                    <a:pt x="251390" y="210940"/>
                    <a:pt x="262401" y="204215"/>
                    <a:pt x="266759" y="207064"/>
                  </a:cubicBezTo>
                  <a:cubicBezTo>
                    <a:pt x="271155" y="209899"/>
                    <a:pt x="274376" y="204499"/>
                    <a:pt x="275672" y="203207"/>
                  </a:cubicBezTo>
                  <a:cubicBezTo>
                    <a:pt x="276969" y="201896"/>
                    <a:pt x="280970" y="197900"/>
                    <a:pt x="276574" y="193894"/>
                  </a:cubicBezTo>
                  <a:cubicBezTo>
                    <a:pt x="272201" y="189878"/>
                    <a:pt x="269227" y="184190"/>
                    <a:pt x="269227" y="184190"/>
                  </a:cubicBezTo>
                  <a:lnTo>
                    <a:pt x="274376" y="178520"/>
                  </a:lnTo>
                  <a:lnTo>
                    <a:pt x="282918" y="177378"/>
                  </a:lnTo>
                  <a:lnTo>
                    <a:pt x="286133" y="170369"/>
                  </a:lnTo>
                  <a:lnTo>
                    <a:pt x="292853" y="165866"/>
                  </a:lnTo>
                  <a:lnTo>
                    <a:pt x="298296" y="162492"/>
                  </a:lnTo>
                  <a:cubicBezTo>
                    <a:pt x="298296" y="162492"/>
                    <a:pt x="296194" y="156948"/>
                    <a:pt x="298397" y="153207"/>
                  </a:cubicBezTo>
                  <a:cubicBezTo>
                    <a:pt x="300600" y="149442"/>
                    <a:pt x="301246" y="147793"/>
                    <a:pt x="300089" y="143913"/>
                  </a:cubicBezTo>
                  <a:cubicBezTo>
                    <a:pt x="298908" y="140042"/>
                    <a:pt x="296083" y="134729"/>
                    <a:pt x="293393" y="135645"/>
                  </a:cubicBezTo>
                  <a:cubicBezTo>
                    <a:pt x="290645" y="136580"/>
                    <a:pt x="289223" y="135901"/>
                    <a:pt x="289223" y="135901"/>
                  </a:cubicBezTo>
                  <a:lnTo>
                    <a:pt x="277890" y="132806"/>
                  </a:lnTo>
                  <a:lnTo>
                    <a:pt x="271922" y="126486"/>
                  </a:lnTo>
                  <a:lnTo>
                    <a:pt x="271922" y="121564"/>
                  </a:lnTo>
                  <a:lnTo>
                    <a:pt x="274115" y="115639"/>
                  </a:lnTo>
                  <a:cubicBezTo>
                    <a:pt x="274115" y="115639"/>
                    <a:pt x="271922" y="107516"/>
                    <a:pt x="279158" y="107242"/>
                  </a:cubicBezTo>
                  <a:cubicBezTo>
                    <a:pt x="286393" y="107000"/>
                    <a:pt x="287165" y="107242"/>
                    <a:pt x="287165" y="107242"/>
                  </a:cubicBezTo>
                  <a:lnTo>
                    <a:pt x="299805" y="110225"/>
                  </a:lnTo>
                  <a:lnTo>
                    <a:pt x="300875" y="98309"/>
                  </a:lnTo>
                  <a:lnTo>
                    <a:pt x="302533" y="89395"/>
                  </a:lnTo>
                  <a:lnTo>
                    <a:pt x="304717" y="81412"/>
                  </a:lnTo>
                  <a:cubicBezTo>
                    <a:pt x="304717" y="81412"/>
                    <a:pt x="321026" y="67987"/>
                    <a:pt x="314301" y="45233"/>
                  </a:cubicBezTo>
                  <a:cubicBezTo>
                    <a:pt x="315723" y="40345"/>
                    <a:pt x="316099" y="37105"/>
                    <a:pt x="316099" y="37105"/>
                  </a:cubicBezTo>
                  <a:close/>
                  <a:moveTo>
                    <a:pt x="202388" y="123309"/>
                  </a:moveTo>
                  <a:lnTo>
                    <a:pt x="201872" y="125902"/>
                  </a:lnTo>
                  <a:lnTo>
                    <a:pt x="198015" y="131398"/>
                  </a:lnTo>
                  <a:lnTo>
                    <a:pt x="197037" y="132381"/>
                  </a:lnTo>
                  <a:lnTo>
                    <a:pt x="191324" y="136383"/>
                  </a:lnTo>
                  <a:lnTo>
                    <a:pt x="185549" y="139246"/>
                  </a:lnTo>
                  <a:lnTo>
                    <a:pt x="182657" y="140427"/>
                  </a:lnTo>
                  <a:lnTo>
                    <a:pt x="182054" y="140823"/>
                  </a:lnTo>
                  <a:lnTo>
                    <a:pt x="179648" y="143199"/>
                  </a:lnTo>
                  <a:lnTo>
                    <a:pt x="179369" y="143609"/>
                  </a:lnTo>
                  <a:lnTo>
                    <a:pt x="176091" y="149625"/>
                  </a:lnTo>
                  <a:lnTo>
                    <a:pt x="170350" y="152248"/>
                  </a:lnTo>
                  <a:lnTo>
                    <a:pt x="165312" y="152768"/>
                  </a:lnTo>
                  <a:lnTo>
                    <a:pt x="160120" y="149625"/>
                  </a:lnTo>
                  <a:lnTo>
                    <a:pt x="157358" y="146304"/>
                  </a:lnTo>
                  <a:lnTo>
                    <a:pt x="156297" y="145696"/>
                  </a:lnTo>
                  <a:lnTo>
                    <a:pt x="150001" y="144564"/>
                  </a:lnTo>
                  <a:lnTo>
                    <a:pt x="139502" y="139299"/>
                  </a:lnTo>
                  <a:lnTo>
                    <a:pt x="139372" y="139222"/>
                  </a:lnTo>
                  <a:lnTo>
                    <a:pt x="134310" y="137217"/>
                  </a:lnTo>
                  <a:lnTo>
                    <a:pt x="138104" y="133982"/>
                  </a:lnTo>
                  <a:lnTo>
                    <a:pt x="138697" y="132946"/>
                  </a:lnTo>
                  <a:lnTo>
                    <a:pt x="139854" y="127199"/>
                  </a:lnTo>
                  <a:lnTo>
                    <a:pt x="142736" y="120865"/>
                  </a:lnTo>
                  <a:lnTo>
                    <a:pt x="142886" y="120074"/>
                  </a:lnTo>
                  <a:lnTo>
                    <a:pt x="142886" y="119505"/>
                  </a:lnTo>
                  <a:lnTo>
                    <a:pt x="142857" y="119139"/>
                  </a:lnTo>
                  <a:lnTo>
                    <a:pt x="141676" y="113200"/>
                  </a:lnTo>
                  <a:lnTo>
                    <a:pt x="141594" y="112906"/>
                  </a:lnTo>
                  <a:lnTo>
                    <a:pt x="139425" y="106952"/>
                  </a:lnTo>
                  <a:lnTo>
                    <a:pt x="140442" y="103578"/>
                  </a:lnTo>
                  <a:lnTo>
                    <a:pt x="145084" y="105651"/>
                  </a:lnTo>
                  <a:lnTo>
                    <a:pt x="146506" y="105708"/>
                  </a:lnTo>
                  <a:lnTo>
                    <a:pt x="152460" y="103351"/>
                  </a:lnTo>
                  <a:lnTo>
                    <a:pt x="153072" y="102903"/>
                  </a:lnTo>
                  <a:lnTo>
                    <a:pt x="159026" y="96978"/>
                  </a:lnTo>
                  <a:lnTo>
                    <a:pt x="159026" y="96896"/>
                  </a:lnTo>
                  <a:cubicBezTo>
                    <a:pt x="159069" y="96843"/>
                    <a:pt x="159156" y="96843"/>
                    <a:pt x="159190" y="96790"/>
                  </a:cubicBezTo>
                  <a:lnTo>
                    <a:pt x="160968" y="94390"/>
                  </a:lnTo>
                  <a:lnTo>
                    <a:pt x="161325" y="93305"/>
                  </a:lnTo>
                  <a:lnTo>
                    <a:pt x="161325" y="92712"/>
                  </a:lnTo>
                  <a:lnTo>
                    <a:pt x="160867" y="91516"/>
                  </a:lnTo>
                  <a:lnTo>
                    <a:pt x="155521" y="85563"/>
                  </a:lnTo>
                  <a:lnTo>
                    <a:pt x="153800" y="84989"/>
                  </a:lnTo>
                  <a:lnTo>
                    <a:pt x="149331" y="85881"/>
                  </a:lnTo>
                  <a:lnTo>
                    <a:pt x="147687" y="81754"/>
                  </a:lnTo>
                  <a:lnTo>
                    <a:pt x="148251" y="75608"/>
                  </a:lnTo>
                  <a:lnTo>
                    <a:pt x="148160" y="74986"/>
                  </a:lnTo>
                  <a:lnTo>
                    <a:pt x="146376" y="68999"/>
                  </a:lnTo>
                  <a:lnTo>
                    <a:pt x="146202" y="68555"/>
                  </a:lnTo>
                  <a:lnTo>
                    <a:pt x="143522" y="64111"/>
                  </a:lnTo>
                  <a:cubicBezTo>
                    <a:pt x="150199" y="59589"/>
                    <a:pt x="157208" y="54821"/>
                    <a:pt x="163359" y="49639"/>
                  </a:cubicBezTo>
                  <a:lnTo>
                    <a:pt x="168026" y="51741"/>
                  </a:lnTo>
                  <a:lnTo>
                    <a:pt x="168980" y="56523"/>
                  </a:lnTo>
                  <a:lnTo>
                    <a:pt x="168460" y="62385"/>
                  </a:lnTo>
                  <a:lnTo>
                    <a:pt x="165124" y="67991"/>
                  </a:lnTo>
                  <a:lnTo>
                    <a:pt x="165066" y="69736"/>
                  </a:lnTo>
                  <a:lnTo>
                    <a:pt x="168011" y="75680"/>
                  </a:lnTo>
                  <a:lnTo>
                    <a:pt x="169491" y="76659"/>
                  </a:lnTo>
                  <a:lnTo>
                    <a:pt x="175686" y="77233"/>
                  </a:lnTo>
                  <a:lnTo>
                    <a:pt x="181316" y="80091"/>
                  </a:lnTo>
                  <a:lnTo>
                    <a:pt x="182951" y="80091"/>
                  </a:lnTo>
                  <a:lnTo>
                    <a:pt x="188177" y="77464"/>
                  </a:lnTo>
                  <a:lnTo>
                    <a:pt x="190987" y="78568"/>
                  </a:lnTo>
                  <a:lnTo>
                    <a:pt x="185819" y="82328"/>
                  </a:lnTo>
                  <a:lnTo>
                    <a:pt x="185308" y="82979"/>
                  </a:lnTo>
                  <a:lnTo>
                    <a:pt x="182300" y="88947"/>
                  </a:lnTo>
                  <a:lnTo>
                    <a:pt x="182088" y="89723"/>
                  </a:lnTo>
                  <a:lnTo>
                    <a:pt x="182088" y="102252"/>
                  </a:lnTo>
                  <a:lnTo>
                    <a:pt x="182435" y="103250"/>
                  </a:lnTo>
                  <a:lnTo>
                    <a:pt x="186614" y="109232"/>
                  </a:lnTo>
                  <a:lnTo>
                    <a:pt x="187733" y="109965"/>
                  </a:lnTo>
                  <a:lnTo>
                    <a:pt x="190698" y="110577"/>
                  </a:lnTo>
                  <a:lnTo>
                    <a:pt x="190900" y="110601"/>
                  </a:lnTo>
                  <a:lnTo>
                    <a:pt x="197447" y="111199"/>
                  </a:lnTo>
                  <a:lnTo>
                    <a:pt x="197586" y="111199"/>
                  </a:lnTo>
                  <a:lnTo>
                    <a:pt x="200281" y="111199"/>
                  </a:lnTo>
                  <a:lnTo>
                    <a:pt x="198820" y="112472"/>
                  </a:lnTo>
                  <a:lnTo>
                    <a:pt x="199486" y="114419"/>
                  </a:lnTo>
                  <a:lnTo>
                    <a:pt x="201390" y="115871"/>
                  </a:lnTo>
                  <a:lnTo>
                    <a:pt x="202880" y="120802"/>
                  </a:lnTo>
                  <a:lnTo>
                    <a:pt x="202388" y="12330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40" name="Freihandform: Form 639">
              <a:extLst>
                <a:ext uri="{FF2B5EF4-FFF2-40B4-BE49-F238E27FC236}">
                  <a16:creationId xmlns:a16="http://schemas.microsoft.com/office/drawing/2014/main" id="{E19F337F-DCEF-8544-AEA3-E3AC5D114C3E}"/>
                </a:ext>
              </a:extLst>
            </p:cNvPr>
            <p:cNvSpPr/>
            <p:nvPr/>
          </p:nvSpPr>
          <p:spPr>
            <a:xfrm>
              <a:off x="4873800" y="3857634"/>
              <a:ext cx="71430" cy="52390"/>
            </a:xfrm>
            <a:custGeom>
              <a:avLst/>
              <a:gdLst>
                <a:gd name="connsiteX0" fmla="*/ 55125 w 55626"/>
                <a:gd name="connsiteY0" fmla="*/ 11844 h 40141"/>
                <a:gd name="connsiteX1" fmla="*/ 54059 w 55626"/>
                <a:gd name="connsiteY1" fmla="*/ 14530 h 40141"/>
                <a:gd name="connsiteX2" fmla="*/ 52493 w 55626"/>
                <a:gd name="connsiteY2" fmla="*/ 17142 h 40141"/>
                <a:gd name="connsiteX3" fmla="*/ 47127 w 55626"/>
                <a:gd name="connsiteY3" fmla="*/ 21982 h 40141"/>
                <a:gd name="connsiteX4" fmla="*/ 41087 w 55626"/>
                <a:gd name="connsiteY4" fmla="*/ 23067 h 40141"/>
                <a:gd name="connsiteX5" fmla="*/ 40398 w 55626"/>
                <a:gd name="connsiteY5" fmla="*/ 23361 h 40141"/>
                <a:gd name="connsiteX6" fmla="*/ 35056 w 55626"/>
                <a:gd name="connsiteY6" fmla="*/ 26938 h 40141"/>
                <a:gd name="connsiteX7" fmla="*/ 34521 w 55626"/>
                <a:gd name="connsiteY7" fmla="*/ 27449 h 40141"/>
                <a:gd name="connsiteX8" fmla="*/ 30452 w 55626"/>
                <a:gd name="connsiteY8" fmla="*/ 33851 h 40141"/>
                <a:gd name="connsiteX9" fmla="*/ 25048 w 55626"/>
                <a:gd name="connsiteY9" fmla="*/ 39274 h 40141"/>
                <a:gd name="connsiteX10" fmla="*/ 19996 w 55626"/>
                <a:gd name="connsiteY10" fmla="*/ 40142 h 40141"/>
                <a:gd name="connsiteX11" fmla="*/ 656 w 55626"/>
                <a:gd name="connsiteY11" fmla="*/ 29006 h 40141"/>
                <a:gd name="connsiteX12" fmla="*/ 0 w 55626"/>
                <a:gd name="connsiteY12" fmla="*/ 25680 h 40141"/>
                <a:gd name="connsiteX13" fmla="*/ 4879 w 55626"/>
                <a:gd name="connsiteY13" fmla="*/ 22248 h 40141"/>
                <a:gd name="connsiteX14" fmla="*/ 11329 w 55626"/>
                <a:gd name="connsiteY14" fmla="*/ 18743 h 40141"/>
                <a:gd name="connsiteX15" fmla="*/ 11411 w 55626"/>
                <a:gd name="connsiteY15" fmla="*/ 18719 h 40141"/>
                <a:gd name="connsiteX16" fmla="*/ 17282 w 55626"/>
                <a:gd name="connsiteY16" fmla="*/ 15132 h 40141"/>
                <a:gd name="connsiteX17" fmla="*/ 23183 w 55626"/>
                <a:gd name="connsiteY17" fmla="*/ 12235 h 40141"/>
                <a:gd name="connsiteX18" fmla="*/ 23795 w 55626"/>
                <a:gd name="connsiteY18" fmla="*/ 11729 h 40141"/>
                <a:gd name="connsiteX19" fmla="*/ 26022 w 55626"/>
                <a:gd name="connsiteY19" fmla="*/ 8938 h 40141"/>
                <a:gd name="connsiteX20" fmla="*/ 31735 w 55626"/>
                <a:gd name="connsiteY20" fmla="*/ 4353 h 40141"/>
                <a:gd name="connsiteX21" fmla="*/ 37360 w 55626"/>
                <a:gd name="connsiteY21" fmla="*/ 993 h 40141"/>
                <a:gd name="connsiteX22" fmla="*/ 41289 w 55626"/>
                <a:gd name="connsiteY22" fmla="*/ 0 h 40141"/>
                <a:gd name="connsiteX23" fmla="*/ 46602 w 55626"/>
                <a:gd name="connsiteY23" fmla="*/ 2126 h 40141"/>
                <a:gd name="connsiteX24" fmla="*/ 50073 w 55626"/>
                <a:gd name="connsiteY24" fmla="*/ 3847 h 40141"/>
                <a:gd name="connsiteX25" fmla="*/ 55217 w 55626"/>
                <a:gd name="connsiteY25" fmla="*/ 6937 h 40141"/>
                <a:gd name="connsiteX26" fmla="*/ 55626 w 55626"/>
                <a:gd name="connsiteY26" fmla="*/ 9381 h 40141"/>
                <a:gd name="connsiteX27" fmla="*/ 55125 w 55626"/>
                <a:gd name="connsiteY27" fmla="*/ 11844 h 40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5626" h="40141">
                  <a:moveTo>
                    <a:pt x="55125" y="11844"/>
                  </a:moveTo>
                  <a:lnTo>
                    <a:pt x="54059" y="14530"/>
                  </a:lnTo>
                  <a:lnTo>
                    <a:pt x="52493" y="17142"/>
                  </a:lnTo>
                  <a:lnTo>
                    <a:pt x="47127" y="21982"/>
                  </a:lnTo>
                  <a:lnTo>
                    <a:pt x="41087" y="23067"/>
                  </a:lnTo>
                  <a:lnTo>
                    <a:pt x="40398" y="23361"/>
                  </a:lnTo>
                  <a:lnTo>
                    <a:pt x="35056" y="26938"/>
                  </a:lnTo>
                  <a:lnTo>
                    <a:pt x="34521" y="27449"/>
                  </a:lnTo>
                  <a:lnTo>
                    <a:pt x="30452" y="33851"/>
                  </a:lnTo>
                  <a:lnTo>
                    <a:pt x="25048" y="39274"/>
                  </a:lnTo>
                  <a:lnTo>
                    <a:pt x="19996" y="40142"/>
                  </a:lnTo>
                  <a:cubicBezTo>
                    <a:pt x="15537" y="34410"/>
                    <a:pt x="8070" y="29537"/>
                    <a:pt x="656" y="29006"/>
                  </a:cubicBezTo>
                  <a:lnTo>
                    <a:pt x="0" y="25680"/>
                  </a:lnTo>
                  <a:lnTo>
                    <a:pt x="4879" y="22248"/>
                  </a:lnTo>
                  <a:lnTo>
                    <a:pt x="11329" y="18743"/>
                  </a:lnTo>
                  <a:lnTo>
                    <a:pt x="11411" y="18719"/>
                  </a:lnTo>
                  <a:lnTo>
                    <a:pt x="17282" y="15132"/>
                  </a:lnTo>
                  <a:lnTo>
                    <a:pt x="23183" y="12235"/>
                  </a:lnTo>
                  <a:lnTo>
                    <a:pt x="23795" y="11729"/>
                  </a:lnTo>
                  <a:lnTo>
                    <a:pt x="26022" y="8938"/>
                  </a:lnTo>
                  <a:lnTo>
                    <a:pt x="31735" y="4353"/>
                  </a:lnTo>
                  <a:lnTo>
                    <a:pt x="37360" y="993"/>
                  </a:lnTo>
                  <a:lnTo>
                    <a:pt x="41289" y="0"/>
                  </a:lnTo>
                  <a:lnTo>
                    <a:pt x="46602" y="2126"/>
                  </a:lnTo>
                  <a:lnTo>
                    <a:pt x="50073" y="3847"/>
                  </a:lnTo>
                  <a:lnTo>
                    <a:pt x="55217" y="6937"/>
                  </a:lnTo>
                  <a:lnTo>
                    <a:pt x="55626" y="9381"/>
                  </a:lnTo>
                  <a:lnTo>
                    <a:pt x="55125" y="1184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42" name="Freihandform: Form 641">
              <a:extLst>
                <a:ext uri="{FF2B5EF4-FFF2-40B4-BE49-F238E27FC236}">
                  <a16:creationId xmlns:a16="http://schemas.microsoft.com/office/drawing/2014/main" id="{E2A95647-F9BD-6A8E-BC0B-6ACA502D38F5}"/>
                </a:ext>
              </a:extLst>
            </p:cNvPr>
            <p:cNvSpPr/>
            <p:nvPr/>
          </p:nvSpPr>
          <p:spPr>
            <a:xfrm>
              <a:off x="3262670" y="3209909"/>
              <a:ext cx="512704" cy="592160"/>
            </a:xfrm>
            <a:custGeom>
              <a:avLst/>
              <a:gdLst>
                <a:gd name="connsiteX0" fmla="*/ 382991 w 401888"/>
                <a:gd name="connsiteY0" fmla="*/ 185655 h 465323"/>
                <a:gd name="connsiteX1" fmla="*/ 377163 w 401888"/>
                <a:gd name="connsiteY1" fmla="*/ 182888 h 465323"/>
                <a:gd name="connsiteX2" fmla="*/ 363718 w 401888"/>
                <a:gd name="connsiteY2" fmla="*/ 183929 h 465323"/>
                <a:gd name="connsiteX3" fmla="*/ 361809 w 401888"/>
                <a:gd name="connsiteY3" fmla="*/ 177894 h 465323"/>
                <a:gd name="connsiteX4" fmla="*/ 364759 w 401888"/>
                <a:gd name="connsiteY4" fmla="*/ 169303 h 465323"/>
                <a:gd name="connsiteX5" fmla="*/ 359765 w 401888"/>
                <a:gd name="connsiteY5" fmla="*/ 162925 h 465323"/>
                <a:gd name="connsiteX6" fmla="*/ 350813 w 401888"/>
                <a:gd name="connsiteY6" fmla="*/ 148107 h 465323"/>
                <a:gd name="connsiteX7" fmla="*/ 353710 w 401888"/>
                <a:gd name="connsiteY7" fmla="*/ 143821 h 465323"/>
                <a:gd name="connsiteX8" fmla="*/ 347718 w 401888"/>
                <a:gd name="connsiteY8" fmla="*/ 131567 h 465323"/>
                <a:gd name="connsiteX9" fmla="*/ 341509 w 401888"/>
                <a:gd name="connsiteY9" fmla="*/ 128833 h 465323"/>
                <a:gd name="connsiteX10" fmla="*/ 334085 w 401888"/>
                <a:gd name="connsiteY10" fmla="*/ 136942 h 465323"/>
                <a:gd name="connsiteX11" fmla="*/ 328580 w 401888"/>
                <a:gd name="connsiteY11" fmla="*/ 136084 h 465323"/>
                <a:gd name="connsiteX12" fmla="*/ 327191 w 401888"/>
                <a:gd name="connsiteY12" fmla="*/ 141059 h 465323"/>
                <a:gd name="connsiteX13" fmla="*/ 328927 w 401888"/>
                <a:gd name="connsiteY13" fmla="*/ 144853 h 465323"/>
                <a:gd name="connsiteX14" fmla="*/ 326155 w 401888"/>
                <a:gd name="connsiteY14" fmla="*/ 151915 h 465323"/>
                <a:gd name="connsiteX15" fmla="*/ 321011 w 401888"/>
                <a:gd name="connsiteY15" fmla="*/ 155531 h 465323"/>
                <a:gd name="connsiteX16" fmla="*/ 317902 w 401888"/>
                <a:gd name="connsiteY16" fmla="*/ 159662 h 465323"/>
                <a:gd name="connsiteX17" fmla="*/ 313929 w 401888"/>
                <a:gd name="connsiteY17" fmla="*/ 159662 h 465323"/>
                <a:gd name="connsiteX18" fmla="*/ 312044 w 401888"/>
                <a:gd name="connsiteY18" fmla="*/ 162578 h 465323"/>
                <a:gd name="connsiteX19" fmla="*/ 302572 w 401888"/>
                <a:gd name="connsiteY19" fmla="*/ 156740 h 465323"/>
                <a:gd name="connsiteX20" fmla="*/ 297751 w 401888"/>
                <a:gd name="connsiteY20" fmla="*/ 157088 h 465323"/>
                <a:gd name="connsiteX21" fmla="*/ 292072 w 401888"/>
                <a:gd name="connsiteY21" fmla="*/ 154499 h 465323"/>
                <a:gd name="connsiteX22" fmla="*/ 286904 w 401888"/>
                <a:gd name="connsiteY22" fmla="*/ 146598 h 465323"/>
                <a:gd name="connsiteX23" fmla="*/ 278984 w 401888"/>
                <a:gd name="connsiteY23" fmla="*/ 142953 h 465323"/>
                <a:gd name="connsiteX24" fmla="*/ 274862 w 401888"/>
                <a:gd name="connsiteY24" fmla="*/ 132960 h 465323"/>
                <a:gd name="connsiteX25" fmla="*/ 272452 w 401888"/>
                <a:gd name="connsiteY25" fmla="*/ 128506 h 465323"/>
                <a:gd name="connsiteX26" fmla="*/ 270369 w 401888"/>
                <a:gd name="connsiteY26" fmla="*/ 124881 h 465323"/>
                <a:gd name="connsiteX27" fmla="*/ 263992 w 401888"/>
                <a:gd name="connsiteY27" fmla="*/ 116767 h 465323"/>
                <a:gd name="connsiteX28" fmla="*/ 257971 w 401888"/>
                <a:gd name="connsiteY28" fmla="*/ 102161 h 465323"/>
                <a:gd name="connsiteX29" fmla="*/ 268996 w 401888"/>
                <a:gd name="connsiteY29" fmla="*/ 101471 h 465323"/>
                <a:gd name="connsiteX30" fmla="*/ 274674 w 401888"/>
                <a:gd name="connsiteY30" fmla="*/ 94399 h 465323"/>
                <a:gd name="connsiteX31" fmla="*/ 280353 w 401888"/>
                <a:gd name="connsiteY31" fmla="*/ 97152 h 465323"/>
                <a:gd name="connsiteX32" fmla="*/ 285868 w 401888"/>
                <a:gd name="connsiteY32" fmla="*/ 97851 h 465323"/>
                <a:gd name="connsiteX33" fmla="*/ 291889 w 401888"/>
                <a:gd name="connsiteY33" fmla="*/ 93363 h 465323"/>
                <a:gd name="connsiteX34" fmla="*/ 298272 w 401888"/>
                <a:gd name="connsiteY34" fmla="*/ 91488 h 465323"/>
                <a:gd name="connsiteX35" fmla="*/ 292757 w 401888"/>
                <a:gd name="connsiteY35" fmla="*/ 87689 h 465323"/>
                <a:gd name="connsiteX36" fmla="*/ 286234 w 401888"/>
                <a:gd name="connsiteY36" fmla="*/ 82506 h 465323"/>
                <a:gd name="connsiteX37" fmla="*/ 284499 w 401888"/>
                <a:gd name="connsiteY37" fmla="*/ 74928 h 465323"/>
                <a:gd name="connsiteX38" fmla="*/ 291397 w 401888"/>
                <a:gd name="connsiteY38" fmla="*/ 73723 h 465323"/>
                <a:gd name="connsiteX39" fmla="*/ 298460 w 401888"/>
                <a:gd name="connsiteY39" fmla="*/ 78722 h 465323"/>
                <a:gd name="connsiteX40" fmla="*/ 315665 w 401888"/>
                <a:gd name="connsiteY40" fmla="*/ 75116 h 465323"/>
                <a:gd name="connsiteX41" fmla="*/ 318779 w 401888"/>
                <a:gd name="connsiteY41" fmla="*/ 69091 h 465323"/>
                <a:gd name="connsiteX42" fmla="*/ 331168 w 401888"/>
                <a:gd name="connsiteY42" fmla="*/ 52710 h 465323"/>
                <a:gd name="connsiteX43" fmla="*/ 346517 w 401888"/>
                <a:gd name="connsiteY43" fmla="*/ 40229 h 465323"/>
                <a:gd name="connsiteX44" fmla="*/ 369604 w 401888"/>
                <a:gd name="connsiteY44" fmla="*/ 27121 h 465323"/>
                <a:gd name="connsiteX45" fmla="*/ 373485 w 401888"/>
                <a:gd name="connsiteY45" fmla="*/ 20392 h 465323"/>
                <a:gd name="connsiteX46" fmla="*/ 358882 w 401888"/>
                <a:gd name="connsiteY46" fmla="*/ 7236 h 465323"/>
                <a:gd name="connsiteX47" fmla="*/ 346112 w 401888"/>
                <a:gd name="connsiteY47" fmla="*/ 0 h 465323"/>
                <a:gd name="connsiteX48" fmla="*/ 348696 w 401888"/>
                <a:gd name="connsiteY48" fmla="*/ 12784 h 465323"/>
                <a:gd name="connsiteX49" fmla="*/ 344955 w 401888"/>
                <a:gd name="connsiteY49" fmla="*/ 5915 h 465323"/>
                <a:gd name="connsiteX50" fmla="*/ 333448 w 401888"/>
                <a:gd name="connsiteY50" fmla="*/ 9666 h 465323"/>
                <a:gd name="connsiteX51" fmla="*/ 332957 w 401888"/>
                <a:gd name="connsiteY51" fmla="*/ 27738 h 465323"/>
                <a:gd name="connsiteX52" fmla="*/ 326858 w 401888"/>
                <a:gd name="connsiteY52" fmla="*/ 40041 h 465323"/>
                <a:gd name="connsiteX53" fmla="*/ 316171 w 401888"/>
                <a:gd name="connsiteY53" fmla="*/ 42856 h 465323"/>
                <a:gd name="connsiteX54" fmla="*/ 319121 w 401888"/>
                <a:gd name="connsiteY54" fmla="*/ 41419 h 465323"/>
                <a:gd name="connsiteX55" fmla="*/ 320418 w 401888"/>
                <a:gd name="connsiteY55" fmla="*/ 34854 h 465323"/>
                <a:gd name="connsiteX56" fmla="*/ 326343 w 401888"/>
                <a:gd name="connsiteY56" fmla="*/ 23737 h 465323"/>
                <a:gd name="connsiteX57" fmla="*/ 324665 w 401888"/>
                <a:gd name="connsiteY57" fmla="*/ 13170 h 465323"/>
                <a:gd name="connsiteX58" fmla="*/ 320934 w 401888"/>
                <a:gd name="connsiteY58" fmla="*/ 7973 h 465323"/>
                <a:gd name="connsiteX59" fmla="*/ 313939 w 401888"/>
                <a:gd name="connsiteY59" fmla="*/ 8620 h 465323"/>
                <a:gd name="connsiteX60" fmla="*/ 311374 w 401888"/>
                <a:gd name="connsiteY60" fmla="*/ 15229 h 465323"/>
                <a:gd name="connsiteX61" fmla="*/ 315761 w 401888"/>
                <a:gd name="connsiteY61" fmla="*/ 13691 h 465323"/>
                <a:gd name="connsiteX62" fmla="*/ 314455 w 401888"/>
                <a:gd name="connsiteY62" fmla="*/ 25815 h 465323"/>
                <a:gd name="connsiteX63" fmla="*/ 314344 w 401888"/>
                <a:gd name="connsiteY63" fmla="*/ 19765 h 465323"/>
                <a:gd name="connsiteX64" fmla="*/ 308010 w 401888"/>
                <a:gd name="connsiteY64" fmla="*/ 15229 h 465323"/>
                <a:gd name="connsiteX65" fmla="*/ 310338 w 401888"/>
                <a:gd name="connsiteY65" fmla="*/ 7602 h 465323"/>
                <a:gd name="connsiteX66" fmla="*/ 300398 w 401888"/>
                <a:gd name="connsiteY66" fmla="*/ 20392 h 465323"/>
                <a:gd name="connsiteX67" fmla="*/ 296382 w 401888"/>
                <a:gd name="connsiteY67" fmla="*/ 8253 h 465323"/>
                <a:gd name="connsiteX68" fmla="*/ 272240 w 401888"/>
                <a:gd name="connsiteY68" fmla="*/ 11227 h 465323"/>
                <a:gd name="connsiteX69" fmla="*/ 268224 w 401888"/>
                <a:gd name="connsiteY69" fmla="*/ 17538 h 465323"/>
                <a:gd name="connsiteX70" fmla="*/ 266055 w 401888"/>
                <a:gd name="connsiteY70" fmla="*/ 24002 h 465323"/>
                <a:gd name="connsiteX71" fmla="*/ 260984 w 401888"/>
                <a:gd name="connsiteY71" fmla="*/ 23882 h 465323"/>
                <a:gd name="connsiteX72" fmla="*/ 255449 w 401888"/>
                <a:gd name="connsiteY72" fmla="*/ 26977 h 465323"/>
                <a:gd name="connsiteX73" fmla="*/ 258665 w 401888"/>
                <a:gd name="connsiteY73" fmla="*/ 36560 h 465323"/>
                <a:gd name="connsiteX74" fmla="*/ 252731 w 401888"/>
                <a:gd name="connsiteY74" fmla="*/ 35244 h 465323"/>
                <a:gd name="connsiteX75" fmla="*/ 253887 w 401888"/>
                <a:gd name="connsiteY75" fmla="*/ 42596 h 465323"/>
                <a:gd name="connsiteX76" fmla="*/ 259451 w 401888"/>
                <a:gd name="connsiteY76" fmla="*/ 45855 h 465323"/>
                <a:gd name="connsiteX77" fmla="*/ 250672 w 401888"/>
                <a:gd name="connsiteY77" fmla="*/ 48419 h 465323"/>
                <a:gd name="connsiteX78" fmla="*/ 241489 w 401888"/>
                <a:gd name="connsiteY78" fmla="*/ 48814 h 465323"/>
                <a:gd name="connsiteX79" fmla="*/ 247572 w 401888"/>
                <a:gd name="connsiteY79" fmla="*/ 53838 h 465323"/>
                <a:gd name="connsiteX80" fmla="*/ 249101 w 401888"/>
                <a:gd name="connsiteY80" fmla="*/ 59907 h 465323"/>
                <a:gd name="connsiteX81" fmla="*/ 239551 w 401888"/>
                <a:gd name="connsiteY81" fmla="*/ 55776 h 465323"/>
                <a:gd name="connsiteX82" fmla="*/ 219039 w 401888"/>
                <a:gd name="connsiteY82" fmla="*/ 61088 h 465323"/>
                <a:gd name="connsiteX83" fmla="*/ 236335 w 401888"/>
                <a:gd name="connsiteY83" fmla="*/ 75661 h 465323"/>
                <a:gd name="connsiteX84" fmla="*/ 244458 w 401888"/>
                <a:gd name="connsiteY84" fmla="*/ 75931 h 465323"/>
                <a:gd name="connsiteX85" fmla="*/ 244579 w 401888"/>
                <a:gd name="connsiteY85" fmla="*/ 83022 h 465323"/>
                <a:gd name="connsiteX86" fmla="*/ 250026 w 401888"/>
                <a:gd name="connsiteY86" fmla="*/ 78891 h 465323"/>
                <a:gd name="connsiteX87" fmla="*/ 263572 w 401888"/>
                <a:gd name="connsiteY87" fmla="*/ 83538 h 465323"/>
                <a:gd name="connsiteX88" fmla="*/ 258665 w 401888"/>
                <a:gd name="connsiteY88" fmla="*/ 90514 h 465323"/>
                <a:gd name="connsiteX89" fmla="*/ 256481 w 401888"/>
                <a:gd name="connsiteY89" fmla="*/ 96708 h 465323"/>
                <a:gd name="connsiteX90" fmla="*/ 237883 w 401888"/>
                <a:gd name="connsiteY90" fmla="*/ 97634 h 465323"/>
                <a:gd name="connsiteX91" fmla="*/ 230652 w 401888"/>
                <a:gd name="connsiteY91" fmla="*/ 103558 h 465323"/>
                <a:gd name="connsiteX92" fmla="*/ 224457 w 401888"/>
                <a:gd name="connsiteY92" fmla="*/ 104841 h 465323"/>
                <a:gd name="connsiteX93" fmla="*/ 217727 w 401888"/>
                <a:gd name="connsiteY93" fmla="*/ 109367 h 465323"/>
                <a:gd name="connsiteX94" fmla="*/ 224568 w 401888"/>
                <a:gd name="connsiteY94" fmla="*/ 113634 h 465323"/>
                <a:gd name="connsiteX95" fmla="*/ 227017 w 401888"/>
                <a:gd name="connsiteY95" fmla="*/ 119057 h 465323"/>
                <a:gd name="connsiteX96" fmla="*/ 221343 w 401888"/>
                <a:gd name="connsiteY96" fmla="*/ 123574 h 465323"/>
                <a:gd name="connsiteX97" fmla="*/ 223551 w 401888"/>
                <a:gd name="connsiteY97" fmla="*/ 129243 h 465323"/>
                <a:gd name="connsiteX98" fmla="*/ 214878 w 401888"/>
                <a:gd name="connsiteY98" fmla="*/ 119438 h 465323"/>
                <a:gd name="connsiteX99" fmla="*/ 206500 w 401888"/>
                <a:gd name="connsiteY99" fmla="*/ 116724 h 465323"/>
                <a:gd name="connsiteX100" fmla="*/ 200170 w 401888"/>
                <a:gd name="connsiteY100" fmla="*/ 115056 h 465323"/>
                <a:gd name="connsiteX101" fmla="*/ 189059 w 401888"/>
                <a:gd name="connsiteY101" fmla="*/ 109097 h 465323"/>
                <a:gd name="connsiteX102" fmla="*/ 174977 w 401888"/>
                <a:gd name="connsiteY102" fmla="*/ 124746 h 465323"/>
                <a:gd name="connsiteX103" fmla="*/ 164377 w 401888"/>
                <a:gd name="connsiteY103" fmla="*/ 99268 h 465323"/>
                <a:gd name="connsiteX104" fmla="*/ 156654 w 401888"/>
                <a:gd name="connsiteY104" fmla="*/ 98005 h 465323"/>
                <a:gd name="connsiteX105" fmla="*/ 142944 w 401888"/>
                <a:gd name="connsiteY105" fmla="*/ 93242 h 465323"/>
                <a:gd name="connsiteX106" fmla="*/ 136638 w 401888"/>
                <a:gd name="connsiteY106" fmla="*/ 89361 h 465323"/>
                <a:gd name="connsiteX107" fmla="*/ 130178 w 401888"/>
                <a:gd name="connsiteY107" fmla="*/ 90880 h 465323"/>
                <a:gd name="connsiteX108" fmla="*/ 129778 w 401888"/>
                <a:gd name="connsiteY108" fmla="*/ 97870 h 465323"/>
                <a:gd name="connsiteX109" fmla="*/ 124095 w 401888"/>
                <a:gd name="connsiteY109" fmla="*/ 95021 h 465323"/>
                <a:gd name="connsiteX110" fmla="*/ 121260 w 401888"/>
                <a:gd name="connsiteY110" fmla="*/ 101746 h 465323"/>
                <a:gd name="connsiteX111" fmla="*/ 114675 w 401888"/>
                <a:gd name="connsiteY111" fmla="*/ 96337 h 465323"/>
                <a:gd name="connsiteX112" fmla="*/ 121260 w 401888"/>
                <a:gd name="connsiteY112" fmla="*/ 93869 h 465323"/>
                <a:gd name="connsiteX113" fmla="*/ 116083 w 401888"/>
                <a:gd name="connsiteY113" fmla="*/ 87158 h 465323"/>
                <a:gd name="connsiteX114" fmla="*/ 107695 w 401888"/>
                <a:gd name="connsiteY114" fmla="*/ 92071 h 465323"/>
                <a:gd name="connsiteX115" fmla="*/ 107825 w 401888"/>
                <a:gd name="connsiteY115" fmla="*/ 98005 h 465323"/>
                <a:gd name="connsiteX116" fmla="*/ 103443 w 401888"/>
                <a:gd name="connsiteY116" fmla="*/ 103824 h 465323"/>
                <a:gd name="connsiteX117" fmla="*/ 102797 w 401888"/>
                <a:gd name="connsiteY117" fmla="*/ 110278 h 465323"/>
                <a:gd name="connsiteX118" fmla="*/ 107193 w 401888"/>
                <a:gd name="connsiteY118" fmla="*/ 104200 h 465323"/>
                <a:gd name="connsiteX119" fmla="*/ 113248 w 401888"/>
                <a:gd name="connsiteY119" fmla="*/ 99263 h 465323"/>
                <a:gd name="connsiteX120" fmla="*/ 111305 w 401888"/>
                <a:gd name="connsiteY120" fmla="*/ 118527 h 465323"/>
                <a:gd name="connsiteX121" fmla="*/ 116999 w 401888"/>
                <a:gd name="connsiteY121" fmla="*/ 118782 h 465323"/>
                <a:gd name="connsiteX122" fmla="*/ 113508 w 401888"/>
                <a:gd name="connsiteY122" fmla="*/ 125257 h 465323"/>
                <a:gd name="connsiteX123" fmla="*/ 117124 w 401888"/>
                <a:gd name="connsiteY123" fmla="*/ 136850 h 465323"/>
                <a:gd name="connsiteX124" fmla="*/ 111301 w 401888"/>
                <a:gd name="connsiteY124" fmla="*/ 134040 h 465323"/>
                <a:gd name="connsiteX125" fmla="*/ 107564 w 401888"/>
                <a:gd name="connsiteY125" fmla="*/ 140220 h 465323"/>
                <a:gd name="connsiteX126" fmla="*/ 107945 w 401888"/>
                <a:gd name="connsiteY126" fmla="*/ 144506 h 465323"/>
                <a:gd name="connsiteX127" fmla="*/ 116868 w 401888"/>
                <a:gd name="connsiteY127" fmla="*/ 145913 h 465323"/>
                <a:gd name="connsiteX128" fmla="*/ 132758 w 401888"/>
                <a:gd name="connsiteY128" fmla="*/ 149519 h 465323"/>
                <a:gd name="connsiteX129" fmla="*/ 129648 w 401888"/>
                <a:gd name="connsiteY129" fmla="*/ 157020 h 465323"/>
                <a:gd name="connsiteX130" fmla="*/ 126944 w 401888"/>
                <a:gd name="connsiteY130" fmla="*/ 162429 h 465323"/>
                <a:gd name="connsiteX131" fmla="*/ 114776 w 401888"/>
                <a:gd name="connsiteY131" fmla="*/ 159093 h 465323"/>
                <a:gd name="connsiteX132" fmla="*/ 102141 w 401888"/>
                <a:gd name="connsiteY132" fmla="*/ 164637 h 465323"/>
                <a:gd name="connsiteX133" fmla="*/ 114270 w 401888"/>
                <a:gd name="connsiteY133" fmla="*/ 183703 h 465323"/>
                <a:gd name="connsiteX134" fmla="*/ 102652 w 401888"/>
                <a:gd name="connsiteY134" fmla="*/ 178979 h 465323"/>
                <a:gd name="connsiteX135" fmla="*/ 96834 w 401888"/>
                <a:gd name="connsiteY135" fmla="*/ 179509 h 465323"/>
                <a:gd name="connsiteX136" fmla="*/ 91671 w 401888"/>
                <a:gd name="connsiteY136" fmla="*/ 176409 h 465323"/>
                <a:gd name="connsiteX137" fmla="*/ 89101 w 401888"/>
                <a:gd name="connsiteY137" fmla="*/ 185048 h 465323"/>
                <a:gd name="connsiteX138" fmla="*/ 83972 w 401888"/>
                <a:gd name="connsiteY138" fmla="*/ 180396 h 465323"/>
                <a:gd name="connsiteX139" fmla="*/ 78385 w 401888"/>
                <a:gd name="connsiteY139" fmla="*/ 182864 h 465323"/>
                <a:gd name="connsiteX140" fmla="*/ 79802 w 401888"/>
                <a:gd name="connsiteY140" fmla="*/ 189570 h 465323"/>
                <a:gd name="connsiteX141" fmla="*/ 86122 w 401888"/>
                <a:gd name="connsiteY141" fmla="*/ 194487 h 465323"/>
                <a:gd name="connsiteX142" fmla="*/ 72311 w 401888"/>
                <a:gd name="connsiteY142" fmla="*/ 198618 h 465323"/>
                <a:gd name="connsiteX143" fmla="*/ 78770 w 401888"/>
                <a:gd name="connsiteY143" fmla="*/ 199900 h 465323"/>
                <a:gd name="connsiteX144" fmla="*/ 82516 w 401888"/>
                <a:gd name="connsiteY144" fmla="*/ 204798 h 465323"/>
                <a:gd name="connsiteX145" fmla="*/ 92712 w 401888"/>
                <a:gd name="connsiteY145" fmla="*/ 205073 h 465323"/>
                <a:gd name="connsiteX146" fmla="*/ 92712 w 401888"/>
                <a:gd name="connsiteY146" fmla="*/ 215794 h 465323"/>
                <a:gd name="connsiteX147" fmla="*/ 99177 w 401888"/>
                <a:gd name="connsiteY147" fmla="*/ 220306 h 465323"/>
                <a:gd name="connsiteX148" fmla="*/ 104470 w 401888"/>
                <a:gd name="connsiteY148" fmla="*/ 216946 h 465323"/>
                <a:gd name="connsiteX149" fmla="*/ 110023 w 401888"/>
                <a:gd name="connsiteY149" fmla="*/ 214102 h 465323"/>
                <a:gd name="connsiteX150" fmla="*/ 111190 w 401888"/>
                <a:gd name="connsiteY150" fmla="*/ 219805 h 465323"/>
                <a:gd name="connsiteX151" fmla="*/ 117500 w 401888"/>
                <a:gd name="connsiteY151" fmla="*/ 214763 h 465323"/>
                <a:gd name="connsiteX152" fmla="*/ 115827 w 401888"/>
                <a:gd name="connsiteY152" fmla="*/ 221078 h 465323"/>
                <a:gd name="connsiteX153" fmla="*/ 110283 w 401888"/>
                <a:gd name="connsiteY153" fmla="*/ 226901 h 465323"/>
                <a:gd name="connsiteX154" fmla="*/ 108220 w 401888"/>
                <a:gd name="connsiteY154" fmla="*/ 232792 h 465323"/>
                <a:gd name="connsiteX155" fmla="*/ 114675 w 401888"/>
                <a:gd name="connsiteY155" fmla="*/ 228704 h 465323"/>
                <a:gd name="connsiteX156" fmla="*/ 114169 w 401888"/>
                <a:gd name="connsiteY156" fmla="*/ 234503 h 465323"/>
                <a:gd name="connsiteX157" fmla="*/ 153284 w 401888"/>
                <a:gd name="connsiteY157" fmla="*/ 239796 h 465323"/>
                <a:gd name="connsiteX158" fmla="*/ 157430 w 401888"/>
                <a:gd name="connsiteY158" fmla="*/ 244463 h 465323"/>
                <a:gd name="connsiteX159" fmla="*/ 154706 w 401888"/>
                <a:gd name="connsiteY159" fmla="*/ 246651 h 465323"/>
                <a:gd name="connsiteX160" fmla="*/ 156398 w 401888"/>
                <a:gd name="connsiteY160" fmla="*/ 250523 h 465323"/>
                <a:gd name="connsiteX161" fmla="*/ 154190 w 401888"/>
                <a:gd name="connsiteY161" fmla="*/ 255319 h 465323"/>
                <a:gd name="connsiteX162" fmla="*/ 146318 w 401888"/>
                <a:gd name="connsiteY162" fmla="*/ 256211 h 465323"/>
                <a:gd name="connsiteX163" fmla="*/ 130063 w 401888"/>
                <a:gd name="connsiteY163" fmla="*/ 251964 h 465323"/>
                <a:gd name="connsiteX164" fmla="*/ 108871 w 401888"/>
                <a:gd name="connsiteY164" fmla="*/ 274949 h 465323"/>
                <a:gd name="connsiteX165" fmla="*/ 114410 w 401888"/>
                <a:gd name="connsiteY165" fmla="*/ 280994 h 465323"/>
                <a:gd name="connsiteX166" fmla="*/ 96983 w 401888"/>
                <a:gd name="connsiteY166" fmla="*/ 298180 h 465323"/>
                <a:gd name="connsiteX167" fmla="*/ 90388 w 401888"/>
                <a:gd name="connsiteY167" fmla="*/ 298450 h 465323"/>
                <a:gd name="connsiteX168" fmla="*/ 59661 w 401888"/>
                <a:gd name="connsiteY168" fmla="*/ 313303 h 465323"/>
                <a:gd name="connsiteX169" fmla="*/ 73203 w 401888"/>
                <a:gd name="connsiteY169" fmla="*/ 315342 h 465323"/>
                <a:gd name="connsiteX170" fmla="*/ 87674 w 401888"/>
                <a:gd name="connsiteY170" fmla="*/ 311355 h 465323"/>
                <a:gd name="connsiteX171" fmla="*/ 102541 w 401888"/>
                <a:gd name="connsiteY171" fmla="*/ 317415 h 465323"/>
                <a:gd name="connsiteX172" fmla="*/ 110023 w 401888"/>
                <a:gd name="connsiteY172" fmla="*/ 320789 h 465323"/>
                <a:gd name="connsiteX173" fmla="*/ 120359 w 401888"/>
                <a:gd name="connsiteY173" fmla="*/ 320394 h 465323"/>
                <a:gd name="connsiteX174" fmla="*/ 137530 w 401888"/>
                <a:gd name="connsiteY174" fmla="*/ 307740 h 465323"/>
                <a:gd name="connsiteX175" fmla="*/ 144120 w 401888"/>
                <a:gd name="connsiteY175" fmla="*/ 305407 h 465323"/>
                <a:gd name="connsiteX176" fmla="*/ 143093 w 401888"/>
                <a:gd name="connsiteY176" fmla="*/ 310960 h 465323"/>
                <a:gd name="connsiteX177" fmla="*/ 144496 w 401888"/>
                <a:gd name="connsiteY177" fmla="*/ 316899 h 465323"/>
                <a:gd name="connsiteX178" fmla="*/ 156519 w 401888"/>
                <a:gd name="connsiteY178" fmla="*/ 322973 h 465323"/>
                <a:gd name="connsiteX179" fmla="*/ 141787 w 401888"/>
                <a:gd name="connsiteY179" fmla="*/ 321556 h 465323"/>
                <a:gd name="connsiteX180" fmla="*/ 136363 w 401888"/>
                <a:gd name="connsiteY180" fmla="*/ 324125 h 465323"/>
                <a:gd name="connsiteX181" fmla="*/ 130810 w 401888"/>
                <a:gd name="connsiteY181" fmla="*/ 322578 h 465323"/>
                <a:gd name="connsiteX182" fmla="*/ 113128 w 401888"/>
                <a:gd name="connsiteY182" fmla="*/ 324916 h 465323"/>
                <a:gd name="connsiteX183" fmla="*/ 104344 w 401888"/>
                <a:gd name="connsiteY183" fmla="*/ 322318 h 465323"/>
                <a:gd name="connsiteX184" fmla="*/ 97383 w 401888"/>
                <a:gd name="connsiteY184" fmla="*/ 322318 h 465323"/>
                <a:gd name="connsiteX185" fmla="*/ 84309 w 401888"/>
                <a:gd name="connsiteY185" fmla="*/ 318321 h 465323"/>
                <a:gd name="connsiteX186" fmla="*/ 78770 w 401888"/>
                <a:gd name="connsiteY186" fmla="*/ 323094 h 465323"/>
                <a:gd name="connsiteX187" fmla="*/ 79281 w 401888"/>
                <a:gd name="connsiteY187" fmla="*/ 327905 h 465323"/>
                <a:gd name="connsiteX188" fmla="*/ 75015 w 401888"/>
                <a:gd name="connsiteY188" fmla="*/ 328801 h 465323"/>
                <a:gd name="connsiteX189" fmla="*/ 64053 w 401888"/>
                <a:gd name="connsiteY189" fmla="*/ 331520 h 465323"/>
                <a:gd name="connsiteX190" fmla="*/ 54383 w 401888"/>
                <a:gd name="connsiteY190" fmla="*/ 333029 h 465323"/>
                <a:gd name="connsiteX191" fmla="*/ 60698 w 401888"/>
                <a:gd name="connsiteY191" fmla="*/ 339518 h 465323"/>
                <a:gd name="connsiteX192" fmla="*/ 56812 w 401888"/>
                <a:gd name="connsiteY192" fmla="*/ 350220 h 465323"/>
                <a:gd name="connsiteX193" fmla="*/ 62380 w 401888"/>
                <a:gd name="connsiteY193" fmla="*/ 357330 h 465323"/>
                <a:gd name="connsiteX194" fmla="*/ 56436 w 401888"/>
                <a:gd name="connsiteY194" fmla="*/ 354766 h 465323"/>
                <a:gd name="connsiteX195" fmla="*/ 50767 w 401888"/>
                <a:gd name="connsiteY195" fmla="*/ 355768 h 465323"/>
                <a:gd name="connsiteX196" fmla="*/ 43261 w 401888"/>
                <a:gd name="connsiteY196" fmla="*/ 350735 h 465323"/>
                <a:gd name="connsiteX197" fmla="*/ 42225 w 401888"/>
                <a:gd name="connsiteY197" fmla="*/ 347274 h 465323"/>
                <a:gd name="connsiteX198" fmla="*/ 36536 w 401888"/>
                <a:gd name="connsiteY198" fmla="*/ 349849 h 465323"/>
                <a:gd name="connsiteX199" fmla="*/ 31127 w 401888"/>
                <a:gd name="connsiteY199" fmla="*/ 349072 h 465323"/>
                <a:gd name="connsiteX200" fmla="*/ 32289 w 401888"/>
                <a:gd name="connsiteY200" fmla="*/ 343639 h 465323"/>
                <a:gd name="connsiteX201" fmla="*/ 7882 w 401888"/>
                <a:gd name="connsiteY201" fmla="*/ 348537 h 465323"/>
                <a:gd name="connsiteX202" fmla="*/ 3225 w 401888"/>
                <a:gd name="connsiteY202" fmla="*/ 354771 h 465323"/>
                <a:gd name="connsiteX203" fmla="*/ 2584 w 401888"/>
                <a:gd name="connsiteY203" fmla="*/ 359514 h 465323"/>
                <a:gd name="connsiteX204" fmla="*/ 12389 w 401888"/>
                <a:gd name="connsiteY204" fmla="*/ 361211 h 465323"/>
                <a:gd name="connsiteX205" fmla="*/ 27637 w 401888"/>
                <a:gd name="connsiteY205" fmla="*/ 365853 h 465323"/>
                <a:gd name="connsiteX206" fmla="*/ 58509 w 401888"/>
                <a:gd name="connsiteY206" fmla="*/ 369748 h 465323"/>
                <a:gd name="connsiteX207" fmla="*/ 49075 w 401888"/>
                <a:gd name="connsiteY207" fmla="*/ 371146 h 465323"/>
                <a:gd name="connsiteX208" fmla="*/ 44674 w 401888"/>
                <a:gd name="connsiteY208" fmla="*/ 374260 h 465323"/>
                <a:gd name="connsiteX209" fmla="*/ 28148 w 401888"/>
                <a:gd name="connsiteY209" fmla="*/ 376840 h 465323"/>
                <a:gd name="connsiteX210" fmla="*/ 11888 w 401888"/>
                <a:gd name="connsiteY210" fmla="*/ 382663 h 465323"/>
                <a:gd name="connsiteX211" fmla="*/ 12915 w 401888"/>
                <a:gd name="connsiteY211" fmla="*/ 389648 h 465323"/>
                <a:gd name="connsiteX212" fmla="*/ 0 w 401888"/>
                <a:gd name="connsiteY212" fmla="*/ 390270 h 465323"/>
                <a:gd name="connsiteX213" fmla="*/ 2584 w 401888"/>
                <a:gd name="connsiteY213" fmla="*/ 397005 h 465323"/>
                <a:gd name="connsiteX214" fmla="*/ 1678 w 401888"/>
                <a:gd name="connsiteY214" fmla="*/ 403455 h 465323"/>
                <a:gd name="connsiteX215" fmla="*/ 7752 w 401888"/>
                <a:gd name="connsiteY215" fmla="*/ 399458 h 465323"/>
                <a:gd name="connsiteX216" fmla="*/ 13045 w 401888"/>
                <a:gd name="connsiteY216" fmla="*/ 399058 h 465323"/>
                <a:gd name="connsiteX217" fmla="*/ 14592 w 401888"/>
                <a:gd name="connsiteY217" fmla="*/ 409244 h 465323"/>
                <a:gd name="connsiteX218" fmla="*/ 26321 w 401888"/>
                <a:gd name="connsiteY218" fmla="*/ 411717 h 465323"/>
                <a:gd name="connsiteX219" fmla="*/ 47518 w 401888"/>
                <a:gd name="connsiteY219" fmla="*/ 408473 h 465323"/>
                <a:gd name="connsiteX220" fmla="*/ 61710 w 401888"/>
                <a:gd name="connsiteY220" fmla="*/ 409756 h 465323"/>
                <a:gd name="connsiteX221" fmla="*/ 47768 w 401888"/>
                <a:gd name="connsiteY221" fmla="*/ 411939 h 465323"/>
                <a:gd name="connsiteX222" fmla="*/ 44023 w 401888"/>
                <a:gd name="connsiteY222" fmla="*/ 417647 h 465323"/>
                <a:gd name="connsiteX223" fmla="*/ 34487 w 401888"/>
                <a:gd name="connsiteY223" fmla="*/ 416741 h 465323"/>
                <a:gd name="connsiteX224" fmla="*/ 27632 w 401888"/>
                <a:gd name="connsiteY224" fmla="*/ 418693 h 465323"/>
                <a:gd name="connsiteX225" fmla="*/ 23111 w 401888"/>
                <a:gd name="connsiteY225" fmla="*/ 424517 h 465323"/>
                <a:gd name="connsiteX226" fmla="*/ 15229 w 401888"/>
                <a:gd name="connsiteY226" fmla="*/ 424006 h 465323"/>
                <a:gd name="connsiteX227" fmla="*/ 15484 w 401888"/>
                <a:gd name="connsiteY227" fmla="*/ 429573 h 465323"/>
                <a:gd name="connsiteX228" fmla="*/ 9034 w 401888"/>
                <a:gd name="connsiteY228" fmla="*/ 433676 h 465323"/>
                <a:gd name="connsiteX229" fmla="*/ 18974 w 401888"/>
                <a:gd name="connsiteY229" fmla="*/ 433546 h 465323"/>
                <a:gd name="connsiteX230" fmla="*/ 31889 w 401888"/>
                <a:gd name="connsiteY230" fmla="*/ 430190 h 465323"/>
                <a:gd name="connsiteX231" fmla="*/ 49470 w 401888"/>
                <a:gd name="connsiteY231" fmla="*/ 432499 h 465323"/>
                <a:gd name="connsiteX232" fmla="*/ 62375 w 401888"/>
                <a:gd name="connsiteY232" fmla="*/ 425167 h 465323"/>
                <a:gd name="connsiteX233" fmla="*/ 68816 w 401888"/>
                <a:gd name="connsiteY233" fmla="*/ 430330 h 465323"/>
                <a:gd name="connsiteX234" fmla="*/ 64048 w 401888"/>
                <a:gd name="connsiteY234" fmla="*/ 436154 h 465323"/>
                <a:gd name="connsiteX235" fmla="*/ 57198 w 401888"/>
                <a:gd name="connsiteY235" fmla="*/ 436665 h 465323"/>
                <a:gd name="connsiteX236" fmla="*/ 44924 w 401888"/>
                <a:gd name="connsiteY236" fmla="*/ 439490 h 465323"/>
                <a:gd name="connsiteX237" fmla="*/ 33962 w 401888"/>
                <a:gd name="connsiteY237" fmla="*/ 446152 h 465323"/>
                <a:gd name="connsiteX238" fmla="*/ 51789 w 401888"/>
                <a:gd name="connsiteY238" fmla="*/ 445443 h 465323"/>
                <a:gd name="connsiteX239" fmla="*/ 41583 w 401888"/>
                <a:gd name="connsiteY239" fmla="*/ 449059 h 465323"/>
                <a:gd name="connsiteX240" fmla="*/ 35374 w 401888"/>
                <a:gd name="connsiteY240" fmla="*/ 451763 h 465323"/>
                <a:gd name="connsiteX241" fmla="*/ 35524 w 401888"/>
                <a:gd name="connsiteY241" fmla="*/ 457698 h 465323"/>
                <a:gd name="connsiteX242" fmla="*/ 40402 w 401888"/>
                <a:gd name="connsiteY242" fmla="*/ 455750 h 465323"/>
                <a:gd name="connsiteX243" fmla="*/ 46486 w 401888"/>
                <a:gd name="connsiteY243" fmla="*/ 456406 h 465323"/>
                <a:gd name="connsiteX244" fmla="*/ 53086 w 401888"/>
                <a:gd name="connsiteY244" fmla="*/ 454718 h 465323"/>
                <a:gd name="connsiteX245" fmla="*/ 59145 w 401888"/>
                <a:gd name="connsiteY245" fmla="*/ 454241 h 465323"/>
                <a:gd name="connsiteX246" fmla="*/ 66106 w 401888"/>
                <a:gd name="connsiteY246" fmla="*/ 453826 h 465323"/>
                <a:gd name="connsiteX247" fmla="*/ 65470 w 401888"/>
                <a:gd name="connsiteY247" fmla="*/ 460026 h 465323"/>
                <a:gd name="connsiteX248" fmla="*/ 71404 w 401888"/>
                <a:gd name="connsiteY248" fmla="*/ 459134 h 465323"/>
                <a:gd name="connsiteX249" fmla="*/ 70638 w 401888"/>
                <a:gd name="connsiteY249" fmla="*/ 465324 h 465323"/>
                <a:gd name="connsiteX250" fmla="*/ 77739 w 401888"/>
                <a:gd name="connsiteY250" fmla="*/ 463400 h 465323"/>
                <a:gd name="connsiteX251" fmla="*/ 89096 w 401888"/>
                <a:gd name="connsiteY251" fmla="*/ 462127 h 465323"/>
                <a:gd name="connsiteX252" fmla="*/ 105501 w 401888"/>
                <a:gd name="connsiteY252" fmla="*/ 464297 h 465323"/>
                <a:gd name="connsiteX253" fmla="*/ 113383 w 401888"/>
                <a:gd name="connsiteY253" fmla="*/ 459775 h 465323"/>
                <a:gd name="connsiteX254" fmla="*/ 124606 w 401888"/>
                <a:gd name="connsiteY254" fmla="*/ 463767 h 465323"/>
                <a:gd name="connsiteX255" fmla="*/ 127329 w 401888"/>
                <a:gd name="connsiteY255" fmla="*/ 456560 h 465323"/>
                <a:gd name="connsiteX256" fmla="*/ 133514 w 401888"/>
                <a:gd name="connsiteY256" fmla="*/ 458879 h 465323"/>
                <a:gd name="connsiteX257" fmla="*/ 139068 w 401888"/>
                <a:gd name="connsiteY257" fmla="*/ 463511 h 465323"/>
                <a:gd name="connsiteX258" fmla="*/ 140495 w 401888"/>
                <a:gd name="connsiteY258" fmla="*/ 451522 h 465323"/>
                <a:gd name="connsiteX259" fmla="*/ 146945 w 401888"/>
                <a:gd name="connsiteY259" fmla="*/ 454087 h 465323"/>
                <a:gd name="connsiteX260" fmla="*/ 160906 w 401888"/>
                <a:gd name="connsiteY260" fmla="*/ 451392 h 465323"/>
                <a:gd name="connsiteX261" fmla="*/ 164150 w 401888"/>
                <a:gd name="connsiteY261" fmla="*/ 445303 h 465323"/>
                <a:gd name="connsiteX262" fmla="*/ 161417 w 401888"/>
                <a:gd name="connsiteY262" fmla="*/ 438593 h 465323"/>
                <a:gd name="connsiteX263" fmla="*/ 161552 w 401888"/>
                <a:gd name="connsiteY263" fmla="*/ 433420 h 465323"/>
                <a:gd name="connsiteX264" fmla="*/ 156128 w 401888"/>
                <a:gd name="connsiteY264" fmla="*/ 430460 h 465323"/>
                <a:gd name="connsiteX265" fmla="*/ 172774 w 401888"/>
                <a:gd name="connsiteY265" fmla="*/ 436761 h 465323"/>
                <a:gd name="connsiteX266" fmla="*/ 169289 w 401888"/>
                <a:gd name="connsiteY266" fmla="*/ 445949 h 465323"/>
                <a:gd name="connsiteX267" fmla="*/ 193701 w 401888"/>
                <a:gd name="connsiteY267" fmla="*/ 441688 h 465323"/>
                <a:gd name="connsiteX268" fmla="*/ 199254 w 401888"/>
                <a:gd name="connsiteY268" fmla="*/ 443119 h 465323"/>
                <a:gd name="connsiteX269" fmla="*/ 205574 w 401888"/>
                <a:gd name="connsiteY269" fmla="*/ 430190 h 465323"/>
                <a:gd name="connsiteX270" fmla="*/ 226896 w 401888"/>
                <a:gd name="connsiteY270" fmla="*/ 432924 h 465323"/>
                <a:gd name="connsiteX271" fmla="*/ 231654 w 401888"/>
                <a:gd name="connsiteY271" fmla="*/ 426715 h 465323"/>
                <a:gd name="connsiteX272" fmla="*/ 228950 w 401888"/>
                <a:gd name="connsiteY272" fmla="*/ 419975 h 465323"/>
                <a:gd name="connsiteX273" fmla="*/ 241093 w 401888"/>
                <a:gd name="connsiteY273" fmla="*/ 419219 h 465323"/>
                <a:gd name="connsiteX274" fmla="*/ 259566 w 401888"/>
                <a:gd name="connsiteY274" fmla="*/ 421528 h 465323"/>
                <a:gd name="connsiteX275" fmla="*/ 267945 w 401888"/>
                <a:gd name="connsiteY275" fmla="*/ 424010 h 465323"/>
                <a:gd name="connsiteX276" fmla="*/ 276352 w 401888"/>
                <a:gd name="connsiteY276" fmla="*/ 425162 h 465323"/>
                <a:gd name="connsiteX277" fmla="*/ 282161 w 401888"/>
                <a:gd name="connsiteY277" fmla="*/ 420110 h 465323"/>
                <a:gd name="connsiteX278" fmla="*/ 281775 w 401888"/>
                <a:gd name="connsiteY278" fmla="*/ 406318 h 465323"/>
                <a:gd name="connsiteX279" fmla="*/ 283583 w 401888"/>
                <a:gd name="connsiteY279" fmla="*/ 412759 h 465323"/>
                <a:gd name="connsiteX280" fmla="*/ 286548 w 401888"/>
                <a:gd name="connsiteY280" fmla="*/ 418163 h 465323"/>
                <a:gd name="connsiteX281" fmla="*/ 287208 w 401888"/>
                <a:gd name="connsiteY281" fmla="*/ 424391 h 465323"/>
                <a:gd name="connsiteX282" fmla="*/ 293793 w 401888"/>
                <a:gd name="connsiteY282" fmla="*/ 422443 h 465323"/>
                <a:gd name="connsiteX283" fmla="*/ 294184 w 401888"/>
                <a:gd name="connsiteY283" fmla="*/ 415979 h 465323"/>
                <a:gd name="connsiteX284" fmla="*/ 299993 w 401888"/>
                <a:gd name="connsiteY284" fmla="*/ 414166 h 465323"/>
                <a:gd name="connsiteX285" fmla="*/ 300258 w 401888"/>
                <a:gd name="connsiteY285" fmla="*/ 419720 h 465323"/>
                <a:gd name="connsiteX286" fmla="*/ 305922 w 401888"/>
                <a:gd name="connsiteY286" fmla="*/ 422443 h 465323"/>
                <a:gd name="connsiteX287" fmla="*/ 311620 w 401888"/>
                <a:gd name="connsiteY287" fmla="*/ 428267 h 465323"/>
                <a:gd name="connsiteX288" fmla="*/ 318340 w 401888"/>
                <a:gd name="connsiteY288" fmla="*/ 426710 h 465323"/>
                <a:gd name="connsiteX289" fmla="*/ 330517 w 401888"/>
                <a:gd name="connsiteY289" fmla="*/ 431212 h 465323"/>
                <a:gd name="connsiteX290" fmla="*/ 334133 w 401888"/>
                <a:gd name="connsiteY290" fmla="*/ 425365 h 465323"/>
                <a:gd name="connsiteX291" fmla="*/ 331554 w 401888"/>
                <a:gd name="connsiteY291" fmla="*/ 418119 h 465323"/>
                <a:gd name="connsiteX292" fmla="*/ 331882 w 401888"/>
                <a:gd name="connsiteY292" fmla="*/ 413477 h 465323"/>
                <a:gd name="connsiteX293" fmla="*/ 327239 w 401888"/>
                <a:gd name="connsiteY293" fmla="*/ 412976 h 465323"/>
                <a:gd name="connsiteX294" fmla="*/ 324617 w 401888"/>
                <a:gd name="connsiteY294" fmla="*/ 406053 h 465323"/>
                <a:gd name="connsiteX295" fmla="*/ 330686 w 401888"/>
                <a:gd name="connsiteY295" fmla="*/ 407620 h 465323"/>
                <a:gd name="connsiteX296" fmla="*/ 339286 w 401888"/>
                <a:gd name="connsiteY296" fmla="*/ 399545 h 465323"/>
                <a:gd name="connsiteX297" fmla="*/ 348918 w 401888"/>
                <a:gd name="connsiteY297" fmla="*/ 391263 h 465323"/>
                <a:gd name="connsiteX298" fmla="*/ 354636 w 401888"/>
                <a:gd name="connsiteY298" fmla="*/ 377500 h 465323"/>
                <a:gd name="connsiteX299" fmla="*/ 363404 w 401888"/>
                <a:gd name="connsiteY299" fmla="*/ 362160 h 465323"/>
                <a:gd name="connsiteX300" fmla="*/ 378517 w 401888"/>
                <a:gd name="connsiteY300" fmla="*/ 339397 h 465323"/>
                <a:gd name="connsiteX301" fmla="*/ 379284 w 401888"/>
                <a:gd name="connsiteY301" fmla="*/ 328690 h 465323"/>
                <a:gd name="connsiteX302" fmla="*/ 380720 w 401888"/>
                <a:gd name="connsiteY302" fmla="*/ 320293 h 465323"/>
                <a:gd name="connsiteX303" fmla="*/ 381096 w 401888"/>
                <a:gd name="connsiteY303" fmla="*/ 304404 h 465323"/>
                <a:gd name="connsiteX304" fmla="*/ 380836 w 401888"/>
                <a:gd name="connsiteY304" fmla="*/ 299226 h 465323"/>
                <a:gd name="connsiteX305" fmla="*/ 381361 w 401888"/>
                <a:gd name="connsiteY305" fmla="*/ 291123 h 465323"/>
                <a:gd name="connsiteX306" fmla="*/ 375167 w 401888"/>
                <a:gd name="connsiteY306" fmla="*/ 284513 h 465323"/>
                <a:gd name="connsiteX307" fmla="*/ 379409 w 401888"/>
                <a:gd name="connsiteY307" fmla="*/ 278304 h 465323"/>
                <a:gd name="connsiteX308" fmla="*/ 387045 w 401888"/>
                <a:gd name="connsiteY308" fmla="*/ 281679 h 465323"/>
                <a:gd name="connsiteX309" fmla="*/ 384186 w 401888"/>
                <a:gd name="connsiteY309" fmla="*/ 266306 h 465323"/>
                <a:gd name="connsiteX310" fmla="*/ 391056 w 401888"/>
                <a:gd name="connsiteY310" fmla="*/ 257016 h 465323"/>
                <a:gd name="connsiteX311" fmla="*/ 383150 w 401888"/>
                <a:gd name="connsiteY311" fmla="*/ 230011 h 465323"/>
                <a:gd name="connsiteX312" fmla="*/ 387151 w 401888"/>
                <a:gd name="connsiteY312" fmla="*/ 214926 h 465323"/>
                <a:gd name="connsiteX313" fmla="*/ 382514 w 401888"/>
                <a:gd name="connsiteY313" fmla="*/ 193600 h 465323"/>
                <a:gd name="connsiteX314" fmla="*/ 394387 w 401888"/>
                <a:gd name="connsiteY314" fmla="*/ 200836 h 465323"/>
                <a:gd name="connsiteX315" fmla="*/ 401888 w 401888"/>
                <a:gd name="connsiteY315" fmla="*/ 195812 h 465323"/>
                <a:gd name="connsiteX316" fmla="*/ 392714 w 401888"/>
                <a:gd name="connsiteY316" fmla="*/ 184407 h 465323"/>
                <a:gd name="connsiteX317" fmla="*/ 387479 w 401888"/>
                <a:gd name="connsiteY317" fmla="*/ 180005 h 465323"/>
                <a:gd name="connsiteX318" fmla="*/ 382991 w 401888"/>
                <a:gd name="connsiteY318" fmla="*/ 185655 h 46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Lst>
              <a:rect l="l" t="t" r="r" b="b"/>
              <a:pathLst>
                <a:path w="401888" h="465323">
                  <a:moveTo>
                    <a:pt x="382991" y="185655"/>
                  </a:moveTo>
                  <a:lnTo>
                    <a:pt x="377163" y="182888"/>
                  </a:lnTo>
                  <a:lnTo>
                    <a:pt x="363718" y="183929"/>
                  </a:lnTo>
                  <a:cubicBezTo>
                    <a:pt x="363718" y="183929"/>
                    <a:pt x="362681" y="181008"/>
                    <a:pt x="361809" y="177894"/>
                  </a:cubicBezTo>
                  <a:cubicBezTo>
                    <a:pt x="360960" y="174794"/>
                    <a:pt x="363882" y="172369"/>
                    <a:pt x="364759" y="169303"/>
                  </a:cubicBezTo>
                  <a:cubicBezTo>
                    <a:pt x="365603" y="166189"/>
                    <a:pt x="363882" y="161899"/>
                    <a:pt x="359765" y="162925"/>
                  </a:cubicBezTo>
                  <a:cubicBezTo>
                    <a:pt x="355619" y="163967"/>
                    <a:pt x="350813" y="148107"/>
                    <a:pt x="350813" y="148107"/>
                  </a:cubicBezTo>
                  <a:lnTo>
                    <a:pt x="353710" y="143821"/>
                  </a:lnTo>
                  <a:lnTo>
                    <a:pt x="347718" y="131567"/>
                  </a:lnTo>
                  <a:lnTo>
                    <a:pt x="341509" y="128833"/>
                  </a:lnTo>
                  <a:lnTo>
                    <a:pt x="334085" y="136942"/>
                  </a:lnTo>
                  <a:lnTo>
                    <a:pt x="328580" y="136084"/>
                  </a:lnTo>
                  <a:lnTo>
                    <a:pt x="327191" y="141059"/>
                  </a:lnTo>
                  <a:lnTo>
                    <a:pt x="328927" y="144853"/>
                  </a:lnTo>
                  <a:lnTo>
                    <a:pt x="326155" y="151915"/>
                  </a:lnTo>
                  <a:lnTo>
                    <a:pt x="321011" y="155531"/>
                  </a:lnTo>
                  <a:lnTo>
                    <a:pt x="317902" y="159662"/>
                  </a:lnTo>
                  <a:lnTo>
                    <a:pt x="313929" y="159662"/>
                  </a:lnTo>
                  <a:lnTo>
                    <a:pt x="312044" y="162578"/>
                  </a:lnTo>
                  <a:lnTo>
                    <a:pt x="302572" y="156740"/>
                  </a:lnTo>
                  <a:lnTo>
                    <a:pt x="297751" y="157088"/>
                  </a:lnTo>
                  <a:lnTo>
                    <a:pt x="292072" y="154499"/>
                  </a:lnTo>
                  <a:cubicBezTo>
                    <a:pt x="292072" y="154499"/>
                    <a:pt x="287589" y="150006"/>
                    <a:pt x="286904" y="146598"/>
                  </a:cubicBezTo>
                  <a:cubicBezTo>
                    <a:pt x="286230" y="143127"/>
                    <a:pt x="283130" y="143127"/>
                    <a:pt x="278984" y="142953"/>
                  </a:cubicBezTo>
                  <a:cubicBezTo>
                    <a:pt x="274862" y="142775"/>
                    <a:pt x="274862" y="136084"/>
                    <a:pt x="274862" y="132960"/>
                  </a:cubicBezTo>
                  <a:cubicBezTo>
                    <a:pt x="274862" y="129880"/>
                    <a:pt x="274168" y="128506"/>
                    <a:pt x="272452" y="128506"/>
                  </a:cubicBezTo>
                  <a:cubicBezTo>
                    <a:pt x="270731" y="128506"/>
                    <a:pt x="270369" y="128173"/>
                    <a:pt x="270369" y="124881"/>
                  </a:cubicBezTo>
                  <a:cubicBezTo>
                    <a:pt x="270369" y="121607"/>
                    <a:pt x="263992" y="116767"/>
                    <a:pt x="263992" y="116767"/>
                  </a:cubicBezTo>
                  <a:lnTo>
                    <a:pt x="257971" y="102161"/>
                  </a:lnTo>
                  <a:lnTo>
                    <a:pt x="268996" y="101471"/>
                  </a:lnTo>
                  <a:lnTo>
                    <a:pt x="274674" y="94399"/>
                  </a:lnTo>
                  <a:lnTo>
                    <a:pt x="280353" y="97152"/>
                  </a:lnTo>
                  <a:lnTo>
                    <a:pt x="285868" y="97851"/>
                  </a:lnTo>
                  <a:lnTo>
                    <a:pt x="291889" y="93363"/>
                  </a:lnTo>
                  <a:cubicBezTo>
                    <a:pt x="291889" y="93363"/>
                    <a:pt x="295678" y="93893"/>
                    <a:pt x="298272" y="91488"/>
                  </a:cubicBezTo>
                  <a:cubicBezTo>
                    <a:pt x="300865" y="89082"/>
                    <a:pt x="292757" y="87689"/>
                    <a:pt x="292757" y="87689"/>
                  </a:cubicBezTo>
                  <a:lnTo>
                    <a:pt x="286234" y="82506"/>
                  </a:lnTo>
                  <a:lnTo>
                    <a:pt x="284499" y="74928"/>
                  </a:lnTo>
                  <a:lnTo>
                    <a:pt x="291397" y="73723"/>
                  </a:lnTo>
                  <a:cubicBezTo>
                    <a:pt x="291397" y="73723"/>
                    <a:pt x="295857" y="77001"/>
                    <a:pt x="298460" y="78722"/>
                  </a:cubicBezTo>
                  <a:cubicBezTo>
                    <a:pt x="300513" y="74765"/>
                    <a:pt x="312594" y="75116"/>
                    <a:pt x="315665" y="75116"/>
                  </a:cubicBezTo>
                  <a:cubicBezTo>
                    <a:pt x="315867" y="70652"/>
                    <a:pt x="317058" y="69592"/>
                    <a:pt x="318779" y="69091"/>
                  </a:cubicBezTo>
                  <a:cubicBezTo>
                    <a:pt x="322732" y="67876"/>
                    <a:pt x="324463" y="64419"/>
                    <a:pt x="331168" y="52710"/>
                  </a:cubicBezTo>
                  <a:cubicBezTo>
                    <a:pt x="334524" y="39867"/>
                    <a:pt x="343746" y="39925"/>
                    <a:pt x="346517" y="40229"/>
                  </a:cubicBezTo>
                  <a:cubicBezTo>
                    <a:pt x="350326" y="31330"/>
                    <a:pt x="369604" y="27121"/>
                    <a:pt x="369604" y="27121"/>
                  </a:cubicBezTo>
                  <a:cubicBezTo>
                    <a:pt x="369604" y="27121"/>
                    <a:pt x="371532" y="25029"/>
                    <a:pt x="373485" y="20392"/>
                  </a:cubicBezTo>
                  <a:cubicBezTo>
                    <a:pt x="368688" y="20160"/>
                    <a:pt x="360811" y="13426"/>
                    <a:pt x="358882" y="7236"/>
                  </a:cubicBezTo>
                  <a:cubicBezTo>
                    <a:pt x="356964" y="1007"/>
                    <a:pt x="346112" y="0"/>
                    <a:pt x="346112" y="0"/>
                  </a:cubicBezTo>
                  <a:cubicBezTo>
                    <a:pt x="347660" y="2839"/>
                    <a:pt x="348696" y="12784"/>
                    <a:pt x="348696" y="12784"/>
                  </a:cubicBezTo>
                  <a:cubicBezTo>
                    <a:pt x="348696" y="12784"/>
                    <a:pt x="347265" y="10581"/>
                    <a:pt x="344955" y="5915"/>
                  </a:cubicBezTo>
                  <a:cubicBezTo>
                    <a:pt x="340294" y="10837"/>
                    <a:pt x="335391" y="8528"/>
                    <a:pt x="333448" y="9666"/>
                  </a:cubicBezTo>
                  <a:cubicBezTo>
                    <a:pt x="326728" y="14983"/>
                    <a:pt x="329452" y="21814"/>
                    <a:pt x="332957" y="27738"/>
                  </a:cubicBezTo>
                  <a:cubicBezTo>
                    <a:pt x="332417" y="32685"/>
                    <a:pt x="331511" y="34854"/>
                    <a:pt x="326858" y="40041"/>
                  </a:cubicBezTo>
                  <a:cubicBezTo>
                    <a:pt x="322216" y="45175"/>
                    <a:pt x="316171" y="42856"/>
                    <a:pt x="316171" y="42856"/>
                  </a:cubicBezTo>
                  <a:lnTo>
                    <a:pt x="319121" y="41419"/>
                  </a:lnTo>
                  <a:cubicBezTo>
                    <a:pt x="319121" y="41419"/>
                    <a:pt x="319382" y="39781"/>
                    <a:pt x="320418" y="34854"/>
                  </a:cubicBezTo>
                  <a:cubicBezTo>
                    <a:pt x="327779" y="32911"/>
                    <a:pt x="327779" y="26350"/>
                    <a:pt x="326343" y="23737"/>
                  </a:cubicBezTo>
                  <a:cubicBezTo>
                    <a:pt x="324935" y="21187"/>
                    <a:pt x="324665" y="13170"/>
                    <a:pt x="324665" y="13170"/>
                  </a:cubicBezTo>
                  <a:cubicBezTo>
                    <a:pt x="324665" y="13170"/>
                    <a:pt x="322457" y="9666"/>
                    <a:pt x="320934" y="7973"/>
                  </a:cubicBezTo>
                  <a:cubicBezTo>
                    <a:pt x="319382" y="6335"/>
                    <a:pt x="313939" y="8620"/>
                    <a:pt x="313939" y="8620"/>
                  </a:cubicBezTo>
                  <a:lnTo>
                    <a:pt x="311374" y="15229"/>
                  </a:lnTo>
                  <a:cubicBezTo>
                    <a:pt x="311374" y="15229"/>
                    <a:pt x="312657" y="14978"/>
                    <a:pt x="315761" y="13691"/>
                  </a:cubicBezTo>
                  <a:cubicBezTo>
                    <a:pt x="319758" y="11724"/>
                    <a:pt x="314455" y="25815"/>
                    <a:pt x="314455" y="25815"/>
                  </a:cubicBezTo>
                  <a:lnTo>
                    <a:pt x="314344" y="19765"/>
                  </a:lnTo>
                  <a:lnTo>
                    <a:pt x="308010" y="15229"/>
                  </a:lnTo>
                  <a:lnTo>
                    <a:pt x="310338" y="7602"/>
                  </a:lnTo>
                  <a:cubicBezTo>
                    <a:pt x="310338" y="7602"/>
                    <a:pt x="303873" y="15229"/>
                    <a:pt x="300398" y="20392"/>
                  </a:cubicBezTo>
                  <a:cubicBezTo>
                    <a:pt x="300398" y="16019"/>
                    <a:pt x="297023" y="6841"/>
                    <a:pt x="296382" y="8253"/>
                  </a:cubicBezTo>
                  <a:cubicBezTo>
                    <a:pt x="284639" y="20662"/>
                    <a:pt x="272240" y="11227"/>
                    <a:pt x="272240" y="11227"/>
                  </a:cubicBezTo>
                  <a:lnTo>
                    <a:pt x="268224" y="17538"/>
                  </a:lnTo>
                  <a:lnTo>
                    <a:pt x="266055" y="24002"/>
                  </a:lnTo>
                  <a:lnTo>
                    <a:pt x="260984" y="23882"/>
                  </a:lnTo>
                  <a:cubicBezTo>
                    <a:pt x="260984" y="23882"/>
                    <a:pt x="257778" y="25318"/>
                    <a:pt x="255449" y="26977"/>
                  </a:cubicBezTo>
                  <a:cubicBezTo>
                    <a:pt x="253111" y="28649"/>
                    <a:pt x="258665" y="36560"/>
                    <a:pt x="258665" y="36560"/>
                  </a:cubicBezTo>
                  <a:lnTo>
                    <a:pt x="252731" y="35244"/>
                  </a:lnTo>
                  <a:lnTo>
                    <a:pt x="253887" y="42596"/>
                  </a:lnTo>
                  <a:cubicBezTo>
                    <a:pt x="253887" y="42596"/>
                    <a:pt x="255965" y="44293"/>
                    <a:pt x="259451" y="45855"/>
                  </a:cubicBezTo>
                  <a:cubicBezTo>
                    <a:pt x="256481" y="46727"/>
                    <a:pt x="254283" y="50227"/>
                    <a:pt x="250672" y="48419"/>
                  </a:cubicBezTo>
                  <a:cubicBezTo>
                    <a:pt x="247066" y="46626"/>
                    <a:pt x="241489" y="48814"/>
                    <a:pt x="241489" y="48814"/>
                  </a:cubicBezTo>
                  <a:lnTo>
                    <a:pt x="247572" y="53838"/>
                  </a:lnTo>
                  <a:cubicBezTo>
                    <a:pt x="247572" y="53838"/>
                    <a:pt x="250412" y="59145"/>
                    <a:pt x="249101" y="59907"/>
                  </a:cubicBezTo>
                  <a:cubicBezTo>
                    <a:pt x="247818" y="60678"/>
                    <a:pt x="243962" y="60018"/>
                    <a:pt x="239551" y="55776"/>
                  </a:cubicBezTo>
                  <a:cubicBezTo>
                    <a:pt x="235193" y="51519"/>
                    <a:pt x="218373" y="58229"/>
                    <a:pt x="219039" y="61088"/>
                  </a:cubicBezTo>
                  <a:cubicBezTo>
                    <a:pt x="221087" y="73718"/>
                    <a:pt x="232064" y="77599"/>
                    <a:pt x="236335" y="75661"/>
                  </a:cubicBezTo>
                  <a:cubicBezTo>
                    <a:pt x="240592" y="73718"/>
                    <a:pt x="242260" y="75275"/>
                    <a:pt x="244458" y="75931"/>
                  </a:cubicBezTo>
                  <a:cubicBezTo>
                    <a:pt x="246661" y="76567"/>
                    <a:pt x="244579" y="83022"/>
                    <a:pt x="244579" y="83022"/>
                  </a:cubicBezTo>
                  <a:lnTo>
                    <a:pt x="250026" y="78891"/>
                  </a:lnTo>
                  <a:lnTo>
                    <a:pt x="263572" y="83538"/>
                  </a:lnTo>
                  <a:lnTo>
                    <a:pt x="258665" y="90514"/>
                  </a:lnTo>
                  <a:cubicBezTo>
                    <a:pt x="258665" y="90514"/>
                    <a:pt x="258014" y="94924"/>
                    <a:pt x="256481" y="96708"/>
                  </a:cubicBezTo>
                  <a:cubicBezTo>
                    <a:pt x="251173" y="101216"/>
                    <a:pt x="240973" y="98396"/>
                    <a:pt x="237883" y="97634"/>
                  </a:cubicBezTo>
                  <a:cubicBezTo>
                    <a:pt x="234764" y="96848"/>
                    <a:pt x="230652" y="103558"/>
                    <a:pt x="230652" y="103558"/>
                  </a:cubicBezTo>
                  <a:lnTo>
                    <a:pt x="224457" y="104841"/>
                  </a:lnTo>
                  <a:lnTo>
                    <a:pt x="217727" y="109367"/>
                  </a:lnTo>
                  <a:lnTo>
                    <a:pt x="224568" y="113634"/>
                  </a:lnTo>
                  <a:lnTo>
                    <a:pt x="227017" y="119057"/>
                  </a:lnTo>
                  <a:lnTo>
                    <a:pt x="221343" y="123574"/>
                  </a:lnTo>
                  <a:cubicBezTo>
                    <a:pt x="221343" y="123574"/>
                    <a:pt x="222895" y="127185"/>
                    <a:pt x="223551" y="129243"/>
                  </a:cubicBezTo>
                  <a:cubicBezTo>
                    <a:pt x="217853" y="129118"/>
                    <a:pt x="215654" y="123314"/>
                    <a:pt x="214878" y="119438"/>
                  </a:cubicBezTo>
                  <a:cubicBezTo>
                    <a:pt x="214112" y="115562"/>
                    <a:pt x="209334" y="115437"/>
                    <a:pt x="206500" y="116724"/>
                  </a:cubicBezTo>
                  <a:cubicBezTo>
                    <a:pt x="203651" y="118001"/>
                    <a:pt x="202634" y="118411"/>
                    <a:pt x="200170" y="115056"/>
                  </a:cubicBezTo>
                  <a:cubicBezTo>
                    <a:pt x="197717" y="111696"/>
                    <a:pt x="192284" y="109097"/>
                    <a:pt x="189059" y="109097"/>
                  </a:cubicBezTo>
                  <a:cubicBezTo>
                    <a:pt x="181167" y="109358"/>
                    <a:pt x="176915" y="122027"/>
                    <a:pt x="174977" y="124746"/>
                  </a:cubicBezTo>
                  <a:cubicBezTo>
                    <a:pt x="177060" y="107295"/>
                    <a:pt x="166329" y="98516"/>
                    <a:pt x="164377" y="99268"/>
                  </a:cubicBezTo>
                  <a:cubicBezTo>
                    <a:pt x="162468" y="100068"/>
                    <a:pt x="158707" y="100189"/>
                    <a:pt x="156654" y="98005"/>
                  </a:cubicBezTo>
                  <a:cubicBezTo>
                    <a:pt x="154581" y="95773"/>
                    <a:pt x="145928" y="93339"/>
                    <a:pt x="142944" y="93242"/>
                  </a:cubicBezTo>
                  <a:cubicBezTo>
                    <a:pt x="139993" y="93098"/>
                    <a:pt x="138436" y="91791"/>
                    <a:pt x="136638" y="89361"/>
                  </a:cubicBezTo>
                  <a:cubicBezTo>
                    <a:pt x="134826" y="86884"/>
                    <a:pt x="131581" y="89733"/>
                    <a:pt x="130178" y="90880"/>
                  </a:cubicBezTo>
                  <a:cubicBezTo>
                    <a:pt x="128756" y="92071"/>
                    <a:pt x="128993" y="95291"/>
                    <a:pt x="129778" y="97870"/>
                  </a:cubicBezTo>
                  <a:cubicBezTo>
                    <a:pt x="130559" y="100444"/>
                    <a:pt x="124095" y="95021"/>
                    <a:pt x="124095" y="95021"/>
                  </a:cubicBezTo>
                  <a:lnTo>
                    <a:pt x="121260" y="101746"/>
                  </a:lnTo>
                  <a:lnTo>
                    <a:pt x="114675" y="96337"/>
                  </a:lnTo>
                  <a:lnTo>
                    <a:pt x="121260" y="93869"/>
                  </a:lnTo>
                  <a:lnTo>
                    <a:pt x="116083" y="87158"/>
                  </a:lnTo>
                  <a:lnTo>
                    <a:pt x="107695" y="92071"/>
                  </a:lnTo>
                  <a:lnTo>
                    <a:pt x="107825" y="98005"/>
                  </a:lnTo>
                  <a:lnTo>
                    <a:pt x="103443" y="103824"/>
                  </a:lnTo>
                  <a:lnTo>
                    <a:pt x="102797" y="110278"/>
                  </a:lnTo>
                  <a:cubicBezTo>
                    <a:pt x="102797" y="110278"/>
                    <a:pt x="106793" y="104590"/>
                    <a:pt x="107193" y="104200"/>
                  </a:cubicBezTo>
                  <a:cubicBezTo>
                    <a:pt x="107574" y="103819"/>
                    <a:pt x="110399" y="100305"/>
                    <a:pt x="113248" y="99263"/>
                  </a:cubicBezTo>
                  <a:cubicBezTo>
                    <a:pt x="117664" y="106518"/>
                    <a:pt x="112983" y="116063"/>
                    <a:pt x="111305" y="118527"/>
                  </a:cubicBezTo>
                  <a:cubicBezTo>
                    <a:pt x="109637" y="120995"/>
                    <a:pt x="116999" y="118782"/>
                    <a:pt x="116999" y="118782"/>
                  </a:cubicBezTo>
                  <a:lnTo>
                    <a:pt x="113508" y="125257"/>
                  </a:lnTo>
                  <a:cubicBezTo>
                    <a:pt x="113899" y="126404"/>
                    <a:pt x="117124" y="136850"/>
                    <a:pt x="117124" y="136850"/>
                  </a:cubicBezTo>
                  <a:lnTo>
                    <a:pt x="111301" y="134040"/>
                  </a:lnTo>
                  <a:lnTo>
                    <a:pt x="107564" y="140220"/>
                  </a:lnTo>
                  <a:cubicBezTo>
                    <a:pt x="107564" y="140220"/>
                    <a:pt x="107945" y="143194"/>
                    <a:pt x="107945" y="144506"/>
                  </a:cubicBezTo>
                  <a:cubicBezTo>
                    <a:pt x="107945" y="145768"/>
                    <a:pt x="108866" y="147461"/>
                    <a:pt x="116868" y="145913"/>
                  </a:cubicBezTo>
                  <a:cubicBezTo>
                    <a:pt x="124866" y="144351"/>
                    <a:pt x="132758" y="149519"/>
                    <a:pt x="132758" y="149519"/>
                  </a:cubicBezTo>
                  <a:lnTo>
                    <a:pt x="129648" y="157020"/>
                  </a:lnTo>
                  <a:lnTo>
                    <a:pt x="126944" y="162429"/>
                  </a:lnTo>
                  <a:cubicBezTo>
                    <a:pt x="126944" y="162429"/>
                    <a:pt x="119954" y="161797"/>
                    <a:pt x="114776" y="159093"/>
                  </a:cubicBezTo>
                  <a:cubicBezTo>
                    <a:pt x="109628" y="156394"/>
                    <a:pt x="103298" y="160621"/>
                    <a:pt x="102141" y="164637"/>
                  </a:cubicBezTo>
                  <a:cubicBezTo>
                    <a:pt x="99933" y="175377"/>
                    <a:pt x="103935" y="178843"/>
                    <a:pt x="114270" y="183703"/>
                  </a:cubicBezTo>
                  <a:cubicBezTo>
                    <a:pt x="107304" y="183905"/>
                    <a:pt x="102652" y="178979"/>
                    <a:pt x="102652" y="178979"/>
                  </a:cubicBezTo>
                  <a:lnTo>
                    <a:pt x="96834" y="179509"/>
                  </a:lnTo>
                  <a:lnTo>
                    <a:pt x="91671" y="176409"/>
                  </a:lnTo>
                  <a:lnTo>
                    <a:pt x="89101" y="185048"/>
                  </a:lnTo>
                  <a:lnTo>
                    <a:pt x="83972" y="180396"/>
                  </a:lnTo>
                  <a:lnTo>
                    <a:pt x="78385" y="182864"/>
                  </a:lnTo>
                  <a:lnTo>
                    <a:pt x="79802" y="189570"/>
                  </a:lnTo>
                  <a:lnTo>
                    <a:pt x="86122" y="194487"/>
                  </a:lnTo>
                  <a:lnTo>
                    <a:pt x="72311" y="198618"/>
                  </a:lnTo>
                  <a:lnTo>
                    <a:pt x="78770" y="199900"/>
                  </a:lnTo>
                  <a:cubicBezTo>
                    <a:pt x="78770" y="199900"/>
                    <a:pt x="80969" y="201954"/>
                    <a:pt x="82516" y="204798"/>
                  </a:cubicBezTo>
                  <a:cubicBezTo>
                    <a:pt x="84068" y="207647"/>
                    <a:pt x="89487" y="207112"/>
                    <a:pt x="92712" y="205073"/>
                  </a:cubicBezTo>
                  <a:cubicBezTo>
                    <a:pt x="95951" y="203010"/>
                    <a:pt x="92712" y="215794"/>
                    <a:pt x="92712" y="215794"/>
                  </a:cubicBezTo>
                  <a:lnTo>
                    <a:pt x="99177" y="220306"/>
                  </a:lnTo>
                  <a:cubicBezTo>
                    <a:pt x="99177" y="220306"/>
                    <a:pt x="102797" y="218634"/>
                    <a:pt x="104470" y="216946"/>
                  </a:cubicBezTo>
                  <a:cubicBezTo>
                    <a:pt x="106157" y="215274"/>
                    <a:pt x="107955" y="214488"/>
                    <a:pt x="110023" y="214102"/>
                  </a:cubicBezTo>
                  <a:cubicBezTo>
                    <a:pt x="112091" y="213721"/>
                    <a:pt x="111190" y="219805"/>
                    <a:pt x="111190" y="219805"/>
                  </a:cubicBezTo>
                  <a:lnTo>
                    <a:pt x="117500" y="214763"/>
                  </a:lnTo>
                  <a:lnTo>
                    <a:pt x="115827" y="221078"/>
                  </a:lnTo>
                  <a:lnTo>
                    <a:pt x="110283" y="226901"/>
                  </a:lnTo>
                  <a:lnTo>
                    <a:pt x="108220" y="232792"/>
                  </a:lnTo>
                  <a:lnTo>
                    <a:pt x="114675" y="228704"/>
                  </a:lnTo>
                  <a:cubicBezTo>
                    <a:pt x="114675" y="228704"/>
                    <a:pt x="114410" y="231273"/>
                    <a:pt x="114169" y="234503"/>
                  </a:cubicBezTo>
                  <a:cubicBezTo>
                    <a:pt x="123550" y="237757"/>
                    <a:pt x="150189" y="240327"/>
                    <a:pt x="153284" y="239796"/>
                  </a:cubicBezTo>
                  <a:cubicBezTo>
                    <a:pt x="156398" y="239290"/>
                    <a:pt x="156398" y="242004"/>
                    <a:pt x="157430" y="244463"/>
                  </a:cubicBezTo>
                  <a:cubicBezTo>
                    <a:pt x="158452" y="246907"/>
                    <a:pt x="157555" y="246507"/>
                    <a:pt x="154706" y="246651"/>
                  </a:cubicBezTo>
                  <a:cubicBezTo>
                    <a:pt x="151881" y="246782"/>
                    <a:pt x="154455" y="249756"/>
                    <a:pt x="156398" y="250523"/>
                  </a:cubicBezTo>
                  <a:cubicBezTo>
                    <a:pt x="158331" y="251304"/>
                    <a:pt x="156774" y="253241"/>
                    <a:pt x="154190" y="255319"/>
                  </a:cubicBezTo>
                  <a:cubicBezTo>
                    <a:pt x="151602" y="257368"/>
                    <a:pt x="149162" y="254524"/>
                    <a:pt x="146318" y="256211"/>
                  </a:cubicBezTo>
                  <a:cubicBezTo>
                    <a:pt x="143469" y="257884"/>
                    <a:pt x="135472" y="255570"/>
                    <a:pt x="130063" y="251964"/>
                  </a:cubicBezTo>
                  <a:cubicBezTo>
                    <a:pt x="129383" y="255811"/>
                    <a:pt x="108871" y="274949"/>
                    <a:pt x="108871" y="274949"/>
                  </a:cubicBezTo>
                  <a:lnTo>
                    <a:pt x="114410" y="280994"/>
                  </a:lnTo>
                  <a:lnTo>
                    <a:pt x="96983" y="298180"/>
                  </a:lnTo>
                  <a:cubicBezTo>
                    <a:pt x="96983" y="298180"/>
                    <a:pt x="95050" y="298310"/>
                    <a:pt x="90388" y="298450"/>
                  </a:cubicBezTo>
                  <a:cubicBezTo>
                    <a:pt x="85741" y="306178"/>
                    <a:pt x="59661" y="313303"/>
                    <a:pt x="59661" y="313303"/>
                  </a:cubicBezTo>
                  <a:lnTo>
                    <a:pt x="73203" y="315342"/>
                  </a:lnTo>
                  <a:cubicBezTo>
                    <a:pt x="73203" y="315342"/>
                    <a:pt x="81735" y="313172"/>
                    <a:pt x="87674" y="311355"/>
                  </a:cubicBezTo>
                  <a:cubicBezTo>
                    <a:pt x="93609" y="309548"/>
                    <a:pt x="100603" y="314869"/>
                    <a:pt x="102541" y="317415"/>
                  </a:cubicBezTo>
                  <a:cubicBezTo>
                    <a:pt x="104465" y="319994"/>
                    <a:pt x="108080" y="321831"/>
                    <a:pt x="110023" y="320789"/>
                  </a:cubicBezTo>
                  <a:cubicBezTo>
                    <a:pt x="111971" y="319753"/>
                    <a:pt x="113383" y="320659"/>
                    <a:pt x="120359" y="320394"/>
                  </a:cubicBezTo>
                  <a:cubicBezTo>
                    <a:pt x="127334" y="320138"/>
                    <a:pt x="136363" y="309548"/>
                    <a:pt x="137530" y="307740"/>
                  </a:cubicBezTo>
                  <a:cubicBezTo>
                    <a:pt x="138687" y="305937"/>
                    <a:pt x="144120" y="305407"/>
                    <a:pt x="144120" y="305407"/>
                  </a:cubicBezTo>
                  <a:lnTo>
                    <a:pt x="143093" y="310960"/>
                  </a:lnTo>
                  <a:lnTo>
                    <a:pt x="144496" y="316899"/>
                  </a:lnTo>
                  <a:lnTo>
                    <a:pt x="156519" y="322973"/>
                  </a:lnTo>
                  <a:lnTo>
                    <a:pt x="141787" y="321556"/>
                  </a:lnTo>
                  <a:lnTo>
                    <a:pt x="136363" y="324125"/>
                  </a:lnTo>
                  <a:cubicBezTo>
                    <a:pt x="136363" y="324125"/>
                    <a:pt x="131721" y="323248"/>
                    <a:pt x="130810" y="322578"/>
                  </a:cubicBezTo>
                  <a:cubicBezTo>
                    <a:pt x="129909" y="321927"/>
                    <a:pt x="115080" y="323735"/>
                    <a:pt x="113128" y="324916"/>
                  </a:cubicBezTo>
                  <a:cubicBezTo>
                    <a:pt x="111194" y="326087"/>
                    <a:pt x="104932" y="324101"/>
                    <a:pt x="104344" y="322318"/>
                  </a:cubicBezTo>
                  <a:cubicBezTo>
                    <a:pt x="103751" y="320534"/>
                    <a:pt x="97383" y="322318"/>
                    <a:pt x="97383" y="322318"/>
                  </a:cubicBezTo>
                  <a:lnTo>
                    <a:pt x="84309" y="318321"/>
                  </a:lnTo>
                  <a:lnTo>
                    <a:pt x="78770" y="323094"/>
                  </a:lnTo>
                  <a:cubicBezTo>
                    <a:pt x="78770" y="323094"/>
                    <a:pt x="78255" y="325533"/>
                    <a:pt x="79281" y="327905"/>
                  </a:cubicBezTo>
                  <a:cubicBezTo>
                    <a:pt x="80323" y="330219"/>
                    <a:pt x="77223" y="330975"/>
                    <a:pt x="75015" y="328801"/>
                  </a:cubicBezTo>
                  <a:cubicBezTo>
                    <a:pt x="72831" y="326584"/>
                    <a:pt x="68309" y="331882"/>
                    <a:pt x="64053" y="331520"/>
                  </a:cubicBezTo>
                  <a:cubicBezTo>
                    <a:pt x="59786" y="331115"/>
                    <a:pt x="54383" y="333029"/>
                    <a:pt x="54383" y="333029"/>
                  </a:cubicBezTo>
                  <a:lnTo>
                    <a:pt x="60698" y="339518"/>
                  </a:lnTo>
                  <a:cubicBezTo>
                    <a:pt x="60698" y="339518"/>
                    <a:pt x="57598" y="348031"/>
                    <a:pt x="56812" y="350220"/>
                  </a:cubicBezTo>
                  <a:cubicBezTo>
                    <a:pt x="56036" y="352433"/>
                    <a:pt x="62380" y="357330"/>
                    <a:pt x="62380" y="357330"/>
                  </a:cubicBezTo>
                  <a:lnTo>
                    <a:pt x="56436" y="354766"/>
                  </a:lnTo>
                  <a:cubicBezTo>
                    <a:pt x="56436" y="354766"/>
                    <a:pt x="52300" y="354867"/>
                    <a:pt x="50767" y="355768"/>
                  </a:cubicBezTo>
                  <a:cubicBezTo>
                    <a:pt x="49195" y="356689"/>
                    <a:pt x="43261" y="350735"/>
                    <a:pt x="43261" y="350735"/>
                  </a:cubicBezTo>
                  <a:cubicBezTo>
                    <a:pt x="43261" y="350735"/>
                    <a:pt x="42345" y="349318"/>
                    <a:pt x="42225" y="347274"/>
                  </a:cubicBezTo>
                  <a:cubicBezTo>
                    <a:pt x="42085" y="345187"/>
                    <a:pt x="37833" y="348412"/>
                    <a:pt x="36536" y="349849"/>
                  </a:cubicBezTo>
                  <a:cubicBezTo>
                    <a:pt x="35249" y="351271"/>
                    <a:pt x="32790" y="349988"/>
                    <a:pt x="31127" y="349072"/>
                  </a:cubicBezTo>
                  <a:cubicBezTo>
                    <a:pt x="29440" y="348185"/>
                    <a:pt x="30602" y="346093"/>
                    <a:pt x="32289" y="343639"/>
                  </a:cubicBezTo>
                  <a:cubicBezTo>
                    <a:pt x="26856" y="340540"/>
                    <a:pt x="7882" y="348537"/>
                    <a:pt x="7882" y="348537"/>
                  </a:cubicBezTo>
                  <a:lnTo>
                    <a:pt x="3225" y="354771"/>
                  </a:lnTo>
                  <a:cubicBezTo>
                    <a:pt x="3225" y="354771"/>
                    <a:pt x="2970" y="357205"/>
                    <a:pt x="2584" y="359514"/>
                  </a:cubicBezTo>
                  <a:cubicBezTo>
                    <a:pt x="2189" y="361838"/>
                    <a:pt x="8779" y="363019"/>
                    <a:pt x="12389" y="361211"/>
                  </a:cubicBezTo>
                  <a:cubicBezTo>
                    <a:pt x="16005" y="359408"/>
                    <a:pt x="20782" y="361076"/>
                    <a:pt x="27637" y="365853"/>
                  </a:cubicBezTo>
                  <a:cubicBezTo>
                    <a:pt x="38084" y="363901"/>
                    <a:pt x="52425" y="365492"/>
                    <a:pt x="58509" y="369748"/>
                  </a:cubicBezTo>
                  <a:cubicBezTo>
                    <a:pt x="55655" y="371947"/>
                    <a:pt x="50767" y="371296"/>
                    <a:pt x="49075" y="371146"/>
                  </a:cubicBezTo>
                  <a:cubicBezTo>
                    <a:pt x="47392" y="371055"/>
                    <a:pt x="45590" y="371951"/>
                    <a:pt x="44674" y="374260"/>
                  </a:cubicBezTo>
                  <a:cubicBezTo>
                    <a:pt x="43261" y="377862"/>
                    <a:pt x="35524" y="377862"/>
                    <a:pt x="28148" y="376840"/>
                  </a:cubicBezTo>
                  <a:cubicBezTo>
                    <a:pt x="20787" y="375808"/>
                    <a:pt x="14077" y="380441"/>
                    <a:pt x="11888" y="382663"/>
                  </a:cubicBezTo>
                  <a:cubicBezTo>
                    <a:pt x="9675" y="384852"/>
                    <a:pt x="12915" y="389648"/>
                    <a:pt x="12915" y="389648"/>
                  </a:cubicBezTo>
                  <a:lnTo>
                    <a:pt x="0" y="390270"/>
                  </a:lnTo>
                  <a:lnTo>
                    <a:pt x="2584" y="397005"/>
                  </a:lnTo>
                  <a:lnTo>
                    <a:pt x="1678" y="403455"/>
                  </a:lnTo>
                  <a:lnTo>
                    <a:pt x="7752" y="399458"/>
                  </a:lnTo>
                  <a:lnTo>
                    <a:pt x="13045" y="399058"/>
                  </a:lnTo>
                  <a:cubicBezTo>
                    <a:pt x="13045" y="399058"/>
                    <a:pt x="14708" y="405528"/>
                    <a:pt x="14592" y="409244"/>
                  </a:cubicBezTo>
                  <a:cubicBezTo>
                    <a:pt x="14438" y="413005"/>
                    <a:pt x="22074" y="412874"/>
                    <a:pt x="26321" y="411717"/>
                  </a:cubicBezTo>
                  <a:cubicBezTo>
                    <a:pt x="30597" y="410551"/>
                    <a:pt x="41723" y="409895"/>
                    <a:pt x="47518" y="408473"/>
                  </a:cubicBezTo>
                  <a:cubicBezTo>
                    <a:pt x="53317" y="407061"/>
                    <a:pt x="56668" y="407731"/>
                    <a:pt x="61710" y="409756"/>
                  </a:cubicBezTo>
                  <a:cubicBezTo>
                    <a:pt x="59386" y="411578"/>
                    <a:pt x="47768" y="411939"/>
                    <a:pt x="47768" y="411939"/>
                  </a:cubicBezTo>
                  <a:cubicBezTo>
                    <a:pt x="47768" y="411939"/>
                    <a:pt x="45464" y="415598"/>
                    <a:pt x="44023" y="417647"/>
                  </a:cubicBezTo>
                  <a:cubicBezTo>
                    <a:pt x="42601" y="419715"/>
                    <a:pt x="35635" y="418322"/>
                    <a:pt x="34487" y="416741"/>
                  </a:cubicBezTo>
                  <a:cubicBezTo>
                    <a:pt x="33301" y="415222"/>
                    <a:pt x="29932" y="417541"/>
                    <a:pt x="27632" y="418693"/>
                  </a:cubicBezTo>
                  <a:cubicBezTo>
                    <a:pt x="25314" y="419864"/>
                    <a:pt x="23626" y="423331"/>
                    <a:pt x="23111" y="424517"/>
                  </a:cubicBezTo>
                  <a:cubicBezTo>
                    <a:pt x="22590" y="425674"/>
                    <a:pt x="15229" y="424006"/>
                    <a:pt x="15229" y="424006"/>
                  </a:cubicBezTo>
                  <a:lnTo>
                    <a:pt x="15484" y="429573"/>
                  </a:lnTo>
                  <a:cubicBezTo>
                    <a:pt x="15484" y="429573"/>
                    <a:pt x="14848" y="430566"/>
                    <a:pt x="9034" y="433676"/>
                  </a:cubicBezTo>
                  <a:cubicBezTo>
                    <a:pt x="12129" y="432789"/>
                    <a:pt x="15870" y="432389"/>
                    <a:pt x="18974" y="433546"/>
                  </a:cubicBezTo>
                  <a:cubicBezTo>
                    <a:pt x="22079" y="434731"/>
                    <a:pt x="28023" y="433415"/>
                    <a:pt x="31889" y="430190"/>
                  </a:cubicBezTo>
                  <a:cubicBezTo>
                    <a:pt x="32525" y="430571"/>
                    <a:pt x="40537" y="432794"/>
                    <a:pt x="49470" y="432499"/>
                  </a:cubicBezTo>
                  <a:cubicBezTo>
                    <a:pt x="58374" y="432263"/>
                    <a:pt x="62375" y="425167"/>
                    <a:pt x="62375" y="425167"/>
                  </a:cubicBezTo>
                  <a:lnTo>
                    <a:pt x="68816" y="430330"/>
                  </a:lnTo>
                  <a:lnTo>
                    <a:pt x="64048" y="436154"/>
                  </a:lnTo>
                  <a:lnTo>
                    <a:pt x="57198" y="436665"/>
                  </a:lnTo>
                  <a:cubicBezTo>
                    <a:pt x="57198" y="436665"/>
                    <a:pt x="48935" y="438593"/>
                    <a:pt x="44924" y="439490"/>
                  </a:cubicBezTo>
                  <a:cubicBezTo>
                    <a:pt x="40928" y="440401"/>
                    <a:pt x="39896" y="440285"/>
                    <a:pt x="33962" y="446152"/>
                  </a:cubicBezTo>
                  <a:cubicBezTo>
                    <a:pt x="40282" y="442242"/>
                    <a:pt x="46356" y="442980"/>
                    <a:pt x="51789" y="445443"/>
                  </a:cubicBezTo>
                  <a:cubicBezTo>
                    <a:pt x="49475" y="448148"/>
                    <a:pt x="44288" y="448924"/>
                    <a:pt x="41583" y="449059"/>
                  </a:cubicBezTo>
                  <a:cubicBezTo>
                    <a:pt x="38860" y="449160"/>
                    <a:pt x="36797" y="450732"/>
                    <a:pt x="35374" y="451763"/>
                  </a:cubicBezTo>
                  <a:cubicBezTo>
                    <a:pt x="33967" y="452804"/>
                    <a:pt x="34728" y="454723"/>
                    <a:pt x="35524" y="457698"/>
                  </a:cubicBezTo>
                  <a:cubicBezTo>
                    <a:pt x="36290" y="460681"/>
                    <a:pt x="38344" y="457437"/>
                    <a:pt x="40402" y="455750"/>
                  </a:cubicBezTo>
                  <a:cubicBezTo>
                    <a:pt x="42480" y="454082"/>
                    <a:pt x="44674" y="454848"/>
                    <a:pt x="46486" y="456406"/>
                  </a:cubicBezTo>
                  <a:cubicBezTo>
                    <a:pt x="48294" y="457972"/>
                    <a:pt x="51394" y="455904"/>
                    <a:pt x="53086" y="454718"/>
                  </a:cubicBezTo>
                  <a:cubicBezTo>
                    <a:pt x="54768" y="453566"/>
                    <a:pt x="56812" y="453325"/>
                    <a:pt x="59145" y="454241"/>
                  </a:cubicBezTo>
                  <a:cubicBezTo>
                    <a:pt x="61469" y="455147"/>
                    <a:pt x="66106" y="453826"/>
                    <a:pt x="66106" y="453826"/>
                  </a:cubicBezTo>
                  <a:lnTo>
                    <a:pt x="65470" y="460026"/>
                  </a:lnTo>
                  <a:lnTo>
                    <a:pt x="71404" y="459134"/>
                  </a:lnTo>
                  <a:cubicBezTo>
                    <a:pt x="71404" y="459134"/>
                    <a:pt x="71014" y="462629"/>
                    <a:pt x="70638" y="465324"/>
                  </a:cubicBezTo>
                  <a:cubicBezTo>
                    <a:pt x="73203" y="463400"/>
                    <a:pt x="75796" y="462123"/>
                    <a:pt x="77739" y="463400"/>
                  </a:cubicBezTo>
                  <a:cubicBezTo>
                    <a:pt x="79682" y="464683"/>
                    <a:pt x="83798" y="463911"/>
                    <a:pt x="89096" y="462127"/>
                  </a:cubicBezTo>
                  <a:cubicBezTo>
                    <a:pt x="99562" y="457837"/>
                    <a:pt x="105111" y="463400"/>
                    <a:pt x="105501" y="464297"/>
                  </a:cubicBezTo>
                  <a:cubicBezTo>
                    <a:pt x="105887" y="465198"/>
                    <a:pt x="109237" y="463767"/>
                    <a:pt x="113383" y="459775"/>
                  </a:cubicBezTo>
                  <a:cubicBezTo>
                    <a:pt x="116213" y="463024"/>
                    <a:pt x="124606" y="463767"/>
                    <a:pt x="124606" y="463767"/>
                  </a:cubicBezTo>
                  <a:lnTo>
                    <a:pt x="127329" y="456560"/>
                  </a:lnTo>
                  <a:lnTo>
                    <a:pt x="133514" y="458879"/>
                  </a:lnTo>
                  <a:cubicBezTo>
                    <a:pt x="133514" y="458879"/>
                    <a:pt x="134821" y="460397"/>
                    <a:pt x="139068" y="463511"/>
                  </a:cubicBezTo>
                  <a:cubicBezTo>
                    <a:pt x="141290" y="461337"/>
                    <a:pt x="140495" y="451522"/>
                    <a:pt x="140495" y="451522"/>
                  </a:cubicBezTo>
                  <a:lnTo>
                    <a:pt x="146945" y="454087"/>
                  </a:lnTo>
                  <a:lnTo>
                    <a:pt x="160906" y="451392"/>
                  </a:lnTo>
                  <a:lnTo>
                    <a:pt x="164150" y="445303"/>
                  </a:lnTo>
                  <a:lnTo>
                    <a:pt x="161417" y="438593"/>
                  </a:lnTo>
                  <a:lnTo>
                    <a:pt x="161552" y="433420"/>
                  </a:lnTo>
                  <a:cubicBezTo>
                    <a:pt x="161552" y="433420"/>
                    <a:pt x="158582" y="431482"/>
                    <a:pt x="156128" y="430460"/>
                  </a:cubicBezTo>
                  <a:cubicBezTo>
                    <a:pt x="168508" y="429650"/>
                    <a:pt x="169168" y="432794"/>
                    <a:pt x="172774" y="436761"/>
                  </a:cubicBezTo>
                  <a:cubicBezTo>
                    <a:pt x="176390" y="440787"/>
                    <a:pt x="174061" y="441943"/>
                    <a:pt x="169289" y="445949"/>
                  </a:cubicBezTo>
                  <a:cubicBezTo>
                    <a:pt x="175859" y="450862"/>
                    <a:pt x="193701" y="441688"/>
                    <a:pt x="193701" y="441688"/>
                  </a:cubicBezTo>
                  <a:lnTo>
                    <a:pt x="199254" y="443119"/>
                  </a:lnTo>
                  <a:cubicBezTo>
                    <a:pt x="199254" y="443119"/>
                    <a:pt x="203135" y="435252"/>
                    <a:pt x="205574" y="430190"/>
                  </a:cubicBezTo>
                  <a:cubicBezTo>
                    <a:pt x="209976" y="440782"/>
                    <a:pt x="226896" y="432924"/>
                    <a:pt x="226896" y="432924"/>
                  </a:cubicBezTo>
                  <a:cubicBezTo>
                    <a:pt x="226896" y="432924"/>
                    <a:pt x="230902" y="428378"/>
                    <a:pt x="231654" y="426715"/>
                  </a:cubicBezTo>
                  <a:cubicBezTo>
                    <a:pt x="232440" y="425003"/>
                    <a:pt x="231023" y="423721"/>
                    <a:pt x="228950" y="419975"/>
                  </a:cubicBezTo>
                  <a:cubicBezTo>
                    <a:pt x="231924" y="421812"/>
                    <a:pt x="235930" y="420891"/>
                    <a:pt x="241093" y="419219"/>
                  </a:cubicBezTo>
                  <a:cubicBezTo>
                    <a:pt x="246247" y="417546"/>
                    <a:pt x="257763" y="421528"/>
                    <a:pt x="259566" y="421528"/>
                  </a:cubicBezTo>
                  <a:cubicBezTo>
                    <a:pt x="261364" y="421528"/>
                    <a:pt x="266286" y="422574"/>
                    <a:pt x="267945" y="424010"/>
                  </a:cubicBezTo>
                  <a:cubicBezTo>
                    <a:pt x="269637" y="425418"/>
                    <a:pt x="274404" y="425418"/>
                    <a:pt x="276352" y="425162"/>
                  </a:cubicBezTo>
                  <a:cubicBezTo>
                    <a:pt x="278271" y="424888"/>
                    <a:pt x="282161" y="420110"/>
                    <a:pt x="282161" y="420110"/>
                  </a:cubicBezTo>
                  <a:lnTo>
                    <a:pt x="281775" y="406318"/>
                  </a:lnTo>
                  <a:lnTo>
                    <a:pt x="283583" y="412759"/>
                  </a:lnTo>
                  <a:lnTo>
                    <a:pt x="286548" y="418163"/>
                  </a:lnTo>
                  <a:lnTo>
                    <a:pt x="287208" y="424391"/>
                  </a:lnTo>
                  <a:lnTo>
                    <a:pt x="293793" y="422443"/>
                  </a:lnTo>
                  <a:cubicBezTo>
                    <a:pt x="293793" y="422443"/>
                    <a:pt x="294184" y="417266"/>
                    <a:pt x="294184" y="415979"/>
                  </a:cubicBezTo>
                  <a:cubicBezTo>
                    <a:pt x="294184" y="414702"/>
                    <a:pt x="297925" y="414166"/>
                    <a:pt x="299993" y="414166"/>
                  </a:cubicBezTo>
                  <a:cubicBezTo>
                    <a:pt x="302051" y="414166"/>
                    <a:pt x="300258" y="418327"/>
                    <a:pt x="300258" y="419720"/>
                  </a:cubicBezTo>
                  <a:cubicBezTo>
                    <a:pt x="300258" y="421147"/>
                    <a:pt x="304114" y="421807"/>
                    <a:pt x="305922" y="422443"/>
                  </a:cubicBezTo>
                  <a:cubicBezTo>
                    <a:pt x="307740" y="423099"/>
                    <a:pt x="311225" y="426956"/>
                    <a:pt x="311620" y="428267"/>
                  </a:cubicBezTo>
                  <a:cubicBezTo>
                    <a:pt x="311992" y="429573"/>
                    <a:pt x="318340" y="426710"/>
                    <a:pt x="318340" y="426710"/>
                  </a:cubicBezTo>
                  <a:lnTo>
                    <a:pt x="330517" y="431212"/>
                  </a:lnTo>
                  <a:lnTo>
                    <a:pt x="334133" y="425365"/>
                  </a:lnTo>
                  <a:lnTo>
                    <a:pt x="331554" y="418119"/>
                  </a:lnTo>
                  <a:lnTo>
                    <a:pt x="331882" y="413477"/>
                  </a:lnTo>
                  <a:cubicBezTo>
                    <a:pt x="331882" y="413477"/>
                    <a:pt x="328787" y="411939"/>
                    <a:pt x="327239" y="412976"/>
                  </a:cubicBezTo>
                  <a:cubicBezTo>
                    <a:pt x="325692" y="413978"/>
                    <a:pt x="324651" y="408671"/>
                    <a:pt x="324617" y="406053"/>
                  </a:cubicBezTo>
                  <a:cubicBezTo>
                    <a:pt x="324569" y="403460"/>
                    <a:pt x="328951" y="406096"/>
                    <a:pt x="330686" y="407620"/>
                  </a:cubicBezTo>
                  <a:cubicBezTo>
                    <a:pt x="332426" y="409172"/>
                    <a:pt x="339286" y="399545"/>
                    <a:pt x="339286" y="399545"/>
                  </a:cubicBezTo>
                  <a:cubicBezTo>
                    <a:pt x="339286" y="399545"/>
                    <a:pt x="344806" y="395385"/>
                    <a:pt x="348918" y="391263"/>
                  </a:cubicBezTo>
                  <a:cubicBezTo>
                    <a:pt x="353069" y="387141"/>
                    <a:pt x="354973" y="382673"/>
                    <a:pt x="354636" y="377500"/>
                  </a:cubicBezTo>
                  <a:cubicBezTo>
                    <a:pt x="354274" y="372352"/>
                    <a:pt x="356014" y="369064"/>
                    <a:pt x="363404" y="362160"/>
                  </a:cubicBezTo>
                  <a:cubicBezTo>
                    <a:pt x="363751" y="349776"/>
                    <a:pt x="378517" y="339397"/>
                    <a:pt x="378517" y="339397"/>
                  </a:cubicBezTo>
                  <a:cubicBezTo>
                    <a:pt x="378517" y="339397"/>
                    <a:pt x="379669" y="331776"/>
                    <a:pt x="379284" y="328690"/>
                  </a:cubicBezTo>
                  <a:cubicBezTo>
                    <a:pt x="378913" y="325562"/>
                    <a:pt x="378517" y="325195"/>
                    <a:pt x="380720" y="320293"/>
                  </a:cubicBezTo>
                  <a:cubicBezTo>
                    <a:pt x="382895" y="315366"/>
                    <a:pt x="380831" y="308810"/>
                    <a:pt x="381096" y="304404"/>
                  </a:cubicBezTo>
                  <a:cubicBezTo>
                    <a:pt x="381361" y="300002"/>
                    <a:pt x="380836" y="299226"/>
                    <a:pt x="380836" y="299226"/>
                  </a:cubicBezTo>
                  <a:cubicBezTo>
                    <a:pt x="380836" y="299226"/>
                    <a:pt x="380725" y="294873"/>
                    <a:pt x="381361" y="291123"/>
                  </a:cubicBezTo>
                  <a:cubicBezTo>
                    <a:pt x="378913" y="289691"/>
                    <a:pt x="377230" y="288900"/>
                    <a:pt x="375167" y="284513"/>
                  </a:cubicBezTo>
                  <a:cubicBezTo>
                    <a:pt x="373094" y="280122"/>
                    <a:pt x="377741" y="279640"/>
                    <a:pt x="379409" y="278304"/>
                  </a:cubicBezTo>
                  <a:cubicBezTo>
                    <a:pt x="381096" y="277032"/>
                    <a:pt x="381868" y="277919"/>
                    <a:pt x="387045" y="281679"/>
                  </a:cubicBezTo>
                  <a:cubicBezTo>
                    <a:pt x="382383" y="275335"/>
                    <a:pt x="381998" y="267588"/>
                    <a:pt x="384186" y="266306"/>
                  </a:cubicBezTo>
                  <a:cubicBezTo>
                    <a:pt x="386375" y="265018"/>
                    <a:pt x="388983" y="263727"/>
                    <a:pt x="391056" y="257016"/>
                  </a:cubicBezTo>
                  <a:cubicBezTo>
                    <a:pt x="380190" y="248884"/>
                    <a:pt x="381868" y="231587"/>
                    <a:pt x="383150" y="230011"/>
                  </a:cubicBezTo>
                  <a:cubicBezTo>
                    <a:pt x="384456" y="228468"/>
                    <a:pt x="384456" y="224852"/>
                    <a:pt x="387151" y="214926"/>
                  </a:cubicBezTo>
                  <a:cubicBezTo>
                    <a:pt x="372308" y="212820"/>
                    <a:pt x="380961" y="196574"/>
                    <a:pt x="382514" y="193600"/>
                  </a:cubicBezTo>
                  <a:cubicBezTo>
                    <a:pt x="384066" y="190650"/>
                    <a:pt x="394387" y="200836"/>
                    <a:pt x="394387" y="200836"/>
                  </a:cubicBezTo>
                  <a:cubicBezTo>
                    <a:pt x="394387" y="200836"/>
                    <a:pt x="398142" y="199279"/>
                    <a:pt x="401888" y="195812"/>
                  </a:cubicBezTo>
                  <a:cubicBezTo>
                    <a:pt x="399290" y="195099"/>
                    <a:pt x="394700" y="188914"/>
                    <a:pt x="392714" y="184407"/>
                  </a:cubicBezTo>
                  <a:lnTo>
                    <a:pt x="387479" y="180005"/>
                  </a:lnTo>
                  <a:lnTo>
                    <a:pt x="382991" y="18565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43" name="Freihandform: Form 642">
              <a:extLst>
                <a:ext uri="{FF2B5EF4-FFF2-40B4-BE49-F238E27FC236}">
                  <a16:creationId xmlns:a16="http://schemas.microsoft.com/office/drawing/2014/main" id="{B83F1A2F-7CC6-6D59-6C53-B7FA3DBAB061}"/>
                </a:ext>
              </a:extLst>
            </p:cNvPr>
            <p:cNvSpPr/>
            <p:nvPr/>
          </p:nvSpPr>
          <p:spPr>
            <a:xfrm>
              <a:off x="3592832" y="3246424"/>
              <a:ext cx="263495" cy="212733"/>
            </a:xfrm>
            <a:custGeom>
              <a:avLst/>
              <a:gdLst>
                <a:gd name="connsiteX0" fmla="*/ 206664 w 206663"/>
                <a:gd name="connsiteY0" fmla="*/ 103718 h 166478"/>
                <a:gd name="connsiteX1" fmla="*/ 203323 w 206663"/>
                <a:gd name="connsiteY1" fmla="*/ 91179 h 166478"/>
                <a:gd name="connsiteX2" fmla="*/ 185385 w 206663"/>
                <a:gd name="connsiteY2" fmla="*/ 87164 h 166478"/>
                <a:gd name="connsiteX3" fmla="*/ 176342 w 206663"/>
                <a:gd name="connsiteY3" fmla="*/ 94149 h 166478"/>
                <a:gd name="connsiteX4" fmla="*/ 190399 w 206663"/>
                <a:gd name="connsiteY4" fmla="*/ 81094 h 166478"/>
                <a:gd name="connsiteX5" fmla="*/ 197104 w 206663"/>
                <a:gd name="connsiteY5" fmla="*/ 76192 h 166478"/>
                <a:gd name="connsiteX6" fmla="*/ 197104 w 206663"/>
                <a:gd name="connsiteY6" fmla="*/ 67408 h 166478"/>
                <a:gd name="connsiteX7" fmla="*/ 192327 w 206663"/>
                <a:gd name="connsiteY7" fmla="*/ 65856 h 166478"/>
                <a:gd name="connsiteX8" fmla="*/ 193388 w 206663"/>
                <a:gd name="connsiteY8" fmla="*/ 71154 h 166478"/>
                <a:gd name="connsiteX9" fmla="*/ 189107 w 206663"/>
                <a:gd name="connsiteY9" fmla="*/ 64699 h 166478"/>
                <a:gd name="connsiteX10" fmla="*/ 188716 w 206663"/>
                <a:gd name="connsiteY10" fmla="*/ 59266 h 166478"/>
                <a:gd name="connsiteX11" fmla="*/ 181485 w 206663"/>
                <a:gd name="connsiteY11" fmla="*/ 40185 h 166478"/>
                <a:gd name="connsiteX12" fmla="*/ 182527 w 206663"/>
                <a:gd name="connsiteY12" fmla="*/ 38628 h 166478"/>
                <a:gd name="connsiteX13" fmla="*/ 182131 w 206663"/>
                <a:gd name="connsiteY13" fmla="*/ 33306 h 166478"/>
                <a:gd name="connsiteX14" fmla="*/ 178376 w 206663"/>
                <a:gd name="connsiteY14" fmla="*/ 28283 h 166478"/>
                <a:gd name="connsiteX15" fmla="*/ 180449 w 206663"/>
                <a:gd name="connsiteY15" fmla="*/ 16554 h 166478"/>
                <a:gd name="connsiteX16" fmla="*/ 175681 w 206663"/>
                <a:gd name="connsiteY16" fmla="*/ 10480 h 166478"/>
                <a:gd name="connsiteX17" fmla="*/ 169988 w 206663"/>
                <a:gd name="connsiteY17" fmla="*/ 10341 h 166478"/>
                <a:gd name="connsiteX18" fmla="*/ 157208 w 206663"/>
                <a:gd name="connsiteY18" fmla="*/ 2989 h 166478"/>
                <a:gd name="connsiteX19" fmla="*/ 151785 w 206663"/>
                <a:gd name="connsiteY19" fmla="*/ 2083 h 166478"/>
                <a:gd name="connsiteX20" fmla="*/ 135785 w 206663"/>
                <a:gd name="connsiteY20" fmla="*/ 4782 h 166478"/>
                <a:gd name="connsiteX21" fmla="*/ 129701 w 206663"/>
                <a:gd name="connsiteY21" fmla="*/ 6354 h 166478"/>
                <a:gd name="connsiteX22" fmla="*/ 118990 w 206663"/>
                <a:gd name="connsiteY22" fmla="*/ 4782 h 166478"/>
                <a:gd name="connsiteX23" fmla="*/ 113552 w 206663"/>
                <a:gd name="connsiteY23" fmla="*/ 0 h 166478"/>
                <a:gd name="connsiteX24" fmla="*/ 112530 w 206663"/>
                <a:gd name="connsiteY24" fmla="*/ 4503 h 166478"/>
                <a:gd name="connsiteX25" fmla="*/ 102455 w 206663"/>
                <a:gd name="connsiteY25" fmla="*/ 16554 h 166478"/>
                <a:gd name="connsiteX26" fmla="*/ 94592 w 206663"/>
                <a:gd name="connsiteY26" fmla="*/ 14728 h 166478"/>
                <a:gd name="connsiteX27" fmla="*/ 87795 w 206663"/>
                <a:gd name="connsiteY27" fmla="*/ 13932 h 166478"/>
                <a:gd name="connsiteX28" fmla="*/ 88537 w 206663"/>
                <a:gd name="connsiteY28" fmla="*/ 10929 h 166478"/>
                <a:gd name="connsiteX29" fmla="*/ 73188 w 206663"/>
                <a:gd name="connsiteY29" fmla="*/ 23409 h 166478"/>
                <a:gd name="connsiteX30" fmla="*/ 60799 w 206663"/>
                <a:gd name="connsiteY30" fmla="*/ 39790 h 166478"/>
                <a:gd name="connsiteX31" fmla="*/ 57685 w 206663"/>
                <a:gd name="connsiteY31" fmla="*/ 45816 h 166478"/>
                <a:gd name="connsiteX32" fmla="*/ 40480 w 206663"/>
                <a:gd name="connsiteY32" fmla="*/ 49422 h 166478"/>
                <a:gd name="connsiteX33" fmla="*/ 33417 w 206663"/>
                <a:gd name="connsiteY33" fmla="*/ 44423 h 166478"/>
                <a:gd name="connsiteX34" fmla="*/ 26519 w 206663"/>
                <a:gd name="connsiteY34" fmla="*/ 45628 h 166478"/>
                <a:gd name="connsiteX35" fmla="*/ 28264 w 206663"/>
                <a:gd name="connsiteY35" fmla="*/ 53201 h 166478"/>
                <a:gd name="connsiteX36" fmla="*/ 34786 w 206663"/>
                <a:gd name="connsiteY36" fmla="*/ 58384 h 166478"/>
                <a:gd name="connsiteX37" fmla="*/ 40301 w 206663"/>
                <a:gd name="connsiteY37" fmla="*/ 62183 h 166478"/>
                <a:gd name="connsiteX38" fmla="*/ 33919 w 206663"/>
                <a:gd name="connsiteY38" fmla="*/ 64058 h 166478"/>
                <a:gd name="connsiteX39" fmla="*/ 27898 w 206663"/>
                <a:gd name="connsiteY39" fmla="*/ 68546 h 166478"/>
                <a:gd name="connsiteX40" fmla="*/ 22383 w 206663"/>
                <a:gd name="connsiteY40" fmla="*/ 67847 h 166478"/>
                <a:gd name="connsiteX41" fmla="*/ 16704 w 206663"/>
                <a:gd name="connsiteY41" fmla="*/ 65094 h 166478"/>
                <a:gd name="connsiteX42" fmla="*/ 11025 w 206663"/>
                <a:gd name="connsiteY42" fmla="*/ 72166 h 166478"/>
                <a:gd name="connsiteX43" fmla="*/ 0 w 206663"/>
                <a:gd name="connsiteY43" fmla="*/ 72856 h 166478"/>
                <a:gd name="connsiteX44" fmla="*/ 6021 w 206663"/>
                <a:gd name="connsiteY44" fmla="*/ 87462 h 166478"/>
                <a:gd name="connsiteX45" fmla="*/ 12399 w 206663"/>
                <a:gd name="connsiteY45" fmla="*/ 95576 h 166478"/>
                <a:gd name="connsiteX46" fmla="*/ 14481 w 206663"/>
                <a:gd name="connsiteY46" fmla="*/ 99201 h 166478"/>
                <a:gd name="connsiteX47" fmla="*/ 16892 w 206663"/>
                <a:gd name="connsiteY47" fmla="*/ 103655 h 166478"/>
                <a:gd name="connsiteX48" fmla="*/ 21014 w 206663"/>
                <a:gd name="connsiteY48" fmla="*/ 113648 h 166478"/>
                <a:gd name="connsiteX49" fmla="*/ 28934 w 206663"/>
                <a:gd name="connsiteY49" fmla="*/ 117293 h 166478"/>
                <a:gd name="connsiteX50" fmla="*/ 34102 w 206663"/>
                <a:gd name="connsiteY50" fmla="*/ 125194 h 166478"/>
                <a:gd name="connsiteX51" fmla="*/ 39781 w 206663"/>
                <a:gd name="connsiteY51" fmla="*/ 127783 h 166478"/>
                <a:gd name="connsiteX52" fmla="*/ 44601 w 206663"/>
                <a:gd name="connsiteY52" fmla="*/ 127435 h 166478"/>
                <a:gd name="connsiteX53" fmla="*/ 54074 w 206663"/>
                <a:gd name="connsiteY53" fmla="*/ 133273 h 166478"/>
                <a:gd name="connsiteX54" fmla="*/ 55959 w 206663"/>
                <a:gd name="connsiteY54" fmla="*/ 130357 h 166478"/>
                <a:gd name="connsiteX55" fmla="*/ 59931 w 206663"/>
                <a:gd name="connsiteY55" fmla="*/ 130357 h 166478"/>
                <a:gd name="connsiteX56" fmla="*/ 63040 w 206663"/>
                <a:gd name="connsiteY56" fmla="*/ 126226 h 166478"/>
                <a:gd name="connsiteX57" fmla="*/ 68184 w 206663"/>
                <a:gd name="connsiteY57" fmla="*/ 122610 h 166478"/>
                <a:gd name="connsiteX58" fmla="*/ 70956 w 206663"/>
                <a:gd name="connsiteY58" fmla="*/ 115548 h 166478"/>
                <a:gd name="connsiteX59" fmla="*/ 69221 w 206663"/>
                <a:gd name="connsiteY59" fmla="*/ 111754 h 166478"/>
                <a:gd name="connsiteX60" fmla="*/ 70609 w 206663"/>
                <a:gd name="connsiteY60" fmla="*/ 106779 h 166478"/>
                <a:gd name="connsiteX61" fmla="*/ 76114 w 206663"/>
                <a:gd name="connsiteY61" fmla="*/ 107637 h 166478"/>
                <a:gd name="connsiteX62" fmla="*/ 83538 w 206663"/>
                <a:gd name="connsiteY62" fmla="*/ 99528 h 166478"/>
                <a:gd name="connsiteX63" fmla="*/ 89747 w 206663"/>
                <a:gd name="connsiteY63" fmla="*/ 102262 h 166478"/>
                <a:gd name="connsiteX64" fmla="*/ 95739 w 206663"/>
                <a:gd name="connsiteY64" fmla="*/ 114516 h 166478"/>
                <a:gd name="connsiteX65" fmla="*/ 92842 w 206663"/>
                <a:gd name="connsiteY65" fmla="*/ 118802 h 166478"/>
                <a:gd name="connsiteX66" fmla="*/ 101794 w 206663"/>
                <a:gd name="connsiteY66" fmla="*/ 133620 h 166478"/>
                <a:gd name="connsiteX67" fmla="*/ 106788 w 206663"/>
                <a:gd name="connsiteY67" fmla="*/ 139998 h 166478"/>
                <a:gd name="connsiteX68" fmla="*/ 103838 w 206663"/>
                <a:gd name="connsiteY68" fmla="*/ 148589 h 166478"/>
                <a:gd name="connsiteX69" fmla="*/ 105747 w 206663"/>
                <a:gd name="connsiteY69" fmla="*/ 154624 h 166478"/>
                <a:gd name="connsiteX70" fmla="*/ 119192 w 206663"/>
                <a:gd name="connsiteY70" fmla="*/ 153583 h 166478"/>
                <a:gd name="connsiteX71" fmla="*/ 125020 w 206663"/>
                <a:gd name="connsiteY71" fmla="*/ 156350 h 166478"/>
                <a:gd name="connsiteX72" fmla="*/ 129513 w 206663"/>
                <a:gd name="connsiteY72" fmla="*/ 150671 h 166478"/>
                <a:gd name="connsiteX73" fmla="*/ 134748 w 206663"/>
                <a:gd name="connsiteY73" fmla="*/ 155073 h 166478"/>
                <a:gd name="connsiteX74" fmla="*/ 134228 w 206663"/>
                <a:gd name="connsiteY74" fmla="*/ 153776 h 166478"/>
                <a:gd name="connsiteX75" fmla="*/ 147292 w 206663"/>
                <a:gd name="connsiteY75" fmla="*/ 166478 h 166478"/>
                <a:gd name="connsiteX76" fmla="*/ 164994 w 206663"/>
                <a:gd name="connsiteY76" fmla="*/ 154716 h 166478"/>
                <a:gd name="connsiteX77" fmla="*/ 171174 w 206663"/>
                <a:gd name="connsiteY77" fmla="*/ 143614 h 166478"/>
                <a:gd name="connsiteX78" fmla="*/ 184489 w 206663"/>
                <a:gd name="connsiteY78" fmla="*/ 147360 h 166478"/>
                <a:gd name="connsiteX79" fmla="*/ 195706 w 206663"/>
                <a:gd name="connsiteY79" fmla="*/ 136354 h 166478"/>
                <a:gd name="connsiteX80" fmla="*/ 195311 w 206663"/>
                <a:gd name="connsiteY80" fmla="*/ 131326 h 166478"/>
                <a:gd name="connsiteX81" fmla="*/ 190688 w 206663"/>
                <a:gd name="connsiteY81" fmla="*/ 128612 h 166478"/>
                <a:gd name="connsiteX82" fmla="*/ 184604 w 206663"/>
                <a:gd name="connsiteY82" fmla="*/ 128862 h 166478"/>
                <a:gd name="connsiteX83" fmla="*/ 191970 w 206663"/>
                <a:gd name="connsiteY83" fmla="*/ 110925 h 166478"/>
                <a:gd name="connsiteX84" fmla="*/ 190799 w 206663"/>
                <a:gd name="connsiteY84" fmla="*/ 101905 h 166478"/>
                <a:gd name="connsiteX85" fmla="*/ 196367 w 206663"/>
                <a:gd name="connsiteY85" fmla="*/ 123449 h 166478"/>
                <a:gd name="connsiteX86" fmla="*/ 200498 w 206663"/>
                <a:gd name="connsiteY86" fmla="*/ 133534 h 166478"/>
                <a:gd name="connsiteX87" fmla="*/ 206288 w 206663"/>
                <a:gd name="connsiteY87" fmla="*/ 111580 h 166478"/>
                <a:gd name="connsiteX88" fmla="*/ 206664 w 206663"/>
                <a:gd name="connsiteY88" fmla="*/ 103718 h 166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206663" h="166478">
                  <a:moveTo>
                    <a:pt x="206664" y="103718"/>
                  </a:moveTo>
                  <a:cubicBezTo>
                    <a:pt x="206664" y="103718"/>
                    <a:pt x="204099" y="93122"/>
                    <a:pt x="203323" y="91179"/>
                  </a:cubicBezTo>
                  <a:cubicBezTo>
                    <a:pt x="202552" y="89241"/>
                    <a:pt x="185385" y="87164"/>
                    <a:pt x="185385" y="87164"/>
                  </a:cubicBezTo>
                  <a:cubicBezTo>
                    <a:pt x="185385" y="87164"/>
                    <a:pt x="181871" y="89767"/>
                    <a:pt x="176342" y="94149"/>
                  </a:cubicBezTo>
                  <a:cubicBezTo>
                    <a:pt x="173729" y="82550"/>
                    <a:pt x="190399" y="81094"/>
                    <a:pt x="190399" y="81094"/>
                  </a:cubicBezTo>
                  <a:lnTo>
                    <a:pt x="197104" y="76192"/>
                  </a:lnTo>
                  <a:lnTo>
                    <a:pt x="197104" y="67408"/>
                  </a:lnTo>
                  <a:lnTo>
                    <a:pt x="192327" y="65856"/>
                  </a:lnTo>
                  <a:lnTo>
                    <a:pt x="193388" y="71154"/>
                  </a:lnTo>
                  <a:lnTo>
                    <a:pt x="189107" y="64699"/>
                  </a:lnTo>
                  <a:lnTo>
                    <a:pt x="188716" y="59266"/>
                  </a:lnTo>
                  <a:lnTo>
                    <a:pt x="181485" y="40185"/>
                  </a:lnTo>
                  <a:lnTo>
                    <a:pt x="182527" y="38628"/>
                  </a:lnTo>
                  <a:lnTo>
                    <a:pt x="182131" y="33306"/>
                  </a:lnTo>
                  <a:cubicBezTo>
                    <a:pt x="182131" y="33306"/>
                    <a:pt x="180579" y="30886"/>
                    <a:pt x="178376" y="28283"/>
                  </a:cubicBezTo>
                  <a:cubicBezTo>
                    <a:pt x="181630" y="23776"/>
                    <a:pt x="180449" y="16554"/>
                    <a:pt x="180449" y="16554"/>
                  </a:cubicBezTo>
                  <a:lnTo>
                    <a:pt x="175681" y="10480"/>
                  </a:lnTo>
                  <a:lnTo>
                    <a:pt x="169988" y="10341"/>
                  </a:lnTo>
                  <a:lnTo>
                    <a:pt x="157208" y="2989"/>
                  </a:lnTo>
                  <a:lnTo>
                    <a:pt x="151785" y="2083"/>
                  </a:lnTo>
                  <a:lnTo>
                    <a:pt x="135785" y="4782"/>
                  </a:lnTo>
                  <a:lnTo>
                    <a:pt x="129701" y="6354"/>
                  </a:lnTo>
                  <a:lnTo>
                    <a:pt x="118990" y="4782"/>
                  </a:lnTo>
                  <a:cubicBezTo>
                    <a:pt x="118990" y="4782"/>
                    <a:pt x="114082" y="535"/>
                    <a:pt x="113552" y="0"/>
                  </a:cubicBezTo>
                  <a:lnTo>
                    <a:pt x="112530" y="4503"/>
                  </a:lnTo>
                  <a:cubicBezTo>
                    <a:pt x="112530" y="4503"/>
                    <a:pt x="103867" y="14192"/>
                    <a:pt x="102455" y="16554"/>
                  </a:cubicBezTo>
                  <a:cubicBezTo>
                    <a:pt x="101032" y="18854"/>
                    <a:pt x="96135" y="17176"/>
                    <a:pt x="94592" y="14728"/>
                  </a:cubicBezTo>
                  <a:cubicBezTo>
                    <a:pt x="93025" y="12274"/>
                    <a:pt x="88393" y="16039"/>
                    <a:pt x="87795" y="13932"/>
                  </a:cubicBezTo>
                  <a:cubicBezTo>
                    <a:pt x="87819" y="12867"/>
                    <a:pt x="88103" y="11873"/>
                    <a:pt x="88537" y="10929"/>
                  </a:cubicBezTo>
                  <a:cubicBezTo>
                    <a:pt x="85770" y="10625"/>
                    <a:pt x="76543" y="10567"/>
                    <a:pt x="73188" y="23409"/>
                  </a:cubicBezTo>
                  <a:cubicBezTo>
                    <a:pt x="66482" y="35119"/>
                    <a:pt x="64752" y="38575"/>
                    <a:pt x="60799" y="39790"/>
                  </a:cubicBezTo>
                  <a:cubicBezTo>
                    <a:pt x="59073" y="40292"/>
                    <a:pt x="57887" y="41352"/>
                    <a:pt x="57685" y="45816"/>
                  </a:cubicBezTo>
                  <a:cubicBezTo>
                    <a:pt x="54614" y="45816"/>
                    <a:pt x="42533" y="45464"/>
                    <a:pt x="40480" y="49422"/>
                  </a:cubicBezTo>
                  <a:cubicBezTo>
                    <a:pt x="37872" y="47706"/>
                    <a:pt x="33417" y="44423"/>
                    <a:pt x="33417" y="44423"/>
                  </a:cubicBezTo>
                  <a:lnTo>
                    <a:pt x="26519" y="45628"/>
                  </a:lnTo>
                  <a:lnTo>
                    <a:pt x="28264" y="53201"/>
                  </a:lnTo>
                  <a:lnTo>
                    <a:pt x="34786" y="58384"/>
                  </a:lnTo>
                  <a:cubicBezTo>
                    <a:pt x="34786" y="58384"/>
                    <a:pt x="42895" y="59777"/>
                    <a:pt x="40301" y="62183"/>
                  </a:cubicBezTo>
                  <a:cubicBezTo>
                    <a:pt x="37708" y="64588"/>
                    <a:pt x="33919" y="64058"/>
                    <a:pt x="33919" y="64058"/>
                  </a:cubicBezTo>
                  <a:lnTo>
                    <a:pt x="27898" y="68546"/>
                  </a:lnTo>
                  <a:lnTo>
                    <a:pt x="22383" y="67847"/>
                  </a:lnTo>
                  <a:lnTo>
                    <a:pt x="16704" y="65094"/>
                  </a:lnTo>
                  <a:lnTo>
                    <a:pt x="11025" y="72166"/>
                  </a:lnTo>
                  <a:lnTo>
                    <a:pt x="0" y="72856"/>
                  </a:lnTo>
                  <a:lnTo>
                    <a:pt x="6021" y="87462"/>
                  </a:lnTo>
                  <a:cubicBezTo>
                    <a:pt x="6021" y="87462"/>
                    <a:pt x="12399" y="92302"/>
                    <a:pt x="12399" y="95576"/>
                  </a:cubicBezTo>
                  <a:cubicBezTo>
                    <a:pt x="12399" y="98873"/>
                    <a:pt x="12760" y="99201"/>
                    <a:pt x="14481" y="99201"/>
                  </a:cubicBezTo>
                  <a:cubicBezTo>
                    <a:pt x="16198" y="99201"/>
                    <a:pt x="16892" y="100579"/>
                    <a:pt x="16892" y="103655"/>
                  </a:cubicBezTo>
                  <a:cubicBezTo>
                    <a:pt x="16892" y="106779"/>
                    <a:pt x="16892" y="113470"/>
                    <a:pt x="21014" y="113648"/>
                  </a:cubicBezTo>
                  <a:cubicBezTo>
                    <a:pt x="25159" y="113822"/>
                    <a:pt x="28259" y="113822"/>
                    <a:pt x="28934" y="117293"/>
                  </a:cubicBezTo>
                  <a:cubicBezTo>
                    <a:pt x="29618" y="120701"/>
                    <a:pt x="34102" y="125194"/>
                    <a:pt x="34102" y="125194"/>
                  </a:cubicBezTo>
                  <a:lnTo>
                    <a:pt x="39781" y="127783"/>
                  </a:lnTo>
                  <a:lnTo>
                    <a:pt x="44601" y="127435"/>
                  </a:lnTo>
                  <a:lnTo>
                    <a:pt x="54074" y="133273"/>
                  </a:lnTo>
                  <a:lnTo>
                    <a:pt x="55959" y="130357"/>
                  </a:lnTo>
                  <a:lnTo>
                    <a:pt x="59931" y="130357"/>
                  </a:lnTo>
                  <a:lnTo>
                    <a:pt x="63040" y="126226"/>
                  </a:lnTo>
                  <a:lnTo>
                    <a:pt x="68184" y="122610"/>
                  </a:lnTo>
                  <a:lnTo>
                    <a:pt x="70956" y="115548"/>
                  </a:lnTo>
                  <a:lnTo>
                    <a:pt x="69221" y="111754"/>
                  </a:lnTo>
                  <a:lnTo>
                    <a:pt x="70609" y="106779"/>
                  </a:lnTo>
                  <a:lnTo>
                    <a:pt x="76114" y="107637"/>
                  </a:lnTo>
                  <a:lnTo>
                    <a:pt x="83538" y="99528"/>
                  </a:lnTo>
                  <a:lnTo>
                    <a:pt x="89747" y="102262"/>
                  </a:lnTo>
                  <a:lnTo>
                    <a:pt x="95739" y="114516"/>
                  </a:lnTo>
                  <a:lnTo>
                    <a:pt x="92842" y="118802"/>
                  </a:lnTo>
                  <a:cubicBezTo>
                    <a:pt x="92842" y="118802"/>
                    <a:pt x="97653" y="134666"/>
                    <a:pt x="101794" y="133620"/>
                  </a:cubicBezTo>
                  <a:cubicBezTo>
                    <a:pt x="105911" y="132594"/>
                    <a:pt x="107632" y="136889"/>
                    <a:pt x="106788" y="139998"/>
                  </a:cubicBezTo>
                  <a:cubicBezTo>
                    <a:pt x="105911" y="143069"/>
                    <a:pt x="102990" y="145489"/>
                    <a:pt x="103838" y="148589"/>
                  </a:cubicBezTo>
                  <a:cubicBezTo>
                    <a:pt x="104706" y="151703"/>
                    <a:pt x="105747" y="154624"/>
                    <a:pt x="105747" y="154624"/>
                  </a:cubicBezTo>
                  <a:lnTo>
                    <a:pt x="119192" y="153583"/>
                  </a:lnTo>
                  <a:lnTo>
                    <a:pt x="125020" y="156350"/>
                  </a:lnTo>
                  <a:lnTo>
                    <a:pt x="129513" y="150671"/>
                  </a:lnTo>
                  <a:lnTo>
                    <a:pt x="134748" y="155073"/>
                  </a:lnTo>
                  <a:cubicBezTo>
                    <a:pt x="134570" y="154624"/>
                    <a:pt x="134387" y="154186"/>
                    <a:pt x="134228" y="153776"/>
                  </a:cubicBezTo>
                  <a:cubicBezTo>
                    <a:pt x="137077" y="153405"/>
                    <a:pt x="143146" y="160390"/>
                    <a:pt x="147292" y="166478"/>
                  </a:cubicBezTo>
                  <a:cubicBezTo>
                    <a:pt x="159667" y="163490"/>
                    <a:pt x="163933" y="157922"/>
                    <a:pt x="164994" y="154716"/>
                  </a:cubicBezTo>
                  <a:cubicBezTo>
                    <a:pt x="166006" y="151481"/>
                    <a:pt x="168334" y="147220"/>
                    <a:pt x="171174" y="143614"/>
                  </a:cubicBezTo>
                  <a:cubicBezTo>
                    <a:pt x="174023" y="139998"/>
                    <a:pt x="184489" y="147360"/>
                    <a:pt x="184489" y="147360"/>
                  </a:cubicBezTo>
                  <a:lnTo>
                    <a:pt x="195706" y="136354"/>
                  </a:lnTo>
                  <a:lnTo>
                    <a:pt x="195311" y="131326"/>
                  </a:lnTo>
                  <a:lnTo>
                    <a:pt x="190688" y="128612"/>
                  </a:lnTo>
                  <a:cubicBezTo>
                    <a:pt x="190688" y="128612"/>
                    <a:pt x="189637" y="128096"/>
                    <a:pt x="184604" y="128862"/>
                  </a:cubicBezTo>
                  <a:cubicBezTo>
                    <a:pt x="193122" y="124355"/>
                    <a:pt x="192997" y="113769"/>
                    <a:pt x="191970" y="110925"/>
                  </a:cubicBezTo>
                  <a:cubicBezTo>
                    <a:pt x="190910" y="108090"/>
                    <a:pt x="190683" y="107974"/>
                    <a:pt x="190799" y="101905"/>
                  </a:cubicBezTo>
                  <a:cubicBezTo>
                    <a:pt x="205005" y="110539"/>
                    <a:pt x="198946" y="118701"/>
                    <a:pt x="196367" y="123449"/>
                  </a:cubicBezTo>
                  <a:cubicBezTo>
                    <a:pt x="193768" y="128241"/>
                    <a:pt x="199312" y="134185"/>
                    <a:pt x="200498" y="133534"/>
                  </a:cubicBezTo>
                  <a:cubicBezTo>
                    <a:pt x="207464" y="126052"/>
                    <a:pt x="206929" y="114665"/>
                    <a:pt x="206288" y="111580"/>
                  </a:cubicBezTo>
                  <a:cubicBezTo>
                    <a:pt x="205642" y="108495"/>
                    <a:pt x="206664" y="103718"/>
                    <a:pt x="206664" y="10371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45" name="Freihandform: Form 644">
              <a:extLst>
                <a:ext uri="{FF2B5EF4-FFF2-40B4-BE49-F238E27FC236}">
                  <a16:creationId xmlns:a16="http://schemas.microsoft.com/office/drawing/2014/main" id="{46D34FCC-4FC7-95CC-D979-59AA067C836B}"/>
                </a:ext>
              </a:extLst>
            </p:cNvPr>
            <p:cNvSpPr/>
            <p:nvPr/>
          </p:nvSpPr>
          <p:spPr>
            <a:xfrm>
              <a:off x="6323024" y="3479794"/>
              <a:ext cx="1587" cy="3175"/>
            </a:xfrm>
            <a:custGeom>
              <a:avLst/>
              <a:gdLst>
                <a:gd name="connsiteX0" fmla="*/ 2155 w 2154"/>
                <a:gd name="connsiteY0" fmla="*/ 120 h 2255"/>
                <a:gd name="connsiteX1" fmla="*/ 1779 w 2154"/>
                <a:gd name="connsiteY1" fmla="*/ 0 h 2255"/>
                <a:gd name="connsiteX2" fmla="*/ 1070 w 2154"/>
                <a:gd name="connsiteY2" fmla="*/ 795 h 2255"/>
                <a:gd name="connsiteX3" fmla="*/ 0 w 2154"/>
                <a:gd name="connsiteY3" fmla="*/ 2256 h 2255"/>
                <a:gd name="connsiteX4" fmla="*/ 1475 w 2154"/>
                <a:gd name="connsiteY4" fmla="*/ 795 h 2255"/>
                <a:gd name="connsiteX5" fmla="*/ 2155 w 2154"/>
                <a:gd name="connsiteY5" fmla="*/ 120 h 2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4" h="2255">
                  <a:moveTo>
                    <a:pt x="2155" y="120"/>
                  </a:moveTo>
                  <a:cubicBezTo>
                    <a:pt x="2025" y="82"/>
                    <a:pt x="1899" y="43"/>
                    <a:pt x="1779" y="0"/>
                  </a:cubicBezTo>
                  <a:lnTo>
                    <a:pt x="1070" y="795"/>
                  </a:lnTo>
                  <a:lnTo>
                    <a:pt x="0" y="2256"/>
                  </a:lnTo>
                  <a:lnTo>
                    <a:pt x="1475" y="795"/>
                  </a:lnTo>
                  <a:lnTo>
                    <a:pt x="2155" y="12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46" name="Freihandform: Form 645">
              <a:extLst>
                <a:ext uri="{FF2B5EF4-FFF2-40B4-BE49-F238E27FC236}">
                  <a16:creationId xmlns:a16="http://schemas.microsoft.com/office/drawing/2014/main" id="{577EBD2E-4A24-47EB-8A8C-58B18513A723}"/>
                </a:ext>
              </a:extLst>
            </p:cNvPr>
            <p:cNvSpPr/>
            <p:nvPr/>
          </p:nvSpPr>
          <p:spPr>
            <a:xfrm>
              <a:off x="5796033" y="3436931"/>
              <a:ext cx="1095251" cy="927135"/>
            </a:xfrm>
            <a:custGeom>
              <a:avLst/>
              <a:gdLst>
                <a:gd name="connsiteX0" fmla="*/ 855835 w 858556"/>
                <a:gd name="connsiteY0" fmla="*/ 477978 h 726483"/>
                <a:gd name="connsiteX1" fmla="*/ 838779 w 858556"/>
                <a:gd name="connsiteY1" fmla="*/ 458676 h 726483"/>
                <a:gd name="connsiteX2" fmla="*/ 839165 w 858556"/>
                <a:gd name="connsiteY2" fmla="*/ 452496 h 726483"/>
                <a:gd name="connsiteX3" fmla="*/ 849973 w 858556"/>
                <a:gd name="connsiteY3" fmla="*/ 450081 h 726483"/>
                <a:gd name="connsiteX4" fmla="*/ 839994 w 858556"/>
                <a:gd name="connsiteY4" fmla="*/ 439567 h 726483"/>
                <a:gd name="connsiteX5" fmla="*/ 831056 w 858556"/>
                <a:gd name="connsiteY5" fmla="*/ 430620 h 726483"/>
                <a:gd name="connsiteX6" fmla="*/ 823999 w 858556"/>
                <a:gd name="connsiteY6" fmla="*/ 419599 h 726483"/>
                <a:gd name="connsiteX7" fmla="*/ 822784 w 858556"/>
                <a:gd name="connsiteY7" fmla="*/ 412884 h 726483"/>
                <a:gd name="connsiteX8" fmla="*/ 806085 w 858556"/>
                <a:gd name="connsiteY8" fmla="*/ 398942 h 726483"/>
                <a:gd name="connsiteX9" fmla="*/ 800397 w 858556"/>
                <a:gd name="connsiteY9" fmla="*/ 395313 h 726483"/>
                <a:gd name="connsiteX10" fmla="*/ 801597 w 858556"/>
                <a:gd name="connsiteY10" fmla="*/ 381704 h 726483"/>
                <a:gd name="connsiteX11" fmla="*/ 791787 w 858556"/>
                <a:gd name="connsiteY11" fmla="*/ 368283 h 726483"/>
                <a:gd name="connsiteX12" fmla="*/ 790880 w 858556"/>
                <a:gd name="connsiteY12" fmla="*/ 367560 h 726483"/>
                <a:gd name="connsiteX13" fmla="*/ 787848 w 858556"/>
                <a:gd name="connsiteY13" fmla="*/ 371055 h 726483"/>
                <a:gd name="connsiteX14" fmla="*/ 790880 w 858556"/>
                <a:gd name="connsiteY14" fmla="*/ 367560 h 726483"/>
                <a:gd name="connsiteX15" fmla="*/ 783862 w 858556"/>
                <a:gd name="connsiteY15" fmla="*/ 355874 h 726483"/>
                <a:gd name="connsiteX16" fmla="*/ 781278 w 858556"/>
                <a:gd name="connsiteY16" fmla="*/ 351406 h 726483"/>
                <a:gd name="connsiteX17" fmla="*/ 782497 w 858556"/>
                <a:gd name="connsiteY17" fmla="*/ 346243 h 726483"/>
                <a:gd name="connsiteX18" fmla="*/ 781948 w 858556"/>
                <a:gd name="connsiteY18" fmla="*/ 338983 h 726483"/>
                <a:gd name="connsiteX19" fmla="*/ 784223 w 858556"/>
                <a:gd name="connsiteY19" fmla="*/ 332812 h 726483"/>
                <a:gd name="connsiteX20" fmla="*/ 783341 w 858556"/>
                <a:gd name="connsiteY20" fmla="*/ 324550 h 726483"/>
                <a:gd name="connsiteX21" fmla="*/ 782141 w 858556"/>
                <a:gd name="connsiteY21" fmla="*/ 317834 h 726483"/>
                <a:gd name="connsiteX22" fmla="*/ 783341 w 858556"/>
                <a:gd name="connsiteY22" fmla="*/ 308549 h 726483"/>
                <a:gd name="connsiteX23" fmla="*/ 783153 w 858556"/>
                <a:gd name="connsiteY23" fmla="*/ 300113 h 726483"/>
                <a:gd name="connsiteX24" fmla="*/ 770798 w 858556"/>
                <a:gd name="connsiteY24" fmla="*/ 290298 h 726483"/>
                <a:gd name="connsiteX25" fmla="*/ 763904 w 858556"/>
                <a:gd name="connsiteY25" fmla="*/ 285950 h 726483"/>
                <a:gd name="connsiteX26" fmla="*/ 743416 w 858556"/>
                <a:gd name="connsiteY26" fmla="*/ 282195 h 726483"/>
                <a:gd name="connsiteX27" fmla="*/ 739757 w 858556"/>
                <a:gd name="connsiteY27" fmla="*/ 276675 h 726483"/>
                <a:gd name="connsiteX28" fmla="*/ 737559 w 858556"/>
                <a:gd name="connsiteY28" fmla="*/ 274588 h 726483"/>
                <a:gd name="connsiteX29" fmla="*/ 739106 w 858556"/>
                <a:gd name="connsiteY29" fmla="*/ 269078 h 726483"/>
                <a:gd name="connsiteX30" fmla="*/ 776973 w 858556"/>
                <a:gd name="connsiteY30" fmla="*/ 220355 h 726483"/>
                <a:gd name="connsiteX31" fmla="*/ 786243 w 858556"/>
                <a:gd name="connsiteY31" fmla="*/ 209696 h 726483"/>
                <a:gd name="connsiteX32" fmla="*/ 779562 w 858556"/>
                <a:gd name="connsiteY32" fmla="*/ 171130 h 726483"/>
                <a:gd name="connsiteX33" fmla="*/ 775425 w 858556"/>
                <a:gd name="connsiteY33" fmla="*/ 164401 h 726483"/>
                <a:gd name="connsiteX34" fmla="*/ 773714 w 858556"/>
                <a:gd name="connsiteY34" fmla="*/ 154407 h 726483"/>
                <a:gd name="connsiteX35" fmla="*/ 766811 w 858556"/>
                <a:gd name="connsiteY35" fmla="*/ 139622 h 726483"/>
                <a:gd name="connsiteX36" fmla="*/ 758370 w 858556"/>
                <a:gd name="connsiteY36" fmla="*/ 127363 h 726483"/>
                <a:gd name="connsiteX37" fmla="*/ 750820 w 858556"/>
                <a:gd name="connsiteY37" fmla="*/ 115490 h 726483"/>
                <a:gd name="connsiteX38" fmla="*/ 724625 w 858556"/>
                <a:gd name="connsiteY38" fmla="*/ 59541 h 726483"/>
                <a:gd name="connsiteX39" fmla="*/ 722051 w 858556"/>
                <a:gd name="connsiteY39" fmla="*/ 52257 h 726483"/>
                <a:gd name="connsiteX40" fmla="*/ 717731 w 858556"/>
                <a:gd name="connsiteY40" fmla="*/ 53707 h 726483"/>
                <a:gd name="connsiteX41" fmla="*/ 722051 w 858556"/>
                <a:gd name="connsiteY41" fmla="*/ 52257 h 726483"/>
                <a:gd name="connsiteX42" fmla="*/ 718580 w 858556"/>
                <a:gd name="connsiteY42" fmla="*/ 45758 h 726483"/>
                <a:gd name="connsiteX43" fmla="*/ 720166 w 858556"/>
                <a:gd name="connsiteY43" fmla="*/ 39742 h 726483"/>
                <a:gd name="connsiteX44" fmla="*/ 715475 w 858556"/>
                <a:gd name="connsiteY44" fmla="*/ 28693 h 726483"/>
                <a:gd name="connsiteX45" fmla="*/ 703452 w 858556"/>
                <a:gd name="connsiteY45" fmla="*/ 17514 h 726483"/>
                <a:gd name="connsiteX46" fmla="*/ 692244 w 858556"/>
                <a:gd name="connsiteY46" fmla="*/ 14409 h 726483"/>
                <a:gd name="connsiteX47" fmla="*/ 683813 w 858556"/>
                <a:gd name="connsiteY47" fmla="*/ 10109 h 726483"/>
                <a:gd name="connsiteX48" fmla="*/ 676601 w 858556"/>
                <a:gd name="connsiteY48" fmla="*/ 11126 h 726483"/>
                <a:gd name="connsiteX49" fmla="*/ 660741 w 858556"/>
                <a:gd name="connsiteY49" fmla="*/ 458 h 726483"/>
                <a:gd name="connsiteX50" fmla="*/ 657318 w 858556"/>
                <a:gd name="connsiteY50" fmla="*/ 6995 h 726483"/>
                <a:gd name="connsiteX51" fmla="*/ 656918 w 858556"/>
                <a:gd name="connsiteY51" fmla="*/ 7289 h 726483"/>
                <a:gd name="connsiteX52" fmla="*/ 660890 w 858556"/>
                <a:gd name="connsiteY52" fmla="*/ 10803 h 726483"/>
                <a:gd name="connsiteX53" fmla="*/ 656918 w 858556"/>
                <a:gd name="connsiteY53" fmla="*/ 7289 h 726483"/>
                <a:gd name="connsiteX54" fmla="*/ 533503 w 858556"/>
                <a:gd name="connsiteY54" fmla="*/ 32680 h 726483"/>
                <a:gd name="connsiteX55" fmla="*/ 509746 w 858556"/>
                <a:gd name="connsiteY55" fmla="*/ 34054 h 726483"/>
                <a:gd name="connsiteX56" fmla="*/ 451715 w 858556"/>
                <a:gd name="connsiteY56" fmla="*/ 35075 h 726483"/>
                <a:gd name="connsiteX57" fmla="*/ 444474 w 858556"/>
                <a:gd name="connsiteY57" fmla="*/ 35770 h 726483"/>
                <a:gd name="connsiteX58" fmla="*/ 427423 w 858556"/>
                <a:gd name="connsiteY58" fmla="*/ 35938 h 726483"/>
                <a:gd name="connsiteX59" fmla="*/ 425857 w 858556"/>
                <a:gd name="connsiteY59" fmla="*/ 35100 h 726483"/>
                <a:gd name="connsiteX60" fmla="*/ 425625 w 858556"/>
                <a:gd name="connsiteY60" fmla="*/ 35553 h 726483"/>
                <a:gd name="connsiteX61" fmla="*/ 415492 w 858556"/>
                <a:gd name="connsiteY61" fmla="*/ 47450 h 726483"/>
                <a:gd name="connsiteX62" fmla="*/ 409548 w 858556"/>
                <a:gd name="connsiteY62" fmla="*/ 49827 h 726483"/>
                <a:gd name="connsiteX63" fmla="*/ 403599 w 858556"/>
                <a:gd name="connsiteY63" fmla="*/ 55159 h 726483"/>
                <a:gd name="connsiteX64" fmla="*/ 398837 w 858556"/>
                <a:gd name="connsiteY64" fmla="*/ 61122 h 726483"/>
                <a:gd name="connsiteX65" fmla="*/ 396455 w 858556"/>
                <a:gd name="connsiteY65" fmla="*/ 67707 h 726483"/>
                <a:gd name="connsiteX66" fmla="*/ 397062 w 858556"/>
                <a:gd name="connsiteY66" fmla="*/ 61724 h 726483"/>
                <a:gd name="connsiteX67" fmla="*/ 386944 w 858556"/>
                <a:gd name="connsiteY67" fmla="*/ 62327 h 726483"/>
                <a:gd name="connsiteX68" fmla="*/ 384572 w 858556"/>
                <a:gd name="connsiteY68" fmla="*/ 56374 h 726483"/>
                <a:gd name="connsiteX69" fmla="*/ 389904 w 858556"/>
                <a:gd name="connsiteY69" fmla="*/ 52806 h 726483"/>
                <a:gd name="connsiteX70" fmla="*/ 395872 w 858556"/>
                <a:gd name="connsiteY70" fmla="*/ 51003 h 726483"/>
                <a:gd name="connsiteX71" fmla="*/ 402404 w 858556"/>
                <a:gd name="connsiteY71" fmla="*/ 46231 h 726483"/>
                <a:gd name="connsiteX72" fmla="*/ 403166 w 858556"/>
                <a:gd name="connsiteY72" fmla="*/ 45493 h 726483"/>
                <a:gd name="connsiteX73" fmla="*/ 401661 w 858556"/>
                <a:gd name="connsiteY73" fmla="*/ 46587 h 726483"/>
                <a:gd name="connsiteX74" fmla="*/ 401517 w 858556"/>
                <a:gd name="connsiteY74" fmla="*/ 46645 h 726483"/>
                <a:gd name="connsiteX75" fmla="*/ 395592 w 858556"/>
                <a:gd name="connsiteY75" fmla="*/ 50246 h 726483"/>
                <a:gd name="connsiteX76" fmla="*/ 395125 w 858556"/>
                <a:gd name="connsiteY76" fmla="*/ 50429 h 726483"/>
                <a:gd name="connsiteX77" fmla="*/ 388674 w 858556"/>
                <a:gd name="connsiteY77" fmla="*/ 52199 h 726483"/>
                <a:gd name="connsiteX78" fmla="*/ 382846 w 858556"/>
                <a:gd name="connsiteY78" fmla="*/ 54532 h 726483"/>
                <a:gd name="connsiteX79" fmla="*/ 382663 w 858556"/>
                <a:gd name="connsiteY79" fmla="*/ 54604 h 726483"/>
                <a:gd name="connsiteX80" fmla="*/ 376734 w 858556"/>
                <a:gd name="connsiteY80" fmla="*/ 56378 h 726483"/>
                <a:gd name="connsiteX81" fmla="*/ 376560 w 858556"/>
                <a:gd name="connsiteY81" fmla="*/ 56388 h 726483"/>
                <a:gd name="connsiteX82" fmla="*/ 370587 w 858556"/>
                <a:gd name="connsiteY82" fmla="*/ 57608 h 726483"/>
                <a:gd name="connsiteX83" fmla="*/ 370414 w 858556"/>
                <a:gd name="connsiteY83" fmla="*/ 57632 h 726483"/>
                <a:gd name="connsiteX84" fmla="*/ 363862 w 858556"/>
                <a:gd name="connsiteY84" fmla="*/ 58220 h 726483"/>
                <a:gd name="connsiteX85" fmla="*/ 362879 w 858556"/>
                <a:gd name="connsiteY85" fmla="*/ 58027 h 726483"/>
                <a:gd name="connsiteX86" fmla="*/ 362262 w 858556"/>
                <a:gd name="connsiteY86" fmla="*/ 57723 h 726483"/>
                <a:gd name="connsiteX87" fmla="*/ 356294 w 858556"/>
                <a:gd name="connsiteY87" fmla="*/ 58808 h 726483"/>
                <a:gd name="connsiteX88" fmla="*/ 355440 w 858556"/>
                <a:gd name="connsiteY88" fmla="*/ 58760 h 726483"/>
                <a:gd name="connsiteX89" fmla="*/ 349762 w 858556"/>
                <a:gd name="connsiteY89" fmla="*/ 57034 h 726483"/>
                <a:gd name="connsiteX90" fmla="*/ 349260 w 858556"/>
                <a:gd name="connsiteY90" fmla="*/ 57034 h 726483"/>
                <a:gd name="connsiteX91" fmla="*/ 342719 w 858556"/>
                <a:gd name="connsiteY91" fmla="*/ 56465 h 726483"/>
                <a:gd name="connsiteX92" fmla="*/ 341600 w 858556"/>
                <a:gd name="connsiteY92" fmla="*/ 55911 h 726483"/>
                <a:gd name="connsiteX93" fmla="*/ 337749 w 858556"/>
                <a:gd name="connsiteY93" fmla="*/ 52078 h 726483"/>
                <a:gd name="connsiteX94" fmla="*/ 332248 w 858556"/>
                <a:gd name="connsiteY94" fmla="*/ 50401 h 726483"/>
                <a:gd name="connsiteX95" fmla="*/ 331033 w 858556"/>
                <a:gd name="connsiteY95" fmla="*/ 49205 h 726483"/>
                <a:gd name="connsiteX96" fmla="*/ 329250 w 858556"/>
                <a:gd name="connsiteY96" fmla="*/ 43275 h 726483"/>
                <a:gd name="connsiteX97" fmla="*/ 329201 w 858556"/>
                <a:gd name="connsiteY97" fmla="*/ 43078 h 726483"/>
                <a:gd name="connsiteX98" fmla="*/ 328059 w 858556"/>
                <a:gd name="connsiteY98" fmla="*/ 37230 h 726483"/>
                <a:gd name="connsiteX99" fmla="*/ 326328 w 858556"/>
                <a:gd name="connsiteY99" fmla="*/ 31537 h 726483"/>
                <a:gd name="connsiteX100" fmla="*/ 322852 w 858556"/>
                <a:gd name="connsiteY100" fmla="*/ 25130 h 726483"/>
                <a:gd name="connsiteX101" fmla="*/ 322611 w 858556"/>
                <a:gd name="connsiteY101" fmla="*/ 24297 h 726483"/>
                <a:gd name="connsiteX102" fmla="*/ 322611 w 858556"/>
                <a:gd name="connsiteY102" fmla="*/ 22551 h 726483"/>
                <a:gd name="connsiteX103" fmla="*/ 318350 w 858556"/>
                <a:gd name="connsiteY103" fmla="*/ 17200 h 726483"/>
                <a:gd name="connsiteX104" fmla="*/ 312498 w 858556"/>
                <a:gd name="connsiteY104" fmla="*/ 11941 h 726483"/>
                <a:gd name="connsiteX105" fmla="*/ 311943 w 858556"/>
                <a:gd name="connsiteY105" fmla="*/ 10244 h 726483"/>
                <a:gd name="connsiteX106" fmla="*/ 313139 w 858556"/>
                <a:gd name="connsiteY106" fmla="*/ 4262 h 726483"/>
                <a:gd name="connsiteX107" fmla="*/ 313626 w 858556"/>
                <a:gd name="connsiteY107" fmla="*/ 3596 h 726483"/>
                <a:gd name="connsiteX108" fmla="*/ 310092 w 858556"/>
                <a:gd name="connsiteY108" fmla="*/ 2169 h 726483"/>
                <a:gd name="connsiteX109" fmla="*/ 304683 w 858556"/>
                <a:gd name="connsiteY109" fmla="*/ 0 h 726483"/>
                <a:gd name="connsiteX110" fmla="*/ 298739 w 858556"/>
                <a:gd name="connsiteY110" fmla="*/ 1639 h 726483"/>
                <a:gd name="connsiteX111" fmla="*/ 298238 w 858556"/>
                <a:gd name="connsiteY111" fmla="*/ 1697 h 726483"/>
                <a:gd name="connsiteX112" fmla="*/ 292386 w 858556"/>
                <a:gd name="connsiteY112" fmla="*/ 1697 h 726483"/>
                <a:gd name="connsiteX113" fmla="*/ 286610 w 858556"/>
                <a:gd name="connsiteY113" fmla="*/ 2285 h 726483"/>
                <a:gd name="connsiteX114" fmla="*/ 280151 w 858556"/>
                <a:gd name="connsiteY114" fmla="*/ 3452 h 726483"/>
                <a:gd name="connsiteX115" fmla="*/ 246555 w 858556"/>
                <a:gd name="connsiteY115" fmla="*/ 16443 h 726483"/>
                <a:gd name="connsiteX116" fmla="*/ 205671 w 858556"/>
                <a:gd name="connsiteY116" fmla="*/ 40894 h 726483"/>
                <a:gd name="connsiteX117" fmla="*/ 171097 w 858556"/>
                <a:gd name="connsiteY117" fmla="*/ 56426 h 726483"/>
                <a:gd name="connsiteX118" fmla="*/ 160549 w 858556"/>
                <a:gd name="connsiteY118" fmla="*/ 74007 h 726483"/>
                <a:gd name="connsiteX119" fmla="*/ 156986 w 858556"/>
                <a:gd name="connsiteY119" fmla="*/ 79971 h 726483"/>
                <a:gd name="connsiteX120" fmla="*/ 156784 w 858556"/>
                <a:gd name="connsiteY120" fmla="*/ 80226 h 726483"/>
                <a:gd name="connsiteX121" fmla="*/ 152951 w 858556"/>
                <a:gd name="connsiteY121" fmla="*/ 84628 h 726483"/>
                <a:gd name="connsiteX122" fmla="*/ 151852 w 858556"/>
                <a:gd name="connsiteY122" fmla="*/ 90085 h 726483"/>
                <a:gd name="connsiteX123" fmla="*/ 150088 w 858556"/>
                <a:gd name="connsiteY123" fmla="*/ 91560 h 726483"/>
                <a:gd name="connsiteX124" fmla="*/ 102532 w 858556"/>
                <a:gd name="connsiteY124" fmla="*/ 106972 h 726483"/>
                <a:gd name="connsiteX125" fmla="*/ 96959 w 858556"/>
                <a:gd name="connsiteY125" fmla="*/ 110881 h 726483"/>
                <a:gd name="connsiteX126" fmla="*/ 96081 w 858556"/>
                <a:gd name="connsiteY126" fmla="*/ 111209 h 726483"/>
                <a:gd name="connsiteX127" fmla="*/ 89800 w 858556"/>
                <a:gd name="connsiteY127" fmla="*/ 111768 h 726483"/>
                <a:gd name="connsiteX128" fmla="*/ 84169 w 858556"/>
                <a:gd name="connsiteY128" fmla="*/ 113986 h 726483"/>
                <a:gd name="connsiteX129" fmla="*/ 78284 w 858556"/>
                <a:gd name="connsiteY129" fmla="*/ 116955 h 726483"/>
                <a:gd name="connsiteX130" fmla="*/ 78226 w 858556"/>
                <a:gd name="connsiteY130" fmla="*/ 116975 h 726483"/>
                <a:gd name="connsiteX131" fmla="*/ 53587 w 858556"/>
                <a:gd name="connsiteY131" fmla="*/ 128964 h 726483"/>
                <a:gd name="connsiteX132" fmla="*/ 27280 w 858556"/>
                <a:gd name="connsiteY132" fmla="*/ 140664 h 726483"/>
                <a:gd name="connsiteX133" fmla="*/ 15528 w 858556"/>
                <a:gd name="connsiteY133" fmla="*/ 150083 h 726483"/>
                <a:gd name="connsiteX134" fmla="*/ 14549 w 858556"/>
                <a:gd name="connsiteY134" fmla="*/ 150488 h 726483"/>
                <a:gd name="connsiteX135" fmla="*/ 8012 w 858556"/>
                <a:gd name="connsiteY135" fmla="*/ 151062 h 726483"/>
                <a:gd name="connsiteX136" fmla="*/ 7544 w 858556"/>
                <a:gd name="connsiteY136" fmla="*/ 151062 h 726483"/>
                <a:gd name="connsiteX137" fmla="*/ 3977 w 858556"/>
                <a:gd name="connsiteY137" fmla="*/ 150464 h 726483"/>
                <a:gd name="connsiteX138" fmla="*/ 0 w 858556"/>
                <a:gd name="connsiteY138" fmla="*/ 149307 h 726483"/>
                <a:gd name="connsiteX139" fmla="*/ 24 w 858556"/>
                <a:gd name="connsiteY139" fmla="*/ 153949 h 726483"/>
                <a:gd name="connsiteX140" fmla="*/ 400 w 858556"/>
                <a:gd name="connsiteY140" fmla="*/ 153988 h 726483"/>
                <a:gd name="connsiteX141" fmla="*/ 1297 w 858556"/>
                <a:gd name="connsiteY141" fmla="*/ 154451 h 726483"/>
                <a:gd name="connsiteX142" fmla="*/ 7120 w 858556"/>
                <a:gd name="connsiteY142" fmla="*/ 159667 h 726483"/>
                <a:gd name="connsiteX143" fmla="*/ 9781 w 858556"/>
                <a:gd name="connsiteY143" fmla="*/ 161210 h 726483"/>
                <a:gd name="connsiteX144" fmla="*/ 13647 w 858556"/>
                <a:gd name="connsiteY144" fmla="*/ 156480 h 726483"/>
                <a:gd name="connsiteX145" fmla="*/ 13223 w 858556"/>
                <a:gd name="connsiteY145" fmla="*/ 156341 h 726483"/>
                <a:gd name="connsiteX146" fmla="*/ 12775 w 858556"/>
                <a:gd name="connsiteY146" fmla="*/ 156109 h 726483"/>
                <a:gd name="connsiteX147" fmla="*/ 10991 w 858556"/>
                <a:gd name="connsiteY147" fmla="*/ 154938 h 726483"/>
                <a:gd name="connsiteX148" fmla="*/ 10379 w 858556"/>
                <a:gd name="connsiteY148" fmla="*/ 152643 h 726483"/>
                <a:gd name="connsiteX149" fmla="*/ 12534 w 858556"/>
                <a:gd name="connsiteY149" fmla="*/ 151664 h 726483"/>
                <a:gd name="connsiteX150" fmla="*/ 18227 w 858556"/>
                <a:gd name="connsiteY150" fmla="*/ 153371 h 726483"/>
                <a:gd name="connsiteX151" fmla="*/ 23916 w 858556"/>
                <a:gd name="connsiteY151" fmla="*/ 153371 h 726483"/>
                <a:gd name="connsiteX152" fmla="*/ 25275 w 858556"/>
                <a:gd name="connsiteY152" fmla="*/ 153983 h 726483"/>
                <a:gd name="connsiteX153" fmla="*/ 29001 w 858556"/>
                <a:gd name="connsiteY153" fmla="*/ 158134 h 726483"/>
                <a:gd name="connsiteX154" fmla="*/ 30703 w 858556"/>
                <a:gd name="connsiteY154" fmla="*/ 155429 h 726483"/>
                <a:gd name="connsiteX155" fmla="*/ 32260 w 858556"/>
                <a:gd name="connsiteY155" fmla="*/ 154562 h 726483"/>
                <a:gd name="connsiteX156" fmla="*/ 32834 w 858556"/>
                <a:gd name="connsiteY156" fmla="*/ 154562 h 726483"/>
                <a:gd name="connsiteX157" fmla="*/ 34145 w 858556"/>
                <a:gd name="connsiteY157" fmla="*/ 155092 h 726483"/>
                <a:gd name="connsiteX158" fmla="*/ 34646 w 858556"/>
                <a:gd name="connsiteY158" fmla="*/ 156374 h 726483"/>
                <a:gd name="connsiteX159" fmla="*/ 34646 w 858556"/>
                <a:gd name="connsiteY159" fmla="*/ 156982 h 726483"/>
                <a:gd name="connsiteX160" fmla="*/ 34637 w 858556"/>
                <a:gd name="connsiteY160" fmla="*/ 157170 h 726483"/>
                <a:gd name="connsiteX161" fmla="*/ 34058 w 858556"/>
                <a:gd name="connsiteY161" fmla="*/ 163113 h 726483"/>
                <a:gd name="connsiteX162" fmla="*/ 33803 w 858556"/>
                <a:gd name="connsiteY162" fmla="*/ 163870 h 726483"/>
                <a:gd name="connsiteX163" fmla="*/ 30380 w 858556"/>
                <a:gd name="connsiteY163" fmla="*/ 169520 h 726483"/>
                <a:gd name="connsiteX164" fmla="*/ 29387 w 858556"/>
                <a:gd name="connsiteY164" fmla="*/ 174553 h 726483"/>
                <a:gd name="connsiteX165" fmla="*/ 32077 w 858556"/>
                <a:gd name="connsiteY165" fmla="*/ 179947 h 726483"/>
                <a:gd name="connsiteX166" fmla="*/ 32207 w 858556"/>
                <a:gd name="connsiteY166" fmla="*/ 180261 h 726483"/>
                <a:gd name="connsiteX167" fmla="*/ 33986 w 858556"/>
                <a:gd name="connsiteY167" fmla="*/ 186827 h 726483"/>
                <a:gd name="connsiteX168" fmla="*/ 34073 w 858556"/>
                <a:gd name="connsiteY168" fmla="*/ 187294 h 726483"/>
                <a:gd name="connsiteX169" fmla="*/ 34073 w 858556"/>
                <a:gd name="connsiteY169" fmla="*/ 190293 h 726483"/>
                <a:gd name="connsiteX170" fmla="*/ 32738 w 858556"/>
                <a:gd name="connsiteY170" fmla="*/ 192081 h 726483"/>
                <a:gd name="connsiteX171" fmla="*/ 30688 w 858556"/>
                <a:gd name="connsiteY171" fmla="*/ 191271 h 726483"/>
                <a:gd name="connsiteX172" fmla="*/ 27372 w 858556"/>
                <a:gd name="connsiteY172" fmla="*/ 185728 h 726483"/>
                <a:gd name="connsiteX173" fmla="*/ 21414 w 858556"/>
                <a:gd name="connsiteY173" fmla="*/ 182459 h 726483"/>
                <a:gd name="connsiteX174" fmla="*/ 15653 w 858556"/>
                <a:gd name="connsiteY174" fmla="*/ 180757 h 726483"/>
                <a:gd name="connsiteX175" fmla="*/ 14906 w 858556"/>
                <a:gd name="connsiteY175" fmla="*/ 180266 h 726483"/>
                <a:gd name="connsiteX176" fmla="*/ 10302 w 858556"/>
                <a:gd name="connsiteY176" fmla="*/ 175700 h 726483"/>
                <a:gd name="connsiteX177" fmla="*/ 7414 w 858556"/>
                <a:gd name="connsiteY177" fmla="*/ 179003 h 726483"/>
                <a:gd name="connsiteX178" fmla="*/ 6320 w 858556"/>
                <a:gd name="connsiteY178" fmla="*/ 179335 h 726483"/>
                <a:gd name="connsiteX179" fmla="*/ 10032 w 858556"/>
                <a:gd name="connsiteY179" fmla="*/ 190346 h 726483"/>
                <a:gd name="connsiteX180" fmla="*/ 15190 w 858556"/>
                <a:gd name="connsiteY180" fmla="*/ 209199 h 726483"/>
                <a:gd name="connsiteX181" fmla="*/ 20232 w 858556"/>
                <a:gd name="connsiteY181" fmla="*/ 227523 h 726483"/>
                <a:gd name="connsiteX182" fmla="*/ 23448 w 858556"/>
                <a:gd name="connsiteY182" fmla="*/ 235839 h 726483"/>
                <a:gd name="connsiteX183" fmla="*/ 18545 w 858556"/>
                <a:gd name="connsiteY183" fmla="*/ 248329 h 726483"/>
                <a:gd name="connsiteX184" fmla="*/ 17634 w 858556"/>
                <a:gd name="connsiteY184" fmla="*/ 262170 h 726483"/>
                <a:gd name="connsiteX185" fmla="*/ 3442 w 858556"/>
                <a:gd name="connsiteY185" fmla="*/ 280883 h 726483"/>
                <a:gd name="connsiteX186" fmla="*/ 3673 w 858556"/>
                <a:gd name="connsiteY186" fmla="*/ 287912 h 726483"/>
                <a:gd name="connsiteX187" fmla="*/ 8099 w 858556"/>
                <a:gd name="connsiteY187" fmla="*/ 295992 h 726483"/>
                <a:gd name="connsiteX188" fmla="*/ 24364 w 858556"/>
                <a:gd name="connsiteY188" fmla="*/ 307359 h 726483"/>
                <a:gd name="connsiteX189" fmla="*/ 30819 w 858556"/>
                <a:gd name="connsiteY189" fmla="*/ 316012 h 726483"/>
                <a:gd name="connsiteX190" fmla="*/ 44784 w 858556"/>
                <a:gd name="connsiteY190" fmla="*/ 327119 h 726483"/>
                <a:gd name="connsiteX191" fmla="*/ 44900 w 858556"/>
                <a:gd name="connsiteY191" fmla="*/ 339783 h 726483"/>
                <a:gd name="connsiteX192" fmla="*/ 39202 w 858556"/>
                <a:gd name="connsiteY192" fmla="*/ 351786 h 726483"/>
                <a:gd name="connsiteX193" fmla="*/ 47720 w 858556"/>
                <a:gd name="connsiteY193" fmla="*/ 365873 h 726483"/>
                <a:gd name="connsiteX194" fmla="*/ 53553 w 858556"/>
                <a:gd name="connsiteY194" fmla="*/ 371040 h 726483"/>
                <a:gd name="connsiteX195" fmla="*/ 59348 w 858556"/>
                <a:gd name="connsiteY195" fmla="*/ 391427 h 726483"/>
                <a:gd name="connsiteX196" fmla="*/ 57164 w 858556"/>
                <a:gd name="connsiteY196" fmla="*/ 407422 h 726483"/>
                <a:gd name="connsiteX197" fmla="*/ 48882 w 858556"/>
                <a:gd name="connsiteY197" fmla="*/ 423196 h 726483"/>
                <a:gd name="connsiteX198" fmla="*/ 53944 w 858556"/>
                <a:gd name="connsiteY198" fmla="*/ 432090 h 726483"/>
                <a:gd name="connsiteX199" fmla="*/ 62452 w 858556"/>
                <a:gd name="connsiteY199" fmla="*/ 445299 h 726483"/>
                <a:gd name="connsiteX200" fmla="*/ 62322 w 858556"/>
                <a:gd name="connsiteY200" fmla="*/ 462976 h 726483"/>
                <a:gd name="connsiteX201" fmla="*/ 82212 w 858556"/>
                <a:gd name="connsiteY201" fmla="*/ 472420 h 726483"/>
                <a:gd name="connsiteX202" fmla="*/ 87776 w 858556"/>
                <a:gd name="connsiteY202" fmla="*/ 490873 h 726483"/>
                <a:gd name="connsiteX203" fmla="*/ 90480 w 858556"/>
                <a:gd name="connsiteY203" fmla="*/ 498741 h 726483"/>
                <a:gd name="connsiteX204" fmla="*/ 86474 w 858556"/>
                <a:gd name="connsiteY204" fmla="*/ 527149 h 726483"/>
                <a:gd name="connsiteX205" fmla="*/ 82241 w 858556"/>
                <a:gd name="connsiteY205" fmla="*/ 541414 h 726483"/>
                <a:gd name="connsiteX206" fmla="*/ 77830 w 858556"/>
                <a:gd name="connsiteY206" fmla="*/ 552371 h 726483"/>
                <a:gd name="connsiteX207" fmla="*/ 91892 w 858556"/>
                <a:gd name="connsiteY207" fmla="*/ 550810 h 726483"/>
                <a:gd name="connsiteX208" fmla="*/ 91892 w 858556"/>
                <a:gd name="connsiteY208" fmla="*/ 540320 h 726483"/>
                <a:gd name="connsiteX209" fmla="*/ 90094 w 858556"/>
                <a:gd name="connsiteY209" fmla="*/ 532182 h 726483"/>
                <a:gd name="connsiteX210" fmla="*/ 93821 w 858556"/>
                <a:gd name="connsiteY210" fmla="*/ 529738 h 726483"/>
                <a:gd name="connsiteX211" fmla="*/ 95243 w 858556"/>
                <a:gd name="connsiteY211" fmla="*/ 529497 h 726483"/>
                <a:gd name="connsiteX212" fmla="*/ 98752 w 858556"/>
                <a:gd name="connsiteY212" fmla="*/ 532587 h 726483"/>
                <a:gd name="connsiteX213" fmla="*/ 103139 w 858556"/>
                <a:gd name="connsiteY213" fmla="*/ 530784 h 726483"/>
                <a:gd name="connsiteX214" fmla="*/ 113986 w 858556"/>
                <a:gd name="connsiteY214" fmla="*/ 535292 h 726483"/>
                <a:gd name="connsiteX215" fmla="*/ 114236 w 858556"/>
                <a:gd name="connsiteY215" fmla="*/ 542773 h 726483"/>
                <a:gd name="connsiteX216" fmla="*/ 116068 w 858556"/>
                <a:gd name="connsiteY216" fmla="*/ 547821 h 726483"/>
                <a:gd name="connsiteX217" fmla="*/ 122099 w 858556"/>
                <a:gd name="connsiteY217" fmla="*/ 551937 h 726483"/>
                <a:gd name="connsiteX218" fmla="*/ 124316 w 858556"/>
                <a:gd name="connsiteY218" fmla="*/ 558527 h 726483"/>
                <a:gd name="connsiteX219" fmla="*/ 128564 w 858556"/>
                <a:gd name="connsiteY219" fmla="*/ 554391 h 726483"/>
                <a:gd name="connsiteX220" fmla="*/ 135539 w 858556"/>
                <a:gd name="connsiteY220" fmla="*/ 557390 h 726483"/>
                <a:gd name="connsiteX221" fmla="*/ 154778 w 858556"/>
                <a:gd name="connsiteY221" fmla="*/ 562423 h 726483"/>
                <a:gd name="connsiteX222" fmla="*/ 160221 w 858556"/>
                <a:gd name="connsiteY222" fmla="*/ 560104 h 726483"/>
                <a:gd name="connsiteX223" fmla="*/ 164994 w 858556"/>
                <a:gd name="connsiteY223" fmla="*/ 567214 h 726483"/>
                <a:gd name="connsiteX224" fmla="*/ 170407 w 858556"/>
                <a:gd name="connsiteY224" fmla="*/ 567952 h 726483"/>
                <a:gd name="connsiteX225" fmla="*/ 176110 w 858556"/>
                <a:gd name="connsiteY225" fmla="*/ 567065 h 726483"/>
                <a:gd name="connsiteX226" fmla="*/ 180367 w 858556"/>
                <a:gd name="connsiteY226" fmla="*/ 577410 h 726483"/>
                <a:gd name="connsiteX227" fmla="*/ 185139 w 858556"/>
                <a:gd name="connsiteY227" fmla="*/ 571958 h 726483"/>
                <a:gd name="connsiteX228" fmla="*/ 193021 w 858556"/>
                <a:gd name="connsiteY228" fmla="*/ 571847 h 726483"/>
                <a:gd name="connsiteX229" fmla="*/ 197408 w 858556"/>
                <a:gd name="connsiteY229" fmla="*/ 570415 h 726483"/>
                <a:gd name="connsiteX230" fmla="*/ 215486 w 858556"/>
                <a:gd name="connsiteY230" fmla="*/ 578707 h 726483"/>
                <a:gd name="connsiteX231" fmla="*/ 203087 w 858556"/>
                <a:gd name="connsiteY231" fmla="*/ 593169 h 726483"/>
                <a:gd name="connsiteX232" fmla="*/ 198719 w 858556"/>
                <a:gd name="connsiteY232" fmla="*/ 601803 h 726483"/>
                <a:gd name="connsiteX233" fmla="*/ 213422 w 858556"/>
                <a:gd name="connsiteY233" fmla="*/ 611088 h 726483"/>
                <a:gd name="connsiteX234" fmla="*/ 219887 w 858556"/>
                <a:gd name="connsiteY234" fmla="*/ 613421 h 726483"/>
                <a:gd name="connsiteX235" fmla="*/ 230729 w 858556"/>
                <a:gd name="connsiteY235" fmla="*/ 625844 h 726483"/>
                <a:gd name="connsiteX236" fmla="*/ 231654 w 858556"/>
                <a:gd name="connsiteY236" fmla="*/ 631619 h 726483"/>
                <a:gd name="connsiteX237" fmla="*/ 237309 w 858556"/>
                <a:gd name="connsiteY237" fmla="*/ 637857 h 726483"/>
                <a:gd name="connsiteX238" fmla="*/ 242853 w 858556"/>
                <a:gd name="connsiteY238" fmla="*/ 640161 h 726483"/>
                <a:gd name="connsiteX239" fmla="*/ 247331 w 858556"/>
                <a:gd name="connsiteY239" fmla="*/ 635365 h 726483"/>
                <a:gd name="connsiteX240" fmla="*/ 266113 w 858556"/>
                <a:gd name="connsiteY240" fmla="*/ 618463 h 726483"/>
                <a:gd name="connsiteX241" fmla="*/ 262762 w 858556"/>
                <a:gd name="connsiteY241" fmla="*/ 606821 h 726483"/>
                <a:gd name="connsiteX242" fmla="*/ 258356 w 858556"/>
                <a:gd name="connsiteY242" fmla="*/ 593169 h 726483"/>
                <a:gd name="connsiteX243" fmla="*/ 287160 w 858556"/>
                <a:gd name="connsiteY243" fmla="*/ 603230 h 726483"/>
                <a:gd name="connsiteX244" fmla="*/ 294145 w 858556"/>
                <a:gd name="connsiteY244" fmla="*/ 606069 h 726483"/>
                <a:gd name="connsiteX245" fmla="*/ 298011 w 858556"/>
                <a:gd name="connsiteY245" fmla="*/ 610977 h 726483"/>
                <a:gd name="connsiteX246" fmla="*/ 319203 w 858556"/>
                <a:gd name="connsiteY246" fmla="*/ 608258 h 726483"/>
                <a:gd name="connsiteX247" fmla="*/ 329274 w 858556"/>
                <a:gd name="connsiteY247" fmla="*/ 603500 h 726483"/>
                <a:gd name="connsiteX248" fmla="*/ 330175 w 858556"/>
                <a:gd name="connsiteY248" fmla="*/ 611088 h 726483"/>
                <a:gd name="connsiteX249" fmla="*/ 331988 w 858556"/>
                <a:gd name="connsiteY249" fmla="*/ 616545 h 726483"/>
                <a:gd name="connsiteX250" fmla="*/ 324887 w 858556"/>
                <a:gd name="connsiteY250" fmla="*/ 621081 h 726483"/>
                <a:gd name="connsiteX251" fmla="*/ 321908 w 858556"/>
                <a:gd name="connsiteY251" fmla="*/ 626336 h 726483"/>
                <a:gd name="connsiteX252" fmla="*/ 333931 w 858556"/>
                <a:gd name="connsiteY252" fmla="*/ 632164 h 726483"/>
                <a:gd name="connsiteX253" fmla="*/ 346966 w 858556"/>
                <a:gd name="connsiteY253" fmla="*/ 644939 h 726483"/>
                <a:gd name="connsiteX254" fmla="*/ 354317 w 858556"/>
                <a:gd name="connsiteY254" fmla="*/ 639901 h 726483"/>
                <a:gd name="connsiteX255" fmla="*/ 359871 w 858556"/>
                <a:gd name="connsiteY255" fmla="*/ 638749 h 726483"/>
                <a:gd name="connsiteX256" fmla="*/ 359104 w 858556"/>
                <a:gd name="connsiteY256" fmla="*/ 634483 h 726483"/>
                <a:gd name="connsiteX257" fmla="*/ 361182 w 858556"/>
                <a:gd name="connsiteY257" fmla="*/ 632419 h 726483"/>
                <a:gd name="connsiteX258" fmla="*/ 367112 w 858556"/>
                <a:gd name="connsiteY258" fmla="*/ 641603 h 726483"/>
                <a:gd name="connsiteX259" fmla="*/ 372540 w 858556"/>
                <a:gd name="connsiteY259" fmla="*/ 639650 h 726483"/>
                <a:gd name="connsiteX260" fmla="*/ 378474 w 858556"/>
                <a:gd name="connsiteY260" fmla="*/ 642996 h 726483"/>
                <a:gd name="connsiteX261" fmla="*/ 384423 w 858556"/>
                <a:gd name="connsiteY261" fmla="*/ 649051 h 726483"/>
                <a:gd name="connsiteX262" fmla="*/ 396036 w 858556"/>
                <a:gd name="connsiteY262" fmla="*/ 646356 h 726483"/>
                <a:gd name="connsiteX263" fmla="*/ 406501 w 858556"/>
                <a:gd name="connsiteY263" fmla="*/ 649865 h 726483"/>
                <a:gd name="connsiteX264" fmla="*/ 409736 w 858556"/>
                <a:gd name="connsiteY264" fmla="*/ 653317 h 726483"/>
                <a:gd name="connsiteX265" fmla="*/ 408579 w 858556"/>
                <a:gd name="connsiteY265" fmla="*/ 658870 h 726483"/>
                <a:gd name="connsiteX266" fmla="*/ 414113 w 858556"/>
                <a:gd name="connsiteY266" fmla="*/ 669587 h 726483"/>
                <a:gd name="connsiteX267" fmla="*/ 428720 w 858556"/>
                <a:gd name="connsiteY267" fmla="*/ 676856 h 726483"/>
                <a:gd name="connsiteX268" fmla="*/ 436867 w 858556"/>
                <a:gd name="connsiteY268" fmla="*/ 695951 h 726483"/>
                <a:gd name="connsiteX269" fmla="*/ 447825 w 858556"/>
                <a:gd name="connsiteY269" fmla="*/ 696438 h 726483"/>
                <a:gd name="connsiteX270" fmla="*/ 448099 w 858556"/>
                <a:gd name="connsiteY270" fmla="*/ 699972 h 726483"/>
                <a:gd name="connsiteX271" fmla="*/ 449382 w 858556"/>
                <a:gd name="connsiteY271" fmla="*/ 707323 h 726483"/>
                <a:gd name="connsiteX272" fmla="*/ 450539 w 858556"/>
                <a:gd name="connsiteY272" fmla="*/ 710399 h 726483"/>
                <a:gd name="connsiteX273" fmla="*/ 456728 w 858556"/>
                <a:gd name="connsiteY273" fmla="*/ 707044 h 726483"/>
                <a:gd name="connsiteX274" fmla="*/ 462817 w 858556"/>
                <a:gd name="connsiteY274" fmla="*/ 708341 h 726483"/>
                <a:gd name="connsiteX275" fmla="*/ 467720 w 858556"/>
                <a:gd name="connsiteY275" fmla="*/ 702667 h 726483"/>
                <a:gd name="connsiteX276" fmla="*/ 471730 w 858556"/>
                <a:gd name="connsiteY276" fmla="*/ 690417 h 726483"/>
                <a:gd name="connsiteX277" fmla="*/ 478045 w 858556"/>
                <a:gd name="connsiteY277" fmla="*/ 688730 h 726483"/>
                <a:gd name="connsiteX278" fmla="*/ 487084 w 858556"/>
                <a:gd name="connsiteY278" fmla="*/ 676948 h 726483"/>
                <a:gd name="connsiteX279" fmla="*/ 497811 w 858556"/>
                <a:gd name="connsiteY279" fmla="*/ 692085 h 726483"/>
                <a:gd name="connsiteX280" fmla="*/ 504786 w 858556"/>
                <a:gd name="connsiteY280" fmla="*/ 695701 h 726483"/>
                <a:gd name="connsiteX281" fmla="*/ 508030 w 858556"/>
                <a:gd name="connsiteY281" fmla="*/ 699813 h 726483"/>
                <a:gd name="connsiteX282" fmla="*/ 517431 w 858556"/>
                <a:gd name="connsiteY282" fmla="*/ 702638 h 726483"/>
                <a:gd name="connsiteX283" fmla="*/ 523389 w 858556"/>
                <a:gd name="connsiteY283" fmla="*/ 716767 h 726483"/>
                <a:gd name="connsiteX284" fmla="*/ 522738 w 858556"/>
                <a:gd name="connsiteY284" fmla="*/ 723988 h 726483"/>
                <a:gd name="connsiteX285" fmla="*/ 528036 w 858556"/>
                <a:gd name="connsiteY285" fmla="*/ 726438 h 726483"/>
                <a:gd name="connsiteX286" fmla="*/ 533860 w 858556"/>
                <a:gd name="connsiteY286" fmla="*/ 722557 h 726483"/>
                <a:gd name="connsiteX287" fmla="*/ 540686 w 858556"/>
                <a:gd name="connsiteY287" fmla="*/ 721655 h 726483"/>
                <a:gd name="connsiteX288" fmla="*/ 547020 w 858556"/>
                <a:gd name="connsiteY288" fmla="*/ 725922 h 726483"/>
                <a:gd name="connsiteX289" fmla="*/ 550486 w 858556"/>
                <a:gd name="connsiteY289" fmla="*/ 713923 h 726483"/>
                <a:gd name="connsiteX290" fmla="*/ 550376 w 858556"/>
                <a:gd name="connsiteY290" fmla="*/ 708345 h 726483"/>
                <a:gd name="connsiteX291" fmla="*/ 557091 w 858556"/>
                <a:gd name="connsiteY291" fmla="*/ 702970 h 726483"/>
                <a:gd name="connsiteX292" fmla="*/ 563030 w 858556"/>
                <a:gd name="connsiteY292" fmla="*/ 701379 h 726483"/>
                <a:gd name="connsiteX293" fmla="*/ 565744 w 858556"/>
                <a:gd name="connsiteY293" fmla="*/ 693136 h 726483"/>
                <a:gd name="connsiteX294" fmla="*/ 572054 w 858556"/>
                <a:gd name="connsiteY294" fmla="*/ 695088 h 726483"/>
                <a:gd name="connsiteX295" fmla="*/ 575959 w 858556"/>
                <a:gd name="connsiteY295" fmla="*/ 690682 h 726483"/>
                <a:gd name="connsiteX296" fmla="*/ 597888 w 858556"/>
                <a:gd name="connsiteY296" fmla="*/ 687428 h 726483"/>
                <a:gd name="connsiteX297" fmla="*/ 612635 w 858556"/>
                <a:gd name="connsiteY297" fmla="*/ 696443 h 726483"/>
                <a:gd name="connsiteX298" fmla="*/ 616115 w 858556"/>
                <a:gd name="connsiteY298" fmla="*/ 698155 h 726483"/>
                <a:gd name="connsiteX299" fmla="*/ 618969 w 858556"/>
                <a:gd name="connsiteY299" fmla="*/ 699813 h 726483"/>
                <a:gd name="connsiteX300" fmla="*/ 630708 w 858556"/>
                <a:gd name="connsiteY300" fmla="*/ 688595 h 726483"/>
                <a:gd name="connsiteX301" fmla="*/ 628249 w 858556"/>
                <a:gd name="connsiteY301" fmla="*/ 682796 h 726483"/>
                <a:gd name="connsiteX302" fmla="*/ 633668 w 858556"/>
                <a:gd name="connsiteY302" fmla="*/ 678539 h 726483"/>
                <a:gd name="connsiteX303" fmla="*/ 639240 w 858556"/>
                <a:gd name="connsiteY303" fmla="*/ 681513 h 726483"/>
                <a:gd name="connsiteX304" fmla="*/ 643256 w 858556"/>
                <a:gd name="connsiteY304" fmla="*/ 675950 h 726483"/>
                <a:gd name="connsiteX305" fmla="*/ 663513 w 858556"/>
                <a:gd name="connsiteY305" fmla="*/ 676591 h 726483"/>
                <a:gd name="connsiteX306" fmla="*/ 674875 w 858556"/>
                <a:gd name="connsiteY306" fmla="*/ 671033 h 726483"/>
                <a:gd name="connsiteX307" fmla="*/ 681205 w 858556"/>
                <a:gd name="connsiteY307" fmla="*/ 674273 h 726483"/>
                <a:gd name="connsiteX308" fmla="*/ 682617 w 858556"/>
                <a:gd name="connsiteY308" fmla="*/ 674032 h 726483"/>
                <a:gd name="connsiteX309" fmla="*/ 688561 w 858556"/>
                <a:gd name="connsiteY309" fmla="*/ 677382 h 726483"/>
                <a:gd name="connsiteX310" fmla="*/ 713233 w 858556"/>
                <a:gd name="connsiteY310" fmla="*/ 688364 h 726483"/>
                <a:gd name="connsiteX311" fmla="*/ 731432 w 858556"/>
                <a:gd name="connsiteY311" fmla="*/ 696882 h 726483"/>
                <a:gd name="connsiteX312" fmla="*/ 738417 w 858556"/>
                <a:gd name="connsiteY312" fmla="*/ 701018 h 726483"/>
                <a:gd name="connsiteX313" fmla="*/ 745894 w 858556"/>
                <a:gd name="connsiteY313" fmla="*/ 700213 h 726483"/>
                <a:gd name="connsiteX314" fmla="*/ 763909 w 858556"/>
                <a:gd name="connsiteY314" fmla="*/ 704566 h 726483"/>
                <a:gd name="connsiteX315" fmla="*/ 763701 w 858556"/>
                <a:gd name="connsiteY315" fmla="*/ 700353 h 726483"/>
                <a:gd name="connsiteX316" fmla="*/ 763909 w 858556"/>
                <a:gd name="connsiteY316" fmla="*/ 704566 h 726483"/>
                <a:gd name="connsiteX317" fmla="*/ 768903 w 858556"/>
                <a:gd name="connsiteY317" fmla="*/ 703703 h 726483"/>
                <a:gd name="connsiteX318" fmla="*/ 775613 w 858556"/>
                <a:gd name="connsiteY318" fmla="*/ 706967 h 726483"/>
                <a:gd name="connsiteX319" fmla="*/ 782859 w 858556"/>
                <a:gd name="connsiteY319" fmla="*/ 704224 h 726483"/>
                <a:gd name="connsiteX320" fmla="*/ 792968 w 858556"/>
                <a:gd name="connsiteY320" fmla="*/ 708688 h 726483"/>
                <a:gd name="connsiteX321" fmla="*/ 788186 w 858556"/>
                <a:gd name="connsiteY321" fmla="*/ 696626 h 726483"/>
                <a:gd name="connsiteX322" fmla="*/ 779229 w 858556"/>
                <a:gd name="connsiteY322" fmla="*/ 691116 h 726483"/>
                <a:gd name="connsiteX323" fmla="*/ 776491 w 858556"/>
                <a:gd name="connsiteY323" fmla="*/ 676673 h 726483"/>
                <a:gd name="connsiteX324" fmla="*/ 763918 w 858556"/>
                <a:gd name="connsiteY324" fmla="*/ 647209 h 726483"/>
                <a:gd name="connsiteX325" fmla="*/ 763576 w 858556"/>
                <a:gd name="connsiteY325" fmla="*/ 636213 h 726483"/>
                <a:gd name="connsiteX326" fmla="*/ 767360 w 858556"/>
                <a:gd name="connsiteY326" fmla="*/ 628119 h 726483"/>
                <a:gd name="connsiteX327" fmla="*/ 770614 w 858556"/>
                <a:gd name="connsiteY327" fmla="*/ 618984 h 726483"/>
                <a:gd name="connsiteX328" fmla="*/ 776149 w 858556"/>
                <a:gd name="connsiteY328" fmla="*/ 613286 h 726483"/>
                <a:gd name="connsiteX329" fmla="*/ 776809 w 858556"/>
                <a:gd name="connsiteY329" fmla="*/ 607429 h 726483"/>
                <a:gd name="connsiteX330" fmla="*/ 780945 w 858556"/>
                <a:gd name="connsiteY330" fmla="*/ 603500 h 726483"/>
                <a:gd name="connsiteX331" fmla="*/ 814170 w 858556"/>
                <a:gd name="connsiteY331" fmla="*/ 541322 h 726483"/>
                <a:gd name="connsiteX332" fmla="*/ 827788 w 858556"/>
                <a:gd name="connsiteY332" fmla="*/ 523582 h 726483"/>
                <a:gd name="connsiteX333" fmla="*/ 829162 w 858556"/>
                <a:gd name="connsiteY333" fmla="*/ 516689 h 726483"/>
                <a:gd name="connsiteX334" fmla="*/ 834696 w 858556"/>
                <a:gd name="connsiteY334" fmla="*/ 511530 h 726483"/>
                <a:gd name="connsiteX335" fmla="*/ 847066 w 858556"/>
                <a:gd name="connsiteY335" fmla="*/ 509130 h 726483"/>
                <a:gd name="connsiteX336" fmla="*/ 852571 w 858556"/>
                <a:gd name="connsiteY336" fmla="*/ 503104 h 726483"/>
                <a:gd name="connsiteX337" fmla="*/ 853097 w 858556"/>
                <a:gd name="connsiteY337" fmla="*/ 496369 h 726483"/>
                <a:gd name="connsiteX338" fmla="*/ 857922 w 858556"/>
                <a:gd name="connsiteY338" fmla="*/ 488126 h 726483"/>
                <a:gd name="connsiteX339" fmla="*/ 855835 w 858556"/>
                <a:gd name="connsiteY339" fmla="*/ 477978 h 726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Lst>
              <a:rect l="l" t="t" r="r" b="b"/>
              <a:pathLst>
                <a:path w="858556" h="726483">
                  <a:moveTo>
                    <a:pt x="855835" y="477978"/>
                  </a:moveTo>
                  <a:cubicBezTo>
                    <a:pt x="855835" y="472622"/>
                    <a:pt x="838779" y="458676"/>
                    <a:pt x="838779" y="458676"/>
                  </a:cubicBezTo>
                  <a:lnTo>
                    <a:pt x="839165" y="452496"/>
                  </a:lnTo>
                  <a:cubicBezTo>
                    <a:pt x="839165" y="452496"/>
                    <a:pt x="841734" y="451961"/>
                    <a:pt x="849973" y="450081"/>
                  </a:cubicBezTo>
                  <a:cubicBezTo>
                    <a:pt x="858236" y="448172"/>
                    <a:pt x="846728" y="443187"/>
                    <a:pt x="839994" y="439567"/>
                  </a:cubicBezTo>
                  <a:cubicBezTo>
                    <a:pt x="838471" y="435416"/>
                    <a:pt x="834142" y="432692"/>
                    <a:pt x="831056" y="430620"/>
                  </a:cubicBezTo>
                  <a:cubicBezTo>
                    <a:pt x="829668" y="424237"/>
                    <a:pt x="823999" y="419599"/>
                    <a:pt x="823999" y="419599"/>
                  </a:cubicBezTo>
                  <a:cubicBezTo>
                    <a:pt x="823999" y="419599"/>
                    <a:pt x="823459" y="417685"/>
                    <a:pt x="822784" y="412884"/>
                  </a:cubicBezTo>
                  <a:cubicBezTo>
                    <a:pt x="813644" y="411510"/>
                    <a:pt x="807112" y="401001"/>
                    <a:pt x="806085" y="398942"/>
                  </a:cubicBezTo>
                  <a:cubicBezTo>
                    <a:pt x="805049" y="396865"/>
                    <a:pt x="803140" y="395833"/>
                    <a:pt x="800397" y="395313"/>
                  </a:cubicBezTo>
                  <a:cubicBezTo>
                    <a:pt x="797668" y="394806"/>
                    <a:pt x="801597" y="381704"/>
                    <a:pt x="801597" y="381704"/>
                  </a:cubicBezTo>
                  <a:cubicBezTo>
                    <a:pt x="801597" y="381704"/>
                    <a:pt x="795060" y="373267"/>
                    <a:pt x="791787" y="368283"/>
                  </a:cubicBezTo>
                  <a:cubicBezTo>
                    <a:pt x="791420" y="368052"/>
                    <a:pt x="791218" y="367796"/>
                    <a:pt x="790880" y="367560"/>
                  </a:cubicBezTo>
                  <a:cubicBezTo>
                    <a:pt x="790085" y="368509"/>
                    <a:pt x="789131" y="369560"/>
                    <a:pt x="787848" y="371055"/>
                  </a:cubicBezTo>
                  <a:cubicBezTo>
                    <a:pt x="789131" y="369560"/>
                    <a:pt x="790085" y="368509"/>
                    <a:pt x="790880" y="367560"/>
                  </a:cubicBezTo>
                  <a:cubicBezTo>
                    <a:pt x="785419" y="363636"/>
                    <a:pt x="784040" y="359601"/>
                    <a:pt x="783862" y="355874"/>
                  </a:cubicBezTo>
                  <a:cubicBezTo>
                    <a:pt x="783698" y="351936"/>
                    <a:pt x="781278" y="351406"/>
                    <a:pt x="781278" y="351406"/>
                  </a:cubicBezTo>
                  <a:lnTo>
                    <a:pt x="782497" y="346243"/>
                  </a:lnTo>
                  <a:lnTo>
                    <a:pt x="781948" y="338983"/>
                  </a:lnTo>
                  <a:cubicBezTo>
                    <a:pt x="781948" y="338983"/>
                    <a:pt x="782647" y="336760"/>
                    <a:pt x="784223" y="332812"/>
                  </a:cubicBezTo>
                  <a:cubicBezTo>
                    <a:pt x="785756" y="328830"/>
                    <a:pt x="783341" y="324550"/>
                    <a:pt x="783341" y="324550"/>
                  </a:cubicBezTo>
                  <a:cubicBezTo>
                    <a:pt x="783341" y="324550"/>
                    <a:pt x="782994" y="321970"/>
                    <a:pt x="782141" y="317834"/>
                  </a:cubicBezTo>
                  <a:cubicBezTo>
                    <a:pt x="781258" y="313708"/>
                    <a:pt x="781803" y="310603"/>
                    <a:pt x="783341" y="308549"/>
                  </a:cubicBezTo>
                  <a:cubicBezTo>
                    <a:pt x="784884" y="306491"/>
                    <a:pt x="785255" y="305614"/>
                    <a:pt x="783153" y="300113"/>
                  </a:cubicBezTo>
                  <a:cubicBezTo>
                    <a:pt x="781104" y="294584"/>
                    <a:pt x="773194" y="290298"/>
                    <a:pt x="770798" y="290298"/>
                  </a:cubicBezTo>
                  <a:cubicBezTo>
                    <a:pt x="768368" y="290298"/>
                    <a:pt x="766816" y="289778"/>
                    <a:pt x="763904" y="285950"/>
                  </a:cubicBezTo>
                  <a:cubicBezTo>
                    <a:pt x="760973" y="282171"/>
                    <a:pt x="743416" y="282195"/>
                    <a:pt x="743416" y="282195"/>
                  </a:cubicBezTo>
                  <a:lnTo>
                    <a:pt x="739757" y="276675"/>
                  </a:lnTo>
                  <a:lnTo>
                    <a:pt x="737559" y="274588"/>
                  </a:lnTo>
                  <a:cubicBezTo>
                    <a:pt x="737559" y="274588"/>
                    <a:pt x="738759" y="271319"/>
                    <a:pt x="739106" y="269078"/>
                  </a:cubicBezTo>
                  <a:cubicBezTo>
                    <a:pt x="745817" y="228102"/>
                    <a:pt x="776973" y="220355"/>
                    <a:pt x="776973" y="220355"/>
                  </a:cubicBezTo>
                  <a:cubicBezTo>
                    <a:pt x="776973" y="220355"/>
                    <a:pt x="782642" y="213654"/>
                    <a:pt x="786243" y="209696"/>
                  </a:cubicBezTo>
                  <a:cubicBezTo>
                    <a:pt x="789907" y="205709"/>
                    <a:pt x="779562" y="173184"/>
                    <a:pt x="779562" y="171130"/>
                  </a:cubicBezTo>
                  <a:cubicBezTo>
                    <a:pt x="779562" y="169038"/>
                    <a:pt x="778183" y="166286"/>
                    <a:pt x="775425" y="164401"/>
                  </a:cubicBezTo>
                  <a:cubicBezTo>
                    <a:pt x="772649" y="162506"/>
                    <a:pt x="771805" y="158375"/>
                    <a:pt x="773714" y="154407"/>
                  </a:cubicBezTo>
                  <a:cubicBezTo>
                    <a:pt x="775609" y="150454"/>
                    <a:pt x="769404" y="141141"/>
                    <a:pt x="766811" y="139622"/>
                  </a:cubicBezTo>
                  <a:cubicBezTo>
                    <a:pt x="764222" y="138041"/>
                    <a:pt x="759387" y="132015"/>
                    <a:pt x="758370" y="127363"/>
                  </a:cubicBezTo>
                  <a:cubicBezTo>
                    <a:pt x="757348" y="122716"/>
                    <a:pt x="754600" y="119626"/>
                    <a:pt x="750820" y="115490"/>
                  </a:cubicBezTo>
                  <a:cubicBezTo>
                    <a:pt x="747022" y="111363"/>
                    <a:pt x="725011" y="63643"/>
                    <a:pt x="724625" y="59541"/>
                  </a:cubicBezTo>
                  <a:cubicBezTo>
                    <a:pt x="724466" y="57733"/>
                    <a:pt x="723318" y="54898"/>
                    <a:pt x="722051" y="52257"/>
                  </a:cubicBezTo>
                  <a:cubicBezTo>
                    <a:pt x="720730" y="52425"/>
                    <a:pt x="719303" y="52792"/>
                    <a:pt x="717731" y="53707"/>
                  </a:cubicBezTo>
                  <a:cubicBezTo>
                    <a:pt x="719303" y="52792"/>
                    <a:pt x="720730" y="52421"/>
                    <a:pt x="722051" y="52257"/>
                  </a:cubicBezTo>
                  <a:cubicBezTo>
                    <a:pt x="720411" y="48853"/>
                    <a:pt x="718580" y="45758"/>
                    <a:pt x="718580" y="45758"/>
                  </a:cubicBezTo>
                  <a:lnTo>
                    <a:pt x="720166" y="39742"/>
                  </a:lnTo>
                  <a:cubicBezTo>
                    <a:pt x="720166" y="39742"/>
                    <a:pt x="717210" y="31450"/>
                    <a:pt x="715475" y="28693"/>
                  </a:cubicBezTo>
                  <a:cubicBezTo>
                    <a:pt x="713759" y="25950"/>
                    <a:pt x="704469" y="19259"/>
                    <a:pt x="703452" y="17514"/>
                  </a:cubicBezTo>
                  <a:cubicBezTo>
                    <a:pt x="702421" y="15783"/>
                    <a:pt x="692244" y="14409"/>
                    <a:pt x="692244" y="14409"/>
                  </a:cubicBezTo>
                  <a:lnTo>
                    <a:pt x="683813" y="10109"/>
                  </a:lnTo>
                  <a:cubicBezTo>
                    <a:pt x="683813" y="10109"/>
                    <a:pt x="681913" y="9940"/>
                    <a:pt x="676601" y="11126"/>
                  </a:cubicBezTo>
                  <a:cubicBezTo>
                    <a:pt x="676938" y="3206"/>
                    <a:pt x="660741" y="458"/>
                    <a:pt x="660741" y="458"/>
                  </a:cubicBezTo>
                  <a:cubicBezTo>
                    <a:pt x="660741" y="458"/>
                    <a:pt x="659034" y="3910"/>
                    <a:pt x="657318" y="6995"/>
                  </a:cubicBezTo>
                  <a:cubicBezTo>
                    <a:pt x="657198" y="7111"/>
                    <a:pt x="657029" y="7183"/>
                    <a:pt x="656918" y="7289"/>
                  </a:cubicBezTo>
                  <a:cubicBezTo>
                    <a:pt x="658191" y="8470"/>
                    <a:pt x="659362" y="9666"/>
                    <a:pt x="660890" y="10803"/>
                  </a:cubicBezTo>
                  <a:cubicBezTo>
                    <a:pt x="659362" y="9666"/>
                    <a:pt x="658186" y="8470"/>
                    <a:pt x="656918" y="7289"/>
                  </a:cubicBezTo>
                  <a:cubicBezTo>
                    <a:pt x="642273" y="18488"/>
                    <a:pt x="540160" y="33682"/>
                    <a:pt x="533503" y="32680"/>
                  </a:cubicBezTo>
                  <a:cubicBezTo>
                    <a:pt x="526783" y="31648"/>
                    <a:pt x="521094" y="31132"/>
                    <a:pt x="509746" y="34054"/>
                  </a:cubicBezTo>
                  <a:cubicBezTo>
                    <a:pt x="498360" y="36984"/>
                    <a:pt x="451715" y="35075"/>
                    <a:pt x="451715" y="35075"/>
                  </a:cubicBezTo>
                  <a:cubicBezTo>
                    <a:pt x="451715" y="35075"/>
                    <a:pt x="446359" y="35075"/>
                    <a:pt x="444474" y="35770"/>
                  </a:cubicBezTo>
                  <a:cubicBezTo>
                    <a:pt x="442570" y="36454"/>
                    <a:pt x="429482" y="37476"/>
                    <a:pt x="427423" y="35938"/>
                  </a:cubicBezTo>
                  <a:cubicBezTo>
                    <a:pt x="426946" y="35577"/>
                    <a:pt x="426416" y="35307"/>
                    <a:pt x="425857" y="35100"/>
                  </a:cubicBezTo>
                  <a:lnTo>
                    <a:pt x="425625" y="35553"/>
                  </a:lnTo>
                  <a:lnTo>
                    <a:pt x="415492" y="47450"/>
                  </a:lnTo>
                  <a:lnTo>
                    <a:pt x="409548" y="49827"/>
                  </a:lnTo>
                  <a:lnTo>
                    <a:pt x="403599" y="55159"/>
                  </a:lnTo>
                  <a:lnTo>
                    <a:pt x="398837" y="61122"/>
                  </a:lnTo>
                  <a:lnTo>
                    <a:pt x="396455" y="67707"/>
                  </a:lnTo>
                  <a:lnTo>
                    <a:pt x="397062" y="61724"/>
                  </a:lnTo>
                  <a:lnTo>
                    <a:pt x="386944" y="62327"/>
                  </a:lnTo>
                  <a:lnTo>
                    <a:pt x="384572" y="56374"/>
                  </a:lnTo>
                  <a:lnTo>
                    <a:pt x="389904" y="52806"/>
                  </a:lnTo>
                  <a:lnTo>
                    <a:pt x="395872" y="51003"/>
                  </a:lnTo>
                  <a:lnTo>
                    <a:pt x="402404" y="46231"/>
                  </a:lnTo>
                  <a:lnTo>
                    <a:pt x="403166" y="45493"/>
                  </a:lnTo>
                  <a:lnTo>
                    <a:pt x="401661" y="46587"/>
                  </a:lnTo>
                  <a:lnTo>
                    <a:pt x="401517" y="46645"/>
                  </a:lnTo>
                  <a:lnTo>
                    <a:pt x="395592" y="50246"/>
                  </a:lnTo>
                  <a:lnTo>
                    <a:pt x="395125" y="50429"/>
                  </a:lnTo>
                  <a:lnTo>
                    <a:pt x="388674" y="52199"/>
                  </a:lnTo>
                  <a:lnTo>
                    <a:pt x="382846" y="54532"/>
                  </a:lnTo>
                  <a:lnTo>
                    <a:pt x="382663" y="54604"/>
                  </a:lnTo>
                  <a:lnTo>
                    <a:pt x="376734" y="56378"/>
                  </a:lnTo>
                  <a:lnTo>
                    <a:pt x="376560" y="56388"/>
                  </a:lnTo>
                  <a:lnTo>
                    <a:pt x="370587" y="57608"/>
                  </a:lnTo>
                  <a:lnTo>
                    <a:pt x="370414" y="57632"/>
                  </a:lnTo>
                  <a:lnTo>
                    <a:pt x="363862" y="58220"/>
                  </a:lnTo>
                  <a:lnTo>
                    <a:pt x="362879" y="58027"/>
                  </a:lnTo>
                  <a:lnTo>
                    <a:pt x="362262" y="57723"/>
                  </a:lnTo>
                  <a:lnTo>
                    <a:pt x="356294" y="58808"/>
                  </a:lnTo>
                  <a:lnTo>
                    <a:pt x="355440" y="58760"/>
                  </a:lnTo>
                  <a:lnTo>
                    <a:pt x="349762" y="57034"/>
                  </a:lnTo>
                  <a:lnTo>
                    <a:pt x="349260" y="57034"/>
                  </a:lnTo>
                  <a:lnTo>
                    <a:pt x="342719" y="56465"/>
                  </a:lnTo>
                  <a:lnTo>
                    <a:pt x="341600" y="55911"/>
                  </a:lnTo>
                  <a:lnTo>
                    <a:pt x="337749" y="52078"/>
                  </a:lnTo>
                  <a:lnTo>
                    <a:pt x="332248" y="50401"/>
                  </a:lnTo>
                  <a:lnTo>
                    <a:pt x="331033" y="49205"/>
                  </a:lnTo>
                  <a:lnTo>
                    <a:pt x="329250" y="43275"/>
                  </a:lnTo>
                  <a:lnTo>
                    <a:pt x="329201" y="43078"/>
                  </a:lnTo>
                  <a:lnTo>
                    <a:pt x="328059" y="37230"/>
                  </a:lnTo>
                  <a:lnTo>
                    <a:pt x="326328" y="31537"/>
                  </a:lnTo>
                  <a:lnTo>
                    <a:pt x="322852" y="25130"/>
                  </a:lnTo>
                  <a:lnTo>
                    <a:pt x="322611" y="24297"/>
                  </a:lnTo>
                  <a:lnTo>
                    <a:pt x="322611" y="22551"/>
                  </a:lnTo>
                  <a:lnTo>
                    <a:pt x="318350" y="17200"/>
                  </a:lnTo>
                  <a:lnTo>
                    <a:pt x="312498" y="11941"/>
                  </a:lnTo>
                  <a:lnTo>
                    <a:pt x="311943" y="10244"/>
                  </a:lnTo>
                  <a:lnTo>
                    <a:pt x="313139" y="4262"/>
                  </a:lnTo>
                  <a:cubicBezTo>
                    <a:pt x="313187" y="3953"/>
                    <a:pt x="313409" y="3818"/>
                    <a:pt x="313626" y="3596"/>
                  </a:cubicBezTo>
                  <a:lnTo>
                    <a:pt x="310092" y="2169"/>
                  </a:lnTo>
                  <a:lnTo>
                    <a:pt x="304683" y="0"/>
                  </a:lnTo>
                  <a:lnTo>
                    <a:pt x="298739" y="1639"/>
                  </a:lnTo>
                  <a:lnTo>
                    <a:pt x="298238" y="1697"/>
                  </a:lnTo>
                  <a:lnTo>
                    <a:pt x="292386" y="1697"/>
                  </a:lnTo>
                  <a:lnTo>
                    <a:pt x="286610" y="2285"/>
                  </a:lnTo>
                  <a:lnTo>
                    <a:pt x="280151" y="3452"/>
                  </a:lnTo>
                  <a:cubicBezTo>
                    <a:pt x="271213" y="5399"/>
                    <a:pt x="255686" y="13059"/>
                    <a:pt x="246555" y="16443"/>
                  </a:cubicBezTo>
                  <a:cubicBezTo>
                    <a:pt x="228863" y="19929"/>
                    <a:pt x="217443" y="26394"/>
                    <a:pt x="205671" y="40894"/>
                  </a:cubicBezTo>
                  <a:cubicBezTo>
                    <a:pt x="195446" y="50213"/>
                    <a:pt x="178183" y="46795"/>
                    <a:pt x="171097" y="56426"/>
                  </a:cubicBezTo>
                  <a:cubicBezTo>
                    <a:pt x="165905" y="61237"/>
                    <a:pt x="164497" y="68343"/>
                    <a:pt x="160549" y="74007"/>
                  </a:cubicBezTo>
                  <a:lnTo>
                    <a:pt x="156986" y="79971"/>
                  </a:lnTo>
                  <a:lnTo>
                    <a:pt x="156784" y="80226"/>
                  </a:lnTo>
                  <a:lnTo>
                    <a:pt x="152951" y="84628"/>
                  </a:lnTo>
                  <a:lnTo>
                    <a:pt x="151852" y="90085"/>
                  </a:lnTo>
                  <a:cubicBezTo>
                    <a:pt x="151693" y="90938"/>
                    <a:pt x="150956" y="91560"/>
                    <a:pt x="150088" y="91560"/>
                  </a:cubicBezTo>
                  <a:cubicBezTo>
                    <a:pt x="133596" y="92910"/>
                    <a:pt x="118556" y="103886"/>
                    <a:pt x="102532" y="106972"/>
                  </a:cubicBezTo>
                  <a:lnTo>
                    <a:pt x="96959" y="110881"/>
                  </a:lnTo>
                  <a:lnTo>
                    <a:pt x="96081" y="111209"/>
                  </a:lnTo>
                  <a:lnTo>
                    <a:pt x="89800" y="111768"/>
                  </a:lnTo>
                  <a:lnTo>
                    <a:pt x="84169" y="113986"/>
                  </a:lnTo>
                  <a:lnTo>
                    <a:pt x="78284" y="116955"/>
                  </a:lnTo>
                  <a:lnTo>
                    <a:pt x="78226" y="116975"/>
                  </a:lnTo>
                  <a:cubicBezTo>
                    <a:pt x="70300" y="120744"/>
                    <a:pt x="61218" y="124731"/>
                    <a:pt x="53587" y="128964"/>
                  </a:cubicBezTo>
                  <a:cubicBezTo>
                    <a:pt x="41304" y="131933"/>
                    <a:pt x="37582" y="135766"/>
                    <a:pt x="27280" y="140664"/>
                  </a:cubicBezTo>
                  <a:lnTo>
                    <a:pt x="15528" y="150083"/>
                  </a:lnTo>
                  <a:lnTo>
                    <a:pt x="14549" y="150488"/>
                  </a:lnTo>
                  <a:lnTo>
                    <a:pt x="8012" y="151062"/>
                  </a:lnTo>
                  <a:lnTo>
                    <a:pt x="7544" y="151062"/>
                  </a:lnTo>
                  <a:lnTo>
                    <a:pt x="3977" y="150464"/>
                  </a:lnTo>
                  <a:cubicBezTo>
                    <a:pt x="2531" y="150295"/>
                    <a:pt x="1234" y="149885"/>
                    <a:pt x="0" y="149307"/>
                  </a:cubicBezTo>
                  <a:lnTo>
                    <a:pt x="24" y="153949"/>
                  </a:lnTo>
                  <a:lnTo>
                    <a:pt x="400" y="153988"/>
                  </a:lnTo>
                  <a:lnTo>
                    <a:pt x="1297" y="154451"/>
                  </a:lnTo>
                  <a:lnTo>
                    <a:pt x="7120" y="159667"/>
                  </a:lnTo>
                  <a:lnTo>
                    <a:pt x="9781" y="161210"/>
                  </a:lnTo>
                  <a:lnTo>
                    <a:pt x="13647" y="156480"/>
                  </a:lnTo>
                  <a:lnTo>
                    <a:pt x="13223" y="156341"/>
                  </a:lnTo>
                  <a:lnTo>
                    <a:pt x="12775" y="156109"/>
                  </a:lnTo>
                  <a:lnTo>
                    <a:pt x="10991" y="154938"/>
                  </a:lnTo>
                  <a:cubicBezTo>
                    <a:pt x="10244" y="154417"/>
                    <a:pt x="9984" y="153448"/>
                    <a:pt x="10379" y="152643"/>
                  </a:cubicBezTo>
                  <a:cubicBezTo>
                    <a:pt x="10740" y="151804"/>
                    <a:pt x="11666" y="151423"/>
                    <a:pt x="12534" y="151664"/>
                  </a:cubicBezTo>
                  <a:lnTo>
                    <a:pt x="18227" y="153371"/>
                  </a:lnTo>
                  <a:lnTo>
                    <a:pt x="23916" y="153371"/>
                  </a:lnTo>
                  <a:lnTo>
                    <a:pt x="25275" y="153983"/>
                  </a:lnTo>
                  <a:lnTo>
                    <a:pt x="29001" y="158134"/>
                  </a:lnTo>
                  <a:lnTo>
                    <a:pt x="30703" y="155429"/>
                  </a:lnTo>
                  <a:lnTo>
                    <a:pt x="32260" y="154562"/>
                  </a:lnTo>
                  <a:lnTo>
                    <a:pt x="32834" y="154562"/>
                  </a:lnTo>
                  <a:lnTo>
                    <a:pt x="34145" y="155092"/>
                  </a:lnTo>
                  <a:lnTo>
                    <a:pt x="34646" y="156374"/>
                  </a:lnTo>
                  <a:lnTo>
                    <a:pt x="34646" y="156982"/>
                  </a:lnTo>
                  <a:lnTo>
                    <a:pt x="34637" y="157170"/>
                  </a:lnTo>
                  <a:lnTo>
                    <a:pt x="34058" y="163113"/>
                  </a:lnTo>
                  <a:lnTo>
                    <a:pt x="33803" y="163870"/>
                  </a:lnTo>
                  <a:lnTo>
                    <a:pt x="30380" y="169520"/>
                  </a:lnTo>
                  <a:lnTo>
                    <a:pt x="29387" y="174553"/>
                  </a:lnTo>
                  <a:lnTo>
                    <a:pt x="32077" y="179947"/>
                  </a:lnTo>
                  <a:lnTo>
                    <a:pt x="32207" y="180261"/>
                  </a:lnTo>
                  <a:lnTo>
                    <a:pt x="33986" y="186827"/>
                  </a:lnTo>
                  <a:lnTo>
                    <a:pt x="34073" y="187294"/>
                  </a:lnTo>
                  <a:lnTo>
                    <a:pt x="34073" y="190293"/>
                  </a:lnTo>
                  <a:cubicBezTo>
                    <a:pt x="34073" y="191146"/>
                    <a:pt x="33513" y="191859"/>
                    <a:pt x="32738" y="192081"/>
                  </a:cubicBezTo>
                  <a:cubicBezTo>
                    <a:pt x="31947" y="192260"/>
                    <a:pt x="31103" y="191956"/>
                    <a:pt x="30688" y="191271"/>
                  </a:cubicBezTo>
                  <a:lnTo>
                    <a:pt x="27372" y="185728"/>
                  </a:lnTo>
                  <a:lnTo>
                    <a:pt x="21414" y="182459"/>
                  </a:lnTo>
                  <a:lnTo>
                    <a:pt x="15653" y="180757"/>
                  </a:lnTo>
                  <a:lnTo>
                    <a:pt x="14906" y="180266"/>
                  </a:lnTo>
                  <a:lnTo>
                    <a:pt x="10302" y="175700"/>
                  </a:lnTo>
                  <a:lnTo>
                    <a:pt x="7414" y="179003"/>
                  </a:lnTo>
                  <a:lnTo>
                    <a:pt x="6320" y="179335"/>
                  </a:lnTo>
                  <a:cubicBezTo>
                    <a:pt x="7043" y="183597"/>
                    <a:pt x="8186" y="187887"/>
                    <a:pt x="10032" y="190346"/>
                  </a:cubicBezTo>
                  <a:cubicBezTo>
                    <a:pt x="10287" y="196169"/>
                    <a:pt x="10287" y="200975"/>
                    <a:pt x="15190" y="209199"/>
                  </a:cubicBezTo>
                  <a:cubicBezTo>
                    <a:pt x="17909" y="217072"/>
                    <a:pt x="20874" y="223421"/>
                    <a:pt x="20232" y="227523"/>
                  </a:cubicBezTo>
                  <a:cubicBezTo>
                    <a:pt x="21775" y="231177"/>
                    <a:pt x="23448" y="235839"/>
                    <a:pt x="23448" y="235839"/>
                  </a:cubicBezTo>
                  <a:cubicBezTo>
                    <a:pt x="23448" y="235839"/>
                    <a:pt x="17509" y="246666"/>
                    <a:pt x="18545" y="248329"/>
                  </a:cubicBezTo>
                  <a:cubicBezTo>
                    <a:pt x="19582" y="250012"/>
                    <a:pt x="21520" y="256756"/>
                    <a:pt x="17634" y="262170"/>
                  </a:cubicBezTo>
                  <a:cubicBezTo>
                    <a:pt x="13777" y="267588"/>
                    <a:pt x="2275" y="275745"/>
                    <a:pt x="3442" y="280883"/>
                  </a:cubicBezTo>
                  <a:cubicBezTo>
                    <a:pt x="4599" y="286037"/>
                    <a:pt x="4329" y="286273"/>
                    <a:pt x="3673" y="287912"/>
                  </a:cubicBezTo>
                  <a:cubicBezTo>
                    <a:pt x="3056" y="289551"/>
                    <a:pt x="2608" y="295919"/>
                    <a:pt x="8099" y="295992"/>
                  </a:cubicBezTo>
                  <a:cubicBezTo>
                    <a:pt x="16627" y="301694"/>
                    <a:pt x="24364" y="307359"/>
                    <a:pt x="24364" y="307359"/>
                  </a:cubicBezTo>
                  <a:lnTo>
                    <a:pt x="30819" y="316012"/>
                  </a:lnTo>
                  <a:cubicBezTo>
                    <a:pt x="30819" y="316012"/>
                    <a:pt x="47223" y="322597"/>
                    <a:pt x="44784" y="327119"/>
                  </a:cubicBezTo>
                  <a:cubicBezTo>
                    <a:pt x="42316" y="331636"/>
                    <a:pt x="48511" y="334986"/>
                    <a:pt x="44900" y="339783"/>
                  </a:cubicBezTo>
                  <a:cubicBezTo>
                    <a:pt x="41270" y="344570"/>
                    <a:pt x="37794" y="347785"/>
                    <a:pt x="39202" y="351786"/>
                  </a:cubicBezTo>
                  <a:cubicBezTo>
                    <a:pt x="40634" y="355773"/>
                    <a:pt x="45016" y="365212"/>
                    <a:pt x="47720" y="365873"/>
                  </a:cubicBezTo>
                  <a:cubicBezTo>
                    <a:pt x="50439" y="366514"/>
                    <a:pt x="55096" y="366774"/>
                    <a:pt x="53553" y="371040"/>
                  </a:cubicBezTo>
                  <a:cubicBezTo>
                    <a:pt x="51967" y="375316"/>
                    <a:pt x="51967" y="389118"/>
                    <a:pt x="59348" y="391427"/>
                  </a:cubicBezTo>
                  <a:cubicBezTo>
                    <a:pt x="57675" y="397009"/>
                    <a:pt x="55997" y="404110"/>
                    <a:pt x="57164" y="407422"/>
                  </a:cubicBezTo>
                  <a:cubicBezTo>
                    <a:pt x="58316" y="410792"/>
                    <a:pt x="52897" y="420096"/>
                    <a:pt x="48882" y="423196"/>
                  </a:cubicBezTo>
                  <a:cubicBezTo>
                    <a:pt x="52661" y="428252"/>
                    <a:pt x="54189" y="429395"/>
                    <a:pt x="53944" y="432090"/>
                  </a:cubicBezTo>
                  <a:cubicBezTo>
                    <a:pt x="53669" y="434814"/>
                    <a:pt x="55616" y="441027"/>
                    <a:pt x="62452" y="445299"/>
                  </a:cubicBezTo>
                  <a:cubicBezTo>
                    <a:pt x="63383" y="449406"/>
                    <a:pt x="62833" y="461289"/>
                    <a:pt x="62322" y="462976"/>
                  </a:cubicBezTo>
                  <a:cubicBezTo>
                    <a:pt x="69172" y="465010"/>
                    <a:pt x="82357" y="469590"/>
                    <a:pt x="82212" y="472420"/>
                  </a:cubicBezTo>
                  <a:cubicBezTo>
                    <a:pt x="82106" y="475226"/>
                    <a:pt x="85307" y="488020"/>
                    <a:pt x="87776" y="490873"/>
                  </a:cubicBezTo>
                  <a:cubicBezTo>
                    <a:pt x="90219" y="493698"/>
                    <a:pt x="92027" y="495492"/>
                    <a:pt x="90480" y="498741"/>
                  </a:cubicBezTo>
                  <a:cubicBezTo>
                    <a:pt x="88932" y="501985"/>
                    <a:pt x="87370" y="525375"/>
                    <a:pt x="86474" y="527149"/>
                  </a:cubicBezTo>
                  <a:cubicBezTo>
                    <a:pt x="84025" y="529738"/>
                    <a:pt x="82154" y="538878"/>
                    <a:pt x="82241" y="541414"/>
                  </a:cubicBezTo>
                  <a:cubicBezTo>
                    <a:pt x="79093" y="544793"/>
                    <a:pt x="76215" y="548119"/>
                    <a:pt x="77830" y="552371"/>
                  </a:cubicBezTo>
                  <a:cubicBezTo>
                    <a:pt x="81359" y="550511"/>
                    <a:pt x="85914" y="549942"/>
                    <a:pt x="91892" y="550810"/>
                  </a:cubicBezTo>
                  <a:cubicBezTo>
                    <a:pt x="90345" y="549257"/>
                    <a:pt x="91126" y="543438"/>
                    <a:pt x="91892" y="540320"/>
                  </a:cubicBezTo>
                  <a:cubicBezTo>
                    <a:pt x="92673" y="537220"/>
                    <a:pt x="90094" y="532182"/>
                    <a:pt x="90094" y="532182"/>
                  </a:cubicBezTo>
                  <a:lnTo>
                    <a:pt x="93821" y="529738"/>
                  </a:lnTo>
                  <a:lnTo>
                    <a:pt x="95243" y="529497"/>
                  </a:lnTo>
                  <a:lnTo>
                    <a:pt x="98752" y="532587"/>
                  </a:lnTo>
                  <a:cubicBezTo>
                    <a:pt x="98752" y="532587"/>
                    <a:pt x="100815" y="532071"/>
                    <a:pt x="103139" y="530784"/>
                  </a:cubicBezTo>
                  <a:cubicBezTo>
                    <a:pt x="105463" y="529497"/>
                    <a:pt x="111271" y="533252"/>
                    <a:pt x="113986" y="535292"/>
                  </a:cubicBezTo>
                  <a:cubicBezTo>
                    <a:pt x="116709" y="537365"/>
                    <a:pt x="114236" y="542773"/>
                    <a:pt x="114236" y="542773"/>
                  </a:cubicBezTo>
                  <a:lnTo>
                    <a:pt x="116068" y="547821"/>
                  </a:lnTo>
                  <a:cubicBezTo>
                    <a:pt x="116068" y="547821"/>
                    <a:pt x="119149" y="550424"/>
                    <a:pt x="122099" y="551937"/>
                  </a:cubicBezTo>
                  <a:cubicBezTo>
                    <a:pt x="125092" y="553480"/>
                    <a:pt x="124316" y="558527"/>
                    <a:pt x="124316" y="558527"/>
                  </a:cubicBezTo>
                  <a:lnTo>
                    <a:pt x="128564" y="554391"/>
                  </a:lnTo>
                  <a:lnTo>
                    <a:pt x="135539" y="557390"/>
                  </a:lnTo>
                  <a:lnTo>
                    <a:pt x="154778" y="562423"/>
                  </a:lnTo>
                  <a:lnTo>
                    <a:pt x="160221" y="560104"/>
                  </a:lnTo>
                  <a:lnTo>
                    <a:pt x="164994" y="567214"/>
                  </a:lnTo>
                  <a:lnTo>
                    <a:pt x="170407" y="567952"/>
                  </a:lnTo>
                  <a:lnTo>
                    <a:pt x="176110" y="567065"/>
                  </a:lnTo>
                  <a:lnTo>
                    <a:pt x="180367" y="577410"/>
                  </a:lnTo>
                  <a:cubicBezTo>
                    <a:pt x="180367" y="577410"/>
                    <a:pt x="182570" y="575602"/>
                    <a:pt x="185139" y="571958"/>
                  </a:cubicBezTo>
                  <a:cubicBezTo>
                    <a:pt x="187723" y="568347"/>
                    <a:pt x="191580" y="570806"/>
                    <a:pt x="193021" y="571847"/>
                  </a:cubicBezTo>
                  <a:cubicBezTo>
                    <a:pt x="194443" y="572859"/>
                    <a:pt x="196892" y="573664"/>
                    <a:pt x="197408" y="570415"/>
                  </a:cubicBezTo>
                  <a:cubicBezTo>
                    <a:pt x="197683" y="562013"/>
                    <a:pt x="215621" y="576735"/>
                    <a:pt x="215486" y="578707"/>
                  </a:cubicBezTo>
                  <a:cubicBezTo>
                    <a:pt x="214965" y="583344"/>
                    <a:pt x="205410" y="591858"/>
                    <a:pt x="203087" y="593169"/>
                  </a:cubicBezTo>
                  <a:cubicBezTo>
                    <a:pt x="200768" y="594461"/>
                    <a:pt x="199722" y="596370"/>
                    <a:pt x="198719" y="601803"/>
                  </a:cubicBezTo>
                  <a:cubicBezTo>
                    <a:pt x="207078" y="601176"/>
                    <a:pt x="213422" y="611088"/>
                    <a:pt x="213422" y="611088"/>
                  </a:cubicBezTo>
                  <a:lnTo>
                    <a:pt x="219887" y="613421"/>
                  </a:lnTo>
                  <a:lnTo>
                    <a:pt x="230729" y="625844"/>
                  </a:lnTo>
                  <a:lnTo>
                    <a:pt x="231654" y="631619"/>
                  </a:lnTo>
                  <a:lnTo>
                    <a:pt x="237309" y="637857"/>
                  </a:lnTo>
                  <a:lnTo>
                    <a:pt x="242853" y="640161"/>
                  </a:lnTo>
                  <a:cubicBezTo>
                    <a:pt x="242853" y="640161"/>
                    <a:pt x="245711" y="638469"/>
                    <a:pt x="247331" y="635365"/>
                  </a:cubicBezTo>
                  <a:cubicBezTo>
                    <a:pt x="251800" y="628114"/>
                    <a:pt x="261711" y="621418"/>
                    <a:pt x="266113" y="618463"/>
                  </a:cubicBezTo>
                  <a:cubicBezTo>
                    <a:pt x="270514" y="615499"/>
                    <a:pt x="264816" y="608398"/>
                    <a:pt x="262762" y="606821"/>
                  </a:cubicBezTo>
                  <a:cubicBezTo>
                    <a:pt x="260675" y="605283"/>
                    <a:pt x="255015" y="599701"/>
                    <a:pt x="258356" y="593169"/>
                  </a:cubicBezTo>
                  <a:cubicBezTo>
                    <a:pt x="267679" y="593169"/>
                    <a:pt x="284841" y="600771"/>
                    <a:pt x="287160" y="603230"/>
                  </a:cubicBezTo>
                  <a:cubicBezTo>
                    <a:pt x="289488" y="605679"/>
                    <a:pt x="291031" y="605799"/>
                    <a:pt x="294145" y="606069"/>
                  </a:cubicBezTo>
                  <a:cubicBezTo>
                    <a:pt x="297230" y="606329"/>
                    <a:pt x="298011" y="610977"/>
                    <a:pt x="298011" y="610977"/>
                  </a:cubicBezTo>
                  <a:cubicBezTo>
                    <a:pt x="298011" y="610977"/>
                    <a:pt x="309889" y="610851"/>
                    <a:pt x="319203" y="608258"/>
                  </a:cubicBezTo>
                  <a:cubicBezTo>
                    <a:pt x="322173" y="605283"/>
                    <a:pt x="329274" y="603500"/>
                    <a:pt x="329274" y="603500"/>
                  </a:cubicBezTo>
                  <a:lnTo>
                    <a:pt x="330175" y="611088"/>
                  </a:lnTo>
                  <a:lnTo>
                    <a:pt x="331988" y="616545"/>
                  </a:lnTo>
                  <a:lnTo>
                    <a:pt x="324887" y="621081"/>
                  </a:lnTo>
                  <a:lnTo>
                    <a:pt x="321908" y="626336"/>
                  </a:lnTo>
                  <a:cubicBezTo>
                    <a:pt x="321908" y="626336"/>
                    <a:pt x="327461" y="628939"/>
                    <a:pt x="333931" y="632164"/>
                  </a:cubicBezTo>
                  <a:cubicBezTo>
                    <a:pt x="337406" y="643661"/>
                    <a:pt x="346966" y="644939"/>
                    <a:pt x="346966" y="644939"/>
                  </a:cubicBezTo>
                  <a:lnTo>
                    <a:pt x="354317" y="639901"/>
                  </a:lnTo>
                  <a:lnTo>
                    <a:pt x="359871" y="638749"/>
                  </a:lnTo>
                  <a:lnTo>
                    <a:pt x="359104" y="634483"/>
                  </a:lnTo>
                  <a:lnTo>
                    <a:pt x="361182" y="632419"/>
                  </a:lnTo>
                  <a:lnTo>
                    <a:pt x="367112" y="641603"/>
                  </a:lnTo>
                  <a:lnTo>
                    <a:pt x="372540" y="639650"/>
                  </a:lnTo>
                  <a:lnTo>
                    <a:pt x="378474" y="642996"/>
                  </a:lnTo>
                  <a:cubicBezTo>
                    <a:pt x="378474" y="642996"/>
                    <a:pt x="380942" y="644823"/>
                    <a:pt x="384423" y="649051"/>
                  </a:cubicBezTo>
                  <a:cubicBezTo>
                    <a:pt x="387132" y="646500"/>
                    <a:pt x="390357" y="645069"/>
                    <a:pt x="396036" y="646356"/>
                  </a:cubicBezTo>
                  <a:cubicBezTo>
                    <a:pt x="397588" y="649576"/>
                    <a:pt x="406501" y="649865"/>
                    <a:pt x="406501" y="649865"/>
                  </a:cubicBezTo>
                  <a:lnTo>
                    <a:pt x="409736" y="653317"/>
                  </a:lnTo>
                  <a:lnTo>
                    <a:pt x="408579" y="658870"/>
                  </a:lnTo>
                  <a:cubicBezTo>
                    <a:pt x="408579" y="658870"/>
                    <a:pt x="411799" y="665094"/>
                    <a:pt x="414113" y="669587"/>
                  </a:cubicBezTo>
                  <a:cubicBezTo>
                    <a:pt x="416432" y="674142"/>
                    <a:pt x="425611" y="677102"/>
                    <a:pt x="428720" y="676856"/>
                  </a:cubicBezTo>
                  <a:cubicBezTo>
                    <a:pt x="431559" y="676582"/>
                    <a:pt x="434707" y="687153"/>
                    <a:pt x="436867" y="695951"/>
                  </a:cubicBezTo>
                  <a:lnTo>
                    <a:pt x="447825" y="696438"/>
                  </a:lnTo>
                  <a:lnTo>
                    <a:pt x="448099" y="699972"/>
                  </a:lnTo>
                  <a:lnTo>
                    <a:pt x="449382" y="707323"/>
                  </a:lnTo>
                  <a:lnTo>
                    <a:pt x="450539" y="710399"/>
                  </a:lnTo>
                  <a:lnTo>
                    <a:pt x="456728" y="707044"/>
                  </a:lnTo>
                  <a:lnTo>
                    <a:pt x="462817" y="708341"/>
                  </a:lnTo>
                  <a:lnTo>
                    <a:pt x="467720" y="702667"/>
                  </a:lnTo>
                  <a:lnTo>
                    <a:pt x="471730" y="690417"/>
                  </a:lnTo>
                  <a:lnTo>
                    <a:pt x="478045" y="688730"/>
                  </a:lnTo>
                  <a:cubicBezTo>
                    <a:pt x="478045" y="688730"/>
                    <a:pt x="482066" y="683557"/>
                    <a:pt x="487084" y="676948"/>
                  </a:cubicBezTo>
                  <a:cubicBezTo>
                    <a:pt x="496277" y="680337"/>
                    <a:pt x="497680" y="688730"/>
                    <a:pt x="497811" y="692085"/>
                  </a:cubicBezTo>
                  <a:cubicBezTo>
                    <a:pt x="497974" y="695464"/>
                    <a:pt x="501315" y="696877"/>
                    <a:pt x="504786" y="695701"/>
                  </a:cubicBezTo>
                  <a:cubicBezTo>
                    <a:pt x="508276" y="694544"/>
                    <a:pt x="506859" y="696438"/>
                    <a:pt x="508030" y="699813"/>
                  </a:cubicBezTo>
                  <a:cubicBezTo>
                    <a:pt x="509173" y="703192"/>
                    <a:pt x="513174" y="703308"/>
                    <a:pt x="517431" y="702638"/>
                  </a:cubicBezTo>
                  <a:cubicBezTo>
                    <a:pt x="521688" y="701910"/>
                    <a:pt x="524560" y="713663"/>
                    <a:pt x="523389" y="716767"/>
                  </a:cubicBezTo>
                  <a:cubicBezTo>
                    <a:pt x="522218" y="719848"/>
                    <a:pt x="522353" y="721429"/>
                    <a:pt x="522738" y="723988"/>
                  </a:cubicBezTo>
                  <a:cubicBezTo>
                    <a:pt x="523119" y="726572"/>
                    <a:pt x="526079" y="726572"/>
                    <a:pt x="528036" y="726438"/>
                  </a:cubicBezTo>
                  <a:cubicBezTo>
                    <a:pt x="529969" y="726303"/>
                    <a:pt x="531531" y="725011"/>
                    <a:pt x="533860" y="722557"/>
                  </a:cubicBezTo>
                  <a:cubicBezTo>
                    <a:pt x="536169" y="720098"/>
                    <a:pt x="538492" y="721265"/>
                    <a:pt x="540686" y="721655"/>
                  </a:cubicBezTo>
                  <a:cubicBezTo>
                    <a:pt x="542904" y="722031"/>
                    <a:pt x="547020" y="725922"/>
                    <a:pt x="547020" y="725922"/>
                  </a:cubicBezTo>
                  <a:lnTo>
                    <a:pt x="550486" y="713923"/>
                  </a:lnTo>
                  <a:lnTo>
                    <a:pt x="550376" y="708345"/>
                  </a:lnTo>
                  <a:lnTo>
                    <a:pt x="557091" y="702970"/>
                  </a:lnTo>
                  <a:lnTo>
                    <a:pt x="563030" y="701379"/>
                  </a:lnTo>
                  <a:lnTo>
                    <a:pt x="565744" y="693136"/>
                  </a:lnTo>
                  <a:lnTo>
                    <a:pt x="572054" y="695088"/>
                  </a:lnTo>
                  <a:cubicBezTo>
                    <a:pt x="572054" y="695088"/>
                    <a:pt x="573240" y="693898"/>
                    <a:pt x="575959" y="690682"/>
                  </a:cubicBezTo>
                  <a:cubicBezTo>
                    <a:pt x="582284" y="697629"/>
                    <a:pt x="592856" y="690798"/>
                    <a:pt x="597888" y="687428"/>
                  </a:cubicBezTo>
                  <a:cubicBezTo>
                    <a:pt x="601639" y="694548"/>
                    <a:pt x="610552" y="696443"/>
                    <a:pt x="612635" y="696443"/>
                  </a:cubicBezTo>
                  <a:cubicBezTo>
                    <a:pt x="614693" y="696443"/>
                    <a:pt x="615214" y="696443"/>
                    <a:pt x="616115" y="698155"/>
                  </a:cubicBezTo>
                  <a:cubicBezTo>
                    <a:pt x="617022" y="699813"/>
                    <a:pt x="618969" y="699813"/>
                    <a:pt x="618969" y="699813"/>
                  </a:cubicBezTo>
                  <a:lnTo>
                    <a:pt x="630708" y="688595"/>
                  </a:lnTo>
                  <a:lnTo>
                    <a:pt x="628249" y="682796"/>
                  </a:lnTo>
                  <a:lnTo>
                    <a:pt x="633668" y="678539"/>
                  </a:lnTo>
                  <a:lnTo>
                    <a:pt x="639240" y="681513"/>
                  </a:lnTo>
                  <a:cubicBezTo>
                    <a:pt x="639240" y="681513"/>
                    <a:pt x="641043" y="679060"/>
                    <a:pt x="643256" y="675950"/>
                  </a:cubicBezTo>
                  <a:cubicBezTo>
                    <a:pt x="645449" y="672846"/>
                    <a:pt x="663513" y="676591"/>
                    <a:pt x="663513" y="676591"/>
                  </a:cubicBezTo>
                  <a:lnTo>
                    <a:pt x="674875" y="671033"/>
                  </a:lnTo>
                  <a:lnTo>
                    <a:pt x="681205" y="674273"/>
                  </a:lnTo>
                  <a:lnTo>
                    <a:pt x="682617" y="674032"/>
                  </a:lnTo>
                  <a:cubicBezTo>
                    <a:pt x="682617" y="674032"/>
                    <a:pt x="684044" y="674379"/>
                    <a:pt x="688561" y="677382"/>
                  </a:cubicBezTo>
                  <a:cubicBezTo>
                    <a:pt x="698227" y="674152"/>
                    <a:pt x="708586" y="679156"/>
                    <a:pt x="713233" y="688364"/>
                  </a:cubicBezTo>
                  <a:cubicBezTo>
                    <a:pt x="717890" y="697504"/>
                    <a:pt x="729508" y="697369"/>
                    <a:pt x="731432" y="696882"/>
                  </a:cubicBezTo>
                  <a:cubicBezTo>
                    <a:pt x="733374" y="696356"/>
                    <a:pt x="738417" y="701018"/>
                    <a:pt x="738417" y="701018"/>
                  </a:cubicBezTo>
                  <a:cubicBezTo>
                    <a:pt x="738417" y="701018"/>
                    <a:pt x="741377" y="701514"/>
                    <a:pt x="745894" y="700213"/>
                  </a:cubicBezTo>
                  <a:cubicBezTo>
                    <a:pt x="749321" y="705424"/>
                    <a:pt x="758220" y="705260"/>
                    <a:pt x="763909" y="704566"/>
                  </a:cubicBezTo>
                  <a:lnTo>
                    <a:pt x="763701" y="700353"/>
                  </a:lnTo>
                  <a:lnTo>
                    <a:pt x="763909" y="704566"/>
                  </a:lnTo>
                  <a:cubicBezTo>
                    <a:pt x="766792" y="704224"/>
                    <a:pt x="768903" y="703703"/>
                    <a:pt x="768903" y="703703"/>
                  </a:cubicBezTo>
                  <a:lnTo>
                    <a:pt x="775613" y="706967"/>
                  </a:lnTo>
                  <a:lnTo>
                    <a:pt x="782859" y="704224"/>
                  </a:lnTo>
                  <a:cubicBezTo>
                    <a:pt x="782859" y="704224"/>
                    <a:pt x="795576" y="710910"/>
                    <a:pt x="792968" y="708688"/>
                  </a:cubicBezTo>
                  <a:cubicBezTo>
                    <a:pt x="790418" y="706465"/>
                    <a:pt x="788186" y="696626"/>
                    <a:pt x="788186" y="696626"/>
                  </a:cubicBezTo>
                  <a:cubicBezTo>
                    <a:pt x="788186" y="696626"/>
                    <a:pt x="784377" y="694057"/>
                    <a:pt x="779229" y="691116"/>
                  </a:cubicBezTo>
                  <a:cubicBezTo>
                    <a:pt x="774071" y="688219"/>
                    <a:pt x="775440" y="680467"/>
                    <a:pt x="776491" y="676673"/>
                  </a:cubicBezTo>
                  <a:cubicBezTo>
                    <a:pt x="777489" y="672899"/>
                    <a:pt x="766493" y="650150"/>
                    <a:pt x="763918" y="647209"/>
                  </a:cubicBezTo>
                  <a:cubicBezTo>
                    <a:pt x="761335" y="644298"/>
                    <a:pt x="762168" y="637380"/>
                    <a:pt x="763576" y="636213"/>
                  </a:cubicBezTo>
                  <a:cubicBezTo>
                    <a:pt x="764921" y="634984"/>
                    <a:pt x="767172" y="631894"/>
                    <a:pt x="767360" y="628119"/>
                  </a:cubicBezTo>
                  <a:cubicBezTo>
                    <a:pt x="767553" y="624354"/>
                    <a:pt x="770614" y="618984"/>
                    <a:pt x="770614" y="618984"/>
                  </a:cubicBezTo>
                  <a:lnTo>
                    <a:pt x="776149" y="613286"/>
                  </a:lnTo>
                  <a:lnTo>
                    <a:pt x="776809" y="607429"/>
                  </a:lnTo>
                  <a:cubicBezTo>
                    <a:pt x="776809" y="607429"/>
                    <a:pt x="778014" y="605876"/>
                    <a:pt x="780945" y="603500"/>
                  </a:cubicBezTo>
                  <a:cubicBezTo>
                    <a:pt x="786103" y="584521"/>
                    <a:pt x="807825" y="548042"/>
                    <a:pt x="814170" y="541322"/>
                  </a:cubicBezTo>
                  <a:cubicBezTo>
                    <a:pt x="820538" y="534602"/>
                    <a:pt x="827788" y="523582"/>
                    <a:pt x="827788" y="523582"/>
                  </a:cubicBezTo>
                  <a:lnTo>
                    <a:pt x="829162" y="516689"/>
                  </a:lnTo>
                  <a:lnTo>
                    <a:pt x="834696" y="511530"/>
                  </a:lnTo>
                  <a:lnTo>
                    <a:pt x="847066" y="509130"/>
                  </a:lnTo>
                  <a:lnTo>
                    <a:pt x="852571" y="503104"/>
                  </a:lnTo>
                  <a:cubicBezTo>
                    <a:pt x="852571" y="503104"/>
                    <a:pt x="854162" y="499662"/>
                    <a:pt x="853097" y="496369"/>
                  </a:cubicBezTo>
                  <a:cubicBezTo>
                    <a:pt x="852075" y="493134"/>
                    <a:pt x="855681" y="492069"/>
                    <a:pt x="857922" y="488126"/>
                  </a:cubicBezTo>
                  <a:cubicBezTo>
                    <a:pt x="860140" y="484139"/>
                    <a:pt x="855835" y="482625"/>
                    <a:pt x="855835" y="47797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47" name="Freihandform: Form 646">
              <a:extLst>
                <a:ext uri="{FF2B5EF4-FFF2-40B4-BE49-F238E27FC236}">
                  <a16:creationId xmlns:a16="http://schemas.microsoft.com/office/drawing/2014/main" id="{1A190E64-767D-3057-29E8-7B77794DD3B3}"/>
                </a:ext>
              </a:extLst>
            </p:cNvPr>
            <p:cNvSpPr/>
            <p:nvPr/>
          </p:nvSpPr>
          <p:spPr>
            <a:xfrm>
              <a:off x="6337309" y="3316276"/>
              <a:ext cx="296829" cy="166693"/>
            </a:xfrm>
            <a:custGeom>
              <a:avLst/>
              <a:gdLst>
                <a:gd name="connsiteX0" fmla="*/ 10104 w 232473"/>
                <a:gd name="connsiteY0" fmla="*/ 91097 h 130998"/>
                <a:gd name="connsiteX1" fmla="*/ 11305 w 232473"/>
                <a:gd name="connsiteY1" fmla="*/ 90514 h 130998"/>
                <a:gd name="connsiteX2" fmla="*/ 16660 w 232473"/>
                <a:gd name="connsiteY2" fmla="*/ 96448 h 130998"/>
                <a:gd name="connsiteX3" fmla="*/ 28558 w 232473"/>
                <a:gd name="connsiteY3" fmla="*/ 92302 h 130998"/>
                <a:gd name="connsiteX4" fmla="*/ 40456 w 232473"/>
                <a:gd name="connsiteY4" fmla="*/ 91097 h 130998"/>
                <a:gd name="connsiteX5" fmla="*/ 30351 w 232473"/>
                <a:gd name="connsiteY5" fmla="*/ 103597 h 130998"/>
                <a:gd name="connsiteX6" fmla="*/ 24393 w 232473"/>
                <a:gd name="connsiteY6" fmla="*/ 106576 h 130998"/>
                <a:gd name="connsiteX7" fmla="*/ 17851 w 232473"/>
                <a:gd name="connsiteY7" fmla="*/ 111951 h 130998"/>
                <a:gd name="connsiteX8" fmla="*/ 14284 w 232473"/>
                <a:gd name="connsiteY8" fmla="*/ 109575 h 130998"/>
                <a:gd name="connsiteX9" fmla="*/ 9502 w 232473"/>
                <a:gd name="connsiteY9" fmla="*/ 122094 h 130998"/>
                <a:gd name="connsiteX10" fmla="*/ 3577 w 232473"/>
                <a:gd name="connsiteY10" fmla="*/ 125078 h 130998"/>
                <a:gd name="connsiteX11" fmla="*/ 1413 w 232473"/>
                <a:gd name="connsiteY11" fmla="*/ 129354 h 130998"/>
                <a:gd name="connsiteX12" fmla="*/ 2979 w 232473"/>
                <a:gd name="connsiteY12" fmla="*/ 130193 h 130998"/>
                <a:gd name="connsiteX13" fmla="*/ 20030 w 232473"/>
                <a:gd name="connsiteY13" fmla="*/ 130024 h 130998"/>
                <a:gd name="connsiteX14" fmla="*/ 27271 w 232473"/>
                <a:gd name="connsiteY14" fmla="*/ 129330 h 130998"/>
                <a:gd name="connsiteX15" fmla="*/ 85302 w 232473"/>
                <a:gd name="connsiteY15" fmla="*/ 128308 h 130998"/>
                <a:gd name="connsiteX16" fmla="*/ 109059 w 232473"/>
                <a:gd name="connsiteY16" fmla="*/ 126934 h 130998"/>
                <a:gd name="connsiteX17" fmla="*/ 232474 w 232473"/>
                <a:gd name="connsiteY17" fmla="*/ 101544 h 130998"/>
                <a:gd name="connsiteX18" fmla="*/ 221164 w 232473"/>
                <a:gd name="connsiteY18" fmla="*/ 66497 h 130998"/>
                <a:gd name="connsiteX19" fmla="*/ 225961 w 232473"/>
                <a:gd name="connsiteY19" fmla="*/ 47696 h 130998"/>
                <a:gd name="connsiteX20" fmla="*/ 223401 w 232473"/>
                <a:gd name="connsiteY20" fmla="*/ 32540 h 130998"/>
                <a:gd name="connsiteX21" fmla="*/ 214435 w 232473"/>
                <a:gd name="connsiteY21" fmla="*/ 25844 h 130998"/>
                <a:gd name="connsiteX22" fmla="*/ 200648 w 232473"/>
                <a:gd name="connsiteY22" fmla="*/ 14110 h 130998"/>
                <a:gd name="connsiteX23" fmla="*/ 190302 w 232473"/>
                <a:gd name="connsiteY23" fmla="*/ 16863 h 130998"/>
                <a:gd name="connsiteX24" fmla="*/ 181365 w 232473"/>
                <a:gd name="connsiteY24" fmla="*/ 16694 h 130998"/>
                <a:gd name="connsiteX25" fmla="*/ 168792 w 232473"/>
                <a:gd name="connsiteY25" fmla="*/ 20994 h 130998"/>
                <a:gd name="connsiteX26" fmla="*/ 159850 w 232473"/>
                <a:gd name="connsiteY26" fmla="*/ 24653 h 130998"/>
                <a:gd name="connsiteX27" fmla="*/ 152807 w 232473"/>
                <a:gd name="connsiteY27" fmla="*/ 18270 h 130998"/>
                <a:gd name="connsiteX28" fmla="*/ 146390 w 232473"/>
                <a:gd name="connsiteY28" fmla="*/ 19119 h 130998"/>
                <a:gd name="connsiteX29" fmla="*/ 133664 w 232473"/>
                <a:gd name="connsiteY29" fmla="*/ 15518 h 130998"/>
                <a:gd name="connsiteX30" fmla="*/ 121458 w 232473"/>
                <a:gd name="connsiteY30" fmla="*/ 9294 h 130998"/>
                <a:gd name="connsiteX31" fmla="*/ 116280 w 232473"/>
                <a:gd name="connsiteY31" fmla="*/ 10017 h 130998"/>
                <a:gd name="connsiteX32" fmla="*/ 102691 w 232473"/>
                <a:gd name="connsiteY32" fmla="*/ 0 h 130998"/>
                <a:gd name="connsiteX33" fmla="*/ 98357 w 232473"/>
                <a:gd name="connsiteY33" fmla="*/ 5148 h 130998"/>
                <a:gd name="connsiteX34" fmla="*/ 98232 w 232473"/>
                <a:gd name="connsiteY34" fmla="*/ 5987 h 130998"/>
                <a:gd name="connsiteX35" fmla="*/ 99345 w 232473"/>
                <a:gd name="connsiteY35" fmla="*/ 11642 h 130998"/>
                <a:gd name="connsiteX36" fmla="*/ 98333 w 232473"/>
                <a:gd name="connsiteY36" fmla="*/ 13652 h 130998"/>
                <a:gd name="connsiteX37" fmla="*/ 93358 w 232473"/>
                <a:gd name="connsiteY37" fmla="*/ 15928 h 130998"/>
                <a:gd name="connsiteX38" fmla="*/ 100454 w 232473"/>
                <a:gd name="connsiteY38" fmla="*/ 38691 h 130998"/>
                <a:gd name="connsiteX39" fmla="*/ 103366 w 232473"/>
                <a:gd name="connsiteY39" fmla="*/ 44481 h 130998"/>
                <a:gd name="connsiteX40" fmla="*/ 102980 w 232473"/>
                <a:gd name="connsiteY40" fmla="*/ 46674 h 130998"/>
                <a:gd name="connsiteX41" fmla="*/ 96414 w 232473"/>
                <a:gd name="connsiteY41" fmla="*/ 52613 h 130998"/>
                <a:gd name="connsiteX42" fmla="*/ 95807 w 232473"/>
                <a:gd name="connsiteY42" fmla="*/ 52965 h 130998"/>
                <a:gd name="connsiteX43" fmla="*/ 89308 w 232473"/>
                <a:gd name="connsiteY43" fmla="*/ 55342 h 130998"/>
                <a:gd name="connsiteX44" fmla="*/ 83379 w 232473"/>
                <a:gd name="connsiteY44" fmla="*/ 57728 h 130998"/>
                <a:gd name="connsiteX45" fmla="*/ 82690 w 232473"/>
                <a:gd name="connsiteY45" fmla="*/ 57829 h 130998"/>
                <a:gd name="connsiteX46" fmla="*/ 76731 w 232473"/>
                <a:gd name="connsiteY46" fmla="*/ 57829 h 130998"/>
                <a:gd name="connsiteX47" fmla="*/ 76254 w 232473"/>
                <a:gd name="connsiteY47" fmla="*/ 57800 h 130998"/>
                <a:gd name="connsiteX48" fmla="*/ 69736 w 232473"/>
                <a:gd name="connsiteY48" fmla="*/ 55983 h 130998"/>
                <a:gd name="connsiteX49" fmla="*/ 69674 w 232473"/>
                <a:gd name="connsiteY49" fmla="*/ 55983 h 130998"/>
                <a:gd name="connsiteX50" fmla="*/ 64164 w 232473"/>
                <a:gd name="connsiteY50" fmla="*/ 54344 h 130998"/>
                <a:gd name="connsiteX51" fmla="*/ 58649 w 232473"/>
                <a:gd name="connsiteY51" fmla="*/ 55428 h 130998"/>
                <a:gd name="connsiteX52" fmla="*/ 58475 w 232473"/>
                <a:gd name="connsiteY52" fmla="*/ 55467 h 130998"/>
                <a:gd name="connsiteX53" fmla="*/ 52512 w 232473"/>
                <a:gd name="connsiteY53" fmla="*/ 56031 h 130998"/>
                <a:gd name="connsiteX54" fmla="*/ 50709 w 232473"/>
                <a:gd name="connsiteY54" fmla="*/ 55043 h 130998"/>
                <a:gd name="connsiteX55" fmla="*/ 48087 w 232473"/>
                <a:gd name="connsiteY55" fmla="*/ 49832 h 130998"/>
                <a:gd name="connsiteX56" fmla="*/ 39202 w 232473"/>
                <a:gd name="connsiteY56" fmla="*/ 57468 h 130998"/>
                <a:gd name="connsiteX57" fmla="*/ 38383 w 232473"/>
                <a:gd name="connsiteY57" fmla="*/ 57805 h 130998"/>
                <a:gd name="connsiteX58" fmla="*/ 31822 w 232473"/>
                <a:gd name="connsiteY58" fmla="*/ 59005 h 130998"/>
                <a:gd name="connsiteX59" fmla="*/ 31330 w 232473"/>
                <a:gd name="connsiteY59" fmla="*/ 59044 h 130998"/>
                <a:gd name="connsiteX60" fmla="*/ 25694 w 232473"/>
                <a:gd name="connsiteY60" fmla="*/ 58466 h 130998"/>
                <a:gd name="connsiteX61" fmla="*/ 19505 w 232473"/>
                <a:gd name="connsiteY61" fmla="*/ 60172 h 130998"/>
                <a:gd name="connsiteX62" fmla="*/ 19201 w 232473"/>
                <a:gd name="connsiteY62" fmla="*/ 60206 h 130998"/>
                <a:gd name="connsiteX63" fmla="*/ 7289 w 232473"/>
                <a:gd name="connsiteY63" fmla="*/ 61421 h 130998"/>
                <a:gd name="connsiteX64" fmla="*/ 6532 w 232473"/>
                <a:gd name="connsiteY64" fmla="*/ 61315 h 130998"/>
                <a:gd name="connsiteX65" fmla="*/ 6392 w 232473"/>
                <a:gd name="connsiteY65" fmla="*/ 61290 h 130998"/>
                <a:gd name="connsiteX66" fmla="*/ 4739 w 232473"/>
                <a:gd name="connsiteY66" fmla="*/ 65379 h 130998"/>
                <a:gd name="connsiteX67" fmla="*/ 4199 w 232473"/>
                <a:gd name="connsiteY67" fmla="*/ 71158 h 130998"/>
                <a:gd name="connsiteX68" fmla="*/ 6952 w 232473"/>
                <a:gd name="connsiteY68" fmla="*/ 76635 h 130998"/>
                <a:gd name="connsiteX69" fmla="*/ 7019 w 232473"/>
                <a:gd name="connsiteY69" fmla="*/ 76823 h 130998"/>
                <a:gd name="connsiteX70" fmla="*/ 9410 w 232473"/>
                <a:gd name="connsiteY70" fmla="*/ 83369 h 130998"/>
                <a:gd name="connsiteX71" fmla="*/ 9478 w 232473"/>
                <a:gd name="connsiteY71" fmla="*/ 84372 h 130998"/>
                <a:gd name="connsiteX72" fmla="*/ 8321 w 232473"/>
                <a:gd name="connsiteY72" fmla="*/ 90306 h 130998"/>
                <a:gd name="connsiteX73" fmla="*/ 0 w 232473"/>
                <a:gd name="connsiteY73" fmla="*/ 114289 h 130998"/>
                <a:gd name="connsiteX74" fmla="*/ 5342 w 232473"/>
                <a:gd name="connsiteY74" fmla="*/ 104185 h 130998"/>
                <a:gd name="connsiteX75" fmla="*/ 10104 w 232473"/>
                <a:gd name="connsiteY75" fmla="*/ 91097 h 130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32473" h="130998">
                  <a:moveTo>
                    <a:pt x="10104" y="91097"/>
                  </a:moveTo>
                  <a:lnTo>
                    <a:pt x="11305" y="90514"/>
                  </a:lnTo>
                  <a:lnTo>
                    <a:pt x="16660" y="96448"/>
                  </a:lnTo>
                  <a:lnTo>
                    <a:pt x="28558" y="92302"/>
                  </a:lnTo>
                  <a:lnTo>
                    <a:pt x="40456" y="91097"/>
                  </a:lnTo>
                  <a:lnTo>
                    <a:pt x="30351" y="103597"/>
                  </a:lnTo>
                  <a:lnTo>
                    <a:pt x="24393" y="106576"/>
                  </a:lnTo>
                  <a:lnTo>
                    <a:pt x="17851" y="111951"/>
                  </a:lnTo>
                  <a:lnTo>
                    <a:pt x="14284" y="109575"/>
                  </a:lnTo>
                  <a:lnTo>
                    <a:pt x="9502" y="122094"/>
                  </a:lnTo>
                  <a:lnTo>
                    <a:pt x="3577" y="125078"/>
                  </a:lnTo>
                  <a:lnTo>
                    <a:pt x="1413" y="129354"/>
                  </a:lnTo>
                  <a:cubicBezTo>
                    <a:pt x="1972" y="129557"/>
                    <a:pt x="2507" y="129831"/>
                    <a:pt x="2979" y="130193"/>
                  </a:cubicBezTo>
                  <a:cubicBezTo>
                    <a:pt x="5033" y="131736"/>
                    <a:pt x="18126" y="130709"/>
                    <a:pt x="20030" y="130024"/>
                  </a:cubicBezTo>
                  <a:cubicBezTo>
                    <a:pt x="21915" y="129330"/>
                    <a:pt x="27271" y="129330"/>
                    <a:pt x="27271" y="129330"/>
                  </a:cubicBezTo>
                  <a:cubicBezTo>
                    <a:pt x="27271" y="129330"/>
                    <a:pt x="73916" y="131239"/>
                    <a:pt x="85302" y="128308"/>
                  </a:cubicBezTo>
                  <a:cubicBezTo>
                    <a:pt x="96650" y="125387"/>
                    <a:pt x="102339" y="125902"/>
                    <a:pt x="109059" y="126934"/>
                  </a:cubicBezTo>
                  <a:cubicBezTo>
                    <a:pt x="115716" y="127937"/>
                    <a:pt x="217829" y="112747"/>
                    <a:pt x="232474" y="101544"/>
                  </a:cubicBezTo>
                  <a:cubicBezTo>
                    <a:pt x="218272" y="88373"/>
                    <a:pt x="219236" y="72017"/>
                    <a:pt x="221164" y="66497"/>
                  </a:cubicBezTo>
                  <a:cubicBezTo>
                    <a:pt x="217723" y="58046"/>
                    <a:pt x="223189" y="50974"/>
                    <a:pt x="225961" y="47696"/>
                  </a:cubicBezTo>
                  <a:cubicBezTo>
                    <a:pt x="228714" y="44452"/>
                    <a:pt x="224929" y="34984"/>
                    <a:pt x="223401" y="32540"/>
                  </a:cubicBezTo>
                  <a:cubicBezTo>
                    <a:pt x="221835" y="30154"/>
                    <a:pt x="220466" y="26008"/>
                    <a:pt x="214435" y="25844"/>
                  </a:cubicBezTo>
                  <a:cubicBezTo>
                    <a:pt x="208394" y="25656"/>
                    <a:pt x="202393" y="19447"/>
                    <a:pt x="200648" y="14110"/>
                  </a:cubicBezTo>
                  <a:cubicBezTo>
                    <a:pt x="198941" y="8788"/>
                    <a:pt x="190302" y="16863"/>
                    <a:pt x="190302" y="16863"/>
                  </a:cubicBezTo>
                  <a:cubicBezTo>
                    <a:pt x="190302" y="16863"/>
                    <a:pt x="186354" y="17933"/>
                    <a:pt x="181365" y="16694"/>
                  </a:cubicBezTo>
                  <a:cubicBezTo>
                    <a:pt x="176356" y="15518"/>
                    <a:pt x="172413" y="18073"/>
                    <a:pt x="168792" y="20994"/>
                  </a:cubicBezTo>
                  <a:cubicBezTo>
                    <a:pt x="165191" y="23959"/>
                    <a:pt x="159850" y="24653"/>
                    <a:pt x="159850" y="24653"/>
                  </a:cubicBezTo>
                  <a:lnTo>
                    <a:pt x="152807" y="18270"/>
                  </a:lnTo>
                  <a:cubicBezTo>
                    <a:pt x="152807" y="18270"/>
                    <a:pt x="150194" y="18945"/>
                    <a:pt x="146390" y="19119"/>
                  </a:cubicBezTo>
                  <a:cubicBezTo>
                    <a:pt x="143816" y="16863"/>
                    <a:pt x="138668" y="17075"/>
                    <a:pt x="133664" y="15518"/>
                  </a:cubicBezTo>
                  <a:cubicBezTo>
                    <a:pt x="129181" y="10345"/>
                    <a:pt x="121458" y="9294"/>
                    <a:pt x="121458" y="9294"/>
                  </a:cubicBezTo>
                  <a:lnTo>
                    <a:pt x="116280" y="10017"/>
                  </a:lnTo>
                  <a:cubicBezTo>
                    <a:pt x="116280" y="10017"/>
                    <a:pt x="107671" y="6050"/>
                    <a:pt x="102691" y="0"/>
                  </a:cubicBezTo>
                  <a:cubicBezTo>
                    <a:pt x="101876" y="2324"/>
                    <a:pt x="100333" y="4001"/>
                    <a:pt x="98357" y="5148"/>
                  </a:cubicBezTo>
                  <a:lnTo>
                    <a:pt x="98232" y="5987"/>
                  </a:lnTo>
                  <a:lnTo>
                    <a:pt x="99345" y="11642"/>
                  </a:lnTo>
                  <a:cubicBezTo>
                    <a:pt x="99500" y="12471"/>
                    <a:pt x="99099" y="13305"/>
                    <a:pt x="98333" y="13652"/>
                  </a:cubicBezTo>
                  <a:lnTo>
                    <a:pt x="93358" y="15928"/>
                  </a:lnTo>
                  <a:cubicBezTo>
                    <a:pt x="96458" y="22662"/>
                    <a:pt x="97856" y="31426"/>
                    <a:pt x="100454" y="38691"/>
                  </a:cubicBezTo>
                  <a:lnTo>
                    <a:pt x="103366" y="44481"/>
                  </a:lnTo>
                  <a:lnTo>
                    <a:pt x="102980" y="46674"/>
                  </a:lnTo>
                  <a:lnTo>
                    <a:pt x="96414" y="52613"/>
                  </a:lnTo>
                  <a:lnTo>
                    <a:pt x="95807" y="52965"/>
                  </a:lnTo>
                  <a:lnTo>
                    <a:pt x="89308" y="55342"/>
                  </a:lnTo>
                  <a:lnTo>
                    <a:pt x="83379" y="57728"/>
                  </a:lnTo>
                  <a:lnTo>
                    <a:pt x="82690" y="57829"/>
                  </a:lnTo>
                  <a:lnTo>
                    <a:pt x="76731" y="57829"/>
                  </a:lnTo>
                  <a:lnTo>
                    <a:pt x="76254" y="57800"/>
                  </a:lnTo>
                  <a:lnTo>
                    <a:pt x="69736" y="55983"/>
                  </a:lnTo>
                  <a:lnTo>
                    <a:pt x="69674" y="55983"/>
                  </a:lnTo>
                  <a:lnTo>
                    <a:pt x="64164" y="54344"/>
                  </a:lnTo>
                  <a:lnTo>
                    <a:pt x="58649" y="55428"/>
                  </a:lnTo>
                  <a:lnTo>
                    <a:pt x="58475" y="55467"/>
                  </a:lnTo>
                  <a:lnTo>
                    <a:pt x="52512" y="56031"/>
                  </a:lnTo>
                  <a:cubicBezTo>
                    <a:pt x="51774" y="56132"/>
                    <a:pt x="51046" y="55752"/>
                    <a:pt x="50709" y="55043"/>
                  </a:cubicBezTo>
                  <a:lnTo>
                    <a:pt x="48087" y="49832"/>
                  </a:lnTo>
                  <a:cubicBezTo>
                    <a:pt x="45604" y="52348"/>
                    <a:pt x="42716" y="54845"/>
                    <a:pt x="39202" y="57468"/>
                  </a:cubicBezTo>
                  <a:lnTo>
                    <a:pt x="38383" y="57805"/>
                  </a:lnTo>
                  <a:lnTo>
                    <a:pt x="31822" y="59005"/>
                  </a:lnTo>
                  <a:lnTo>
                    <a:pt x="31330" y="59044"/>
                  </a:lnTo>
                  <a:lnTo>
                    <a:pt x="25694" y="58466"/>
                  </a:lnTo>
                  <a:lnTo>
                    <a:pt x="19505" y="60172"/>
                  </a:lnTo>
                  <a:lnTo>
                    <a:pt x="19201" y="60206"/>
                  </a:lnTo>
                  <a:lnTo>
                    <a:pt x="7289" y="61421"/>
                  </a:lnTo>
                  <a:lnTo>
                    <a:pt x="6532" y="61315"/>
                  </a:lnTo>
                  <a:lnTo>
                    <a:pt x="6392" y="61290"/>
                  </a:lnTo>
                  <a:lnTo>
                    <a:pt x="4739" y="65379"/>
                  </a:lnTo>
                  <a:lnTo>
                    <a:pt x="4199" y="71158"/>
                  </a:lnTo>
                  <a:lnTo>
                    <a:pt x="6952" y="76635"/>
                  </a:lnTo>
                  <a:lnTo>
                    <a:pt x="7019" y="76823"/>
                  </a:lnTo>
                  <a:lnTo>
                    <a:pt x="9410" y="83369"/>
                  </a:lnTo>
                  <a:lnTo>
                    <a:pt x="9478" y="84372"/>
                  </a:lnTo>
                  <a:lnTo>
                    <a:pt x="8321" y="90306"/>
                  </a:lnTo>
                  <a:cubicBezTo>
                    <a:pt x="2353" y="106644"/>
                    <a:pt x="7627" y="99355"/>
                    <a:pt x="0" y="114289"/>
                  </a:cubicBezTo>
                  <a:lnTo>
                    <a:pt x="5342" y="104185"/>
                  </a:lnTo>
                  <a:lnTo>
                    <a:pt x="10104" y="9109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48" name="Freihandform: Form 647">
              <a:extLst>
                <a:ext uri="{FF2B5EF4-FFF2-40B4-BE49-F238E27FC236}">
                  <a16:creationId xmlns:a16="http://schemas.microsoft.com/office/drawing/2014/main" id="{414A9B2B-8BB4-DE44-E44B-E46CB3F005D2}"/>
                </a:ext>
              </a:extLst>
            </p:cNvPr>
            <p:cNvSpPr/>
            <p:nvPr/>
          </p:nvSpPr>
          <p:spPr>
            <a:xfrm>
              <a:off x="6324611" y="3467094"/>
              <a:ext cx="11112" cy="12700"/>
            </a:xfrm>
            <a:custGeom>
              <a:avLst/>
              <a:gdLst>
                <a:gd name="connsiteX0" fmla="*/ 5631 w 8764"/>
                <a:gd name="connsiteY0" fmla="*/ 5886 h 11140"/>
                <a:gd name="connsiteX1" fmla="*/ 8764 w 8764"/>
                <a:gd name="connsiteY1" fmla="*/ 0 h 11140"/>
                <a:gd name="connsiteX2" fmla="*/ 4734 w 8764"/>
                <a:gd name="connsiteY2" fmla="*/ 5742 h 11140"/>
                <a:gd name="connsiteX3" fmla="*/ 4585 w 8764"/>
                <a:gd name="connsiteY3" fmla="*/ 5934 h 11140"/>
                <a:gd name="connsiteX4" fmla="*/ 0 w 8764"/>
                <a:gd name="connsiteY4" fmla="*/ 11020 h 11140"/>
                <a:gd name="connsiteX5" fmla="*/ 376 w 8764"/>
                <a:gd name="connsiteY5" fmla="*/ 11141 h 11140"/>
                <a:gd name="connsiteX6" fmla="*/ 5631 w 8764"/>
                <a:gd name="connsiteY6" fmla="*/ 5886 h 11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64" h="11140">
                  <a:moveTo>
                    <a:pt x="5631" y="5886"/>
                  </a:moveTo>
                  <a:lnTo>
                    <a:pt x="8764" y="0"/>
                  </a:lnTo>
                  <a:lnTo>
                    <a:pt x="4734" y="5742"/>
                  </a:lnTo>
                  <a:lnTo>
                    <a:pt x="4585" y="5934"/>
                  </a:lnTo>
                  <a:lnTo>
                    <a:pt x="0" y="11020"/>
                  </a:lnTo>
                  <a:cubicBezTo>
                    <a:pt x="121" y="11064"/>
                    <a:pt x="246" y="11102"/>
                    <a:pt x="376" y="11141"/>
                  </a:cubicBezTo>
                  <a:lnTo>
                    <a:pt x="5631" y="588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49" name="Freihandform: Form 648">
              <a:extLst>
                <a:ext uri="{FF2B5EF4-FFF2-40B4-BE49-F238E27FC236}">
                  <a16:creationId xmlns:a16="http://schemas.microsoft.com/office/drawing/2014/main" id="{2ECDCBB1-92F6-09C0-75F5-0E59DF965DFE}"/>
                </a:ext>
              </a:extLst>
            </p:cNvPr>
            <p:cNvSpPr/>
            <p:nvPr/>
          </p:nvSpPr>
          <p:spPr>
            <a:xfrm>
              <a:off x="6310325" y="3482969"/>
              <a:ext cx="12699" cy="11113"/>
            </a:xfrm>
            <a:custGeom>
              <a:avLst/>
              <a:gdLst>
                <a:gd name="connsiteX0" fmla="*/ 5462 w 9082"/>
                <a:gd name="connsiteY0" fmla="*/ 4980 h 9077"/>
                <a:gd name="connsiteX1" fmla="*/ 9082 w 9082"/>
                <a:gd name="connsiteY1" fmla="*/ 0 h 9077"/>
                <a:gd name="connsiteX2" fmla="*/ 0 w 9082"/>
                <a:gd name="connsiteY2" fmla="*/ 9077 h 9077"/>
                <a:gd name="connsiteX3" fmla="*/ 5062 w 9082"/>
                <a:gd name="connsiteY3" fmla="*/ 5399 h 9077"/>
              </a:gdLst>
              <a:ahLst/>
              <a:cxnLst>
                <a:cxn ang="0">
                  <a:pos x="connsiteX0" y="connsiteY0"/>
                </a:cxn>
                <a:cxn ang="0">
                  <a:pos x="connsiteX1" y="connsiteY1"/>
                </a:cxn>
                <a:cxn ang="0">
                  <a:pos x="connsiteX2" y="connsiteY2"/>
                </a:cxn>
                <a:cxn ang="0">
                  <a:pos x="connsiteX3" y="connsiteY3"/>
                </a:cxn>
              </a:cxnLst>
              <a:rect l="l" t="t" r="r" b="b"/>
              <a:pathLst>
                <a:path w="9082" h="9077">
                  <a:moveTo>
                    <a:pt x="5462" y="4980"/>
                  </a:moveTo>
                  <a:lnTo>
                    <a:pt x="9082" y="0"/>
                  </a:lnTo>
                  <a:lnTo>
                    <a:pt x="0" y="9077"/>
                  </a:lnTo>
                  <a:lnTo>
                    <a:pt x="5062" y="539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50" name="Freihandform: Form 649">
              <a:extLst>
                <a:ext uri="{FF2B5EF4-FFF2-40B4-BE49-F238E27FC236}">
                  <a16:creationId xmlns:a16="http://schemas.microsoft.com/office/drawing/2014/main" id="{6B9437BE-3CFD-FEDC-9492-B19575C983B7}"/>
                </a:ext>
              </a:extLst>
            </p:cNvPr>
            <p:cNvSpPr/>
            <p:nvPr/>
          </p:nvSpPr>
          <p:spPr>
            <a:xfrm>
              <a:off x="6153180" y="4292625"/>
              <a:ext cx="619055" cy="344501"/>
            </a:xfrm>
            <a:custGeom>
              <a:avLst/>
              <a:gdLst>
                <a:gd name="connsiteX0" fmla="*/ 485084 w 485083"/>
                <a:gd name="connsiteY0" fmla="*/ 44442 h 270148"/>
                <a:gd name="connsiteX1" fmla="*/ 484626 w 485083"/>
                <a:gd name="connsiteY1" fmla="*/ 33533 h 270148"/>
                <a:gd name="connsiteX2" fmla="*/ 466611 w 485083"/>
                <a:gd name="connsiteY2" fmla="*/ 29180 h 270148"/>
                <a:gd name="connsiteX3" fmla="*/ 459134 w 485083"/>
                <a:gd name="connsiteY3" fmla="*/ 29985 h 270148"/>
                <a:gd name="connsiteX4" fmla="*/ 452149 w 485083"/>
                <a:gd name="connsiteY4" fmla="*/ 25849 h 270148"/>
                <a:gd name="connsiteX5" fmla="*/ 433951 w 485083"/>
                <a:gd name="connsiteY5" fmla="*/ 17330 h 270148"/>
                <a:gd name="connsiteX6" fmla="*/ 409278 w 485083"/>
                <a:gd name="connsiteY6" fmla="*/ 6349 h 270148"/>
                <a:gd name="connsiteX7" fmla="*/ 403334 w 485083"/>
                <a:gd name="connsiteY7" fmla="*/ 2998 h 270148"/>
                <a:gd name="connsiteX8" fmla="*/ 401922 w 485083"/>
                <a:gd name="connsiteY8" fmla="*/ 3240 h 270148"/>
                <a:gd name="connsiteX9" fmla="*/ 395592 w 485083"/>
                <a:gd name="connsiteY9" fmla="*/ 0 h 270148"/>
                <a:gd name="connsiteX10" fmla="*/ 384230 w 485083"/>
                <a:gd name="connsiteY10" fmla="*/ 5558 h 270148"/>
                <a:gd name="connsiteX11" fmla="*/ 363973 w 485083"/>
                <a:gd name="connsiteY11" fmla="*/ 4917 h 270148"/>
                <a:gd name="connsiteX12" fmla="*/ 359958 w 485083"/>
                <a:gd name="connsiteY12" fmla="*/ 10480 h 270148"/>
                <a:gd name="connsiteX13" fmla="*/ 354385 w 485083"/>
                <a:gd name="connsiteY13" fmla="*/ 7506 h 270148"/>
                <a:gd name="connsiteX14" fmla="*/ 348966 w 485083"/>
                <a:gd name="connsiteY14" fmla="*/ 11763 h 270148"/>
                <a:gd name="connsiteX15" fmla="*/ 351425 w 485083"/>
                <a:gd name="connsiteY15" fmla="*/ 17562 h 270148"/>
                <a:gd name="connsiteX16" fmla="*/ 339686 w 485083"/>
                <a:gd name="connsiteY16" fmla="*/ 28779 h 270148"/>
                <a:gd name="connsiteX17" fmla="*/ 336833 w 485083"/>
                <a:gd name="connsiteY17" fmla="*/ 27121 h 270148"/>
                <a:gd name="connsiteX18" fmla="*/ 333352 w 485083"/>
                <a:gd name="connsiteY18" fmla="*/ 25410 h 270148"/>
                <a:gd name="connsiteX19" fmla="*/ 318605 w 485083"/>
                <a:gd name="connsiteY19" fmla="*/ 16395 h 270148"/>
                <a:gd name="connsiteX20" fmla="*/ 296676 w 485083"/>
                <a:gd name="connsiteY20" fmla="*/ 19649 h 270148"/>
                <a:gd name="connsiteX21" fmla="*/ 292771 w 485083"/>
                <a:gd name="connsiteY21" fmla="*/ 24055 h 270148"/>
                <a:gd name="connsiteX22" fmla="*/ 286461 w 485083"/>
                <a:gd name="connsiteY22" fmla="*/ 22103 h 270148"/>
                <a:gd name="connsiteX23" fmla="*/ 283747 w 485083"/>
                <a:gd name="connsiteY23" fmla="*/ 30346 h 270148"/>
                <a:gd name="connsiteX24" fmla="*/ 277808 w 485083"/>
                <a:gd name="connsiteY24" fmla="*/ 31937 h 270148"/>
                <a:gd name="connsiteX25" fmla="*/ 271092 w 485083"/>
                <a:gd name="connsiteY25" fmla="*/ 37312 h 270148"/>
                <a:gd name="connsiteX26" fmla="*/ 271203 w 485083"/>
                <a:gd name="connsiteY26" fmla="*/ 42890 h 270148"/>
                <a:gd name="connsiteX27" fmla="*/ 267737 w 485083"/>
                <a:gd name="connsiteY27" fmla="*/ 54889 h 270148"/>
                <a:gd name="connsiteX28" fmla="*/ 261403 w 485083"/>
                <a:gd name="connsiteY28" fmla="*/ 50622 h 270148"/>
                <a:gd name="connsiteX29" fmla="*/ 254577 w 485083"/>
                <a:gd name="connsiteY29" fmla="*/ 51524 h 270148"/>
                <a:gd name="connsiteX30" fmla="*/ 248753 w 485083"/>
                <a:gd name="connsiteY30" fmla="*/ 55404 h 270148"/>
                <a:gd name="connsiteX31" fmla="*/ 243456 w 485083"/>
                <a:gd name="connsiteY31" fmla="*/ 52955 h 270148"/>
                <a:gd name="connsiteX32" fmla="*/ 244106 w 485083"/>
                <a:gd name="connsiteY32" fmla="*/ 45734 h 270148"/>
                <a:gd name="connsiteX33" fmla="*/ 238148 w 485083"/>
                <a:gd name="connsiteY33" fmla="*/ 31604 h 270148"/>
                <a:gd name="connsiteX34" fmla="*/ 228747 w 485083"/>
                <a:gd name="connsiteY34" fmla="*/ 28779 h 270148"/>
                <a:gd name="connsiteX35" fmla="*/ 225503 w 485083"/>
                <a:gd name="connsiteY35" fmla="*/ 24668 h 270148"/>
                <a:gd name="connsiteX36" fmla="*/ 218528 w 485083"/>
                <a:gd name="connsiteY36" fmla="*/ 21052 h 270148"/>
                <a:gd name="connsiteX37" fmla="*/ 207802 w 485083"/>
                <a:gd name="connsiteY37" fmla="*/ 5915 h 270148"/>
                <a:gd name="connsiteX38" fmla="*/ 198763 w 485083"/>
                <a:gd name="connsiteY38" fmla="*/ 17697 h 270148"/>
                <a:gd name="connsiteX39" fmla="*/ 192448 w 485083"/>
                <a:gd name="connsiteY39" fmla="*/ 19384 h 270148"/>
                <a:gd name="connsiteX40" fmla="*/ 188437 w 485083"/>
                <a:gd name="connsiteY40" fmla="*/ 31633 h 270148"/>
                <a:gd name="connsiteX41" fmla="*/ 183534 w 485083"/>
                <a:gd name="connsiteY41" fmla="*/ 37307 h 270148"/>
                <a:gd name="connsiteX42" fmla="*/ 177446 w 485083"/>
                <a:gd name="connsiteY42" fmla="*/ 36011 h 270148"/>
                <a:gd name="connsiteX43" fmla="*/ 171256 w 485083"/>
                <a:gd name="connsiteY43" fmla="*/ 39366 h 270148"/>
                <a:gd name="connsiteX44" fmla="*/ 170099 w 485083"/>
                <a:gd name="connsiteY44" fmla="*/ 36290 h 270148"/>
                <a:gd name="connsiteX45" fmla="*/ 168816 w 485083"/>
                <a:gd name="connsiteY45" fmla="*/ 28939 h 270148"/>
                <a:gd name="connsiteX46" fmla="*/ 168542 w 485083"/>
                <a:gd name="connsiteY46" fmla="*/ 25405 h 270148"/>
                <a:gd name="connsiteX47" fmla="*/ 157584 w 485083"/>
                <a:gd name="connsiteY47" fmla="*/ 24918 h 270148"/>
                <a:gd name="connsiteX48" fmla="*/ 158167 w 485083"/>
                <a:gd name="connsiteY48" fmla="*/ 27309 h 270148"/>
                <a:gd name="connsiteX49" fmla="*/ 157584 w 485083"/>
                <a:gd name="connsiteY49" fmla="*/ 24918 h 270148"/>
                <a:gd name="connsiteX50" fmla="*/ 157304 w 485083"/>
                <a:gd name="connsiteY50" fmla="*/ 24918 h 270148"/>
                <a:gd name="connsiteX51" fmla="*/ 150483 w 485083"/>
                <a:gd name="connsiteY51" fmla="*/ 28659 h 270148"/>
                <a:gd name="connsiteX52" fmla="*/ 138451 w 485083"/>
                <a:gd name="connsiteY52" fmla="*/ 30216 h 270148"/>
                <a:gd name="connsiteX53" fmla="*/ 131996 w 485083"/>
                <a:gd name="connsiteY53" fmla="*/ 35225 h 270148"/>
                <a:gd name="connsiteX54" fmla="*/ 127209 w 485083"/>
                <a:gd name="connsiteY54" fmla="*/ 41328 h 270148"/>
                <a:gd name="connsiteX55" fmla="*/ 121014 w 485083"/>
                <a:gd name="connsiteY55" fmla="*/ 45440 h 270148"/>
                <a:gd name="connsiteX56" fmla="*/ 119476 w 485083"/>
                <a:gd name="connsiteY56" fmla="*/ 53331 h 270148"/>
                <a:gd name="connsiteX57" fmla="*/ 114829 w 485083"/>
                <a:gd name="connsiteY57" fmla="*/ 57207 h 270148"/>
                <a:gd name="connsiteX58" fmla="*/ 103954 w 485083"/>
                <a:gd name="connsiteY58" fmla="*/ 63653 h 270148"/>
                <a:gd name="connsiteX59" fmla="*/ 101384 w 485083"/>
                <a:gd name="connsiteY59" fmla="*/ 88330 h 270148"/>
                <a:gd name="connsiteX60" fmla="*/ 95706 w 485083"/>
                <a:gd name="connsiteY60" fmla="*/ 98000 h 270148"/>
                <a:gd name="connsiteX61" fmla="*/ 91054 w 485083"/>
                <a:gd name="connsiteY61" fmla="*/ 97899 h 270148"/>
                <a:gd name="connsiteX62" fmla="*/ 84854 w 485083"/>
                <a:gd name="connsiteY62" fmla="*/ 104103 h 270148"/>
                <a:gd name="connsiteX63" fmla="*/ 81229 w 485083"/>
                <a:gd name="connsiteY63" fmla="*/ 113672 h 270148"/>
                <a:gd name="connsiteX64" fmla="*/ 75025 w 485083"/>
                <a:gd name="connsiteY64" fmla="*/ 117153 h 270148"/>
                <a:gd name="connsiteX65" fmla="*/ 71544 w 485083"/>
                <a:gd name="connsiteY65" fmla="*/ 121414 h 270148"/>
                <a:gd name="connsiteX66" fmla="*/ 66632 w 485083"/>
                <a:gd name="connsiteY66" fmla="*/ 125001 h 270148"/>
                <a:gd name="connsiteX67" fmla="*/ 54503 w 485083"/>
                <a:gd name="connsiteY67" fmla="*/ 130829 h 270148"/>
                <a:gd name="connsiteX68" fmla="*/ 46626 w 485083"/>
                <a:gd name="connsiteY68" fmla="*/ 128356 h 270148"/>
                <a:gd name="connsiteX69" fmla="*/ 40537 w 485083"/>
                <a:gd name="connsiteY69" fmla="*/ 131215 h 270148"/>
                <a:gd name="connsiteX70" fmla="*/ 28018 w 485083"/>
                <a:gd name="connsiteY70" fmla="*/ 126196 h 270148"/>
                <a:gd name="connsiteX71" fmla="*/ 22879 w 485083"/>
                <a:gd name="connsiteY71" fmla="*/ 127334 h 270148"/>
                <a:gd name="connsiteX72" fmla="*/ 18724 w 485083"/>
                <a:gd name="connsiteY72" fmla="*/ 131986 h 270148"/>
                <a:gd name="connsiteX73" fmla="*/ 16540 w 485083"/>
                <a:gd name="connsiteY73" fmla="*/ 138075 h 270148"/>
                <a:gd name="connsiteX74" fmla="*/ 11093 w 485083"/>
                <a:gd name="connsiteY74" fmla="*/ 143879 h 270148"/>
                <a:gd name="connsiteX75" fmla="*/ 5823 w 485083"/>
                <a:gd name="connsiteY75" fmla="*/ 162583 h 270148"/>
                <a:gd name="connsiteX76" fmla="*/ 5848 w 485083"/>
                <a:gd name="connsiteY76" fmla="*/ 162911 h 270148"/>
                <a:gd name="connsiteX77" fmla="*/ 10201 w 485083"/>
                <a:gd name="connsiteY77" fmla="*/ 163644 h 270148"/>
                <a:gd name="connsiteX78" fmla="*/ 5848 w 485083"/>
                <a:gd name="connsiteY78" fmla="*/ 162911 h 270148"/>
                <a:gd name="connsiteX79" fmla="*/ 0 w 485083"/>
                <a:gd name="connsiteY79" fmla="*/ 186335 h 270148"/>
                <a:gd name="connsiteX80" fmla="*/ 1552 w 485083"/>
                <a:gd name="connsiteY80" fmla="*/ 198767 h 270148"/>
                <a:gd name="connsiteX81" fmla="*/ 10201 w 485083"/>
                <a:gd name="connsiteY81" fmla="*/ 207917 h 270148"/>
                <a:gd name="connsiteX82" fmla="*/ 13570 w 485083"/>
                <a:gd name="connsiteY82" fmla="*/ 219029 h 270148"/>
                <a:gd name="connsiteX83" fmla="*/ 22354 w 485083"/>
                <a:gd name="connsiteY83" fmla="*/ 225353 h 270148"/>
                <a:gd name="connsiteX84" fmla="*/ 31957 w 485083"/>
                <a:gd name="connsiteY84" fmla="*/ 241484 h 270148"/>
                <a:gd name="connsiteX85" fmla="*/ 35128 w 485083"/>
                <a:gd name="connsiteY85" fmla="*/ 239285 h 270148"/>
                <a:gd name="connsiteX86" fmla="*/ 41998 w 485083"/>
                <a:gd name="connsiteY86" fmla="*/ 239517 h 270148"/>
                <a:gd name="connsiteX87" fmla="*/ 41612 w 485083"/>
                <a:gd name="connsiteY87" fmla="*/ 238760 h 270148"/>
                <a:gd name="connsiteX88" fmla="*/ 40407 w 485083"/>
                <a:gd name="connsiteY88" fmla="*/ 237516 h 270148"/>
                <a:gd name="connsiteX89" fmla="*/ 38609 w 485083"/>
                <a:gd name="connsiteY89" fmla="*/ 238153 h 270148"/>
                <a:gd name="connsiteX90" fmla="*/ 32675 w 485083"/>
                <a:gd name="connsiteY90" fmla="*/ 235737 h 270148"/>
                <a:gd name="connsiteX91" fmla="*/ 26731 w 485083"/>
                <a:gd name="connsiteY91" fmla="*/ 229176 h 270148"/>
                <a:gd name="connsiteX92" fmla="*/ 26731 w 485083"/>
                <a:gd name="connsiteY92" fmla="*/ 225031 h 270148"/>
                <a:gd name="connsiteX93" fmla="*/ 32072 w 485083"/>
                <a:gd name="connsiteY93" fmla="*/ 232146 h 270148"/>
                <a:gd name="connsiteX94" fmla="*/ 35075 w 485083"/>
                <a:gd name="connsiteY94" fmla="*/ 234547 h 270148"/>
                <a:gd name="connsiteX95" fmla="*/ 49350 w 485083"/>
                <a:gd name="connsiteY95" fmla="*/ 241127 h 270148"/>
                <a:gd name="connsiteX96" fmla="*/ 45778 w 485083"/>
                <a:gd name="connsiteY96" fmla="*/ 241127 h 270148"/>
                <a:gd name="connsiteX97" fmla="*/ 44322 w 485083"/>
                <a:gd name="connsiteY97" fmla="*/ 241127 h 270148"/>
                <a:gd name="connsiteX98" fmla="*/ 51148 w 485083"/>
                <a:gd name="connsiteY98" fmla="*/ 243426 h 270148"/>
                <a:gd name="connsiteX99" fmla="*/ 58114 w 485083"/>
                <a:gd name="connsiteY99" fmla="*/ 251062 h 270148"/>
                <a:gd name="connsiteX100" fmla="*/ 69230 w 485083"/>
                <a:gd name="connsiteY100" fmla="*/ 258284 h 270148"/>
                <a:gd name="connsiteX101" fmla="*/ 72460 w 485083"/>
                <a:gd name="connsiteY101" fmla="*/ 261894 h 270148"/>
                <a:gd name="connsiteX102" fmla="*/ 78785 w 485083"/>
                <a:gd name="connsiteY102" fmla="*/ 263201 h 270148"/>
                <a:gd name="connsiteX103" fmla="*/ 93372 w 485083"/>
                <a:gd name="connsiteY103" fmla="*/ 269897 h 270148"/>
                <a:gd name="connsiteX104" fmla="*/ 102435 w 485083"/>
                <a:gd name="connsiteY104" fmla="*/ 269396 h 270148"/>
                <a:gd name="connsiteX105" fmla="*/ 124876 w 485083"/>
                <a:gd name="connsiteY105" fmla="*/ 266146 h 270148"/>
                <a:gd name="connsiteX106" fmla="*/ 144660 w 485083"/>
                <a:gd name="connsiteY106" fmla="*/ 263582 h 270148"/>
                <a:gd name="connsiteX107" fmla="*/ 153559 w 485083"/>
                <a:gd name="connsiteY107" fmla="*/ 262025 h 270148"/>
                <a:gd name="connsiteX108" fmla="*/ 158336 w 485083"/>
                <a:gd name="connsiteY108" fmla="*/ 260501 h 270148"/>
                <a:gd name="connsiteX109" fmla="*/ 164415 w 485083"/>
                <a:gd name="connsiteY109" fmla="*/ 259590 h 270148"/>
                <a:gd name="connsiteX110" fmla="*/ 168932 w 485083"/>
                <a:gd name="connsiteY110" fmla="*/ 259330 h 270148"/>
                <a:gd name="connsiteX111" fmla="*/ 173984 w 485083"/>
                <a:gd name="connsiteY111" fmla="*/ 256115 h 270148"/>
                <a:gd name="connsiteX112" fmla="*/ 176534 w 485083"/>
                <a:gd name="connsiteY112" fmla="*/ 251443 h 270148"/>
                <a:gd name="connsiteX113" fmla="*/ 184421 w 485083"/>
                <a:gd name="connsiteY113" fmla="*/ 247471 h 270148"/>
                <a:gd name="connsiteX114" fmla="*/ 176534 w 485083"/>
                <a:gd name="connsiteY114" fmla="*/ 232725 h 270148"/>
                <a:gd name="connsiteX115" fmla="*/ 179268 w 485083"/>
                <a:gd name="connsiteY115" fmla="*/ 224066 h 270148"/>
                <a:gd name="connsiteX116" fmla="*/ 185848 w 485083"/>
                <a:gd name="connsiteY116" fmla="*/ 216965 h 270148"/>
                <a:gd name="connsiteX117" fmla="*/ 193349 w 485083"/>
                <a:gd name="connsiteY117" fmla="*/ 215543 h 270148"/>
                <a:gd name="connsiteX118" fmla="*/ 197331 w 485083"/>
                <a:gd name="connsiteY118" fmla="*/ 213736 h 270148"/>
                <a:gd name="connsiteX119" fmla="*/ 203535 w 485083"/>
                <a:gd name="connsiteY119" fmla="*/ 213615 h 270148"/>
                <a:gd name="connsiteX120" fmla="*/ 208703 w 485083"/>
                <a:gd name="connsiteY120" fmla="*/ 211672 h 270148"/>
                <a:gd name="connsiteX121" fmla="*/ 216835 w 485083"/>
                <a:gd name="connsiteY121" fmla="*/ 209595 h 270148"/>
                <a:gd name="connsiteX122" fmla="*/ 232059 w 485083"/>
                <a:gd name="connsiteY122" fmla="*/ 206746 h 270148"/>
                <a:gd name="connsiteX123" fmla="*/ 238683 w 485083"/>
                <a:gd name="connsiteY123" fmla="*/ 201197 h 270148"/>
                <a:gd name="connsiteX124" fmla="*/ 241498 w 485083"/>
                <a:gd name="connsiteY124" fmla="*/ 188543 h 270148"/>
                <a:gd name="connsiteX125" fmla="*/ 249269 w 485083"/>
                <a:gd name="connsiteY125" fmla="*/ 185197 h 270148"/>
                <a:gd name="connsiteX126" fmla="*/ 253271 w 485083"/>
                <a:gd name="connsiteY126" fmla="*/ 187786 h 270148"/>
                <a:gd name="connsiteX127" fmla="*/ 259195 w 485083"/>
                <a:gd name="connsiteY127" fmla="*/ 187270 h 270148"/>
                <a:gd name="connsiteX128" fmla="*/ 265910 w 485083"/>
                <a:gd name="connsiteY128" fmla="*/ 192568 h 270148"/>
                <a:gd name="connsiteX129" fmla="*/ 269796 w 485083"/>
                <a:gd name="connsiteY129" fmla="*/ 192211 h 270148"/>
                <a:gd name="connsiteX130" fmla="*/ 275214 w 485083"/>
                <a:gd name="connsiteY130" fmla="*/ 195128 h 270148"/>
                <a:gd name="connsiteX131" fmla="*/ 281558 w 485083"/>
                <a:gd name="connsiteY131" fmla="*/ 188682 h 270148"/>
                <a:gd name="connsiteX132" fmla="*/ 286312 w 485083"/>
                <a:gd name="connsiteY132" fmla="*/ 187270 h 270148"/>
                <a:gd name="connsiteX133" fmla="*/ 295987 w 485083"/>
                <a:gd name="connsiteY133" fmla="*/ 175777 h 270148"/>
                <a:gd name="connsiteX134" fmla="*/ 308540 w 485083"/>
                <a:gd name="connsiteY134" fmla="*/ 170248 h 270148"/>
                <a:gd name="connsiteX135" fmla="*/ 313698 w 485083"/>
                <a:gd name="connsiteY135" fmla="*/ 151091 h 270148"/>
                <a:gd name="connsiteX136" fmla="*/ 322221 w 485083"/>
                <a:gd name="connsiteY136" fmla="*/ 132526 h 270148"/>
                <a:gd name="connsiteX137" fmla="*/ 328676 w 485083"/>
                <a:gd name="connsiteY137" fmla="*/ 130834 h 270148"/>
                <a:gd name="connsiteX138" fmla="*/ 334769 w 485083"/>
                <a:gd name="connsiteY138" fmla="*/ 127464 h 270148"/>
                <a:gd name="connsiteX139" fmla="*/ 348060 w 485083"/>
                <a:gd name="connsiteY139" fmla="*/ 125006 h 270148"/>
                <a:gd name="connsiteX140" fmla="*/ 354370 w 485083"/>
                <a:gd name="connsiteY140" fmla="*/ 126577 h 270148"/>
                <a:gd name="connsiteX141" fmla="*/ 360059 w 485083"/>
                <a:gd name="connsiteY141" fmla="*/ 130419 h 270148"/>
                <a:gd name="connsiteX142" fmla="*/ 365477 w 485083"/>
                <a:gd name="connsiteY142" fmla="*/ 128510 h 270148"/>
                <a:gd name="connsiteX143" fmla="*/ 370785 w 485083"/>
                <a:gd name="connsiteY143" fmla="*/ 130945 h 270148"/>
                <a:gd name="connsiteX144" fmla="*/ 384374 w 485083"/>
                <a:gd name="connsiteY144" fmla="*/ 125671 h 270148"/>
                <a:gd name="connsiteX145" fmla="*/ 387315 w 485083"/>
                <a:gd name="connsiteY145" fmla="*/ 127859 h 270148"/>
                <a:gd name="connsiteX146" fmla="*/ 388496 w 485083"/>
                <a:gd name="connsiteY146" fmla="*/ 122089 h 270148"/>
                <a:gd name="connsiteX147" fmla="*/ 398277 w 485083"/>
                <a:gd name="connsiteY147" fmla="*/ 115711 h 270148"/>
                <a:gd name="connsiteX148" fmla="*/ 403595 w 485083"/>
                <a:gd name="connsiteY148" fmla="*/ 117649 h 270148"/>
                <a:gd name="connsiteX149" fmla="*/ 410580 w 485083"/>
                <a:gd name="connsiteY149" fmla="*/ 123208 h 270148"/>
                <a:gd name="connsiteX150" fmla="*/ 417011 w 485083"/>
                <a:gd name="connsiteY150" fmla="*/ 124360 h 270148"/>
                <a:gd name="connsiteX151" fmla="*/ 420366 w 485083"/>
                <a:gd name="connsiteY151" fmla="*/ 131875 h 270148"/>
                <a:gd name="connsiteX152" fmla="*/ 426584 w 485083"/>
                <a:gd name="connsiteY152" fmla="*/ 138827 h 270148"/>
                <a:gd name="connsiteX153" fmla="*/ 434847 w 485083"/>
                <a:gd name="connsiteY153" fmla="*/ 141039 h 270148"/>
                <a:gd name="connsiteX154" fmla="*/ 446431 w 485083"/>
                <a:gd name="connsiteY154" fmla="*/ 134584 h 270148"/>
                <a:gd name="connsiteX155" fmla="*/ 458348 w 485083"/>
                <a:gd name="connsiteY155" fmla="*/ 132521 h 270148"/>
                <a:gd name="connsiteX156" fmla="*/ 464924 w 485083"/>
                <a:gd name="connsiteY156" fmla="*/ 126298 h 270148"/>
                <a:gd name="connsiteX157" fmla="*/ 464842 w 485083"/>
                <a:gd name="connsiteY157" fmla="*/ 125955 h 270148"/>
                <a:gd name="connsiteX158" fmla="*/ 458083 w 485083"/>
                <a:gd name="connsiteY158" fmla="*/ 129036 h 270148"/>
                <a:gd name="connsiteX159" fmla="*/ 464842 w 485083"/>
                <a:gd name="connsiteY159" fmla="*/ 125955 h 270148"/>
                <a:gd name="connsiteX160" fmla="*/ 463776 w 485083"/>
                <a:gd name="connsiteY160" fmla="*/ 102300 h 270148"/>
                <a:gd name="connsiteX161" fmla="*/ 472675 w 485083"/>
                <a:gd name="connsiteY161" fmla="*/ 88865 h 270148"/>
                <a:gd name="connsiteX162" fmla="*/ 474083 w 485083"/>
                <a:gd name="connsiteY162" fmla="*/ 81643 h 270148"/>
                <a:gd name="connsiteX163" fmla="*/ 476045 w 485083"/>
                <a:gd name="connsiteY163" fmla="*/ 75574 h 270148"/>
                <a:gd name="connsiteX164" fmla="*/ 477086 w 485083"/>
                <a:gd name="connsiteY164" fmla="*/ 59020 h 270148"/>
                <a:gd name="connsiteX165" fmla="*/ 478479 w 485083"/>
                <a:gd name="connsiteY165" fmla="*/ 50627 h 270148"/>
                <a:gd name="connsiteX166" fmla="*/ 485084 w 485083"/>
                <a:gd name="connsiteY166" fmla="*/ 44442 h 27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Lst>
              <a:rect l="l" t="t" r="r" b="b"/>
              <a:pathLst>
                <a:path w="485083" h="270148">
                  <a:moveTo>
                    <a:pt x="485084" y="44442"/>
                  </a:moveTo>
                  <a:lnTo>
                    <a:pt x="484626" y="33533"/>
                  </a:lnTo>
                  <a:cubicBezTo>
                    <a:pt x="478933" y="34227"/>
                    <a:pt x="470039" y="34391"/>
                    <a:pt x="466611" y="29180"/>
                  </a:cubicBezTo>
                  <a:cubicBezTo>
                    <a:pt x="462094" y="30481"/>
                    <a:pt x="459134" y="29985"/>
                    <a:pt x="459134" y="29985"/>
                  </a:cubicBezTo>
                  <a:cubicBezTo>
                    <a:pt x="459134" y="29985"/>
                    <a:pt x="454091" y="25318"/>
                    <a:pt x="452149" y="25849"/>
                  </a:cubicBezTo>
                  <a:cubicBezTo>
                    <a:pt x="450225" y="26340"/>
                    <a:pt x="438603" y="26475"/>
                    <a:pt x="433951" y="17330"/>
                  </a:cubicBezTo>
                  <a:cubicBezTo>
                    <a:pt x="429303" y="8123"/>
                    <a:pt x="418944" y="3119"/>
                    <a:pt x="409278" y="6349"/>
                  </a:cubicBezTo>
                  <a:cubicBezTo>
                    <a:pt x="404757" y="3345"/>
                    <a:pt x="403334" y="2998"/>
                    <a:pt x="403334" y="2998"/>
                  </a:cubicBezTo>
                  <a:lnTo>
                    <a:pt x="401922" y="3240"/>
                  </a:lnTo>
                  <a:lnTo>
                    <a:pt x="395592" y="0"/>
                  </a:lnTo>
                  <a:lnTo>
                    <a:pt x="384230" y="5558"/>
                  </a:lnTo>
                  <a:cubicBezTo>
                    <a:pt x="384230" y="5558"/>
                    <a:pt x="366167" y="1817"/>
                    <a:pt x="363973" y="4917"/>
                  </a:cubicBezTo>
                  <a:cubicBezTo>
                    <a:pt x="361761" y="8031"/>
                    <a:pt x="359958" y="10480"/>
                    <a:pt x="359958" y="10480"/>
                  </a:cubicBezTo>
                  <a:lnTo>
                    <a:pt x="354385" y="7506"/>
                  </a:lnTo>
                  <a:lnTo>
                    <a:pt x="348966" y="11763"/>
                  </a:lnTo>
                  <a:lnTo>
                    <a:pt x="351425" y="17562"/>
                  </a:lnTo>
                  <a:lnTo>
                    <a:pt x="339686" y="28779"/>
                  </a:lnTo>
                  <a:cubicBezTo>
                    <a:pt x="339686" y="28779"/>
                    <a:pt x="337744" y="28779"/>
                    <a:pt x="336833" y="27121"/>
                  </a:cubicBezTo>
                  <a:cubicBezTo>
                    <a:pt x="335931" y="25410"/>
                    <a:pt x="335411" y="25410"/>
                    <a:pt x="333352" y="25410"/>
                  </a:cubicBezTo>
                  <a:cubicBezTo>
                    <a:pt x="331270" y="25410"/>
                    <a:pt x="322361" y="23510"/>
                    <a:pt x="318605" y="16395"/>
                  </a:cubicBezTo>
                  <a:cubicBezTo>
                    <a:pt x="313573" y="19765"/>
                    <a:pt x="303001" y="26596"/>
                    <a:pt x="296676" y="19649"/>
                  </a:cubicBezTo>
                  <a:cubicBezTo>
                    <a:pt x="293962" y="22865"/>
                    <a:pt x="292771" y="24055"/>
                    <a:pt x="292771" y="24055"/>
                  </a:cubicBezTo>
                  <a:lnTo>
                    <a:pt x="286461" y="22103"/>
                  </a:lnTo>
                  <a:lnTo>
                    <a:pt x="283747" y="30346"/>
                  </a:lnTo>
                  <a:lnTo>
                    <a:pt x="277808" y="31937"/>
                  </a:lnTo>
                  <a:lnTo>
                    <a:pt x="271092" y="37312"/>
                  </a:lnTo>
                  <a:lnTo>
                    <a:pt x="271203" y="42890"/>
                  </a:lnTo>
                  <a:lnTo>
                    <a:pt x="267737" y="54889"/>
                  </a:lnTo>
                  <a:cubicBezTo>
                    <a:pt x="267737" y="54889"/>
                    <a:pt x="263620" y="50998"/>
                    <a:pt x="261403" y="50622"/>
                  </a:cubicBezTo>
                  <a:cubicBezTo>
                    <a:pt x="259210" y="50232"/>
                    <a:pt x="256886" y="49065"/>
                    <a:pt x="254577" y="51524"/>
                  </a:cubicBezTo>
                  <a:cubicBezTo>
                    <a:pt x="252248" y="53977"/>
                    <a:pt x="250687" y="55265"/>
                    <a:pt x="248753" y="55404"/>
                  </a:cubicBezTo>
                  <a:cubicBezTo>
                    <a:pt x="246801" y="55539"/>
                    <a:pt x="243836" y="55539"/>
                    <a:pt x="243456" y="52955"/>
                  </a:cubicBezTo>
                  <a:cubicBezTo>
                    <a:pt x="243070" y="50396"/>
                    <a:pt x="242935" y="48814"/>
                    <a:pt x="244106" y="45734"/>
                  </a:cubicBezTo>
                  <a:cubicBezTo>
                    <a:pt x="245273" y="42629"/>
                    <a:pt x="242400" y="30876"/>
                    <a:pt x="238148" y="31604"/>
                  </a:cubicBezTo>
                  <a:cubicBezTo>
                    <a:pt x="233891" y="32274"/>
                    <a:pt x="229890" y="32159"/>
                    <a:pt x="228747" y="28779"/>
                  </a:cubicBezTo>
                  <a:cubicBezTo>
                    <a:pt x="227576" y="25410"/>
                    <a:pt x="228993" y="23510"/>
                    <a:pt x="225503" y="24668"/>
                  </a:cubicBezTo>
                  <a:cubicBezTo>
                    <a:pt x="222027" y="25844"/>
                    <a:pt x="218691" y="24431"/>
                    <a:pt x="218528" y="21052"/>
                  </a:cubicBezTo>
                  <a:cubicBezTo>
                    <a:pt x="218402" y="17702"/>
                    <a:pt x="216999" y="9304"/>
                    <a:pt x="207802" y="5915"/>
                  </a:cubicBezTo>
                  <a:cubicBezTo>
                    <a:pt x="202783" y="12524"/>
                    <a:pt x="198763" y="17697"/>
                    <a:pt x="198763" y="17697"/>
                  </a:cubicBezTo>
                  <a:lnTo>
                    <a:pt x="192448" y="19384"/>
                  </a:lnTo>
                  <a:lnTo>
                    <a:pt x="188437" y="31633"/>
                  </a:lnTo>
                  <a:lnTo>
                    <a:pt x="183534" y="37307"/>
                  </a:lnTo>
                  <a:lnTo>
                    <a:pt x="177446" y="36011"/>
                  </a:lnTo>
                  <a:lnTo>
                    <a:pt x="171256" y="39366"/>
                  </a:lnTo>
                  <a:lnTo>
                    <a:pt x="170099" y="36290"/>
                  </a:lnTo>
                  <a:lnTo>
                    <a:pt x="168816" y="28939"/>
                  </a:lnTo>
                  <a:lnTo>
                    <a:pt x="168542" y="25405"/>
                  </a:lnTo>
                  <a:lnTo>
                    <a:pt x="157584" y="24918"/>
                  </a:lnTo>
                  <a:cubicBezTo>
                    <a:pt x="157796" y="25738"/>
                    <a:pt x="157979" y="26538"/>
                    <a:pt x="158167" y="27309"/>
                  </a:cubicBezTo>
                  <a:cubicBezTo>
                    <a:pt x="157979" y="26538"/>
                    <a:pt x="157796" y="25738"/>
                    <a:pt x="157584" y="24918"/>
                  </a:cubicBezTo>
                  <a:lnTo>
                    <a:pt x="157304" y="24918"/>
                  </a:lnTo>
                  <a:lnTo>
                    <a:pt x="150483" y="28659"/>
                  </a:lnTo>
                  <a:lnTo>
                    <a:pt x="138451" y="30216"/>
                  </a:lnTo>
                  <a:lnTo>
                    <a:pt x="131996" y="35225"/>
                  </a:lnTo>
                  <a:lnTo>
                    <a:pt x="127209" y="41328"/>
                  </a:lnTo>
                  <a:lnTo>
                    <a:pt x="121014" y="45440"/>
                  </a:lnTo>
                  <a:cubicBezTo>
                    <a:pt x="121014" y="45440"/>
                    <a:pt x="122822" y="50617"/>
                    <a:pt x="119476" y="53331"/>
                  </a:cubicBezTo>
                  <a:cubicBezTo>
                    <a:pt x="116102" y="56041"/>
                    <a:pt x="114829" y="57207"/>
                    <a:pt x="114829" y="57207"/>
                  </a:cubicBezTo>
                  <a:cubicBezTo>
                    <a:pt x="114829" y="57207"/>
                    <a:pt x="105284" y="62129"/>
                    <a:pt x="103954" y="63653"/>
                  </a:cubicBezTo>
                  <a:cubicBezTo>
                    <a:pt x="102662" y="65234"/>
                    <a:pt x="98015" y="74393"/>
                    <a:pt x="101384" y="88330"/>
                  </a:cubicBezTo>
                  <a:cubicBezTo>
                    <a:pt x="98791" y="93888"/>
                    <a:pt x="95706" y="98000"/>
                    <a:pt x="95706" y="98000"/>
                  </a:cubicBezTo>
                  <a:lnTo>
                    <a:pt x="91054" y="97899"/>
                  </a:lnTo>
                  <a:lnTo>
                    <a:pt x="84854" y="104103"/>
                  </a:lnTo>
                  <a:cubicBezTo>
                    <a:pt x="84854" y="104103"/>
                    <a:pt x="85119" y="113142"/>
                    <a:pt x="81229" y="113672"/>
                  </a:cubicBezTo>
                  <a:cubicBezTo>
                    <a:pt x="77392" y="114169"/>
                    <a:pt x="76080" y="114694"/>
                    <a:pt x="75025" y="117153"/>
                  </a:cubicBezTo>
                  <a:cubicBezTo>
                    <a:pt x="73993" y="119602"/>
                    <a:pt x="71544" y="121414"/>
                    <a:pt x="71544" y="121414"/>
                  </a:cubicBezTo>
                  <a:lnTo>
                    <a:pt x="66632" y="125001"/>
                  </a:lnTo>
                  <a:cubicBezTo>
                    <a:pt x="66632" y="125001"/>
                    <a:pt x="58774" y="126061"/>
                    <a:pt x="54503" y="130829"/>
                  </a:cubicBezTo>
                  <a:cubicBezTo>
                    <a:pt x="51283" y="128506"/>
                    <a:pt x="46626" y="128356"/>
                    <a:pt x="46626" y="128356"/>
                  </a:cubicBezTo>
                  <a:lnTo>
                    <a:pt x="40537" y="131215"/>
                  </a:lnTo>
                  <a:lnTo>
                    <a:pt x="28018" y="126196"/>
                  </a:lnTo>
                  <a:lnTo>
                    <a:pt x="22879" y="127334"/>
                  </a:lnTo>
                  <a:lnTo>
                    <a:pt x="18724" y="131986"/>
                  </a:lnTo>
                  <a:lnTo>
                    <a:pt x="16540" y="138075"/>
                  </a:lnTo>
                  <a:lnTo>
                    <a:pt x="11093" y="143879"/>
                  </a:lnTo>
                  <a:lnTo>
                    <a:pt x="5823" y="162583"/>
                  </a:lnTo>
                  <a:cubicBezTo>
                    <a:pt x="5823" y="162583"/>
                    <a:pt x="5833" y="162800"/>
                    <a:pt x="5848" y="162911"/>
                  </a:cubicBezTo>
                  <a:cubicBezTo>
                    <a:pt x="6985" y="163943"/>
                    <a:pt x="8378" y="164425"/>
                    <a:pt x="10201" y="163644"/>
                  </a:cubicBezTo>
                  <a:cubicBezTo>
                    <a:pt x="8378" y="164425"/>
                    <a:pt x="6985" y="163943"/>
                    <a:pt x="5848" y="162911"/>
                  </a:cubicBezTo>
                  <a:cubicBezTo>
                    <a:pt x="6002" y="164671"/>
                    <a:pt x="6681" y="176308"/>
                    <a:pt x="0" y="186335"/>
                  </a:cubicBezTo>
                  <a:cubicBezTo>
                    <a:pt x="1162" y="193850"/>
                    <a:pt x="1552" y="198767"/>
                    <a:pt x="1552" y="198767"/>
                  </a:cubicBezTo>
                  <a:lnTo>
                    <a:pt x="10201" y="207917"/>
                  </a:lnTo>
                  <a:cubicBezTo>
                    <a:pt x="10201" y="207917"/>
                    <a:pt x="14356" y="217337"/>
                    <a:pt x="13570" y="219029"/>
                  </a:cubicBezTo>
                  <a:cubicBezTo>
                    <a:pt x="12784" y="220706"/>
                    <a:pt x="20141" y="225353"/>
                    <a:pt x="22354" y="225353"/>
                  </a:cubicBezTo>
                  <a:cubicBezTo>
                    <a:pt x="23636" y="231905"/>
                    <a:pt x="25531" y="239488"/>
                    <a:pt x="31957" y="241484"/>
                  </a:cubicBezTo>
                  <a:cubicBezTo>
                    <a:pt x="32935" y="240452"/>
                    <a:pt x="34034" y="239594"/>
                    <a:pt x="35128" y="239285"/>
                  </a:cubicBezTo>
                  <a:cubicBezTo>
                    <a:pt x="38002" y="238509"/>
                    <a:pt x="40210" y="238673"/>
                    <a:pt x="41998" y="239517"/>
                  </a:cubicBezTo>
                  <a:lnTo>
                    <a:pt x="41612" y="238760"/>
                  </a:lnTo>
                  <a:lnTo>
                    <a:pt x="40407" y="237516"/>
                  </a:lnTo>
                  <a:lnTo>
                    <a:pt x="38609" y="238153"/>
                  </a:lnTo>
                  <a:lnTo>
                    <a:pt x="32675" y="235737"/>
                  </a:lnTo>
                  <a:lnTo>
                    <a:pt x="26731" y="229176"/>
                  </a:lnTo>
                  <a:lnTo>
                    <a:pt x="26731" y="225031"/>
                  </a:lnTo>
                  <a:lnTo>
                    <a:pt x="32072" y="232146"/>
                  </a:lnTo>
                  <a:lnTo>
                    <a:pt x="35075" y="234547"/>
                  </a:lnTo>
                  <a:lnTo>
                    <a:pt x="49350" y="241127"/>
                  </a:lnTo>
                  <a:lnTo>
                    <a:pt x="45778" y="241127"/>
                  </a:lnTo>
                  <a:lnTo>
                    <a:pt x="44322" y="241127"/>
                  </a:lnTo>
                  <a:cubicBezTo>
                    <a:pt x="46356" y="242911"/>
                    <a:pt x="48757" y="240568"/>
                    <a:pt x="51148" y="243426"/>
                  </a:cubicBezTo>
                  <a:cubicBezTo>
                    <a:pt x="53587" y="246439"/>
                    <a:pt x="56692" y="246796"/>
                    <a:pt x="58114" y="251062"/>
                  </a:cubicBezTo>
                  <a:cubicBezTo>
                    <a:pt x="59545" y="255343"/>
                    <a:pt x="68078" y="254823"/>
                    <a:pt x="69230" y="258284"/>
                  </a:cubicBezTo>
                  <a:cubicBezTo>
                    <a:pt x="70392" y="261789"/>
                    <a:pt x="70648" y="262950"/>
                    <a:pt x="72460" y="261894"/>
                  </a:cubicBezTo>
                  <a:cubicBezTo>
                    <a:pt x="74258" y="260892"/>
                    <a:pt x="76341" y="260096"/>
                    <a:pt x="78785" y="263201"/>
                  </a:cubicBezTo>
                  <a:cubicBezTo>
                    <a:pt x="81229" y="266291"/>
                    <a:pt x="90914" y="271333"/>
                    <a:pt x="93372" y="269897"/>
                  </a:cubicBezTo>
                  <a:cubicBezTo>
                    <a:pt x="95831" y="268499"/>
                    <a:pt x="100729" y="268238"/>
                    <a:pt x="102435" y="269396"/>
                  </a:cubicBezTo>
                  <a:cubicBezTo>
                    <a:pt x="111301" y="263442"/>
                    <a:pt x="119592" y="265259"/>
                    <a:pt x="124876" y="266146"/>
                  </a:cubicBezTo>
                  <a:cubicBezTo>
                    <a:pt x="130207" y="267067"/>
                    <a:pt x="141295" y="266551"/>
                    <a:pt x="144660" y="263582"/>
                  </a:cubicBezTo>
                  <a:cubicBezTo>
                    <a:pt x="148010" y="260617"/>
                    <a:pt x="152662" y="261528"/>
                    <a:pt x="153559" y="262025"/>
                  </a:cubicBezTo>
                  <a:cubicBezTo>
                    <a:pt x="154446" y="262555"/>
                    <a:pt x="157700" y="261528"/>
                    <a:pt x="158336" y="260501"/>
                  </a:cubicBezTo>
                  <a:cubicBezTo>
                    <a:pt x="158977" y="259479"/>
                    <a:pt x="162082" y="259479"/>
                    <a:pt x="164415" y="259590"/>
                  </a:cubicBezTo>
                  <a:cubicBezTo>
                    <a:pt x="166724" y="259701"/>
                    <a:pt x="168932" y="259330"/>
                    <a:pt x="168932" y="259330"/>
                  </a:cubicBezTo>
                  <a:lnTo>
                    <a:pt x="173984" y="256115"/>
                  </a:lnTo>
                  <a:lnTo>
                    <a:pt x="176534" y="251443"/>
                  </a:lnTo>
                  <a:cubicBezTo>
                    <a:pt x="176534" y="251443"/>
                    <a:pt x="188822" y="251443"/>
                    <a:pt x="184421" y="247471"/>
                  </a:cubicBezTo>
                  <a:cubicBezTo>
                    <a:pt x="180030" y="243426"/>
                    <a:pt x="174100" y="236089"/>
                    <a:pt x="176534" y="232725"/>
                  </a:cubicBezTo>
                  <a:cubicBezTo>
                    <a:pt x="179012" y="229393"/>
                    <a:pt x="179538" y="226110"/>
                    <a:pt x="179268" y="224066"/>
                  </a:cubicBezTo>
                  <a:cubicBezTo>
                    <a:pt x="179007" y="222003"/>
                    <a:pt x="181721" y="216965"/>
                    <a:pt x="185848" y="216965"/>
                  </a:cubicBezTo>
                  <a:cubicBezTo>
                    <a:pt x="189989" y="216965"/>
                    <a:pt x="193103" y="216059"/>
                    <a:pt x="193349" y="215543"/>
                  </a:cubicBezTo>
                  <a:cubicBezTo>
                    <a:pt x="193590" y="215037"/>
                    <a:pt x="194882" y="213220"/>
                    <a:pt x="197331" y="213736"/>
                  </a:cubicBezTo>
                  <a:cubicBezTo>
                    <a:pt x="199775" y="214256"/>
                    <a:pt x="202504" y="215423"/>
                    <a:pt x="203535" y="213615"/>
                  </a:cubicBezTo>
                  <a:cubicBezTo>
                    <a:pt x="204581" y="211812"/>
                    <a:pt x="205092" y="210159"/>
                    <a:pt x="208703" y="211672"/>
                  </a:cubicBezTo>
                  <a:cubicBezTo>
                    <a:pt x="212314" y="213220"/>
                    <a:pt x="214777" y="212174"/>
                    <a:pt x="216835" y="209595"/>
                  </a:cubicBezTo>
                  <a:cubicBezTo>
                    <a:pt x="218904" y="207040"/>
                    <a:pt x="229123" y="206370"/>
                    <a:pt x="232059" y="206746"/>
                  </a:cubicBezTo>
                  <a:cubicBezTo>
                    <a:pt x="237526" y="203906"/>
                    <a:pt x="238683" y="201197"/>
                    <a:pt x="238683" y="201197"/>
                  </a:cubicBezTo>
                  <a:cubicBezTo>
                    <a:pt x="238683" y="201197"/>
                    <a:pt x="238683" y="189955"/>
                    <a:pt x="241498" y="188543"/>
                  </a:cubicBezTo>
                  <a:cubicBezTo>
                    <a:pt x="244366" y="187135"/>
                    <a:pt x="249269" y="185197"/>
                    <a:pt x="249269" y="185197"/>
                  </a:cubicBezTo>
                  <a:lnTo>
                    <a:pt x="253271" y="187786"/>
                  </a:lnTo>
                  <a:lnTo>
                    <a:pt x="259195" y="187270"/>
                  </a:lnTo>
                  <a:lnTo>
                    <a:pt x="265910" y="192568"/>
                  </a:lnTo>
                  <a:lnTo>
                    <a:pt x="269796" y="192211"/>
                  </a:lnTo>
                  <a:lnTo>
                    <a:pt x="275214" y="195128"/>
                  </a:lnTo>
                  <a:lnTo>
                    <a:pt x="281558" y="188682"/>
                  </a:lnTo>
                  <a:lnTo>
                    <a:pt x="286312" y="187270"/>
                  </a:lnTo>
                  <a:lnTo>
                    <a:pt x="295987" y="175777"/>
                  </a:lnTo>
                  <a:cubicBezTo>
                    <a:pt x="295987" y="175777"/>
                    <a:pt x="301569" y="170749"/>
                    <a:pt x="308540" y="170248"/>
                  </a:cubicBezTo>
                  <a:cubicBezTo>
                    <a:pt x="312020" y="162352"/>
                    <a:pt x="313698" y="151091"/>
                    <a:pt x="313698" y="151091"/>
                  </a:cubicBezTo>
                  <a:lnTo>
                    <a:pt x="322221" y="132526"/>
                  </a:lnTo>
                  <a:lnTo>
                    <a:pt x="328676" y="130834"/>
                  </a:lnTo>
                  <a:lnTo>
                    <a:pt x="334769" y="127464"/>
                  </a:lnTo>
                  <a:lnTo>
                    <a:pt x="348060" y="125006"/>
                  </a:lnTo>
                  <a:lnTo>
                    <a:pt x="354370" y="126577"/>
                  </a:lnTo>
                  <a:lnTo>
                    <a:pt x="360059" y="130419"/>
                  </a:lnTo>
                  <a:lnTo>
                    <a:pt x="365477" y="128510"/>
                  </a:lnTo>
                  <a:lnTo>
                    <a:pt x="370785" y="130945"/>
                  </a:lnTo>
                  <a:lnTo>
                    <a:pt x="384374" y="125671"/>
                  </a:lnTo>
                  <a:lnTo>
                    <a:pt x="387315" y="127859"/>
                  </a:lnTo>
                  <a:lnTo>
                    <a:pt x="388496" y="122089"/>
                  </a:lnTo>
                  <a:lnTo>
                    <a:pt x="398277" y="115711"/>
                  </a:lnTo>
                  <a:lnTo>
                    <a:pt x="403595" y="117649"/>
                  </a:lnTo>
                  <a:lnTo>
                    <a:pt x="410580" y="123208"/>
                  </a:lnTo>
                  <a:lnTo>
                    <a:pt x="417011" y="124360"/>
                  </a:lnTo>
                  <a:lnTo>
                    <a:pt x="420366" y="131875"/>
                  </a:lnTo>
                  <a:cubicBezTo>
                    <a:pt x="420366" y="131875"/>
                    <a:pt x="425929" y="135997"/>
                    <a:pt x="426584" y="138827"/>
                  </a:cubicBezTo>
                  <a:cubicBezTo>
                    <a:pt x="427240" y="141676"/>
                    <a:pt x="432263" y="142958"/>
                    <a:pt x="434847" y="141039"/>
                  </a:cubicBezTo>
                  <a:cubicBezTo>
                    <a:pt x="437417" y="139116"/>
                    <a:pt x="446431" y="134584"/>
                    <a:pt x="446431" y="134584"/>
                  </a:cubicBezTo>
                  <a:lnTo>
                    <a:pt x="458348" y="132521"/>
                  </a:lnTo>
                  <a:lnTo>
                    <a:pt x="464924" y="126298"/>
                  </a:lnTo>
                  <a:cubicBezTo>
                    <a:pt x="464924" y="126298"/>
                    <a:pt x="464880" y="126061"/>
                    <a:pt x="464842" y="125955"/>
                  </a:cubicBezTo>
                  <a:cubicBezTo>
                    <a:pt x="462576" y="126201"/>
                    <a:pt x="460060" y="127108"/>
                    <a:pt x="458083" y="129036"/>
                  </a:cubicBezTo>
                  <a:cubicBezTo>
                    <a:pt x="460060" y="127112"/>
                    <a:pt x="462581" y="126201"/>
                    <a:pt x="464842" y="125955"/>
                  </a:cubicBezTo>
                  <a:cubicBezTo>
                    <a:pt x="464403" y="123998"/>
                    <a:pt x="460735" y="107058"/>
                    <a:pt x="463776" y="102300"/>
                  </a:cubicBezTo>
                  <a:cubicBezTo>
                    <a:pt x="466996" y="97248"/>
                    <a:pt x="469720" y="91184"/>
                    <a:pt x="472675" y="88865"/>
                  </a:cubicBezTo>
                  <a:cubicBezTo>
                    <a:pt x="473851" y="84984"/>
                    <a:pt x="474083" y="81643"/>
                    <a:pt x="474083" y="81643"/>
                  </a:cubicBezTo>
                  <a:lnTo>
                    <a:pt x="476045" y="75574"/>
                  </a:lnTo>
                  <a:cubicBezTo>
                    <a:pt x="476045" y="75574"/>
                    <a:pt x="475004" y="64323"/>
                    <a:pt x="477086" y="59020"/>
                  </a:cubicBezTo>
                  <a:cubicBezTo>
                    <a:pt x="479135" y="53741"/>
                    <a:pt x="478479" y="50627"/>
                    <a:pt x="478479" y="50627"/>
                  </a:cubicBezTo>
                  <a:lnTo>
                    <a:pt x="485084" y="4444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52" name="Freihandform: Form 651">
              <a:extLst>
                <a:ext uri="{FF2B5EF4-FFF2-40B4-BE49-F238E27FC236}">
                  <a16:creationId xmlns:a16="http://schemas.microsoft.com/office/drawing/2014/main" id="{4A3EEF95-8C18-FFA3-5F5B-3D2A81C61E45}"/>
                </a:ext>
              </a:extLst>
            </p:cNvPr>
            <p:cNvSpPr/>
            <p:nvPr/>
          </p:nvSpPr>
          <p:spPr>
            <a:xfrm>
              <a:off x="5321424" y="4772068"/>
              <a:ext cx="17461" cy="38101"/>
            </a:xfrm>
            <a:custGeom>
              <a:avLst/>
              <a:gdLst>
                <a:gd name="connsiteX0" fmla="*/ 661 w 13951"/>
                <a:gd name="connsiteY0" fmla="*/ 14655 h 29738"/>
                <a:gd name="connsiteX1" fmla="*/ 2840 w 13951"/>
                <a:gd name="connsiteY1" fmla="*/ 22248 h 29738"/>
                <a:gd name="connsiteX2" fmla="*/ 0 w 13951"/>
                <a:gd name="connsiteY2" fmla="*/ 29739 h 29738"/>
                <a:gd name="connsiteX3" fmla="*/ 5823 w 13951"/>
                <a:gd name="connsiteY3" fmla="*/ 27951 h 29738"/>
                <a:gd name="connsiteX4" fmla="*/ 10745 w 13951"/>
                <a:gd name="connsiteY4" fmla="*/ 28809 h 29738"/>
                <a:gd name="connsiteX5" fmla="*/ 13951 w 13951"/>
                <a:gd name="connsiteY5" fmla="*/ 21741 h 29738"/>
                <a:gd name="connsiteX6" fmla="*/ 8909 w 13951"/>
                <a:gd name="connsiteY6" fmla="*/ 9989 h 29738"/>
                <a:gd name="connsiteX7" fmla="*/ 8673 w 13951"/>
                <a:gd name="connsiteY7" fmla="*/ 6754 h 29738"/>
                <a:gd name="connsiteX8" fmla="*/ 5317 w 13951"/>
                <a:gd name="connsiteY8" fmla="*/ 0 h 29738"/>
                <a:gd name="connsiteX9" fmla="*/ 3240 w 13951"/>
                <a:gd name="connsiteY9" fmla="*/ 2608 h 29738"/>
                <a:gd name="connsiteX10" fmla="*/ 661 w 13951"/>
                <a:gd name="connsiteY10" fmla="*/ 14655 h 29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51" h="29738">
                  <a:moveTo>
                    <a:pt x="661" y="14655"/>
                  </a:moveTo>
                  <a:cubicBezTo>
                    <a:pt x="1441" y="17364"/>
                    <a:pt x="1957" y="18772"/>
                    <a:pt x="2840" y="22248"/>
                  </a:cubicBezTo>
                  <a:cubicBezTo>
                    <a:pt x="3746" y="25762"/>
                    <a:pt x="0" y="29739"/>
                    <a:pt x="0" y="29739"/>
                  </a:cubicBezTo>
                  <a:cubicBezTo>
                    <a:pt x="0" y="29739"/>
                    <a:pt x="3746" y="26663"/>
                    <a:pt x="5823" y="27951"/>
                  </a:cubicBezTo>
                  <a:cubicBezTo>
                    <a:pt x="6773" y="28544"/>
                    <a:pt x="8701" y="28799"/>
                    <a:pt x="10745" y="28809"/>
                  </a:cubicBezTo>
                  <a:lnTo>
                    <a:pt x="13951" y="21741"/>
                  </a:lnTo>
                  <a:lnTo>
                    <a:pt x="8909" y="9989"/>
                  </a:lnTo>
                  <a:lnTo>
                    <a:pt x="8673" y="6754"/>
                  </a:lnTo>
                  <a:cubicBezTo>
                    <a:pt x="8673" y="6754"/>
                    <a:pt x="8349" y="5231"/>
                    <a:pt x="5317" y="0"/>
                  </a:cubicBezTo>
                  <a:cubicBezTo>
                    <a:pt x="4618" y="849"/>
                    <a:pt x="3924" y="1682"/>
                    <a:pt x="3240" y="2608"/>
                  </a:cubicBezTo>
                  <a:cubicBezTo>
                    <a:pt x="280" y="6508"/>
                    <a:pt x="-125" y="11917"/>
                    <a:pt x="661" y="1465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53" name="Freihandform: Form 652">
              <a:extLst>
                <a:ext uri="{FF2B5EF4-FFF2-40B4-BE49-F238E27FC236}">
                  <a16:creationId xmlns:a16="http://schemas.microsoft.com/office/drawing/2014/main" id="{AB830938-43FE-7793-0DA0-345E38E80488}"/>
                </a:ext>
              </a:extLst>
            </p:cNvPr>
            <p:cNvSpPr/>
            <p:nvPr/>
          </p:nvSpPr>
          <p:spPr>
            <a:xfrm>
              <a:off x="4907134" y="4679990"/>
              <a:ext cx="531752" cy="339738"/>
            </a:xfrm>
            <a:custGeom>
              <a:avLst/>
              <a:gdLst>
                <a:gd name="connsiteX0" fmla="*/ 415463 w 416400"/>
                <a:gd name="connsiteY0" fmla="*/ 114670 h 265674"/>
                <a:gd name="connsiteX1" fmla="*/ 410802 w 416400"/>
                <a:gd name="connsiteY1" fmla="*/ 109367 h 265674"/>
                <a:gd name="connsiteX2" fmla="*/ 405388 w 416400"/>
                <a:gd name="connsiteY2" fmla="*/ 108350 h 265674"/>
                <a:gd name="connsiteX3" fmla="*/ 400471 w 416400"/>
                <a:gd name="connsiteY3" fmla="*/ 114294 h 265674"/>
                <a:gd name="connsiteX4" fmla="*/ 394406 w 416400"/>
                <a:gd name="connsiteY4" fmla="*/ 116589 h 265674"/>
                <a:gd name="connsiteX5" fmla="*/ 393760 w 416400"/>
                <a:gd name="connsiteY5" fmla="*/ 123458 h 265674"/>
                <a:gd name="connsiteX6" fmla="*/ 385748 w 416400"/>
                <a:gd name="connsiteY6" fmla="*/ 128607 h 265674"/>
                <a:gd name="connsiteX7" fmla="*/ 377616 w 416400"/>
                <a:gd name="connsiteY7" fmla="*/ 126785 h 265674"/>
                <a:gd name="connsiteX8" fmla="*/ 371286 w 416400"/>
                <a:gd name="connsiteY8" fmla="*/ 121250 h 265674"/>
                <a:gd name="connsiteX9" fmla="*/ 365718 w 416400"/>
                <a:gd name="connsiteY9" fmla="*/ 119447 h 265674"/>
                <a:gd name="connsiteX10" fmla="*/ 360300 w 416400"/>
                <a:gd name="connsiteY10" fmla="*/ 112881 h 265674"/>
                <a:gd name="connsiteX11" fmla="*/ 358126 w 416400"/>
                <a:gd name="connsiteY11" fmla="*/ 105226 h 265674"/>
                <a:gd name="connsiteX12" fmla="*/ 341711 w 416400"/>
                <a:gd name="connsiteY12" fmla="*/ 99673 h 265674"/>
                <a:gd name="connsiteX13" fmla="*/ 335271 w 416400"/>
                <a:gd name="connsiteY13" fmla="*/ 100300 h 265674"/>
                <a:gd name="connsiteX14" fmla="*/ 333434 w 416400"/>
                <a:gd name="connsiteY14" fmla="*/ 104339 h 265674"/>
                <a:gd name="connsiteX15" fmla="*/ 335271 w 416400"/>
                <a:gd name="connsiteY15" fmla="*/ 100300 h 265674"/>
                <a:gd name="connsiteX16" fmla="*/ 330349 w 416400"/>
                <a:gd name="connsiteY16" fmla="*/ 99442 h 265674"/>
                <a:gd name="connsiteX17" fmla="*/ 324525 w 416400"/>
                <a:gd name="connsiteY17" fmla="*/ 101230 h 265674"/>
                <a:gd name="connsiteX18" fmla="*/ 327365 w 416400"/>
                <a:gd name="connsiteY18" fmla="*/ 93738 h 265674"/>
                <a:gd name="connsiteX19" fmla="*/ 325186 w 416400"/>
                <a:gd name="connsiteY19" fmla="*/ 86146 h 265674"/>
                <a:gd name="connsiteX20" fmla="*/ 327770 w 416400"/>
                <a:gd name="connsiteY20" fmla="*/ 74099 h 265674"/>
                <a:gd name="connsiteX21" fmla="*/ 329847 w 416400"/>
                <a:gd name="connsiteY21" fmla="*/ 71491 h 265674"/>
                <a:gd name="connsiteX22" fmla="*/ 327365 w 416400"/>
                <a:gd name="connsiteY22" fmla="*/ 67403 h 265674"/>
                <a:gd name="connsiteX23" fmla="*/ 329847 w 416400"/>
                <a:gd name="connsiteY23" fmla="*/ 71491 h 265674"/>
                <a:gd name="connsiteX24" fmla="*/ 333964 w 416400"/>
                <a:gd name="connsiteY24" fmla="*/ 66757 h 265674"/>
                <a:gd name="connsiteX25" fmla="*/ 339768 w 416400"/>
                <a:gd name="connsiteY25" fmla="*/ 54498 h 265674"/>
                <a:gd name="connsiteX26" fmla="*/ 338992 w 416400"/>
                <a:gd name="connsiteY26" fmla="*/ 47387 h 265674"/>
                <a:gd name="connsiteX27" fmla="*/ 331506 w 416400"/>
                <a:gd name="connsiteY27" fmla="*/ 40614 h 265674"/>
                <a:gd name="connsiteX28" fmla="*/ 324492 w 416400"/>
                <a:gd name="connsiteY28" fmla="*/ 41844 h 265674"/>
                <a:gd name="connsiteX29" fmla="*/ 309639 w 416400"/>
                <a:gd name="connsiteY29" fmla="*/ 27545 h 265674"/>
                <a:gd name="connsiteX30" fmla="*/ 298204 w 416400"/>
                <a:gd name="connsiteY30" fmla="*/ 20097 h 265674"/>
                <a:gd name="connsiteX31" fmla="*/ 297414 w 416400"/>
                <a:gd name="connsiteY31" fmla="*/ 20126 h 265674"/>
                <a:gd name="connsiteX32" fmla="*/ 292641 w 416400"/>
                <a:gd name="connsiteY32" fmla="*/ 18275 h 265674"/>
                <a:gd name="connsiteX33" fmla="*/ 292969 w 416400"/>
                <a:gd name="connsiteY33" fmla="*/ 18588 h 265674"/>
                <a:gd name="connsiteX34" fmla="*/ 281071 w 416400"/>
                <a:gd name="connsiteY34" fmla="*/ 18588 h 265674"/>
                <a:gd name="connsiteX35" fmla="*/ 274510 w 416400"/>
                <a:gd name="connsiteY35" fmla="*/ 21573 h 265674"/>
                <a:gd name="connsiteX36" fmla="*/ 272789 w 416400"/>
                <a:gd name="connsiteY36" fmla="*/ 21013 h 265674"/>
                <a:gd name="connsiteX37" fmla="*/ 272447 w 416400"/>
                <a:gd name="connsiteY37" fmla="*/ 20912 h 265674"/>
                <a:gd name="connsiteX38" fmla="*/ 270957 w 416400"/>
                <a:gd name="connsiteY38" fmla="*/ 20406 h 265674"/>
                <a:gd name="connsiteX39" fmla="*/ 271816 w 416400"/>
                <a:gd name="connsiteY39" fmla="*/ 20309 h 265674"/>
                <a:gd name="connsiteX40" fmla="*/ 268350 w 416400"/>
                <a:gd name="connsiteY40" fmla="*/ 12249 h 265674"/>
                <a:gd name="connsiteX41" fmla="*/ 263596 w 416400"/>
                <a:gd name="connsiteY41" fmla="*/ 12510 h 265674"/>
                <a:gd name="connsiteX42" fmla="*/ 263326 w 416400"/>
                <a:gd name="connsiteY42" fmla="*/ 17296 h 265674"/>
                <a:gd name="connsiteX43" fmla="*/ 255955 w 416400"/>
                <a:gd name="connsiteY43" fmla="*/ 14713 h 265674"/>
                <a:gd name="connsiteX44" fmla="*/ 256346 w 416400"/>
                <a:gd name="connsiteY44" fmla="*/ 9439 h 265674"/>
                <a:gd name="connsiteX45" fmla="*/ 254557 w 416400"/>
                <a:gd name="connsiteY45" fmla="*/ 4652 h 265674"/>
                <a:gd name="connsiteX46" fmla="*/ 250132 w 416400"/>
                <a:gd name="connsiteY46" fmla="*/ 4261 h 265674"/>
                <a:gd name="connsiteX47" fmla="*/ 243971 w 416400"/>
                <a:gd name="connsiteY47" fmla="*/ 0 h 265674"/>
                <a:gd name="connsiteX48" fmla="*/ 240086 w 416400"/>
                <a:gd name="connsiteY48" fmla="*/ 3741 h 265674"/>
                <a:gd name="connsiteX49" fmla="*/ 233501 w 416400"/>
                <a:gd name="connsiteY49" fmla="*/ 6445 h 265674"/>
                <a:gd name="connsiteX50" fmla="*/ 229630 w 416400"/>
                <a:gd name="connsiteY50" fmla="*/ 11868 h 265674"/>
                <a:gd name="connsiteX51" fmla="*/ 231028 w 416400"/>
                <a:gd name="connsiteY51" fmla="*/ 18593 h 265674"/>
                <a:gd name="connsiteX52" fmla="*/ 238649 w 416400"/>
                <a:gd name="connsiteY52" fmla="*/ 20266 h 265674"/>
                <a:gd name="connsiteX53" fmla="*/ 246541 w 416400"/>
                <a:gd name="connsiteY53" fmla="*/ 18646 h 265674"/>
                <a:gd name="connsiteX54" fmla="*/ 243566 w 416400"/>
                <a:gd name="connsiteY54" fmla="*/ 28770 h 265674"/>
                <a:gd name="connsiteX55" fmla="*/ 237102 w 416400"/>
                <a:gd name="connsiteY55" fmla="*/ 25048 h 265674"/>
                <a:gd name="connsiteX56" fmla="*/ 230020 w 416400"/>
                <a:gd name="connsiteY56" fmla="*/ 30491 h 265674"/>
                <a:gd name="connsiteX57" fmla="*/ 223165 w 416400"/>
                <a:gd name="connsiteY57" fmla="*/ 30602 h 265674"/>
                <a:gd name="connsiteX58" fmla="*/ 212039 w 416400"/>
                <a:gd name="connsiteY58" fmla="*/ 25198 h 265674"/>
                <a:gd name="connsiteX59" fmla="*/ 205343 w 416400"/>
                <a:gd name="connsiteY59" fmla="*/ 27145 h 265674"/>
                <a:gd name="connsiteX60" fmla="*/ 199384 w 416400"/>
                <a:gd name="connsiteY60" fmla="*/ 31903 h 265674"/>
                <a:gd name="connsiteX61" fmla="*/ 187246 w 416400"/>
                <a:gd name="connsiteY61" fmla="*/ 32559 h 265674"/>
                <a:gd name="connsiteX62" fmla="*/ 181046 w 416400"/>
                <a:gd name="connsiteY62" fmla="*/ 28032 h 265674"/>
                <a:gd name="connsiteX63" fmla="*/ 174090 w 416400"/>
                <a:gd name="connsiteY63" fmla="*/ 28148 h 265674"/>
                <a:gd name="connsiteX64" fmla="*/ 168662 w 416400"/>
                <a:gd name="connsiteY64" fmla="*/ 32646 h 265674"/>
                <a:gd name="connsiteX65" fmla="*/ 158968 w 416400"/>
                <a:gd name="connsiteY65" fmla="*/ 32925 h 265674"/>
                <a:gd name="connsiteX66" fmla="*/ 159247 w 416400"/>
                <a:gd name="connsiteY66" fmla="*/ 27232 h 265674"/>
                <a:gd name="connsiteX67" fmla="*/ 153824 w 416400"/>
                <a:gd name="connsiteY67" fmla="*/ 28032 h 265674"/>
                <a:gd name="connsiteX68" fmla="*/ 153535 w 416400"/>
                <a:gd name="connsiteY68" fmla="*/ 28071 h 265674"/>
                <a:gd name="connsiteX69" fmla="*/ 152257 w 416400"/>
                <a:gd name="connsiteY69" fmla="*/ 31513 h 265674"/>
                <a:gd name="connsiteX70" fmla="*/ 153535 w 416400"/>
                <a:gd name="connsiteY70" fmla="*/ 28071 h 265674"/>
                <a:gd name="connsiteX71" fmla="*/ 150980 w 416400"/>
                <a:gd name="connsiteY71" fmla="*/ 28510 h 265674"/>
                <a:gd name="connsiteX72" fmla="*/ 145942 w 416400"/>
                <a:gd name="connsiteY72" fmla="*/ 32429 h 265674"/>
                <a:gd name="connsiteX73" fmla="*/ 146063 w 416400"/>
                <a:gd name="connsiteY73" fmla="*/ 38739 h 265674"/>
                <a:gd name="connsiteX74" fmla="*/ 135071 w 416400"/>
                <a:gd name="connsiteY74" fmla="*/ 47122 h 265674"/>
                <a:gd name="connsiteX75" fmla="*/ 128245 w 416400"/>
                <a:gd name="connsiteY75" fmla="*/ 47262 h 265674"/>
                <a:gd name="connsiteX76" fmla="*/ 122542 w 416400"/>
                <a:gd name="connsiteY76" fmla="*/ 48694 h 265674"/>
                <a:gd name="connsiteX77" fmla="*/ 117264 w 416400"/>
                <a:gd name="connsiteY77" fmla="*/ 44172 h 265674"/>
                <a:gd name="connsiteX78" fmla="*/ 112742 w 416400"/>
                <a:gd name="connsiteY78" fmla="*/ 37433 h 265674"/>
                <a:gd name="connsiteX79" fmla="*/ 105906 w 416400"/>
                <a:gd name="connsiteY79" fmla="*/ 37968 h 265674"/>
                <a:gd name="connsiteX80" fmla="*/ 99943 w 416400"/>
                <a:gd name="connsiteY80" fmla="*/ 40692 h 265674"/>
                <a:gd name="connsiteX81" fmla="*/ 96858 w 416400"/>
                <a:gd name="connsiteY81" fmla="*/ 49060 h 265674"/>
                <a:gd name="connsiteX82" fmla="*/ 95691 w 416400"/>
                <a:gd name="connsiteY82" fmla="*/ 50097 h 265674"/>
                <a:gd name="connsiteX83" fmla="*/ 92471 w 416400"/>
                <a:gd name="connsiteY83" fmla="*/ 56416 h 265674"/>
                <a:gd name="connsiteX84" fmla="*/ 105906 w 416400"/>
                <a:gd name="connsiteY84" fmla="*/ 59295 h 265674"/>
                <a:gd name="connsiteX85" fmla="*/ 86527 w 416400"/>
                <a:gd name="connsiteY85" fmla="*/ 82815 h 265674"/>
                <a:gd name="connsiteX86" fmla="*/ 74504 w 416400"/>
                <a:gd name="connsiteY86" fmla="*/ 93367 h 265674"/>
                <a:gd name="connsiteX87" fmla="*/ 73868 w 416400"/>
                <a:gd name="connsiteY87" fmla="*/ 95305 h 265674"/>
                <a:gd name="connsiteX88" fmla="*/ 49075 w 416400"/>
                <a:gd name="connsiteY88" fmla="*/ 109647 h 265674"/>
                <a:gd name="connsiteX89" fmla="*/ 49075 w 416400"/>
                <a:gd name="connsiteY89" fmla="*/ 122431 h 265674"/>
                <a:gd name="connsiteX90" fmla="*/ 46081 w 416400"/>
                <a:gd name="connsiteY90" fmla="*/ 127869 h 265674"/>
                <a:gd name="connsiteX91" fmla="*/ 45314 w 416400"/>
                <a:gd name="connsiteY91" fmla="*/ 134180 h 265674"/>
                <a:gd name="connsiteX92" fmla="*/ 36912 w 416400"/>
                <a:gd name="connsiteY92" fmla="*/ 141522 h 265674"/>
                <a:gd name="connsiteX93" fmla="*/ 21033 w 416400"/>
                <a:gd name="connsiteY93" fmla="*/ 151365 h 265674"/>
                <a:gd name="connsiteX94" fmla="*/ 19235 w 416400"/>
                <a:gd name="connsiteY94" fmla="*/ 159107 h 265674"/>
                <a:gd name="connsiteX95" fmla="*/ 13175 w 416400"/>
                <a:gd name="connsiteY95" fmla="*/ 169713 h 265674"/>
                <a:gd name="connsiteX96" fmla="*/ 11478 w 416400"/>
                <a:gd name="connsiteY96" fmla="*/ 177845 h 265674"/>
                <a:gd name="connsiteX97" fmla="*/ 15479 w 416400"/>
                <a:gd name="connsiteY97" fmla="*/ 181962 h 265674"/>
                <a:gd name="connsiteX98" fmla="*/ 16646 w 416400"/>
                <a:gd name="connsiteY98" fmla="*/ 188152 h 265674"/>
                <a:gd name="connsiteX99" fmla="*/ 10186 w 416400"/>
                <a:gd name="connsiteY99" fmla="*/ 201072 h 265674"/>
                <a:gd name="connsiteX100" fmla="*/ 2034 w 416400"/>
                <a:gd name="connsiteY100" fmla="*/ 210747 h 265674"/>
                <a:gd name="connsiteX101" fmla="*/ 0 w 416400"/>
                <a:gd name="connsiteY101" fmla="*/ 215794 h 265674"/>
                <a:gd name="connsiteX102" fmla="*/ 14968 w 416400"/>
                <a:gd name="connsiteY102" fmla="*/ 215148 h 265674"/>
                <a:gd name="connsiteX103" fmla="*/ 28900 w 416400"/>
                <a:gd name="connsiteY103" fmla="*/ 203284 h 265674"/>
                <a:gd name="connsiteX104" fmla="*/ 25545 w 416400"/>
                <a:gd name="connsiteY104" fmla="*/ 195383 h 265674"/>
                <a:gd name="connsiteX105" fmla="*/ 21934 w 416400"/>
                <a:gd name="connsiteY105" fmla="*/ 189955 h 265674"/>
                <a:gd name="connsiteX106" fmla="*/ 25309 w 416400"/>
                <a:gd name="connsiteY106" fmla="*/ 187014 h 265674"/>
                <a:gd name="connsiteX107" fmla="*/ 40277 w 416400"/>
                <a:gd name="connsiteY107" fmla="*/ 179026 h 265674"/>
                <a:gd name="connsiteX108" fmla="*/ 70228 w 416400"/>
                <a:gd name="connsiteY108" fmla="*/ 175122 h 265674"/>
                <a:gd name="connsiteX109" fmla="*/ 76187 w 416400"/>
                <a:gd name="connsiteY109" fmla="*/ 181042 h 265674"/>
                <a:gd name="connsiteX110" fmla="*/ 73072 w 416400"/>
                <a:gd name="connsiteY110" fmla="*/ 186224 h 265674"/>
                <a:gd name="connsiteX111" fmla="*/ 75136 w 416400"/>
                <a:gd name="connsiteY111" fmla="*/ 190861 h 265674"/>
                <a:gd name="connsiteX112" fmla="*/ 76697 w 416400"/>
                <a:gd name="connsiteY112" fmla="*/ 192554 h 265674"/>
                <a:gd name="connsiteX113" fmla="*/ 81079 w 416400"/>
                <a:gd name="connsiteY113" fmla="*/ 200937 h 265674"/>
                <a:gd name="connsiteX114" fmla="*/ 77078 w 416400"/>
                <a:gd name="connsiteY114" fmla="*/ 206095 h 265674"/>
                <a:gd name="connsiteX115" fmla="*/ 75415 w 416400"/>
                <a:gd name="connsiteY115" fmla="*/ 212583 h 265674"/>
                <a:gd name="connsiteX116" fmla="*/ 77218 w 416400"/>
                <a:gd name="connsiteY116" fmla="*/ 218229 h 265674"/>
                <a:gd name="connsiteX117" fmla="*/ 82497 w 416400"/>
                <a:gd name="connsiteY117" fmla="*/ 224341 h 265674"/>
                <a:gd name="connsiteX118" fmla="*/ 82381 w 416400"/>
                <a:gd name="connsiteY118" fmla="*/ 230666 h 265674"/>
                <a:gd name="connsiteX119" fmla="*/ 91155 w 416400"/>
                <a:gd name="connsiteY119" fmla="*/ 233746 h 265674"/>
                <a:gd name="connsiteX120" fmla="*/ 98506 w 416400"/>
                <a:gd name="connsiteY120" fmla="*/ 247640 h 265674"/>
                <a:gd name="connsiteX121" fmla="*/ 102671 w 416400"/>
                <a:gd name="connsiteY121" fmla="*/ 246044 h 265674"/>
                <a:gd name="connsiteX122" fmla="*/ 98506 w 416400"/>
                <a:gd name="connsiteY122" fmla="*/ 247640 h 265674"/>
                <a:gd name="connsiteX123" fmla="*/ 104204 w 416400"/>
                <a:gd name="connsiteY123" fmla="*/ 253535 h 265674"/>
                <a:gd name="connsiteX124" fmla="*/ 114550 w 416400"/>
                <a:gd name="connsiteY124" fmla="*/ 252499 h 265674"/>
                <a:gd name="connsiteX125" fmla="*/ 121265 w 416400"/>
                <a:gd name="connsiteY125" fmla="*/ 249510 h 265674"/>
                <a:gd name="connsiteX126" fmla="*/ 133023 w 416400"/>
                <a:gd name="connsiteY126" fmla="*/ 248753 h 265674"/>
                <a:gd name="connsiteX127" fmla="*/ 145016 w 416400"/>
                <a:gd name="connsiteY127" fmla="*/ 240765 h 265674"/>
                <a:gd name="connsiteX128" fmla="*/ 147085 w 416400"/>
                <a:gd name="connsiteY128" fmla="*/ 241257 h 265674"/>
                <a:gd name="connsiteX129" fmla="*/ 154576 w 416400"/>
                <a:gd name="connsiteY129" fmla="*/ 242409 h 265674"/>
                <a:gd name="connsiteX130" fmla="*/ 160125 w 416400"/>
                <a:gd name="connsiteY130" fmla="*/ 248753 h 265674"/>
                <a:gd name="connsiteX131" fmla="*/ 173049 w 416400"/>
                <a:gd name="connsiteY131" fmla="*/ 250204 h 265674"/>
                <a:gd name="connsiteX132" fmla="*/ 178202 w 416400"/>
                <a:gd name="connsiteY132" fmla="*/ 242670 h 265674"/>
                <a:gd name="connsiteX133" fmla="*/ 188914 w 416400"/>
                <a:gd name="connsiteY133" fmla="*/ 238278 h 265674"/>
                <a:gd name="connsiteX134" fmla="*/ 191382 w 416400"/>
                <a:gd name="connsiteY134" fmla="*/ 227557 h 265674"/>
                <a:gd name="connsiteX135" fmla="*/ 198097 w 416400"/>
                <a:gd name="connsiteY135" fmla="*/ 224746 h 265674"/>
                <a:gd name="connsiteX136" fmla="*/ 201207 w 416400"/>
                <a:gd name="connsiteY136" fmla="*/ 217501 h 265674"/>
                <a:gd name="connsiteX137" fmla="*/ 201318 w 416400"/>
                <a:gd name="connsiteY137" fmla="*/ 213866 h 265674"/>
                <a:gd name="connsiteX138" fmla="*/ 197056 w 416400"/>
                <a:gd name="connsiteY138" fmla="*/ 203164 h 265674"/>
                <a:gd name="connsiteX139" fmla="*/ 203646 w 416400"/>
                <a:gd name="connsiteY139" fmla="*/ 201081 h 265674"/>
                <a:gd name="connsiteX140" fmla="*/ 209609 w 416400"/>
                <a:gd name="connsiteY140" fmla="*/ 195012 h 265674"/>
                <a:gd name="connsiteX141" fmla="*/ 215404 w 416400"/>
                <a:gd name="connsiteY141" fmla="*/ 191160 h 265674"/>
                <a:gd name="connsiteX142" fmla="*/ 216180 w 416400"/>
                <a:gd name="connsiteY142" fmla="*/ 183283 h 265674"/>
                <a:gd name="connsiteX143" fmla="*/ 223035 w 416400"/>
                <a:gd name="connsiteY143" fmla="*/ 180540 h 265674"/>
                <a:gd name="connsiteX144" fmla="*/ 230642 w 416400"/>
                <a:gd name="connsiteY144" fmla="*/ 181577 h 265674"/>
                <a:gd name="connsiteX145" fmla="*/ 230116 w 416400"/>
                <a:gd name="connsiteY145" fmla="*/ 194390 h 265674"/>
                <a:gd name="connsiteX146" fmla="*/ 232315 w 416400"/>
                <a:gd name="connsiteY146" fmla="*/ 210660 h 265674"/>
                <a:gd name="connsiteX147" fmla="*/ 238268 w 416400"/>
                <a:gd name="connsiteY147" fmla="*/ 214637 h 265674"/>
                <a:gd name="connsiteX148" fmla="*/ 242385 w 416400"/>
                <a:gd name="connsiteY148" fmla="*/ 220586 h 265674"/>
                <a:gd name="connsiteX149" fmla="*/ 252976 w 416400"/>
                <a:gd name="connsiteY149" fmla="*/ 227928 h 265674"/>
                <a:gd name="connsiteX150" fmla="*/ 259320 w 416400"/>
                <a:gd name="connsiteY150" fmla="*/ 227320 h 265674"/>
                <a:gd name="connsiteX151" fmla="*/ 264609 w 416400"/>
                <a:gd name="connsiteY151" fmla="*/ 230926 h 265674"/>
                <a:gd name="connsiteX152" fmla="*/ 264488 w 416400"/>
                <a:gd name="connsiteY152" fmla="*/ 236851 h 265674"/>
                <a:gd name="connsiteX153" fmla="*/ 263201 w 416400"/>
                <a:gd name="connsiteY153" fmla="*/ 244092 h 265674"/>
                <a:gd name="connsiteX154" fmla="*/ 271594 w 416400"/>
                <a:gd name="connsiteY154" fmla="*/ 264228 h 265674"/>
                <a:gd name="connsiteX155" fmla="*/ 279471 w 416400"/>
                <a:gd name="connsiteY155" fmla="*/ 264907 h 265674"/>
                <a:gd name="connsiteX156" fmla="*/ 283978 w 416400"/>
                <a:gd name="connsiteY156" fmla="*/ 263972 h 265674"/>
                <a:gd name="connsiteX157" fmla="*/ 286938 w 416400"/>
                <a:gd name="connsiteY157" fmla="*/ 257141 h 265674"/>
                <a:gd name="connsiteX158" fmla="*/ 280353 w 416400"/>
                <a:gd name="connsiteY158" fmla="*/ 245229 h 265674"/>
                <a:gd name="connsiteX159" fmla="*/ 282821 w 416400"/>
                <a:gd name="connsiteY159" fmla="*/ 242289 h 265674"/>
                <a:gd name="connsiteX160" fmla="*/ 281120 w 416400"/>
                <a:gd name="connsiteY160" fmla="*/ 238524 h 265674"/>
                <a:gd name="connsiteX161" fmla="*/ 287868 w 416400"/>
                <a:gd name="connsiteY161" fmla="*/ 232339 h 265674"/>
                <a:gd name="connsiteX162" fmla="*/ 288370 w 416400"/>
                <a:gd name="connsiteY162" fmla="*/ 226645 h 265674"/>
                <a:gd name="connsiteX163" fmla="*/ 292361 w 416400"/>
                <a:gd name="connsiteY163" fmla="*/ 220832 h 265674"/>
                <a:gd name="connsiteX164" fmla="*/ 294950 w 416400"/>
                <a:gd name="connsiteY164" fmla="*/ 219294 h 265674"/>
                <a:gd name="connsiteX165" fmla="*/ 299877 w 416400"/>
                <a:gd name="connsiteY165" fmla="*/ 212588 h 265674"/>
                <a:gd name="connsiteX166" fmla="*/ 303092 w 416400"/>
                <a:gd name="connsiteY166" fmla="*/ 210660 h 265674"/>
                <a:gd name="connsiteX167" fmla="*/ 306829 w 416400"/>
                <a:gd name="connsiteY167" fmla="*/ 198223 h 265674"/>
                <a:gd name="connsiteX168" fmla="*/ 305686 w 416400"/>
                <a:gd name="connsiteY168" fmla="*/ 191536 h 265674"/>
                <a:gd name="connsiteX169" fmla="*/ 306207 w 416400"/>
                <a:gd name="connsiteY169" fmla="*/ 185988 h 265674"/>
                <a:gd name="connsiteX170" fmla="*/ 305170 w 416400"/>
                <a:gd name="connsiteY170" fmla="*/ 179658 h 265674"/>
                <a:gd name="connsiteX171" fmla="*/ 311500 w 416400"/>
                <a:gd name="connsiteY171" fmla="*/ 174351 h 265674"/>
                <a:gd name="connsiteX172" fmla="*/ 317043 w 416400"/>
                <a:gd name="connsiteY172" fmla="*/ 178212 h 265674"/>
                <a:gd name="connsiteX173" fmla="*/ 322322 w 416400"/>
                <a:gd name="connsiteY173" fmla="*/ 174215 h 265674"/>
                <a:gd name="connsiteX174" fmla="*/ 322597 w 416400"/>
                <a:gd name="connsiteY174" fmla="*/ 186229 h 265674"/>
                <a:gd name="connsiteX175" fmla="*/ 326482 w 416400"/>
                <a:gd name="connsiteY175" fmla="*/ 194511 h 265674"/>
                <a:gd name="connsiteX176" fmla="*/ 335005 w 416400"/>
                <a:gd name="connsiteY176" fmla="*/ 202267 h 265674"/>
                <a:gd name="connsiteX177" fmla="*/ 345587 w 416400"/>
                <a:gd name="connsiteY177" fmla="*/ 201751 h 265674"/>
                <a:gd name="connsiteX178" fmla="*/ 349699 w 416400"/>
                <a:gd name="connsiteY178" fmla="*/ 194390 h 265674"/>
                <a:gd name="connsiteX179" fmla="*/ 357586 w 416400"/>
                <a:gd name="connsiteY179" fmla="*/ 192944 h 265674"/>
                <a:gd name="connsiteX180" fmla="*/ 367025 w 416400"/>
                <a:gd name="connsiteY180" fmla="*/ 192308 h 265674"/>
                <a:gd name="connsiteX181" fmla="*/ 370770 w 416400"/>
                <a:gd name="connsiteY181" fmla="*/ 196936 h 265674"/>
                <a:gd name="connsiteX182" fmla="*/ 372192 w 416400"/>
                <a:gd name="connsiteY182" fmla="*/ 203819 h 265674"/>
                <a:gd name="connsiteX183" fmla="*/ 377476 w 416400"/>
                <a:gd name="connsiteY183" fmla="*/ 209604 h 265674"/>
                <a:gd name="connsiteX184" fmla="*/ 383926 w 416400"/>
                <a:gd name="connsiteY184" fmla="*/ 211041 h 265674"/>
                <a:gd name="connsiteX185" fmla="*/ 389224 w 416400"/>
                <a:gd name="connsiteY185" fmla="*/ 204191 h 265674"/>
                <a:gd name="connsiteX186" fmla="*/ 383155 w 416400"/>
                <a:gd name="connsiteY186" fmla="*/ 198902 h 265674"/>
                <a:gd name="connsiteX187" fmla="*/ 383671 w 416400"/>
                <a:gd name="connsiteY187" fmla="*/ 192944 h 265674"/>
                <a:gd name="connsiteX188" fmla="*/ 387416 w 416400"/>
                <a:gd name="connsiteY188" fmla="*/ 186089 h 265674"/>
                <a:gd name="connsiteX189" fmla="*/ 381212 w 416400"/>
                <a:gd name="connsiteY189" fmla="*/ 185183 h 265674"/>
                <a:gd name="connsiteX190" fmla="*/ 377717 w 416400"/>
                <a:gd name="connsiteY190" fmla="*/ 179398 h 265674"/>
                <a:gd name="connsiteX191" fmla="*/ 377466 w 416400"/>
                <a:gd name="connsiteY191" fmla="*/ 172919 h 265674"/>
                <a:gd name="connsiteX192" fmla="*/ 381858 w 416400"/>
                <a:gd name="connsiteY192" fmla="*/ 159377 h 265674"/>
                <a:gd name="connsiteX193" fmla="*/ 393977 w 416400"/>
                <a:gd name="connsiteY193" fmla="*/ 157946 h 265674"/>
                <a:gd name="connsiteX194" fmla="*/ 395288 w 416400"/>
                <a:gd name="connsiteY194" fmla="*/ 162964 h 265674"/>
                <a:gd name="connsiteX195" fmla="*/ 401743 w 416400"/>
                <a:gd name="connsiteY195" fmla="*/ 167520 h 265674"/>
                <a:gd name="connsiteX196" fmla="*/ 406781 w 416400"/>
                <a:gd name="connsiteY196" fmla="*/ 166734 h 265674"/>
                <a:gd name="connsiteX197" fmla="*/ 414138 w 416400"/>
                <a:gd name="connsiteY197" fmla="*/ 169318 h 265674"/>
                <a:gd name="connsiteX198" fmla="*/ 416336 w 416400"/>
                <a:gd name="connsiteY198" fmla="*/ 162737 h 265674"/>
                <a:gd name="connsiteX199" fmla="*/ 413621 w 416400"/>
                <a:gd name="connsiteY199" fmla="*/ 156682 h 265674"/>
                <a:gd name="connsiteX200" fmla="*/ 409481 w 416400"/>
                <a:gd name="connsiteY200" fmla="*/ 154730 h 265674"/>
                <a:gd name="connsiteX201" fmla="*/ 407943 w 416400"/>
                <a:gd name="connsiteY201" fmla="*/ 149037 h 265674"/>
                <a:gd name="connsiteX202" fmla="*/ 410517 w 416400"/>
                <a:gd name="connsiteY202" fmla="*/ 140900 h 265674"/>
                <a:gd name="connsiteX203" fmla="*/ 415289 w 416400"/>
                <a:gd name="connsiteY203" fmla="*/ 125396 h 265674"/>
                <a:gd name="connsiteX204" fmla="*/ 415280 w 416400"/>
                <a:gd name="connsiteY204" fmla="*/ 125068 h 265674"/>
                <a:gd name="connsiteX205" fmla="*/ 411153 w 416400"/>
                <a:gd name="connsiteY205" fmla="*/ 118430 h 265674"/>
                <a:gd name="connsiteX206" fmla="*/ 415280 w 416400"/>
                <a:gd name="connsiteY206" fmla="*/ 125068 h 265674"/>
                <a:gd name="connsiteX207" fmla="*/ 415463 w 416400"/>
                <a:gd name="connsiteY207" fmla="*/ 114670 h 265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Lst>
              <a:rect l="l" t="t" r="r" b="b"/>
              <a:pathLst>
                <a:path w="416400" h="265674">
                  <a:moveTo>
                    <a:pt x="415463" y="114670"/>
                  </a:moveTo>
                  <a:cubicBezTo>
                    <a:pt x="413000" y="111725"/>
                    <a:pt x="410802" y="109367"/>
                    <a:pt x="410802" y="109367"/>
                  </a:cubicBezTo>
                  <a:lnTo>
                    <a:pt x="405388" y="108350"/>
                  </a:lnTo>
                  <a:lnTo>
                    <a:pt x="400471" y="114294"/>
                  </a:lnTo>
                  <a:lnTo>
                    <a:pt x="394406" y="116589"/>
                  </a:lnTo>
                  <a:lnTo>
                    <a:pt x="393760" y="123458"/>
                  </a:lnTo>
                  <a:cubicBezTo>
                    <a:pt x="393760" y="123458"/>
                    <a:pt x="388327" y="128607"/>
                    <a:pt x="385748" y="128607"/>
                  </a:cubicBezTo>
                  <a:cubicBezTo>
                    <a:pt x="383160" y="128607"/>
                    <a:pt x="379043" y="128607"/>
                    <a:pt x="377616" y="126785"/>
                  </a:cubicBezTo>
                  <a:cubicBezTo>
                    <a:pt x="376189" y="125006"/>
                    <a:pt x="374627" y="121250"/>
                    <a:pt x="371286" y="121250"/>
                  </a:cubicBezTo>
                  <a:cubicBezTo>
                    <a:pt x="367912" y="121250"/>
                    <a:pt x="365718" y="119447"/>
                    <a:pt x="365718" y="119447"/>
                  </a:cubicBezTo>
                  <a:lnTo>
                    <a:pt x="360300" y="112881"/>
                  </a:lnTo>
                  <a:cubicBezTo>
                    <a:pt x="360300" y="112881"/>
                    <a:pt x="361206" y="107974"/>
                    <a:pt x="358126" y="105226"/>
                  </a:cubicBezTo>
                  <a:cubicBezTo>
                    <a:pt x="355011" y="102512"/>
                    <a:pt x="344820" y="98926"/>
                    <a:pt x="341711" y="99673"/>
                  </a:cubicBezTo>
                  <a:cubicBezTo>
                    <a:pt x="340072" y="100087"/>
                    <a:pt x="337580" y="100343"/>
                    <a:pt x="335271" y="100300"/>
                  </a:cubicBezTo>
                  <a:lnTo>
                    <a:pt x="333434" y="104339"/>
                  </a:lnTo>
                  <a:lnTo>
                    <a:pt x="335271" y="100300"/>
                  </a:lnTo>
                  <a:cubicBezTo>
                    <a:pt x="333227" y="100290"/>
                    <a:pt x="331298" y="100034"/>
                    <a:pt x="330349" y="99442"/>
                  </a:cubicBezTo>
                  <a:cubicBezTo>
                    <a:pt x="328271" y="98154"/>
                    <a:pt x="324525" y="101230"/>
                    <a:pt x="324525" y="101230"/>
                  </a:cubicBezTo>
                  <a:cubicBezTo>
                    <a:pt x="324525" y="101230"/>
                    <a:pt x="328271" y="97258"/>
                    <a:pt x="327365" y="93738"/>
                  </a:cubicBezTo>
                  <a:cubicBezTo>
                    <a:pt x="326482" y="90263"/>
                    <a:pt x="325967" y="88850"/>
                    <a:pt x="325186" y="86146"/>
                  </a:cubicBezTo>
                  <a:cubicBezTo>
                    <a:pt x="324395" y="83408"/>
                    <a:pt x="324805" y="77999"/>
                    <a:pt x="327770" y="74099"/>
                  </a:cubicBezTo>
                  <a:cubicBezTo>
                    <a:pt x="328454" y="73173"/>
                    <a:pt x="329148" y="72339"/>
                    <a:pt x="329847" y="71491"/>
                  </a:cubicBezTo>
                  <a:cubicBezTo>
                    <a:pt x="329148" y="70324"/>
                    <a:pt x="328377" y="68984"/>
                    <a:pt x="327365" y="67403"/>
                  </a:cubicBezTo>
                  <a:cubicBezTo>
                    <a:pt x="328372" y="68984"/>
                    <a:pt x="329148" y="70320"/>
                    <a:pt x="329847" y="71491"/>
                  </a:cubicBezTo>
                  <a:cubicBezTo>
                    <a:pt x="332055" y="68796"/>
                    <a:pt x="333964" y="66757"/>
                    <a:pt x="333964" y="66757"/>
                  </a:cubicBezTo>
                  <a:cubicBezTo>
                    <a:pt x="333964" y="66757"/>
                    <a:pt x="338091" y="56687"/>
                    <a:pt x="339768" y="54498"/>
                  </a:cubicBezTo>
                  <a:cubicBezTo>
                    <a:pt x="339966" y="52570"/>
                    <a:pt x="342367" y="48149"/>
                    <a:pt x="338992" y="47387"/>
                  </a:cubicBezTo>
                  <a:cubicBezTo>
                    <a:pt x="336833" y="46886"/>
                    <a:pt x="332388" y="44635"/>
                    <a:pt x="331506" y="40614"/>
                  </a:cubicBezTo>
                  <a:lnTo>
                    <a:pt x="324492" y="41844"/>
                  </a:lnTo>
                  <a:lnTo>
                    <a:pt x="309639" y="27545"/>
                  </a:lnTo>
                  <a:lnTo>
                    <a:pt x="298204" y="20097"/>
                  </a:lnTo>
                  <a:lnTo>
                    <a:pt x="297414" y="20126"/>
                  </a:lnTo>
                  <a:cubicBezTo>
                    <a:pt x="297414" y="20126"/>
                    <a:pt x="295148" y="19157"/>
                    <a:pt x="292641" y="18275"/>
                  </a:cubicBezTo>
                  <a:lnTo>
                    <a:pt x="292969" y="18588"/>
                  </a:lnTo>
                  <a:lnTo>
                    <a:pt x="281071" y="18588"/>
                  </a:lnTo>
                  <a:lnTo>
                    <a:pt x="274510" y="21573"/>
                  </a:lnTo>
                  <a:lnTo>
                    <a:pt x="272789" y="21013"/>
                  </a:lnTo>
                  <a:cubicBezTo>
                    <a:pt x="272678" y="20975"/>
                    <a:pt x="272553" y="20931"/>
                    <a:pt x="272447" y="20912"/>
                  </a:cubicBezTo>
                  <a:lnTo>
                    <a:pt x="270957" y="20406"/>
                  </a:lnTo>
                  <a:lnTo>
                    <a:pt x="271816" y="20309"/>
                  </a:lnTo>
                  <a:cubicBezTo>
                    <a:pt x="270818" y="18569"/>
                    <a:pt x="270591" y="13117"/>
                    <a:pt x="268350" y="12249"/>
                  </a:cubicBezTo>
                  <a:cubicBezTo>
                    <a:pt x="266011" y="11343"/>
                    <a:pt x="263596" y="12510"/>
                    <a:pt x="263596" y="12510"/>
                  </a:cubicBezTo>
                  <a:lnTo>
                    <a:pt x="263326" y="17296"/>
                  </a:lnTo>
                  <a:lnTo>
                    <a:pt x="255955" y="14713"/>
                  </a:lnTo>
                  <a:lnTo>
                    <a:pt x="256346" y="9439"/>
                  </a:lnTo>
                  <a:cubicBezTo>
                    <a:pt x="256346" y="9439"/>
                    <a:pt x="257643" y="4797"/>
                    <a:pt x="254557" y="4652"/>
                  </a:cubicBezTo>
                  <a:cubicBezTo>
                    <a:pt x="251434" y="4522"/>
                    <a:pt x="250132" y="4261"/>
                    <a:pt x="250132" y="4261"/>
                  </a:cubicBezTo>
                  <a:lnTo>
                    <a:pt x="243971" y="0"/>
                  </a:lnTo>
                  <a:cubicBezTo>
                    <a:pt x="243971" y="0"/>
                    <a:pt x="243561" y="2830"/>
                    <a:pt x="240086" y="3741"/>
                  </a:cubicBezTo>
                  <a:cubicBezTo>
                    <a:pt x="236615" y="4647"/>
                    <a:pt x="233501" y="6445"/>
                    <a:pt x="233501" y="6445"/>
                  </a:cubicBezTo>
                  <a:lnTo>
                    <a:pt x="229630" y="11868"/>
                  </a:lnTo>
                  <a:lnTo>
                    <a:pt x="231028" y="18593"/>
                  </a:lnTo>
                  <a:lnTo>
                    <a:pt x="238649" y="20266"/>
                  </a:lnTo>
                  <a:lnTo>
                    <a:pt x="246541" y="18646"/>
                  </a:lnTo>
                  <a:lnTo>
                    <a:pt x="243566" y="28770"/>
                  </a:lnTo>
                  <a:cubicBezTo>
                    <a:pt x="243566" y="28770"/>
                    <a:pt x="238037" y="20632"/>
                    <a:pt x="237102" y="25048"/>
                  </a:cubicBezTo>
                  <a:cubicBezTo>
                    <a:pt x="236215" y="29411"/>
                    <a:pt x="233505" y="30361"/>
                    <a:pt x="230020" y="30491"/>
                  </a:cubicBezTo>
                  <a:cubicBezTo>
                    <a:pt x="226544" y="30602"/>
                    <a:pt x="223165" y="30602"/>
                    <a:pt x="223165" y="30602"/>
                  </a:cubicBezTo>
                  <a:cubicBezTo>
                    <a:pt x="223165" y="30602"/>
                    <a:pt x="216536" y="24157"/>
                    <a:pt x="212039" y="25198"/>
                  </a:cubicBezTo>
                  <a:cubicBezTo>
                    <a:pt x="207541" y="26220"/>
                    <a:pt x="205343" y="27145"/>
                    <a:pt x="205343" y="27145"/>
                  </a:cubicBezTo>
                  <a:lnTo>
                    <a:pt x="199384" y="31903"/>
                  </a:lnTo>
                  <a:lnTo>
                    <a:pt x="187246" y="32559"/>
                  </a:lnTo>
                  <a:lnTo>
                    <a:pt x="181046" y="28032"/>
                  </a:lnTo>
                  <a:lnTo>
                    <a:pt x="174090" y="28148"/>
                  </a:lnTo>
                  <a:lnTo>
                    <a:pt x="168662" y="32646"/>
                  </a:lnTo>
                  <a:lnTo>
                    <a:pt x="158968" y="32925"/>
                  </a:lnTo>
                  <a:cubicBezTo>
                    <a:pt x="158968" y="32925"/>
                    <a:pt x="157430" y="29951"/>
                    <a:pt x="159247" y="27232"/>
                  </a:cubicBezTo>
                  <a:cubicBezTo>
                    <a:pt x="161055" y="24518"/>
                    <a:pt x="153824" y="28032"/>
                    <a:pt x="153824" y="28032"/>
                  </a:cubicBezTo>
                  <a:lnTo>
                    <a:pt x="153535" y="28071"/>
                  </a:lnTo>
                  <a:cubicBezTo>
                    <a:pt x="153202" y="29016"/>
                    <a:pt x="152787" y="30100"/>
                    <a:pt x="152257" y="31513"/>
                  </a:cubicBezTo>
                  <a:cubicBezTo>
                    <a:pt x="152787" y="30100"/>
                    <a:pt x="153202" y="29016"/>
                    <a:pt x="153535" y="28071"/>
                  </a:cubicBezTo>
                  <a:lnTo>
                    <a:pt x="150980" y="28510"/>
                  </a:lnTo>
                  <a:lnTo>
                    <a:pt x="145942" y="32429"/>
                  </a:lnTo>
                  <a:lnTo>
                    <a:pt x="146063" y="38739"/>
                  </a:lnTo>
                  <a:cubicBezTo>
                    <a:pt x="146063" y="38739"/>
                    <a:pt x="137665" y="48564"/>
                    <a:pt x="135071" y="47122"/>
                  </a:cubicBezTo>
                  <a:cubicBezTo>
                    <a:pt x="132487" y="45734"/>
                    <a:pt x="130444" y="45209"/>
                    <a:pt x="128245" y="47262"/>
                  </a:cubicBezTo>
                  <a:cubicBezTo>
                    <a:pt x="126047" y="49359"/>
                    <a:pt x="122542" y="48694"/>
                    <a:pt x="122542" y="48694"/>
                  </a:cubicBezTo>
                  <a:lnTo>
                    <a:pt x="117264" y="44172"/>
                  </a:lnTo>
                  <a:lnTo>
                    <a:pt x="112742" y="37433"/>
                  </a:lnTo>
                  <a:cubicBezTo>
                    <a:pt x="112742" y="37433"/>
                    <a:pt x="108080" y="38643"/>
                    <a:pt x="105906" y="37968"/>
                  </a:cubicBezTo>
                  <a:cubicBezTo>
                    <a:pt x="103688" y="37336"/>
                    <a:pt x="98010" y="36922"/>
                    <a:pt x="99943" y="40692"/>
                  </a:cubicBezTo>
                  <a:cubicBezTo>
                    <a:pt x="101900" y="44404"/>
                    <a:pt x="100348" y="46891"/>
                    <a:pt x="96858" y="49060"/>
                  </a:cubicBezTo>
                  <a:lnTo>
                    <a:pt x="95691" y="50097"/>
                  </a:lnTo>
                  <a:cubicBezTo>
                    <a:pt x="95691" y="50097"/>
                    <a:pt x="94799" y="51008"/>
                    <a:pt x="92471" y="56416"/>
                  </a:cubicBezTo>
                  <a:cubicBezTo>
                    <a:pt x="99446" y="56701"/>
                    <a:pt x="104344" y="58268"/>
                    <a:pt x="105906" y="59295"/>
                  </a:cubicBezTo>
                  <a:cubicBezTo>
                    <a:pt x="101736" y="63927"/>
                    <a:pt x="89357" y="76577"/>
                    <a:pt x="86527" y="82815"/>
                  </a:cubicBezTo>
                  <a:cubicBezTo>
                    <a:pt x="80323" y="86932"/>
                    <a:pt x="75545" y="89742"/>
                    <a:pt x="74504" y="93367"/>
                  </a:cubicBezTo>
                  <a:lnTo>
                    <a:pt x="73868" y="95305"/>
                  </a:lnTo>
                  <a:cubicBezTo>
                    <a:pt x="67292" y="102156"/>
                    <a:pt x="49075" y="109647"/>
                    <a:pt x="49075" y="109647"/>
                  </a:cubicBezTo>
                  <a:lnTo>
                    <a:pt x="49075" y="122431"/>
                  </a:lnTo>
                  <a:lnTo>
                    <a:pt x="46081" y="127869"/>
                  </a:lnTo>
                  <a:lnTo>
                    <a:pt x="45314" y="134180"/>
                  </a:lnTo>
                  <a:lnTo>
                    <a:pt x="36912" y="141522"/>
                  </a:lnTo>
                  <a:cubicBezTo>
                    <a:pt x="36912" y="141522"/>
                    <a:pt x="23626" y="148386"/>
                    <a:pt x="21033" y="151365"/>
                  </a:cubicBezTo>
                  <a:cubicBezTo>
                    <a:pt x="18439" y="154325"/>
                    <a:pt x="18078" y="155246"/>
                    <a:pt x="19235" y="159107"/>
                  </a:cubicBezTo>
                  <a:cubicBezTo>
                    <a:pt x="20387" y="162964"/>
                    <a:pt x="17273" y="165808"/>
                    <a:pt x="13175" y="169713"/>
                  </a:cubicBezTo>
                  <a:cubicBezTo>
                    <a:pt x="9029" y="173574"/>
                    <a:pt x="11478" y="177845"/>
                    <a:pt x="11478" y="177845"/>
                  </a:cubicBezTo>
                  <a:cubicBezTo>
                    <a:pt x="11478" y="177845"/>
                    <a:pt x="13676" y="181418"/>
                    <a:pt x="15479" y="181962"/>
                  </a:cubicBezTo>
                  <a:cubicBezTo>
                    <a:pt x="17273" y="182478"/>
                    <a:pt x="17798" y="186740"/>
                    <a:pt x="16646" y="188152"/>
                  </a:cubicBezTo>
                  <a:cubicBezTo>
                    <a:pt x="15479" y="189613"/>
                    <a:pt x="13175" y="194245"/>
                    <a:pt x="10186" y="201072"/>
                  </a:cubicBezTo>
                  <a:cubicBezTo>
                    <a:pt x="1292" y="200937"/>
                    <a:pt x="371" y="208582"/>
                    <a:pt x="2034" y="210747"/>
                  </a:cubicBezTo>
                  <a:cubicBezTo>
                    <a:pt x="3726" y="212979"/>
                    <a:pt x="1533" y="212979"/>
                    <a:pt x="0" y="215794"/>
                  </a:cubicBezTo>
                  <a:cubicBezTo>
                    <a:pt x="3206" y="214131"/>
                    <a:pt x="10451" y="212583"/>
                    <a:pt x="14968" y="215148"/>
                  </a:cubicBezTo>
                  <a:cubicBezTo>
                    <a:pt x="15475" y="212979"/>
                    <a:pt x="20387" y="207392"/>
                    <a:pt x="28900" y="203284"/>
                  </a:cubicBezTo>
                  <a:cubicBezTo>
                    <a:pt x="26953" y="202865"/>
                    <a:pt x="25545" y="198488"/>
                    <a:pt x="25545" y="195383"/>
                  </a:cubicBezTo>
                  <a:cubicBezTo>
                    <a:pt x="25545" y="192298"/>
                    <a:pt x="23819" y="191623"/>
                    <a:pt x="21934" y="189955"/>
                  </a:cubicBezTo>
                  <a:cubicBezTo>
                    <a:pt x="20763" y="188923"/>
                    <a:pt x="25309" y="187014"/>
                    <a:pt x="25309" y="187014"/>
                  </a:cubicBezTo>
                  <a:cubicBezTo>
                    <a:pt x="31759" y="179026"/>
                    <a:pt x="37201" y="178723"/>
                    <a:pt x="40277" y="179026"/>
                  </a:cubicBezTo>
                  <a:cubicBezTo>
                    <a:pt x="49321" y="170489"/>
                    <a:pt x="70228" y="175122"/>
                    <a:pt x="70228" y="175122"/>
                  </a:cubicBezTo>
                  <a:lnTo>
                    <a:pt x="76187" y="181042"/>
                  </a:lnTo>
                  <a:lnTo>
                    <a:pt x="73072" y="186224"/>
                  </a:lnTo>
                  <a:lnTo>
                    <a:pt x="75136" y="190861"/>
                  </a:lnTo>
                  <a:lnTo>
                    <a:pt x="76697" y="192554"/>
                  </a:lnTo>
                  <a:lnTo>
                    <a:pt x="81079" y="200937"/>
                  </a:lnTo>
                  <a:lnTo>
                    <a:pt x="77078" y="206095"/>
                  </a:lnTo>
                  <a:lnTo>
                    <a:pt x="75415" y="212583"/>
                  </a:lnTo>
                  <a:lnTo>
                    <a:pt x="77218" y="218229"/>
                  </a:lnTo>
                  <a:lnTo>
                    <a:pt x="82497" y="224341"/>
                  </a:lnTo>
                  <a:lnTo>
                    <a:pt x="82381" y="230666"/>
                  </a:lnTo>
                  <a:cubicBezTo>
                    <a:pt x="82381" y="230666"/>
                    <a:pt x="88455" y="228829"/>
                    <a:pt x="91155" y="233746"/>
                  </a:cubicBezTo>
                  <a:cubicBezTo>
                    <a:pt x="92750" y="236567"/>
                    <a:pt x="95643" y="242891"/>
                    <a:pt x="98506" y="247640"/>
                  </a:cubicBezTo>
                  <a:lnTo>
                    <a:pt x="102671" y="246044"/>
                  </a:lnTo>
                  <a:lnTo>
                    <a:pt x="98506" y="247640"/>
                  </a:lnTo>
                  <a:cubicBezTo>
                    <a:pt x="100627" y="251164"/>
                    <a:pt x="102734" y="253834"/>
                    <a:pt x="104204" y="253535"/>
                  </a:cubicBezTo>
                  <a:cubicBezTo>
                    <a:pt x="107694" y="252735"/>
                    <a:pt x="114550" y="252499"/>
                    <a:pt x="114550" y="252499"/>
                  </a:cubicBezTo>
                  <a:lnTo>
                    <a:pt x="121265" y="249510"/>
                  </a:lnTo>
                  <a:cubicBezTo>
                    <a:pt x="121265" y="249510"/>
                    <a:pt x="129397" y="251323"/>
                    <a:pt x="133023" y="248753"/>
                  </a:cubicBezTo>
                  <a:cubicBezTo>
                    <a:pt x="136628" y="246169"/>
                    <a:pt x="145016" y="240765"/>
                    <a:pt x="145016" y="240765"/>
                  </a:cubicBezTo>
                  <a:lnTo>
                    <a:pt x="147085" y="241257"/>
                  </a:lnTo>
                  <a:lnTo>
                    <a:pt x="154576" y="242409"/>
                  </a:lnTo>
                  <a:lnTo>
                    <a:pt x="160125" y="248753"/>
                  </a:lnTo>
                  <a:lnTo>
                    <a:pt x="173049" y="250204"/>
                  </a:lnTo>
                  <a:cubicBezTo>
                    <a:pt x="173049" y="250204"/>
                    <a:pt x="172938" y="244246"/>
                    <a:pt x="178202" y="242670"/>
                  </a:cubicBezTo>
                  <a:cubicBezTo>
                    <a:pt x="183515" y="241137"/>
                    <a:pt x="188422" y="240601"/>
                    <a:pt x="188914" y="238278"/>
                  </a:cubicBezTo>
                  <a:cubicBezTo>
                    <a:pt x="189439" y="235964"/>
                    <a:pt x="191382" y="227557"/>
                    <a:pt x="191382" y="227557"/>
                  </a:cubicBezTo>
                  <a:lnTo>
                    <a:pt x="198097" y="224746"/>
                  </a:lnTo>
                  <a:lnTo>
                    <a:pt x="201207" y="217501"/>
                  </a:lnTo>
                  <a:lnTo>
                    <a:pt x="201318" y="213866"/>
                  </a:lnTo>
                  <a:lnTo>
                    <a:pt x="197056" y="203164"/>
                  </a:lnTo>
                  <a:lnTo>
                    <a:pt x="203646" y="201081"/>
                  </a:lnTo>
                  <a:lnTo>
                    <a:pt x="209609" y="195012"/>
                  </a:lnTo>
                  <a:lnTo>
                    <a:pt x="215404" y="191160"/>
                  </a:lnTo>
                  <a:lnTo>
                    <a:pt x="216180" y="183283"/>
                  </a:lnTo>
                  <a:lnTo>
                    <a:pt x="223035" y="180540"/>
                  </a:lnTo>
                  <a:cubicBezTo>
                    <a:pt x="223035" y="180540"/>
                    <a:pt x="230112" y="177966"/>
                    <a:pt x="230642" y="181577"/>
                  </a:cubicBezTo>
                  <a:cubicBezTo>
                    <a:pt x="231158" y="185187"/>
                    <a:pt x="231534" y="190346"/>
                    <a:pt x="230116" y="194390"/>
                  </a:cubicBezTo>
                  <a:cubicBezTo>
                    <a:pt x="228709" y="198382"/>
                    <a:pt x="228960" y="210361"/>
                    <a:pt x="232315" y="210660"/>
                  </a:cubicBezTo>
                  <a:cubicBezTo>
                    <a:pt x="235685" y="210891"/>
                    <a:pt x="236726" y="210757"/>
                    <a:pt x="238268" y="214637"/>
                  </a:cubicBezTo>
                  <a:cubicBezTo>
                    <a:pt x="239811" y="218537"/>
                    <a:pt x="242385" y="220586"/>
                    <a:pt x="242385" y="220586"/>
                  </a:cubicBezTo>
                  <a:cubicBezTo>
                    <a:pt x="242385" y="220586"/>
                    <a:pt x="251313" y="229364"/>
                    <a:pt x="252976" y="227928"/>
                  </a:cubicBezTo>
                  <a:cubicBezTo>
                    <a:pt x="254649" y="226496"/>
                    <a:pt x="256722" y="226496"/>
                    <a:pt x="259320" y="227320"/>
                  </a:cubicBezTo>
                  <a:cubicBezTo>
                    <a:pt x="261914" y="228068"/>
                    <a:pt x="263592" y="228463"/>
                    <a:pt x="264609" y="230926"/>
                  </a:cubicBezTo>
                  <a:cubicBezTo>
                    <a:pt x="265645" y="233375"/>
                    <a:pt x="266932" y="234918"/>
                    <a:pt x="264488" y="236851"/>
                  </a:cubicBezTo>
                  <a:cubicBezTo>
                    <a:pt x="262035" y="238784"/>
                    <a:pt x="259942" y="241893"/>
                    <a:pt x="263201" y="244092"/>
                  </a:cubicBezTo>
                  <a:cubicBezTo>
                    <a:pt x="266417" y="246285"/>
                    <a:pt x="278164" y="256987"/>
                    <a:pt x="271594" y="264228"/>
                  </a:cubicBezTo>
                  <a:cubicBezTo>
                    <a:pt x="276718" y="262921"/>
                    <a:pt x="278406" y="263317"/>
                    <a:pt x="279471" y="264907"/>
                  </a:cubicBezTo>
                  <a:cubicBezTo>
                    <a:pt x="280512" y="266465"/>
                    <a:pt x="283337" y="265394"/>
                    <a:pt x="283978" y="263972"/>
                  </a:cubicBezTo>
                  <a:cubicBezTo>
                    <a:pt x="284629" y="262555"/>
                    <a:pt x="286938" y="257141"/>
                    <a:pt x="286938" y="257141"/>
                  </a:cubicBezTo>
                  <a:lnTo>
                    <a:pt x="280353" y="245229"/>
                  </a:lnTo>
                  <a:lnTo>
                    <a:pt x="282821" y="242289"/>
                  </a:lnTo>
                  <a:lnTo>
                    <a:pt x="281120" y="238524"/>
                  </a:lnTo>
                  <a:lnTo>
                    <a:pt x="287868" y="232339"/>
                  </a:lnTo>
                  <a:lnTo>
                    <a:pt x="288370" y="226645"/>
                  </a:lnTo>
                  <a:lnTo>
                    <a:pt x="292361" y="220832"/>
                  </a:lnTo>
                  <a:lnTo>
                    <a:pt x="294950" y="219294"/>
                  </a:lnTo>
                  <a:lnTo>
                    <a:pt x="299877" y="212588"/>
                  </a:lnTo>
                  <a:lnTo>
                    <a:pt x="303092" y="210660"/>
                  </a:lnTo>
                  <a:lnTo>
                    <a:pt x="306829" y="198223"/>
                  </a:lnTo>
                  <a:lnTo>
                    <a:pt x="305686" y="191536"/>
                  </a:lnTo>
                  <a:lnTo>
                    <a:pt x="306207" y="185988"/>
                  </a:lnTo>
                  <a:lnTo>
                    <a:pt x="305170" y="179658"/>
                  </a:lnTo>
                  <a:lnTo>
                    <a:pt x="311500" y="174351"/>
                  </a:lnTo>
                  <a:lnTo>
                    <a:pt x="317043" y="178212"/>
                  </a:lnTo>
                  <a:lnTo>
                    <a:pt x="322322" y="174215"/>
                  </a:lnTo>
                  <a:cubicBezTo>
                    <a:pt x="322322" y="174215"/>
                    <a:pt x="319748" y="184286"/>
                    <a:pt x="322597" y="186229"/>
                  </a:cubicBezTo>
                  <a:cubicBezTo>
                    <a:pt x="325432" y="188157"/>
                    <a:pt x="326482" y="193074"/>
                    <a:pt x="326482" y="194511"/>
                  </a:cubicBezTo>
                  <a:cubicBezTo>
                    <a:pt x="326482" y="195913"/>
                    <a:pt x="331616" y="202123"/>
                    <a:pt x="335005" y="202267"/>
                  </a:cubicBezTo>
                  <a:cubicBezTo>
                    <a:pt x="338351" y="202364"/>
                    <a:pt x="345587" y="201751"/>
                    <a:pt x="345587" y="201751"/>
                  </a:cubicBezTo>
                  <a:cubicBezTo>
                    <a:pt x="345587" y="201751"/>
                    <a:pt x="346368" y="194250"/>
                    <a:pt x="349699" y="194390"/>
                  </a:cubicBezTo>
                  <a:cubicBezTo>
                    <a:pt x="353083" y="194511"/>
                    <a:pt x="354621" y="194771"/>
                    <a:pt x="357586" y="192944"/>
                  </a:cubicBezTo>
                  <a:cubicBezTo>
                    <a:pt x="360550" y="191160"/>
                    <a:pt x="364571" y="189835"/>
                    <a:pt x="367025" y="192308"/>
                  </a:cubicBezTo>
                  <a:cubicBezTo>
                    <a:pt x="369488" y="194771"/>
                    <a:pt x="370770" y="196936"/>
                    <a:pt x="370770" y="196936"/>
                  </a:cubicBezTo>
                  <a:lnTo>
                    <a:pt x="372192" y="203819"/>
                  </a:lnTo>
                  <a:lnTo>
                    <a:pt x="377476" y="209604"/>
                  </a:lnTo>
                  <a:lnTo>
                    <a:pt x="383926" y="211041"/>
                  </a:lnTo>
                  <a:lnTo>
                    <a:pt x="389224" y="204191"/>
                  </a:lnTo>
                  <a:lnTo>
                    <a:pt x="383155" y="198902"/>
                  </a:lnTo>
                  <a:lnTo>
                    <a:pt x="383671" y="192944"/>
                  </a:lnTo>
                  <a:lnTo>
                    <a:pt x="387416" y="186089"/>
                  </a:lnTo>
                  <a:lnTo>
                    <a:pt x="381212" y="185183"/>
                  </a:lnTo>
                  <a:lnTo>
                    <a:pt x="377717" y="179398"/>
                  </a:lnTo>
                  <a:lnTo>
                    <a:pt x="377466" y="172919"/>
                  </a:lnTo>
                  <a:lnTo>
                    <a:pt x="381858" y="159377"/>
                  </a:lnTo>
                  <a:cubicBezTo>
                    <a:pt x="381858" y="159377"/>
                    <a:pt x="393601" y="155395"/>
                    <a:pt x="393977" y="157946"/>
                  </a:cubicBezTo>
                  <a:cubicBezTo>
                    <a:pt x="394392" y="160510"/>
                    <a:pt x="395288" y="162964"/>
                    <a:pt x="395288" y="162964"/>
                  </a:cubicBezTo>
                  <a:lnTo>
                    <a:pt x="401743" y="167520"/>
                  </a:lnTo>
                  <a:lnTo>
                    <a:pt x="406781" y="166734"/>
                  </a:lnTo>
                  <a:lnTo>
                    <a:pt x="414138" y="169318"/>
                  </a:lnTo>
                  <a:lnTo>
                    <a:pt x="416336" y="162737"/>
                  </a:lnTo>
                  <a:cubicBezTo>
                    <a:pt x="416336" y="162737"/>
                    <a:pt x="416837" y="156682"/>
                    <a:pt x="413621" y="156682"/>
                  </a:cubicBezTo>
                  <a:cubicBezTo>
                    <a:pt x="410382" y="156682"/>
                    <a:pt x="409481" y="154730"/>
                    <a:pt x="409481" y="154730"/>
                  </a:cubicBezTo>
                  <a:lnTo>
                    <a:pt x="407943" y="149037"/>
                  </a:lnTo>
                  <a:cubicBezTo>
                    <a:pt x="407943" y="149037"/>
                    <a:pt x="408203" y="143599"/>
                    <a:pt x="410517" y="140900"/>
                  </a:cubicBezTo>
                  <a:cubicBezTo>
                    <a:pt x="412846" y="138186"/>
                    <a:pt x="415921" y="129383"/>
                    <a:pt x="415289" y="125396"/>
                  </a:cubicBezTo>
                  <a:cubicBezTo>
                    <a:pt x="415280" y="125290"/>
                    <a:pt x="415289" y="125170"/>
                    <a:pt x="415280" y="125068"/>
                  </a:cubicBezTo>
                  <a:cubicBezTo>
                    <a:pt x="413988" y="123661"/>
                    <a:pt x="412653" y="121578"/>
                    <a:pt x="411153" y="118430"/>
                  </a:cubicBezTo>
                  <a:cubicBezTo>
                    <a:pt x="412653" y="121578"/>
                    <a:pt x="413988" y="123661"/>
                    <a:pt x="415280" y="125068"/>
                  </a:cubicBezTo>
                  <a:cubicBezTo>
                    <a:pt x="414889" y="121159"/>
                    <a:pt x="417845" y="117572"/>
                    <a:pt x="415463" y="114670"/>
                  </a:cubicBezTo>
                  <a:close/>
                </a:path>
              </a:pathLst>
            </a:custGeom>
            <a:solidFill>
              <a:srgbClr val="65A6FB"/>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54" name="Freihandform: Form 653">
              <a:extLst>
                <a:ext uri="{FF2B5EF4-FFF2-40B4-BE49-F238E27FC236}">
                  <a16:creationId xmlns:a16="http://schemas.microsoft.com/office/drawing/2014/main" id="{8811F7B2-5F46-539C-B27E-BC59025BC2FF}"/>
                </a:ext>
              </a:extLst>
            </p:cNvPr>
            <p:cNvSpPr/>
            <p:nvPr/>
          </p:nvSpPr>
          <p:spPr>
            <a:xfrm>
              <a:off x="5327773" y="4451381"/>
              <a:ext cx="865090" cy="450867"/>
            </a:xfrm>
            <a:custGeom>
              <a:avLst/>
              <a:gdLst>
                <a:gd name="connsiteX0" fmla="*/ 674904 w 678302"/>
                <a:gd name="connsiteY0" fmla="*/ 127464 h 352929"/>
                <a:gd name="connsiteX1" fmla="*/ 678303 w 678302"/>
                <a:gd name="connsiteY1" fmla="*/ 116994 h 352929"/>
                <a:gd name="connsiteX2" fmla="*/ 668700 w 678302"/>
                <a:gd name="connsiteY2" fmla="*/ 100864 h 352929"/>
                <a:gd name="connsiteX3" fmla="*/ 659917 w 678302"/>
                <a:gd name="connsiteY3" fmla="*/ 94539 h 352929"/>
                <a:gd name="connsiteX4" fmla="*/ 656547 w 678302"/>
                <a:gd name="connsiteY4" fmla="*/ 83427 h 352929"/>
                <a:gd name="connsiteX5" fmla="*/ 647899 w 678302"/>
                <a:gd name="connsiteY5" fmla="*/ 74278 h 352929"/>
                <a:gd name="connsiteX6" fmla="*/ 646346 w 678302"/>
                <a:gd name="connsiteY6" fmla="*/ 61845 h 352929"/>
                <a:gd name="connsiteX7" fmla="*/ 652194 w 678302"/>
                <a:gd name="connsiteY7" fmla="*/ 38421 h 352929"/>
                <a:gd name="connsiteX8" fmla="*/ 648409 w 678302"/>
                <a:gd name="connsiteY8" fmla="*/ 29840 h 352929"/>
                <a:gd name="connsiteX9" fmla="*/ 645088 w 678302"/>
                <a:gd name="connsiteY9" fmla="*/ 23819 h 352929"/>
                <a:gd name="connsiteX10" fmla="*/ 639877 w 678302"/>
                <a:gd name="connsiteY10" fmla="*/ 26591 h 352929"/>
                <a:gd name="connsiteX11" fmla="*/ 633306 w 678302"/>
                <a:gd name="connsiteY11" fmla="*/ 23877 h 352929"/>
                <a:gd name="connsiteX12" fmla="*/ 626726 w 678302"/>
                <a:gd name="connsiteY12" fmla="*/ 24942 h 352929"/>
                <a:gd name="connsiteX13" fmla="*/ 622445 w 678302"/>
                <a:gd name="connsiteY13" fmla="*/ 18864 h 352929"/>
                <a:gd name="connsiteX14" fmla="*/ 619620 w 678302"/>
                <a:gd name="connsiteY14" fmla="*/ 19495 h 352929"/>
                <a:gd name="connsiteX15" fmla="*/ 613141 w 678302"/>
                <a:gd name="connsiteY15" fmla="*/ 16395 h 352929"/>
                <a:gd name="connsiteX16" fmla="*/ 608007 w 678302"/>
                <a:gd name="connsiteY16" fmla="*/ 16800 h 352929"/>
                <a:gd name="connsiteX17" fmla="*/ 605144 w 678302"/>
                <a:gd name="connsiteY17" fmla="*/ 20397 h 352929"/>
                <a:gd name="connsiteX18" fmla="*/ 602039 w 678302"/>
                <a:gd name="connsiteY18" fmla="*/ 24422 h 352929"/>
                <a:gd name="connsiteX19" fmla="*/ 593796 w 678302"/>
                <a:gd name="connsiteY19" fmla="*/ 27521 h 352929"/>
                <a:gd name="connsiteX20" fmla="*/ 582029 w 678302"/>
                <a:gd name="connsiteY20" fmla="*/ 28539 h 352929"/>
                <a:gd name="connsiteX21" fmla="*/ 567181 w 678302"/>
                <a:gd name="connsiteY21" fmla="*/ 23540 h 352929"/>
                <a:gd name="connsiteX22" fmla="*/ 555312 w 678302"/>
                <a:gd name="connsiteY22" fmla="*/ 15253 h 352929"/>
                <a:gd name="connsiteX23" fmla="*/ 549098 w 678302"/>
                <a:gd name="connsiteY23" fmla="*/ 14462 h 352929"/>
                <a:gd name="connsiteX24" fmla="*/ 532703 w 678302"/>
                <a:gd name="connsiteY24" fmla="*/ 12428 h 352929"/>
                <a:gd name="connsiteX25" fmla="*/ 523544 w 678302"/>
                <a:gd name="connsiteY25" fmla="*/ 10620 h 352929"/>
                <a:gd name="connsiteX26" fmla="*/ 510990 w 678302"/>
                <a:gd name="connsiteY26" fmla="*/ 2083 h 352929"/>
                <a:gd name="connsiteX27" fmla="*/ 504425 w 678302"/>
                <a:gd name="connsiteY27" fmla="*/ 2594 h 352929"/>
                <a:gd name="connsiteX28" fmla="*/ 498355 w 678302"/>
                <a:gd name="connsiteY28" fmla="*/ 7631 h 352929"/>
                <a:gd name="connsiteX29" fmla="*/ 492917 w 678302"/>
                <a:gd name="connsiteY29" fmla="*/ 8258 h 352929"/>
                <a:gd name="connsiteX30" fmla="*/ 488917 w 678302"/>
                <a:gd name="connsiteY30" fmla="*/ 1037 h 352929"/>
                <a:gd name="connsiteX31" fmla="*/ 476908 w 678302"/>
                <a:gd name="connsiteY31" fmla="*/ 0 h 352929"/>
                <a:gd name="connsiteX32" fmla="*/ 475751 w 678302"/>
                <a:gd name="connsiteY32" fmla="*/ 6966 h 352929"/>
                <a:gd name="connsiteX33" fmla="*/ 478084 w 678302"/>
                <a:gd name="connsiteY33" fmla="*/ 13045 h 352929"/>
                <a:gd name="connsiteX34" fmla="*/ 475105 w 678302"/>
                <a:gd name="connsiteY34" fmla="*/ 18984 h 352929"/>
                <a:gd name="connsiteX35" fmla="*/ 475751 w 678302"/>
                <a:gd name="connsiteY35" fmla="*/ 25699 h 352929"/>
                <a:gd name="connsiteX36" fmla="*/ 475259 w 678302"/>
                <a:gd name="connsiteY36" fmla="*/ 27266 h 352929"/>
                <a:gd name="connsiteX37" fmla="*/ 476908 w 678302"/>
                <a:gd name="connsiteY37" fmla="*/ 33976 h 352929"/>
                <a:gd name="connsiteX38" fmla="*/ 469932 w 678302"/>
                <a:gd name="connsiteY38" fmla="*/ 32689 h 352929"/>
                <a:gd name="connsiteX39" fmla="*/ 462301 w 678302"/>
                <a:gd name="connsiteY39" fmla="*/ 35919 h 352929"/>
                <a:gd name="connsiteX40" fmla="*/ 455721 w 678302"/>
                <a:gd name="connsiteY40" fmla="*/ 48578 h 352929"/>
                <a:gd name="connsiteX41" fmla="*/ 455856 w 678302"/>
                <a:gd name="connsiteY41" fmla="*/ 53751 h 352929"/>
                <a:gd name="connsiteX42" fmla="*/ 453648 w 678302"/>
                <a:gd name="connsiteY42" fmla="*/ 61343 h 352929"/>
                <a:gd name="connsiteX43" fmla="*/ 446162 w 678302"/>
                <a:gd name="connsiteY43" fmla="*/ 54368 h 352929"/>
                <a:gd name="connsiteX44" fmla="*/ 440107 w 678302"/>
                <a:gd name="connsiteY44" fmla="*/ 55785 h 352929"/>
                <a:gd name="connsiteX45" fmla="*/ 433782 w 678302"/>
                <a:gd name="connsiteY45" fmla="*/ 53322 h 352929"/>
                <a:gd name="connsiteX46" fmla="*/ 431574 w 678302"/>
                <a:gd name="connsiteY46" fmla="*/ 57472 h 352929"/>
                <a:gd name="connsiteX47" fmla="*/ 418664 w 678302"/>
                <a:gd name="connsiteY47" fmla="*/ 63792 h 352929"/>
                <a:gd name="connsiteX48" fmla="*/ 400331 w 678302"/>
                <a:gd name="connsiteY48" fmla="*/ 61098 h 352929"/>
                <a:gd name="connsiteX49" fmla="*/ 394792 w 678302"/>
                <a:gd name="connsiteY49" fmla="*/ 55780 h 352929"/>
                <a:gd name="connsiteX50" fmla="*/ 395698 w 678302"/>
                <a:gd name="connsiteY50" fmla="*/ 50102 h 352929"/>
                <a:gd name="connsiteX51" fmla="*/ 383280 w 678302"/>
                <a:gd name="connsiteY51" fmla="*/ 41314 h 352929"/>
                <a:gd name="connsiteX52" fmla="*/ 377548 w 678302"/>
                <a:gd name="connsiteY52" fmla="*/ 39930 h 352929"/>
                <a:gd name="connsiteX53" fmla="*/ 376305 w 678302"/>
                <a:gd name="connsiteY53" fmla="*/ 44437 h 352929"/>
                <a:gd name="connsiteX54" fmla="*/ 377611 w 678302"/>
                <a:gd name="connsiteY54" fmla="*/ 49711 h 352929"/>
                <a:gd name="connsiteX55" fmla="*/ 376305 w 678302"/>
                <a:gd name="connsiteY55" fmla="*/ 62385 h 352929"/>
                <a:gd name="connsiteX56" fmla="*/ 371016 w 678302"/>
                <a:gd name="connsiteY56" fmla="*/ 68555 h 352929"/>
                <a:gd name="connsiteX57" fmla="*/ 369599 w 678302"/>
                <a:gd name="connsiteY57" fmla="*/ 75295 h 352929"/>
                <a:gd name="connsiteX58" fmla="*/ 361833 w 678302"/>
                <a:gd name="connsiteY58" fmla="*/ 69866 h 352929"/>
                <a:gd name="connsiteX59" fmla="*/ 355773 w 678302"/>
                <a:gd name="connsiteY59" fmla="*/ 69211 h 352929"/>
                <a:gd name="connsiteX60" fmla="*/ 350475 w 678302"/>
                <a:gd name="connsiteY60" fmla="*/ 66511 h 352929"/>
                <a:gd name="connsiteX61" fmla="*/ 344020 w 678302"/>
                <a:gd name="connsiteY61" fmla="*/ 70112 h 352929"/>
                <a:gd name="connsiteX62" fmla="*/ 345457 w 678302"/>
                <a:gd name="connsiteY62" fmla="*/ 75555 h 352929"/>
                <a:gd name="connsiteX63" fmla="*/ 343625 w 678302"/>
                <a:gd name="connsiteY63" fmla="*/ 82531 h 352929"/>
                <a:gd name="connsiteX64" fmla="*/ 344666 w 678302"/>
                <a:gd name="connsiteY64" fmla="*/ 89357 h 352929"/>
                <a:gd name="connsiteX65" fmla="*/ 340540 w 678302"/>
                <a:gd name="connsiteY65" fmla="*/ 98391 h 352929"/>
                <a:gd name="connsiteX66" fmla="*/ 335372 w 678302"/>
                <a:gd name="connsiteY66" fmla="*/ 102932 h 352929"/>
                <a:gd name="connsiteX67" fmla="*/ 328782 w 678302"/>
                <a:gd name="connsiteY67" fmla="*/ 106031 h 352929"/>
                <a:gd name="connsiteX68" fmla="*/ 322453 w 678302"/>
                <a:gd name="connsiteY68" fmla="*/ 105858 h 352929"/>
                <a:gd name="connsiteX69" fmla="*/ 317810 w 678302"/>
                <a:gd name="connsiteY69" fmla="*/ 109628 h 352929"/>
                <a:gd name="connsiteX70" fmla="*/ 310449 w 678302"/>
                <a:gd name="connsiteY70" fmla="*/ 110925 h 352929"/>
                <a:gd name="connsiteX71" fmla="*/ 301926 w 678302"/>
                <a:gd name="connsiteY71" fmla="*/ 118917 h 352929"/>
                <a:gd name="connsiteX72" fmla="*/ 295731 w 678302"/>
                <a:gd name="connsiteY72" fmla="*/ 119824 h 352929"/>
                <a:gd name="connsiteX73" fmla="*/ 293523 w 678302"/>
                <a:gd name="connsiteY73" fmla="*/ 125758 h 352929"/>
                <a:gd name="connsiteX74" fmla="*/ 287073 w 678302"/>
                <a:gd name="connsiteY74" fmla="*/ 130964 h 352929"/>
                <a:gd name="connsiteX75" fmla="*/ 288110 w 678302"/>
                <a:gd name="connsiteY75" fmla="*/ 136879 h 352929"/>
                <a:gd name="connsiteX76" fmla="*/ 294300 w 678302"/>
                <a:gd name="connsiteY76" fmla="*/ 143353 h 352929"/>
                <a:gd name="connsiteX77" fmla="*/ 297158 w 678302"/>
                <a:gd name="connsiteY77" fmla="*/ 148757 h 352929"/>
                <a:gd name="connsiteX78" fmla="*/ 309032 w 678302"/>
                <a:gd name="connsiteY78" fmla="*/ 166059 h 352929"/>
                <a:gd name="connsiteX79" fmla="*/ 304876 w 678302"/>
                <a:gd name="connsiteY79" fmla="*/ 178226 h 352929"/>
                <a:gd name="connsiteX80" fmla="*/ 306308 w 678302"/>
                <a:gd name="connsiteY80" fmla="*/ 185062 h 352929"/>
                <a:gd name="connsiteX81" fmla="*/ 311847 w 678302"/>
                <a:gd name="connsiteY81" fmla="*/ 182507 h 352929"/>
                <a:gd name="connsiteX82" fmla="*/ 319107 w 678302"/>
                <a:gd name="connsiteY82" fmla="*/ 188952 h 352929"/>
                <a:gd name="connsiteX83" fmla="*/ 320004 w 678302"/>
                <a:gd name="connsiteY83" fmla="*/ 194598 h 352929"/>
                <a:gd name="connsiteX84" fmla="*/ 316764 w 678302"/>
                <a:gd name="connsiteY84" fmla="*/ 214001 h 352929"/>
                <a:gd name="connsiteX85" fmla="*/ 310579 w 678302"/>
                <a:gd name="connsiteY85" fmla="*/ 215399 h 352929"/>
                <a:gd name="connsiteX86" fmla="*/ 305021 w 678302"/>
                <a:gd name="connsiteY86" fmla="*/ 213466 h 352929"/>
                <a:gd name="connsiteX87" fmla="*/ 292752 w 678302"/>
                <a:gd name="connsiteY87" fmla="*/ 203415 h 352929"/>
                <a:gd name="connsiteX88" fmla="*/ 295066 w 678302"/>
                <a:gd name="connsiteY88" fmla="*/ 197066 h 352929"/>
                <a:gd name="connsiteX89" fmla="*/ 289527 w 678302"/>
                <a:gd name="connsiteY89" fmla="*/ 191647 h 352929"/>
                <a:gd name="connsiteX90" fmla="*/ 285005 w 678302"/>
                <a:gd name="connsiteY90" fmla="*/ 189965 h 352929"/>
                <a:gd name="connsiteX91" fmla="*/ 278545 w 678302"/>
                <a:gd name="connsiteY91" fmla="*/ 190996 h 352929"/>
                <a:gd name="connsiteX92" fmla="*/ 271965 w 678302"/>
                <a:gd name="connsiteY92" fmla="*/ 196540 h 352929"/>
                <a:gd name="connsiteX93" fmla="*/ 266147 w 678302"/>
                <a:gd name="connsiteY93" fmla="*/ 196396 h 352929"/>
                <a:gd name="connsiteX94" fmla="*/ 260603 w 678302"/>
                <a:gd name="connsiteY94" fmla="*/ 189844 h 352929"/>
                <a:gd name="connsiteX95" fmla="*/ 255165 w 678302"/>
                <a:gd name="connsiteY95" fmla="*/ 190736 h 352929"/>
                <a:gd name="connsiteX96" fmla="*/ 249481 w 678302"/>
                <a:gd name="connsiteY96" fmla="*/ 189569 h 352929"/>
                <a:gd name="connsiteX97" fmla="*/ 243933 w 678302"/>
                <a:gd name="connsiteY97" fmla="*/ 190625 h 352929"/>
                <a:gd name="connsiteX98" fmla="*/ 242525 w 678302"/>
                <a:gd name="connsiteY98" fmla="*/ 184831 h 352929"/>
                <a:gd name="connsiteX99" fmla="*/ 237449 w 678302"/>
                <a:gd name="connsiteY99" fmla="*/ 189569 h 352929"/>
                <a:gd name="connsiteX100" fmla="*/ 239806 w 678302"/>
                <a:gd name="connsiteY100" fmla="*/ 201472 h 352929"/>
                <a:gd name="connsiteX101" fmla="*/ 207522 w 678302"/>
                <a:gd name="connsiteY101" fmla="*/ 206746 h 352929"/>
                <a:gd name="connsiteX102" fmla="*/ 201178 w 678302"/>
                <a:gd name="connsiteY102" fmla="*/ 205594 h 352929"/>
                <a:gd name="connsiteX103" fmla="*/ 188553 w 678302"/>
                <a:gd name="connsiteY103" fmla="*/ 207006 h 352929"/>
                <a:gd name="connsiteX104" fmla="*/ 185168 w 678302"/>
                <a:gd name="connsiteY104" fmla="*/ 210501 h 352929"/>
                <a:gd name="connsiteX105" fmla="*/ 181572 w 678302"/>
                <a:gd name="connsiteY105" fmla="*/ 215674 h 352929"/>
                <a:gd name="connsiteX106" fmla="*/ 176009 w 678302"/>
                <a:gd name="connsiteY106" fmla="*/ 216310 h 352929"/>
                <a:gd name="connsiteX107" fmla="*/ 169033 w 678302"/>
                <a:gd name="connsiteY107" fmla="*/ 218908 h 352929"/>
                <a:gd name="connsiteX108" fmla="*/ 167361 w 678302"/>
                <a:gd name="connsiteY108" fmla="*/ 225354 h 352929"/>
                <a:gd name="connsiteX109" fmla="*/ 161783 w 678302"/>
                <a:gd name="connsiteY109" fmla="*/ 225754 h 352929"/>
                <a:gd name="connsiteX110" fmla="*/ 155979 w 678302"/>
                <a:gd name="connsiteY110" fmla="*/ 232580 h 352929"/>
                <a:gd name="connsiteX111" fmla="*/ 149529 w 678302"/>
                <a:gd name="connsiteY111" fmla="*/ 228468 h 352929"/>
                <a:gd name="connsiteX112" fmla="*/ 143185 w 678302"/>
                <a:gd name="connsiteY112" fmla="*/ 232826 h 352929"/>
                <a:gd name="connsiteX113" fmla="*/ 136763 w 678302"/>
                <a:gd name="connsiteY113" fmla="*/ 233640 h 352929"/>
                <a:gd name="connsiteX114" fmla="*/ 124871 w 678302"/>
                <a:gd name="connsiteY114" fmla="*/ 221608 h 352929"/>
                <a:gd name="connsiteX115" fmla="*/ 120354 w 678302"/>
                <a:gd name="connsiteY115" fmla="*/ 220075 h 352929"/>
                <a:gd name="connsiteX116" fmla="*/ 121260 w 678302"/>
                <a:gd name="connsiteY116" fmla="*/ 215539 h 352929"/>
                <a:gd name="connsiteX117" fmla="*/ 114526 w 678302"/>
                <a:gd name="connsiteY117" fmla="*/ 215674 h 352929"/>
                <a:gd name="connsiteX118" fmla="*/ 105106 w 678302"/>
                <a:gd name="connsiteY118" fmla="*/ 213871 h 352929"/>
                <a:gd name="connsiteX119" fmla="*/ 93628 w 678302"/>
                <a:gd name="connsiteY119" fmla="*/ 212974 h 352929"/>
                <a:gd name="connsiteX120" fmla="*/ 91025 w 678302"/>
                <a:gd name="connsiteY120" fmla="*/ 215674 h 352929"/>
                <a:gd name="connsiteX121" fmla="*/ 86392 w 678302"/>
                <a:gd name="connsiteY121" fmla="*/ 215153 h 352929"/>
                <a:gd name="connsiteX122" fmla="*/ 83943 w 678302"/>
                <a:gd name="connsiteY122" fmla="*/ 208568 h 352929"/>
                <a:gd name="connsiteX123" fmla="*/ 82000 w 678302"/>
                <a:gd name="connsiteY123" fmla="*/ 220456 h 352929"/>
                <a:gd name="connsiteX124" fmla="*/ 83538 w 678302"/>
                <a:gd name="connsiteY124" fmla="*/ 230526 h 352929"/>
                <a:gd name="connsiteX125" fmla="*/ 80188 w 678302"/>
                <a:gd name="connsiteY125" fmla="*/ 235183 h 352929"/>
                <a:gd name="connsiteX126" fmla="*/ 58634 w 678302"/>
                <a:gd name="connsiteY126" fmla="*/ 250817 h 352929"/>
                <a:gd name="connsiteX127" fmla="*/ 61985 w 678302"/>
                <a:gd name="connsiteY127" fmla="*/ 236731 h 352929"/>
                <a:gd name="connsiteX128" fmla="*/ 56171 w 678302"/>
                <a:gd name="connsiteY128" fmla="*/ 237782 h 352929"/>
                <a:gd name="connsiteX129" fmla="*/ 49962 w 678302"/>
                <a:gd name="connsiteY129" fmla="*/ 237782 h 352929"/>
                <a:gd name="connsiteX130" fmla="*/ 49827 w 678302"/>
                <a:gd name="connsiteY130" fmla="*/ 231823 h 352929"/>
                <a:gd name="connsiteX131" fmla="*/ 47113 w 678302"/>
                <a:gd name="connsiteY131" fmla="*/ 225358 h 352929"/>
                <a:gd name="connsiteX132" fmla="*/ 42080 w 678302"/>
                <a:gd name="connsiteY132" fmla="*/ 222784 h 352929"/>
                <a:gd name="connsiteX133" fmla="*/ 28924 w 678302"/>
                <a:gd name="connsiteY133" fmla="*/ 215158 h 352929"/>
                <a:gd name="connsiteX134" fmla="*/ 24783 w 678302"/>
                <a:gd name="connsiteY134" fmla="*/ 208934 h 352929"/>
                <a:gd name="connsiteX135" fmla="*/ 18825 w 678302"/>
                <a:gd name="connsiteY135" fmla="*/ 214251 h 352929"/>
                <a:gd name="connsiteX136" fmla="*/ 17229 w 678302"/>
                <a:gd name="connsiteY136" fmla="*/ 215992 h 352929"/>
                <a:gd name="connsiteX137" fmla="*/ 17268 w 678302"/>
                <a:gd name="connsiteY137" fmla="*/ 216002 h 352929"/>
                <a:gd name="connsiteX138" fmla="*/ 13710 w 678302"/>
                <a:gd name="connsiteY138" fmla="*/ 220764 h 352929"/>
                <a:gd name="connsiteX139" fmla="*/ 11324 w 678302"/>
                <a:gd name="connsiteY139" fmla="*/ 221372 h 352929"/>
                <a:gd name="connsiteX140" fmla="*/ 1793 w 678302"/>
                <a:gd name="connsiteY140" fmla="*/ 220143 h 352929"/>
                <a:gd name="connsiteX141" fmla="*/ 1658 w 678302"/>
                <a:gd name="connsiteY141" fmla="*/ 220143 h 352929"/>
                <a:gd name="connsiteX142" fmla="*/ 9145 w 678302"/>
                <a:gd name="connsiteY142" fmla="*/ 226916 h 352929"/>
                <a:gd name="connsiteX143" fmla="*/ 9921 w 678302"/>
                <a:gd name="connsiteY143" fmla="*/ 234026 h 352929"/>
                <a:gd name="connsiteX144" fmla="*/ 4117 w 678302"/>
                <a:gd name="connsiteY144" fmla="*/ 246285 h 352929"/>
                <a:gd name="connsiteX145" fmla="*/ 0 w 678302"/>
                <a:gd name="connsiteY145" fmla="*/ 251019 h 352929"/>
                <a:gd name="connsiteX146" fmla="*/ 3355 w 678302"/>
                <a:gd name="connsiteY146" fmla="*/ 257773 h 352929"/>
                <a:gd name="connsiteX147" fmla="*/ 3591 w 678302"/>
                <a:gd name="connsiteY147" fmla="*/ 261008 h 352929"/>
                <a:gd name="connsiteX148" fmla="*/ 8634 w 678302"/>
                <a:gd name="connsiteY148" fmla="*/ 272761 h 352929"/>
                <a:gd name="connsiteX149" fmla="*/ 5428 w 678302"/>
                <a:gd name="connsiteY149" fmla="*/ 279828 h 352929"/>
                <a:gd name="connsiteX150" fmla="*/ 11869 w 678302"/>
                <a:gd name="connsiteY150" fmla="*/ 279201 h 352929"/>
                <a:gd name="connsiteX151" fmla="*/ 28283 w 678302"/>
                <a:gd name="connsiteY151" fmla="*/ 284754 h 352929"/>
                <a:gd name="connsiteX152" fmla="*/ 30457 w 678302"/>
                <a:gd name="connsiteY152" fmla="*/ 292410 h 352929"/>
                <a:gd name="connsiteX153" fmla="*/ 35876 w 678302"/>
                <a:gd name="connsiteY153" fmla="*/ 298975 h 352929"/>
                <a:gd name="connsiteX154" fmla="*/ 41444 w 678302"/>
                <a:gd name="connsiteY154" fmla="*/ 300779 h 352929"/>
                <a:gd name="connsiteX155" fmla="*/ 47773 w 678302"/>
                <a:gd name="connsiteY155" fmla="*/ 306313 h 352929"/>
                <a:gd name="connsiteX156" fmla="*/ 55906 w 678302"/>
                <a:gd name="connsiteY156" fmla="*/ 308135 h 352929"/>
                <a:gd name="connsiteX157" fmla="*/ 63918 w 678302"/>
                <a:gd name="connsiteY157" fmla="*/ 302986 h 352929"/>
                <a:gd name="connsiteX158" fmla="*/ 64564 w 678302"/>
                <a:gd name="connsiteY158" fmla="*/ 296117 h 352929"/>
                <a:gd name="connsiteX159" fmla="*/ 70628 w 678302"/>
                <a:gd name="connsiteY159" fmla="*/ 293822 h 352929"/>
                <a:gd name="connsiteX160" fmla="*/ 75545 w 678302"/>
                <a:gd name="connsiteY160" fmla="*/ 287878 h 352929"/>
                <a:gd name="connsiteX161" fmla="*/ 80959 w 678302"/>
                <a:gd name="connsiteY161" fmla="*/ 288895 h 352929"/>
                <a:gd name="connsiteX162" fmla="*/ 85621 w 678302"/>
                <a:gd name="connsiteY162" fmla="*/ 294198 h 352929"/>
                <a:gd name="connsiteX163" fmla="*/ 85466 w 678302"/>
                <a:gd name="connsiteY163" fmla="*/ 304582 h 352929"/>
                <a:gd name="connsiteX164" fmla="*/ 91825 w 678302"/>
                <a:gd name="connsiteY164" fmla="*/ 306877 h 352929"/>
                <a:gd name="connsiteX165" fmla="*/ 99051 w 678302"/>
                <a:gd name="connsiteY165" fmla="*/ 304784 h 352929"/>
                <a:gd name="connsiteX166" fmla="*/ 108452 w 678302"/>
                <a:gd name="connsiteY166" fmla="*/ 308135 h 352929"/>
                <a:gd name="connsiteX167" fmla="*/ 122677 w 678302"/>
                <a:gd name="connsiteY167" fmla="*/ 317058 h 352929"/>
                <a:gd name="connsiteX168" fmla="*/ 130188 w 678302"/>
                <a:gd name="connsiteY168" fmla="*/ 315867 h 352929"/>
                <a:gd name="connsiteX169" fmla="*/ 134696 w 678302"/>
                <a:gd name="connsiteY169" fmla="*/ 316793 h 352929"/>
                <a:gd name="connsiteX170" fmla="*/ 139468 w 678302"/>
                <a:gd name="connsiteY170" fmla="*/ 310343 h 352929"/>
                <a:gd name="connsiteX171" fmla="*/ 142061 w 678302"/>
                <a:gd name="connsiteY171" fmla="*/ 297794 h 352929"/>
                <a:gd name="connsiteX172" fmla="*/ 148897 w 678302"/>
                <a:gd name="connsiteY172" fmla="*/ 291470 h 352929"/>
                <a:gd name="connsiteX173" fmla="*/ 171887 w 678302"/>
                <a:gd name="connsiteY173" fmla="*/ 288891 h 352929"/>
                <a:gd name="connsiteX174" fmla="*/ 180931 w 678302"/>
                <a:gd name="connsiteY174" fmla="*/ 283858 h 352929"/>
                <a:gd name="connsiteX175" fmla="*/ 186610 w 678302"/>
                <a:gd name="connsiteY175" fmla="*/ 285020 h 352929"/>
                <a:gd name="connsiteX176" fmla="*/ 203015 w 678302"/>
                <a:gd name="connsiteY176" fmla="*/ 287873 h 352929"/>
                <a:gd name="connsiteX177" fmla="*/ 215794 w 678302"/>
                <a:gd name="connsiteY177" fmla="*/ 280623 h 352929"/>
                <a:gd name="connsiteX178" fmla="*/ 226655 w 678302"/>
                <a:gd name="connsiteY178" fmla="*/ 275846 h 352929"/>
                <a:gd name="connsiteX179" fmla="*/ 244203 w 678302"/>
                <a:gd name="connsiteY179" fmla="*/ 273416 h 352929"/>
                <a:gd name="connsiteX180" fmla="*/ 241103 w 678302"/>
                <a:gd name="connsiteY180" fmla="*/ 279987 h 352929"/>
                <a:gd name="connsiteX181" fmla="*/ 235955 w 678302"/>
                <a:gd name="connsiteY181" fmla="*/ 282195 h 352929"/>
                <a:gd name="connsiteX182" fmla="*/ 237618 w 678302"/>
                <a:gd name="connsiteY182" fmla="*/ 292762 h 352929"/>
                <a:gd name="connsiteX183" fmla="*/ 240587 w 678302"/>
                <a:gd name="connsiteY183" fmla="*/ 297038 h 352929"/>
                <a:gd name="connsiteX184" fmla="*/ 245254 w 678302"/>
                <a:gd name="connsiteY184" fmla="*/ 298841 h 352929"/>
                <a:gd name="connsiteX185" fmla="*/ 251174 w 678302"/>
                <a:gd name="connsiteY185" fmla="*/ 300383 h 352929"/>
                <a:gd name="connsiteX186" fmla="*/ 251959 w 678302"/>
                <a:gd name="connsiteY186" fmla="*/ 305700 h 352929"/>
                <a:gd name="connsiteX187" fmla="*/ 252215 w 678302"/>
                <a:gd name="connsiteY187" fmla="*/ 311133 h 352929"/>
                <a:gd name="connsiteX188" fmla="*/ 257378 w 678302"/>
                <a:gd name="connsiteY188" fmla="*/ 311379 h 352929"/>
                <a:gd name="connsiteX189" fmla="*/ 259846 w 678302"/>
                <a:gd name="connsiteY189" fmla="*/ 318605 h 352929"/>
                <a:gd name="connsiteX190" fmla="*/ 265525 w 678302"/>
                <a:gd name="connsiteY190" fmla="*/ 322583 h 352929"/>
                <a:gd name="connsiteX191" fmla="*/ 277649 w 678302"/>
                <a:gd name="connsiteY191" fmla="*/ 326873 h 352929"/>
                <a:gd name="connsiteX192" fmla="*/ 287859 w 678302"/>
                <a:gd name="connsiteY192" fmla="*/ 326343 h 352929"/>
                <a:gd name="connsiteX193" fmla="*/ 307103 w 678302"/>
                <a:gd name="connsiteY193" fmla="*/ 332026 h 352929"/>
                <a:gd name="connsiteX194" fmla="*/ 314725 w 678302"/>
                <a:gd name="connsiteY194" fmla="*/ 332161 h 352929"/>
                <a:gd name="connsiteX195" fmla="*/ 331000 w 678302"/>
                <a:gd name="connsiteY195" fmla="*/ 333583 h 352929"/>
                <a:gd name="connsiteX196" fmla="*/ 346243 w 678302"/>
                <a:gd name="connsiteY196" fmla="*/ 336919 h 352929"/>
                <a:gd name="connsiteX197" fmla="*/ 363038 w 678302"/>
                <a:gd name="connsiteY197" fmla="*/ 335391 h 352929"/>
                <a:gd name="connsiteX198" fmla="*/ 384076 w 678302"/>
                <a:gd name="connsiteY198" fmla="*/ 339860 h 352929"/>
                <a:gd name="connsiteX199" fmla="*/ 384982 w 678302"/>
                <a:gd name="connsiteY199" fmla="*/ 335536 h 352929"/>
                <a:gd name="connsiteX200" fmla="*/ 384076 w 678302"/>
                <a:gd name="connsiteY200" fmla="*/ 339860 h 352929"/>
                <a:gd name="connsiteX201" fmla="*/ 387045 w 678302"/>
                <a:gd name="connsiteY201" fmla="*/ 340694 h 352929"/>
                <a:gd name="connsiteX202" fmla="*/ 397125 w 678302"/>
                <a:gd name="connsiteY202" fmla="*/ 340443 h 352929"/>
                <a:gd name="connsiteX203" fmla="*/ 405383 w 678302"/>
                <a:gd name="connsiteY203" fmla="*/ 340159 h 352929"/>
                <a:gd name="connsiteX204" fmla="*/ 413255 w 678302"/>
                <a:gd name="connsiteY204" fmla="*/ 342473 h 352929"/>
                <a:gd name="connsiteX205" fmla="*/ 422169 w 678302"/>
                <a:gd name="connsiteY205" fmla="*/ 344560 h 352929"/>
                <a:gd name="connsiteX206" fmla="*/ 429265 w 678302"/>
                <a:gd name="connsiteY206" fmla="*/ 349448 h 352929"/>
                <a:gd name="connsiteX207" fmla="*/ 436626 w 678302"/>
                <a:gd name="connsiteY207" fmla="*/ 348031 h 352929"/>
                <a:gd name="connsiteX208" fmla="*/ 443481 w 678302"/>
                <a:gd name="connsiteY208" fmla="*/ 348176 h 352929"/>
                <a:gd name="connsiteX209" fmla="*/ 450066 w 678302"/>
                <a:gd name="connsiteY209" fmla="*/ 347790 h 352929"/>
                <a:gd name="connsiteX210" fmla="*/ 459361 w 678302"/>
                <a:gd name="connsiteY210" fmla="*/ 349849 h 352929"/>
                <a:gd name="connsiteX211" fmla="*/ 464152 w 678302"/>
                <a:gd name="connsiteY211" fmla="*/ 351941 h 352929"/>
                <a:gd name="connsiteX212" fmla="*/ 467623 w 678302"/>
                <a:gd name="connsiteY212" fmla="*/ 345462 h 352929"/>
                <a:gd name="connsiteX213" fmla="*/ 474218 w 678302"/>
                <a:gd name="connsiteY213" fmla="*/ 341610 h 352929"/>
                <a:gd name="connsiteX214" fmla="*/ 482211 w 678302"/>
                <a:gd name="connsiteY214" fmla="*/ 335010 h 352929"/>
                <a:gd name="connsiteX215" fmla="*/ 485701 w 678302"/>
                <a:gd name="connsiteY215" fmla="*/ 329192 h 352929"/>
                <a:gd name="connsiteX216" fmla="*/ 490753 w 678302"/>
                <a:gd name="connsiteY216" fmla="*/ 322226 h 352929"/>
                <a:gd name="connsiteX217" fmla="*/ 498225 w 678302"/>
                <a:gd name="connsiteY217" fmla="*/ 319526 h 352929"/>
                <a:gd name="connsiteX218" fmla="*/ 500824 w 678302"/>
                <a:gd name="connsiteY218" fmla="*/ 319526 h 352929"/>
                <a:gd name="connsiteX219" fmla="*/ 512186 w 678302"/>
                <a:gd name="connsiteY219" fmla="*/ 314484 h 352929"/>
                <a:gd name="connsiteX220" fmla="*/ 525607 w 678302"/>
                <a:gd name="connsiteY220" fmla="*/ 313568 h 352929"/>
                <a:gd name="connsiteX221" fmla="*/ 540079 w 678302"/>
                <a:gd name="connsiteY221" fmla="*/ 314218 h 352929"/>
                <a:gd name="connsiteX222" fmla="*/ 547565 w 678302"/>
                <a:gd name="connsiteY222" fmla="*/ 316022 h 352929"/>
                <a:gd name="connsiteX223" fmla="*/ 551836 w 678302"/>
                <a:gd name="connsiteY223" fmla="*/ 311384 h 352929"/>
                <a:gd name="connsiteX224" fmla="*/ 555592 w 678302"/>
                <a:gd name="connsiteY224" fmla="*/ 307103 h 352929"/>
                <a:gd name="connsiteX225" fmla="*/ 560745 w 678302"/>
                <a:gd name="connsiteY225" fmla="*/ 302851 h 352929"/>
                <a:gd name="connsiteX226" fmla="*/ 568236 w 678302"/>
                <a:gd name="connsiteY226" fmla="*/ 303989 h 352929"/>
                <a:gd name="connsiteX227" fmla="*/ 584357 w 678302"/>
                <a:gd name="connsiteY227" fmla="*/ 300648 h 352929"/>
                <a:gd name="connsiteX228" fmla="*/ 594972 w 678302"/>
                <a:gd name="connsiteY228" fmla="*/ 306313 h 352929"/>
                <a:gd name="connsiteX229" fmla="*/ 592523 w 678302"/>
                <a:gd name="connsiteY229" fmla="*/ 298315 h 352929"/>
                <a:gd name="connsiteX230" fmla="*/ 592523 w 678302"/>
                <a:gd name="connsiteY230" fmla="*/ 283087 h 352929"/>
                <a:gd name="connsiteX231" fmla="*/ 599320 w 678302"/>
                <a:gd name="connsiteY231" fmla="*/ 277393 h 352929"/>
                <a:gd name="connsiteX232" fmla="*/ 596264 w 678302"/>
                <a:gd name="connsiteY232" fmla="*/ 276101 h 352929"/>
                <a:gd name="connsiteX233" fmla="*/ 599320 w 678302"/>
                <a:gd name="connsiteY233" fmla="*/ 277393 h 352929"/>
                <a:gd name="connsiteX234" fmla="*/ 606204 w 678302"/>
                <a:gd name="connsiteY234" fmla="*/ 268755 h 352929"/>
                <a:gd name="connsiteX235" fmla="*/ 611883 w 678302"/>
                <a:gd name="connsiteY235" fmla="*/ 263225 h 352929"/>
                <a:gd name="connsiteX236" fmla="*/ 621954 w 678302"/>
                <a:gd name="connsiteY236" fmla="*/ 257378 h 352929"/>
                <a:gd name="connsiteX237" fmla="*/ 631643 w 678302"/>
                <a:gd name="connsiteY237" fmla="*/ 255970 h 352929"/>
                <a:gd name="connsiteX238" fmla="*/ 629961 w 678302"/>
                <a:gd name="connsiteY238" fmla="*/ 245355 h 352929"/>
                <a:gd name="connsiteX239" fmla="*/ 633451 w 678302"/>
                <a:gd name="connsiteY239" fmla="*/ 238664 h 352929"/>
                <a:gd name="connsiteX240" fmla="*/ 627517 w 678302"/>
                <a:gd name="connsiteY240" fmla="*/ 238148 h 352929"/>
                <a:gd name="connsiteX241" fmla="*/ 625834 w 678302"/>
                <a:gd name="connsiteY241" fmla="*/ 225884 h 352929"/>
                <a:gd name="connsiteX242" fmla="*/ 628669 w 678302"/>
                <a:gd name="connsiteY242" fmla="*/ 219188 h 352929"/>
                <a:gd name="connsiteX243" fmla="*/ 624663 w 678302"/>
                <a:gd name="connsiteY243" fmla="*/ 207551 h 352929"/>
                <a:gd name="connsiteX244" fmla="*/ 629710 w 678302"/>
                <a:gd name="connsiteY244" fmla="*/ 201993 h 352929"/>
                <a:gd name="connsiteX245" fmla="*/ 635910 w 678302"/>
                <a:gd name="connsiteY245" fmla="*/ 200450 h 352929"/>
                <a:gd name="connsiteX246" fmla="*/ 641323 w 678302"/>
                <a:gd name="connsiteY246" fmla="*/ 194477 h 352929"/>
                <a:gd name="connsiteX247" fmla="*/ 641198 w 678302"/>
                <a:gd name="connsiteY247" fmla="*/ 189078 h 352929"/>
                <a:gd name="connsiteX248" fmla="*/ 645223 w 678302"/>
                <a:gd name="connsiteY248" fmla="*/ 182739 h 352929"/>
                <a:gd name="connsiteX249" fmla="*/ 636044 w 678302"/>
                <a:gd name="connsiteY249" fmla="*/ 171791 h 352929"/>
                <a:gd name="connsiteX250" fmla="*/ 618984 w 678302"/>
                <a:gd name="connsiteY250" fmla="*/ 169482 h 352929"/>
                <a:gd name="connsiteX251" fmla="*/ 627642 w 678302"/>
                <a:gd name="connsiteY251" fmla="*/ 160650 h 352929"/>
                <a:gd name="connsiteX252" fmla="*/ 631113 w 678302"/>
                <a:gd name="connsiteY252" fmla="*/ 156543 h 352929"/>
                <a:gd name="connsiteX253" fmla="*/ 642885 w 678302"/>
                <a:gd name="connsiteY253" fmla="*/ 158466 h 352929"/>
                <a:gd name="connsiteX254" fmla="*/ 654517 w 678302"/>
                <a:gd name="connsiteY254" fmla="*/ 163639 h 352929"/>
                <a:gd name="connsiteX255" fmla="*/ 665345 w 678302"/>
                <a:gd name="connsiteY255" fmla="*/ 160645 h 352929"/>
                <a:gd name="connsiteX256" fmla="*/ 671940 w 678302"/>
                <a:gd name="connsiteY256" fmla="*/ 157314 h 352929"/>
                <a:gd name="connsiteX257" fmla="*/ 674504 w 678302"/>
                <a:gd name="connsiteY257" fmla="*/ 151896 h 352929"/>
                <a:gd name="connsiteX258" fmla="*/ 673096 w 678302"/>
                <a:gd name="connsiteY258" fmla="*/ 138865 h 352929"/>
                <a:gd name="connsiteX259" fmla="*/ 674904 w 678302"/>
                <a:gd name="connsiteY259" fmla="*/ 127464 h 35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678302" h="352929">
                  <a:moveTo>
                    <a:pt x="674904" y="127464"/>
                  </a:moveTo>
                  <a:cubicBezTo>
                    <a:pt x="673661" y="124929"/>
                    <a:pt x="675565" y="119963"/>
                    <a:pt x="678303" y="116994"/>
                  </a:cubicBezTo>
                  <a:cubicBezTo>
                    <a:pt x="671877" y="114998"/>
                    <a:pt x="669982" y="107420"/>
                    <a:pt x="668700" y="100864"/>
                  </a:cubicBezTo>
                  <a:cubicBezTo>
                    <a:pt x="666487" y="100864"/>
                    <a:pt x="659131" y="96216"/>
                    <a:pt x="659917" y="94539"/>
                  </a:cubicBezTo>
                  <a:cubicBezTo>
                    <a:pt x="660702" y="92847"/>
                    <a:pt x="656547" y="83427"/>
                    <a:pt x="656547" y="83427"/>
                  </a:cubicBezTo>
                  <a:lnTo>
                    <a:pt x="647899" y="74278"/>
                  </a:lnTo>
                  <a:cubicBezTo>
                    <a:pt x="647899" y="74278"/>
                    <a:pt x="647508" y="69356"/>
                    <a:pt x="646346" y="61845"/>
                  </a:cubicBezTo>
                  <a:cubicBezTo>
                    <a:pt x="653028" y="51818"/>
                    <a:pt x="652348" y="40181"/>
                    <a:pt x="652194" y="38421"/>
                  </a:cubicBezTo>
                  <a:cubicBezTo>
                    <a:pt x="649383" y="35943"/>
                    <a:pt x="648409" y="29840"/>
                    <a:pt x="648409" y="29840"/>
                  </a:cubicBezTo>
                  <a:lnTo>
                    <a:pt x="645088" y="23819"/>
                  </a:lnTo>
                  <a:lnTo>
                    <a:pt x="639877" y="26591"/>
                  </a:lnTo>
                  <a:lnTo>
                    <a:pt x="633306" y="23877"/>
                  </a:lnTo>
                  <a:lnTo>
                    <a:pt x="626726" y="24942"/>
                  </a:lnTo>
                  <a:lnTo>
                    <a:pt x="622445" y="18864"/>
                  </a:lnTo>
                  <a:lnTo>
                    <a:pt x="619620" y="19495"/>
                  </a:lnTo>
                  <a:lnTo>
                    <a:pt x="613141" y="16395"/>
                  </a:lnTo>
                  <a:lnTo>
                    <a:pt x="608007" y="16800"/>
                  </a:lnTo>
                  <a:lnTo>
                    <a:pt x="605144" y="20397"/>
                  </a:lnTo>
                  <a:cubicBezTo>
                    <a:pt x="605144" y="20397"/>
                    <a:pt x="603856" y="21828"/>
                    <a:pt x="602039" y="24422"/>
                  </a:cubicBezTo>
                  <a:cubicBezTo>
                    <a:pt x="600236" y="26977"/>
                    <a:pt x="596356" y="27888"/>
                    <a:pt x="593796" y="27521"/>
                  </a:cubicBezTo>
                  <a:cubicBezTo>
                    <a:pt x="591207" y="27116"/>
                    <a:pt x="586044" y="28172"/>
                    <a:pt x="582029" y="28539"/>
                  </a:cubicBezTo>
                  <a:cubicBezTo>
                    <a:pt x="578027" y="28924"/>
                    <a:pt x="569519" y="27661"/>
                    <a:pt x="567181" y="23540"/>
                  </a:cubicBezTo>
                  <a:cubicBezTo>
                    <a:pt x="564857" y="19389"/>
                    <a:pt x="555968" y="16400"/>
                    <a:pt x="555312" y="15253"/>
                  </a:cubicBezTo>
                  <a:cubicBezTo>
                    <a:pt x="554647" y="14096"/>
                    <a:pt x="552072" y="12659"/>
                    <a:pt x="549098" y="14462"/>
                  </a:cubicBezTo>
                  <a:cubicBezTo>
                    <a:pt x="541351" y="19384"/>
                    <a:pt x="533869" y="13580"/>
                    <a:pt x="532703" y="12428"/>
                  </a:cubicBezTo>
                  <a:cubicBezTo>
                    <a:pt x="531560" y="11237"/>
                    <a:pt x="523544" y="10620"/>
                    <a:pt x="523544" y="10620"/>
                  </a:cubicBezTo>
                  <a:lnTo>
                    <a:pt x="510990" y="2083"/>
                  </a:lnTo>
                  <a:lnTo>
                    <a:pt x="504425" y="2594"/>
                  </a:lnTo>
                  <a:lnTo>
                    <a:pt x="498355" y="7631"/>
                  </a:lnTo>
                  <a:lnTo>
                    <a:pt x="492917" y="8258"/>
                  </a:lnTo>
                  <a:lnTo>
                    <a:pt x="488917" y="1037"/>
                  </a:lnTo>
                  <a:lnTo>
                    <a:pt x="476908" y="0"/>
                  </a:lnTo>
                  <a:lnTo>
                    <a:pt x="475751" y="6966"/>
                  </a:lnTo>
                  <a:lnTo>
                    <a:pt x="478084" y="13045"/>
                  </a:lnTo>
                  <a:lnTo>
                    <a:pt x="475105" y="18984"/>
                  </a:lnTo>
                  <a:lnTo>
                    <a:pt x="475751" y="25699"/>
                  </a:lnTo>
                  <a:lnTo>
                    <a:pt x="475259" y="27266"/>
                  </a:lnTo>
                  <a:lnTo>
                    <a:pt x="476908" y="33976"/>
                  </a:lnTo>
                  <a:lnTo>
                    <a:pt x="469932" y="32689"/>
                  </a:lnTo>
                  <a:lnTo>
                    <a:pt x="462301" y="35919"/>
                  </a:lnTo>
                  <a:lnTo>
                    <a:pt x="455721" y="48578"/>
                  </a:lnTo>
                  <a:lnTo>
                    <a:pt x="455856" y="53751"/>
                  </a:lnTo>
                  <a:lnTo>
                    <a:pt x="453648" y="61343"/>
                  </a:lnTo>
                  <a:lnTo>
                    <a:pt x="446162" y="54368"/>
                  </a:lnTo>
                  <a:lnTo>
                    <a:pt x="440107" y="55785"/>
                  </a:lnTo>
                  <a:lnTo>
                    <a:pt x="433782" y="53322"/>
                  </a:lnTo>
                  <a:cubicBezTo>
                    <a:pt x="433782" y="53322"/>
                    <a:pt x="432991" y="53751"/>
                    <a:pt x="431574" y="57472"/>
                  </a:cubicBezTo>
                  <a:cubicBezTo>
                    <a:pt x="430157" y="61242"/>
                    <a:pt x="426165" y="62631"/>
                    <a:pt x="418664" y="63792"/>
                  </a:cubicBezTo>
                  <a:cubicBezTo>
                    <a:pt x="414538" y="62149"/>
                    <a:pt x="400331" y="61098"/>
                    <a:pt x="400331" y="61098"/>
                  </a:cubicBezTo>
                  <a:lnTo>
                    <a:pt x="394792" y="55780"/>
                  </a:lnTo>
                  <a:lnTo>
                    <a:pt x="395698" y="50102"/>
                  </a:lnTo>
                  <a:lnTo>
                    <a:pt x="383280" y="41314"/>
                  </a:lnTo>
                  <a:lnTo>
                    <a:pt x="377548" y="39930"/>
                  </a:lnTo>
                  <a:cubicBezTo>
                    <a:pt x="376160" y="41911"/>
                    <a:pt x="375630" y="43068"/>
                    <a:pt x="376305" y="44437"/>
                  </a:cubicBezTo>
                  <a:cubicBezTo>
                    <a:pt x="377346" y="46510"/>
                    <a:pt x="377611" y="49711"/>
                    <a:pt x="377611" y="49711"/>
                  </a:cubicBezTo>
                  <a:lnTo>
                    <a:pt x="376305" y="62385"/>
                  </a:lnTo>
                  <a:lnTo>
                    <a:pt x="371016" y="68555"/>
                  </a:lnTo>
                  <a:lnTo>
                    <a:pt x="369599" y="75295"/>
                  </a:lnTo>
                  <a:lnTo>
                    <a:pt x="361833" y="69866"/>
                  </a:lnTo>
                  <a:lnTo>
                    <a:pt x="355773" y="69211"/>
                  </a:lnTo>
                  <a:lnTo>
                    <a:pt x="350475" y="66511"/>
                  </a:lnTo>
                  <a:cubicBezTo>
                    <a:pt x="350475" y="66511"/>
                    <a:pt x="343509" y="69076"/>
                    <a:pt x="344020" y="70112"/>
                  </a:cubicBezTo>
                  <a:cubicBezTo>
                    <a:pt x="344541" y="71154"/>
                    <a:pt x="345457" y="75555"/>
                    <a:pt x="345457" y="75555"/>
                  </a:cubicBezTo>
                  <a:lnTo>
                    <a:pt x="343625" y="82531"/>
                  </a:lnTo>
                  <a:lnTo>
                    <a:pt x="344666" y="89357"/>
                  </a:lnTo>
                  <a:lnTo>
                    <a:pt x="340540" y="98391"/>
                  </a:lnTo>
                  <a:lnTo>
                    <a:pt x="335372" y="102932"/>
                  </a:lnTo>
                  <a:lnTo>
                    <a:pt x="328782" y="106031"/>
                  </a:lnTo>
                  <a:lnTo>
                    <a:pt x="322453" y="105858"/>
                  </a:lnTo>
                  <a:lnTo>
                    <a:pt x="317810" y="109628"/>
                  </a:lnTo>
                  <a:lnTo>
                    <a:pt x="310449" y="110925"/>
                  </a:lnTo>
                  <a:lnTo>
                    <a:pt x="301926" y="118917"/>
                  </a:lnTo>
                  <a:lnTo>
                    <a:pt x="295731" y="119824"/>
                  </a:lnTo>
                  <a:lnTo>
                    <a:pt x="293523" y="125758"/>
                  </a:lnTo>
                  <a:lnTo>
                    <a:pt x="287073" y="130964"/>
                  </a:lnTo>
                  <a:lnTo>
                    <a:pt x="288110" y="136879"/>
                  </a:lnTo>
                  <a:lnTo>
                    <a:pt x="294300" y="143353"/>
                  </a:lnTo>
                  <a:lnTo>
                    <a:pt x="297158" y="148757"/>
                  </a:lnTo>
                  <a:cubicBezTo>
                    <a:pt x="297158" y="148757"/>
                    <a:pt x="310314" y="162082"/>
                    <a:pt x="309032" y="166059"/>
                  </a:cubicBezTo>
                  <a:cubicBezTo>
                    <a:pt x="307725" y="170060"/>
                    <a:pt x="304876" y="178226"/>
                    <a:pt x="304876" y="178226"/>
                  </a:cubicBezTo>
                  <a:lnTo>
                    <a:pt x="306308" y="185062"/>
                  </a:lnTo>
                  <a:lnTo>
                    <a:pt x="311847" y="182507"/>
                  </a:lnTo>
                  <a:lnTo>
                    <a:pt x="319107" y="188952"/>
                  </a:lnTo>
                  <a:lnTo>
                    <a:pt x="320004" y="194598"/>
                  </a:lnTo>
                  <a:cubicBezTo>
                    <a:pt x="320004" y="194598"/>
                    <a:pt x="313279" y="201467"/>
                    <a:pt x="316764" y="214001"/>
                  </a:cubicBezTo>
                  <a:cubicBezTo>
                    <a:pt x="313563" y="215524"/>
                    <a:pt x="310579" y="215399"/>
                    <a:pt x="310579" y="215399"/>
                  </a:cubicBezTo>
                  <a:lnTo>
                    <a:pt x="305021" y="213466"/>
                  </a:lnTo>
                  <a:lnTo>
                    <a:pt x="292752" y="203415"/>
                  </a:lnTo>
                  <a:lnTo>
                    <a:pt x="295066" y="197066"/>
                  </a:lnTo>
                  <a:lnTo>
                    <a:pt x="289527" y="191647"/>
                  </a:lnTo>
                  <a:lnTo>
                    <a:pt x="285005" y="189965"/>
                  </a:lnTo>
                  <a:lnTo>
                    <a:pt x="278545" y="190996"/>
                  </a:lnTo>
                  <a:lnTo>
                    <a:pt x="271965" y="196540"/>
                  </a:lnTo>
                  <a:lnTo>
                    <a:pt x="266147" y="196396"/>
                  </a:lnTo>
                  <a:lnTo>
                    <a:pt x="260603" y="189844"/>
                  </a:lnTo>
                  <a:lnTo>
                    <a:pt x="255165" y="190736"/>
                  </a:lnTo>
                  <a:lnTo>
                    <a:pt x="249481" y="189569"/>
                  </a:lnTo>
                  <a:lnTo>
                    <a:pt x="243933" y="190625"/>
                  </a:lnTo>
                  <a:lnTo>
                    <a:pt x="242525" y="184831"/>
                  </a:lnTo>
                  <a:lnTo>
                    <a:pt x="237449" y="189569"/>
                  </a:lnTo>
                  <a:lnTo>
                    <a:pt x="239806" y="201472"/>
                  </a:lnTo>
                  <a:cubicBezTo>
                    <a:pt x="239806" y="201472"/>
                    <a:pt x="210993" y="198502"/>
                    <a:pt x="207522" y="206746"/>
                  </a:cubicBezTo>
                  <a:cubicBezTo>
                    <a:pt x="202605" y="206003"/>
                    <a:pt x="201178" y="205594"/>
                    <a:pt x="201178" y="205594"/>
                  </a:cubicBezTo>
                  <a:lnTo>
                    <a:pt x="188553" y="207006"/>
                  </a:lnTo>
                  <a:lnTo>
                    <a:pt x="185168" y="210501"/>
                  </a:lnTo>
                  <a:lnTo>
                    <a:pt x="181572" y="215674"/>
                  </a:lnTo>
                  <a:lnTo>
                    <a:pt x="176009" y="216310"/>
                  </a:lnTo>
                  <a:lnTo>
                    <a:pt x="169033" y="218908"/>
                  </a:lnTo>
                  <a:lnTo>
                    <a:pt x="167361" y="225354"/>
                  </a:lnTo>
                  <a:lnTo>
                    <a:pt x="161783" y="225754"/>
                  </a:lnTo>
                  <a:lnTo>
                    <a:pt x="155979" y="232580"/>
                  </a:lnTo>
                  <a:lnTo>
                    <a:pt x="149529" y="228468"/>
                  </a:lnTo>
                  <a:lnTo>
                    <a:pt x="143185" y="232826"/>
                  </a:lnTo>
                  <a:lnTo>
                    <a:pt x="136763" y="233640"/>
                  </a:lnTo>
                  <a:cubicBezTo>
                    <a:pt x="136763" y="233640"/>
                    <a:pt x="127836" y="227451"/>
                    <a:pt x="124871" y="221608"/>
                  </a:cubicBezTo>
                  <a:cubicBezTo>
                    <a:pt x="122022" y="220986"/>
                    <a:pt x="120354" y="220075"/>
                    <a:pt x="120354" y="220075"/>
                  </a:cubicBezTo>
                  <a:lnTo>
                    <a:pt x="121260" y="215539"/>
                  </a:lnTo>
                  <a:cubicBezTo>
                    <a:pt x="121260" y="215539"/>
                    <a:pt x="117514" y="214758"/>
                    <a:pt x="114526" y="215674"/>
                  </a:cubicBezTo>
                  <a:cubicBezTo>
                    <a:pt x="111575" y="216580"/>
                    <a:pt x="107569" y="215804"/>
                    <a:pt x="105106" y="213871"/>
                  </a:cubicBezTo>
                  <a:cubicBezTo>
                    <a:pt x="102667" y="211943"/>
                    <a:pt x="94380" y="211157"/>
                    <a:pt x="93628" y="212974"/>
                  </a:cubicBezTo>
                  <a:cubicBezTo>
                    <a:pt x="92837" y="214753"/>
                    <a:pt x="91025" y="215674"/>
                    <a:pt x="91025" y="215674"/>
                  </a:cubicBezTo>
                  <a:lnTo>
                    <a:pt x="86392" y="215153"/>
                  </a:lnTo>
                  <a:lnTo>
                    <a:pt x="83943" y="208568"/>
                  </a:lnTo>
                  <a:cubicBezTo>
                    <a:pt x="83943" y="208568"/>
                    <a:pt x="80043" y="219188"/>
                    <a:pt x="82000" y="220456"/>
                  </a:cubicBezTo>
                  <a:cubicBezTo>
                    <a:pt x="83943" y="221738"/>
                    <a:pt x="85621" y="227171"/>
                    <a:pt x="83538" y="230526"/>
                  </a:cubicBezTo>
                  <a:cubicBezTo>
                    <a:pt x="81460" y="233891"/>
                    <a:pt x="80188" y="235183"/>
                    <a:pt x="80188" y="235183"/>
                  </a:cubicBezTo>
                  <a:cubicBezTo>
                    <a:pt x="80188" y="235183"/>
                    <a:pt x="67018" y="253405"/>
                    <a:pt x="58634" y="250817"/>
                  </a:cubicBezTo>
                  <a:cubicBezTo>
                    <a:pt x="58239" y="248358"/>
                    <a:pt x="61985" y="236731"/>
                    <a:pt x="61985" y="236731"/>
                  </a:cubicBezTo>
                  <a:lnTo>
                    <a:pt x="56171" y="237782"/>
                  </a:lnTo>
                  <a:lnTo>
                    <a:pt x="49962" y="237782"/>
                  </a:lnTo>
                  <a:lnTo>
                    <a:pt x="49827" y="231823"/>
                  </a:lnTo>
                  <a:lnTo>
                    <a:pt x="47113" y="225358"/>
                  </a:lnTo>
                  <a:lnTo>
                    <a:pt x="42080" y="222784"/>
                  </a:lnTo>
                  <a:cubicBezTo>
                    <a:pt x="42080" y="222784"/>
                    <a:pt x="37438" y="213480"/>
                    <a:pt x="28924" y="215158"/>
                  </a:cubicBezTo>
                  <a:cubicBezTo>
                    <a:pt x="26196" y="215288"/>
                    <a:pt x="24783" y="212579"/>
                    <a:pt x="24783" y="208934"/>
                  </a:cubicBezTo>
                  <a:cubicBezTo>
                    <a:pt x="21173" y="210395"/>
                    <a:pt x="18825" y="212849"/>
                    <a:pt x="18825" y="214251"/>
                  </a:cubicBezTo>
                  <a:cubicBezTo>
                    <a:pt x="18825" y="214806"/>
                    <a:pt x="18222" y="215418"/>
                    <a:pt x="17229" y="215992"/>
                  </a:cubicBezTo>
                  <a:lnTo>
                    <a:pt x="17268" y="216002"/>
                  </a:lnTo>
                  <a:lnTo>
                    <a:pt x="13710" y="220764"/>
                  </a:lnTo>
                  <a:lnTo>
                    <a:pt x="11324" y="221372"/>
                  </a:lnTo>
                  <a:lnTo>
                    <a:pt x="1793" y="220143"/>
                  </a:lnTo>
                  <a:lnTo>
                    <a:pt x="1658" y="220143"/>
                  </a:lnTo>
                  <a:cubicBezTo>
                    <a:pt x="2545" y="224163"/>
                    <a:pt x="6985" y="226414"/>
                    <a:pt x="9145" y="226916"/>
                  </a:cubicBezTo>
                  <a:cubicBezTo>
                    <a:pt x="12520" y="227673"/>
                    <a:pt x="10119" y="232093"/>
                    <a:pt x="9921" y="234026"/>
                  </a:cubicBezTo>
                  <a:cubicBezTo>
                    <a:pt x="8244" y="236215"/>
                    <a:pt x="4117" y="246285"/>
                    <a:pt x="4117" y="246285"/>
                  </a:cubicBezTo>
                  <a:cubicBezTo>
                    <a:pt x="4117" y="246285"/>
                    <a:pt x="2208" y="248329"/>
                    <a:pt x="0" y="251019"/>
                  </a:cubicBezTo>
                  <a:cubicBezTo>
                    <a:pt x="3032" y="256250"/>
                    <a:pt x="3355" y="257773"/>
                    <a:pt x="3355" y="257773"/>
                  </a:cubicBezTo>
                  <a:lnTo>
                    <a:pt x="3591" y="261008"/>
                  </a:lnTo>
                  <a:lnTo>
                    <a:pt x="8634" y="272761"/>
                  </a:lnTo>
                  <a:lnTo>
                    <a:pt x="5428" y="279828"/>
                  </a:lnTo>
                  <a:cubicBezTo>
                    <a:pt x="7737" y="279871"/>
                    <a:pt x="10230" y="279616"/>
                    <a:pt x="11869" y="279201"/>
                  </a:cubicBezTo>
                  <a:cubicBezTo>
                    <a:pt x="14978" y="278459"/>
                    <a:pt x="25174" y="282045"/>
                    <a:pt x="28283" y="284754"/>
                  </a:cubicBezTo>
                  <a:cubicBezTo>
                    <a:pt x="31364" y="287502"/>
                    <a:pt x="30457" y="292410"/>
                    <a:pt x="30457" y="292410"/>
                  </a:cubicBezTo>
                  <a:lnTo>
                    <a:pt x="35876" y="298975"/>
                  </a:lnTo>
                  <a:cubicBezTo>
                    <a:pt x="35876" y="298975"/>
                    <a:pt x="38069" y="300779"/>
                    <a:pt x="41444" y="300779"/>
                  </a:cubicBezTo>
                  <a:cubicBezTo>
                    <a:pt x="44785" y="300779"/>
                    <a:pt x="46346" y="304534"/>
                    <a:pt x="47773" y="306313"/>
                  </a:cubicBezTo>
                  <a:cubicBezTo>
                    <a:pt x="49200" y="308135"/>
                    <a:pt x="53317" y="308135"/>
                    <a:pt x="55906" y="308135"/>
                  </a:cubicBezTo>
                  <a:cubicBezTo>
                    <a:pt x="58485" y="308135"/>
                    <a:pt x="63918" y="302986"/>
                    <a:pt x="63918" y="302986"/>
                  </a:cubicBezTo>
                  <a:lnTo>
                    <a:pt x="64564" y="296117"/>
                  </a:lnTo>
                  <a:lnTo>
                    <a:pt x="70628" y="293822"/>
                  </a:lnTo>
                  <a:lnTo>
                    <a:pt x="75545" y="287878"/>
                  </a:lnTo>
                  <a:lnTo>
                    <a:pt x="80959" y="288895"/>
                  </a:lnTo>
                  <a:cubicBezTo>
                    <a:pt x="80959" y="288895"/>
                    <a:pt x="83157" y="291248"/>
                    <a:pt x="85621" y="294198"/>
                  </a:cubicBezTo>
                  <a:cubicBezTo>
                    <a:pt x="88007" y="297100"/>
                    <a:pt x="85047" y="300687"/>
                    <a:pt x="85466" y="304582"/>
                  </a:cubicBezTo>
                  <a:cubicBezTo>
                    <a:pt x="87776" y="307103"/>
                    <a:pt x="89805" y="307340"/>
                    <a:pt x="91825" y="306877"/>
                  </a:cubicBezTo>
                  <a:cubicBezTo>
                    <a:pt x="94905" y="306096"/>
                    <a:pt x="97234" y="306317"/>
                    <a:pt x="99051" y="304784"/>
                  </a:cubicBezTo>
                  <a:cubicBezTo>
                    <a:pt x="100849" y="303227"/>
                    <a:pt x="107569" y="303994"/>
                    <a:pt x="108452" y="308135"/>
                  </a:cubicBezTo>
                  <a:cubicBezTo>
                    <a:pt x="109396" y="312271"/>
                    <a:pt x="116343" y="318094"/>
                    <a:pt x="122677" y="317058"/>
                  </a:cubicBezTo>
                  <a:cubicBezTo>
                    <a:pt x="128988" y="316022"/>
                    <a:pt x="130188" y="315867"/>
                    <a:pt x="130188" y="315867"/>
                  </a:cubicBezTo>
                  <a:lnTo>
                    <a:pt x="134696" y="316793"/>
                  </a:lnTo>
                  <a:lnTo>
                    <a:pt x="139468" y="310343"/>
                  </a:lnTo>
                  <a:lnTo>
                    <a:pt x="142061" y="297794"/>
                  </a:lnTo>
                  <a:lnTo>
                    <a:pt x="148897" y="291470"/>
                  </a:lnTo>
                  <a:cubicBezTo>
                    <a:pt x="148897" y="291470"/>
                    <a:pt x="163388" y="283082"/>
                    <a:pt x="171887" y="288891"/>
                  </a:cubicBezTo>
                  <a:cubicBezTo>
                    <a:pt x="176799" y="283082"/>
                    <a:pt x="179109" y="282571"/>
                    <a:pt x="180931" y="283858"/>
                  </a:cubicBezTo>
                  <a:cubicBezTo>
                    <a:pt x="182734" y="285150"/>
                    <a:pt x="184792" y="286432"/>
                    <a:pt x="186610" y="285020"/>
                  </a:cubicBezTo>
                  <a:cubicBezTo>
                    <a:pt x="188422" y="283612"/>
                    <a:pt x="195523" y="282571"/>
                    <a:pt x="203015" y="287873"/>
                  </a:cubicBezTo>
                  <a:cubicBezTo>
                    <a:pt x="210757" y="282947"/>
                    <a:pt x="215794" y="280623"/>
                    <a:pt x="215794" y="280623"/>
                  </a:cubicBezTo>
                  <a:cubicBezTo>
                    <a:pt x="215794" y="280623"/>
                    <a:pt x="223676" y="278063"/>
                    <a:pt x="226655" y="275846"/>
                  </a:cubicBezTo>
                  <a:cubicBezTo>
                    <a:pt x="229591" y="273662"/>
                    <a:pt x="246150" y="267848"/>
                    <a:pt x="244203" y="273416"/>
                  </a:cubicBezTo>
                  <a:cubicBezTo>
                    <a:pt x="242265" y="278960"/>
                    <a:pt x="241103" y="279987"/>
                    <a:pt x="241103" y="279987"/>
                  </a:cubicBezTo>
                  <a:lnTo>
                    <a:pt x="235955" y="282195"/>
                  </a:lnTo>
                  <a:cubicBezTo>
                    <a:pt x="235955" y="282195"/>
                    <a:pt x="237888" y="290578"/>
                    <a:pt x="237618" y="292762"/>
                  </a:cubicBezTo>
                  <a:cubicBezTo>
                    <a:pt x="237367" y="294974"/>
                    <a:pt x="239035" y="296107"/>
                    <a:pt x="240587" y="297038"/>
                  </a:cubicBezTo>
                  <a:cubicBezTo>
                    <a:pt x="242139" y="297939"/>
                    <a:pt x="243942" y="299371"/>
                    <a:pt x="245254" y="298841"/>
                  </a:cubicBezTo>
                  <a:cubicBezTo>
                    <a:pt x="246536" y="298310"/>
                    <a:pt x="250397" y="296112"/>
                    <a:pt x="251174" y="300383"/>
                  </a:cubicBezTo>
                  <a:cubicBezTo>
                    <a:pt x="251959" y="304611"/>
                    <a:pt x="251959" y="305700"/>
                    <a:pt x="251959" y="305700"/>
                  </a:cubicBezTo>
                  <a:lnTo>
                    <a:pt x="252215" y="311133"/>
                  </a:lnTo>
                  <a:lnTo>
                    <a:pt x="257378" y="311379"/>
                  </a:lnTo>
                  <a:lnTo>
                    <a:pt x="259846" y="318605"/>
                  </a:lnTo>
                  <a:lnTo>
                    <a:pt x="265525" y="322583"/>
                  </a:lnTo>
                  <a:lnTo>
                    <a:pt x="277649" y="326873"/>
                  </a:lnTo>
                  <a:lnTo>
                    <a:pt x="287859" y="326343"/>
                  </a:lnTo>
                  <a:cubicBezTo>
                    <a:pt x="287859" y="326343"/>
                    <a:pt x="302721" y="331915"/>
                    <a:pt x="307103" y="332026"/>
                  </a:cubicBezTo>
                  <a:cubicBezTo>
                    <a:pt x="311490" y="332161"/>
                    <a:pt x="311360" y="330999"/>
                    <a:pt x="314725" y="332161"/>
                  </a:cubicBezTo>
                  <a:cubicBezTo>
                    <a:pt x="318075" y="333328"/>
                    <a:pt x="327249" y="331665"/>
                    <a:pt x="331000" y="333583"/>
                  </a:cubicBezTo>
                  <a:cubicBezTo>
                    <a:pt x="334740" y="335531"/>
                    <a:pt x="344040" y="337594"/>
                    <a:pt x="346243" y="336919"/>
                  </a:cubicBezTo>
                  <a:cubicBezTo>
                    <a:pt x="348436" y="336312"/>
                    <a:pt x="358372" y="334755"/>
                    <a:pt x="363038" y="335391"/>
                  </a:cubicBezTo>
                  <a:cubicBezTo>
                    <a:pt x="366880" y="335931"/>
                    <a:pt x="378079" y="338341"/>
                    <a:pt x="384076" y="339860"/>
                  </a:cubicBezTo>
                  <a:lnTo>
                    <a:pt x="384982" y="335536"/>
                  </a:lnTo>
                  <a:lnTo>
                    <a:pt x="384076" y="339860"/>
                  </a:lnTo>
                  <a:cubicBezTo>
                    <a:pt x="385295" y="340164"/>
                    <a:pt x="386375" y="340487"/>
                    <a:pt x="387045" y="340694"/>
                  </a:cubicBezTo>
                  <a:cubicBezTo>
                    <a:pt x="391061" y="341976"/>
                    <a:pt x="393896" y="342352"/>
                    <a:pt x="397125" y="340443"/>
                  </a:cubicBezTo>
                  <a:cubicBezTo>
                    <a:pt x="400350" y="338486"/>
                    <a:pt x="402674" y="338621"/>
                    <a:pt x="405383" y="340159"/>
                  </a:cubicBezTo>
                  <a:cubicBezTo>
                    <a:pt x="408102" y="341726"/>
                    <a:pt x="411317" y="343774"/>
                    <a:pt x="413255" y="342473"/>
                  </a:cubicBezTo>
                  <a:cubicBezTo>
                    <a:pt x="415198" y="341181"/>
                    <a:pt x="419320" y="341060"/>
                    <a:pt x="422169" y="344560"/>
                  </a:cubicBezTo>
                  <a:cubicBezTo>
                    <a:pt x="425004" y="348031"/>
                    <a:pt x="426946" y="350658"/>
                    <a:pt x="429265" y="349448"/>
                  </a:cubicBezTo>
                  <a:cubicBezTo>
                    <a:pt x="431588" y="348316"/>
                    <a:pt x="434182" y="347144"/>
                    <a:pt x="436626" y="348031"/>
                  </a:cubicBezTo>
                  <a:cubicBezTo>
                    <a:pt x="439080" y="348952"/>
                    <a:pt x="442435" y="349227"/>
                    <a:pt x="443481" y="348176"/>
                  </a:cubicBezTo>
                  <a:cubicBezTo>
                    <a:pt x="444498" y="347144"/>
                    <a:pt x="447077" y="346098"/>
                    <a:pt x="450066" y="347790"/>
                  </a:cubicBezTo>
                  <a:cubicBezTo>
                    <a:pt x="453026" y="349448"/>
                    <a:pt x="457032" y="347033"/>
                    <a:pt x="459361" y="349849"/>
                  </a:cubicBezTo>
                  <a:cubicBezTo>
                    <a:pt x="461684" y="352678"/>
                    <a:pt x="463757" y="353970"/>
                    <a:pt x="464152" y="351941"/>
                  </a:cubicBezTo>
                  <a:cubicBezTo>
                    <a:pt x="464543" y="349849"/>
                    <a:pt x="465179" y="345462"/>
                    <a:pt x="467623" y="345462"/>
                  </a:cubicBezTo>
                  <a:cubicBezTo>
                    <a:pt x="470072" y="345462"/>
                    <a:pt x="472670" y="344040"/>
                    <a:pt x="474218" y="341610"/>
                  </a:cubicBezTo>
                  <a:cubicBezTo>
                    <a:pt x="475765" y="339118"/>
                    <a:pt x="479516" y="336312"/>
                    <a:pt x="482211" y="335010"/>
                  </a:cubicBezTo>
                  <a:cubicBezTo>
                    <a:pt x="484944" y="333704"/>
                    <a:pt x="485701" y="332952"/>
                    <a:pt x="485701" y="329192"/>
                  </a:cubicBezTo>
                  <a:cubicBezTo>
                    <a:pt x="485701" y="325427"/>
                    <a:pt x="488574" y="323012"/>
                    <a:pt x="490753" y="322226"/>
                  </a:cubicBezTo>
                  <a:cubicBezTo>
                    <a:pt x="492932" y="321430"/>
                    <a:pt x="497324" y="317058"/>
                    <a:pt x="498225" y="319526"/>
                  </a:cubicBezTo>
                  <a:cubicBezTo>
                    <a:pt x="499136" y="321951"/>
                    <a:pt x="499912" y="321720"/>
                    <a:pt x="500824" y="319526"/>
                  </a:cubicBezTo>
                  <a:cubicBezTo>
                    <a:pt x="501725" y="317304"/>
                    <a:pt x="508455" y="313153"/>
                    <a:pt x="512186" y="314484"/>
                  </a:cubicBezTo>
                  <a:cubicBezTo>
                    <a:pt x="515927" y="315781"/>
                    <a:pt x="523428" y="315120"/>
                    <a:pt x="525607" y="313568"/>
                  </a:cubicBezTo>
                  <a:cubicBezTo>
                    <a:pt x="527819" y="312025"/>
                    <a:pt x="537639" y="310343"/>
                    <a:pt x="540079" y="314218"/>
                  </a:cubicBezTo>
                  <a:cubicBezTo>
                    <a:pt x="542527" y="318099"/>
                    <a:pt x="546027" y="316904"/>
                    <a:pt x="547565" y="316022"/>
                  </a:cubicBezTo>
                  <a:cubicBezTo>
                    <a:pt x="549113" y="315120"/>
                    <a:pt x="551460" y="313452"/>
                    <a:pt x="551836" y="311384"/>
                  </a:cubicBezTo>
                  <a:cubicBezTo>
                    <a:pt x="552217" y="309311"/>
                    <a:pt x="554420" y="307769"/>
                    <a:pt x="555592" y="307103"/>
                  </a:cubicBezTo>
                  <a:cubicBezTo>
                    <a:pt x="556739" y="306467"/>
                    <a:pt x="560745" y="302851"/>
                    <a:pt x="560745" y="302851"/>
                  </a:cubicBezTo>
                  <a:cubicBezTo>
                    <a:pt x="560745" y="302851"/>
                    <a:pt x="565378" y="305407"/>
                    <a:pt x="568236" y="303989"/>
                  </a:cubicBezTo>
                  <a:cubicBezTo>
                    <a:pt x="571066" y="302601"/>
                    <a:pt x="579744" y="297042"/>
                    <a:pt x="584357" y="300648"/>
                  </a:cubicBezTo>
                  <a:cubicBezTo>
                    <a:pt x="589028" y="304269"/>
                    <a:pt x="592644" y="302981"/>
                    <a:pt x="594972" y="306313"/>
                  </a:cubicBezTo>
                  <a:cubicBezTo>
                    <a:pt x="595743" y="303223"/>
                    <a:pt x="594196" y="300528"/>
                    <a:pt x="592523" y="298315"/>
                  </a:cubicBezTo>
                  <a:cubicBezTo>
                    <a:pt x="590840" y="296117"/>
                    <a:pt x="586565" y="286437"/>
                    <a:pt x="592523" y="283087"/>
                  </a:cubicBezTo>
                  <a:cubicBezTo>
                    <a:pt x="594162" y="281635"/>
                    <a:pt x="596799" y="279611"/>
                    <a:pt x="599320" y="277393"/>
                  </a:cubicBezTo>
                  <a:cubicBezTo>
                    <a:pt x="597594" y="276781"/>
                    <a:pt x="596264" y="276101"/>
                    <a:pt x="596264" y="276101"/>
                  </a:cubicBezTo>
                  <a:cubicBezTo>
                    <a:pt x="596264" y="276101"/>
                    <a:pt x="597594" y="276781"/>
                    <a:pt x="599320" y="277393"/>
                  </a:cubicBezTo>
                  <a:cubicBezTo>
                    <a:pt x="602478" y="274592"/>
                    <a:pt x="605500" y="271449"/>
                    <a:pt x="606204" y="268755"/>
                  </a:cubicBezTo>
                  <a:cubicBezTo>
                    <a:pt x="610601" y="266306"/>
                    <a:pt x="609820" y="266445"/>
                    <a:pt x="611883" y="263225"/>
                  </a:cubicBezTo>
                  <a:cubicBezTo>
                    <a:pt x="613951" y="259981"/>
                    <a:pt x="617451" y="256385"/>
                    <a:pt x="621954" y="257378"/>
                  </a:cubicBezTo>
                  <a:cubicBezTo>
                    <a:pt x="626475" y="258414"/>
                    <a:pt x="632284" y="258804"/>
                    <a:pt x="631643" y="255970"/>
                  </a:cubicBezTo>
                  <a:cubicBezTo>
                    <a:pt x="631002" y="253135"/>
                    <a:pt x="629961" y="245355"/>
                    <a:pt x="629961" y="245355"/>
                  </a:cubicBezTo>
                  <a:lnTo>
                    <a:pt x="633451" y="238664"/>
                  </a:lnTo>
                  <a:lnTo>
                    <a:pt x="627517" y="238148"/>
                  </a:lnTo>
                  <a:lnTo>
                    <a:pt x="625834" y="225884"/>
                  </a:lnTo>
                  <a:lnTo>
                    <a:pt x="628669" y="219188"/>
                  </a:lnTo>
                  <a:lnTo>
                    <a:pt x="624663" y="207551"/>
                  </a:lnTo>
                  <a:lnTo>
                    <a:pt x="629710" y="201993"/>
                  </a:lnTo>
                  <a:lnTo>
                    <a:pt x="635910" y="200450"/>
                  </a:lnTo>
                  <a:lnTo>
                    <a:pt x="641323" y="194477"/>
                  </a:lnTo>
                  <a:lnTo>
                    <a:pt x="641198" y="189078"/>
                  </a:lnTo>
                  <a:lnTo>
                    <a:pt x="645223" y="182739"/>
                  </a:lnTo>
                  <a:lnTo>
                    <a:pt x="636044" y="171791"/>
                  </a:lnTo>
                  <a:cubicBezTo>
                    <a:pt x="636044" y="171791"/>
                    <a:pt x="626350" y="173459"/>
                    <a:pt x="618984" y="169482"/>
                  </a:cubicBezTo>
                  <a:cubicBezTo>
                    <a:pt x="623226" y="165591"/>
                    <a:pt x="627377" y="163504"/>
                    <a:pt x="627642" y="160650"/>
                  </a:cubicBezTo>
                  <a:cubicBezTo>
                    <a:pt x="627907" y="157844"/>
                    <a:pt x="627642" y="157705"/>
                    <a:pt x="631113" y="156543"/>
                  </a:cubicBezTo>
                  <a:cubicBezTo>
                    <a:pt x="634613" y="155391"/>
                    <a:pt x="640802" y="155241"/>
                    <a:pt x="642885" y="158466"/>
                  </a:cubicBezTo>
                  <a:cubicBezTo>
                    <a:pt x="644943" y="161701"/>
                    <a:pt x="649195" y="165717"/>
                    <a:pt x="654517" y="163639"/>
                  </a:cubicBezTo>
                  <a:cubicBezTo>
                    <a:pt x="659791" y="161581"/>
                    <a:pt x="661749" y="161952"/>
                    <a:pt x="665345" y="160645"/>
                  </a:cubicBezTo>
                  <a:cubicBezTo>
                    <a:pt x="668950" y="159377"/>
                    <a:pt x="671940" y="157314"/>
                    <a:pt x="671940" y="157314"/>
                  </a:cubicBezTo>
                  <a:lnTo>
                    <a:pt x="674504" y="151896"/>
                  </a:lnTo>
                  <a:cubicBezTo>
                    <a:pt x="674504" y="151896"/>
                    <a:pt x="670247" y="143373"/>
                    <a:pt x="673096" y="138865"/>
                  </a:cubicBezTo>
                  <a:cubicBezTo>
                    <a:pt x="675921" y="134290"/>
                    <a:pt x="676567" y="130984"/>
                    <a:pt x="674904" y="12746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55" name="Freihandform: Form 654">
              <a:extLst>
                <a:ext uri="{FF2B5EF4-FFF2-40B4-BE49-F238E27FC236}">
                  <a16:creationId xmlns:a16="http://schemas.microsoft.com/office/drawing/2014/main" id="{493E0CB8-6005-2221-C7AF-D4013EC776D1}"/>
                </a:ext>
              </a:extLst>
            </p:cNvPr>
            <p:cNvSpPr/>
            <p:nvPr/>
          </p:nvSpPr>
          <p:spPr>
            <a:xfrm>
              <a:off x="5254757" y="4706979"/>
              <a:ext cx="0" cy="0"/>
            </a:xfrm>
            <a:custGeom>
              <a:avLst/>
              <a:gdLst>
                <a:gd name="connsiteX0" fmla="*/ 342 w 342"/>
                <a:gd name="connsiteY0" fmla="*/ 101 h 101"/>
                <a:gd name="connsiteX1" fmla="*/ 0 w 342"/>
                <a:gd name="connsiteY1" fmla="*/ 0 h 101"/>
                <a:gd name="connsiteX2" fmla="*/ 342 w 342"/>
                <a:gd name="connsiteY2" fmla="*/ 101 h 101"/>
              </a:gdLst>
              <a:ahLst/>
              <a:cxnLst>
                <a:cxn ang="0">
                  <a:pos x="connsiteX0" y="connsiteY0"/>
                </a:cxn>
                <a:cxn ang="0">
                  <a:pos x="connsiteX1" y="connsiteY1"/>
                </a:cxn>
                <a:cxn ang="0">
                  <a:pos x="connsiteX2" y="connsiteY2"/>
                </a:cxn>
              </a:cxnLst>
              <a:rect l="l" t="t" r="r" b="b"/>
              <a:pathLst>
                <a:path w="342" h="101">
                  <a:moveTo>
                    <a:pt x="342" y="101"/>
                  </a:moveTo>
                  <a:lnTo>
                    <a:pt x="0" y="0"/>
                  </a:lnTo>
                  <a:cubicBezTo>
                    <a:pt x="101" y="24"/>
                    <a:pt x="227" y="63"/>
                    <a:pt x="342" y="10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56" name="Freihandform: Form 655">
              <a:extLst>
                <a:ext uri="{FF2B5EF4-FFF2-40B4-BE49-F238E27FC236}">
                  <a16:creationId xmlns:a16="http://schemas.microsoft.com/office/drawing/2014/main" id="{31FD189C-6CC9-483A-5A21-90E8E57F2551}"/>
                </a:ext>
              </a:extLst>
            </p:cNvPr>
            <p:cNvSpPr/>
            <p:nvPr/>
          </p:nvSpPr>
          <p:spPr>
            <a:xfrm>
              <a:off x="4937292" y="3471857"/>
              <a:ext cx="974615" cy="1300211"/>
            </a:xfrm>
            <a:custGeom>
              <a:avLst/>
              <a:gdLst>
                <a:gd name="connsiteX0" fmla="*/ 136002 w 764748"/>
                <a:gd name="connsiteY0" fmla="*/ 975389 h 1019691"/>
                <a:gd name="connsiteX1" fmla="*/ 135722 w 764748"/>
                <a:gd name="connsiteY1" fmla="*/ 981082 h 1019691"/>
                <a:gd name="connsiteX2" fmla="*/ 145417 w 764748"/>
                <a:gd name="connsiteY2" fmla="*/ 980802 h 1019691"/>
                <a:gd name="connsiteX3" fmla="*/ 150845 w 764748"/>
                <a:gd name="connsiteY3" fmla="*/ 976304 h 1019691"/>
                <a:gd name="connsiteX4" fmla="*/ 157801 w 764748"/>
                <a:gd name="connsiteY4" fmla="*/ 976189 h 1019691"/>
                <a:gd name="connsiteX5" fmla="*/ 164001 w 764748"/>
                <a:gd name="connsiteY5" fmla="*/ 980715 h 1019691"/>
                <a:gd name="connsiteX6" fmla="*/ 176139 w 764748"/>
                <a:gd name="connsiteY6" fmla="*/ 980060 h 1019691"/>
                <a:gd name="connsiteX7" fmla="*/ 182098 w 764748"/>
                <a:gd name="connsiteY7" fmla="*/ 975302 h 1019691"/>
                <a:gd name="connsiteX8" fmla="*/ 188794 w 764748"/>
                <a:gd name="connsiteY8" fmla="*/ 973354 h 1019691"/>
                <a:gd name="connsiteX9" fmla="*/ 199920 w 764748"/>
                <a:gd name="connsiteY9" fmla="*/ 978758 h 1019691"/>
                <a:gd name="connsiteX10" fmla="*/ 206775 w 764748"/>
                <a:gd name="connsiteY10" fmla="*/ 978647 h 1019691"/>
                <a:gd name="connsiteX11" fmla="*/ 213856 w 764748"/>
                <a:gd name="connsiteY11" fmla="*/ 973205 h 1019691"/>
                <a:gd name="connsiteX12" fmla="*/ 220321 w 764748"/>
                <a:gd name="connsiteY12" fmla="*/ 976926 h 1019691"/>
                <a:gd name="connsiteX13" fmla="*/ 223295 w 764748"/>
                <a:gd name="connsiteY13" fmla="*/ 966803 h 1019691"/>
                <a:gd name="connsiteX14" fmla="*/ 215404 w 764748"/>
                <a:gd name="connsiteY14" fmla="*/ 968423 h 1019691"/>
                <a:gd name="connsiteX15" fmla="*/ 207782 w 764748"/>
                <a:gd name="connsiteY15" fmla="*/ 966750 h 1019691"/>
                <a:gd name="connsiteX16" fmla="*/ 206384 w 764748"/>
                <a:gd name="connsiteY16" fmla="*/ 960025 h 1019691"/>
                <a:gd name="connsiteX17" fmla="*/ 210255 w 764748"/>
                <a:gd name="connsiteY17" fmla="*/ 954602 h 1019691"/>
                <a:gd name="connsiteX18" fmla="*/ 216840 w 764748"/>
                <a:gd name="connsiteY18" fmla="*/ 951897 h 1019691"/>
                <a:gd name="connsiteX19" fmla="*/ 220726 w 764748"/>
                <a:gd name="connsiteY19" fmla="*/ 948156 h 1019691"/>
                <a:gd name="connsiteX20" fmla="*/ 226887 w 764748"/>
                <a:gd name="connsiteY20" fmla="*/ 952418 h 1019691"/>
                <a:gd name="connsiteX21" fmla="*/ 231312 w 764748"/>
                <a:gd name="connsiteY21" fmla="*/ 952808 h 1019691"/>
                <a:gd name="connsiteX22" fmla="*/ 233101 w 764748"/>
                <a:gd name="connsiteY22" fmla="*/ 957595 h 1019691"/>
                <a:gd name="connsiteX23" fmla="*/ 232710 w 764748"/>
                <a:gd name="connsiteY23" fmla="*/ 962869 h 1019691"/>
                <a:gd name="connsiteX24" fmla="*/ 240081 w 764748"/>
                <a:gd name="connsiteY24" fmla="*/ 965453 h 1019691"/>
                <a:gd name="connsiteX25" fmla="*/ 240351 w 764748"/>
                <a:gd name="connsiteY25" fmla="*/ 960666 h 1019691"/>
                <a:gd name="connsiteX26" fmla="*/ 245104 w 764748"/>
                <a:gd name="connsiteY26" fmla="*/ 960406 h 1019691"/>
                <a:gd name="connsiteX27" fmla="*/ 248570 w 764748"/>
                <a:gd name="connsiteY27" fmla="*/ 968466 h 1019691"/>
                <a:gd name="connsiteX28" fmla="*/ 252470 w 764748"/>
                <a:gd name="connsiteY28" fmla="*/ 967955 h 1019691"/>
                <a:gd name="connsiteX29" fmla="*/ 258414 w 764748"/>
                <a:gd name="connsiteY29" fmla="*/ 962638 h 1019691"/>
                <a:gd name="connsiteX30" fmla="*/ 258414 w 764748"/>
                <a:gd name="connsiteY30" fmla="*/ 956665 h 1019691"/>
                <a:gd name="connsiteX31" fmla="*/ 264382 w 764748"/>
                <a:gd name="connsiteY31" fmla="*/ 960815 h 1019691"/>
                <a:gd name="connsiteX32" fmla="*/ 269126 w 764748"/>
                <a:gd name="connsiteY32" fmla="*/ 966176 h 1019691"/>
                <a:gd name="connsiteX33" fmla="*/ 269405 w 764748"/>
                <a:gd name="connsiteY33" fmla="*/ 966432 h 1019691"/>
                <a:gd name="connsiteX34" fmla="*/ 274178 w 764748"/>
                <a:gd name="connsiteY34" fmla="*/ 968283 h 1019691"/>
                <a:gd name="connsiteX35" fmla="*/ 274968 w 764748"/>
                <a:gd name="connsiteY35" fmla="*/ 968254 h 1019691"/>
                <a:gd name="connsiteX36" fmla="*/ 274491 w 764748"/>
                <a:gd name="connsiteY36" fmla="*/ 967950 h 1019691"/>
                <a:gd name="connsiteX37" fmla="*/ 275668 w 764748"/>
                <a:gd name="connsiteY37" fmla="*/ 963226 h 1019691"/>
                <a:gd name="connsiteX38" fmla="*/ 273296 w 764748"/>
                <a:gd name="connsiteY38" fmla="*/ 956665 h 1019691"/>
                <a:gd name="connsiteX39" fmla="*/ 267347 w 764748"/>
                <a:gd name="connsiteY39" fmla="*/ 953073 h 1019691"/>
                <a:gd name="connsiteX40" fmla="*/ 261398 w 764748"/>
                <a:gd name="connsiteY40" fmla="*/ 947708 h 1019691"/>
                <a:gd name="connsiteX41" fmla="*/ 291161 w 764748"/>
                <a:gd name="connsiteY41" fmla="*/ 967362 h 1019691"/>
                <a:gd name="connsiteX42" fmla="*/ 297115 w 764748"/>
                <a:gd name="connsiteY42" fmla="*/ 967955 h 1019691"/>
                <a:gd name="connsiteX43" fmla="*/ 303652 w 764748"/>
                <a:gd name="connsiteY43" fmla="*/ 970303 h 1019691"/>
                <a:gd name="connsiteX44" fmla="*/ 306626 w 764748"/>
                <a:gd name="connsiteY44" fmla="*/ 976869 h 1019691"/>
                <a:gd name="connsiteX45" fmla="*/ 312580 w 764748"/>
                <a:gd name="connsiteY45" fmla="*/ 979245 h 1019691"/>
                <a:gd name="connsiteX46" fmla="*/ 317936 w 764748"/>
                <a:gd name="connsiteY46" fmla="*/ 981038 h 1019691"/>
                <a:gd name="connsiteX47" fmla="*/ 323841 w 764748"/>
                <a:gd name="connsiteY47" fmla="*/ 984615 h 1019691"/>
                <a:gd name="connsiteX48" fmla="*/ 325436 w 764748"/>
                <a:gd name="connsiteY48" fmla="*/ 982875 h 1019691"/>
                <a:gd name="connsiteX49" fmla="*/ 331395 w 764748"/>
                <a:gd name="connsiteY49" fmla="*/ 977558 h 1019691"/>
                <a:gd name="connsiteX50" fmla="*/ 335536 w 764748"/>
                <a:gd name="connsiteY50" fmla="*/ 983782 h 1019691"/>
                <a:gd name="connsiteX51" fmla="*/ 348692 w 764748"/>
                <a:gd name="connsiteY51" fmla="*/ 991408 h 1019691"/>
                <a:gd name="connsiteX52" fmla="*/ 353725 w 764748"/>
                <a:gd name="connsiteY52" fmla="*/ 993982 h 1019691"/>
                <a:gd name="connsiteX53" fmla="*/ 356439 w 764748"/>
                <a:gd name="connsiteY53" fmla="*/ 1000447 h 1019691"/>
                <a:gd name="connsiteX54" fmla="*/ 356574 w 764748"/>
                <a:gd name="connsiteY54" fmla="*/ 1006405 h 1019691"/>
                <a:gd name="connsiteX55" fmla="*/ 362782 w 764748"/>
                <a:gd name="connsiteY55" fmla="*/ 1006405 h 1019691"/>
                <a:gd name="connsiteX56" fmla="*/ 368596 w 764748"/>
                <a:gd name="connsiteY56" fmla="*/ 1005354 h 1019691"/>
                <a:gd name="connsiteX57" fmla="*/ 365246 w 764748"/>
                <a:gd name="connsiteY57" fmla="*/ 1019440 h 1019691"/>
                <a:gd name="connsiteX58" fmla="*/ 386799 w 764748"/>
                <a:gd name="connsiteY58" fmla="*/ 1003807 h 1019691"/>
                <a:gd name="connsiteX59" fmla="*/ 390150 w 764748"/>
                <a:gd name="connsiteY59" fmla="*/ 999150 h 1019691"/>
                <a:gd name="connsiteX60" fmla="*/ 388612 w 764748"/>
                <a:gd name="connsiteY60" fmla="*/ 989079 h 1019691"/>
                <a:gd name="connsiteX61" fmla="*/ 390555 w 764748"/>
                <a:gd name="connsiteY61" fmla="*/ 977192 h 1019691"/>
                <a:gd name="connsiteX62" fmla="*/ 393004 w 764748"/>
                <a:gd name="connsiteY62" fmla="*/ 983777 h 1019691"/>
                <a:gd name="connsiteX63" fmla="*/ 397636 w 764748"/>
                <a:gd name="connsiteY63" fmla="*/ 984297 h 1019691"/>
                <a:gd name="connsiteX64" fmla="*/ 400239 w 764748"/>
                <a:gd name="connsiteY64" fmla="*/ 981598 h 1019691"/>
                <a:gd name="connsiteX65" fmla="*/ 411717 w 764748"/>
                <a:gd name="connsiteY65" fmla="*/ 982494 h 1019691"/>
                <a:gd name="connsiteX66" fmla="*/ 421137 w 764748"/>
                <a:gd name="connsiteY66" fmla="*/ 984297 h 1019691"/>
                <a:gd name="connsiteX67" fmla="*/ 427872 w 764748"/>
                <a:gd name="connsiteY67" fmla="*/ 984162 h 1019691"/>
                <a:gd name="connsiteX68" fmla="*/ 426966 w 764748"/>
                <a:gd name="connsiteY68" fmla="*/ 988698 h 1019691"/>
                <a:gd name="connsiteX69" fmla="*/ 431483 w 764748"/>
                <a:gd name="connsiteY69" fmla="*/ 990231 h 1019691"/>
                <a:gd name="connsiteX70" fmla="*/ 443375 w 764748"/>
                <a:gd name="connsiteY70" fmla="*/ 1002264 h 1019691"/>
                <a:gd name="connsiteX71" fmla="*/ 449796 w 764748"/>
                <a:gd name="connsiteY71" fmla="*/ 1001449 h 1019691"/>
                <a:gd name="connsiteX72" fmla="*/ 456140 w 764748"/>
                <a:gd name="connsiteY72" fmla="*/ 997091 h 1019691"/>
                <a:gd name="connsiteX73" fmla="*/ 462591 w 764748"/>
                <a:gd name="connsiteY73" fmla="*/ 1001203 h 1019691"/>
                <a:gd name="connsiteX74" fmla="*/ 468395 w 764748"/>
                <a:gd name="connsiteY74" fmla="*/ 994377 h 1019691"/>
                <a:gd name="connsiteX75" fmla="*/ 473972 w 764748"/>
                <a:gd name="connsiteY75" fmla="*/ 993977 h 1019691"/>
                <a:gd name="connsiteX76" fmla="*/ 475645 w 764748"/>
                <a:gd name="connsiteY76" fmla="*/ 987532 h 1019691"/>
                <a:gd name="connsiteX77" fmla="*/ 482621 w 764748"/>
                <a:gd name="connsiteY77" fmla="*/ 984933 h 1019691"/>
                <a:gd name="connsiteX78" fmla="*/ 488184 w 764748"/>
                <a:gd name="connsiteY78" fmla="*/ 984297 h 1019691"/>
                <a:gd name="connsiteX79" fmla="*/ 491780 w 764748"/>
                <a:gd name="connsiteY79" fmla="*/ 979125 h 1019691"/>
                <a:gd name="connsiteX80" fmla="*/ 495164 w 764748"/>
                <a:gd name="connsiteY80" fmla="*/ 975629 h 1019691"/>
                <a:gd name="connsiteX81" fmla="*/ 507789 w 764748"/>
                <a:gd name="connsiteY81" fmla="*/ 974217 h 1019691"/>
                <a:gd name="connsiteX82" fmla="*/ 514133 w 764748"/>
                <a:gd name="connsiteY82" fmla="*/ 975369 h 1019691"/>
                <a:gd name="connsiteX83" fmla="*/ 546418 w 764748"/>
                <a:gd name="connsiteY83" fmla="*/ 970095 h 1019691"/>
                <a:gd name="connsiteX84" fmla="*/ 544060 w 764748"/>
                <a:gd name="connsiteY84" fmla="*/ 958193 h 1019691"/>
                <a:gd name="connsiteX85" fmla="*/ 549137 w 764748"/>
                <a:gd name="connsiteY85" fmla="*/ 953454 h 1019691"/>
                <a:gd name="connsiteX86" fmla="*/ 550544 w 764748"/>
                <a:gd name="connsiteY86" fmla="*/ 959249 h 1019691"/>
                <a:gd name="connsiteX87" fmla="*/ 556093 w 764748"/>
                <a:gd name="connsiteY87" fmla="*/ 958193 h 1019691"/>
                <a:gd name="connsiteX88" fmla="*/ 561776 w 764748"/>
                <a:gd name="connsiteY88" fmla="*/ 959360 h 1019691"/>
                <a:gd name="connsiteX89" fmla="*/ 567214 w 764748"/>
                <a:gd name="connsiteY89" fmla="*/ 958468 h 1019691"/>
                <a:gd name="connsiteX90" fmla="*/ 572758 w 764748"/>
                <a:gd name="connsiteY90" fmla="*/ 965019 h 1019691"/>
                <a:gd name="connsiteX91" fmla="*/ 578577 w 764748"/>
                <a:gd name="connsiteY91" fmla="*/ 965164 h 1019691"/>
                <a:gd name="connsiteX92" fmla="*/ 585157 w 764748"/>
                <a:gd name="connsiteY92" fmla="*/ 959620 h 1019691"/>
                <a:gd name="connsiteX93" fmla="*/ 591617 w 764748"/>
                <a:gd name="connsiteY93" fmla="*/ 958588 h 1019691"/>
                <a:gd name="connsiteX94" fmla="*/ 596139 w 764748"/>
                <a:gd name="connsiteY94" fmla="*/ 960271 h 1019691"/>
                <a:gd name="connsiteX95" fmla="*/ 601678 w 764748"/>
                <a:gd name="connsiteY95" fmla="*/ 965689 h 1019691"/>
                <a:gd name="connsiteX96" fmla="*/ 599364 w 764748"/>
                <a:gd name="connsiteY96" fmla="*/ 972038 h 1019691"/>
                <a:gd name="connsiteX97" fmla="*/ 611632 w 764748"/>
                <a:gd name="connsiteY97" fmla="*/ 982089 h 1019691"/>
                <a:gd name="connsiteX98" fmla="*/ 617191 w 764748"/>
                <a:gd name="connsiteY98" fmla="*/ 984022 h 1019691"/>
                <a:gd name="connsiteX99" fmla="*/ 623376 w 764748"/>
                <a:gd name="connsiteY99" fmla="*/ 982624 h 1019691"/>
                <a:gd name="connsiteX100" fmla="*/ 626615 w 764748"/>
                <a:gd name="connsiteY100" fmla="*/ 963221 h 1019691"/>
                <a:gd name="connsiteX101" fmla="*/ 625719 w 764748"/>
                <a:gd name="connsiteY101" fmla="*/ 957576 h 1019691"/>
                <a:gd name="connsiteX102" fmla="*/ 618458 w 764748"/>
                <a:gd name="connsiteY102" fmla="*/ 951131 h 1019691"/>
                <a:gd name="connsiteX103" fmla="*/ 612919 w 764748"/>
                <a:gd name="connsiteY103" fmla="*/ 953686 h 1019691"/>
                <a:gd name="connsiteX104" fmla="*/ 611488 w 764748"/>
                <a:gd name="connsiteY104" fmla="*/ 946850 h 1019691"/>
                <a:gd name="connsiteX105" fmla="*/ 615643 w 764748"/>
                <a:gd name="connsiteY105" fmla="*/ 934682 h 1019691"/>
                <a:gd name="connsiteX106" fmla="*/ 603770 w 764748"/>
                <a:gd name="connsiteY106" fmla="*/ 917381 h 1019691"/>
                <a:gd name="connsiteX107" fmla="*/ 600911 w 764748"/>
                <a:gd name="connsiteY107" fmla="*/ 911977 h 1019691"/>
                <a:gd name="connsiteX108" fmla="*/ 594721 w 764748"/>
                <a:gd name="connsiteY108" fmla="*/ 905503 h 1019691"/>
                <a:gd name="connsiteX109" fmla="*/ 593685 w 764748"/>
                <a:gd name="connsiteY109" fmla="*/ 899588 h 1019691"/>
                <a:gd name="connsiteX110" fmla="*/ 600135 w 764748"/>
                <a:gd name="connsiteY110" fmla="*/ 894381 h 1019691"/>
                <a:gd name="connsiteX111" fmla="*/ 602343 w 764748"/>
                <a:gd name="connsiteY111" fmla="*/ 888447 h 1019691"/>
                <a:gd name="connsiteX112" fmla="*/ 608537 w 764748"/>
                <a:gd name="connsiteY112" fmla="*/ 887541 h 1019691"/>
                <a:gd name="connsiteX113" fmla="*/ 617060 w 764748"/>
                <a:gd name="connsiteY113" fmla="*/ 879548 h 1019691"/>
                <a:gd name="connsiteX114" fmla="*/ 624422 w 764748"/>
                <a:gd name="connsiteY114" fmla="*/ 878251 h 1019691"/>
                <a:gd name="connsiteX115" fmla="*/ 629064 w 764748"/>
                <a:gd name="connsiteY115" fmla="*/ 874481 h 1019691"/>
                <a:gd name="connsiteX116" fmla="*/ 635394 w 764748"/>
                <a:gd name="connsiteY116" fmla="*/ 874655 h 1019691"/>
                <a:gd name="connsiteX117" fmla="*/ 641983 w 764748"/>
                <a:gd name="connsiteY117" fmla="*/ 871555 h 1019691"/>
                <a:gd name="connsiteX118" fmla="*/ 647151 w 764748"/>
                <a:gd name="connsiteY118" fmla="*/ 867014 h 1019691"/>
                <a:gd name="connsiteX119" fmla="*/ 651278 w 764748"/>
                <a:gd name="connsiteY119" fmla="*/ 857980 h 1019691"/>
                <a:gd name="connsiteX120" fmla="*/ 650237 w 764748"/>
                <a:gd name="connsiteY120" fmla="*/ 851154 h 1019691"/>
                <a:gd name="connsiteX121" fmla="*/ 652069 w 764748"/>
                <a:gd name="connsiteY121" fmla="*/ 844178 h 1019691"/>
                <a:gd name="connsiteX122" fmla="*/ 650632 w 764748"/>
                <a:gd name="connsiteY122" fmla="*/ 838736 h 1019691"/>
                <a:gd name="connsiteX123" fmla="*/ 657087 w 764748"/>
                <a:gd name="connsiteY123" fmla="*/ 835135 h 1019691"/>
                <a:gd name="connsiteX124" fmla="*/ 662385 w 764748"/>
                <a:gd name="connsiteY124" fmla="*/ 837834 h 1019691"/>
                <a:gd name="connsiteX125" fmla="*/ 668444 w 764748"/>
                <a:gd name="connsiteY125" fmla="*/ 838490 h 1019691"/>
                <a:gd name="connsiteX126" fmla="*/ 676211 w 764748"/>
                <a:gd name="connsiteY126" fmla="*/ 843918 h 1019691"/>
                <a:gd name="connsiteX127" fmla="*/ 677628 w 764748"/>
                <a:gd name="connsiteY127" fmla="*/ 837179 h 1019691"/>
                <a:gd name="connsiteX128" fmla="*/ 682916 w 764748"/>
                <a:gd name="connsiteY128" fmla="*/ 831008 h 1019691"/>
                <a:gd name="connsiteX129" fmla="*/ 684223 w 764748"/>
                <a:gd name="connsiteY129" fmla="*/ 818335 h 1019691"/>
                <a:gd name="connsiteX130" fmla="*/ 682916 w 764748"/>
                <a:gd name="connsiteY130" fmla="*/ 813061 h 1019691"/>
                <a:gd name="connsiteX131" fmla="*/ 684160 w 764748"/>
                <a:gd name="connsiteY131" fmla="*/ 808554 h 1019691"/>
                <a:gd name="connsiteX132" fmla="*/ 683957 w 764748"/>
                <a:gd name="connsiteY132" fmla="*/ 808500 h 1019691"/>
                <a:gd name="connsiteX133" fmla="*/ 674914 w 764748"/>
                <a:gd name="connsiteY133" fmla="*/ 794858 h 1019691"/>
                <a:gd name="connsiteX134" fmla="*/ 672335 w 764748"/>
                <a:gd name="connsiteY134" fmla="*/ 794978 h 1019691"/>
                <a:gd name="connsiteX135" fmla="*/ 666005 w 764748"/>
                <a:gd name="connsiteY135" fmla="*/ 791613 h 1019691"/>
                <a:gd name="connsiteX136" fmla="*/ 660828 w 764748"/>
                <a:gd name="connsiteY136" fmla="*/ 784228 h 1019691"/>
                <a:gd name="connsiteX137" fmla="*/ 655655 w 764748"/>
                <a:gd name="connsiteY137" fmla="*/ 782199 h 1019691"/>
                <a:gd name="connsiteX138" fmla="*/ 649735 w 764748"/>
                <a:gd name="connsiteY138" fmla="*/ 783741 h 1019691"/>
                <a:gd name="connsiteX139" fmla="*/ 643791 w 764748"/>
                <a:gd name="connsiteY139" fmla="*/ 777305 h 1019691"/>
                <a:gd name="connsiteX140" fmla="*/ 635654 w 764748"/>
                <a:gd name="connsiteY140" fmla="*/ 767066 h 1019691"/>
                <a:gd name="connsiteX141" fmla="*/ 626364 w 764748"/>
                <a:gd name="connsiteY141" fmla="*/ 765538 h 1019691"/>
                <a:gd name="connsiteX142" fmla="*/ 623906 w 764748"/>
                <a:gd name="connsiteY142" fmla="*/ 759951 h 1019691"/>
                <a:gd name="connsiteX143" fmla="*/ 613440 w 764748"/>
                <a:gd name="connsiteY143" fmla="*/ 749249 h 1019691"/>
                <a:gd name="connsiteX144" fmla="*/ 608918 w 764748"/>
                <a:gd name="connsiteY144" fmla="*/ 742023 h 1019691"/>
                <a:gd name="connsiteX145" fmla="*/ 602868 w 764748"/>
                <a:gd name="connsiteY145" fmla="*/ 736855 h 1019691"/>
                <a:gd name="connsiteX146" fmla="*/ 597050 w 764748"/>
                <a:gd name="connsiteY146" fmla="*/ 738918 h 1019691"/>
                <a:gd name="connsiteX147" fmla="*/ 587481 w 764748"/>
                <a:gd name="connsiteY147" fmla="*/ 734801 h 1019691"/>
                <a:gd name="connsiteX148" fmla="*/ 583484 w 764748"/>
                <a:gd name="connsiteY148" fmla="*/ 728992 h 1019691"/>
                <a:gd name="connsiteX149" fmla="*/ 574687 w 764748"/>
                <a:gd name="connsiteY149" fmla="*/ 720325 h 1019691"/>
                <a:gd name="connsiteX150" fmla="*/ 575371 w 764748"/>
                <a:gd name="connsiteY150" fmla="*/ 714742 h 1019691"/>
                <a:gd name="connsiteX151" fmla="*/ 569533 w 764748"/>
                <a:gd name="connsiteY151" fmla="*/ 709459 h 1019691"/>
                <a:gd name="connsiteX152" fmla="*/ 567735 w 764748"/>
                <a:gd name="connsiteY152" fmla="*/ 702628 h 1019691"/>
                <a:gd name="connsiteX153" fmla="*/ 562307 w 764748"/>
                <a:gd name="connsiteY153" fmla="*/ 693073 h 1019691"/>
                <a:gd name="connsiteX154" fmla="*/ 555847 w 764748"/>
                <a:gd name="connsiteY154" fmla="*/ 688821 h 1019691"/>
                <a:gd name="connsiteX155" fmla="*/ 553278 w 764748"/>
                <a:gd name="connsiteY155" fmla="*/ 683789 h 1019691"/>
                <a:gd name="connsiteX156" fmla="*/ 559087 w 764748"/>
                <a:gd name="connsiteY156" fmla="*/ 677960 h 1019691"/>
                <a:gd name="connsiteX157" fmla="*/ 559347 w 764748"/>
                <a:gd name="connsiteY157" fmla="*/ 673188 h 1019691"/>
                <a:gd name="connsiteX158" fmla="*/ 561786 w 764748"/>
                <a:gd name="connsiteY158" fmla="*/ 671641 h 1019691"/>
                <a:gd name="connsiteX159" fmla="*/ 562702 w 764748"/>
                <a:gd name="connsiteY159" fmla="*/ 666087 h 1019691"/>
                <a:gd name="connsiteX160" fmla="*/ 558180 w 764748"/>
                <a:gd name="connsiteY160" fmla="*/ 652656 h 1019691"/>
                <a:gd name="connsiteX161" fmla="*/ 538281 w 764748"/>
                <a:gd name="connsiteY161" fmla="*/ 640388 h 1019691"/>
                <a:gd name="connsiteX162" fmla="*/ 534781 w 764748"/>
                <a:gd name="connsiteY162" fmla="*/ 637505 h 1019691"/>
                <a:gd name="connsiteX163" fmla="*/ 534029 w 764748"/>
                <a:gd name="connsiteY163" fmla="*/ 631744 h 1019691"/>
                <a:gd name="connsiteX164" fmla="*/ 529762 w 764748"/>
                <a:gd name="connsiteY164" fmla="*/ 622156 h 1019691"/>
                <a:gd name="connsiteX165" fmla="*/ 527318 w 764748"/>
                <a:gd name="connsiteY165" fmla="*/ 616236 h 1019691"/>
                <a:gd name="connsiteX166" fmla="*/ 523953 w 764748"/>
                <a:gd name="connsiteY166" fmla="*/ 609637 h 1019691"/>
                <a:gd name="connsiteX167" fmla="*/ 539592 w 764748"/>
                <a:gd name="connsiteY167" fmla="*/ 622450 h 1019691"/>
                <a:gd name="connsiteX168" fmla="*/ 544350 w 764748"/>
                <a:gd name="connsiteY168" fmla="*/ 629016 h 1019691"/>
                <a:gd name="connsiteX169" fmla="*/ 545015 w 764748"/>
                <a:gd name="connsiteY169" fmla="*/ 622681 h 1019691"/>
                <a:gd name="connsiteX170" fmla="*/ 556377 w 764748"/>
                <a:gd name="connsiteY170" fmla="*/ 602280 h 1019691"/>
                <a:gd name="connsiteX171" fmla="*/ 570579 w 764748"/>
                <a:gd name="connsiteY171" fmla="*/ 596119 h 1019691"/>
                <a:gd name="connsiteX172" fmla="*/ 579883 w 764748"/>
                <a:gd name="connsiteY172" fmla="*/ 592446 h 1019691"/>
                <a:gd name="connsiteX173" fmla="*/ 586729 w 764748"/>
                <a:gd name="connsiteY173" fmla="*/ 591168 h 1019691"/>
                <a:gd name="connsiteX174" fmla="*/ 591631 w 764748"/>
                <a:gd name="connsiteY174" fmla="*/ 592595 h 1019691"/>
                <a:gd name="connsiteX175" fmla="*/ 597845 w 764748"/>
                <a:gd name="connsiteY175" fmla="*/ 593362 h 1019691"/>
                <a:gd name="connsiteX176" fmla="*/ 604411 w 764748"/>
                <a:gd name="connsiteY176" fmla="*/ 582255 h 1019691"/>
                <a:gd name="connsiteX177" fmla="*/ 614100 w 764748"/>
                <a:gd name="connsiteY177" fmla="*/ 580307 h 1019691"/>
                <a:gd name="connsiteX178" fmla="*/ 618106 w 764748"/>
                <a:gd name="connsiteY178" fmla="*/ 575294 h 1019691"/>
                <a:gd name="connsiteX179" fmla="*/ 626099 w 764748"/>
                <a:gd name="connsiteY179" fmla="*/ 567330 h 1019691"/>
                <a:gd name="connsiteX180" fmla="*/ 634001 w 764748"/>
                <a:gd name="connsiteY180" fmla="*/ 566775 h 1019691"/>
                <a:gd name="connsiteX181" fmla="*/ 638782 w 764748"/>
                <a:gd name="connsiteY181" fmla="*/ 565599 h 1019691"/>
                <a:gd name="connsiteX182" fmla="*/ 645739 w 764748"/>
                <a:gd name="connsiteY182" fmla="*/ 553745 h 1019691"/>
                <a:gd name="connsiteX183" fmla="*/ 650791 w 764748"/>
                <a:gd name="connsiteY183" fmla="*/ 550371 h 1019691"/>
                <a:gd name="connsiteX184" fmla="*/ 655670 w 764748"/>
                <a:gd name="connsiteY184" fmla="*/ 549990 h 1019691"/>
                <a:gd name="connsiteX185" fmla="*/ 661127 w 764748"/>
                <a:gd name="connsiteY185" fmla="*/ 548958 h 1019691"/>
                <a:gd name="connsiteX186" fmla="*/ 666020 w 764748"/>
                <a:gd name="connsiteY186" fmla="*/ 548052 h 1019691"/>
                <a:gd name="connsiteX187" fmla="*/ 672484 w 764748"/>
                <a:gd name="connsiteY187" fmla="*/ 544837 h 1019691"/>
                <a:gd name="connsiteX188" fmla="*/ 674668 w 764748"/>
                <a:gd name="connsiteY188" fmla="*/ 540961 h 1019691"/>
                <a:gd name="connsiteX189" fmla="*/ 680231 w 764748"/>
                <a:gd name="connsiteY189" fmla="*/ 536579 h 1019691"/>
                <a:gd name="connsiteX190" fmla="*/ 686811 w 764748"/>
                <a:gd name="connsiteY190" fmla="*/ 536931 h 1019691"/>
                <a:gd name="connsiteX191" fmla="*/ 696882 w 764748"/>
                <a:gd name="connsiteY191" fmla="*/ 531633 h 1019691"/>
                <a:gd name="connsiteX192" fmla="*/ 700897 w 764748"/>
                <a:gd name="connsiteY192" fmla="*/ 526470 h 1019691"/>
                <a:gd name="connsiteX193" fmla="*/ 708519 w 764748"/>
                <a:gd name="connsiteY193" fmla="*/ 525043 h 1019691"/>
                <a:gd name="connsiteX194" fmla="*/ 711865 w 764748"/>
                <a:gd name="connsiteY194" fmla="*/ 519499 h 1019691"/>
                <a:gd name="connsiteX195" fmla="*/ 707082 w 764748"/>
                <a:gd name="connsiteY195" fmla="*/ 515131 h 1019691"/>
                <a:gd name="connsiteX196" fmla="*/ 703742 w 764748"/>
                <a:gd name="connsiteY196" fmla="*/ 509202 h 1019691"/>
                <a:gd name="connsiteX197" fmla="*/ 708654 w 764748"/>
                <a:gd name="connsiteY197" fmla="*/ 504044 h 1019691"/>
                <a:gd name="connsiteX198" fmla="*/ 714964 w 764748"/>
                <a:gd name="connsiteY198" fmla="*/ 506358 h 1019691"/>
                <a:gd name="connsiteX199" fmla="*/ 720913 w 764748"/>
                <a:gd name="connsiteY199" fmla="*/ 503354 h 1019691"/>
                <a:gd name="connsiteX200" fmla="*/ 723362 w 764748"/>
                <a:gd name="connsiteY200" fmla="*/ 506488 h 1019691"/>
                <a:gd name="connsiteX201" fmla="*/ 729311 w 764748"/>
                <a:gd name="connsiteY201" fmla="*/ 509559 h 1019691"/>
                <a:gd name="connsiteX202" fmla="*/ 731764 w 764748"/>
                <a:gd name="connsiteY202" fmla="*/ 518342 h 1019691"/>
                <a:gd name="connsiteX203" fmla="*/ 733948 w 764748"/>
                <a:gd name="connsiteY203" fmla="*/ 520800 h 1019691"/>
                <a:gd name="connsiteX204" fmla="*/ 734724 w 764748"/>
                <a:gd name="connsiteY204" fmla="*/ 523153 h 1019691"/>
                <a:gd name="connsiteX205" fmla="*/ 737689 w 764748"/>
                <a:gd name="connsiteY205" fmla="*/ 528272 h 1019691"/>
                <a:gd name="connsiteX206" fmla="*/ 742471 w 764748"/>
                <a:gd name="connsiteY206" fmla="*/ 530775 h 1019691"/>
                <a:gd name="connsiteX207" fmla="*/ 746742 w 764748"/>
                <a:gd name="connsiteY207" fmla="*/ 529459 h 1019691"/>
                <a:gd name="connsiteX208" fmla="*/ 751525 w 764748"/>
                <a:gd name="connsiteY208" fmla="*/ 525486 h 1019691"/>
                <a:gd name="connsiteX209" fmla="*/ 755935 w 764748"/>
                <a:gd name="connsiteY209" fmla="*/ 514529 h 1019691"/>
                <a:gd name="connsiteX210" fmla="*/ 760168 w 764748"/>
                <a:gd name="connsiteY210" fmla="*/ 500264 h 1019691"/>
                <a:gd name="connsiteX211" fmla="*/ 764174 w 764748"/>
                <a:gd name="connsiteY211" fmla="*/ 471856 h 1019691"/>
                <a:gd name="connsiteX212" fmla="*/ 761470 w 764748"/>
                <a:gd name="connsiteY212" fmla="*/ 463989 h 1019691"/>
                <a:gd name="connsiteX213" fmla="*/ 755907 w 764748"/>
                <a:gd name="connsiteY213" fmla="*/ 445535 h 1019691"/>
                <a:gd name="connsiteX214" fmla="*/ 736016 w 764748"/>
                <a:gd name="connsiteY214" fmla="*/ 436091 h 1019691"/>
                <a:gd name="connsiteX215" fmla="*/ 736146 w 764748"/>
                <a:gd name="connsiteY215" fmla="*/ 418413 h 1019691"/>
                <a:gd name="connsiteX216" fmla="*/ 727638 w 764748"/>
                <a:gd name="connsiteY216" fmla="*/ 405205 h 1019691"/>
                <a:gd name="connsiteX217" fmla="*/ 722576 w 764748"/>
                <a:gd name="connsiteY217" fmla="*/ 396311 h 1019691"/>
                <a:gd name="connsiteX218" fmla="*/ 730858 w 764748"/>
                <a:gd name="connsiteY218" fmla="*/ 380537 h 1019691"/>
                <a:gd name="connsiteX219" fmla="*/ 733042 w 764748"/>
                <a:gd name="connsiteY219" fmla="*/ 364542 h 1019691"/>
                <a:gd name="connsiteX220" fmla="*/ 727247 w 764748"/>
                <a:gd name="connsiteY220" fmla="*/ 344155 h 1019691"/>
                <a:gd name="connsiteX221" fmla="*/ 721414 w 764748"/>
                <a:gd name="connsiteY221" fmla="*/ 338988 h 1019691"/>
                <a:gd name="connsiteX222" fmla="*/ 712896 w 764748"/>
                <a:gd name="connsiteY222" fmla="*/ 324901 h 1019691"/>
                <a:gd name="connsiteX223" fmla="*/ 718594 w 764748"/>
                <a:gd name="connsiteY223" fmla="*/ 312898 h 1019691"/>
                <a:gd name="connsiteX224" fmla="*/ 718479 w 764748"/>
                <a:gd name="connsiteY224" fmla="*/ 300234 h 1019691"/>
                <a:gd name="connsiteX225" fmla="*/ 704513 w 764748"/>
                <a:gd name="connsiteY225" fmla="*/ 289127 h 1019691"/>
                <a:gd name="connsiteX226" fmla="*/ 698058 w 764748"/>
                <a:gd name="connsiteY226" fmla="*/ 280474 h 1019691"/>
                <a:gd name="connsiteX227" fmla="*/ 681793 w 764748"/>
                <a:gd name="connsiteY227" fmla="*/ 269106 h 1019691"/>
                <a:gd name="connsiteX228" fmla="*/ 677368 w 764748"/>
                <a:gd name="connsiteY228" fmla="*/ 261027 h 1019691"/>
                <a:gd name="connsiteX229" fmla="*/ 677136 w 764748"/>
                <a:gd name="connsiteY229" fmla="*/ 253998 h 1019691"/>
                <a:gd name="connsiteX230" fmla="*/ 691328 w 764748"/>
                <a:gd name="connsiteY230" fmla="*/ 235284 h 1019691"/>
                <a:gd name="connsiteX231" fmla="*/ 692240 w 764748"/>
                <a:gd name="connsiteY231" fmla="*/ 221444 h 1019691"/>
                <a:gd name="connsiteX232" fmla="*/ 697142 w 764748"/>
                <a:gd name="connsiteY232" fmla="*/ 208954 h 1019691"/>
                <a:gd name="connsiteX233" fmla="*/ 693927 w 764748"/>
                <a:gd name="connsiteY233" fmla="*/ 200638 h 1019691"/>
                <a:gd name="connsiteX234" fmla="*/ 688884 w 764748"/>
                <a:gd name="connsiteY234" fmla="*/ 182315 h 1019691"/>
                <a:gd name="connsiteX235" fmla="*/ 683726 w 764748"/>
                <a:gd name="connsiteY235" fmla="*/ 163461 h 1019691"/>
                <a:gd name="connsiteX236" fmla="*/ 680014 w 764748"/>
                <a:gd name="connsiteY236" fmla="*/ 152450 h 1019691"/>
                <a:gd name="connsiteX237" fmla="*/ 679185 w 764748"/>
                <a:gd name="connsiteY237" fmla="*/ 152648 h 1019691"/>
                <a:gd name="connsiteX238" fmla="*/ 677932 w 764748"/>
                <a:gd name="connsiteY238" fmla="*/ 151096 h 1019691"/>
                <a:gd name="connsiteX239" fmla="*/ 677580 w 764748"/>
                <a:gd name="connsiteY239" fmla="*/ 147480 h 1019691"/>
                <a:gd name="connsiteX240" fmla="*/ 673236 w 764748"/>
                <a:gd name="connsiteY240" fmla="*/ 149042 h 1019691"/>
                <a:gd name="connsiteX241" fmla="*/ 672441 w 764748"/>
                <a:gd name="connsiteY241" fmla="*/ 149153 h 1019691"/>
                <a:gd name="connsiteX242" fmla="*/ 666473 w 764748"/>
                <a:gd name="connsiteY242" fmla="*/ 148545 h 1019691"/>
                <a:gd name="connsiteX243" fmla="*/ 666150 w 764748"/>
                <a:gd name="connsiteY243" fmla="*/ 148516 h 1019691"/>
                <a:gd name="connsiteX244" fmla="*/ 660186 w 764748"/>
                <a:gd name="connsiteY244" fmla="*/ 146728 h 1019691"/>
                <a:gd name="connsiteX245" fmla="*/ 660042 w 764748"/>
                <a:gd name="connsiteY245" fmla="*/ 146675 h 1019691"/>
                <a:gd name="connsiteX246" fmla="*/ 654098 w 764748"/>
                <a:gd name="connsiteY246" fmla="*/ 144265 h 1019691"/>
                <a:gd name="connsiteX247" fmla="*/ 653626 w 764748"/>
                <a:gd name="connsiteY247" fmla="*/ 143985 h 1019691"/>
                <a:gd name="connsiteX248" fmla="*/ 647749 w 764748"/>
                <a:gd name="connsiteY248" fmla="*/ 139304 h 1019691"/>
                <a:gd name="connsiteX249" fmla="*/ 641294 w 764748"/>
                <a:gd name="connsiteY249" fmla="*/ 135206 h 1019691"/>
                <a:gd name="connsiteX250" fmla="*/ 640460 w 764748"/>
                <a:gd name="connsiteY250" fmla="*/ 133678 h 1019691"/>
                <a:gd name="connsiteX251" fmla="*/ 640460 w 764748"/>
                <a:gd name="connsiteY251" fmla="*/ 131292 h 1019691"/>
                <a:gd name="connsiteX252" fmla="*/ 640986 w 764748"/>
                <a:gd name="connsiteY252" fmla="*/ 129991 h 1019691"/>
                <a:gd name="connsiteX253" fmla="*/ 641053 w 764748"/>
                <a:gd name="connsiteY253" fmla="*/ 129971 h 1019691"/>
                <a:gd name="connsiteX254" fmla="*/ 641053 w 764748"/>
                <a:gd name="connsiteY254" fmla="*/ 129494 h 1019691"/>
                <a:gd name="connsiteX255" fmla="*/ 641728 w 764748"/>
                <a:gd name="connsiteY255" fmla="*/ 128101 h 1019691"/>
                <a:gd name="connsiteX256" fmla="*/ 646790 w 764748"/>
                <a:gd name="connsiteY256" fmla="*/ 123945 h 1019691"/>
                <a:gd name="connsiteX257" fmla="*/ 642755 w 764748"/>
                <a:gd name="connsiteY257" fmla="*/ 119467 h 1019691"/>
                <a:gd name="connsiteX258" fmla="*/ 636826 w 764748"/>
                <a:gd name="connsiteY258" fmla="*/ 113533 h 1019691"/>
                <a:gd name="connsiteX259" fmla="*/ 636309 w 764748"/>
                <a:gd name="connsiteY259" fmla="*/ 112048 h 1019691"/>
                <a:gd name="connsiteX260" fmla="*/ 636888 w 764748"/>
                <a:gd name="connsiteY260" fmla="*/ 106687 h 1019691"/>
                <a:gd name="connsiteX261" fmla="*/ 636922 w 764748"/>
                <a:gd name="connsiteY261" fmla="*/ 106514 h 1019691"/>
                <a:gd name="connsiteX262" fmla="*/ 637708 w 764748"/>
                <a:gd name="connsiteY262" fmla="*/ 102618 h 1019691"/>
                <a:gd name="connsiteX263" fmla="*/ 637471 w 764748"/>
                <a:gd name="connsiteY263" fmla="*/ 101302 h 1019691"/>
                <a:gd name="connsiteX264" fmla="*/ 632212 w 764748"/>
                <a:gd name="connsiteY264" fmla="*/ 96983 h 1019691"/>
                <a:gd name="connsiteX265" fmla="*/ 631595 w 764748"/>
                <a:gd name="connsiteY265" fmla="*/ 96028 h 1019691"/>
                <a:gd name="connsiteX266" fmla="*/ 631065 w 764748"/>
                <a:gd name="connsiteY266" fmla="*/ 93854 h 1019691"/>
                <a:gd name="connsiteX267" fmla="*/ 626683 w 764748"/>
                <a:gd name="connsiteY267" fmla="*/ 97075 h 1019691"/>
                <a:gd name="connsiteX268" fmla="*/ 626119 w 764748"/>
                <a:gd name="connsiteY268" fmla="*/ 97311 h 1019691"/>
                <a:gd name="connsiteX269" fmla="*/ 620854 w 764748"/>
                <a:gd name="connsiteY269" fmla="*/ 98882 h 1019691"/>
                <a:gd name="connsiteX270" fmla="*/ 617658 w 764748"/>
                <a:gd name="connsiteY270" fmla="*/ 104262 h 1019691"/>
                <a:gd name="connsiteX271" fmla="*/ 616318 w 764748"/>
                <a:gd name="connsiteY271" fmla="*/ 105135 h 1019691"/>
                <a:gd name="connsiteX272" fmla="*/ 614804 w 764748"/>
                <a:gd name="connsiteY272" fmla="*/ 104624 h 1019691"/>
                <a:gd name="connsiteX273" fmla="*/ 608971 w 764748"/>
                <a:gd name="connsiteY273" fmla="*/ 98757 h 1019691"/>
                <a:gd name="connsiteX274" fmla="*/ 603162 w 764748"/>
                <a:gd name="connsiteY274" fmla="*/ 94698 h 1019691"/>
                <a:gd name="connsiteX275" fmla="*/ 602719 w 764748"/>
                <a:gd name="connsiteY275" fmla="*/ 94288 h 1019691"/>
                <a:gd name="connsiteX276" fmla="*/ 598250 w 764748"/>
                <a:gd name="connsiteY276" fmla="*/ 88142 h 1019691"/>
                <a:gd name="connsiteX277" fmla="*/ 592147 w 764748"/>
                <a:gd name="connsiteY277" fmla="*/ 85341 h 1019691"/>
                <a:gd name="connsiteX278" fmla="*/ 591969 w 764748"/>
                <a:gd name="connsiteY278" fmla="*/ 85254 h 1019691"/>
                <a:gd name="connsiteX279" fmla="*/ 586005 w 764748"/>
                <a:gd name="connsiteY279" fmla="*/ 81673 h 1019691"/>
                <a:gd name="connsiteX280" fmla="*/ 585350 w 764748"/>
                <a:gd name="connsiteY280" fmla="*/ 80998 h 1019691"/>
                <a:gd name="connsiteX281" fmla="*/ 582496 w 764748"/>
                <a:gd name="connsiteY281" fmla="*/ 75888 h 1019691"/>
                <a:gd name="connsiteX282" fmla="*/ 582067 w 764748"/>
                <a:gd name="connsiteY282" fmla="*/ 75449 h 1019691"/>
                <a:gd name="connsiteX283" fmla="*/ 581599 w 764748"/>
                <a:gd name="connsiteY283" fmla="*/ 74509 h 1019691"/>
                <a:gd name="connsiteX284" fmla="*/ 580491 w 764748"/>
                <a:gd name="connsiteY284" fmla="*/ 69061 h 1019691"/>
                <a:gd name="connsiteX285" fmla="*/ 575935 w 764748"/>
                <a:gd name="connsiteY285" fmla="*/ 64009 h 1019691"/>
                <a:gd name="connsiteX286" fmla="*/ 571731 w 764748"/>
                <a:gd name="connsiteY286" fmla="*/ 63585 h 1019691"/>
                <a:gd name="connsiteX287" fmla="*/ 568198 w 764748"/>
                <a:gd name="connsiteY287" fmla="*/ 68657 h 1019691"/>
                <a:gd name="connsiteX288" fmla="*/ 567229 w 764748"/>
                <a:gd name="connsiteY288" fmla="*/ 69365 h 1019691"/>
                <a:gd name="connsiteX289" fmla="*/ 561299 w 764748"/>
                <a:gd name="connsiteY289" fmla="*/ 71139 h 1019691"/>
                <a:gd name="connsiteX290" fmla="*/ 560432 w 764748"/>
                <a:gd name="connsiteY290" fmla="*/ 71192 h 1019691"/>
                <a:gd name="connsiteX291" fmla="*/ 553904 w 764748"/>
                <a:gd name="connsiteY291" fmla="*/ 69997 h 1019691"/>
                <a:gd name="connsiteX292" fmla="*/ 553851 w 764748"/>
                <a:gd name="connsiteY292" fmla="*/ 69997 h 1019691"/>
                <a:gd name="connsiteX293" fmla="*/ 548346 w 764748"/>
                <a:gd name="connsiteY293" fmla="*/ 68907 h 1019691"/>
                <a:gd name="connsiteX294" fmla="*/ 543222 w 764748"/>
                <a:gd name="connsiteY294" fmla="*/ 70421 h 1019691"/>
                <a:gd name="connsiteX295" fmla="*/ 537644 w 764748"/>
                <a:gd name="connsiteY295" fmla="*/ 75444 h 1019691"/>
                <a:gd name="connsiteX296" fmla="*/ 532351 w 764748"/>
                <a:gd name="connsiteY296" fmla="*/ 81311 h 1019691"/>
                <a:gd name="connsiteX297" fmla="*/ 530688 w 764748"/>
                <a:gd name="connsiteY297" fmla="*/ 81885 h 1019691"/>
                <a:gd name="connsiteX298" fmla="*/ 529314 w 764748"/>
                <a:gd name="connsiteY298" fmla="*/ 80761 h 1019691"/>
                <a:gd name="connsiteX299" fmla="*/ 527660 w 764748"/>
                <a:gd name="connsiteY299" fmla="*/ 76635 h 1019691"/>
                <a:gd name="connsiteX300" fmla="*/ 525496 w 764748"/>
                <a:gd name="connsiteY300" fmla="*/ 80916 h 1019691"/>
                <a:gd name="connsiteX301" fmla="*/ 509578 w 764748"/>
                <a:gd name="connsiteY301" fmla="*/ 106518 h 1019691"/>
                <a:gd name="connsiteX302" fmla="*/ 508276 w 764748"/>
                <a:gd name="connsiteY302" fmla="*/ 108644 h 1019691"/>
                <a:gd name="connsiteX303" fmla="*/ 506102 w 764748"/>
                <a:gd name="connsiteY303" fmla="*/ 107502 h 1019691"/>
                <a:gd name="connsiteX304" fmla="*/ 503701 w 764748"/>
                <a:gd name="connsiteY304" fmla="*/ 100970 h 1019691"/>
                <a:gd name="connsiteX305" fmla="*/ 503591 w 764748"/>
                <a:gd name="connsiteY305" fmla="*/ 100348 h 1019691"/>
                <a:gd name="connsiteX306" fmla="*/ 503591 w 764748"/>
                <a:gd name="connsiteY306" fmla="*/ 96795 h 1019691"/>
                <a:gd name="connsiteX307" fmla="*/ 486000 w 764748"/>
                <a:gd name="connsiteY307" fmla="*/ 102744 h 1019691"/>
                <a:gd name="connsiteX308" fmla="*/ 480335 w 764748"/>
                <a:gd name="connsiteY308" fmla="*/ 101577 h 1019691"/>
                <a:gd name="connsiteX309" fmla="*/ 475356 w 764748"/>
                <a:gd name="connsiteY309" fmla="*/ 102074 h 1019691"/>
                <a:gd name="connsiteX310" fmla="*/ 470574 w 764748"/>
                <a:gd name="connsiteY310" fmla="*/ 107372 h 1019691"/>
                <a:gd name="connsiteX311" fmla="*/ 470800 w 764748"/>
                <a:gd name="connsiteY311" fmla="*/ 108745 h 1019691"/>
                <a:gd name="connsiteX312" fmla="*/ 468428 w 764748"/>
                <a:gd name="connsiteY312" fmla="*/ 114752 h 1019691"/>
                <a:gd name="connsiteX313" fmla="*/ 467942 w 764748"/>
                <a:gd name="connsiteY313" fmla="*/ 115403 h 1019691"/>
                <a:gd name="connsiteX314" fmla="*/ 462263 w 764748"/>
                <a:gd name="connsiteY314" fmla="*/ 120484 h 1019691"/>
                <a:gd name="connsiteX315" fmla="*/ 459587 w 764748"/>
                <a:gd name="connsiteY315" fmla="*/ 126409 h 1019691"/>
                <a:gd name="connsiteX316" fmla="*/ 459028 w 764748"/>
                <a:gd name="connsiteY316" fmla="*/ 132088 h 1019691"/>
                <a:gd name="connsiteX317" fmla="*/ 458965 w 764748"/>
                <a:gd name="connsiteY317" fmla="*/ 132348 h 1019691"/>
                <a:gd name="connsiteX318" fmla="*/ 458363 w 764748"/>
                <a:gd name="connsiteY318" fmla="*/ 134734 h 1019691"/>
                <a:gd name="connsiteX319" fmla="*/ 457239 w 764748"/>
                <a:gd name="connsiteY319" fmla="*/ 135983 h 1019691"/>
                <a:gd name="connsiteX320" fmla="*/ 455552 w 764748"/>
                <a:gd name="connsiteY320" fmla="*/ 135766 h 1019691"/>
                <a:gd name="connsiteX321" fmla="*/ 450090 w 764748"/>
                <a:gd name="connsiteY321" fmla="*/ 131919 h 1019691"/>
                <a:gd name="connsiteX322" fmla="*/ 444118 w 764748"/>
                <a:gd name="connsiteY322" fmla="*/ 131919 h 1019691"/>
                <a:gd name="connsiteX323" fmla="*/ 442633 w 764748"/>
                <a:gd name="connsiteY323" fmla="*/ 131157 h 1019691"/>
                <a:gd name="connsiteX324" fmla="*/ 438646 w 764748"/>
                <a:gd name="connsiteY324" fmla="*/ 125445 h 1019691"/>
                <a:gd name="connsiteX325" fmla="*/ 433502 w 764748"/>
                <a:gd name="connsiteY325" fmla="*/ 121848 h 1019691"/>
                <a:gd name="connsiteX326" fmla="*/ 427775 w 764748"/>
                <a:gd name="connsiteY326" fmla="*/ 122369 h 1019691"/>
                <a:gd name="connsiteX327" fmla="*/ 425702 w 764748"/>
                <a:gd name="connsiteY327" fmla="*/ 122870 h 1019691"/>
                <a:gd name="connsiteX328" fmla="*/ 420043 w 764748"/>
                <a:gd name="connsiteY328" fmla="*/ 125739 h 1019691"/>
                <a:gd name="connsiteX329" fmla="*/ 414774 w 764748"/>
                <a:gd name="connsiteY329" fmla="*/ 129253 h 1019691"/>
                <a:gd name="connsiteX330" fmla="*/ 413197 w 764748"/>
                <a:gd name="connsiteY330" fmla="*/ 129451 h 1019691"/>
                <a:gd name="connsiteX331" fmla="*/ 411390 w 764748"/>
                <a:gd name="connsiteY331" fmla="*/ 128843 h 1019691"/>
                <a:gd name="connsiteX332" fmla="*/ 410324 w 764748"/>
                <a:gd name="connsiteY332" fmla="*/ 127638 h 1019691"/>
                <a:gd name="connsiteX333" fmla="*/ 405099 w 764748"/>
                <a:gd name="connsiteY333" fmla="*/ 124533 h 1019691"/>
                <a:gd name="connsiteX334" fmla="*/ 404539 w 764748"/>
                <a:gd name="connsiteY334" fmla="*/ 124008 h 1019691"/>
                <a:gd name="connsiteX335" fmla="*/ 400399 w 764748"/>
                <a:gd name="connsiteY335" fmla="*/ 118040 h 1019691"/>
                <a:gd name="connsiteX336" fmla="*/ 400230 w 764748"/>
                <a:gd name="connsiteY336" fmla="*/ 116170 h 1019691"/>
                <a:gd name="connsiteX337" fmla="*/ 403219 w 764748"/>
                <a:gd name="connsiteY337" fmla="*/ 110245 h 1019691"/>
                <a:gd name="connsiteX338" fmla="*/ 404670 w 764748"/>
                <a:gd name="connsiteY338" fmla="*/ 109257 h 1019691"/>
                <a:gd name="connsiteX339" fmla="*/ 409972 w 764748"/>
                <a:gd name="connsiteY339" fmla="*/ 108721 h 1019691"/>
                <a:gd name="connsiteX340" fmla="*/ 415463 w 764748"/>
                <a:gd name="connsiteY340" fmla="*/ 103226 h 1019691"/>
                <a:gd name="connsiteX341" fmla="*/ 415622 w 764748"/>
                <a:gd name="connsiteY341" fmla="*/ 103091 h 1019691"/>
                <a:gd name="connsiteX342" fmla="*/ 421393 w 764748"/>
                <a:gd name="connsiteY342" fmla="*/ 98492 h 1019691"/>
                <a:gd name="connsiteX343" fmla="*/ 425582 w 764748"/>
                <a:gd name="connsiteY343" fmla="*/ 92683 h 1019691"/>
                <a:gd name="connsiteX344" fmla="*/ 425052 w 764748"/>
                <a:gd name="connsiteY344" fmla="*/ 87424 h 1019691"/>
                <a:gd name="connsiteX345" fmla="*/ 424464 w 764748"/>
                <a:gd name="connsiteY345" fmla="*/ 80964 h 1019691"/>
                <a:gd name="connsiteX346" fmla="*/ 423306 w 764748"/>
                <a:gd name="connsiteY346" fmla="*/ 75116 h 1019691"/>
                <a:gd name="connsiteX347" fmla="*/ 423475 w 764748"/>
                <a:gd name="connsiteY347" fmla="*/ 73882 h 1019691"/>
                <a:gd name="connsiteX348" fmla="*/ 423890 w 764748"/>
                <a:gd name="connsiteY348" fmla="*/ 73140 h 1019691"/>
                <a:gd name="connsiteX349" fmla="*/ 421600 w 764748"/>
                <a:gd name="connsiteY349" fmla="*/ 74075 h 1019691"/>
                <a:gd name="connsiteX350" fmla="*/ 420559 w 764748"/>
                <a:gd name="connsiteY350" fmla="*/ 74157 h 1019691"/>
                <a:gd name="connsiteX351" fmla="*/ 415425 w 764748"/>
                <a:gd name="connsiteY351" fmla="*/ 73140 h 1019691"/>
                <a:gd name="connsiteX352" fmla="*/ 410132 w 764748"/>
                <a:gd name="connsiteY352" fmla="*/ 77358 h 1019691"/>
                <a:gd name="connsiteX353" fmla="*/ 403614 w 764748"/>
                <a:gd name="connsiteY353" fmla="*/ 82709 h 1019691"/>
                <a:gd name="connsiteX354" fmla="*/ 402457 w 764748"/>
                <a:gd name="connsiteY354" fmla="*/ 83123 h 1019691"/>
                <a:gd name="connsiteX355" fmla="*/ 396494 w 764748"/>
                <a:gd name="connsiteY355" fmla="*/ 83123 h 1019691"/>
                <a:gd name="connsiteX356" fmla="*/ 395226 w 764748"/>
                <a:gd name="connsiteY356" fmla="*/ 82622 h 1019691"/>
                <a:gd name="connsiteX357" fmla="*/ 389489 w 764748"/>
                <a:gd name="connsiteY357" fmla="*/ 76871 h 1019691"/>
                <a:gd name="connsiteX358" fmla="*/ 383864 w 764748"/>
                <a:gd name="connsiteY358" fmla="*/ 74027 h 1019691"/>
                <a:gd name="connsiteX359" fmla="*/ 377997 w 764748"/>
                <a:gd name="connsiteY359" fmla="*/ 71698 h 1019691"/>
                <a:gd name="connsiteX360" fmla="*/ 377722 w 764748"/>
                <a:gd name="connsiteY360" fmla="*/ 71578 h 1019691"/>
                <a:gd name="connsiteX361" fmla="*/ 371961 w 764748"/>
                <a:gd name="connsiteY361" fmla="*/ 68126 h 1019691"/>
                <a:gd name="connsiteX362" fmla="*/ 366938 w 764748"/>
                <a:gd name="connsiteY362" fmla="*/ 66603 h 1019691"/>
                <a:gd name="connsiteX363" fmla="*/ 363211 w 764748"/>
                <a:gd name="connsiteY363" fmla="*/ 68459 h 1019691"/>
                <a:gd name="connsiteX364" fmla="*/ 359437 w 764748"/>
                <a:gd name="connsiteY364" fmla="*/ 73873 h 1019691"/>
                <a:gd name="connsiteX365" fmla="*/ 357147 w 764748"/>
                <a:gd name="connsiteY365" fmla="*/ 79609 h 1019691"/>
                <a:gd name="connsiteX366" fmla="*/ 355354 w 764748"/>
                <a:gd name="connsiteY366" fmla="*/ 80757 h 1019691"/>
                <a:gd name="connsiteX367" fmla="*/ 353700 w 764748"/>
                <a:gd name="connsiteY367" fmla="*/ 79455 h 1019691"/>
                <a:gd name="connsiteX368" fmla="*/ 352649 w 764748"/>
                <a:gd name="connsiteY368" fmla="*/ 75728 h 1019691"/>
                <a:gd name="connsiteX369" fmla="*/ 351786 w 764748"/>
                <a:gd name="connsiteY369" fmla="*/ 74890 h 1019691"/>
                <a:gd name="connsiteX370" fmla="*/ 351584 w 764748"/>
                <a:gd name="connsiteY370" fmla="*/ 72566 h 1019691"/>
                <a:gd name="connsiteX371" fmla="*/ 355470 w 764748"/>
                <a:gd name="connsiteY371" fmla="*/ 66974 h 1019691"/>
                <a:gd name="connsiteX372" fmla="*/ 355899 w 764748"/>
                <a:gd name="connsiteY372" fmla="*/ 62635 h 1019691"/>
                <a:gd name="connsiteX373" fmla="*/ 351011 w 764748"/>
                <a:gd name="connsiteY373" fmla="*/ 59512 h 1019691"/>
                <a:gd name="connsiteX374" fmla="*/ 345852 w 764748"/>
                <a:gd name="connsiteY374" fmla="*/ 61045 h 1019691"/>
                <a:gd name="connsiteX375" fmla="*/ 345683 w 764748"/>
                <a:gd name="connsiteY375" fmla="*/ 61107 h 1019691"/>
                <a:gd name="connsiteX376" fmla="*/ 342772 w 764748"/>
                <a:gd name="connsiteY376" fmla="*/ 61676 h 1019691"/>
                <a:gd name="connsiteX377" fmla="*/ 336288 w 764748"/>
                <a:gd name="connsiteY377" fmla="*/ 63450 h 1019691"/>
                <a:gd name="connsiteX378" fmla="*/ 335281 w 764748"/>
                <a:gd name="connsiteY378" fmla="*/ 63431 h 1019691"/>
                <a:gd name="connsiteX379" fmla="*/ 329341 w 764748"/>
                <a:gd name="connsiteY379" fmla="*/ 61657 h 1019691"/>
                <a:gd name="connsiteX380" fmla="*/ 328049 w 764748"/>
                <a:gd name="connsiteY380" fmla="*/ 60003 h 1019691"/>
                <a:gd name="connsiteX381" fmla="*/ 329177 w 764748"/>
                <a:gd name="connsiteY381" fmla="*/ 58225 h 1019691"/>
                <a:gd name="connsiteX382" fmla="*/ 335030 w 764748"/>
                <a:gd name="connsiteY382" fmla="*/ 55887 h 1019691"/>
                <a:gd name="connsiteX383" fmla="*/ 340897 w 764748"/>
                <a:gd name="connsiteY383" fmla="*/ 52671 h 1019691"/>
                <a:gd name="connsiteX384" fmla="*/ 342883 w 764748"/>
                <a:gd name="connsiteY384" fmla="*/ 47176 h 1019691"/>
                <a:gd name="connsiteX385" fmla="*/ 342333 w 764748"/>
                <a:gd name="connsiteY385" fmla="*/ 41622 h 1019691"/>
                <a:gd name="connsiteX386" fmla="*/ 342333 w 764748"/>
                <a:gd name="connsiteY386" fmla="*/ 41285 h 1019691"/>
                <a:gd name="connsiteX387" fmla="*/ 342820 w 764748"/>
                <a:gd name="connsiteY387" fmla="*/ 36329 h 1019691"/>
                <a:gd name="connsiteX388" fmla="*/ 341489 w 764748"/>
                <a:gd name="connsiteY388" fmla="*/ 35230 h 1019691"/>
                <a:gd name="connsiteX389" fmla="*/ 338332 w 764748"/>
                <a:gd name="connsiteY389" fmla="*/ 36604 h 1019691"/>
                <a:gd name="connsiteX390" fmla="*/ 336100 w 764748"/>
                <a:gd name="connsiteY390" fmla="*/ 35953 h 1019691"/>
                <a:gd name="connsiteX391" fmla="*/ 336322 w 764748"/>
                <a:gd name="connsiteY391" fmla="*/ 33634 h 1019691"/>
                <a:gd name="connsiteX392" fmla="*/ 339947 w 764748"/>
                <a:gd name="connsiteY392" fmla="*/ 29975 h 1019691"/>
                <a:gd name="connsiteX393" fmla="*/ 339947 w 764748"/>
                <a:gd name="connsiteY393" fmla="*/ 28789 h 1019691"/>
                <a:gd name="connsiteX394" fmla="*/ 338409 w 764748"/>
                <a:gd name="connsiteY394" fmla="*/ 25719 h 1019691"/>
                <a:gd name="connsiteX395" fmla="*/ 335372 w 764748"/>
                <a:gd name="connsiteY395" fmla="*/ 20961 h 1019691"/>
                <a:gd name="connsiteX396" fmla="*/ 331004 w 764748"/>
                <a:gd name="connsiteY396" fmla="*/ 24431 h 1019691"/>
                <a:gd name="connsiteX397" fmla="*/ 328580 w 764748"/>
                <a:gd name="connsiteY397" fmla="*/ 24287 h 1019691"/>
                <a:gd name="connsiteX398" fmla="*/ 322959 w 764748"/>
                <a:gd name="connsiteY398" fmla="*/ 18685 h 1019691"/>
                <a:gd name="connsiteX399" fmla="*/ 316890 w 764748"/>
                <a:gd name="connsiteY399" fmla="*/ 17012 h 1019691"/>
                <a:gd name="connsiteX400" fmla="*/ 316841 w 764748"/>
                <a:gd name="connsiteY400" fmla="*/ 17012 h 1019691"/>
                <a:gd name="connsiteX401" fmla="*/ 310921 w 764748"/>
                <a:gd name="connsiteY401" fmla="*/ 15238 h 1019691"/>
                <a:gd name="connsiteX402" fmla="*/ 304876 w 764748"/>
                <a:gd name="connsiteY402" fmla="*/ 13594 h 1019691"/>
                <a:gd name="connsiteX403" fmla="*/ 299434 w 764748"/>
                <a:gd name="connsiteY403" fmla="*/ 15238 h 1019691"/>
                <a:gd name="connsiteX404" fmla="*/ 297423 w 764748"/>
                <a:gd name="connsiteY404" fmla="*/ 14501 h 1019691"/>
                <a:gd name="connsiteX405" fmla="*/ 297486 w 764748"/>
                <a:gd name="connsiteY405" fmla="*/ 12703 h 1019691"/>
                <a:gd name="connsiteX406" fmla="*/ 296700 w 764748"/>
                <a:gd name="connsiteY406" fmla="*/ 12143 h 1019691"/>
                <a:gd name="connsiteX407" fmla="*/ 290106 w 764748"/>
                <a:gd name="connsiteY407" fmla="*/ 15127 h 1019691"/>
                <a:gd name="connsiteX408" fmla="*/ 283790 w 764748"/>
                <a:gd name="connsiteY408" fmla="*/ 14327 h 1019691"/>
                <a:gd name="connsiteX409" fmla="*/ 278092 w 764748"/>
                <a:gd name="connsiteY409" fmla="*/ 7785 h 1019691"/>
                <a:gd name="connsiteX410" fmla="*/ 253034 w 764748"/>
                <a:gd name="connsiteY410" fmla="*/ 0 h 1019691"/>
                <a:gd name="connsiteX411" fmla="*/ 245297 w 764748"/>
                <a:gd name="connsiteY411" fmla="*/ 3129 h 1019691"/>
                <a:gd name="connsiteX412" fmla="*/ 240886 w 764748"/>
                <a:gd name="connsiteY412" fmla="*/ 1735 h 1019691"/>
                <a:gd name="connsiteX413" fmla="*/ 240283 w 764748"/>
                <a:gd name="connsiteY413" fmla="*/ 2579 h 1019691"/>
                <a:gd name="connsiteX414" fmla="*/ 237921 w 764748"/>
                <a:gd name="connsiteY414" fmla="*/ 3890 h 1019691"/>
                <a:gd name="connsiteX415" fmla="*/ 238399 w 764748"/>
                <a:gd name="connsiteY415" fmla="*/ 3939 h 1019691"/>
                <a:gd name="connsiteX416" fmla="*/ 240038 w 764748"/>
                <a:gd name="connsiteY416" fmla="*/ 5737 h 1019691"/>
                <a:gd name="connsiteX417" fmla="*/ 240038 w 764748"/>
                <a:gd name="connsiteY417" fmla="*/ 6947 h 1019691"/>
                <a:gd name="connsiteX418" fmla="*/ 240038 w 764748"/>
                <a:gd name="connsiteY418" fmla="*/ 7120 h 1019691"/>
                <a:gd name="connsiteX419" fmla="*/ 239478 w 764748"/>
                <a:gd name="connsiteY419" fmla="*/ 13132 h 1019691"/>
                <a:gd name="connsiteX420" fmla="*/ 242226 w 764748"/>
                <a:gd name="connsiteY420" fmla="*/ 18627 h 1019691"/>
                <a:gd name="connsiteX421" fmla="*/ 242342 w 764748"/>
                <a:gd name="connsiteY421" fmla="*/ 18950 h 1019691"/>
                <a:gd name="connsiteX422" fmla="*/ 243995 w 764748"/>
                <a:gd name="connsiteY422" fmla="*/ 24942 h 1019691"/>
                <a:gd name="connsiteX423" fmla="*/ 250089 w 764748"/>
                <a:gd name="connsiteY423" fmla="*/ 29946 h 1019691"/>
                <a:gd name="connsiteX424" fmla="*/ 250547 w 764748"/>
                <a:gd name="connsiteY424" fmla="*/ 30520 h 1019691"/>
                <a:gd name="connsiteX425" fmla="*/ 253536 w 764748"/>
                <a:gd name="connsiteY425" fmla="*/ 36464 h 1019691"/>
                <a:gd name="connsiteX426" fmla="*/ 253719 w 764748"/>
                <a:gd name="connsiteY426" fmla="*/ 37467 h 1019691"/>
                <a:gd name="connsiteX427" fmla="*/ 253256 w 764748"/>
                <a:gd name="connsiteY427" fmla="*/ 42124 h 1019691"/>
                <a:gd name="connsiteX428" fmla="*/ 258626 w 764748"/>
                <a:gd name="connsiteY428" fmla="*/ 44543 h 1019691"/>
                <a:gd name="connsiteX429" fmla="*/ 259258 w 764748"/>
                <a:gd name="connsiteY429" fmla="*/ 45054 h 1019691"/>
                <a:gd name="connsiteX430" fmla="*/ 264623 w 764748"/>
                <a:gd name="connsiteY430" fmla="*/ 51606 h 1019691"/>
                <a:gd name="connsiteX431" fmla="*/ 264710 w 764748"/>
                <a:gd name="connsiteY431" fmla="*/ 51885 h 1019691"/>
                <a:gd name="connsiteX432" fmla="*/ 264898 w 764748"/>
                <a:gd name="connsiteY432" fmla="*/ 52107 h 1019691"/>
                <a:gd name="connsiteX433" fmla="*/ 267275 w 764748"/>
                <a:gd name="connsiteY433" fmla="*/ 58032 h 1019691"/>
                <a:gd name="connsiteX434" fmla="*/ 266821 w 764748"/>
                <a:gd name="connsiteY434" fmla="*/ 60052 h 1019691"/>
                <a:gd name="connsiteX435" fmla="*/ 260289 w 764748"/>
                <a:gd name="connsiteY435" fmla="*/ 65986 h 1019691"/>
                <a:gd name="connsiteX436" fmla="*/ 260106 w 764748"/>
                <a:gd name="connsiteY436" fmla="*/ 66159 h 1019691"/>
                <a:gd name="connsiteX437" fmla="*/ 254138 w 764748"/>
                <a:gd name="connsiteY437" fmla="*/ 70334 h 1019691"/>
                <a:gd name="connsiteX438" fmla="*/ 252919 w 764748"/>
                <a:gd name="connsiteY438" fmla="*/ 70648 h 1019691"/>
                <a:gd name="connsiteX439" fmla="*/ 247259 w 764748"/>
                <a:gd name="connsiteY439" fmla="*/ 70064 h 1019691"/>
                <a:gd name="connsiteX440" fmla="*/ 241783 w 764748"/>
                <a:gd name="connsiteY440" fmla="*/ 71158 h 1019691"/>
                <a:gd name="connsiteX441" fmla="*/ 236760 w 764748"/>
                <a:gd name="connsiteY441" fmla="*/ 73670 h 1019691"/>
                <a:gd name="connsiteX442" fmla="*/ 235361 w 764748"/>
                <a:gd name="connsiteY442" fmla="*/ 78351 h 1019691"/>
                <a:gd name="connsiteX443" fmla="*/ 236668 w 764748"/>
                <a:gd name="connsiteY443" fmla="*/ 82719 h 1019691"/>
                <a:gd name="connsiteX444" fmla="*/ 241306 w 764748"/>
                <a:gd name="connsiteY444" fmla="*/ 83668 h 1019691"/>
                <a:gd name="connsiteX445" fmla="*/ 247491 w 764748"/>
                <a:gd name="connsiteY445" fmla="*/ 83100 h 1019691"/>
                <a:gd name="connsiteX446" fmla="*/ 250354 w 764748"/>
                <a:gd name="connsiteY446" fmla="*/ 82516 h 1019691"/>
                <a:gd name="connsiteX447" fmla="*/ 250715 w 764748"/>
                <a:gd name="connsiteY447" fmla="*/ 82463 h 1019691"/>
                <a:gd name="connsiteX448" fmla="*/ 256650 w 764748"/>
                <a:gd name="connsiteY448" fmla="*/ 82463 h 1019691"/>
                <a:gd name="connsiteX449" fmla="*/ 258322 w 764748"/>
                <a:gd name="connsiteY449" fmla="*/ 83553 h 1019691"/>
                <a:gd name="connsiteX450" fmla="*/ 258029 w 764748"/>
                <a:gd name="connsiteY450" fmla="*/ 85495 h 1019691"/>
                <a:gd name="connsiteX451" fmla="*/ 254153 w 764748"/>
                <a:gd name="connsiteY451" fmla="*/ 89911 h 1019691"/>
                <a:gd name="connsiteX452" fmla="*/ 252533 w 764748"/>
                <a:gd name="connsiteY452" fmla="*/ 95855 h 1019691"/>
                <a:gd name="connsiteX453" fmla="*/ 252533 w 764748"/>
                <a:gd name="connsiteY453" fmla="*/ 100512 h 1019691"/>
                <a:gd name="connsiteX454" fmla="*/ 256751 w 764748"/>
                <a:gd name="connsiteY454" fmla="*/ 103038 h 1019691"/>
                <a:gd name="connsiteX455" fmla="*/ 259431 w 764748"/>
                <a:gd name="connsiteY455" fmla="*/ 101702 h 1019691"/>
                <a:gd name="connsiteX456" fmla="*/ 261736 w 764748"/>
                <a:gd name="connsiteY456" fmla="*/ 102286 h 1019691"/>
                <a:gd name="connsiteX457" fmla="*/ 265886 w 764748"/>
                <a:gd name="connsiteY457" fmla="*/ 108235 h 1019691"/>
                <a:gd name="connsiteX458" fmla="*/ 266234 w 764748"/>
                <a:gd name="connsiteY458" fmla="*/ 109131 h 1019691"/>
                <a:gd name="connsiteX459" fmla="*/ 266812 w 764748"/>
                <a:gd name="connsiteY459" fmla="*/ 115678 h 1019691"/>
                <a:gd name="connsiteX460" fmla="*/ 265679 w 764748"/>
                <a:gd name="connsiteY460" fmla="*/ 117505 h 1019691"/>
                <a:gd name="connsiteX461" fmla="*/ 259721 w 764748"/>
                <a:gd name="connsiteY461" fmla="*/ 119935 h 1019691"/>
                <a:gd name="connsiteX462" fmla="*/ 258877 w 764748"/>
                <a:gd name="connsiteY462" fmla="*/ 120040 h 1019691"/>
                <a:gd name="connsiteX463" fmla="*/ 255151 w 764748"/>
                <a:gd name="connsiteY463" fmla="*/ 119650 h 1019691"/>
                <a:gd name="connsiteX464" fmla="*/ 281158 w 764748"/>
                <a:gd name="connsiteY464" fmla="*/ 136156 h 1019691"/>
                <a:gd name="connsiteX465" fmla="*/ 287121 w 764748"/>
                <a:gd name="connsiteY465" fmla="*/ 138528 h 1019691"/>
                <a:gd name="connsiteX466" fmla="*/ 287502 w 764748"/>
                <a:gd name="connsiteY466" fmla="*/ 138755 h 1019691"/>
                <a:gd name="connsiteX467" fmla="*/ 294044 w 764748"/>
                <a:gd name="connsiteY467" fmla="*/ 143503 h 1019691"/>
                <a:gd name="connsiteX468" fmla="*/ 294637 w 764748"/>
                <a:gd name="connsiteY468" fmla="*/ 144269 h 1019691"/>
                <a:gd name="connsiteX469" fmla="*/ 297626 w 764748"/>
                <a:gd name="connsiteY469" fmla="*/ 150801 h 1019691"/>
                <a:gd name="connsiteX470" fmla="*/ 297674 w 764748"/>
                <a:gd name="connsiteY470" fmla="*/ 150869 h 1019691"/>
                <a:gd name="connsiteX471" fmla="*/ 299805 w 764748"/>
                <a:gd name="connsiteY471" fmla="*/ 156239 h 1019691"/>
                <a:gd name="connsiteX472" fmla="*/ 305228 w 764748"/>
                <a:gd name="connsiteY472" fmla="*/ 159503 h 1019691"/>
                <a:gd name="connsiteX473" fmla="*/ 305975 w 764748"/>
                <a:gd name="connsiteY473" fmla="*/ 160303 h 1019691"/>
                <a:gd name="connsiteX474" fmla="*/ 308935 w 764748"/>
                <a:gd name="connsiteY474" fmla="*/ 166854 h 1019691"/>
                <a:gd name="connsiteX475" fmla="*/ 309094 w 764748"/>
                <a:gd name="connsiteY475" fmla="*/ 167428 h 1019691"/>
                <a:gd name="connsiteX476" fmla="*/ 309581 w 764748"/>
                <a:gd name="connsiteY476" fmla="*/ 172504 h 1019691"/>
                <a:gd name="connsiteX477" fmla="*/ 315318 w 764748"/>
                <a:gd name="connsiteY477" fmla="*/ 176144 h 1019691"/>
                <a:gd name="connsiteX478" fmla="*/ 321001 w 764748"/>
                <a:gd name="connsiteY478" fmla="*/ 179012 h 1019691"/>
                <a:gd name="connsiteX479" fmla="*/ 323195 w 764748"/>
                <a:gd name="connsiteY479" fmla="*/ 179538 h 1019691"/>
                <a:gd name="connsiteX480" fmla="*/ 323272 w 764748"/>
                <a:gd name="connsiteY480" fmla="*/ 179538 h 1019691"/>
                <a:gd name="connsiteX481" fmla="*/ 329231 w 764748"/>
                <a:gd name="connsiteY481" fmla="*/ 181345 h 1019691"/>
                <a:gd name="connsiteX482" fmla="*/ 329987 w 764748"/>
                <a:gd name="connsiteY482" fmla="*/ 181808 h 1019691"/>
                <a:gd name="connsiteX483" fmla="*/ 330575 w 764748"/>
                <a:gd name="connsiteY483" fmla="*/ 182387 h 1019691"/>
                <a:gd name="connsiteX484" fmla="*/ 331009 w 764748"/>
                <a:gd name="connsiteY484" fmla="*/ 184252 h 1019691"/>
                <a:gd name="connsiteX485" fmla="*/ 330421 w 764748"/>
                <a:gd name="connsiteY485" fmla="*/ 186026 h 1019691"/>
                <a:gd name="connsiteX486" fmla="*/ 328199 w 764748"/>
                <a:gd name="connsiteY486" fmla="*/ 187207 h 1019691"/>
                <a:gd name="connsiteX487" fmla="*/ 324121 w 764748"/>
                <a:gd name="connsiteY487" fmla="*/ 186070 h 1019691"/>
                <a:gd name="connsiteX488" fmla="*/ 317680 w 764748"/>
                <a:gd name="connsiteY488" fmla="*/ 184893 h 1019691"/>
                <a:gd name="connsiteX489" fmla="*/ 316952 w 764748"/>
                <a:gd name="connsiteY489" fmla="*/ 184580 h 1019691"/>
                <a:gd name="connsiteX490" fmla="*/ 310994 w 764748"/>
                <a:gd name="connsiteY490" fmla="*/ 180429 h 1019691"/>
                <a:gd name="connsiteX491" fmla="*/ 310825 w 764748"/>
                <a:gd name="connsiteY491" fmla="*/ 180256 h 1019691"/>
                <a:gd name="connsiteX492" fmla="*/ 304857 w 764748"/>
                <a:gd name="connsiteY492" fmla="*/ 174900 h 1019691"/>
                <a:gd name="connsiteX493" fmla="*/ 304447 w 764748"/>
                <a:gd name="connsiteY493" fmla="*/ 174380 h 1019691"/>
                <a:gd name="connsiteX494" fmla="*/ 289045 w 764748"/>
                <a:gd name="connsiteY494" fmla="*/ 150098 h 1019691"/>
                <a:gd name="connsiteX495" fmla="*/ 285849 w 764748"/>
                <a:gd name="connsiteY495" fmla="*/ 144747 h 1019691"/>
                <a:gd name="connsiteX496" fmla="*/ 280753 w 764748"/>
                <a:gd name="connsiteY496" fmla="*/ 143209 h 1019691"/>
                <a:gd name="connsiteX497" fmla="*/ 274723 w 764748"/>
                <a:gd name="connsiteY497" fmla="*/ 142669 h 1019691"/>
                <a:gd name="connsiteX498" fmla="*/ 269111 w 764748"/>
                <a:gd name="connsiteY498" fmla="*/ 144361 h 1019691"/>
                <a:gd name="connsiteX499" fmla="*/ 269058 w 764748"/>
                <a:gd name="connsiteY499" fmla="*/ 144366 h 1019691"/>
                <a:gd name="connsiteX500" fmla="*/ 262570 w 764748"/>
                <a:gd name="connsiteY500" fmla="*/ 146145 h 1019691"/>
                <a:gd name="connsiteX501" fmla="*/ 256607 w 764748"/>
                <a:gd name="connsiteY501" fmla="*/ 147948 h 1019691"/>
                <a:gd name="connsiteX502" fmla="*/ 237507 w 764748"/>
                <a:gd name="connsiteY502" fmla="*/ 139482 h 1019691"/>
                <a:gd name="connsiteX503" fmla="*/ 233086 w 764748"/>
                <a:gd name="connsiteY503" fmla="*/ 142119 h 1019691"/>
                <a:gd name="connsiteX504" fmla="*/ 230454 w 764748"/>
                <a:gd name="connsiteY504" fmla="*/ 147374 h 1019691"/>
                <a:gd name="connsiteX505" fmla="*/ 229331 w 764748"/>
                <a:gd name="connsiteY505" fmla="*/ 153072 h 1019691"/>
                <a:gd name="connsiteX506" fmla="*/ 229220 w 764748"/>
                <a:gd name="connsiteY506" fmla="*/ 153414 h 1019691"/>
                <a:gd name="connsiteX507" fmla="*/ 226868 w 764748"/>
                <a:gd name="connsiteY507" fmla="*/ 159267 h 1019691"/>
                <a:gd name="connsiteX508" fmla="*/ 225233 w 764748"/>
                <a:gd name="connsiteY508" fmla="*/ 164738 h 1019691"/>
                <a:gd name="connsiteX509" fmla="*/ 231066 w 764748"/>
                <a:gd name="connsiteY509" fmla="*/ 185588 h 1019691"/>
                <a:gd name="connsiteX510" fmla="*/ 230931 w 764748"/>
                <a:gd name="connsiteY510" fmla="*/ 186865 h 1019691"/>
                <a:gd name="connsiteX511" fmla="*/ 230353 w 764748"/>
                <a:gd name="connsiteY511" fmla="*/ 188070 h 1019691"/>
                <a:gd name="connsiteX512" fmla="*/ 230189 w 764748"/>
                <a:gd name="connsiteY512" fmla="*/ 188326 h 1019691"/>
                <a:gd name="connsiteX513" fmla="*/ 225841 w 764748"/>
                <a:gd name="connsiteY513" fmla="*/ 194328 h 1019691"/>
                <a:gd name="connsiteX514" fmla="*/ 226371 w 764748"/>
                <a:gd name="connsiteY514" fmla="*/ 199553 h 1019691"/>
                <a:gd name="connsiteX515" fmla="*/ 226371 w 764748"/>
                <a:gd name="connsiteY515" fmla="*/ 199756 h 1019691"/>
                <a:gd name="connsiteX516" fmla="*/ 226371 w 764748"/>
                <a:gd name="connsiteY516" fmla="*/ 208110 h 1019691"/>
                <a:gd name="connsiteX517" fmla="*/ 225841 w 764748"/>
                <a:gd name="connsiteY517" fmla="*/ 209363 h 1019691"/>
                <a:gd name="connsiteX518" fmla="*/ 225258 w 764748"/>
                <a:gd name="connsiteY518" fmla="*/ 209966 h 1019691"/>
                <a:gd name="connsiteX519" fmla="*/ 223469 w 764748"/>
                <a:gd name="connsiteY519" fmla="*/ 210410 h 1019691"/>
                <a:gd name="connsiteX520" fmla="*/ 222196 w 764748"/>
                <a:gd name="connsiteY520" fmla="*/ 209108 h 1019691"/>
                <a:gd name="connsiteX521" fmla="*/ 221598 w 764748"/>
                <a:gd name="connsiteY521" fmla="*/ 206731 h 1019691"/>
                <a:gd name="connsiteX522" fmla="*/ 221560 w 764748"/>
                <a:gd name="connsiteY522" fmla="*/ 206495 h 1019691"/>
                <a:gd name="connsiteX523" fmla="*/ 220967 w 764748"/>
                <a:gd name="connsiteY523" fmla="*/ 200532 h 1019691"/>
                <a:gd name="connsiteX524" fmla="*/ 220967 w 764748"/>
                <a:gd name="connsiteY524" fmla="*/ 200363 h 1019691"/>
                <a:gd name="connsiteX525" fmla="*/ 220967 w 764748"/>
                <a:gd name="connsiteY525" fmla="*/ 193793 h 1019691"/>
                <a:gd name="connsiteX526" fmla="*/ 221150 w 764748"/>
                <a:gd name="connsiteY526" fmla="*/ 192978 h 1019691"/>
                <a:gd name="connsiteX527" fmla="*/ 223647 w 764748"/>
                <a:gd name="connsiteY527" fmla="*/ 188032 h 1019691"/>
                <a:gd name="connsiteX528" fmla="*/ 219767 w 764748"/>
                <a:gd name="connsiteY528" fmla="*/ 182724 h 1019691"/>
                <a:gd name="connsiteX529" fmla="*/ 214213 w 764748"/>
                <a:gd name="connsiteY529" fmla="*/ 179943 h 1019691"/>
                <a:gd name="connsiteX530" fmla="*/ 213963 w 764748"/>
                <a:gd name="connsiteY530" fmla="*/ 179784 h 1019691"/>
                <a:gd name="connsiteX531" fmla="*/ 208853 w 764748"/>
                <a:gd name="connsiteY531" fmla="*/ 176057 h 1019691"/>
                <a:gd name="connsiteX532" fmla="*/ 205483 w 764748"/>
                <a:gd name="connsiteY532" fmla="*/ 180241 h 1019691"/>
                <a:gd name="connsiteX533" fmla="*/ 205145 w 764748"/>
                <a:gd name="connsiteY533" fmla="*/ 184040 h 1019691"/>
                <a:gd name="connsiteX534" fmla="*/ 208891 w 764748"/>
                <a:gd name="connsiteY534" fmla="*/ 183693 h 1019691"/>
                <a:gd name="connsiteX535" fmla="*/ 210241 w 764748"/>
                <a:gd name="connsiteY535" fmla="*/ 184060 h 1019691"/>
                <a:gd name="connsiteX536" fmla="*/ 210887 w 764748"/>
                <a:gd name="connsiteY536" fmla="*/ 185337 h 1019691"/>
                <a:gd name="connsiteX537" fmla="*/ 211499 w 764748"/>
                <a:gd name="connsiteY537" fmla="*/ 191855 h 1019691"/>
                <a:gd name="connsiteX538" fmla="*/ 211412 w 764748"/>
                <a:gd name="connsiteY538" fmla="*/ 192559 h 1019691"/>
                <a:gd name="connsiteX539" fmla="*/ 209629 w 764748"/>
                <a:gd name="connsiteY539" fmla="*/ 198517 h 1019691"/>
                <a:gd name="connsiteX540" fmla="*/ 208862 w 764748"/>
                <a:gd name="connsiteY540" fmla="*/ 199505 h 1019691"/>
                <a:gd name="connsiteX541" fmla="*/ 202320 w 764748"/>
                <a:gd name="connsiteY541" fmla="*/ 203661 h 1019691"/>
                <a:gd name="connsiteX542" fmla="*/ 199905 w 764748"/>
                <a:gd name="connsiteY542" fmla="*/ 203294 h 1019691"/>
                <a:gd name="connsiteX543" fmla="*/ 195523 w 764748"/>
                <a:gd name="connsiteY543" fmla="*/ 197770 h 1019691"/>
                <a:gd name="connsiteX544" fmla="*/ 190119 w 764748"/>
                <a:gd name="connsiteY544" fmla="*/ 196155 h 1019691"/>
                <a:gd name="connsiteX545" fmla="*/ 188856 w 764748"/>
                <a:gd name="connsiteY545" fmla="*/ 194766 h 1019691"/>
                <a:gd name="connsiteX546" fmla="*/ 187651 w 764748"/>
                <a:gd name="connsiteY546" fmla="*/ 188827 h 1019691"/>
                <a:gd name="connsiteX547" fmla="*/ 188933 w 764748"/>
                <a:gd name="connsiteY547" fmla="*/ 186711 h 1019691"/>
                <a:gd name="connsiteX548" fmla="*/ 193908 w 764748"/>
                <a:gd name="connsiteY548" fmla="*/ 185217 h 1019691"/>
                <a:gd name="connsiteX549" fmla="*/ 195142 w 764748"/>
                <a:gd name="connsiteY549" fmla="*/ 180603 h 1019691"/>
                <a:gd name="connsiteX550" fmla="*/ 190476 w 764748"/>
                <a:gd name="connsiteY550" fmla="*/ 175411 h 1019691"/>
                <a:gd name="connsiteX551" fmla="*/ 190322 w 764748"/>
                <a:gd name="connsiteY551" fmla="*/ 175209 h 1019691"/>
                <a:gd name="connsiteX552" fmla="*/ 186171 w 764748"/>
                <a:gd name="connsiteY552" fmla="*/ 169274 h 1019691"/>
                <a:gd name="connsiteX553" fmla="*/ 185843 w 764748"/>
                <a:gd name="connsiteY553" fmla="*/ 168238 h 1019691"/>
                <a:gd name="connsiteX554" fmla="*/ 185843 w 764748"/>
                <a:gd name="connsiteY554" fmla="*/ 163538 h 1019691"/>
                <a:gd name="connsiteX555" fmla="*/ 180801 w 764748"/>
                <a:gd name="connsiteY555" fmla="*/ 161730 h 1019691"/>
                <a:gd name="connsiteX556" fmla="*/ 175329 w 764748"/>
                <a:gd name="connsiteY556" fmla="*/ 161730 h 1019691"/>
                <a:gd name="connsiteX557" fmla="*/ 168942 w 764748"/>
                <a:gd name="connsiteY557" fmla="*/ 162892 h 1019691"/>
                <a:gd name="connsiteX558" fmla="*/ 168773 w 764748"/>
                <a:gd name="connsiteY558" fmla="*/ 162901 h 1019691"/>
                <a:gd name="connsiteX559" fmla="*/ 162333 w 764748"/>
                <a:gd name="connsiteY559" fmla="*/ 163475 h 1019691"/>
                <a:gd name="connsiteX560" fmla="*/ 156466 w 764748"/>
                <a:gd name="connsiteY560" fmla="*/ 164622 h 1019691"/>
                <a:gd name="connsiteX561" fmla="*/ 156437 w 764748"/>
                <a:gd name="connsiteY561" fmla="*/ 164666 h 1019691"/>
                <a:gd name="connsiteX562" fmla="*/ 149900 w 764748"/>
                <a:gd name="connsiteY562" fmla="*/ 165857 h 1019691"/>
                <a:gd name="connsiteX563" fmla="*/ 149211 w 764748"/>
                <a:gd name="connsiteY563" fmla="*/ 165833 h 1019691"/>
                <a:gd name="connsiteX564" fmla="*/ 115567 w 764748"/>
                <a:gd name="connsiteY564" fmla="*/ 175276 h 1019691"/>
                <a:gd name="connsiteX565" fmla="*/ 117881 w 764748"/>
                <a:gd name="connsiteY565" fmla="*/ 179923 h 1019691"/>
                <a:gd name="connsiteX566" fmla="*/ 117187 w 764748"/>
                <a:gd name="connsiteY566" fmla="*/ 182257 h 1019691"/>
                <a:gd name="connsiteX567" fmla="*/ 111701 w 764748"/>
                <a:gd name="connsiteY567" fmla="*/ 185559 h 1019691"/>
                <a:gd name="connsiteX568" fmla="*/ 109064 w 764748"/>
                <a:gd name="connsiteY568" fmla="*/ 190823 h 1019691"/>
                <a:gd name="connsiteX569" fmla="*/ 107955 w 764748"/>
                <a:gd name="connsiteY569" fmla="*/ 196367 h 1019691"/>
                <a:gd name="connsiteX570" fmla="*/ 107955 w 764748"/>
                <a:gd name="connsiteY570" fmla="*/ 202243 h 1019691"/>
                <a:gd name="connsiteX571" fmla="*/ 110645 w 764748"/>
                <a:gd name="connsiteY571" fmla="*/ 206784 h 1019691"/>
                <a:gd name="connsiteX572" fmla="*/ 115466 w 764748"/>
                <a:gd name="connsiteY572" fmla="*/ 206283 h 1019691"/>
                <a:gd name="connsiteX573" fmla="*/ 115832 w 764748"/>
                <a:gd name="connsiteY573" fmla="*/ 206283 h 1019691"/>
                <a:gd name="connsiteX574" fmla="*/ 121786 w 764748"/>
                <a:gd name="connsiteY574" fmla="*/ 206876 h 1019691"/>
                <a:gd name="connsiteX575" fmla="*/ 122070 w 764748"/>
                <a:gd name="connsiteY575" fmla="*/ 206943 h 1019691"/>
                <a:gd name="connsiteX576" fmla="*/ 128646 w 764748"/>
                <a:gd name="connsiteY576" fmla="*/ 208703 h 1019691"/>
                <a:gd name="connsiteX577" fmla="*/ 129156 w 764748"/>
                <a:gd name="connsiteY577" fmla="*/ 209007 h 1019691"/>
                <a:gd name="connsiteX578" fmla="*/ 134493 w 764748"/>
                <a:gd name="connsiteY578" fmla="*/ 212540 h 1019691"/>
                <a:gd name="connsiteX579" fmla="*/ 135120 w 764748"/>
                <a:gd name="connsiteY579" fmla="*/ 214888 h 1019691"/>
                <a:gd name="connsiteX580" fmla="*/ 132849 w 764748"/>
                <a:gd name="connsiteY580" fmla="*/ 215736 h 1019691"/>
                <a:gd name="connsiteX581" fmla="*/ 128135 w 764748"/>
                <a:gd name="connsiteY581" fmla="*/ 213885 h 1019691"/>
                <a:gd name="connsiteX582" fmla="*/ 124264 w 764748"/>
                <a:gd name="connsiteY582" fmla="*/ 218696 h 1019691"/>
                <a:gd name="connsiteX583" fmla="*/ 121925 w 764748"/>
                <a:gd name="connsiteY583" fmla="*/ 222206 h 1019691"/>
                <a:gd name="connsiteX584" fmla="*/ 120354 w 764748"/>
                <a:gd name="connsiteY584" fmla="*/ 222876 h 1019691"/>
                <a:gd name="connsiteX585" fmla="*/ 121063 w 764748"/>
                <a:gd name="connsiteY585" fmla="*/ 229254 h 1019691"/>
                <a:gd name="connsiteX586" fmla="*/ 119288 w 764748"/>
                <a:gd name="connsiteY586" fmla="*/ 237381 h 1019691"/>
                <a:gd name="connsiteX587" fmla="*/ 109705 w 764748"/>
                <a:gd name="connsiteY587" fmla="*/ 273561 h 1019691"/>
                <a:gd name="connsiteX588" fmla="*/ 107521 w 764748"/>
                <a:gd name="connsiteY588" fmla="*/ 281544 h 1019691"/>
                <a:gd name="connsiteX589" fmla="*/ 105863 w 764748"/>
                <a:gd name="connsiteY589" fmla="*/ 290457 h 1019691"/>
                <a:gd name="connsiteX590" fmla="*/ 104793 w 764748"/>
                <a:gd name="connsiteY590" fmla="*/ 302374 h 1019691"/>
                <a:gd name="connsiteX591" fmla="*/ 92153 w 764748"/>
                <a:gd name="connsiteY591" fmla="*/ 299390 h 1019691"/>
                <a:gd name="connsiteX592" fmla="*/ 84146 w 764748"/>
                <a:gd name="connsiteY592" fmla="*/ 299390 h 1019691"/>
                <a:gd name="connsiteX593" fmla="*/ 79103 w 764748"/>
                <a:gd name="connsiteY593" fmla="*/ 307788 h 1019691"/>
                <a:gd name="connsiteX594" fmla="*/ 76910 w 764748"/>
                <a:gd name="connsiteY594" fmla="*/ 313712 h 1019691"/>
                <a:gd name="connsiteX595" fmla="*/ 76910 w 764748"/>
                <a:gd name="connsiteY595" fmla="*/ 318634 h 1019691"/>
                <a:gd name="connsiteX596" fmla="*/ 82878 w 764748"/>
                <a:gd name="connsiteY596" fmla="*/ 324954 h 1019691"/>
                <a:gd name="connsiteX597" fmla="*/ 94211 w 764748"/>
                <a:gd name="connsiteY597" fmla="*/ 328049 h 1019691"/>
                <a:gd name="connsiteX598" fmla="*/ 98381 w 764748"/>
                <a:gd name="connsiteY598" fmla="*/ 327794 h 1019691"/>
                <a:gd name="connsiteX599" fmla="*/ 105077 w 764748"/>
                <a:gd name="connsiteY599" fmla="*/ 336061 h 1019691"/>
                <a:gd name="connsiteX600" fmla="*/ 103385 w 764748"/>
                <a:gd name="connsiteY600" fmla="*/ 345356 h 1019691"/>
                <a:gd name="connsiteX601" fmla="*/ 103284 w 764748"/>
                <a:gd name="connsiteY601" fmla="*/ 354640 h 1019691"/>
                <a:gd name="connsiteX602" fmla="*/ 97841 w 764748"/>
                <a:gd name="connsiteY602" fmla="*/ 358015 h 1019691"/>
                <a:gd name="connsiteX603" fmla="*/ 91121 w 764748"/>
                <a:gd name="connsiteY603" fmla="*/ 362517 h 1019691"/>
                <a:gd name="connsiteX604" fmla="*/ 87906 w 764748"/>
                <a:gd name="connsiteY604" fmla="*/ 369527 h 1019691"/>
                <a:gd name="connsiteX605" fmla="*/ 79363 w 764748"/>
                <a:gd name="connsiteY605" fmla="*/ 370669 h 1019691"/>
                <a:gd name="connsiteX606" fmla="*/ 74215 w 764748"/>
                <a:gd name="connsiteY606" fmla="*/ 376338 h 1019691"/>
                <a:gd name="connsiteX607" fmla="*/ 81562 w 764748"/>
                <a:gd name="connsiteY607" fmla="*/ 386042 h 1019691"/>
                <a:gd name="connsiteX608" fmla="*/ 80660 w 764748"/>
                <a:gd name="connsiteY608" fmla="*/ 395356 h 1019691"/>
                <a:gd name="connsiteX609" fmla="*/ 71747 w 764748"/>
                <a:gd name="connsiteY609" fmla="*/ 399213 h 1019691"/>
                <a:gd name="connsiteX610" fmla="*/ 56378 w 764748"/>
                <a:gd name="connsiteY610" fmla="*/ 403089 h 1019691"/>
                <a:gd name="connsiteX611" fmla="*/ 50709 w 764748"/>
                <a:gd name="connsiteY611" fmla="*/ 402707 h 1019691"/>
                <a:gd name="connsiteX612" fmla="*/ 44760 w 764748"/>
                <a:gd name="connsiteY612" fmla="*/ 404646 h 1019691"/>
                <a:gd name="connsiteX613" fmla="*/ 37650 w 764748"/>
                <a:gd name="connsiteY613" fmla="*/ 400900 h 1019691"/>
                <a:gd name="connsiteX614" fmla="*/ 32950 w 764748"/>
                <a:gd name="connsiteY614" fmla="*/ 401609 h 1019691"/>
                <a:gd name="connsiteX615" fmla="*/ 27396 w 764748"/>
                <a:gd name="connsiteY615" fmla="*/ 396079 h 1019691"/>
                <a:gd name="connsiteX616" fmla="*/ 28934 w 764748"/>
                <a:gd name="connsiteY616" fmla="*/ 405210 h 1019691"/>
                <a:gd name="connsiteX617" fmla="*/ 20546 w 764748"/>
                <a:gd name="connsiteY617" fmla="*/ 401493 h 1019691"/>
                <a:gd name="connsiteX618" fmla="*/ 13556 w 764748"/>
                <a:gd name="connsiteY618" fmla="*/ 405499 h 1019691"/>
                <a:gd name="connsiteX619" fmla="*/ 12785 w 764748"/>
                <a:gd name="connsiteY619" fmla="*/ 409866 h 1019691"/>
                <a:gd name="connsiteX620" fmla="*/ 11768 w 764748"/>
                <a:gd name="connsiteY620" fmla="*/ 415290 h 1019691"/>
                <a:gd name="connsiteX621" fmla="*/ 17822 w 764748"/>
                <a:gd name="connsiteY621" fmla="*/ 421113 h 1019691"/>
                <a:gd name="connsiteX622" fmla="*/ 17822 w 764748"/>
                <a:gd name="connsiteY622" fmla="*/ 426806 h 1019691"/>
                <a:gd name="connsiteX623" fmla="*/ 22609 w 764748"/>
                <a:gd name="connsiteY623" fmla="*/ 429761 h 1019691"/>
                <a:gd name="connsiteX624" fmla="*/ 21568 w 764748"/>
                <a:gd name="connsiteY624" fmla="*/ 435725 h 1019691"/>
                <a:gd name="connsiteX625" fmla="*/ 28534 w 764748"/>
                <a:gd name="connsiteY625" fmla="*/ 446171 h 1019691"/>
                <a:gd name="connsiteX626" fmla="*/ 30231 w 764748"/>
                <a:gd name="connsiteY626" fmla="*/ 462716 h 1019691"/>
                <a:gd name="connsiteX627" fmla="*/ 23332 w 764748"/>
                <a:gd name="connsiteY627" fmla="*/ 477607 h 1019691"/>
                <a:gd name="connsiteX628" fmla="*/ 17437 w 764748"/>
                <a:gd name="connsiteY628" fmla="*/ 485947 h 1019691"/>
                <a:gd name="connsiteX629" fmla="*/ 21423 w 764748"/>
                <a:gd name="connsiteY629" fmla="*/ 490724 h 1019691"/>
                <a:gd name="connsiteX630" fmla="*/ 21047 w 764748"/>
                <a:gd name="connsiteY630" fmla="*/ 498500 h 1019691"/>
                <a:gd name="connsiteX631" fmla="*/ 5934 w 764748"/>
                <a:gd name="connsiteY631" fmla="*/ 511482 h 1019691"/>
                <a:gd name="connsiteX632" fmla="*/ 0 w 764748"/>
                <a:gd name="connsiteY632" fmla="*/ 508691 h 1019691"/>
                <a:gd name="connsiteX633" fmla="*/ 1172 w 764748"/>
                <a:gd name="connsiteY633" fmla="*/ 516038 h 1019691"/>
                <a:gd name="connsiteX634" fmla="*/ 7106 w 764748"/>
                <a:gd name="connsiteY634" fmla="*/ 518747 h 1019691"/>
                <a:gd name="connsiteX635" fmla="*/ 10986 w 764748"/>
                <a:gd name="connsiteY635" fmla="*/ 525433 h 1019691"/>
                <a:gd name="connsiteX636" fmla="*/ 14597 w 764748"/>
                <a:gd name="connsiteY636" fmla="*/ 527511 h 1019691"/>
                <a:gd name="connsiteX637" fmla="*/ 15904 w 764748"/>
                <a:gd name="connsiteY637" fmla="*/ 532949 h 1019691"/>
                <a:gd name="connsiteX638" fmla="*/ 10355 w 764748"/>
                <a:gd name="connsiteY638" fmla="*/ 537866 h 1019691"/>
                <a:gd name="connsiteX639" fmla="*/ 10104 w 764748"/>
                <a:gd name="connsiteY639" fmla="*/ 548283 h 1019691"/>
                <a:gd name="connsiteX640" fmla="*/ 12144 w 764748"/>
                <a:gd name="connsiteY640" fmla="*/ 549045 h 1019691"/>
                <a:gd name="connsiteX641" fmla="*/ 10104 w 764748"/>
                <a:gd name="connsiteY641" fmla="*/ 548283 h 1019691"/>
                <a:gd name="connsiteX642" fmla="*/ 10085 w 764748"/>
                <a:gd name="connsiteY642" fmla="*/ 548857 h 1019691"/>
                <a:gd name="connsiteX643" fmla="*/ 13300 w 764748"/>
                <a:gd name="connsiteY643" fmla="*/ 553866 h 1019691"/>
                <a:gd name="connsiteX644" fmla="*/ 21337 w 764748"/>
                <a:gd name="connsiteY644" fmla="*/ 560595 h 1019691"/>
                <a:gd name="connsiteX645" fmla="*/ 22093 w 764748"/>
                <a:gd name="connsiteY645" fmla="*/ 567349 h 1019691"/>
                <a:gd name="connsiteX646" fmla="*/ 26861 w 764748"/>
                <a:gd name="connsiteY646" fmla="*/ 567581 h 1019691"/>
                <a:gd name="connsiteX647" fmla="*/ 28548 w 764748"/>
                <a:gd name="connsiteY647" fmla="*/ 569094 h 1019691"/>
                <a:gd name="connsiteX648" fmla="*/ 22860 w 764748"/>
                <a:gd name="connsiteY648" fmla="*/ 575429 h 1019691"/>
                <a:gd name="connsiteX649" fmla="*/ 24031 w 764748"/>
                <a:gd name="connsiteY649" fmla="*/ 581517 h 1019691"/>
                <a:gd name="connsiteX650" fmla="*/ 35924 w 764748"/>
                <a:gd name="connsiteY650" fmla="*/ 585412 h 1019691"/>
                <a:gd name="connsiteX651" fmla="*/ 38238 w 764748"/>
                <a:gd name="connsiteY651" fmla="*/ 591964 h 1019691"/>
                <a:gd name="connsiteX652" fmla="*/ 35283 w 764748"/>
                <a:gd name="connsiteY652" fmla="*/ 599311 h 1019691"/>
                <a:gd name="connsiteX653" fmla="*/ 39660 w 764748"/>
                <a:gd name="connsiteY653" fmla="*/ 606710 h 1019691"/>
                <a:gd name="connsiteX654" fmla="*/ 33470 w 764748"/>
                <a:gd name="connsiteY654" fmla="*/ 608142 h 1019691"/>
                <a:gd name="connsiteX655" fmla="*/ 28814 w 764748"/>
                <a:gd name="connsiteY655" fmla="*/ 614452 h 1019691"/>
                <a:gd name="connsiteX656" fmla="*/ 24031 w 764748"/>
                <a:gd name="connsiteY656" fmla="*/ 616000 h 1019691"/>
                <a:gd name="connsiteX657" fmla="*/ 17205 w 764748"/>
                <a:gd name="connsiteY657" fmla="*/ 627762 h 1019691"/>
                <a:gd name="connsiteX658" fmla="*/ 16029 w 764748"/>
                <a:gd name="connsiteY658" fmla="*/ 632130 h 1019691"/>
                <a:gd name="connsiteX659" fmla="*/ 19133 w 764748"/>
                <a:gd name="connsiteY659" fmla="*/ 638455 h 1019691"/>
                <a:gd name="connsiteX660" fmla="*/ 16029 w 764748"/>
                <a:gd name="connsiteY660" fmla="*/ 632130 h 1019691"/>
                <a:gd name="connsiteX661" fmla="*/ 14086 w 764748"/>
                <a:gd name="connsiteY661" fmla="*/ 639385 h 1019691"/>
                <a:gd name="connsiteX662" fmla="*/ 15378 w 764748"/>
                <a:gd name="connsiteY662" fmla="*/ 649451 h 1019691"/>
                <a:gd name="connsiteX663" fmla="*/ 21968 w 764748"/>
                <a:gd name="connsiteY663" fmla="*/ 659126 h 1019691"/>
                <a:gd name="connsiteX664" fmla="*/ 24031 w 764748"/>
                <a:gd name="connsiteY664" fmla="*/ 664684 h 1019691"/>
                <a:gd name="connsiteX665" fmla="*/ 38373 w 764748"/>
                <a:gd name="connsiteY665" fmla="*/ 676157 h 1019691"/>
                <a:gd name="connsiteX666" fmla="*/ 44071 w 764748"/>
                <a:gd name="connsiteY666" fmla="*/ 675531 h 1019691"/>
                <a:gd name="connsiteX667" fmla="*/ 46255 w 764748"/>
                <a:gd name="connsiteY667" fmla="*/ 682627 h 1019691"/>
                <a:gd name="connsiteX668" fmla="*/ 44977 w 764748"/>
                <a:gd name="connsiteY668" fmla="*/ 686614 h 1019691"/>
                <a:gd name="connsiteX669" fmla="*/ 45859 w 764748"/>
                <a:gd name="connsiteY669" fmla="*/ 690504 h 1019691"/>
                <a:gd name="connsiteX670" fmla="*/ 40827 w 764748"/>
                <a:gd name="connsiteY670" fmla="*/ 693093 h 1019691"/>
                <a:gd name="connsiteX671" fmla="*/ 37852 w 764748"/>
                <a:gd name="connsiteY671" fmla="*/ 699157 h 1019691"/>
                <a:gd name="connsiteX672" fmla="*/ 33360 w 764748"/>
                <a:gd name="connsiteY672" fmla="*/ 706007 h 1019691"/>
                <a:gd name="connsiteX673" fmla="*/ 31397 w 764748"/>
                <a:gd name="connsiteY673" fmla="*/ 713764 h 1019691"/>
                <a:gd name="connsiteX674" fmla="*/ 31099 w 764748"/>
                <a:gd name="connsiteY674" fmla="*/ 722002 h 1019691"/>
                <a:gd name="connsiteX675" fmla="*/ 31667 w 764748"/>
                <a:gd name="connsiteY675" fmla="*/ 722393 h 1019691"/>
                <a:gd name="connsiteX676" fmla="*/ 39028 w 764748"/>
                <a:gd name="connsiteY676" fmla="*/ 721906 h 1019691"/>
                <a:gd name="connsiteX677" fmla="*/ 45729 w 764748"/>
                <a:gd name="connsiteY677" fmla="*/ 725888 h 1019691"/>
                <a:gd name="connsiteX678" fmla="*/ 48439 w 764748"/>
                <a:gd name="connsiteY678" fmla="*/ 732328 h 1019691"/>
                <a:gd name="connsiteX679" fmla="*/ 48959 w 764748"/>
                <a:gd name="connsiteY679" fmla="*/ 737805 h 1019691"/>
                <a:gd name="connsiteX680" fmla="*/ 53230 w 764748"/>
                <a:gd name="connsiteY680" fmla="*/ 744221 h 1019691"/>
                <a:gd name="connsiteX681" fmla="*/ 55549 w 764748"/>
                <a:gd name="connsiteY681" fmla="*/ 748999 h 1019691"/>
                <a:gd name="connsiteX682" fmla="*/ 59044 w 764748"/>
                <a:gd name="connsiteY682" fmla="*/ 754431 h 1019691"/>
                <a:gd name="connsiteX683" fmla="*/ 60958 w 764748"/>
                <a:gd name="connsiteY683" fmla="*/ 759965 h 1019691"/>
                <a:gd name="connsiteX684" fmla="*/ 65875 w 764748"/>
                <a:gd name="connsiteY684" fmla="*/ 764097 h 1019691"/>
                <a:gd name="connsiteX685" fmla="*/ 69751 w 764748"/>
                <a:gd name="connsiteY685" fmla="*/ 760761 h 1019691"/>
                <a:gd name="connsiteX686" fmla="*/ 77242 w 764748"/>
                <a:gd name="connsiteY686" fmla="*/ 756890 h 1019691"/>
                <a:gd name="connsiteX687" fmla="*/ 85505 w 764748"/>
                <a:gd name="connsiteY687" fmla="*/ 760115 h 1019691"/>
                <a:gd name="connsiteX688" fmla="*/ 88475 w 764748"/>
                <a:gd name="connsiteY688" fmla="*/ 768633 h 1019691"/>
                <a:gd name="connsiteX689" fmla="*/ 94549 w 764748"/>
                <a:gd name="connsiteY689" fmla="*/ 769139 h 1019691"/>
                <a:gd name="connsiteX690" fmla="*/ 101519 w 764748"/>
                <a:gd name="connsiteY690" fmla="*/ 769940 h 1019691"/>
                <a:gd name="connsiteX691" fmla="*/ 106046 w 764748"/>
                <a:gd name="connsiteY691" fmla="*/ 770711 h 1019691"/>
                <a:gd name="connsiteX692" fmla="*/ 115982 w 764748"/>
                <a:gd name="connsiteY692" fmla="*/ 766459 h 1019691"/>
                <a:gd name="connsiteX693" fmla="*/ 122562 w 764748"/>
                <a:gd name="connsiteY693" fmla="*/ 764887 h 1019691"/>
                <a:gd name="connsiteX694" fmla="*/ 131880 w 764748"/>
                <a:gd name="connsiteY694" fmla="*/ 775228 h 1019691"/>
                <a:gd name="connsiteX695" fmla="*/ 138195 w 764748"/>
                <a:gd name="connsiteY695" fmla="*/ 777325 h 1019691"/>
                <a:gd name="connsiteX696" fmla="*/ 141695 w 764748"/>
                <a:gd name="connsiteY696" fmla="*/ 781167 h 1019691"/>
                <a:gd name="connsiteX697" fmla="*/ 151901 w 764748"/>
                <a:gd name="connsiteY697" fmla="*/ 781066 h 1019691"/>
                <a:gd name="connsiteX698" fmla="*/ 158221 w 764748"/>
                <a:gd name="connsiteY698" fmla="*/ 782218 h 1019691"/>
                <a:gd name="connsiteX699" fmla="*/ 165061 w 764748"/>
                <a:gd name="connsiteY699" fmla="*/ 782218 h 1019691"/>
                <a:gd name="connsiteX700" fmla="*/ 170745 w 764748"/>
                <a:gd name="connsiteY700" fmla="*/ 784768 h 1019691"/>
                <a:gd name="connsiteX701" fmla="*/ 191768 w 764748"/>
                <a:gd name="connsiteY701" fmla="*/ 793026 h 1019691"/>
                <a:gd name="connsiteX702" fmla="*/ 179793 w 764748"/>
                <a:gd name="connsiteY702" fmla="*/ 814126 h 1019691"/>
                <a:gd name="connsiteX703" fmla="*/ 172413 w 764748"/>
                <a:gd name="connsiteY703" fmla="*/ 819776 h 1019691"/>
                <a:gd name="connsiteX704" fmla="*/ 155622 w 764748"/>
                <a:gd name="connsiteY704" fmla="*/ 836186 h 1019691"/>
                <a:gd name="connsiteX705" fmla="*/ 153949 w 764748"/>
                <a:gd name="connsiteY705" fmla="*/ 841363 h 1019691"/>
                <a:gd name="connsiteX706" fmla="*/ 152899 w 764748"/>
                <a:gd name="connsiteY706" fmla="*/ 847534 h 1019691"/>
                <a:gd name="connsiteX707" fmla="*/ 147384 w 764748"/>
                <a:gd name="connsiteY707" fmla="*/ 868730 h 1019691"/>
                <a:gd name="connsiteX708" fmla="*/ 148141 w 764748"/>
                <a:gd name="connsiteY708" fmla="*/ 874669 h 1019691"/>
                <a:gd name="connsiteX709" fmla="*/ 142973 w 764748"/>
                <a:gd name="connsiteY709" fmla="*/ 880353 h 1019691"/>
                <a:gd name="connsiteX710" fmla="*/ 142973 w 764748"/>
                <a:gd name="connsiteY710" fmla="*/ 885516 h 1019691"/>
                <a:gd name="connsiteX711" fmla="*/ 134570 w 764748"/>
                <a:gd name="connsiteY711" fmla="*/ 899183 h 1019691"/>
                <a:gd name="connsiteX712" fmla="*/ 132116 w 764748"/>
                <a:gd name="connsiteY712" fmla="*/ 905517 h 1019691"/>
                <a:gd name="connsiteX713" fmla="*/ 133678 w 764748"/>
                <a:gd name="connsiteY713" fmla="*/ 918581 h 1019691"/>
                <a:gd name="connsiteX714" fmla="*/ 133148 w 764748"/>
                <a:gd name="connsiteY714" fmla="*/ 929182 h 1019691"/>
                <a:gd name="connsiteX715" fmla="*/ 127108 w 764748"/>
                <a:gd name="connsiteY715" fmla="*/ 951622 h 1019691"/>
                <a:gd name="connsiteX716" fmla="*/ 125141 w 764748"/>
                <a:gd name="connsiteY716" fmla="*/ 958955 h 1019691"/>
                <a:gd name="connsiteX717" fmla="*/ 128757 w 764748"/>
                <a:gd name="connsiteY717" fmla="*/ 969951 h 1019691"/>
                <a:gd name="connsiteX718" fmla="*/ 130294 w 764748"/>
                <a:gd name="connsiteY718" fmla="*/ 976208 h 1019691"/>
                <a:gd name="connsiteX719" fmla="*/ 130583 w 764748"/>
                <a:gd name="connsiteY719" fmla="*/ 976169 h 1019691"/>
                <a:gd name="connsiteX720" fmla="*/ 136002 w 764748"/>
                <a:gd name="connsiteY720" fmla="*/ 975389 h 101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Lst>
              <a:rect l="l" t="t" r="r" b="b"/>
              <a:pathLst>
                <a:path w="764748" h="1019691">
                  <a:moveTo>
                    <a:pt x="136002" y="975389"/>
                  </a:moveTo>
                  <a:cubicBezTo>
                    <a:pt x="134185" y="978103"/>
                    <a:pt x="135722" y="981082"/>
                    <a:pt x="135722" y="981082"/>
                  </a:cubicBezTo>
                  <a:lnTo>
                    <a:pt x="145417" y="980802"/>
                  </a:lnTo>
                  <a:lnTo>
                    <a:pt x="150845" y="976304"/>
                  </a:lnTo>
                  <a:lnTo>
                    <a:pt x="157801" y="976189"/>
                  </a:lnTo>
                  <a:lnTo>
                    <a:pt x="164001" y="980715"/>
                  </a:lnTo>
                  <a:lnTo>
                    <a:pt x="176139" y="980060"/>
                  </a:lnTo>
                  <a:lnTo>
                    <a:pt x="182098" y="975302"/>
                  </a:lnTo>
                  <a:cubicBezTo>
                    <a:pt x="182098" y="975302"/>
                    <a:pt x="184301" y="974376"/>
                    <a:pt x="188794" y="973354"/>
                  </a:cubicBezTo>
                  <a:cubicBezTo>
                    <a:pt x="193291" y="972313"/>
                    <a:pt x="199920" y="978758"/>
                    <a:pt x="199920" y="978758"/>
                  </a:cubicBezTo>
                  <a:cubicBezTo>
                    <a:pt x="199920" y="978758"/>
                    <a:pt x="203299" y="978758"/>
                    <a:pt x="206775" y="978647"/>
                  </a:cubicBezTo>
                  <a:cubicBezTo>
                    <a:pt x="210260" y="978517"/>
                    <a:pt x="212969" y="977568"/>
                    <a:pt x="213856" y="973205"/>
                  </a:cubicBezTo>
                  <a:cubicBezTo>
                    <a:pt x="214787" y="968794"/>
                    <a:pt x="220321" y="976926"/>
                    <a:pt x="220321" y="976926"/>
                  </a:cubicBezTo>
                  <a:lnTo>
                    <a:pt x="223295" y="966803"/>
                  </a:lnTo>
                  <a:lnTo>
                    <a:pt x="215404" y="968423"/>
                  </a:lnTo>
                  <a:lnTo>
                    <a:pt x="207782" y="966750"/>
                  </a:lnTo>
                  <a:lnTo>
                    <a:pt x="206384" y="960025"/>
                  </a:lnTo>
                  <a:lnTo>
                    <a:pt x="210255" y="954602"/>
                  </a:lnTo>
                  <a:cubicBezTo>
                    <a:pt x="210255" y="954602"/>
                    <a:pt x="213370" y="952808"/>
                    <a:pt x="216840" y="951897"/>
                  </a:cubicBezTo>
                  <a:cubicBezTo>
                    <a:pt x="220316" y="950986"/>
                    <a:pt x="220726" y="948156"/>
                    <a:pt x="220726" y="948156"/>
                  </a:cubicBezTo>
                  <a:lnTo>
                    <a:pt x="226887" y="952418"/>
                  </a:lnTo>
                  <a:cubicBezTo>
                    <a:pt x="226887" y="952418"/>
                    <a:pt x="228188" y="952678"/>
                    <a:pt x="231312" y="952808"/>
                  </a:cubicBezTo>
                  <a:cubicBezTo>
                    <a:pt x="234398" y="952953"/>
                    <a:pt x="233101" y="957595"/>
                    <a:pt x="233101" y="957595"/>
                  </a:cubicBezTo>
                  <a:lnTo>
                    <a:pt x="232710" y="962869"/>
                  </a:lnTo>
                  <a:lnTo>
                    <a:pt x="240081" y="965453"/>
                  </a:lnTo>
                  <a:lnTo>
                    <a:pt x="240351" y="960666"/>
                  </a:lnTo>
                  <a:cubicBezTo>
                    <a:pt x="240351" y="960666"/>
                    <a:pt x="242761" y="959499"/>
                    <a:pt x="245104" y="960406"/>
                  </a:cubicBezTo>
                  <a:cubicBezTo>
                    <a:pt x="247341" y="961274"/>
                    <a:pt x="247572" y="966726"/>
                    <a:pt x="248570" y="968466"/>
                  </a:cubicBezTo>
                  <a:lnTo>
                    <a:pt x="252470" y="967955"/>
                  </a:lnTo>
                  <a:lnTo>
                    <a:pt x="258414" y="962638"/>
                  </a:lnTo>
                  <a:lnTo>
                    <a:pt x="258414" y="956665"/>
                  </a:lnTo>
                  <a:lnTo>
                    <a:pt x="264382" y="960815"/>
                  </a:lnTo>
                  <a:lnTo>
                    <a:pt x="269126" y="966176"/>
                  </a:lnTo>
                  <a:lnTo>
                    <a:pt x="269405" y="966432"/>
                  </a:lnTo>
                  <a:cubicBezTo>
                    <a:pt x="271917" y="967314"/>
                    <a:pt x="274178" y="968283"/>
                    <a:pt x="274178" y="968283"/>
                  </a:cubicBezTo>
                  <a:lnTo>
                    <a:pt x="274968" y="968254"/>
                  </a:lnTo>
                  <a:lnTo>
                    <a:pt x="274491" y="967950"/>
                  </a:lnTo>
                  <a:lnTo>
                    <a:pt x="275668" y="963226"/>
                  </a:lnTo>
                  <a:lnTo>
                    <a:pt x="273296" y="956665"/>
                  </a:lnTo>
                  <a:lnTo>
                    <a:pt x="267347" y="953073"/>
                  </a:lnTo>
                  <a:lnTo>
                    <a:pt x="261398" y="947708"/>
                  </a:lnTo>
                  <a:cubicBezTo>
                    <a:pt x="277051" y="950759"/>
                    <a:pt x="273532" y="960488"/>
                    <a:pt x="291161" y="967362"/>
                  </a:cubicBezTo>
                  <a:lnTo>
                    <a:pt x="297115" y="967955"/>
                  </a:lnTo>
                  <a:lnTo>
                    <a:pt x="303652" y="970303"/>
                  </a:lnTo>
                  <a:lnTo>
                    <a:pt x="306626" y="976869"/>
                  </a:lnTo>
                  <a:lnTo>
                    <a:pt x="312580" y="979245"/>
                  </a:lnTo>
                  <a:lnTo>
                    <a:pt x="317936" y="981038"/>
                  </a:lnTo>
                  <a:lnTo>
                    <a:pt x="323841" y="984615"/>
                  </a:lnTo>
                  <a:cubicBezTo>
                    <a:pt x="324834" y="984042"/>
                    <a:pt x="325436" y="983429"/>
                    <a:pt x="325436" y="982875"/>
                  </a:cubicBezTo>
                  <a:cubicBezTo>
                    <a:pt x="325436" y="981472"/>
                    <a:pt x="327784" y="979018"/>
                    <a:pt x="331395" y="977558"/>
                  </a:cubicBezTo>
                  <a:cubicBezTo>
                    <a:pt x="331395" y="981202"/>
                    <a:pt x="332803" y="983912"/>
                    <a:pt x="335536" y="983782"/>
                  </a:cubicBezTo>
                  <a:cubicBezTo>
                    <a:pt x="344049" y="982104"/>
                    <a:pt x="348692" y="991408"/>
                    <a:pt x="348692" y="991408"/>
                  </a:cubicBezTo>
                  <a:lnTo>
                    <a:pt x="353725" y="993982"/>
                  </a:lnTo>
                  <a:lnTo>
                    <a:pt x="356439" y="1000447"/>
                  </a:lnTo>
                  <a:lnTo>
                    <a:pt x="356574" y="1006405"/>
                  </a:lnTo>
                  <a:lnTo>
                    <a:pt x="362782" y="1006405"/>
                  </a:lnTo>
                  <a:lnTo>
                    <a:pt x="368596" y="1005354"/>
                  </a:lnTo>
                  <a:cubicBezTo>
                    <a:pt x="368596" y="1005354"/>
                    <a:pt x="364851" y="1016982"/>
                    <a:pt x="365246" y="1019440"/>
                  </a:cubicBezTo>
                  <a:cubicBezTo>
                    <a:pt x="373624" y="1022029"/>
                    <a:pt x="386799" y="1003807"/>
                    <a:pt x="386799" y="1003807"/>
                  </a:cubicBezTo>
                  <a:cubicBezTo>
                    <a:pt x="386799" y="1003807"/>
                    <a:pt x="388072" y="1002515"/>
                    <a:pt x="390150" y="999150"/>
                  </a:cubicBezTo>
                  <a:cubicBezTo>
                    <a:pt x="392237" y="995794"/>
                    <a:pt x="390555" y="990362"/>
                    <a:pt x="388612" y="989079"/>
                  </a:cubicBezTo>
                  <a:cubicBezTo>
                    <a:pt x="386655" y="987812"/>
                    <a:pt x="390555" y="977192"/>
                    <a:pt x="390555" y="977192"/>
                  </a:cubicBezTo>
                  <a:lnTo>
                    <a:pt x="393004" y="983777"/>
                  </a:lnTo>
                  <a:lnTo>
                    <a:pt x="397636" y="984297"/>
                  </a:lnTo>
                  <a:cubicBezTo>
                    <a:pt x="397636" y="984297"/>
                    <a:pt x="399449" y="983381"/>
                    <a:pt x="400239" y="981598"/>
                  </a:cubicBezTo>
                  <a:cubicBezTo>
                    <a:pt x="400992" y="979780"/>
                    <a:pt x="409278" y="980561"/>
                    <a:pt x="411717" y="982494"/>
                  </a:cubicBezTo>
                  <a:cubicBezTo>
                    <a:pt x="414181" y="984427"/>
                    <a:pt x="418187" y="985204"/>
                    <a:pt x="421137" y="984297"/>
                  </a:cubicBezTo>
                  <a:cubicBezTo>
                    <a:pt x="424126" y="983381"/>
                    <a:pt x="427872" y="984162"/>
                    <a:pt x="427872" y="984162"/>
                  </a:cubicBezTo>
                  <a:lnTo>
                    <a:pt x="426966" y="988698"/>
                  </a:lnTo>
                  <a:cubicBezTo>
                    <a:pt x="426966" y="988698"/>
                    <a:pt x="428634" y="989610"/>
                    <a:pt x="431483" y="990231"/>
                  </a:cubicBezTo>
                  <a:cubicBezTo>
                    <a:pt x="434447" y="996074"/>
                    <a:pt x="443375" y="1002264"/>
                    <a:pt x="443375" y="1002264"/>
                  </a:cubicBezTo>
                  <a:lnTo>
                    <a:pt x="449796" y="1001449"/>
                  </a:lnTo>
                  <a:lnTo>
                    <a:pt x="456140" y="997091"/>
                  </a:lnTo>
                  <a:lnTo>
                    <a:pt x="462591" y="1001203"/>
                  </a:lnTo>
                  <a:lnTo>
                    <a:pt x="468395" y="994377"/>
                  </a:lnTo>
                  <a:lnTo>
                    <a:pt x="473972" y="993977"/>
                  </a:lnTo>
                  <a:lnTo>
                    <a:pt x="475645" y="987532"/>
                  </a:lnTo>
                  <a:lnTo>
                    <a:pt x="482621" y="984933"/>
                  </a:lnTo>
                  <a:lnTo>
                    <a:pt x="488184" y="984297"/>
                  </a:lnTo>
                  <a:lnTo>
                    <a:pt x="491780" y="979125"/>
                  </a:lnTo>
                  <a:lnTo>
                    <a:pt x="495164" y="975629"/>
                  </a:lnTo>
                  <a:lnTo>
                    <a:pt x="507789" y="974217"/>
                  </a:lnTo>
                  <a:cubicBezTo>
                    <a:pt x="507789" y="974217"/>
                    <a:pt x="509221" y="974627"/>
                    <a:pt x="514133" y="975369"/>
                  </a:cubicBezTo>
                  <a:cubicBezTo>
                    <a:pt x="517609" y="967126"/>
                    <a:pt x="546418" y="970095"/>
                    <a:pt x="546418" y="970095"/>
                  </a:cubicBezTo>
                  <a:lnTo>
                    <a:pt x="544060" y="958193"/>
                  </a:lnTo>
                  <a:lnTo>
                    <a:pt x="549137" y="953454"/>
                  </a:lnTo>
                  <a:lnTo>
                    <a:pt x="550544" y="959249"/>
                  </a:lnTo>
                  <a:lnTo>
                    <a:pt x="556093" y="958193"/>
                  </a:lnTo>
                  <a:lnTo>
                    <a:pt x="561776" y="959360"/>
                  </a:lnTo>
                  <a:lnTo>
                    <a:pt x="567214" y="958468"/>
                  </a:lnTo>
                  <a:lnTo>
                    <a:pt x="572758" y="965019"/>
                  </a:lnTo>
                  <a:lnTo>
                    <a:pt x="578577" y="965164"/>
                  </a:lnTo>
                  <a:lnTo>
                    <a:pt x="585157" y="959620"/>
                  </a:lnTo>
                  <a:lnTo>
                    <a:pt x="591617" y="958588"/>
                  </a:lnTo>
                  <a:lnTo>
                    <a:pt x="596139" y="960271"/>
                  </a:lnTo>
                  <a:lnTo>
                    <a:pt x="601678" y="965689"/>
                  </a:lnTo>
                  <a:lnTo>
                    <a:pt x="599364" y="972038"/>
                  </a:lnTo>
                  <a:lnTo>
                    <a:pt x="611632" y="982089"/>
                  </a:lnTo>
                  <a:lnTo>
                    <a:pt x="617191" y="984022"/>
                  </a:lnTo>
                  <a:cubicBezTo>
                    <a:pt x="617191" y="984022"/>
                    <a:pt x="620175" y="984148"/>
                    <a:pt x="623376" y="982624"/>
                  </a:cubicBezTo>
                  <a:cubicBezTo>
                    <a:pt x="619895" y="970086"/>
                    <a:pt x="626615" y="963221"/>
                    <a:pt x="626615" y="963221"/>
                  </a:cubicBezTo>
                  <a:lnTo>
                    <a:pt x="625719" y="957576"/>
                  </a:lnTo>
                  <a:lnTo>
                    <a:pt x="618458" y="951131"/>
                  </a:lnTo>
                  <a:lnTo>
                    <a:pt x="612919" y="953686"/>
                  </a:lnTo>
                  <a:lnTo>
                    <a:pt x="611488" y="946850"/>
                  </a:lnTo>
                  <a:cubicBezTo>
                    <a:pt x="611488" y="946850"/>
                    <a:pt x="614337" y="938684"/>
                    <a:pt x="615643" y="934682"/>
                  </a:cubicBezTo>
                  <a:cubicBezTo>
                    <a:pt x="616925" y="930705"/>
                    <a:pt x="603770" y="917381"/>
                    <a:pt x="603770" y="917381"/>
                  </a:cubicBezTo>
                  <a:lnTo>
                    <a:pt x="600911" y="911977"/>
                  </a:lnTo>
                  <a:lnTo>
                    <a:pt x="594721" y="905503"/>
                  </a:lnTo>
                  <a:lnTo>
                    <a:pt x="593685" y="899588"/>
                  </a:lnTo>
                  <a:lnTo>
                    <a:pt x="600135" y="894381"/>
                  </a:lnTo>
                  <a:lnTo>
                    <a:pt x="602343" y="888447"/>
                  </a:lnTo>
                  <a:lnTo>
                    <a:pt x="608537" y="887541"/>
                  </a:lnTo>
                  <a:lnTo>
                    <a:pt x="617060" y="879548"/>
                  </a:lnTo>
                  <a:lnTo>
                    <a:pt x="624422" y="878251"/>
                  </a:lnTo>
                  <a:lnTo>
                    <a:pt x="629064" y="874481"/>
                  </a:lnTo>
                  <a:lnTo>
                    <a:pt x="635394" y="874655"/>
                  </a:lnTo>
                  <a:lnTo>
                    <a:pt x="641983" y="871555"/>
                  </a:lnTo>
                  <a:lnTo>
                    <a:pt x="647151" y="867014"/>
                  </a:lnTo>
                  <a:lnTo>
                    <a:pt x="651278" y="857980"/>
                  </a:lnTo>
                  <a:lnTo>
                    <a:pt x="650237" y="851154"/>
                  </a:lnTo>
                  <a:lnTo>
                    <a:pt x="652069" y="844178"/>
                  </a:lnTo>
                  <a:cubicBezTo>
                    <a:pt x="652069" y="844178"/>
                    <a:pt x="651153" y="839777"/>
                    <a:pt x="650632" y="838736"/>
                  </a:cubicBezTo>
                  <a:cubicBezTo>
                    <a:pt x="650126" y="837699"/>
                    <a:pt x="657087" y="835135"/>
                    <a:pt x="657087" y="835135"/>
                  </a:cubicBezTo>
                  <a:lnTo>
                    <a:pt x="662385" y="837834"/>
                  </a:lnTo>
                  <a:lnTo>
                    <a:pt x="668444" y="838490"/>
                  </a:lnTo>
                  <a:lnTo>
                    <a:pt x="676211" y="843918"/>
                  </a:lnTo>
                  <a:lnTo>
                    <a:pt x="677628" y="837179"/>
                  </a:lnTo>
                  <a:lnTo>
                    <a:pt x="682916" y="831008"/>
                  </a:lnTo>
                  <a:lnTo>
                    <a:pt x="684223" y="818335"/>
                  </a:lnTo>
                  <a:cubicBezTo>
                    <a:pt x="684223" y="818335"/>
                    <a:pt x="683953" y="815134"/>
                    <a:pt x="682916" y="813061"/>
                  </a:cubicBezTo>
                  <a:cubicBezTo>
                    <a:pt x="682241" y="811697"/>
                    <a:pt x="682776" y="810540"/>
                    <a:pt x="684160" y="808554"/>
                  </a:cubicBezTo>
                  <a:lnTo>
                    <a:pt x="683957" y="808500"/>
                  </a:lnTo>
                  <a:lnTo>
                    <a:pt x="674914" y="794858"/>
                  </a:lnTo>
                  <a:lnTo>
                    <a:pt x="672335" y="794978"/>
                  </a:lnTo>
                  <a:lnTo>
                    <a:pt x="666005" y="791613"/>
                  </a:lnTo>
                  <a:lnTo>
                    <a:pt x="660828" y="784228"/>
                  </a:lnTo>
                  <a:lnTo>
                    <a:pt x="655655" y="782199"/>
                  </a:lnTo>
                  <a:cubicBezTo>
                    <a:pt x="655655" y="782199"/>
                    <a:pt x="652184" y="782710"/>
                    <a:pt x="649735" y="783741"/>
                  </a:cubicBezTo>
                  <a:cubicBezTo>
                    <a:pt x="647281" y="784749"/>
                    <a:pt x="643917" y="779340"/>
                    <a:pt x="643791" y="777305"/>
                  </a:cubicBezTo>
                  <a:cubicBezTo>
                    <a:pt x="643656" y="775208"/>
                    <a:pt x="639154" y="769515"/>
                    <a:pt x="635654" y="767066"/>
                  </a:cubicBezTo>
                  <a:cubicBezTo>
                    <a:pt x="632178" y="764618"/>
                    <a:pt x="626364" y="765538"/>
                    <a:pt x="626364" y="765538"/>
                  </a:cubicBezTo>
                  <a:lnTo>
                    <a:pt x="623906" y="759951"/>
                  </a:lnTo>
                  <a:lnTo>
                    <a:pt x="613440" y="749249"/>
                  </a:lnTo>
                  <a:lnTo>
                    <a:pt x="608918" y="742023"/>
                  </a:lnTo>
                  <a:lnTo>
                    <a:pt x="602868" y="736855"/>
                  </a:lnTo>
                  <a:lnTo>
                    <a:pt x="597050" y="738918"/>
                  </a:lnTo>
                  <a:lnTo>
                    <a:pt x="587481" y="734801"/>
                  </a:lnTo>
                  <a:lnTo>
                    <a:pt x="583484" y="728992"/>
                  </a:lnTo>
                  <a:lnTo>
                    <a:pt x="574687" y="720325"/>
                  </a:lnTo>
                  <a:lnTo>
                    <a:pt x="575371" y="714742"/>
                  </a:lnTo>
                  <a:lnTo>
                    <a:pt x="569533" y="709459"/>
                  </a:lnTo>
                  <a:lnTo>
                    <a:pt x="567735" y="702628"/>
                  </a:lnTo>
                  <a:lnTo>
                    <a:pt x="562307" y="693073"/>
                  </a:lnTo>
                  <a:lnTo>
                    <a:pt x="555847" y="688821"/>
                  </a:lnTo>
                  <a:lnTo>
                    <a:pt x="553278" y="683789"/>
                  </a:lnTo>
                  <a:lnTo>
                    <a:pt x="559087" y="677960"/>
                  </a:lnTo>
                  <a:lnTo>
                    <a:pt x="559347" y="673188"/>
                  </a:lnTo>
                  <a:lnTo>
                    <a:pt x="561786" y="671641"/>
                  </a:lnTo>
                  <a:lnTo>
                    <a:pt x="562702" y="666087"/>
                  </a:lnTo>
                  <a:cubicBezTo>
                    <a:pt x="562702" y="666087"/>
                    <a:pt x="561164" y="660924"/>
                    <a:pt x="558180" y="652656"/>
                  </a:cubicBezTo>
                  <a:cubicBezTo>
                    <a:pt x="549783" y="651904"/>
                    <a:pt x="539071" y="642846"/>
                    <a:pt x="538281" y="640388"/>
                  </a:cubicBezTo>
                  <a:cubicBezTo>
                    <a:pt x="537500" y="637919"/>
                    <a:pt x="536087" y="637684"/>
                    <a:pt x="534781" y="637505"/>
                  </a:cubicBezTo>
                  <a:cubicBezTo>
                    <a:pt x="533503" y="637433"/>
                    <a:pt x="533894" y="634290"/>
                    <a:pt x="534029" y="631744"/>
                  </a:cubicBezTo>
                  <a:cubicBezTo>
                    <a:pt x="534164" y="629131"/>
                    <a:pt x="531459" y="623477"/>
                    <a:pt x="529762" y="622156"/>
                  </a:cubicBezTo>
                  <a:cubicBezTo>
                    <a:pt x="528085" y="620874"/>
                    <a:pt x="527318" y="618560"/>
                    <a:pt x="527318" y="616236"/>
                  </a:cubicBezTo>
                  <a:cubicBezTo>
                    <a:pt x="527318" y="613903"/>
                    <a:pt x="527458" y="613368"/>
                    <a:pt x="523953" y="609637"/>
                  </a:cubicBezTo>
                  <a:cubicBezTo>
                    <a:pt x="536482" y="609791"/>
                    <a:pt x="539592" y="618560"/>
                    <a:pt x="539592" y="622450"/>
                  </a:cubicBezTo>
                  <a:cubicBezTo>
                    <a:pt x="539592" y="626302"/>
                    <a:pt x="543477" y="629671"/>
                    <a:pt x="544350" y="629016"/>
                  </a:cubicBezTo>
                  <a:cubicBezTo>
                    <a:pt x="545266" y="628370"/>
                    <a:pt x="545150" y="624899"/>
                    <a:pt x="545015" y="622681"/>
                  </a:cubicBezTo>
                  <a:cubicBezTo>
                    <a:pt x="544880" y="620478"/>
                    <a:pt x="553533" y="606166"/>
                    <a:pt x="556377" y="602280"/>
                  </a:cubicBezTo>
                  <a:cubicBezTo>
                    <a:pt x="559202" y="598419"/>
                    <a:pt x="565807" y="596606"/>
                    <a:pt x="570579" y="596119"/>
                  </a:cubicBezTo>
                  <a:cubicBezTo>
                    <a:pt x="575376" y="595589"/>
                    <a:pt x="577184" y="594900"/>
                    <a:pt x="579883" y="592446"/>
                  </a:cubicBezTo>
                  <a:cubicBezTo>
                    <a:pt x="582573" y="590007"/>
                    <a:pt x="585172" y="591467"/>
                    <a:pt x="586729" y="591168"/>
                  </a:cubicBezTo>
                  <a:cubicBezTo>
                    <a:pt x="588281" y="590942"/>
                    <a:pt x="589438" y="591168"/>
                    <a:pt x="591631" y="592595"/>
                  </a:cubicBezTo>
                  <a:cubicBezTo>
                    <a:pt x="593830" y="594041"/>
                    <a:pt x="594866" y="595440"/>
                    <a:pt x="597845" y="593362"/>
                  </a:cubicBezTo>
                  <a:cubicBezTo>
                    <a:pt x="600776" y="591308"/>
                    <a:pt x="604411" y="582255"/>
                    <a:pt x="604411" y="582255"/>
                  </a:cubicBezTo>
                  <a:cubicBezTo>
                    <a:pt x="604411" y="582255"/>
                    <a:pt x="611922" y="580471"/>
                    <a:pt x="614100" y="580307"/>
                  </a:cubicBezTo>
                  <a:cubicBezTo>
                    <a:pt x="616284" y="580196"/>
                    <a:pt x="617976" y="577757"/>
                    <a:pt x="618106" y="575294"/>
                  </a:cubicBezTo>
                  <a:cubicBezTo>
                    <a:pt x="618227" y="572859"/>
                    <a:pt x="623154" y="568964"/>
                    <a:pt x="626099" y="567330"/>
                  </a:cubicBezTo>
                  <a:cubicBezTo>
                    <a:pt x="629078" y="565599"/>
                    <a:pt x="634001" y="566775"/>
                    <a:pt x="634001" y="566775"/>
                  </a:cubicBezTo>
                  <a:cubicBezTo>
                    <a:pt x="634001" y="566775"/>
                    <a:pt x="635784" y="565855"/>
                    <a:pt x="638782" y="565599"/>
                  </a:cubicBezTo>
                  <a:cubicBezTo>
                    <a:pt x="641733" y="565363"/>
                    <a:pt x="644572" y="556185"/>
                    <a:pt x="645739" y="553745"/>
                  </a:cubicBezTo>
                  <a:cubicBezTo>
                    <a:pt x="646910" y="551287"/>
                    <a:pt x="648848" y="551393"/>
                    <a:pt x="650791" y="550371"/>
                  </a:cubicBezTo>
                  <a:cubicBezTo>
                    <a:pt x="652714" y="549330"/>
                    <a:pt x="653881" y="549088"/>
                    <a:pt x="655670" y="549990"/>
                  </a:cubicBezTo>
                  <a:cubicBezTo>
                    <a:pt x="657492" y="550891"/>
                    <a:pt x="659830" y="550106"/>
                    <a:pt x="661127" y="548958"/>
                  </a:cubicBezTo>
                  <a:cubicBezTo>
                    <a:pt x="662404" y="547806"/>
                    <a:pt x="664077" y="547006"/>
                    <a:pt x="666020" y="548052"/>
                  </a:cubicBezTo>
                  <a:cubicBezTo>
                    <a:pt x="667962" y="549088"/>
                    <a:pt x="672484" y="544837"/>
                    <a:pt x="672484" y="544837"/>
                  </a:cubicBezTo>
                  <a:cubicBezTo>
                    <a:pt x="672484" y="544837"/>
                    <a:pt x="673776" y="543029"/>
                    <a:pt x="674668" y="540961"/>
                  </a:cubicBezTo>
                  <a:cubicBezTo>
                    <a:pt x="675579" y="538873"/>
                    <a:pt x="677512" y="538223"/>
                    <a:pt x="680231" y="536579"/>
                  </a:cubicBezTo>
                  <a:cubicBezTo>
                    <a:pt x="682935" y="534872"/>
                    <a:pt x="684488" y="536053"/>
                    <a:pt x="686811" y="536931"/>
                  </a:cubicBezTo>
                  <a:cubicBezTo>
                    <a:pt x="689130" y="537851"/>
                    <a:pt x="693922" y="533301"/>
                    <a:pt x="696882" y="531633"/>
                  </a:cubicBezTo>
                  <a:cubicBezTo>
                    <a:pt x="699851" y="529984"/>
                    <a:pt x="699731" y="529068"/>
                    <a:pt x="700897" y="526470"/>
                  </a:cubicBezTo>
                  <a:cubicBezTo>
                    <a:pt x="702050" y="523920"/>
                    <a:pt x="705665" y="524662"/>
                    <a:pt x="708519" y="525043"/>
                  </a:cubicBezTo>
                  <a:cubicBezTo>
                    <a:pt x="711359" y="525423"/>
                    <a:pt x="711359" y="522107"/>
                    <a:pt x="711865" y="519499"/>
                  </a:cubicBezTo>
                  <a:cubicBezTo>
                    <a:pt x="712376" y="516920"/>
                    <a:pt x="707082" y="515131"/>
                    <a:pt x="707082" y="515131"/>
                  </a:cubicBezTo>
                  <a:cubicBezTo>
                    <a:pt x="707082" y="515131"/>
                    <a:pt x="703978" y="511877"/>
                    <a:pt x="703742" y="509202"/>
                  </a:cubicBezTo>
                  <a:cubicBezTo>
                    <a:pt x="703472" y="506492"/>
                    <a:pt x="708654" y="504044"/>
                    <a:pt x="708654" y="504044"/>
                  </a:cubicBezTo>
                  <a:lnTo>
                    <a:pt x="714964" y="506358"/>
                  </a:lnTo>
                  <a:cubicBezTo>
                    <a:pt x="714964" y="506358"/>
                    <a:pt x="718970" y="505046"/>
                    <a:pt x="720913" y="503354"/>
                  </a:cubicBezTo>
                  <a:cubicBezTo>
                    <a:pt x="722832" y="501686"/>
                    <a:pt x="723362" y="503759"/>
                    <a:pt x="723362" y="506488"/>
                  </a:cubicBezTo>
                  <a:cubicBezTo>
                    <a:pt x="723362" y="509197"/>
                    <a:pt x="729311" y="509559"/>
                    <a:pt x="729311" y="509559"/>
                  </a:cubicBezTo>
                  <a:lnTo>
                    <a:pt x="731764" y="518342"/>
                  </a:lnTo>
                  <a:lnTo>
                    <a:pt x="733948" y="520800"/>
                  </a:lnTo>
                  <a:lnTo>
                    <a:pt x="734724" y="523153"/>
                  </a:lnTo>
                  <a:lnTo>
                    <a:pt x="737689" y="528272"/>
                  </a:lnTo>
                  <a:cubicBezTo>
                    <a:pt x="737689" y="528272"/>
                    <a:pt x="740803" y="530100"/>
                    <a:pt x="742471" y="530775"/>
                  </a:cubicBezTo>
                  <a:cubicBezTo>
                    <a:pt x="744178" y="531425"/>
                    <a:pt x="745831" y="531016"/>
                    <a:pt x="746742" y="529459"/>
                  </a:cubicBezTo>
                  <a:cubicBezTo>
                    <a:pt x="747996" y="527641"/>
                    <a:pt x="749654" y="526441"/>
                    <a:pt x="751525" y="525486"/>
                  </a:cubicBezTo>
                  <a:cubicBezTo>
                    <a:pt x="749909" y="521234"/>
                    <a:pt x="752783" y="517908"/>
                    <a:pt x="755935" y="514529"/>
                  </a:cubicBezTo>
                  <a:cubicBezTo>
                    <a:pt x="755854" y="511993"/>
                    <a:pt x="757719" y="502853"/>
                    <a:pt x="760168" y="500264"/>
                  </a:cubicBezTo>
                  <a:cubicBezTo>
                    <a:pt x="761065" y="498490"/>
                    <a:pt x="762622" y="475100"/>
                    <a:pt x="764174" y="471856"/>
                  </a:cubicBezTo>
                  <a:cubicBezTo>
                    <a:pt x="765722" y="468607"/>
                    <a:pt x="763914" y="466813"/>
                    <a:pt x="761470" y="463989"/>
                  </a:cubicBezTo>
                  <a:cubicBezTo>
                    <a:pt x="759002" y="461134"/>
                    <a:pt x="755801" y="448340"/>
                    <a:pt x="755907" y="445535"/>
                  </a:cubicBezTo>
                  <a:cubicBezTo>
                    <a:pt x="756051" y="442700"/>
                    <a:pt x="742862" y="438120"/>
                    <a:pt x="736016" y="436091"/>
                  </a:cubicBezTo>
                  <a:cubicBezTo>
                    <a:pt x="736527" y="434399"/>
                    <a:pt x="737077" y="422516"/>
                    <a:pt x="736146" y="418413"/>
                  </a:cubicBezTo>
                  <a:cubicBezTo>
                    <a:pt x="729316" y="414142"/>
                    <a:pt x="727368" y="407928"/>
                    <a:pt x="727638" y="405205"/>
                  </a:cubicBezTo>
                  <a:cubicBezTo>
                    <a:pt x="727884" y="402510"/>
                    <a:pt x="726356" y="401372"/>
                    <a:pt x="722576" y="396311"/>
                  </a:cubicBezTo>
                  <a:cubicBezTo>
                    <a:pt x="726592" y="393211"/>
                    <a:pt x="732015" y="383907"/>
                    <a:pt x="730858" y="380537"/>
                  </a:cubicBezTo>
                  <a:cubicBezTo>
                    <a:pt x="729692" y="377225"/>
                    <a:pt x="731369" y="370124"/>
                    <a:pt x="733042" y="364542"/>
                  </a:cubicBezTo>
                  <a:cubicBezTo>
                    <a:pt x="725661" y="362228"/>
                    <a:pt x="725661" y="348426"/>
                    <a:pt x="727247" y="344155"/>
                  </a:cubicBezTo>
                  <a:cubicBezTo>
                    <a:pt x="728785" y="339884"/>
                    <a:pt x="724133" y="339629"/>
                    <a:pt x="721414" y="338988"/>
                  </a:cubicBezTo>
                  <a:cubicBezTo>
                    <a:pt x="718710" y="338327"/>
                    <a:pt x="714328" y="328888"/>
                    <a:pt x="712896" y="324901"/>
                  </a:cubicBezTo>
                  <a:cubicBezTo>
                    <a:pt x="711489" y="320900"/>
                    <a:pt x="714964" y="317680"/>
                    <a:pt x="718594" y="312898"/>
                  </a:cubicBezTo>
                  <a:cubicBezTo>
                    <a:pt x="722205" y="308101"/>
                    <a:pt x="716010" y="304751"/>
                    <a:pt x="718479" y="300234"/>
                  </a:cubicBezTo>
                  <a:cubicBezTo>
                    <a:pt x="720918" y="295712"/>
                    <a:pt x="704513" y="289127"/>
                    <a:pt x="704513" y="289127"/>
                  </a:cubicBezTo>
                  <a:lnTo>
                    <a:pt x="698058" y="280474"/>
                  </a:lnTo>
                  <a:cubicBezTo>
                    <a:pt x="698058" y="280474"/>
                    <a:pt x="690321" y="274809"/>
                    <a:pt x="681793" y="269106"/>
                  </a:cubicBezTo>
                  <a:cubicBezTo>
                    <a:pt x="676302" y="269034"/>
                    <a:pt x="676751" y="262671"/>
                    <a:pt x="677368" y="261027"/>
                  </a:cubicBezTo>
                  <a:cubicBezTo>
                    <a:pt x="678023" y="259388"/>
                    <a:pt x="678293" y="259152"/>
                    <a:pt x="677136" y="253998"/>
                  </a:cubicBezTo>
                  <a:cubicBezTo>
                    <a:pt x="675970" y="248859"/>
                    <a:pt x="687472" y="240698"/>
                    <a:pt x="691328" y="235284"/>
                  </a:cubicBezTo>
                  <a:cubicBezTo>
                    <a:pt x="695214" y="229866"/>
                    <a:pt x="693281" y="223127"/>
                    <a:pt x="692240" y="221444"/>
                  </a:cubicBezTo>
                  <a:cubicBezTo>
                    <a:pt x="691203" y="219781"/>
                    <a:pt x="697142" y="208954"/>
                    <a:pt x="697142" y="208954"/>
                  </a:cubicBezTo>
                  <a:cubicBezTo>
                    <a:pt x="697142" y="208954"/>
                    <a:pt x="695469" y="204292"/>
                    <a:pt x="693927" y="200638"/>
                  </a:cubicBezTo>
                  <a:cubicBezTo>
                    <a:pt x="694568" y="196535"/>
                    <a:pt x="691603" y="190187"/>
                    <a:pt x="688884" y="182315"/>
                  </a:cubicBezTo>
                  <a:cubicBezTo>
                    <a:pt x="683982" y="174085"/>
                    <a:pt x="683982" y="169284"/>
                    <a:pt x="683726" y="163461"/>
                  </a:cubicBezTo>
                  <a:cubicBezTo>
                    <a:pt x="681885" y="161002"/>
                    <a:pt x="680742" y="156712"/>
                    <a:pt x="680014" y="152450"/>
                  </a:cubicBezTo>
                  <a:lnTo>
                    <a:pt x="679185" y="152648"/>
                  </a:lnTo>
                  <a:lnTo>
                    <a:pt x="677932" y="151096"/>
                  </a:lnTo>
                  <a:lnTo>
                    <a:pt x="677580" y="147480"/>
                  </a:lnTo>
                  <a:lnTo>
                    <a:pt x="673236" y="149042"/>
                  </a:lnTo>
                  <a:lnTo>
                    <a:pt x="672441" y="149153"/>
                  </a:lnTo>
                  <a:lnTo>
                    <a:pt x="666473" y="148545"/>
                  </a:lnTo>
                  <a:lnTo>
                    <a:pt x="666150" y="148516"/>
                  </a:lnTo>
                  <a:lnTo>
                    <a:pt x="660186" y="146728"/>
                  </a:lnTo>
                  <a:lnTo>
                    <a:pt x="660042" y="146675"/>
                  </a:lnTo>
                  <a:lnTo>
                    <a:pt x="654098" y="144265"/>
                  </a:lnTo>
                  <a:lnTo>
                    <a:pt x="653626" y="143985"/>
                  </a:lnTo>
                  <a:lnTo>
                    <a:pt x="647749" y="139304"/>
                  </a:lnTo>
                  <a:lnTo>
                    <a:pt x="641294" y="135206"/>
                  </a:lnTo>
                  <a:lnTo>
                    <a:pt x="640460" y="133678"/>
                  </a:lnTo>
                  <a:lnTo>
                    <a:pt x="640460" y="131292"/>
                  </a:lnTo>
                  <a:lnTo>
                    <a:pt x="640986" y="129991"/>
                  </a:lnTo>
                  <a:lnTo>
                    <a:pt x="641053" y="129971"/>
                  </a:lnTo>
                  <a:lnTo>
                    <a:pt x="641053" y="129494"/>
                  </a:lnTo>
                  <a:lnTo>
                    <a:pt x="641728" y="128101"/>
                  </a:lnTo>
                  <a:lnTo>
                    <a:pt x="646790" y="123945"/>
                  </a:lnTo>
                  <a:lnTo>
                    <a:pt x="642755" y="119467"/>
                  </a:lnTo>
                  <a:lnTo>
                    <a:pt x="636826" y="113533"/>
                  </a:lnTo>
                  <a:lnTo>
                    <a:pt x="636309" y="112048"/>
                  </a:lnTo>
                  <a:lnTo>
                    <a:pt x="636888" y="106687"/>
                  </a:lnTo>
                  <a:lnTo>
                    <a:pt x="636922" y="106514"/>
                  </a:lnTo>
                  <a:lnTo>
                    <a:pt x="637708" y="102618"/>
                  </a:lnTo>
                  <a:lnTo>
                    <a:pt x="637471" y="101302"/>
                  </a:lnTo>
                  <a:lnTo>
                    <a:pt x="632212" y="96983"/>
                  </a:lnTo>
                  <a:lnTo>
                    <a:pt x="631595" y="96028"/>
                  </a:lnTo>
                  <a:lnTo>
                    <a:pt x="631065" y="93854"/>
                  </a:lnTo>
                  <a:lnTo>
                    <a:pt x="626683" y="97075"/>
                  </a:lnTo>
                  <a:lnTo>
                    <a:pt x="626119" y="97311"/>
                  </a:lnTo>
                  <a:lnTo>
                    <a:pt x="620854" y="98882"/>
                  </a:lnTo>
                  <a:lnTo>
                    <a:pt x="617658" y="104262"/>
                  </a:lnTo>
                  <a:lnTo>
                    <a:pt x="616318" y="105135"/>
                  </a:lnTo>
                  <a:lnTo>
                    <a:pt x="614804" y="104624"/>
                  </a:lnTo>
                  <a:lnTo>
                    <a:pt x="608971" y="98757"/>
                  </a:lnTo>
                  <a:lnTo>
                    <a:pt x="603162" y="94698"/>
                  </a:lnTo>
                  <a:lnTo>
                    <a:pt x="602719" y="94288"/>
                  </a:lnTo>
                  <a:lnTo>
                    <a:pt x="598250" y="88142"/>
                  </a:lnTo>
                  <a:lnTo>
                    <a:pt x="592147" y="85341"/>
                  </a:lnTo>
                  <a:lnTo>
                    <a:pt x="591969" y="85254"/>
                  </a:lnTo>
                  <a:lnTo>
                    <a:pt x="586005" y="81673"/>
                  </a:lnTo>
                  <a:lnTo>
                    <a:pt x="585350" y="80998"/>
                  </a:lnTo>
                  <a:lnTo>
                    <a:pt x="582496" y="75888"/>
                  </a:lnTo>
                  <a:lnTo>
                    <a:pt x="582067" y="75449"/>
                  </a:lnTo>
                  <a:lnTo>
                    <a:pt x="581599" y="74509"/>
                  </a:lnTo>
                  <a:lnTo>
                    <a:pt x="580491" y="69061"/>
                  </a:lnTo>
                  <a:lnTo>
                    <a:pt x="575935" y="64009"/>
                  </a:lnTo>
                  <a:lnTo>
                    <a:pt x="571731" y="63585"/>
                  </a:lnTo>
                  <a:lnTo>
                    <a:pt x="568198" y="68657"/>
                  </a:lnTo>
                  <a:lnTo>
                    <a:pt x="567229" y="69365"/>
                  </a:lnTo>
                  <a:lnTo>
                    <a:pt x="561299" y="71139"/>
                  </a:lnTo>
                  <a:lnTo>
                    <a:pt x="560432" y="71192"/>
                  </a:lnTo>
                  <a:lnTo>
                    <a:pt x="553904" y="69997"/>
                  </a:lnTo>
                  <a:lnTo>
                    <a:pt x="553851" y="69997"/>
                  </a:lnTo>
                  <a:lnTo>
                    <a:pt x="548346" y="68907"/>
                  </a:lnTo>
                  <a:lnTo>
                    <a:pt x="543222" y="70421"/>
                  </a:lnTo>
                  <a:lnTo>
                    <a:pt x="537644" y="75444"/>
                  </a:lnTo>
                  <a:lnTo>
                    <a:pt x="532351" y="81311"/>
                  </a:lnTo>
                  <a:lnTo>
                    <a:pt x="530688" y="81885"/>
                  </a:lnTo>
                  <a:lnTo>
                    <a:pt x="529314" y="80761"/>
                  </a:lnTo>
                  <a:lnTo>
                    <a:pt x="527660" y="76635"/>
                  </a:lnTo>
                  <a:lnTo>
                    <a:pt x="525496" y="80916"/>
                  </a:lnTo>
                  <a:cubicBezTo>
                    <a:pt x="516443" y="89053"/>
                    <a:pt x="504376" y="91565"/>
                    <a:pt x="509578" y="106518"/>
                  </a:cubicBezTo>
                  <a:cubicBezTo>
                    <a:pt x="509761" y="107453"/>
                    <a:pt x="509207" y="108399"/>
                    <a:pt x="508276" y="108644"/>
                  </a:cubicBezTo>
                  <a:cubicBezTo>
                    <a:pt x="507370" y="108876"/>
                    <a:pt x="506401" y="108437"/>
                    <a:pt x="506102" y="107502"/>
                  </a:cubicBezTo>
                  <a:lnTo>
                    <a:pt x="503701" y="100970"/>
                  </a:lnTo>
                  <a:lnTo>
                    <a:pt x="503591" y="100348"/>
                  </a:lnTo>
                  <a:lnTo>
                    <a:pt x="503591" y="96795"/>
                  </a:lnTo>
                  <a:cubicBezTo>
                    <a:pt x="498707" y="97311"/>
                    <a:pt x="490372" y="102392"/>
                    <a:pt x="486000" y="102744"/>
                  </a:cubicBezTo>
                  <a:lnTo>
                    <a:pt x="480335" y="101577"/>
                  </a:lnTo>
                  <a:lnTo>
                    <a:pt x="475356" y="102074"/>
                  </a:lnTo>
                  <a:lnTo>
                    <a:pt x="470574" y="107372"/>
                  </a:lnTo>
                  <a:lnTo>
                    <a:pt x="470800" y="108745"/>
                  </a:lnTo>
                  <a:lnTo>
                    <a:pt x="468428" y="114752"/>
                  </a:lnTo>
                  <a:lnTo>
                    <a:pt x="467942" y="115403"/>
                  </a:lnTo>
                  <a:lnTo>
                    <a:pt x="462263" y="120484"/>
                  </a:lnTo>
                  <a:lnTo>
                    <a:pt x="459587" y="126409"/>
                  </a:lnTo>
                  <a:lnTo>
                    <a:pt x="459028" y="132088"/>
                  </a:lnTo>
                  <a:lnTo>
                    <a:pt x="458965" y="132348"/>
                  </a:lnTo>
                  <a:lnTo>
                    <a:pt x="458363" y="134734"/>
                  </a:lnTo>
                  <a:lnTo>
                    <a:pt x="457239" y="135983"/>
                  </a:lnTo>
                  <a:lnTo>
                    <a:pt x="455552" y="135766"/>
                  </a:lnTo>
                  <a:lnTo>
                    <a:pt x="450090" y="131919"/>
                  </a:lnTo>
                  <a:lnTo>
                    <a:pt x="444118" y="131919"/>
                  </a:lnTo>
                  <a:lnTo>
                    <a:pt x="442633" y="131157"/>
                  </a:lnTo>
                  <a:lnTo>
                    <a:pt x="438646" y="125445"/>
                  </a:lnTo>
                  <a:lnTo>
                    <a:pt x="433502" y="121848"/>
                  </a:lnTo>
                  <a:lnTo>
                    <a:pt x="427775" y="122369"/>
                  </a:lnTo>
                  <a:lnTo>
                    <a:pt x="425702" y="122870"/>
                  </a:lnTo>
                  <a:lnTo>
                    <a:pt x="420043" y="125739"/>
                  </a:lnTo>
                  <a:lnTo>
                    <a:pt x="414774" y="129253"/>
                  </a:lnTo>
                  <a:lnTo>
                    <a:pt x="413197" y="129451"/>
                  </a:lnTo>
                  <a:lnTo>
                    <a:pt x="411390" y="128843"/>
                  </a:lnTo>
                  <a:cubicBezTo>
                    <a:pt x="410850" y="128679"/>
                    <a:pt x="410522" y="128197"/>
                    <a:pt x="410324" y="127638"/>
                  </a:cubicBezTo>
                  <a:lnTo>
                    <a:pt x="405099" y="124533"/>
                  </a:lnTo>
                  <a:lnTo>
                    <a:pt x="404539" y="124008"/>
                  </a:lnTo>
                  <a:lnTo>
                    <a:pt x="400399" y="118040"/>
                  </a:lnTo>
                  <a:lnTo>
                    <a:pt x="400230" y="116170"/>
                  </a:lnTo>
                  <a:lnTo>
                    <a:pt x="403219" y="110245"/>
                  </a:lnTo>
                  <a:lnTo>
                    <a:pt x="404670" y="109257"/>
                  </a:lnTo>
                  <a:lnTo>
                    <a:pt x="409972" y="108721"/>
                  </a:lnTo>
                  <a:lnTo>
                    <a:pt x="415463" y="103226"/>
                  </a:lnTo>
                  <a:lnTo>
                    <a:pt x="415622" y="103091"/>
                  </a:lnTo>
                  <a:lnTo>
                    <a:pt x="421393" y="98492"/>
                  </a:lnTo>
                  <a:lnTo>
                    <a:pt x="425582" y="92683"/>
                  </a:lnTo>
                  <a:lnTo>
                    <a:pt x="425052" y="87424"/>
                  </a:lnTo>
                  <a:lnTo>
                    <a:pt x="424464" y="80964"/>
                  </a:lnTo>
                  <a:lnTo>
                    <a:pt x="423306" y="75116"/>
                  </a:lnTo>
                  <a:lnTo>
                    <a:pt x="423475" y="73882"/>
                  </a:lnTo>
                  <a:lnTo>
                    <a:pt x="423890" y="73140"/>
                  </a:lnTo>
                  <a:lnTo>
                    <a:pt x="421600" y="74075"/>
                  </a:lnTo>
                  <a:lnTo>
                    <a:pt x="420559" y="74157"/>
                  </a:lnTo>
                  <a:lnTo>
                    <a:pt x="415425" y="73140"/>
                  </a:lnTo>
                  <a:lnTo>
                    <a:pt x="410132" y="77358"/>
                  </a:lnTo>
                  <a:lnTo>
                    <a:pt x="403614" y="82709"/>
                  </a:lnTo>
                  <a:lnTo>
                    <a:pt x="402457" y="83123"/>
                  </a:lnTo>
                  <a:lnTo>
                    <a:pt x="396494" y="83123"/>
                  </a:lnTo>
                  <a:lnTo>
                    <a:pt x="395226" y="82622"/>
                  </a:lnTo>
                  <a:lnTo>
                    <a:pt x="389489" y="76871"/>
                  </a:lnTo>
                  <a:lnTo>
                    <a:pt x="383864" y="74027"/>
                  </a:lnTo>
                  <a:lnTo>
                    <a:pt x="377997" y="71698"/>
                  </a:lnTo>
                  <a:lnTo>
                    <a:pt x="377722" y="71578"/>
                  </a:lnTo>
                  <a:lnTo>
                    <a:pt x="371961" y="68126"/>
                  </a:lnTo>
                  <a:lnTo>
                    <a:pt x="366938" y="66603"/>
                  </a:lnTo>
                  <a:lnTo>
                    <a:pt x="363211" y="68459"/>
                  </a:lnTo>
                  <a:lnTo>
                    <a:pt x="359437" y="73873"/>
                  </a:lnTo>
                  <a:lnTo>
                    <a:pt x="357147" y="79609"/>
                  </a:lnTo>
                  <a:cubicBezTo>
                    <a:pt x="356848" y="80347"/>
                    <a:pt x="356120" y="80790"/>
                    <a:pt x="355354" y="80757"/>
                  </a:cubicBezTo>
                  <a:cubicBezTo>
                    <a:pt x="354587" y="80713"/>
                    <a:pt x="353917" y="80207"/>
                    <a:pt x="353700" y="79455"/>
                  </a:cubicBezTo>
                  <a:lnTo>
                    <a:pt x="352649" y="75728"/>
                  </a:lnTo>
                  <a:lnTo>
                    <a:pt x="351786" y="74890"/>
                  </a:lnTo>
                  <a:lnTo>
                    <a:pt x="351584" y="72566"/>
                  </a:lnTo>
                  <a:lnTo>
                    <a:pt x="355470" y="66974"/>
                  </a:lnTo>
                  <a:lnTo>
                    <a:pt x="355899" y="62635"/>
                  </a:lnTo>
                  <a:lnTo>
                    <a:pt x="351011" y="59512"/>
                  </a:lnTo>
                  <a:lnTo>
                    <a:pt x="345852" y="61045"/>
                  </a:lnTo>
                  <a:lnTo>
                    <a:pt x="345683" y="61107"/>
                  </a:lnTo>
                  <a:lnTo>
                    <a:pt x="342772" y="61676"/>
                  </a:lnTo>
                  <a:lnTo>
                    <a:pt x="336288" y="63450"/>
                  </a:lnTo>
                  <a:lnTo>
                    <a:pt x="335281" y="63431"/>
                  </a:lnTo>
                  <a:lnTo>
                    <a:pt x="329341" y="61657"/>
                  </a:lnTo>
                  <a:cubicBezTo>
                    <a:pt x="328613" y="61440"/>
                    <a:pt x="328078" y="60775"/>
                    <a:pt x="328049" y="60003"/>
                  </a:cubicBezTo>
                  <a:cubicBezTo>
                    <a:pt x="327996" y="59227"/>
                    <a:pt x="328483" y="58509"/>
                    <a:pt x="329177" y="58225"/>
                  </a:cubicBezTo>
                  <a:lnTo>
                    <a:pt x="335030" y="55887"/>
                  </a:lnTo>
                  <a:lnTo>
                    <a:pt x="340897" y="52671"/>
                  </a:lnTo>
                  <a:lnTo>
                    <a:pt x="342883" y="47176"/>
                  </a:lnTo>
                  <a:lnTo>
                    <a:pt x="342333" y="41622"/>
                  </a:lnTo>
                  <a:lnTo>
                    <a:pt x="342333" y="41285"/>
                  </a:lnTo>
                  <a:lnTo>
                    <a:pt x="342820" y="36329"/>
                  </a:lnTo>
                  <a:lnTo>
                    <a:pt x="341489" y="35230"/>
                  </a:lnTo>
                  <a:lnTo>
                    <a:pt x="338332" y="36604"/>
                  </a:lnTo>
                  <a:cubicBezTo>
                    <a:pt x="337527" y="36922"/>
                    <a:pt x="336572" y="36661"/>
                    <a:pt x="336100" y="35953"/>
                  </a:cubicBezTo>
                  <a:lnTo>
                    <a:pt x="336322" y="33634"/>
                  </a:lnTo>
                  <a:lnTo>
                    <a:pt x="339947" y="29975"/>
                  </a:lnTo>
                  <a:lnTo>
                    <a:pt x="339947" y="28789"/>
                  </a:lnTo>
                  <a:lnTo>
                    <a:pt x="338409" y="25719"/>
                  </a:lnTo>
                  <a:lnTo>
                    <a:pt x="335372" y="20961"/>
                  </a:lnTo>
                  <a:lnTo>
                    <a:pt x="331004" y="24431"/>
                  </a:lnTo>
                  <a:lnTo>
                    <a:pt x="328580" y="24287"/>
                  </a:lnTo>
                  <a:lnTo>
                    <a:pt x="322959" y="18685"/>
                  </a:lnTo>
                  <a:lnTo>
                    <a:pt x="316890" y="17012"/>
                  </a:lnTo>
                  <a:lnTo>
                    <a:pt x="316841" y="17012"/>
                  </a:lnTo>
                  <a:lnTo>
                    <a:pt x="310921" y="15238"/>
                  </a:lnTo>
                  <a:lnTo>
                    <a:pt x="304876" y="13594"/>
                  </a:lnTo>
                  <a:lnTo>
                    <a:pt x="299434" y="15238"/>
                  </a:lnTo>
                  <a:cubicBezTo>
                    <a:pt x="298677" y="15475"/>
                    <a:pt x="297867" y="15166"/>
                    <a:pt x="297423" y="14501"/>
                  </a:cubicBezTo>
                  <a:lnTo>
                    <a:pt x="297486" y="12703"/>
                  </a:lnTo>
                  <a:lnTo>
                    <a:pt x="296700" y="12143"/>
                  </a:lnTo>
                  <a:lnTo>
                    <a:pt x="290106" y="15127"/>
                  </a:lnTo>
                  <a:lnTo>
                    <a:pt x="283790" y="14327"/>
                  </a:lnTo>
                  <a:lnTo>
                    <a:pt x="278092" y="7785"/>
                  </a:lnTo>
                  <a:lnTo>
                    <a:pt x="253034" y="0"/>
                  </a:lnTo>
                  <a:lnTo>
                    <a:pt x="245297" y="3129"/>
                  </a:lnTo>
                  <a:lnTo>
                    <a:pt x="240886" y="1735"/>
                  </a:lnTo>
                  <a:lnTo>
                    <a:pt x="240283" y="2579"/>
                  </a:lnTo>
                  <a:lnTo>
                    <a:pt x="237921" y="3890"/>
                  </a:lnTo>
                  <a:lnTo>
                    <a:pt x="238399" y="3939"/>
                  </a:lnTo>
                  <a:cubicBezTo>
                    <a:pt x="239339" y="4050"/>
                    <a:pt x="240038" y="4830"/>
                    <a:pt x="240038" y="5737"/>
                  </a:cubicBezTo>
                  <a:lnTo>
                    <a:pt x="240038" y="6947"/>
                  </a:lnTo>
                  <a:lnTo>
                    <a:pt x="240038" y="7120"/>
                  </a:lnTo>
                  <a:lnTo>
                    <a:pt x="239478" y="13132"/>
                  </a:lnTo>
                  <a:lnTo>
                    <a:pt x="242226" y="18627"/>
                  </a:lnTo>
                  <a:lnTo>
                    <a:pt x="242342" y="18950"/>
                  </a:lnTo>
                  <a:lnTo>
                    <a:pt x="243995" y="24942"/>
                  </a:lnTo>
                  <a:lnTo>
                    <a:pt x="250089" y="29946"/>
                  </a:lnTo>
                  <a:lnTo>
                    <a:pt x="250547" y="30520"/>
                  </a:lnTo>
                  <a:lnTo>
                    <a:pt x="253536" y="36464"/>
                  </a:lnTo>
                  <a:lnTo>
                    <a:pt x="253719" y="37467"/>
                  </a:lnTo>
                  <a:lnTo>
                    <a:pt x="253256" y="42124"/>
                  </a:lnTo>
                  <a:lnTo>
                    <a:pt x="258626" y="44543"/>
                  </a:lnTo>
                  <a:lnTo>
                    <a:pt x="259258" y="45054"/>
                  </a:lnTo>
                  <a:lnTo>
                    <a:pt x="264623" y="51606"/>
                  </a:lnTo>
                  <a:cubicBezTo>
                    <a:pt x="264696" y="51697"/>
                    <a:pt x="264657" y="51803"/>
                    <a:pt x="264710" y="51885"/>
                  </a:cubicBezTo>
                  <a:cubicBezTo>
                    <a:pt x="264754" y="51982"/>
                    <a:pt x="264879" y="51992"/>
                    <a:pt x="264898" y="52107"/>
                  </a:cubicBezTo>
                  <a:lnTo>
                    <a:pt x="267275" y="58032"/>
                  </a:lnTo>
                  <a:lnTo>
                    <a:pt x="266821" y="60052"/>
                  </a:lnTo>
                  <a:lnTo>
                    <a:pt x="260289" y="65986"/>
                  </a:lnTo>
                  <a:lnTo>
                    <a:pt x="260106" y="66159"/>
                  </a:lnTo>
                  <a:lnTo>
                    <a:pt x="254138" y="70334"/>
                  </a:lnTo>
                  <a:lnTo>
                    <a:pt x="252919" y="70648"/>
                  </a:lnTo>
                  <a:lnTo>
                    <a:pt x="247259" y="70064"/>
                  </a:lnTo>
                  <a:lnTo>
                    <a:pt x="241783" y="71158"/>
                  </a:lnTo>
                  <a:lnTo>
                    <a:pt x="236760" y="73670"/>
                  </a:lnTo>
                  <a:lnTo>
                    <a:pt x="235361" y="78351"/>
                  </a:lnTo>
                  <a:lnTo>
                    <a:pt x="236668" y="82719"/>
                  </a:lnTo>
                  <a:lnTo>
                    <a:pt x="241306" y="83668"/>
                  </a:lnTo>
                  <a:lnTo>
                    <a:pt x="247491" y="83100"/>
                  </a:lnTo>
                  <a:lnTo>
                    <a:pt x="250354" y="82516"/>
                  </a:lnTo>
                  <a:lnTo>
                    <a:pt x="250715" y="82463"/>
                  </a:lnTo>
                  <a:lnTo>
                    <a:pt x="256650" y="82463"/>
                  </a:lnTo>
                  <a:lnTo>
                    <a:pt x="258322" y="83553"/>
                  </a:lnTo>
                  <a:lnTo>
                    <a:pt x="258029" y="85495"/>
                  </a:lnTo>
                  <a:lnTo>
                    <a:pt x="254153" y="89911"/>
                  </a:lnTo>
                  <a:lnTo>
                    <a:pt x="252533" y="95855"/>
                  </a:lnTo>
                  <a:lnTo>
                    <a:pt x="252533" y="100512"/>
                  </a:lnTo>
                  <a:lnTo>
                    <a:pt x="256751" y="103038"/>
                  </a:lnTo>
                  <a:lnTo>
                    <a:pt x="259431" y="101702"/>
                  </a:lnTo>
                  <a:cubicBezTo>
                    <a:pt x="260236" y="101322"/>
                    <a:pt x="261215" y="101553"/>
                    <a:pt x="261736" y="102286"/>
                  </a:cubicBezTo>
                  <a:lnTo>
                    <a:pt x="265886" y="108235"/>
                  </a:lnTo>
                  <a:lnTo>
                    <a:pt x="266234" y="109131"/>
                  </a:lnTo>
                  <a:lnTo>
                    <a:pt x="266812" y="115678"/>
                  </a:lnTo>
                  <a:cubicBezTo>
                    <a:pt x="266894" y="116483"/>
                    <a:pt x="266422" y="117220"/>
                    <a:pt x="265679" y="117505"/>
                  </a:cubicBezTo>
                  <a:lnTo>
                    <a:pt x="259721" y="119935"/>
                  </a:lnTo>
                  <a:lnTo>
                    <a:pt x="258877" y="120040"/>
                  </a:lnTo>
                  <a:lnTo>
                    <a:pt x="255151" y="119650"/>
                  </a:lnTo>
                  <a:cubicBezTo>
                    <a:pt x="257064" y="137978"/>
                    <a:pt x="267005" y="135375"/>
                    <a:pt x="281158" y="136156"/>
                  </a:cubicBezTo>
                  <a:lnTo>
                    <a:pt x="287121" y="138528"/>
                  </a:lnTo>
                  <a:lnTo>
                    <a:pt x="287502" y="138755"/>
                  </a:lnTo>
                  <a:lnTo>
                    <a:pt x="294044" y="143503"/>
                  </a:lnTo>
                  <a:lnTo>
                    <a:pt x="294637" y="144269"/>
                  </a:lnTo>
                  <a:lnTo>
                    <a:pt x="297626" y="150801"/>
                  </a:lnTo>
                  <a:lnTo>
                    <a:pt x="297674" y="150869"/>
                  </a:lnTo>
                  <a:lnTo>
                    <a:pt x="299805" y="156239"/>
                  </a:lnTo>
                  <a:lnTo>
                    <a:pt x="305228" y="159503"/>
                  </a:lnTo>
                  <a:lnTo>
                    <a:pt x="305975" y="160303"/>
                  </a:lnTo>
                  <a:lnTo>
                    <a:pt x="308935" y="166854"/>
                  </a:lnTo>
                  <a:lnTo>
                    <a:pt x="309094" y="167428"/>
                  </a:lnTo>
                  <a:lnTo>
                    <a:pt x="309581" y="172504"/>
                  </a:lnTo>
                  <a:lnTo>
                    <a:pt x="315318" y="176144"/>
                  </a:lnTo>
                  <a:lnTo>
                    <a:pt x="321001" y="179012"/>
                  </a:lnTo>
                  <a:lnTo>
                    <a:pt x="323195" y="179538"/>
                  </a:lnTo>
                  <a:lnTo>
                    <a:pt x="323272" y="179538"/>
                  </a:lnTo>
                  <a:lnTo>
                    <a:pt x="329231" y="181345"/>
                  </a:lnTo>
                  <a:lnTo>
                    <a:pt x="329987" y="181808"/>
                  </a:lnTo>
                  <a:lnTo>
                    <a:pt x="330575" y="182387"/>
                  </a:lnTo>
                  <a:lnTo>
                    <a:pt x="331009" y="184252"/>
                  </a:lnTo>
                  <a:lnTo>
                    <a:pt x="330421" y="186026"/>
                  </a:lnTo>
                  <a:cubicBezTo>
                    <a:pt x="330108" y="186952"/>
                    <a:pt x="329129" y="187468"/>
                    <a:pt x="328199" y="187207"/>
                  </a:cubicBezTo>
                  <a:lnTo>
                    <a:pt x="324121" y="186070"/>
                  </a:lnTo>
                  <a:lnTo>
                    <a:pt x="317680" y="184893"/>
                  </a:lnTo>
                  <a:lnTo>
                    <a:pt x="316952" y="184580"/>
                  </a:lnTo>
                  <a:lnTo>
                    <a:pt x="310994" y="180429"/>
                  </a:lnTo>
                  <a:lnTo>
                    <a:pt x="310825" y="180256"/>
                  </a:lnTo>
                  <a:lnTo>
                    <a:pt x="304857" y="174900"/>
                  </a:lnTo>
                  <a:lnTo>
                    <a:pt x="304447" y="174380"/>
                  </a:lnTo>
                  <a:cubicBezTo>
                    <a:pt x="301270" y="166927"/>
                    <a:pt x="293258" y="158915"/>
                    <a:pt x="289045" y="150098"/>
                  </a:cubicBezTo>
                  <a:lnTo>
                    <a:pt x="285849" y="144747"/>
                  </a:lnTo>
                  <a:lnTo>
                    <a:pt x="280753" y="143209"/>
                  </a:lnTo>
                  <a:lnTo>
                    <a:pt x="274723" y="142669"/>
                  </a:lnTo>
                  <a:lnTo>
                    <a:pt x="269111" y="144361"/>
                  </a:lnTo>
                  <a:lnTo>
                    <a:pt x="269058" y="144366"/>
                  </a:lnTo>
                  <a:lnTo>
                    <a:pt x="262570" y="146145"/>
                  </a:lnTo>
                  <a:lnTo>
                    <a:pt x="256607" y="147948"/>
                  </a:lnTo>
                  <a:cubicBezTo>
                    <a:pt x="249896" y="148406"/>
                    <a:pt x="242164" y="144043"/>
                    <a:pt x="237507" y="139482"/>
                  </a:cubicBezTo>
                  <a:lnTo>
                    <a:pt x="233086" y="142119"/>
                  </a:lnTo>
                  <a:lnTo>
                    <a:pt x="230454" y="147374"/>
                  </a:lnTo>
                  <a:lnTo>
                    <a:pt x="229331" y="153072"/>
                  </a:lnTo>
                  <a:lnTo>
                    <a:pt x="229220" y="153414"/>
                  </a:lnTo>
                  <a:lnTo>
                    <a:pt x="226868" y="159267"/>
                  </a:lnTo>
                  <a:lnTo>
                    <a:pt x="225233" y="164738"/>
                  </a:lnTo>
                  <a:cubicBezTo>
                    <a:pt x="225638" y="172876"/>
                    <a:pt x="229847" y="177923"/>
                    <a:pt x="231066" y="185588"/>
                  </a:cubicBezTo>
                  <a:lnTo>
                    <a:pt x="230931" y="186865"/>
                  </a:lnTo>
                  <a:lnTo>
                    <a:pt x="230353" y="188070"/>
                  </a:lnTo>
                  <a:lnTo>
                    <a:pt x="230189" y="188326"/>
                  </a:lnTo>
                  <a:lnTo>
                    <a:pt x="225841" y="194328"/>
                  </a:lnTo>
                  <a:lnTo>
                    <a:pt x="226371" y="199553"/>
                  </a:lnTo>
                  <a:lnTo>
                    <a:pt x="226371" y="199756"/>
                  </a:lnTo>
                  <a:lnTo>
                    <a:pt x="226371" y="208110"/>
                  </a:lnTo>
                  <a:lnTo>
                    <a:pt x="225841" y="209363"/>
                  </a:lnTo>
                  <a:lnTo>
                    <a:pt x="225258" y="209966"/>
                  </a:lnTo>
                  <a:lnTo>
                    <a:pt x="223469" y="210410"/>
                  </a:lnTo>
                  <a:lnTo>
                    <a:pt x="222196" y="209108"/>
                  </a:lnTo>
                  <a:lnTo>
                    <a:pt x="221598" y="206731"/>
                  </a:lnTo>
                  <a:lnTo>
                    <a:pt x="221560" y="206495"/>
                  </a:lnTo>
                  <a:lnTo>
                    <a:pt x="220967" y="200532"/>
                  </a:lnTo>
                  <a:lnTo>
                    <a:pt x="220967" y="200363"/>
                  </a:lnTo>
                  <a:lnTo>
                    <a:pt x="220967" y="193793"/>
                  </a:lnTo>
                  <a:lnTo>
                    <a:pt x="221150" y="192978"/>
                  </a:lnTo>
                  <a:lnTo>
                    <a:pt x="223647" y="188032"/>
                  </a:lnTo>
                  <a:lnTo>
                    <a:pt x="219767" y="182724"/>
                  </a:lnTo>
                  <a:lnTo>
                    <a:pt x="214213" y="179943"/>
                  </a:lnTo>
                  <a:lnTo>
                    <a:pt x="213963" y="179784"/>
                  </a:lnTo>
                  <a:lnTo>
                    <a:pt x="208853" y="176057"/>
                  </a:lnTo>
                  <a:lnTo>
                    <a:pt x="205483" y="180241"/>
                  </a:lnTo>
                  <a:lnTo>
                    <a:pt x="205145" y="184040"/>
                  </a:lnTo>
                  <a:lnTo>
                    <a:pt x="208891" y="183693"/>
                  </a:lnTo>
                  <a:lnTo>
                    <a:pt x="210241" y="184060"/>
                  </a:lnTo>
                  <a:lnTo>
                    <a:pt x="210887" y="185337"/>
                  </a:lnTo>
                  <a:lnTo>
                    <a:pt x="211499" y="191855"/>
                  </a:lnTo>
                  <a:lnTo>
                    <a:pt x="211412" y="192559"/>
                  </a:lnTo>
                  <a:lnTo>
                    <a:pt x="209629" y="198517"/>
                  </a:lnTo>
                  <a:lnTo>
                    <a:pt x="208862" y="199505"/>
                  </a:lnTo>
                  <a:lnTo>
                    <a:pt x="202320" y="203661"/>
                  </a:lnTo>
                  <a:cubicBezTo>
                    <a:pt x="201535" y="204167"/>
                    <a:pt x="200484" y="204003"/>
                    <a:pt x="199905" y="203294"/>
                  </a:cubicBezTo>
                  <a:lnTo>
                    <a:pt x="195523" y="197770"/>
                  </a:lnTo>
                  <a:lnTo>
                    <a:pt x="190119" y="196155"/>
                  </a:lnTo>
                  <a:lnTo>
                    <a:pt x="188856" y="194766"/>
                  </a:lnTo>
                  <a:lnTo>
                    <a:pt x="187651" y="188827"/>
                  </a:lnTo>
                  <a:cubicBezTo>
                    <a:pt x="187463" y="187916"/>
                    <a:pt x="188022" y="186976"/>
                    <a:pt x="188933" y="186711"/>
                  </a:cubicBezTo>
                  <a:lnTo>
                    <a:pt x="193908" y="185217"/>
                  </a:lnTo>
                  <a:lnTo>
                    <a:pt x="195142" y="180603"/>
                  </a:lnTo>
                  <a:lnTo>
                    <a:pt x="190476" y="175411"/>
                  </a:lnTo>
                  <a:lnTo>
                    <a:pt x="190322" y="175209"/>
                  </a:lnTo>
                  <a:lnTo>
                    <a:pt x="186171" y="169274"/>
                  </a:lnTo>
                  <a:lnTo>
                    <a:pt x="185843" y="168238"/>
                  </a:lnTo>
                  <a:lnTo>
                    <a:pt x="185843" y="163538"/>
                  </a:lnTo>
                  <a:lnTo>
                    <a:pt x="180801" y="161730"/>
                  </a:lnTo>
                  <a:lnTo>
                    <a:pt x="175329" y="161730"/>
                  </a:lnTo>
                  <a:lnTo>
                    <a:pt x="168942" y="162892"/>
                  </a:lnTo>
                  <a:lnTo>
                    <a:pt x="168773" y="162901"/>
                  </a:lnTo>
                  <a:lnTo>
                    <a:pt x="162333" y="163475"/>
                  </a:lnTo>
                  <a:lnTo>
                    <a:pt x="156466" y="164622"/>
                  </a:lnTo>
                  <a:lnTo>
                    <a:pt x="156437" y="164666"/>
                  </a:lnTo>
                  <a:lnTo>
                    <a:pt x="149900" y="165857"/>
                  </a:lnTo>
                  <a:lnTo>
                    <a:pt x="149211" y="165833"/>
                  </a:lnTo>
                  <a:cubicBezTo>
                    <a:pt x="127913" y="163875"/>
                    <a:pt x="131943" y="160544"/>
                    <a:pt x="115567" y="175276"/>
                  </a:cubicBezTo>
                  <a:lnTo>
                    <a:pt x="117881" y="179923"/>
                  </a:lnTo>
                  <a:cubicBezTo>
                    <a:pt x="118286" y="180762"/>
                    <a:pt x="118006" y="181813"/>
                    <a:pt x="117187" y="182257"/>
                  </a:cubicBezTo>
                  <a:lnTo>
                    <a:pt x="111701" y="185559"/>
                  </a:lnTo>
                  <a:lnTo>
                    <a:pt x="109064" y="190823"/>
                  </a:lnTo>
                  <a:lnTo>
                    <a:pt x="107955" y="196367"/>
                  </a:lnTo>
                  <a:lnTo>
                    <a:pt x="107955" y="202243"/>
                  </a:lnTo>
                  <a:lnTo>
                    <a:pt x="110645" y="206784"/>
                  </a:lnTo>
                  <a:lnTo>
                    <a:pt x="115466" y="206283"/>
                  </a:lnTo>
                  <a:lnTo>
                    <a:pt x="115832" y="206283"/>
                  </a:lnTo>
                  <a:lnTo>
                    <a:pt x="121786" y="206876"/>
                  </a:lnTo>
                  <a:lnTo>
                    <a:pt x="122070" y="206943"/>
                  </a:lnTo>
                  <a:lnTo>
                    <a:pt x="128646" y="208703"/>
                  </a:lnTo>
                  <a:lnTo>
                    <a:pt x="129156" y="209007"/>
                  </a:lnTo>
                  <a:lnTo>
                    <a:pt x="134493" y="212540"/>
                  </a:lnTo>
                  <a:cubicBezTo>
                    <a:pt x="135303" y="213042"/>
                    <a:pt x="135558" y="214088"/>
                    <a:pt x="135120" y="214888"/>
                  </a:cubicBezTo>
                  <a:cubicBezTo>
                    <a:pt x="134676" y="215708"/>
                    <a:pt x="133688" y="216103"/>
                    <a:pt x="132849" y="215736"/>
                  </a:cubicBezTo>
                  <a:lnTo>
                    <a:pt x="128135" y="213885"/>
                  </a:lnTo>
                  <a:lnTo>
                    <a:pt x="124264" y="218696"/>
                  </a:lnTo>
                  <a:lnTo>
                    <a:pt x="121925" y="222206"/>
                  </a:lnTo>
                  <a:lnTo>
                    <a:pt x="120354" y="222876"/>
                  </a:lnTo>
                  <a:lnTo>
                    <a:pt x="121063" y="229254"/>
                  </a:lnTo>
                  <a:cubicBezTo>
                    <a:pt x="121063" y="229254"/>
                    <a:pt x="120687" y="232493"/>
                    <a:pt x="119288" y="237381"/>
                  </a:cubicBezTo>
                  <a:cubicBezTo>
                    <a:pt x="126018" y="260135"/>
                    <a:pt x="109705" y="273561"/>
                    <a:pt x="109705" y="273561"/>
                  </a:cubicBezTo>
                  <a:lnTo>
                    <a:pt x="107521" y="281544"/>
                  </a:lnTo>
                  <a:lnTo>
                    <a:pt x="105863" y="290457"/>
                  </a:lnTo>
                  <a:lnTo>
                    <a:pt x="104793" y="302374"/>
                  </a:lnTo>
                  <a:lnTo>
                    <a:pt x="92153" y="299390"/>
                  </a:lnTo>
                  <a:cubicBezTo>
                    <a:pt x="92153" y="299390"/>
                    <a:pt x="91381" y="299149"/>
                    <a:pt x="84146" y="299390"/>
                  </a:cubicBezTo>
                  <a:cubicBezTo>
                    <a:pt x="76910" y="299670"/>
                    <a:pt x="79103" y="307788"/>
                    <a:pt x="79103" y="307788"/>
                  </a:cubicBezTo>
                  <a:lnTo>
                    <a:pt x="76910" y="313712"/>
                  </a:lnTo>
                  <a:lnTo>
                    <a:pt x="76910" y="318634"/>
                  </a:lnTo>
                  <a:lnTo>
                    <a:pt x="82878" y="324954"/>
                  </a:lnTo>
                  <a:lnTo>
                    <a:pt x="94211" y="328049"/>
                  </a:lnTo>
                  <a:cubicBezTo>
                    <a:pt x="94211" y="328049"/>
                    <a:pt x="95633" y="328729"/>
                    <a:pt x="98381" y="327794"/>
                  </a:cubicBezTo>
                  <a:cubicBezTo>
                    <a:pt x="101071" y="326878"/>
                    <a:pt x="103901" y="332190"/>
                    <a:pt x="105077" y="336061"/>
                  </a:cubicBezTo>
                  <a:cubicBezTo>
                    <a:pt x="106234" y="339942"/>
                    <a:pt x="105588" y="341586"/>
                    <a:pt x="103385" y="345356"/>
                  </a:cubicBezTo>
                  <a:cubicBezTo>
                    <a:pt x="101182" y="349092"/>
                    <a:pt x="103284" y="354640"/>
                    <a:pt x="103284" y="354640"/>
                  </a:cubicBezTo>
                  <a:lnTo>
                    <a:pt x="97841" y="358015"/>
                  </a:lnTo>
                  <a:lnTo>
                    <a:pt x="91121" y="362517"/>
                  </a:lnTo>
                  <a:lnTo>
                    <a:pt x="87906" y="369527"/>
                  </a:lnTo>
                  <a:lnTo>
                    <a:pt x="79363" y="370669"/>
                  </a:lnTo>
                  <a:lnTo>
                    <a:pt x="74215" y="376338"/>
                  </a:lnTo>
                  <a:cubicBezTo>
                    <a:pt x="74215" y="376338"/>
                    <a:pt x="77189" y="382031"/>
                    <a:pt x="81562" y="386042"/>
                  </a:cubicBezTo>
                  <a:cubicBezTo>
                    <a:pt x="85958" y="390053"/>
                    <a:pt x="81957" y="394045"/>
                    <a:pt x="80660" y="395356"/>
                  </a:cubicBezTo>
                  <a:cubicBezTo>
                    <a:pt x="79363" y="396653"/>
                    <a:pt x="76143" y="402052"/>
                    <a:pt x="71747" y="399213"/>
                  </a:cubicBezTo>
                  <a:cubicBezTo>
                    <a:pt x="67389" y="396368"/>
                    <a:pt x="56378" y="403089"/>
                    <a:pt x="56378" y="403089"/>
                  </a:cubicBezTo>
                  <a:lnTo>
                    <a:pt x="50709" y="402707"/>
                  </a:lnTo>
                  <a:lnTo>
                    <a:pt x="44760" y="404646"/>
                  </a:lnTo>
                  <a:lnTo>
                    <a:pt x="37650" y="400900"/>
                  </a:lnTo>
                  <a:lnTo>
                    <a:pt x="32950" y="401609"/>
                  </a:lnTo>
                  <a:lnTo>
                    <a:pt x="27396" y="396079"/>
                  </a:lnTo>
                  <a:lnTo>
                    <a:pt x="28934" y="405210"/>
                  </a:lnTo>
                  <a:lnTo>
                    <a:pt x="20546" y="401493"/>
                  </a:lnTo>
                  <a:cubicBezTo>
                    <a:pt x="20546" y="401493"/>
                    <a:pt x="15624" y="405759"/>
                    <a:pt x="13556" y="405499"/>
                  </a:cubicBezTo>
                  <a:cubicBezTo>
                    <a:pt x="11488" y="405210"/>
                    <a:pt x="10982" y="407687"/>
                    <a:pt x="12785" y="409866"/>
                  </a:cubicBezTo>
                  <a:cubicBezTo>
                    <a:pt x="14592" y="412036"/>
                    <a:pt x="13286" y="412735"/>
                    <a:pt x="11768" y="415290"/>
                  </a:cubicBezTo>
                  <a:cubicBezTo>
                    <a:pt x="10205" y="417883"/>
                    <a:pt x="17822" y="421113"/>
                    <a:pt x="17822" y="421113"/>
                  </a:cubicBezTo>
                  <a:lnTo>
                    <a:pt x="17822" y="426806"/>
                  </a:lnTo>
                  <a:lnTo>
                    <a:pt x="22609" y="429761"/>
                  </a:lnTo>
                  <a:lnTo>
                    <a:pt x="21568" y="435725"/>
                  </a:lnTo>
                  <a:cubicBezTo>
                    <a:pt x="21568" y="435725"/>
                    <a:pt x="23361" y="439851"/>
                    <a:pt x="28534" y="446171"/>
                  </a:cubicBezTo>
                  <a:cubicBezTo>
                    <a:pt x="33697" y="452510"/>
                    <a:pt x="28534" y="458570"/>
                    <a:pt x="30231" y="462716"/>
                  </a:cubicBezTo>
                  <a:cubicBezTo>
                    <a:pt x="31889" y="466828"/>
                    <a:pt x="27116" y="473929"/>
                    <a:pt x="23332" y="477607"/>
                  </a:cubicBezTo>
                  <a:cubicBezTo>
                    <a:pt x="19543" y="481343"/>
                    <a:pt x="18092" y="484028"/>
                    <a:pt x="17437" y="485947"/>
                  </a:cubicBezTo>
                  <a:cubicBezTo>
                    <a:pt x="16805" y="487875"/>
                    <a:pt x="17437" y="489808"/>
                    <a:pt x="21423" y="490724"/>
                  </a:cubicBezTo>
                  <a:cubicBezTo>
                    <a:pt x="25439" y="491635"/>
                    <a:pt x="23361" y="498071"/>
                    <a:pt x="21047" y="498500"/>
                  </a:cubicBezTo>
                  <a:cubicBezTo>
                    <a:pt x="12534" y="500939"/>
                    <a:pt x="5934" y="511482"/>
                    <a:pt x="5934" y="511482"/>
                  </a:cubicBezTo>
                  <a:lnTo>
                    <a:pt x="0" y="508691"/>
                  </a:lnTo>
                  <a:lnTo>
                    <a:pt x="1172" y="516038"/>
                  </a:lnTo>
                  <a:lnTo>
                    <a:pt x="7106" y="518747"/>
                  </a:lnTo>
                  <a:lnTo>
                    <a:pt x="10986" y="525433"/>
                  </a:lnTo>
                  <a:lnTo>
                    <a:pt x="14597" y="527511"/>
                  </a:lnTo>
                  <a:lnTo>
                    <a:pt x="15904" y="532949"/>
                  </a:lnTo>
                  <a:lnTo>
                    <a:pt x="10355" y="537866"/>
                  </a:lnTo>
                  <a:cubicBezTo>
                    <a:pt x="10355" y="537866"/>
                    <a:pt x="10215" y="544456"/>
                    <a:pt x="10104" y="548283"/>
                  </a:cubicBezTo>
                  <a:cubicBezTo>
                    <a:pt x="10794" y="548476"/>
                    <a:pt x="11497" y="548708"/>
                    <a:pt x="12144" y="549045"/>
                  </a:cubicBezTo>
                  <a:cubicBezTo>
                    <a:pt x="11497" y="548708"/>
                    <a:pt x="10789" y="548476"/>
                    <a:pt x="10104" y="548283"/>
                  </a:cubicBezTo>
                  <a:cubicBezTo>
                    <a:pt x="10104" y="548476"/>
                    <a:pt x="10104" y="548683"/>
                    <a:pt x="10085" y="548857"/>
                  </a:cubicBezTo>
                  <a:cubicBezTo>
                    <a:pt x="9950" y="552564"/>
                    <a:pt x="11637" y="554806"/>
                    <a:pt x="13300" y="553866"/>
                  </a:cubicBezTo>
                  <a:cubicBezTo>
                    <a:pt x="17837" y="550911"/>
                    <a:pt x="21337" y="560595"/>
                    <a:pt x="21337" y="560595"/>
                  </a:cubicBezTo>
                  <a:lnTo>
                    <a:pt x="22093" y="567349"/>
                  </a:lnTo>
                  <a:lnTo>
                    <a:pt x="26861" y="567581"/>
                  </a:lnTo>
                  <a:lnTo>
                    <a:pt x="28548" y="569094"/>
                  </a:lnTo>
                  <a:lnTo>
                    <a:pt x="22860" y="575429"/>
                  </a:lnTo>
                  <a:lnTo>
                    <a:pt x="24031" y="581517"/>
                  </a:lnTo>
                  <a:lnTo>
                    <a:pt x="35924" y="585412"/>
                  </a:lnTo>
                  <a:lnTo>
                    <a:pt x="38238" y="591964"/>
                  </a:lnTo>
                  <a:lnTo>
                    <a:pt x="35283" y="599311"/>
                  </a:lnTo>
                  <a:lnTo>
                    <a:pt x="39660" y="606710"/>
                  </a:lnTo>
                  <a:lnTo>
                    <a:pt x="33470" y="608142"/>
                  </a:lnTo>
                  <a:lnTo>
                    <a:pt x="28814" y="614452"/>
                  </a:lnTo>
                  <a:lnTo>
                    <a:pt x="24031" y="616000"/>
                  </a:lnTo>
                  <a:lnTo>
                    <a:pt x="17205" y="627762"/>
                  </a:lnTo>
                  <a:lnTo>
                    <a:pt x="16029" y="632130"/>
                  </a:lnTo>
                  <a:lnTo>
                    <a:pt x="19133" y="638455"/>
                  </a:lnTo>
                  <a:lnTo>
                    <a:pt x="16029" y="632130"/>
                  </a:lnTo>
                  <a:lnTo>
                    <a:pt x="14086" y="639385"/>
                  </a:lnTo>
                  <a:lnTo>
                    <a:pt x="15378" y="649451"/>
                  </a:lnTo>
                  <a:lnTo>
                    <a:pt x="21968" y="659126"/>
                  </a:lnTo>
                  <a:lnTo>
                    <a:pt x="24031" y="664684"/>
                  </a:lnTo>
                  <a:lnTo>
                    <a:pt x="38373" y="676157"/>
                  </a:lnTo>
                  <a:lnTo>
                    <a:pt x="44071" y="675531"/>
                  </a:lnTo>
                  <a:lnTo>
                    <a:pt x="46255" y="682627"/>
                  </a:lnTo>
                  <a:lnTo>
                    <a:pt x="44977" y="686614"/>
                  </a:lnTo>
                  <a:lnTo>
                    <a:pt x="45859" y="690504"/>
                  </a:lnTo>
                  <a:lnTo>
                    <a:pt x="40827" y="693093"/>
                  </a:lnTo>
                  <a:lnTo>
                    <a:pt x="37852" y="699157"/>
                  </a:lnTo>
                  <a:cubicBezTo>
                    <a:pt x="37852" y="699157"/>
                    <a:pt x="33360" y="702652"/>
                    <a:pt x="33360" y="706007"/>
                  </a:cubicBezTo>
                  <a:cubicBezTo>
                    <a:pt x="33360" y="709382"/>
                    <a:pt x="32284" y="711055"/>
                    <a:pt x="31397" y="713764"/>
                  </a:cubicBezTo>
                  <a:cubicBezTo>
                    <a:pt x="30915" y="715220"/>
                    <a:pt x="30949" y="718903"/>
                    <a:pt x="31099" y="722002"/>
                  </a:cubicBezTo>
                  <a:lnTo>
                    <a:pt x="31667" y="722393"/>
                  </a:lnTo>
                  <a:lnTo>
                    <a:pt x="39028" y="721906"/>
                  </a:lnTo>
                  <a:lnTo>
                    <a:pt x="45729" y="725888"/>
                  </a:lnTo>
                  <a:lnTo>
                    <a:pt x="48439" y="732328"/>
                  </a:lnTo>
                  <a:cubicBezTo>
                    <a:pt x="48439" y="732328"/>
                    <a:pt x="49084" y="735322"/>
                    <a:pt x="48959" y="737805"/>
                  </a:cubicBezTo>
                  <a:cubicBezTo>
                    <a:pt x="48839" y="740220"/>
                    <a:pt x="52059" y="743710"/>
                    <a:pt x="53230" y="744221"/>
                  </a:cubicBezTo>
                  <a:cubicBezTo>
                    <a:pt x="54392" y="744747"/>
                    <a:pt x="55298" y="746304"/>
                    <a:pt x="55549" y="748999"/>
                  </a:cubicBezTo>
                  <a:cubicBezTo>
                    <a:pt x="55809" y="751741"/>
                    <a:pt x="57237" y="752498"/>
                    <a:pt x="59044" y="754431"/>
                  </a:cubicBezTo>
                  <a:cubicBezTo>
                    <a:pt x="60861" y="756369"/>
                    <a:pt x="60958" y="757387"/>
                    <a:pt x="60958" y="759965"/>
                  </a:cubicBezTo>
                  <a:cubicBezTo>
                    <a:pt x="60958" y="762554"/>
                    <a:pt x="64328" y="762964"/>
                    <a:pt x="65875" y="764097"/>
                  </a:cubicBezTo>
                  <a:cubicBezTo>
                    <a:pt x="67408" y="765249"/>
                    <a:pt x="68594" y="764791"/>
                    <a:pt x="69751" y="760761"/>
                  </a:cubicBezTo>
                  <a:cubicBezTo>
                    <a:pt x="70927" y="756760"/>
                    <a:pt x="73256" y="757926"/>
                    <a:pt x="77242" y="756890"/>
                  </a:cubicBezTo>
                  <a:cubicBezTo>
                    <a:pt x="81258" y="755868"/>
                    <a:pt x="83047" y="759965"/>
                    <a:pt x="85505" y="760115"/>
                  </a:cubicBezTo>
                  <a:cubicBezTo>
                    <a:pt x="87973" y="760236"/>
                    <a:pt x="88475" y="765803"/>
                    <a:pt x="88475" y="768633"/>
                  </a:cubicBezTo>
                  <a:cubicBezTo>
                    <a:pt x="88475" y="771477"/>
                    <a:pt x="91969" y="771342"/>
                    <a:pt x="94549" y="769139"/>
                  </a:cubicBezTo>
                  <a:cubicBezTo>
                    <a:pt x="97133" y="766965"/>
                    <a:pt x="101519" y="769940"/>
                    <a:pt x="101519" y="769940"/>
                  </a:cubicBezTo>
                  <a:cubicBezTo>
                    <a:pt x="101519" y="769940"/>
                    <a:pt x="103833" y="770711"/>
                    <a:pt x="106046" y="770711"/>
                  </a:cubicBezTo>
                  <a:cubicBezTo>
                    <a:pt x="108230" y="770711"/>
                    <a:pt x="113398" y="769139"/>
                    <a:pt x="115982" y="766459"/>
                  </a:cubicBezTo>
                  <a:cubicBezTo>
                    <a:pt x="118560" y="763740"/>
                    <a:pt x="119351" y="764887"/>
                    <a:pt x="122562" y="764887"/>
                  </a:cubicBezTo>
                  <a:cubicBezTo>
                    <a:pt x="125801" y="764887"/>
                    <a:pt x="131880" y="775228"/>
                    <a:pt x="131880" y="775228"/>
                  </a:cubicBezTo>
                  <a:lnTo>
                    <a:pt x="138195" y="777325"/>
                  </a:lnTo>
                  <a:lnTo>
                    <a:pt x="141695" y="781167"/>
                  </a:lnTo>
                  <a:cubicBezTo>
                    <a:pt x="141695" y="781167"/>
                    <a:pt x="147880" y="781943"/>
                    <a:pt x="151901" y="781066"/>
                  </a:cubicBezTo>
                  <a:cubicBezTo>
                    <a:pt x="155902" y="780140"/>
                    <a:pt x="156668" y="780637"/>
                    <a:pt x="158221" y="782218"/>
                  </a:cubicBezTo>
                  <a:cubicBezTo>
                    <a:pt x="159758" y="783761"/>
                    <a:pt x="161947" y="783355"/>
                    <a:pt x="165061" y="782218"/>
                  </a:cubicBezTo>
                  <a:cubicBezTo>
                    <a:pt x="168156" y="781066"/>
                    <a:pt x="170745" y="784768"/>
                    <a:pt x="170745" y="784768"/>
                  </a:cubicBezTo>
                  <a:cubicBezTo>
                    <a:pt x="170745" y="784768"/>
                    <a:pt x="184571" y="790852"/>
                    <a:pt x="191768" y="793026"/>
                  </a:cubicBezTo>
                  <a:cubicBezTo>
                    <a:pt x="181273" y="799110"/>
                    <a:pt x="179793" y="814126"/>
                    <a:pt x="179793" y="814126"/>
                  </a:cubicBezTo>
                  <a:cubicBezTo>
                    <a:pt x="179793" y="814126"/>
                    <a:pt x="178091" y="816402"/>
                    <a:pt x="172413" y="819776"/>
                  </a:cubicBezTo>
                  <a:cubicBezTo>
                    <a:pt x="166850" y="828931"/>
                    <a:pt x="155622" y="836186"/>
                    <a:pt x="155622" y="836186"/>
                  </a:cubicBezTo>
                  <a:lnTo>
                    <a:pt x="153949" y="841363"/>
                  </a:lnTo>
                  <a:cubicBezTo>
                    <a:pt x="153949" y="841363"/>
                    <a:pt x="152899" y="845331"/>
                    <a:pt x="152899" y="847534"/>
                  </a:cubicBezTo>
                  <a:cubicBezTo>
                    <a:pt x="152899" y="849756"/>
                    <a:pt x="147384" y="868730"/>
                    <a:pt x="147384" y="868730"/>
                  </a:cubicBezTo>
                  <a:lnTo>
                    <a:pt x="148141" y="874669"/>
                  </a:lnTo>
                  <a:lnTo>
                    <a:pt x="142973" y="880353"/>
                  </a:lnTo>
                  <a:lnTo>
                    <a:pt x="142973" y="885516"/>
                  </a:lnTo>
                  <a:lnTo>
                    <a:pt x="134570" y="899183"/>
                  </a:lnTo>
                  <a:cubicBezTo>
                    <a:pt x="134570" y="899183"/>
                    <a:pt x="134570" y="900475"/>
                    <a:pt x="132116" y="905517"/>
                  </a:cubicBezTo>
                  <a:cubicBezTo>
                    <a:pt x="129672" y="910555"/>
                    <a:pt x="130969" y="915988"/>
                    <a:pt x="133678" y="918581"/>
                  </a:cubicBezTo>
                  <a:cubicBezTo>
                    <a:pt x="136397" y="921151"/>
                    <a:pt x="134570" y="926179"/>
                    <a:pt x="133148" y="929182"/>
                  </a:cubicBezTo>
                  <a:cubicBezTo>
                    <a:pt x="127330" y="939735"/>
                    <a:pt x="126442" y="947747"/>
                    <a:pt x="127108" y="951622"/>
                  </a:cubicBezTo>
                  <a:cubicBezTo>
                    <a:pt x="127744" y="955498"/>
                    <a:pt x="126312" y="956004"/>
                    <a:pt x="125141" y="958955"/>
                  </a:cubicBezTo>
                  <a:cubicBezTo>
                    <a:pt x="124003" y="961944"/>
                    <a:pt x="125536" y="966475"/>
                    <a:pt x="128757" y="969951"/>
                  </a:cubicBezTo>
                  <a:cubicBezTo>
                    <a:pt x="131066" y="972443"/>
                    <a:pt x="131099" y="973870"/>
                    <a:pt x="130294" y="976208"/>
                  </a:cubicBezTo>
                  <a:lnTo>
                    <a:pt x="130583" y="976169"/>
                  </a:lnTo>
                  <a:cubicBezTo>
                    <a:pt x="130579" y="976189"/>
                    <a:pt x="137810" y="972679"/>
                    <a:pt x="136002" y="97538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57" name="Freihandform: Form 656">
              <a:extLst>
                <a:ext uri="{FF2B5EF4-FFF2-40B4-BE49-F238E27FC236}">
                  <a16:creationId xmlns:a16="http://schemas.microsoft.com/office/drawing/2014/main" id="{399037F6-B87A-163A-C923-5C6A20BBA650}"/>
                </a:ext>
              </a:extLst>
            </p:cNvPr>
            <p:cNvSpPr/>
            <p:nvPr/>
          </p:nvSpPr>
          <p:spPr>
            <a:xfrm>
              <a:off x="5265868" y="2860646"/>
              <a:ext cx="11111" cy="7938"/>
            </a:xfrm>
            <a:custGeom>
              <a:avLst/>
              <a:gdLst>
                <a:gd name="connsiteX0" fmla="*/ 9530 w 9530"/>
                <a:gd name="connsiteY0" fmla="*/ 0 h 6575"/>
                <a:gd name="connsiteX1" fmla="*/ 5949 w 9530"/>
                <a:gd name="connsiteY1" fmla="*/ 1215 h 6575"/>
                <a:gd name="connsiteX2" fmla="*/ 0 w 9530"/>
                <a:gd name="connsiteY2" fmla="*/ 5934 h 6575"/>
                <a:gd name="connsiteX3" fmla="*/ 5949 w 9530"/>
                <a:gd name="connsiteY3" fmla="*/ 6575 h 6575"/>
              </a:gdLst>
              <a:ahLst/>
              <a:cxnLst>
                <a:cxn ang="0">
                  <a:pos x="connsiteX0" y="connsiteY0"/>
                </a:cxn>
                <a:cxn ang="0">
                  <a:pos x="connsiteX1" y="connsiteY1"/>
                </a:cxn>
                <a:cxn ang="0">
                  <a:pos x="connsiteX2" y="connsiteY2"/>
                </a:cxn>
                <a:cxn ang="0">
                  <a:pos x="connsiteX3" y="connsiteY3"/>
                </a:cxn>
              </a:cxnLst>
              <a:rect l="l" t="t" r="r" b="b"/>
              <a:pathLst>
                <a:path w="9530" h="6575">
                  <a:moveTo>
                    <a:pt x="9530" y="0"/>
                  </a:moveTo>
                  <a:lnTo>
                    <a:pt x="5949" y="1215"/>
                  </a:lnTo>
                  <a:lnTo>
                    <a:pt x="0" y="5934"/>
                  </a:lnTo>
                  <a:lnTo>
                    <a:pt x="5949" y="657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59" name="Freihandform: Form 658">
              <a:extLst>
                <a:ext uri="{FF2B5EF4-FFF2-40B4-BE49-F238E27FC236}">
                  <a16:creationId xmlns:a16="http://schemas.microsoft.com/office/drawing/2014/main" id="{2A87AA3F-70B9-2F30-1970-11C1C1A28073}"/>
                </a:ext>
              </a:extLst>
            </p:cNvPr>
            <p:cNvSpPr/>
            <p:nvPr/>
          </p:nvSpPr>
          <p:spPr>
            <a:xfrm>
              <a:off x="8538923" y="6202460"/>
              <a:ext cx="282543" cy="246071"/>
            </a:xfrm>
            <a:custGeom>
              <a:avLst/>
              <a:gdLst>
                <a:gd name="connsiteX0" fmla="*/ 219665 w 220454"/>
                <a:gd name="connsiteY0" fmla="*/ 2 h 193317"/>
                <a:gd name="connsiteX1" fmla="*/ 188890 w 220454"/>
                <a:gd name="connsiteY1" fmla="*/ 27384 h 193317"/>
                <a:gd name="connsiteX2" fmla="*/ 183852 w 220454"/>
                <a:gd name="connsiteY2" fmla="*/ 29245 h 193317"/>
                <a:gd name="connsiteX3" fmla="*/ 150768 w 220454"/>
                <a:gd name="connsiteY3" fmla="*/ 58126 h 193317"/>
                <a:gd name="connsiteX4" fmla="*/ 135202 w 220454"/>
                <a:gd name="connsiteY4" fmla="*/ 69913 h 193317"/>
                <a:gd name="connsiteX5" fmla="*/ 124775 w 220454"/>
                <a:gd name="connsiteY5" fmla="*/ 75046 h 193317"/>
                <a:gd name="connsiteX6" fmla="*/ 91449 w 220454"/>
                <a:gd name="connsiteY6" fmla="*/ 82966 h 193317"/>
                <a:gd name="connsiteX7" fmla="*/ 64419 w 220454"/>
                <a:gd name="connsiteY7" fmla="*/ 88323 h 193317"/>
                <a:gd name="connsiteX8" fmla="*/ 58316 w 220454"/>
                <a:gd name="connsiteY8" fmla="*/ 90232 h 193317"/>
                <a:gd name="connsiteX9" fmla="*/ 62361 w 220454"/>
                <a:gd name="connsiteY9" fmla="*/ 116904 h 193317"/>
                <a:gd name="connsiteX10" fmla="*/ 57010 w 220454"/>
                <a:gd name="connsiteY10" fmla="*/ 122424 h 193317"/>
                <a:gd name="connsiteX11" fmla="*/ 42475 w 220454"/>
                <a:gd name="connsiteY11" fmla="*/ 120848 h 193317"/>
                <a:gd name="connsiteX12" fmla="*/ 39964 w 220454"/>
                <a:gd name="connsiteY12" fmla="*/ 121793 h 193317"/>
                <a:gd name="connsiteX13" fmla="*/ 30973 w 220454"/>
                <a:gd name="connsiteY13" fmla="*/ 125244 h 193317"/>
                <a:gd name="connsiteX14" fmla="*/ 19929 w 220454"/>
                <a:gd name="connsiteY14" fmla="*/ 142580 h 193317"/>
                <a:gd name="connsiteX15" fmla="*/ 15238 w 220454"/>
                <a:gd name="connsiteY15" fmla="*/ 148461 h 193317"/>
                <a:gd name="connsiteX16" fmla="*/ 7284 w 220454"/>
                <a:gd name="connsiteY16" fmla="*/ 148461 h 193317"/>
                <a:gd name="connsiteX17" fmla="*/ 0 w 220454"/>
                <a:gd name="connsiteY17" fmla="*/ 144373 h 193317"/>
                <a:gd name="connsiteX18" fmla="*/ 882 w 220454"/>
                <a:gd name="connsiteY18" fmla="*/ 151662 h 193317"/>
                <a:gd name="connsiteX19" fmla="*/ 9661 w 220454"/>
                <a:gd name="connsiteY19" fmla="*/ 163617 h 193317"/>
                <a:gd name="connsiteX20" fmla="*/ 13098 w 220454"/>
                <a:gd name="connsiteY20" fmla="*/ 170877 h 193317"/>
                <a:gd name="connsiteX21" fmla="*/ 21091 w 220454"/>
                <a:gd name="connsiteY21" fmla="*/ 175934 h 193317"/>
                <a:gd name="connsiteX22" fmla="*/ 42104 w 220454"/>
                <a:gd name="connsiteY22" fmla="*/ 188641 h 193317"/>
                <a:gd name="connsiteX23" fmla="*/ 54214 w 220454"/>
                <a:gd name="connsiteY23" fmla="*/ 190734 h 193317"/>
                <a:gd name="connsiteX24" fmla="*/ 67244 w 220454"/>
                <a:gd name="connsiteY24" fmla="*/ 187407 h 193317"/>
                <a:gd name="connsiteX25" fmla="*/ 83538 w 220454"/>
                <a:gd name="connsiteY25" fmla="*/ 183787 h 193317"/>
                <a:gd name="connsiteX26" fmla="*/ 85895 w 220454"/>
                <a:gd name="connsiteY26" fmla="*/ 188473 h 193317"/>
                <a:gd name="connsiteX27" fmla="*/ 92148 w 220454"/>
                <a:gd name="connsiteY27" fmla="*/ 193318 h 193317"/>
                <a:gd name="connsiteX28" fmla="*/ 98160 w 220454"/>
                <a:gd name="connsiteY28" fmla="*/ 191182 h 193317"/>
                <a:gd name="connsiteX29" fmla="*/ 95542 w 220454"/>
                <a:gd name="connsiteY29" fmla="*/ 188381 h 193317"/>
                <a:gd name="connsiteX30" fmla="*/ 110722 w 220454"/>
                <a:gd name="connsiteY30" fmla="*/ 168578 h 193317"/>
                <a:gd name="connsiteX31" fmla="*/ 134377 w 220454"/>
                <a:gd name="connsiteY31" fmla="*/ 152819 h 193317"/>
                <a:gd name="connsiteX32" fmla="*/ 140644 w 220454"/>
                <a:gd name="connsiteY32" fmla="*/ 149758 h 193317"/>
                <a:gd name="connsiteX33" fmla="*/ 150049 w 220454"/>
                <a:gd name="connsiteY33" fmla="*/ 138303 h 193317"/>
                <a:gd name="connsiteX34" fmla="*/ 151549 w 220454"/>
                <a:gd name="connsiteY34" fmla="*/ 123548 h 193317"/>
                <a:gd name="connsiteX35" fmla="*/ 169506 w 220454"/>
                <a:gd name="connsiteY35" fmla="*/ 116403 h 193317"/>
                <a:gd name="connsiteX36" fmla="*/ 176448 w 220454"/>
                <a:gd name="connsiteY36" fmla="*/ 113607 h 193317"/>
                <a:gd name="connsiteX37" fmla="*/ 188008 w 220454"/>
                <a:gd name="connsiteY37" fmla="*/ 107649 h 193317"/>
                <a:gd name="connsiteX38" fmla="*/ 192833 w 220454"/>
                <a:gd name="connsiteY38" fmla="*/ 102327 h 193317"/>
                <a:gd name="connsiteX39" fmla="*/ 169940 w 220454"/>
                <a:gd name="connsiteY39" fmla="*/ 87392 h 193317"/>
                <a:gd name="connsiteX40" fmla="*/ 169732 w 220454"/>
                <a:gd name="connsiteY40" fmla="*/ 66480 h 193317"/>
                <a:gd name="connsiteX41" fmla="*/ 181712 w 220454"/>
                <a:gd name="connsiteY41" fmla="*/ 53338 h 193317"/>
                <a:gd name="connsiteX42" fmla="*/ 198474 w 220454"/>
                <a:gd name="connsiteY42" fmla="*/ 34259 h 193317"/>
                <a:gd name="connsiteX43" fmla="*/ 203921 w 220454"/>
                <a:gd name="connsiteY43" fmla="*/ 25668 h 193317"/>
                <a:gd name="connsiteX44" fmla="*/ 208766 w 220454"/>
                <a:gd name="connsiteY44" fmla="*/ 19348 h 193317"/>
                <a:gd name="connsiteX45" fmla="*/ 216985 w 220454"/>
                <a:gd name="connsiteY45" fmla="*/ 7783 h 193317"/>
                <a:gd name="connsiteX46" fmla="*/ 219665 w 220454"/>
                <a:gd name="connsiteY46" fmla="*/ 2 h 193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20454" h="193317">
                  <a:moveTo>
                    <a:pt x="219665" y="2"/>
                  </a:moveTo>
                  <a:cubicBezTo>
                    <a:pt x="212748" y="1357"/>
                    <a:pt x="188890" y="27384"/>
                    <a:pt x="188890" y="27384"/>
                  </a:cubicBezTo>
                  <a:cubicBezTo>
                    <a:pt x="188890" y="27384"/>
                    <a:pt x="186489" y="28671"/>
                    <a:pt x="183852" y="29245"/>
                  </a:cubicBezTo>
                  <a:cubicBezTo>
                    <a:pt x="167780" y="51338"/>
                    <a:pt x="157247" y="55662"/>
                    <a:pt x="150768" y="58126"/>
                  </a:cubicBezTo>
                  <a:cubicBezTo>
                    <a:pt x="144250" y="60531"/>
                    <a:pt x="138181" y="66350"/>
                    <a:pt x="135202" y="69913"/>
                  </a:cubicBezTo>
                  <a:cubicBezTo>
                    <a:pt x="132883" y="70375"/>
                    <a:pt x="127599" y="72742"/>
                    <a:pt x="124775" y="75046"/>
                  </a:cubicBezTo>
                  <a:cubicBezTo>
                    <a:pt x="117307" y="80494"/>
                    <a:pt x="99620" y="83815"/>
                    <a:pt x="91449" y="82966"/>
                  </a:cubicBezTo>
                  <a:cubicBezTo>
                    <a:pt x="87404" y="85314"/>
                    <a:pt x="71009" y="87730"/>
                    <a:pt x="64419" y="88323"/>
                  </a:cubicBezTo>
                  <a:lnTo>
                    <a:pt x="58316" y="90232"/>
                  </a:lnTo>
                  <a:cubicBezTo>
                    <a:pt x="65711" y="100828"/>
                    <a:pt x="62361" y="116904"/>
                    <a:pt x="62361" y="116904"/>
                  </a:cubicBezTo>
                  <a:lnTo>
                    <a:pt x="57010" y="122424"/>
                  </a:lnTo>
                  <a:lnTo>
                    <a:pt x="42475" y="120848"/>
                  </a:lnTo>
                  <a:cubicBezTo>
                    <a:pt x="42475" y="120848"/>
                    <a:pt x="41593" y="121171"/>
                    <a:pt x="39964" y="121793"/>
                  </a:cubicBezTo>
                  <a:cubicBezTo>
                    <a:pt x="32805" y="121378"/>
                    <a:pt x="32516" y="122800"/>
                    <a:pt x="30973" y="125244"/>
                  </a:cubicBezTo>
                  <a:cubicBezTo>
                    <a:pt x="24769" y="125215"/>
                    <a:pt x="19929" y="142580"/>
                    <a:pt x="19929" y="142580"/>
                  </a:cubicBezTo>
                  <a:lnTo>
                    <a:pt x="15238" y="148461"/>
                  </a:lnTo>
                  <a:lnTo>
                    <a:pt x="7284" y="148461"/>
                  </a:lnTo>
                  <a:cubicBezTo>
                    <a:pt x="7284" y="148461"/>
                    <a:pt x="4744" y="147126"/>
                    <a:pt x="0" y="144373"/>
                  </a:cubicBezTo>
                  <a:cubicBezTo>
                    <a:pt x="0" y="144373"/>
                    <a:pt x="280" y="147333"/>
                    <a:pt x="882" y="151662"/>
                  </a:cubicBezTo>
                  <a:cubicBezTo>
                    <a:pt x="5120" y="154747"/>
                    <a:pt x="9159" y="161944"/>
                    <a:pt x="9661" y="163617"/>
                  </a:cubicBezTo>
                  <a:cubicBezTo>
                    <a:pt x="10201" y="165300"/>
                    <a:pt x="10731" y="166428"/>
                    <a:pt x="13098" y="170877"/>
                  </a:cubicBezTo>
                  <a:cubicBezTo>
                    <a:pt x="13098" y="170877"/>
                    <a:pt x="15595" y="172830"/>
                    <a:pt x="21091" y="175934"/>
                  </a:cubicBezTo>
                  <a:cubicBezTo>
                    <a:pt x="26374" y="190955"/>
                    <a:pt x="39487" y="189143"/>
                    <a:pt x="42104" y="188641"/>
                  </a:cubicBezTo>
                  <a:cubicBezTo>
                    <a:pt x="44722" y="188217"/>
                    <a:pt x="48227" y="189596"/>
                    <a:pt x="54214" y="190734"/>
                  </a:cubicBezTo>
                  <a:cubicBezTo>
                    <a:pt x="60201" y="191871"/>
                    <a:pt x="63151" y="190671"/>
                    <a:pt x="67244" y="187407"/>
                  </a:cubicBezTo>
                  <a:cubicBezTo>
                    <a:pt x="73569" y="182172"/>
                    <a:pt x="83538" y="183787"/>
                    <a:pt x="83538" y="183787"/>
                  </a:cubicBezTo>
                  <a:lnTo>
                    <a:pt x="85895" y="188473"/>
                  </a:lnTo>
                  <a:lnTo>
                    <a:pt x="92148" y="193318"/>
                  </a:lnTo>
                  <a:lnTo>
                    <a:pt x="98160" y="191182"/>
                  </a:lnTo>
                  <a:cubicBezTo>
                    <a:pt x="98160" y="191182"/>
                    <a:pt x="97200" y="189996"/>
                    <a:pt x="95542" y="188381"/>
                  </a:cubicBezTo>
                  <a:cubicBezTo>
                    <a:pt x="88995" y="176590"/>
                    <a:pt x="107511" y="169151"/>
                    <a:pt x="110722" y="168578"/>
                  </a:cubicBezTo>
                  <a:cubicBezTo>
                    <a:pt x="127773" y="164359"/>
                    <a:pt x="130882" y="156400"/>
                    <a:pt x="134377" y="152819"/>
                  </a:cubicBezTo>
                  <a:cubicBezTo>
                    <a:pt x="134377" y="152819"/>
                    <a:pt x="137227" y="151657"/>
                    <a:pt x="140644" y="149758"/>
                  </a:cubicBezTo>
                  <a:cubicBezTo>
                    <a:pt x="142905" y="145935"/>
                    <a:pt x="147948" y="139277"/>
                    <a:pt x="150049" y="138303"/>
                  </a:cubicBezTo>
                  <a:cubicBezTo>
                    <a:pt x="150049" y="138303"/>
                    <a:pt x="150266" y="129569"/>
                    <a:pt x="151549" y="123548"/>
                  </a:cubicBezTo>
                  <a:cubicBezTo>
                    <a:pt x="153612" y="114735"/>
                    <a:pt x="166941" y="115728"/>
                    <a:pt x="169506" y="116403"/>
                  </a:cubicBezTo>
                  <a:cubicBezTo>
                    <a:pt x="171998" y="117107"/>
                    <a:pt x="173435" y="116591"/>
                    <a:pt x="176448" y="113607"/>
                  </a:cubicBezTo>
                  <a:cubicBezTo>
                    <a:pt x="179461" y="110614"/>
                    <a:pt x="188008" y="107649"/>
                    <a:pt x="188008" y="107649"/>
                  </a:cubicBezTo>
                  <a:cubicBezTo>
                    <a:pt x="188008" y="107649"/>
                    <a:pt x="189850" y="105918"/>
                    <a:pt x="192833" y="102327"/>
                  </a:cubicBezTo>
                  <a:cubicBezTo>
                    <a:pt x="186706" y="99246"/>
                    <a:pt x="176901" y="92213"/>
                    <a:pt x="169940" y="87392"/>
                  </a:cubicBezTo>
                  <a:cubicBezTo>
                    <a:pt x="164295" y="73832"/>
                    <a:pt x="167317" y="70462"/>
                    <a:pt x="169732" y="66480"/>
                  </a:cubicBezTo>
                  <a:cubicBezTo>
                    <a:pt x="175001" y="65111"/>
                    <a:pt x="179272" y="61655"/>
                    <a:pt x="181712" y="53338"/>
                  </a:cubicBezTo>
                  <a:cubicBezTo>
                    <a:pt x="184161" y="44989"/>
                    <a:pt x="193050" y="37358"/>
                    <a:pt x="198474" y="34259"/>
                  </a:cubicBezTo>
                  <a:cubicBezTo>
                    <a:pt x="199852" y="30894"/>
                    <a:pt x="202446" y="27235"/>
                    <a:pt x="203921" y="25668"/>
                  </a:cubicBezTo>
                  <a:cubicBezTo>
                    <a:pt x="205386" y="24082"/>
                    <a:pt x="207030" y="24082"/>
                    <a:pt x="208766" y="19348"/>
                  </a:cubicBezTo>
                  <a:cubicBezTo>
                    <a:pt x="210511" y="14576"/>
                    <a:pt x="214575" y="10550"/>
                    <a:pt x="216985" y="7783"/>
                  </a:cubicBezTo>
                  <a:cubicBezTo>
                    <a:pt x="219502" y="4997"/>
                    <a:pt x="221676" y="-123"/>
                    <a:pt x="219665" y="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60" name="Freihandform: Form 659">
              <a:extLst>
                <a:ext uri="{FF2B5EF4-FFF2-40B4-BE49-F238E27FC236}">
                  <a16:creationId xmlns:a16="http://schemas.microsoft.com/office/drawing/2014/main" id="{672CACF9-5AEF-DDB0-AF1B-C21BDB915DD1}"/>
                </a:ext>
              </a:extLst>
            </p:cNvPr>
            <p:cNvSpPr/>
            <p:nvPr/>
          </p:nvSpPr>
          <p:spPr>
            <a:xfrm>
              <a:off x="7516689" y="4873672"/>
              <a:ext cx="2565110" cy="1431979"/>
            </a:xfrm>
            <a:custGeom>
              <a:avLst/>
              <a:gdLst>
                <a:gd name="connsiteX0" fmla="*/ 2007750 w 2010439"/>
                <a:gd name="connsiteY0" fmla="*/ 475770 h 1123079"/>
                <a:gd name="connsiteX1" fmla="*/ 1973021 w 2010439"/>
                <a:gd name="connsiteY1" fmla="*/ 448962 h 1123079"/>
                <a:gd name="connsiteX2" fmla="*/ 1966200 w 2010439"/>
                <a:gd name="connsiteY2" fmla="*/ 443968 h 1123079"/>
                <a:gd name="connsiteX3" fmla="*/ 1967377 w 2010439"/>
                <a:gd name="connsiteY3" fmla="*/ 431998 h 1123079"/>
                <a:gd name="connsiteX4" fmla="*/ 1948816 w 2010439"/>
                <a:gd name="connsiteY4" fmla="*/ 430248 h 1123079"/>
                <a:gd name="connsiteX5" fmla="*/ 1923980 w 2010439"/>
                <a:gd name="connsiteY5" fmla="*/ 423610 h 1123079"/>
                <a:gd name="connsiteX6" fmla="*/ 1919685 w 2010439"/>
                <a:gd name="connsiteY6" fmla="*/ 403652 h 1123079"/>
                <a:gd name="connsiteX7" fmla="*/ 1922028 w 2010439"/>
                <a:gd name="connsiteY7" fmla="*/ 380277 h 1123079"/>
                <a:gd name="connsiteX8" fmla="*/ 1923248 w 2010439"/>
                <a:gd name="connsiteY8" fmla="*/ 358102 h 1123079"/>
                <a:gd name="connsiteX9" fmla="*/ 1916957 w 2010439"/>
                <a:gd name="connsiteY9" fmla="*/ 352649 h 1123079"/>
                <a:gd name="connsiteX10" fmla="*/ 1899804 w 2010439"/>
                <a:gd name="connsiteY10" fmla="*/ 345722 h 1123079"/>
                <a:gd name="connsiteX11" fmla="*/ 1882942 w 2010439"/>
                <a:gd name="connsiteY11" fmla="*/ 311273 h 1123079"/>
                <a:gd name="connsiteX12" fmla="*/ 1880507 w 2010439"/>
                <a:gd name="connsiteY12" fmla="*/ 298252 h 1123079"/>
                <a:gd name="connsiteX13" fmla="*/ 1859349 w 2010439"/>
                <a:gd name="connsiteY13" fmla="*/ 284229 h 1123079"/>
                <a:gd name="connsiteX14" fmla="*/ 1846622 w 2010439"/>
                <a:gd name="connsiteY14" fmla="*/ 262357 h 1123079"/>
                <a:gd name="connsiteX15" fmla="*/ 1830088 w 2010439"/>
                <a:gd name="connsiteY15" fmla="*/ 240105 h 1123079"/>
                <a:gd name="connsiteX16" fmla="*/ 1856240 w 2010439"/>
                <a:gd name="connsiteY16" fmla="*/ 229220 h 1123079"/>
                <a:gd name="connsiteX17" fmla="*/ 1859364 w 2010439"/>
                <a:gd name="connsiteY17" fmla="*/ 201269 h 1123079"/>
                <a:gd name="connsiteX18" fmla="*/ 1857334 w 2010439"/>
                <a:gd name="connsiteY18" fmla="*/ 183780 h 1123079"/>
                <a:gd name="connsiteX19" fmla="*/ 1869111 w 2010439"/>
                <a:gd name="connsiteY19" fmla="*/ 164237 h 1123079"/>
                <a:gd name="connsiteX20" fmla="*/ 1859470 w 2010439"/>
                <a:gd name="connsiteY20" fmla="*/ 158245 h 1123079"/>
                <a:gd name="connsiteX21" fmla="*/ 1811031 w 2010439"/>
                <a:gd name="connsiteY21" fmla="*/ 154239 h 1123079"/>
                <a:gd name="connsiteX22" fmla="*/ 1803029 w 2010439"/>
                <a:gd name="connsiteY22" fmla="*/ 153795 h 1123079"/>
                <a:gd name="connsiteX23" fmla="*/ 1784999 w 2010439"/>
                <a:gd name="connsiteY23" fmla="*/ 163311 h 1123079"/>
                <a:gd name="connsiteX24" fmla="*/ 1765963 w 2010439"/>
                <a:gd name="connsiteY24" fmla="*/ 161209 h 1123079"/>
                <a:gd name="connsiteX25" fmla="*/ 1759214 w 2010439"/>
                <a:gd name="connsiteY25" fmla="*/ 160452 h 1123079"/>
                <a:gd name="connsiteX26" fmla="*/ 1760549 w 2010439"/>
                <a:gd name="connsiteY26" fmla="*/ 152667 h 1123079"/>
                <a:gd name="connsiteX27" fmla="*/ 1752928 w 2010439"/>
                <a:gd name="connsiteY27" fmla="*/ 140972 h 1123079"/>
                <a:gd name="connsiteX28" fmla="*/ 1738620 w 2010439"/>
                <a:gd name="connsiteY28" fmla="*/ 124037 h 1123079"/>
                <a:gd name="connsiteX29" fmla="*/ 1734845 w 2010439"/>
                <a:gd name="connsiteY29" fmla="*/ 101857 h 1123079"/>
                <a:gd name="connsiteX30" fmla="*/ 1732873 w 2010439"/>
                <a:gd name="connsiteY30" fmla="*/ 71284 h 1123079"/>
                <a:gd name="connsiteX31" fmla="*/ 1722142 w 2010439"/>
                <a:gd name="connsiteY31" fmla="*/ 60987 h 1123079"/>
                <a:gd name="connsiteX32" fmla="*/ 1702570 w 2010439"/>
                <a:gd name="connsiteY32" fmla="*/ 48274 h 1123079"/>
                <a:gd name="connsiteX33" fmla="*/ 1691608 w 2010439"/>
                <a:gd name="connsiteY33" fmla="*/ 41366 h 1123079"/>
                <a:gd name="connsiteX34" fmla="*/ 1674996 w 2010439"/>
                <a:gd name="connsiteY34" fmla="*/ 30419 h 1123079"/>
                <a:gd name="connsiteX35" fmla="*/ 1651659 w 2010439"/>
                <a:gd name="connsiteY35" fmla="*/ 29257 h 1123079"/>
                <a:gd name="connsiteX36" fmla="*/ 1647214 w 2010439"/>
                <a:gd name="connsiteY36" fmla="*/ 24345 h 1123079"/>
                <a:gd name="connsiteX37" fmla="*/ 1632896 w 2010439"/>
                <a:gd name="connsiteY37" fmla="*/ 18010 h 1123079"/>
                <a:gd name="connsiteX38" fmla="*/ 1612375 w 2010439"/>
                <a:gd name="connsiteY38" fmla="*/ 13488 h 1123079"/>
                <a:gd name="connsiteX39" fmla="*/ 1603779 w 2010439"/>
                <a:gd name="connsiteY39" fmla="*/ 10663 h 1123079"/>
                <a:gd name="connsiteX40" fmla="*/ 1606233 w 2010439"/>
                <a:gd name="connsiteY40" fmla="*/ 0 h 1123079"/>
                <a:gd name="connsiteX41" fmla="*/ 1581787 w 2010439"/>
                <a:gd name="connsiteY41" fmla="*/ 8036 h 1123079"/>
                <a:gd name="connsiteX42" fmla="*/ 1580968 w 2010439"/>
                <a:gd name="connsiteY42" fmla="*/ 29074 h 1123079"/>
                <a:gd name="connsiteX43" fmla="*/ 1575284 w 2010439"/>
                <a:gd name="connsiteY43" fmla="*/ 32458 h 1123079"/>
                <a:gd name="connsiteX44" fmla="*/ 1534752 w 2010439"/>
                <a:gd name="connsiteY44" fmla="*/ 38672 h 1123079"/>
                <a:gd name="connsiteX45" fmla="*/ 1527429 w 2010439"/>
                <a:gd name="connsiteY45" fmla="*/ 38247 h 1123079"/>
                <a:gd name="connsiteX46" fmla="*/ 1519012 w 2010439"/>
                <a:gd name="connsiteY46" fmla="*/ 47720 h 1123079"/>
                <a:gd name="connsiteX47" fmla="*/ 1499874 w 2010439"/>
                <a:gd name="connsiteY47" fmla="*/ 51591 h 1123079"/>
                <a:gd name="connsiteX48" fmla="*/ 1493448 w 2010439"/>
                <a:gd name="connsiteY48" fmla="*/ 54252 h 1123079"/>
                <a:gd name="connsiteX49" fmla="*/ 1485074 w 2010439"/>
                <a:gd name="connsiteY49" fmla="*/ 51605 h 1123079"/>
                <a:gd name="connsiteX50" fmla="*/ 1481357 w 2010439"/>
                <a:gd name="connsiteY50" fmla="*/ 52333 h 1123079"/>
                <a:gd name="connsiteX51" fmla="*/ 1480032 w 2010439"/>
                <a:gd name="connsiteY51" fmla="*/ 58398 h 1123079"/>
                <a:gd name="connsiteX52" fmla="*/ 1475274 w 2010439"/>
                <a:gd name="connsiteY52" fmla="*/ 76423 h 1123079"/>
                <a:gd name="connsiteX53" fmla="*/ 1459491 w 2010439"/>
                <a:gd name="connsiteY53" fmla="*/ 94910 h 1123079"/>
                <a:gd name="connsiteX54" fmla="*/ 1452934 w 2010439"/>
                <a:gd name="connsiteY54" fmla="*/ 97754 h 1123079"/>
                <a:gd name="connsiteX55" fmla="*/ 1449261 w 2010439"/>
                <a:gd name="connsiteY55" fmla="*/ 105545 h 1123079"/>
                <a:gd name="connsiteX56" fmla="*/ 1438549 w 2010439"/>
                <a:gd name="connsiteY56" fmla="*/ 117162 h 1123079"/>
                <a:gd name="connsiteX57" fmla="*/ 1430942 w 2010439"/>
                <a:gd name="connsiteY57" fmla="*/ 118753 h 1123079"/>
                <a:gd name="connsiteX58" fmla="*/ 1420968 w 2010439"/>
                <a:gd name="connsiteY58" fmla="*/ 129084 h 1123079"/>
                <a:gd name="connsiteX59" fmla="*/ 1419551 w 2010439"/>
                <a:gd name="connsiteY59" fmla="*/ 137448 h 1123079"/>
                <a:gd name="connsiteX60" fmla="*/ 1410836 w 2010439"/>
                <a:gd name="connsiteY60" fmla="*/ 145426 h 1123079"/>
                <a:gd name="connsiteX61" fmla="*/ 1401136 w 2010439"/>
                <a:gd name="connsiteY61" fmla="*/ 151958 h 1123079"/>
                <a:gd name="connsiteX62" fmla="*/ 1388703 w 2010439"/>
                <a:gd name="connsiteY62" fmla="*/ 165032 h 1123079"/>
                <a:gd name="connsiteX63" fmla="*/ 1374410 w 2010439"/>
                <a:gd name="connsiteY63" fmla="*/ 178009 h 1123079"/>
                <a:gd name="connsiteX64" fmla="*/ 1367213 w 2010439"/>
                <a:gd name="connsiteY64" fmla="*/ 181331 h 1123079"/>
                <a:gd name="connsiteX65" fmla="*/ 1357070 w 2010439"/>
                <a:gd name="connsiteY65" fmla="*/ 176848 h 1123079"/>
                <a:gd name="connsiteX66" fmla="*/ 1348147 w 2010439"/>
                <a:gd name="connsiteY66" fmla="*/ 182069 h 1123079"/>
                <a:gd name="connsiteX67" fmla="*/ 1340299 w 2010439"/>
                <a:gd name="connsiteY67" fmla="*/ 184373 h 1123079"/>
                <a:gd name="connsiteX68" fmla="*/ 1322342 w 2010439"/>
                <a:gd name="connsiteY68" fmla="*/ 183674 h 1123079"/>
                <a:gd name="connsiteX69" fmla="*/ 1312927 w 2010439"/>
                <a:gd name="connsiteY69" fmla="*/ 184951 h 1123079"/>
                <a:gd name="connsiteX70" fmla="*/ 1296049 w 2010439"/>
                <a:gd name="connsiteY70" fmla="*/ 178453 h 1123079"/>
                <a:gd name="connsiteX71" fmla="*/ 1288895 w 2010439"/>
                <a:gd name="connsiteY71" fmla="*/ 183418 h 1123079"/>
                <a:gd name="connsiteX72" fmla="*/ 1280194 w 2010439"/>
                <a:gd name="connsiteY72" fmla="*/ 191623 h 1123079"/>
                <a:gd name="connsiteX73" fmla="*/ 1266325 w 2010439"/>
                <a:gd name="connsiteY73" fmla="*/ 193691 h 1123079"/>
                <a:gd name="connsiteX74" fmla="*/ 1245702 w 2010439"/>
                <a:gd name="connsiteY74" fmla="*/ 205136 h 1123079"/>
                <a:gd name="connsiteX75" fmla="*/ 1229133 w 2010439"/>
                <a:gd name="connsiteY75" fmla="*/ 223068 h 1123079"/>
                <a:gd name="connsiteX76" fmla="*/ 1221054 w 2010439"/>
                <a:gd name="connsiteY76" fmla="*/ 221926 h 1123079"/>
                <a:gd name="connsiteX77" fmla="*/ 1183433 w 2010439"/>
                <a:gd name="connsiteY77" fmla="*/ 239141 h 1123079"/>
                <a:gd name="connsiteX78" fmla="*/ 1156842 w 2010439"/>
                <a:gd name="connsiteY78" fmla="*/ 240225 h 1123079"/>
                <a:gd name="connsiteX79" fmla="*/ 1130511 w 2010439"/>
                <a:gd name="connsiteY79" fmla="*/ 230917 h 1123079"/>
                <a:gd name="connsiteX80" fmla="*/ 1117447 w 2010439"/>
                <a:gd name="connsiteY80" fmla="*/ 237863 h 1123079"/>
                <a:gd name="connsiteX81" fmla="*/ 1115986 w 2010439"/>
                <a:gd name="connsiteY81" fmla="*/ 244988 h 1123079"/>
                <a:gd name="connsiteX82" fmla="*/ 1110254 w 2010439"/>
                <a:gd name="connsiteY82" fmla="*/ 250055 h 1123079"/>
                <a:gd name="connsiteX83" fmla="*/ 1095696 w 2010439"/>
                <a:gd name="connsiteY83" fmla="*/ 247452 h 1123079"/>
                <a:gd name="connsiteX84" fmla="*/ 1079677 w 2010439"/>
                <a:gd name="connsiteY84" fmla="*/ 243147 h 1123079"/>
                <a:gd name="connsiteX85" fmla="*/ 1052493 w 2010439"/>
                <a:gd name="connsiteY85" fmla="*/ 244839 h 1123079"/>
                <a:gd name="connsiteX86" fmla="*/ 1015484 w 2010439"/>
                <a:gd name="connsiteY86" fmla="*/ 231298 h 1123079"/>
                <a:gd name="connsiteX87" fmla="*/ 1004170 w 2010439"/>
                <a:gd name="connsiteY87" fmla="*/ 236759 h 1123079"/>
                <a:gd name="connsiteX88" fmla="*/ 992841 w 2010439"/>
                <a:gd name="connsiteY88" fmla="*/ 256062 h 1123079"/>
                <a:gd name="connsiteX89" fmla="*/ 984212 w 2010439"/>
                <a:gd name="connsiteY89" fmla="*/ 254505 h 1123079"/>
                <a:gd name="connsiteX90" fmla="*/ 950400 w 2010439"/>
                <a:gd name="connsiteY90" fmla="*/ 235217 h 1123079"/>
                <a:gd name="connsiteX91" fmla="*/ 929434 w 2010439"/>
                <a:gd name="connsiteY91" fmla="*/ 208284 h 1123079"/>
                <a:gd name="connsiteX92" fmla="*/ 924276 w 2010439"/>
                <a:gd name="connsiteY92" fmla="*/ 211036 h 1123079"/>
                <a:gd name="connsiteX93" fmla="*/ 922859 w 2010439"/>
                <a:gd name="connsiteY93" fmla="*/ 217708 h 1123079"/>
                <a:gd name="connsiteX94" fmla="*/ 921481 w 2010439"/>
                <a:gd name="connsiteY94" fmla="*/ 207965 h 1123079"/>
                <a:gd name="connsiteX95" fmla="*/ 902284 w 2010439"/>
                <a:gd name="connsiteY95" fmla="*/ 223353 h 1123079"/>
                <a:gd name="connsiteX96" fmla="*/ 894268 w 2010439"/>
                <a:gd name="connsiteY96" fmla="*/ 229870 h 1123079"/>
                <a:gd name="connsiteX97" fmla="*/ 870265 w 2010439"/>
                <a:gd name="connsiteY97" fmla="*/ 227913 h 1123079"/>
                <a:gd name="connsiteX98" fmla="*/ 842999 w 2010439"/>
                <a:gd name="connsiteY98" fmla="*/ 217308 h 1123079"/>
                <a:gd name="connsiteX99" fmla="*/ 830952 w 2010439"/>
                <a:gd name="connsiteY99" fmla="*/ 192804 h 1123079"/>
                <a:gd name="connsiteX100" fmla="*/ 813834 w 2010439"/>
                <a:gd name="connsiteY100" fmla="*/ 187853 h 1123079"/>
                <a:gd name="connsiteX101" fmla="*/ 804680 w 2010439"/>
                <a:gd name="connsiteY101" fmla="*/ 204654 h 1123079"/>
                <a:gd name="connsiteX102" fmla="*/ 776517 w 2010439"/>
                <a:gd name="connsiteY102" fmla="*/ 219737 h 1123079"/>
                <a:gd name="connsiteX103" fmla="*/ 768992 w 2010439"/>
                <a:gd name="connsiteY103" fmla="*/ 217202 h 1123079"/>
                <a:gd name="connsiteX104" fmla="*/ 745799 w 2010439"/>
                <a:gd name="connsiteY104" fmla="*/ 227918 h 1123079"/>
                <a:gd name="connsiteX105" fmla="*/ 728223 w 2010439"/>
                <a:gd name="connsiteY105" fmla="*/ 228747 h 1123079"/>
                <a:gd name="connsiteX106" fmla="*/ 701714 w 2010439"/>
                <a:gd name="connsiteY106" fmla="*/ 237805 h 1123079"/>
                <a:gd name="connsiteX107" fmla="*/ 681886 w 2010439"/>
                <a:gd name="connsiteY107" fmla="*/ 241522 h 1123079"/>
                <a:gd name="connsiteX108" fmla="*/ 665896 w 2010439"/>
                <a:gd name="connsiteY108" fmla="*/ 242776 h 1123079"/>
                <a:gd name="connsiteX109" fmla="*/ 656173 w 2010439"/>
                <a:gd name="connsiteY109" fmla="*/ 244347 h 1123079"/>
                <a:gd name="connsiteX110" fmla="*/ 647611 w 2010439"/>
                <a:gd name="connsiteY110" fmla="*/ 250648 h 1123079"/>
                <a:gd name="connsiteX111" fmla="*/ 639696 w 2010439"/>
                <a:gd name="connsiteY111" fmla="*/ 256481 h 1123079"/>
                <a:gd name="connsiteX112" fmla="*/ 634537 w 2010439"/>
                <a:gd name="connsiteY112" fmla="*/ 260892 h 1123079"/>
                <a:gd name="connsiteX113" fmla="*/ 618340 w 2010439"/>
                <a:gd name="connsiteY113" fmla="*/ 273141 h 1123079"/>
                <a:gd name="connsiteX114" fmla="*/ 603270 w 2010439"/>
                <a:gd name="connsiteY114" fmla="*/ 282469 h 1123079"/>
                <a:gd name="connsiteX115" fmla="*/ 592795 w 2010439"/>
                <a:gd name="connsiteY115" fmla="*/ 289691 h 1123079"/>
                <a:gd name="connsiteX116" fmla="*/ 586668 w 2010439"/>
                <a:gd name="connsiteY116" fmla="*/ 290959 h 1123079"/>
                <a:gd name="connsiteX117" fmla="*/ 573093 w 2010439"/>
                <a:gd name="connsiteY117" fmla="*/ 305300 h 1123079"/>
                <a:gd name="connsiteX118" fmla="*/ 558895 w 2010439"/>
                <a:gd name="connsiteY118" fmla="*/ 314734 h 1123079"/>
                <a:gd name="connsiteX119" fmla="*/ 544689 w 2010439"/>
                <a:gd name="connsiteY119" fmla="*/ 338390 h 1123079"/>
                <a:gd name="connsiteX120" fmla="*/ 531572 w 2010439"/>
                <a:gd name="connsiteY120" fmla="*/ 350711 h 1123079"/>
                <a:gd name="connsiteX121" fmla="*/ 524351 w 2010439"/>
                <a:gd name="connsiteY121" fmla="*/ 357344 h 1123079"/>
                <a:gd name="connsiteX122" fmla="*/ 500912 w 2010439"/>
                <a:gd name="connsiteY122" fmla="*/ 381101 h 1123079"/>
                <a:gd name="connsiteX123" fmla="*/ 492172 w 2010439"/>
                <a:gd name="connsiteY123" fmla="*/ 390767 h 1123079"/>
                <a:gd name="connsiteX124" fmla="*/ 486518 w 2010439"/>
                <a:gd name="connsiteY124" fmla="*/ 393505 h 1123079"/>
                <a:gd name="connsiteX125" fmla="*/ 467644 w 2010439"/>
                <a:gd name="connsiteY125" fmla="*/ 429646 h 1123079"/>
                <a:gd name="connsiteX126" fmla="*/ 413093 w 2010439"/>
                <a:gd name="connsiteY126" fmla="*/ 438000 h 1123079"/>
                <a:gd name="connsiteX127" fmla="*/ 380351 w 2010439"/>
                <a:gd name="connsiteY127" fmla="*/ 437060 h 1123079"/>
                <a:gd name="connsiteX128" fmla="*/ 370107 w 2010439"/>
                <a:gd name="connsiteY128" fmla="*/ 447208 h 1123079"/>
                <a:gd name="connsiteX129" fmla="*/ 307872 w 2010439"/>
                <a:gd name="connsiteY129" fmla="*/ 460059 h 1123079"/>
                <a:gd name="connsiteX130" fmla="*/ 300048 w 2010439"/>
                <a:gd name="connsiteY130" fmla="*/ 460831 h 1123079"/>
                <a:gd name="connsiteX131" fmla="*/ 281054 w 2010439"/>
                <a:gd name="connsiteY131" fmla="*/ 459698 h 1123079"/>
                <a:gd name="connsiteX132" fmla="*/ 251985 w 2010439"/>
                <a:gd name="connsiteY132" fmla="*/ 473625 h 1123079"/>
                <a:gd name="connsiteX133" fmla="*/ 251281 w 2010439"/>
                <a:gd name="connsiteY133" fmla="*/ 475409 h 1123079"/>
                <a:gd name="connsiteX134" fmla="*/ 252742 w 2010439"/>
                <a:gd name="connsiteY134" fmla="*/ 484741 h 1123079"/>
                <a:gd name="connsiteX135" fmla="*/ 250568 w 2010439"/>
                <a:gd name="connsiteY135" fmla="*/ 499830 h 1123079"/>
                <a:gd name="connsiteX136" fmla="*/ 252626 w 2010439"/>
                <a:gd name="connsiteY136" fmla="*/ 500221 h 1123079"/>
                <a:gd name="connsiteX137" fmla="*/ 262721 w 2010439"/>
                <a:gd name="connsiteY137" fmla="*/ 505186 h 1123079"/>
                <a:gd name="connsiteX138" fmla="*/ 275983 w 2010439"/>
                <a:gd name="connsiteY138" fmla="*/ 507645 h 1123079"/>
                <a:gd name="connsiteX139" fmla="*/ 283204 w 2010439"/>
                <a:gd name="connsiteY139" fmla="*/ 511477 h 1123079"/>
                <a:gd name="connsiteX140" fmla="*/ 282283 w 2010439"/>
                <a:gd name="connsiteY140" fmla="*/ 515739 h 1123079"/>
                <a:gd name="connsiteX141" fmla="*/ 288579 w 2010439"/>
                <a:gd name="connsiteY141" fmla="*/ 514403 h 1123079"/>
                <a:gd name="connsiteX142" fmla="*/ 293491 w 2010439"/>
                <a:gd name="connsiteY142" fmla="*/ 520468 h 1123079"/>
                <a:gd name="connsiteX143" fmla="*/ 311719 w 2010439"/>
                <a:gd name="connsiteY143" fmla="*/ 514201 h 1123079"/>
                <a:gd name="connsiteX144" fmla="*/ 327222 w 2010439"/>
                <a:gd name="connsiteY144" fmla="*/ 509930 h 1123079"/>
                <a:gd name="connsiteX145" fmla="*/ 340016 w 2010439"/>
                <a:gd name="connsiteY145" fmla="*/ 507678 h 1123079"/>
                <a:gd name="connsiteX146" fmla="*/ 350356 w 2010439"/>
                <a:gd name="connsiteY146" fmla="*/ 506131 h 1123079"/>
                <a:gd name="connsiteX147" fmla="*/ 348327 w 2010439"/>
                <a:gd name="connsiteY147" fmla="*/ 511106 h 1123079"/>
                <a:gd name="connsiteX148" fmla="*/ 327858 w 2010439"/>
                <a:gd name="connsiteY148" fmla="*/ 518674 h 1123079"/>
                <a:gd name="connsiteX149" fmla="*/ 308325 w 2010439"/>
                <a:gd name="connsiteY149" fmla="*/ 522285 h 1123079"/>
                <a:gd name="connsiteX150" fmla="*/ 302034 w 2010439"/>
                <a:gd name="connsiteY150" fmla="*/ 528576 h 1123079"/>
                <a:gd name="connsiteX151" fmla="*/ 295747 w 2010439"/>
                <a:gd name="connsiteY151" fmla="*/ 530133 h 1123079"/>
                <a:gd name="connsiteX152" fmla="*/ 289220 w 2010439"/>
                <a:gd name="connsiteY152" fmla="*/ 535749 h 1123079"/>
                <a:gd name="connsiteX153" fmla="*/ 273968 w 2010439"/>
                <a:gd name="connsiteY153" fmla="*/ 541814 h 1123079"/>
                <a:gd name="connsiteX154" fmla="*/ 267643 w 2010439"/>
                <a:gd name="connsiteY154" fmla="*/ 544046 h 1123079"/>
                <a:gd name="connsiteX155" fmla="*/ 258199 w 2010439"/>
                <a:gd name="connsiteY155" fmla="*/ 549652 h 1123079"/>
                <a:gd name="connsiteX156" fmla="*/ 245873 w 2010439"/>
                <a:gd name="connsiteY156" fmla="*/ 561318 h 1123079"/>
                <a:gd name="connsiteX157" fmla="*/ 249792 w 2010439"/>
                <a:gd name="connsiteY157" fmla="*/ 568280 h 1123079"/>
                <a:gd name="connsiteX158" fmla="*/ 267402 w 2010439"/>
                <a:gd name="connsiteY158" fmla="*/ 569432 h 1123079"/>
                <a:gd name="connsiteX159" fmla="*/ 273688 w 2010439"/>
                <a:gd name="connsiteY159" fmla="*/ 565378 h 1123079"/>
                <a:gd name="connsiteX160" fmla="*/ 283257 w 2010439"/>
                <a:gd name="connsiteY160" fmla="*/ 569099 h 1123079"/>
                <a:gd name="connsiteX161" fmla="*/ 278311 w 2010439"/>
                <a:gd name="connsiteY161" fmla="*/ 573708 h 1123079"/>
                <a:gd name="connsiteX162" fmla="*/ 277626 w 2010439"/>
                <a:gd name="connsiteY162" fmla="*/ 580322 h 1123079"/>
                <a:gd name="connsiteX163" fmla="*/ 265623 w 2010439"/>
                <a:gd name="connsiteY163" fmla="*/ 584472 h 1123079"/>
                <a:gd name="connsiteX164" fmla="*/ 243800 w 2010439"/>
                <a:gd name="connsiteY164" fmla="*/ 587736 h 1123079"/>
                <a:gd name="connsiteX165" fmla="*/ 228315 w 2010439"/>
                <a:gd name="connsiteY165" fmla="*/ 591515 h 1123079"/>
                <a:gd name="connsiteX166" fmla="*/ 169344 w 2010439"/>
                <a:gd name="connsiteY166" fmla="*/ 610475 h 1123079"/>
                <a:gd name="connsiteX167" fmla="*/ 163019 w 2010439"/>
                <a:gd name="connsiteY167" fmla="*/ 608455 h 1123079"/>
                <a:gd name="connsiteX168" fmla="*/ 163400 w 2010439"/>
                <a:gd name="connsiteY168" fmla="*/ 604416 h 1123079"/>
                <a:gd name="connsiteX169" fmla="*/ 170260 w 2010439"/>
                <a:gd name="connsiteY169" fmla="*/ 597782 h 1123079"/>
                <a:gd name="connsiteX170" fmla="*/ 167878 w 2010439"/>
                <a:gd name="connsiteY170" fmla="*/ 592060 h 1123079"/>
                <a:gd name="connsiteX171" fmla="*/ 153961 w 2010439"/>
                <a:gd name="connsiteY171" fmla="*/ 592383 h 1123079"/>
                <a:gd name="connsiteX172" fmla="*/ 138236 w 2010439"/>
                <a:gd name="connsiteY172" fmla="*/ 597657 h 1123079"/>
                <a:gd name="connsiteX173" fmla="*/ 141123 w 2010439"/>
                <a:gd name="connsiteY173" fmla="*/ 602690 h 1123079"/>
                <a:gd name="connsiteX174" fmla="*/ 149584 w 2010439"/>
                <a:gd name="connsiteY174" fmla="*/ 609969 h 1123079"/>
                <a:gd name="connsiteX175" fmla="*/ 154621 w 2010439"/>
                <a:gd name="connsiteY175" fmla="*/ 609019 h 1123079"/>
                <a:gd name="connsiteX176" fmla="*/ 154838 w 2010439"/>
                <a:gd name="connsiteY176" fmla="*/ 615190 h 1123079"/>
                <a:gd name="connsiteX177" fmla="*/ 149434 w 2010439"/>
                <a:gd name="connsiteY177" fmla="*/ 622262 h 1123079"/>
                <a:gd name="connsiteX178" fmla="*/ 129679 w 2010439"/>
                <a:gd name="connsiteY178" fmla="*/ 626981 h 1123079"/>
                <a:gd name="connsiteX179" fmla="*/ 116755 w 2010439"/>
                <a:gd name="connsiteY179" fmla="*/ 628630 h 1123079"/>
                <a:gd name="connsiteX180" fmla="*/ 103536 w 2010439"/>
                <a:gd name="connsiteY180" fmla="*/ 623920 h 1123079"/>
                <a:gd name="connsiteX181" fmla="*/ 101054 w 2010439"/>
                <a:gd name="connsiteY181" fmla="*/ 620208 h 1123079"/>
                <a:gd name="connsiteX182" fmla="*/ 99034 w 2010439"/>
                <a:gd name="connsiteY182" fmla="*/ 615686 h 1123079"/>
                <a:gd name="connsiteX183" fmla="*/ 94623 w 2010439"/>
                <a:gd name="connsiteY183" fmla="*/ 615272 h 1123079"/>
                <a:gd name="connsiteX184" fmla="*/ 89701 w 2010439"/>
                <a:gd name="connsiteY184" fmla="*/ 618974 h 1123079"/>
                <a:gd name="connsiteX185" fmla="*/ 74082 w 2010439"/>
                <a:gd name="connsiteY185" fmla="*/ 627251 h 1123079"/>
                <a:gd name="connsiteX186" fmla="*/ 68012 w 2010439"/>
                <a:gd name="connsiteY186" fmla="*/ 631845 h 1123079"/>
                <a:gd name="connsiteX187" fmla="*/ 61697 w 2010439"/>
                <a:gd name="connsiteY187" fmla="*/ 631064 h 1123079"/>
                <a:gd name="connsiteX188" fmla="*/ 51275 w 2010439"/>
                <a:gd name="connsiteY188" fmla="*/ 634193 h 1123079"/>
                <a:gd name="connsiteX189" fmla="*/ 42275 w 2010439"/>
                <a:gd name="connsiteY189" fmla="*/ 639920 h 1123079"/>
                <a:gd name="connsiteX190" fmla="*/ 31819 w 2010439"/>
                <a:gd name="connsiteY190" fmla="*/ 655409 h 1123079"/>
                <a:gd name="connsiteX191" fmla="*/ 18118 w 2010439"/>
                <a:gd name="connsiteY191" fmla="*/ 673699 h 1123079"/>
                <a:gd name="connsiteX192" fmla="*/ 19222 w 2010439"/>
                <a:gd name="connsiteY192" fmla="*/ 680351 h 1123079"/>
                <a:gd name="connsiteX193" fmla="*/ 16301 w 2010439"/>
                <a:gd name="connsiteY193" fmla="*/ 687206 h 1123079"/>
                <a:gd name="connsiteX194" fmla="*/ 15062 w 2010439"/>
                <a:gd name="connsiteY194" fmla="*/ 694510 h 1123079"/>
                <a:gd name="connsiteX195" fmla="*/ 5059 w 2010439"/>
                <a:gd name="connsiteY195" fmla="*/ 701235 h 1123079"/>
                <a:gd name="connsiteX196" fmla="*/ 2 w 2010439"/>
                <a:gd name="connsiteY196" fmla="*/ 705945 h 1123079"/>
                <a:gd name="connsiteX197" fmla="*/ 2687 w 2010439"/>
                <a:gd name="connsiteY197" fmla="*/ 724475 h 1123079"/>
                <a:gd name="connsiteX198" fmla="*/ 4162 w 2010439"/>
                <a:gd name="connsiteY198" fmla="*/ 737289 h 1123079"/>
                <a:gd name="connsiteX199" fmla="*/ 8626 w 2010439"/>
                <a:gd name="connsiteY199" fmla="*/ 751437 h 1123079"/>
                <a:gd name="connsiteX200" fmla="*/ 5618 w 2010439"/>
                <a:gd name="connsiteY200" fmla="*/ 773912 h 1123079"/>
                <a:gd name="connsiteX201" fmla="*/ 10622 w 2010439"/>
                <a:gd name="connsiteY201" fmla="*/ 774799 h 1123079"/>
                <a:gd name="connsiteX202" fmla="*/ 23344 w 2010439"/>
                <a:gd name="connsiteY202" fmla="*/ 771670 h 1123079"/>
                <a:gd name="connsiteX203" fmla="*/ 29042 w 2010439"/>
                <a:gd name="connsiteY203" fmla="*/ 767278 h 1123079"/>
                <a:gd name="connsiteX204" fmla="*/ 39643 w 2010439"/>
                <a:gd name="connsiteY204" fmla="*/ 762487 h 1123079"/>
                <a:gd name="connsiteX205" fmla="*/ 78608 w 2010439"/>
                <a:gd name="connsiteY205" fmla="*/ 744650 h 1123079"/>
                <a:gd name="connsiteX206" fmla="*/ 92743 w 2010439"/>
                <a:gd name="connsiteY206" fmla="*/ 742534 h 1123079"/>
                <a:gd name="connsiteX207" fmla="*/ 87175 w 2010439"/>
                <a:gd name="connsiteY207" fmla="*/ 758461 h 1123079"/>
                <a:gd name="connsiteX208" fmla="*/ 81173 w 2010439"/>
                <a:gd name="connsiteY208" fmla="*/ 770359 h 1123079"/>
                <a:gd name="connsiteX209" fmla="*/ 68273 w 2010439"/>
                <a:gd name="connsiteY209" fmla="*/ 781051 h 1123079"/>
                <a:gd name="connsiteX210" fmla="*/ 70967 w 2010439"/>
                <a:gd name="connsiteY210" fmla="*/ 787805 h 1123079"/>
                <a:gd name="connsiteX211" fmla="*/ 79929 w 2010439"/>
                <a:gd name="connsiteY211" fmla="*/ 789936 h 1123079"/>
                <a:gd name="connsiteX212" fmla="*/ 88472 w 2010439"/>
                <a:gd name="connsiteY212" fmla="*/ 797895 h 1123079"/>
                <a:gd name="connsiteX213" fmla="*/ 100470 w 2010439"/>
                <a:gd name="connsiteY213" fmla="*/ 807223 h 1123079"/>
                <a:gd name="connsiteX214" fmla="*/ 95736 w 2010439"/>
                <a:gd name="connsiteY214" fmla="*/ 822041 h 1123079"/>
                <a:gd name="connsiteX215" fmla="*/ 112835 w 2010439"/>
                <a:gd name="connsiteY215" fmla="*/ 824182 h 1123079"/>
                <a:gd name="connsiteX216" fmla="*/ 122029 w 2010439"/>
                <a:gd name="connsiteY216" fmla="*/ 827007 h 1123079"/>
                <a:gd name="connsiteX217" fmla="*/ 121681 w 2010439"/>
                <a:gd name="connsiteY217" fmla="*/ 833645 h 1123079"/>
                <a:gd name="connsiteX218" fmla="*/ 117545 w 2010439"/>
                <a:gd name="connsiteY218" fmla="*/ 839141 h 1123079"/>
                <a:gd name="connsiteX219" fmla="*/ 112725 w 2010439"/>
                <a:gd name="connsiteY219" fmla="*/ 842510 h 1123079"/>
                <a:gd name="connsiteX220" fmla="*/ 112358 w 2010439"/>
                <a:gd name="connsiteY220" fmla="*/ 850228 h 1123079"/>
                <a:gd name="connsiteX221" fmla="*/ 97187 w 2010439"/>
                <a:gd name="connsiteY221" fmla="*/ 861161 h 1123079"/>
                <a:gd name="connsiteX222" fmla="*/ 109528 w 2010439"/>
                <a:gd name="connsiteY222" fmla="*/ 870924 h 1123079"/>
                <a:gd name="connsiteX223" fmla="*/ 123099 w 2010439"/>
                <a:gd name="connsiteY223" fmla="*/ 885868 h 1123079"/>
                <a:gd name="connsiteX224" fmla="*/ 128286 w 2010439"/>
                <a:gd name="connsiteY224" fmla="*/ 888678 h 1123079"/>
                <a:gd name="connsiteX225" fmla="*/ 147361 w 2010439"/>
                <a:gd name="connsiteY225" fmla="*/ 885540 h 1123079"/>
                <a:gd name="connsiteX226" fmla="*/ 142454 w 2010439"/>
                <a:gd name="connsiteY226" fmla="*/ 892038 h 1123079"/>
                <a:gd name="connsiteX227" fmla="*/ 135030 w 2010439"/>
                <a:gd name="connsiteY227" fmla="*/ 894319 h 1123079"/>
                <a:gd name="connsiteX228" fmla="*/ 113211 w 2010439"/>
                <a:gd name="connsiteY228" fmla="*/ 903723 h 1123079"/>
                <a:gd name="connsiteX229" fmla="*/ 105257 w 2010439"/>
                <a:gd name="connsiteY229" fmla="*/ 900002 h 1123079"/>
                <a:gd name="connsiteX230" fmla="*/ 101777 w 2010439"/>
                <a:gd name="connsiteY230" fmla="*/ 904750 h 1123079"/>
                <a:gd name="connsiteX231" fmla="*/ 105353 w 2010439"/>
                <a:gd name="connsiteY231" fmla="*/ 913365 h 1123079"/>
                <a:gd name="connsiteX232" fmla="*/ 93239 w 2010439"/>
                <a:gd name="connsiteY232" fmla="*/ 901015 h 1123079"/>
                <a:gd name="connsiteX233" fmla="*/ 93697 w 2010439"/>
                <a:gd name="connsiteY233" fmla="*/ 894029 h 1123079"/>
                <a:gd name="connsiteX234" fmla="*/ 93928 w 2010439"/>
                <a:gd name="connsiteY234" fmla="*/ 890240 h 1123079"/>
                <a:gd name="connsiteX235" fmla="*/ 60805 w 2010439"/>
                <a:gd name="connsiteY235" fmla="*/ 874949 h 1123079"/>
                <a:gd name="connsiteX236" fmla="*/ 62584 w 2010439"/>
                <a:gd name="connsiteY236" fmla="*/ 886736 h 1123079"/>
                <a:gd name="connsiteX237" fmla="*/ 69444 w 2010439"/>
                <a:gd name="connsiteY237" fmla="*/ 901902 h 1123079"/>
                <a:gd name="connsiteX238" fmla="*/ 75379 w 2010439"/>
                <a:gd name="connsiteY238" fmla="*/ 899771 h 1123079"/>
                <a:gd name="connsiteX239" fmla="*/ 81308 w 2010439"/>
                <a:gd name="connsiteY239" fmla="*/ 902225 h 1123079"/>
                <a:gd name="connsiteX240" fmla="*/ 80845 w 2010439"/>
                <a:gd name="connsiteY240" fmla="*/ 913461 h 1123079"/>
                <a:gd name="connsiteX241" fmla="*/ 61760 w 2010439"/>
                <a:gd name="connsiteY241" fmla="*/ 917959 h 1123079"/>
                <a:gd name="connsiteX242" fmla="*/ 63105 w 2010439"/>
                <a:gd name="connsiteY242" fmla="*/ 924130 h 1123079"/>
                <a:gd name="connsiteX243" fmla="*/ 59403 w 2010439"/>
                <a:gd name="connsiteY243" fmla="*/ 931312 h 1123079"/>
                <a:gd name="connsiteX244" fmla="*/ 64112 w 2010439"/>
                <a:gd name="connsiteY244" fmla="*/ 929977 h 1123079"/>
                <a:gd name="connsiteX245" fmla="*/ 70423 w 2010439"/>
                <a:gd name="connsiteY245" fmla="*/ 933347 h 1123079"/>
                <a:gd name="connsiteX246" fmla="*/ 75591 w 2010439"/>
                <a:gd name="connsiteY246" fmla="*/ 928512 h 1123079"/>
                <a:gd name="connsiteX247" fmla="*/ 78951 w 2010439"/>
                <a:gd name="connsiteY247" fmla="*/ 934026 h 1123079"/>
                <a:gd name="connsiteX248" fmla="*/ 91754 w 2010439"/>
                <a:gd name="connsiteY248" fmla="*/ 936172 h 1123079"/>
                <a:gd name="connsiteX249" fmla="*/ 101507 w 2010439"/>
                <a:gd name="connsiteY249" fmla="*/ 943379 h 1123079"/>
                <a:gd name="connsiteX250" fmla="*/ 107041 w 2010439"/>
                <a:gd name="connsiteY250" fmla="*/ 928526 h 1123079"/>
                <a:gd name="connsiteX251" fmla="*/ 130498 w 2010439"/>
                <a:gd name="connsiteY251" fmla="*/ 943948 h 1123079"/>
                <a:gd name="connsiteX252" fmla="*/ 142844 w 2010439"/>
                <a:gd name="connsiteY252" fmla="*/ 939002 h 1123079"/>
                <a:gd name="connsiteX253" fmla="*/ 151825 w 2010439"/>
                <a:gd name="connsiteY253" fmla="*/ 942029 h 1123079"/>
                <a:gd name="connsiteX254" fmla="*/ 165294 w 2010439"/>
                <a:gd name="connsiteY254" fmla="*/ 945876 h 1123079"/>
                <a:gd name="connsiteX255" fmla="*/ 178792 w 2010439"/>
                <a:gd name="connsiteY255" fmla="*/ 951955 h 1123079"/>
                <a:gd name="connsiteX256" fmla="*/ 177433 w 2010439"/>
                <a:gd name="connsiteY256" fmla="*/ 962165 h 1123079"/>
                <a:gd name="connsiteX257" fmla="*/ 181352 w 2010439"/>
                <a:gd name="connsiteY257" fmla="*/ 977350 h 1123079"/>
                <a:gd name="connsiteX258" fmla="*/ 161033 w 2010439"/>
                <a:gd name="connsiteY258" fmla="*/ 987883 h 1123079"/>
                <a:gd name="connsiteX259" fmla="*/ 162561 w 2010439"/>
                <a:gd name="connsiteY259" fmla="*/ 993842 h 1123079"/>
                <a:gd name="connsiteX260" fmla="*/ 182466 w 2010439"/>
                <a:gd name="connsiteY260" fmla="*/ 996662 h 1123079"/>
                <a:gd name="connsiteX261" fmla="*/ 182114 w 2010439"/>
                <a:gd name="connsiteY261" fmla="*/ 1003599 h 1123079"/>
                <a:gd name="connsiteX262" fmla="*/ 183006 w 2010439"/>
                <a:gd name="connsiteY262" fmla="*/ 1012807 h 1123079"/>
                <a:gd name="connsiteX263" fmla="*/ 189171 w 2010439"/>
                <a:gd name="connsiteY263" fmla="*/ 1027322 h 1123079"/>
                <a:gd name="connsiteX264" fmla="*/ 196007 w 2010439"/>
                <a:gd name="connsiteY264" fmla="*/ 1028223 h 1123079"/>
                <a:gd name="connsiteX265" fmla="*/ 206150 w 2010439"/>
                <a:gd name="connsiteY265" fmla="*/ 1017887 h 1123079"/>
                <a:gd name="connsiteX266" fmla="*/ 212118 w 2010439"/>
                <a:gd name="connsiteY266" fmla="*/ 1018221 h 1123079"/>
                <a:gd name="connsiteX267" fmla="*/ 211631 w 2010439"/>
                <a:gd name="connsiteY267" fmla="*/ 1025876 h 1123079"/>
                <a:gd name="connsiteX268" fmla="*/ 217050 w 2010439"/>
                <a:gd name="connsiteY268" fmla="*/ 1027124 h 1123079"/>
                <a:gd name="connsiteX269" fmla="*/ 220303 w 2010439"/>
                <a:gd name="connsiteY269" fmla="*/ 1024873 h 1123079"/>
                <a:gd name="connsiteX270" fmla="*/ 221306 w 2010439"/>
                <a:gd name="connsiteY270" fmla="*/ 1034866 h 1123079"/>
                <a:gd name="connsiteX271" fmla="*/ 234110 w 2010439"/>
                <a:gd name="connsiteY271" fmla="*/ 1027351 h 1123079"/>
                <a:gd name="connsiteX272" fmla="*/ 237374 w 2010439"/>
                <a:gd name="connsiteY272" fmla="*/ 1038588 h 1123079"/>
                <a:gd name="connsiteX273" fmla="*/ 232177 w 2010439"/>
                <a:gd name="connsiteY273" fmla="*/ 1043394 h 1123079"/>
                <a:gd name="connsiteX274" fmla="*/ 233411 w 2010439"/>
                <a:gd name="connsiteY274" fmla="*/ 1049025 h 1123079"/>
                <a:gd name="connsiteX275" fmla="*/ 227674 w 2010439"/>
                <a:gd name="connsiteY275" fmla="*/ 1055764 h 1123079"/>
                <a:gd name="connsiteX276" fmla="*/ 208044 w 2010439"/>
                <a:gd name="connsiteY276" fmla="*/ 1057427 h 1123079"/>
                <a:gd name="connsiteX277" fmla="*/ 203093 w 2010439"/>
                <a:gd name="connsiteY277" fmla="*/ 1065733 h 1123079"/>
                <a:gd name="connsiteX278" fmla="*/ 209119 w 2010439"/>
                <a:gd name="connsiteY278" fmla="*/ 1079116 h 1123079"/>
                <a:gd name="connsiteX279" fmla="*/ 213747 w 2010439"/>
                <a:gd name="connsiteY279" fmla="*/ 1078108 h 1123079"/>
                <a:gd name="connsiteX280" fmla="*/ 230711 w 2010439"/>
                <a:gd name="connsiteY280" fmla="*/ 1069465 h 1123079"/>
                <a:gd name="connsiteX281" fmla="*/ 263516 w 2010439"/>
                <a:gd name="connsiteY281" fmla="*/ 1059582 h 1123079"/>
                <a:gd name="connsiteX282" fmla="*/ 287234 w 2010439"/>
                <a:gd name="connsiteY282" fmla="*/ 1049950 h 1123079"/>
                <a:gd name="connsiteX283" fmla="*/ 304526 w 2010439"/>
                <a:gd name="connsiteY283" fmla="*/ 1043761 h 1123079"/>
                <a:gd name="connsiteX284" fmla="*/ 318477 w 2010439"/>
                <a:gd name="connsiteY284" fmla="*/ 1041639 h 1123079"/>
                <a:gd name="connsiteX285" fmla="*/ 307457 w 2010439"/>
                <a:gd name="connsiteY285" fmla="*/ 1060754 h 1123079"/>
                <a:gd name="connsiteX286" fmla="*/ 295198 w 2010439"/>
                <a:gd name="connsiteY286" fmla="*/ 1062523 h 1123079"/>
                <a:gd name="connsiteX287" fmla="*/ 297676 w 2010439"/>
                <a:gd name="connsiteY287" fmla="*/ 1079048 h 1123079"/>
                <a:gd name="connsiteX288" fmla="*/ 285402 w 2010439"/>
                <a:gd name="connsiteY288" fmla="*/ 1083083 h 1123079"/>
                <a:gd name="connsiteX289" fmla="*/ 273399 w 2010439"/>
                <a:gd name="connsiteY289" fmla="*/ 1083844 h 1123079"/>
                <a:gd name="connsiteX290" fmla="*/ 254955 w 2010439"/>
                <a:gd name="connsiteY290" fmla="*/ 1089923 h 1123079"/>
                <a:gd name="connsiteX291" fmla="*/ 252496 w 2010439"/>
                <a:gd name="connsiteY291" fmla="*/ 1095988 h 1123079"/>
                <a:gd name="connsiteX292" fmla="*/ 242151 w 2010439"/>
                <a:gd name="connsiteY292" fmla="*/ 1100693 h 1123079"/>
                <a:gd name="connsiteX293" fmla="*/ 235995 w 2010439"/>
                <a:gd name="connsiteY293" fmla="*/ 1103610 h 1123079"/>
                <a:gd name="connsiteX294" fmla="*/ 231613 w 2010439"/>
                <a:gd name="connsiteY294" fmla="*/ 1109014 h 1123079"/>
                <a:gd name="connsiteX295" fmla="*/ 229116 w 2010439"/>
                <a:gd name="connsiteY295" fmla="*/ 1113135 h 1123079"/>
                <a:gd name="connsiteX296" fmla="*/ 235874 w 2010439"/>
                <a:gd name="connsiteY296" fmla="*/ 1113729 h 1123079"/>
                <a:gd name="connsiteX297" fmla="*/ 244643 w 2010439"/>
                <a:gd name="connsiteY297" fmla="*/ 1111381 h 1123079"/>
                <a:gd name="connsiteX298" fmla="*/ 256179 w 2010439"/>
                <a:gd name="connsiteY298" fmla="*/ 1108020 h 1123079"/>
                <a:gd name="connsiteX299" fmla="*/ 263357 w 2010439"/>
                <a:gd name="connsiteY299" fmla="*/ 1108257 h 1123079"/>
                <a:gd name="connsiteX300" fmla="*/ 264509 w 2010439"/>
                <a:gd name="connsiteY300" fmla="*/ 1094310 h 1123079"/>
                <a:gd name="connsiteX301" fmla="*/ 273510 w 2010439"/>
                <a:gd name="connsiteY301" fmla="*/ 1091856 h 1123079"/>
                <a:gd name="connsiteX302" fmla="*/ 289225 w 2010439"/>
                <a:gd name="connsiteY302" fmla="*/ 1089364 h 1123079"/>
                <a:gd name="connsiteX303" fmla="*/ 307438 w 2010439"/>
                <a:gd name="connsiteY303" fmla="*/ 1078397 h 1123079"/>
                <a:gd name="connsiteX304" fmla="*/ 305076 w 2010439"/>
                <a:gd name="connsiteY304" fmla="*/ 1084534 h 1123079"/>
                <a:gd name="connsiteX305" fmla="*/ 306305 w 2010439"/>
                <a:gd name="connsiteY305" fmla="*/ 1090377 h 1123079"/>
                <a:gd name="connsiteX306" fmla="*/ 300361 w 2010439"/>
                <a:gd name="connsiteY306" fmla="*/ 1091409 h 1123079"/>
                <a:gd name="connsiteX307" fmla="*/ 298086 w 2010439"/>
                <a:gd name="connsiteY307" fmla="*/ 1096914 h 1123079"/>
                <a:gd name="connsiteX308" fmla="*/ 304140 w 2010439"/>
                <a:gd name="connsiteY308" fmla="*/ 1096321 h 1123079"/>
                <a:gd name="connsiteX309" fmla="*/ 306406 w 2010439"/>
                <a:gd name="connsiteY309" fmla="*/ 1102858 h 1123079"/>
                <a:gd name="connsiteX310" fmla="*/ 298418 w 2010439"/>
                <a:gd name="connsiteY310" fmla="*/ 1110407 h 1123079"/>
                <a:gd name="connsiteX311" fmla="*/ 305832 w 2010439"/>
                <a:gd name="connsiteY311" fmla="*/ 1110716 h 1123079"/>
                <a:gd name="connsiteX312" fmla="*/ 314380 w 2010439"/>
                <a:gd name="connsiteY312" fmla="*/ 1093091 h 1123079"/>
                <a:gd name="connsiteX313" fmla="*/ 321230 w 2010439"/>
                <a:gd name="connsiteY313" fmla="*/ 1088940 h 1123079"/>
                <a:gd name="connsiteX314" fmla="*/ 321582 w 2010439"/>
                <a:gd name="connsiteY314" fmla="*/ 1085474 h 1123079"/>
                <a:gd name="connsiteX315" fmla="*/ 326740 w 2010439"/>
                <a:gd name="connsiteY315" fmla="*/ 1082876 h 1123079"/>
                <a:gd name="connsiteX316" fmla="*/ 318313 w 2010439"/>
                <a:gd name="connsiteY316" fmla="*/ 1074136 h 1123079"/>
                <a:gd name="connsiteX317" fmla="*/ 323042 w 2010439"/>
                <a:gd name="connsiteY317" fmla="*/ 1067502 h 1123079"/>
                <a:gd name="connsiteX318" fmla="*/ 324489 w 2010439"/>
                <a:gd name="connsiteY318" fmla="*/ 1073003 h 1123079"/>
                <a:gd name="connsiteX319" fmla="*/ 336492 w 2010439"/>
                <a:gd name="connsiteY319" fmla="*/ 1067835 h 1123079"/>
                <a:gd name="connsiteX320" fmla="*/ 335186 w 2010439"/>
                <a:gd name="connsiteY320" fmla="*/ 1061568 h 1123079"/>
                <a:gd name="connsiteX321" fmla="*/ 341236 w 2010439"/>
                <a:gd name="connsiteY321" fmla="*/ 1058955 h 1123079"/>
                <a:gd name="connsiteX322" fmla="*/ 349783 w 2010439"/>
                <a:gd name="connsiteY322" fmla="*/ 1067290 h 1123079"/>
                <a:gd name="connsiteX323" fmla="*/ 353254 w 2010439"/>
                <a:gd name="connsiteY323" fmla="*/ 1061106 h 1123079"/>
                <a:gd name="connsiteX324" fmla="*/ 358234 w 2010439"/>
                <a:gd name="connsiteY324" fmla="*/ 1063935 h 1123079"/>
                <a:gd name="connsiteX325" fmla="*/ 365257 w 2010439"/>
                <a:gd name="connsiteY325" fmla="*/ 1078855 h 1123079"/>
                <a:gd name="connsiteX326" fmla="*/ 367499 w 2010439"/>
                <a:gd name="connsiteY326" fmla="*/ 1077563 h 1123079"/>
                <a:gd name="connsiteX327" fmla="*/ 377348 w 2010439"/>
                <a:gd name="connsiteY327" fmla="*/ 1080470 h 1123079"/>
                <a:gd name="connsiteX328" fmla="*/ 382038 w 2010439"/>
                <a:gd name="connsiteY328" fmla="*/ 1085315 h 1123079"/>
                <a:gd name="connsiteX329" fmla="*/ 388026 w 2010439"/>
                <a:gd name="connsiteY329" fmla="*/ 1082943 h 1123079"/>
                <a:gd name="connsiteX330" fmla="*/ 385336 w 2010439"/>
                <a:gd name="connsiteY330" fmla="*/ 1076411 h 1123079"/>
                <a:gd name="connsiteX331" fmla="*/ 388078 w 2010439"/>
                <a:gd name="connsiteY331" fmla="*/ 1068370 h 1123079"/>
                <a:gd name="connsiteX332" fmla="*/ 408740 w 2010439"/>
                <a:gd name="connsiteY332" fmla="*/ 1074121 h 1123079"/>
                <a:gd name="connsiteX333" fmla="*/ 404474 w 2010439"/>
                <a:gd name="connsiteY333" fmla="*/ 1082852 h 1123079"/>
                <a:gd name="connsiteX334" fmla="*/ 404715 w 2010439"/>
                <a:gd name="connsiteY334" fmla="*/ 1089340 h 1123079"/>
                <a:gd name="connsiteX335" fmla="*/ 408186 w 2010439"/>
                <a:gd name="connsiteY335" fmla="*/ 1086964 h 1123079"/>
                <a:gd name="connsiteX336" fmla="*/ 416598 w 2010439"/>
                <a:gd name="connsiteY336" fmla="*/ 1086573 h 1123079"/>
                <a:gd name="connsiteX337" fmla="*/ 419042 w 2010439"/>
                <a:gd name="connsiteY337" fmla="*/ 1106772 h 1123079"/>
                <a:gd name="connsiteX338" fmla="*/ 430824 w 2010439"/>
                <a:gd name="connsiteY338" fmla="*/ 1112668 h 1123079"/>
                <a:gd name="connsiteX339" fmla="*/ 449890 w 2010439"/>
                <a:gd name="connsiteY339" fmla="*/ 1121205 h 1123079"/>
                <a:gd name="connsiteX340" fmla="*/ 457241 w 2010439"/>
                <a:gd name="connsiteY340" fmla="*/ 1118544 h 1123079"/>
                <a:gd name="connsiteX341" fmla="*/ 478202 w 2010439"/>
                <a:gd name="connsiteY341" fmla="*/ 1117927 h 1123079"/>
                <a:gd name="connsiteX342" fmla="*/ 483302 w 2010439"/>
                <a:gd name="connsiteY342" fmla="*/ 1123052 h 1123079"/>
                <a:gd name="connsiteX343" fmla="*/ 497880 w 2010439"/>
                <a:gd name="connsiteY343" fmla="*/ 1122618 h 1123079"/>
                <a:gd name="connsiteX344" fmla="*/ 519925 w 2010439"/>
                <a:gd name="connsiteY344" fmla="*/ 1106160 h 1123079"/>
                <a:gd name="connsiteX345" fmla="*/ 521699 w 2010439"/>
                <a:gd name="connsiteY345" fmla="*/ 1102274 h 1123079"/>
                <a:gd name="connsiteX346" fmla="*/ 528347 w 2010439"/>
                <a:gd name="connsiteY346" fmla="*/ 1100510 h 1123079"/>
                <a:gd name="connsiteX347" fmla="*/ 545518 w 2010439"/>
                <a:gd name="connsiteY347" fmla="*/ 1086385 h 1123079"/>
                <a:gd name="connsiteX348" fmla="*/ 561538 w 2010439"/>
                <a:gd name="connsiteY348" fmla="*/ 1090165 h 1123079"/>
                <a:gd name="connsiteX349" fmla="*/ 563552 w 2010439"/>
                <a:gd name="connsiteY349" fmla="*/ 1097044 h 1123079"/>
                <a:gd name="connsiteX350" fmla="*/ 569805 w 2010439"/>
                <a:gd name="connsiteY350" fmla="*/ 1076657 h 1123079"/>
                <a:gd name="connsiteX351" fmla="*/ 568397 w 2010439"/>
                <a:gd name="connsiteY351" fmla="*/ 1050389 h 1123079"/>
                <a:gd name="connsiteX352" fmla="*/ 569246 w 2010439"/>
                <a:gd name="connsiteY352" fmla="*/ 1042681 h 1123079"/>
                <a:gd name="connsiteX353" fmla="*/ 564083 w 2010439"/>
                <a:gd name="connsiteY353" fmla="*/ 1036062 h 1123079"/>
                <a:gd name="connsiteX354" fmla="*/ 564705 w 2010439"/>
                <a:gd name="connsiteY354" fmla="*/ 1029149 h 1123079"/>
                <a:gd name="connsiteX355" fmla="*/ 573811 w 2010439"/>
                <a:gd name="connsiteY355" fmla="*/ 1001445 h 1123079"/>
                <a:gd name="connsiteX356" fmla="*/ 590794 w 2010439"/>
                <a:gd name="connsiteY356" fmla="*/ 997525 h 1123079"/>
                <a:gd name="connsiteX357" fmla="*/ 612333 w 2010439"/>
                <a:gd name="connsiteY357" fmla="*/ 993909 h 1123079"/>
                <a:gd name="connsiteX358" fmla="*/ 622876 w 2010439"/>
                <a:gd name="connsiteY358" fmla="*/ 992222 h 1123079"/>
                <a:gd name="connsiteX359" fmla="*/ 625204 w 2010439"/>
                <a:gd name="connsiteY359" fmla="*/ 993235 h 1123079"/>
                <a:gd name="connsiteX360" fmla="*/ 639339 w 2010439"/>
                <a:gd name="connsiteY360" fmla="*/ 991331 h 1123079"/>
                <a:gd name="connsiteX361" fmla="*/ 647693 w 2010439"/>
                <a:gd name="connsiteY361" fmla="*/ 995293 h 1123079"/>
                <a:gd name="connsiteX362" fmla="*/ 685946 w 2010439"/>
                <a:gd name="connsiteY362" fmla="*/ 1002490 h 1123079"/>
                <a:gd name="connsiteX363" fmla="*/ 719392 w 2010439"/>
                <a:gd name="connsiteY363" fmla="*/ 1005147 h 1123079"/>
                <a:gd name="connsiteX364" fmla="*/ 746869 w 2010439"/>
                <a:gd name="connsiteY364" fmla="*/ 1024946 h 1123079"/>
                <a:gd name="connsiteX365" fmla="*/ 755359 w 2010439"/>
                <a:gd name="connsiteY365" fmla="*/ 1031381 h 1123079"/>
                <a:gd name="connsiteX366" fmla="*/ 760324 w 2010439"/>
                <a:gd name="connsiteY366" fmla="*/ 1035893 h 1123079"/>
                <a:gd name="connsiteX367" fmla="*/ 771725 w 2010439"/>
                <a:gd name="connsiteY367" fmla="*/ 1043804 h 1123079"/>
                <a:gd name="connsiteX368" fmla="*/ 795636 w 2010439"/>
                <a:gd name="connsiteY368" fmla="*/ 1048219 h 1123079"/>
                <a:gd name="connsiteX369" fmla="*/ 809196 w 2010439"/>
                <a:gd name="connsiteY369" fmla="*/ 1051705 h 1123079"/>
                <a:gd name="connsiteX370" fmla="*/ 823109 w 2010439"/>
                <a:gd name="connsiteY370" fmla="*/ 1050326 h 1123079"/>
                <a:gd name="connsiteX371" fmla="*/ 850871 w 2010439"/>
                <a:gd name="connsiteY371" fmla="*/ 1035816 h 1123079"/>
                <a:gd name="connsiteX372" fmla="*/ 851792 w 2010439"/>
                <a:gd name="connsiteY372" fmla="*/ 1027625 h 1123079"/>
                <a:gd name="connsiteX373" fmla="*/ 859824 w 2010439"/>
                <a:gd name="connsiteY373" fmla="*/ 1026194 h 1123079"/>
                <a:gd name="connsiteX374" fmla="*/ 870106 w 2010439"/>
                <a:gd name="connsiteY374" fmla="*/ 1023171 h 1123079"/>
                <a:gd name="connsiteX375" fmla="*/ 875038 w 2010439"/>
                <a:gd name="connsiteY375" fmla="*/ 1018346 h 1123079"/>
                <a:gd name="connsiteX376" fmla="*/ 881623 w 2010439"/>
                <a:gd name="connsiteY376" fmla="*/ 1016706 h 1123079"/>
                <a:gd name="connsiteX377" fmla="*/ 888492 w 2010439"/>
                <a:gd name="connsiteY377" fmla="*/ 1014007 h 1123079"/>
                <a:gd name="connsiteX378" fmla="*/ 896837 w 2010439"/>
                <a:gd name="connsiteY378" fmla="*/ 1014990 h 1123079"/>
                <a:gd name="connsiteX379" fmla="*/ 900737 w 2010439"/>
                <a:gd name="connsiteY379" fmla="*/ 1007253 h 1123079"/>
                <a:gd name="connsiteX380" fmla="*/ 906122 w 2010439"/>
                <a:gd name="connsiteY380" fmla="*/ 1003787 h 1123079"/>
                <a:gd name="connsiteX381" fmla="*/ 912066 w 2010439"/>
                <a:gd name="connsiteY381" fmla="*/ 1009524 h 1123079"/>
                <a:gd name="connsiteX382" fmla="*/ 912837 w 2010439"/>
                <a:gd name="connsiteY382" fmla="*/ 1001917 h 1123079"/>
                <a:gd name="connsiteX383" fmla="*/ 919586 w 2010439"/>
                <a:gd name="connsiteY383" fmla="*/ 991355 h 1123079"/>
                <a:gd name="connsiteX384" fmla="*/ 926508 w 2010439"/>
                <a:gd name="connsiteY384" fmla="*/ 981771 h 1123079"/>
                <a:gd name="connsiteX385" fmla="*/ 933908 w 2010439"/>
                <a:gd name="connsiteY385" fmla="*/ 986095 h 1123079"/>
                <a:gd name="connsiteX386" fmla="*/ 936449 w 2010439"/>
                <a:gd name="connsiteY386" fmla="*/ 993693 h 1123079"/>
                <a:gd name="connsiteX387" fmla="*/ 937519 w 2010439"/>
                <a:gd name="connsiteY387" fmla="*/ 984750 h 1123079"/>
                <a:gd name="connsiteX388" fmla="*/ 944528 w 2010439"/>
                <a:gd name="connsiteY388" fmla="*/ 972125 h 1123079"/>
                <a:gd name="connsiteX389" fmla="*/ 942638 w 2010439"/>
                <a:gd name="connsiteY389" fmla="*/ 965641 h 1123079"/>
                <a:gd name="connsiteX390" fmla="*/ 945213 w 2010439"/>
                <a:gd name="connsiteY390" fmla="*/ 956843 h 1123079"/>
                <a:gd name="connsiteX391" fmla="*/ 954522 w 2010439"/>
                <a:gd name="connsiteY391" fmla="*/ 938457 h 1123079"/>
                <a:gd name="connsiteX392" fmla="*/ 967330 w 2010439"/>
                <a:gd name="connsiteY392" fmla="*/ 917665 h 1123079"/>
                <a:gd name="connsiteX393" fmla="*/ 977863 w 2010439"/>
                <a:gd name="connsiteY393" fmla="*/ 901790 h 1123079"/>
                <a:gd name="connsiteX394" fmla="*/ 1015836 w 2010439"/>
                <a:gd name="connsiteY394" fmla="*/ 896748 h 1123079"/>
                <a:gd name="connsiteX395" fmla="*/ 1019611 w 2010439"/>
                <a:gd name="connsiteY395" fmla="*/ 894935 h 1123079"/>
                <a:gd name="connsiteX396" fmla="*/ 1030341 w 2010439"/>
                <a:gd name="connsiteY396" fmla="*/ 895355 h 1123079"/>
                <a:gd name="connsiteX397" fmla="*/ 1069129 w 2010439"/>
                <a:gd name="connsiteY397" fmla="*/ 905893 h 1123079"/>
                <a:gd name="connsiteX398" fmla="*/ 1074312 w 2010439"/>
                <a:gd name="connsiteY398" fmla="*/ 899911 h 1123079"/>
                <a:gd name="connsiteX399" fmla="*/ 1076384 w 2010439"/>
                <a:gd name="connsiteY399" fmla="*/ 896179 h 1123079"/>
                <a:gd name="connsiteX400" fmla="*/ 1082391 w 2010439"/>
                <a:gd name="connsiteY400" fmla="*/ 891330 h 1123079"/>
                <a:gd name="connsiteX401" fmla="*/ 1090764 w 2010439"/>
                <a:gd name="connsiteY401" fmla="*/ 893778 h 1123079"/>
                <a:gd name="connsiteX402" fmla="*/ 1096303 w 2010439"/>
                <a:gd name="connsiteY402" fmla="*/ 888283 h 1123079"/>
                <a:gd name="connsiteX403" fmla="*/ 1095339 w 2010439"/>
                <a:gd name="connsiteY403" fmla="*/ 880724 h 1123079"/>
                <a:gd name="connsiteX404" fmla="*/ 1097595 w 2010439"/>
                <a:gd name="connsiteY404" fmla="*/ 875469 h 1123079"/>
                <a:gd name="connsiteX405" fmla="*/ 1086117 w 2010439"/>
                <a:gd name="connsiteY405" fmla="*/ 876747 h 1123079"/>
                <a:gd name="connsiteX406" fmla="*/ 1099201 w 2010439"/>
                <a:gd name="connsiteY406" fmla="*/ 865163 h 1123079"/>
                <a:gd name="connsiteX407" fmla="*/ 1109309 w 2010439"/>
                <a:gd name="connsiteY407" fmla="*/ 860569 h 1123079"/>
                <a:gd name="connsiteX408" fmla="*/ 1120340 w 2010439"/>
                <a:gd name="connsiteY408" fmla="*/ 838258 h 1123079"/>
                <a:gd name="connsiteX409" fmla="*/ 1126365 w 2010439"/>
                <a:gd name="connsiteY409" fmla="*/ 834522 h 1123079"/>
                <a:gd name="connsiteX410" fmla="*/ 1148160 w 2010439"/>
                <a:gd name="connsiteY410" fmla="*/ 847075 h 1123079"/>
                <a:gd name="connsiteX411" fmla="*/ 1152074 w 2010439"/>
                <a:gd name="connsiteY411" fmla="*/ 857783 h 1123079"/>
                <a:gd name="connsiteX412" fmla="*/ 1154610 w 2010439"/>
                <a:gd name="connsiteY412" fmla="*/ 865669 h 1123079"/>
                <a:gd name="connsiteX413" fmla="*/ 1146342 w 2010439"/>
                <a:gd name="connsiteY413" fmla="*/ 881944 h 1123079"/>
                <a:gd name="connsiteX414" fmla="*/ 1140056 w 2010439"/>
                <a:gd name="connsiteY414" fmla="*/ 887979 h 1123079"/>
                <a:gd name="connsiteX415" fmla="*/ 1131307 w 2010439"/>
                <a:gd name="connsiteY415" fmla="*/ 900865 h 1123079"/>
                <a:gd name="connsiteX416" fmla="*/ 1125266 w 2010439"/>
                <a:gd name="connsiteY416" fmla="*/ 917530 h 1123079"/>
                <a:gd name="connsiteX417" fmla="*/ 1126004 w 2010439"/>
                <a:gd name="connsiteY417" fmla="*/ 924193 h 1123079"/>
                <a:gd name="connsiteX418" fmla="*/ 1147620 w 2010439"/>
                <a:gd name="connsiteY418" fmla="*/ 942959 h 1123079"/>
                <a:gd name="connsiteX419" fmla="*/ 1156871 w 2010439"/>
                <a:gd name="connsiteY419" fmla="*/ 955744 h 1123079"/>
                <a:gd name="connsiteX420" fmla="*/ 1153298 w 2010439"/>
                <a:gd name="connsiteY420" fmla="*/ 966750 h 1123079"/>
                <a:gd name="connsiteX421" fmla="*/ 1165292 w 2010439"/>
                <a:gd name="connsiteY421" fmla="*/ 966128 h 1123079"/>
                <a:gd name="connsiteX422" fmla="*/ 1168252 w 2010439"/>
                <a:gd name="connsiteY422" fmla="*/ 969652 h 1123079"/>
                <a:gd name="connsiteX423" fmla="*/ 1174861 w 2010439"/>
                <a:gd name="connsiteY423" fmla="*/ 968987 h 1123079"/>
                <a:gd name="connsiteX424" fmla="*/ 1184971 w 2010439"/>
                <a:gd name="connsiteY424" fmla="*/ 972496 h 1123079"/>
                <a:gd name="connsiteX425" fmla="*/ 1181987 w 2010439"/>
                <a:gd name="connsiteY425" fmla="*/ 954250 h 1123079"/>
                <a:gd name="connsiteX426" fmla="*/ 1191474 w 2010439"/>
                <a:gd name="connsiteY426" fmla="*/ 950562 h 1123079"/>
                <a:gd name="connsiteX427" fmla="*/ 1191498 w 2010439"/>
                <a:gd name="connsiteY427" fmla="*/ 942164 h 1123079"/>
                <a:gd name="connsiteX428" fmla="*/ 1198879 w 2010439"/>
                <a:gd name="connsiteY428" fmla="*/ 940236 h 1123079"/>
                <a:gd name="connsiteX429" fmla="*/ 1189738 w 2010439"/>
                <a:gd name="connsiteY429" fmla="*/ 912454 h 1123079"/>
                <a:gd name="connsiteX430" fmla="*/ 1199423 w 2010439"/>
                <a:gd name="connsiteY430" fmla="*/ 913794 h 1123079"/>
                <a:gd name="connsiteX431" fmla="*/ 1202995 w 2010439"/>
                <a:gd name="connsiteY431" fmla="*/ 907238 h 1123079"/>
                <a:gd name="connsiteX432" fmla="*/ 1215987 w 2010439"/>
                <a:gd name="connsiteY432" fmla="*/ 905555 h 1123079"/>
                <a:gd name="connsiteX433" fmla="*/ 1221107 w 2010439"/>
                <a:gd name="connsiteY433" fmla="*/ 902379 h 1123079"/>
                <a:gd name="connsiteX434" fmla="*/ 1207864 w 2010439"/>
                <a:gd name="connsiteY434" fmla="*/ 893085 h 1123079"/>
                <a:gd name="connsiteX435" fmla="*/ 1206346 w 2010439"/>
                <a:gd name="connsiteY435" fmla="*/ 884986 h 1123079"/>
                <a:gd name="connsiteX436" fmla="*/ 1197167 w 2010439"/>
                <a:gd name="connsiteY436" fmla="*/ 872071 h 1123079"/>
                <a:gd name="connsiteX437" fmla="*/ 1194019 w 2010439"/>
                <a:gd name="connsiteY437" fmla="*/ 854962 h 1123079"/>
                <a:gd name="connsiteX438" fmla="*/ 1194959 w 2010439"/>
                <a:gd name="connsiteY438" fmla="*/ 847495 h 1123079"/>
                <a:gd name="connsiteX439" fmla="*/ 1192930 w 2010439"/>
                <a:gd name="connsiteY439" fmla="*/ 840273 h 1123079"/>
                <a:gd name="connsiteX440" fmla="*/ 1194501 w 2010439"/>
                <a:gd name="connsiteY440" fmla="*/ 833091 h 1123079"/>
                <a:gd name="connsiteX441" fmla="*/ 1194704 w 2010439"/>
                <a:gd name="connsiteY441" fmla="*/ 827797 h 1123079"/>
                <a:gd name="connsiteX442" fmla="*/ 1215992 w 2010439"/>
                <a:gd name="connsiteY442" fmla="*/ 824799 h 1123079"/>
                <a:gd name="connsiteX443" fmla="*/ 1229822 w 2010439"/>
                <a:gd name="connsiteY443" fmla="*/ 824693 h 1123079"/>
                <a:gd name="connsiteX444" fmla="*/ 1238688 w 2010439"/>
                <a:gd name="connsiteY444" fmla="*/ 828265 h 1123079"/>
                <a:gd name="connsiteX445" fmla="*/ 1239522 w 2010439"/>
                <a:gd name="connsiteY445" fmla="*/ 834812 h 1123079"/>
                <a:gd name="connsiteX446" fmla="*/ 1246068 w 2010439"/>
                <a:gd name="connsiteY446" fmla="*/ 839888 h 1123079"/>
                <a:gd name="connsiteX447" fmla="*/ 1281235 w 2010439"/>
                <a:gd name="connsiteY447" fmla="*/ 826052 h 1123079"/>
                <a:gd name="connsiteX448" fmla="*/ 1287743 w 2010439"/>
                <a:gd name="connsiteY448" fmla="*/ 824187 h 1123079"/>
                <a:gd name="connsiteX449" fmla="*/ 1306558 w 2010439"/>
                <a:gd name="connsiteY449" fmla="*/ 802190 h 1123079"/>
                <a:gd name="connsiteX450" fmla="*/ 1323990 w 2010439"/>
                <a:gd name="connsiteY450" fmla="*/ 792645 h 1123079"/>
                <a:gd name="connsiteX451" fmla="*/ 1335372 w 2010439"/>
                <a:gd name="connsiteY451" fmla="*/ 781943 h 1123079"/>
                <a:gd name="connsiteX452" fmla="*/ 1362643 w 2010439"/>
                <a:gd name="connsiteY452" fmla="*/ 762405 h 1123079"/>
                <a:gd name="connsiteX453" fmla="*/ 1406468 w 2010439"/>
                <a:gd name="connsiteY453" fmla="*/ 770846 h 1123079"/>
                <a:gd name="connsiteX454" fmla="*/ 1448722 w 2010439"/>
                <a:gd name="connsiteY454" fmla="*/ 762328 h 1123079"/>
                <a:gd name="connsiteX455" fmla="*/ 1470578 w 2010439"/>
                <a:gd name="connsiteY455" fmla="*/ 761180 h 1123079"/>
                <a:gd name="connsiteX456" fmla="*/ 1506608 w 2010439"/>
                <a:gd name="connsiteY456" fmla="*/ 740119 h 1123079"/>
                <a:gd name="connsiteX457" fmla="*/ 1510629 w 2010439"/>
                <a:gd name="connsiteY457" fmla="*/ 734633 h 1123079"/>
                <a:gd name="connsiteX458" fmla="*/ 1524893 w 2010439"/>
                <a:gd name="connsiteY458" fmla="*/ 729875 h 1123079"/>
                <a:gd name="connsiteX459" fmla="*/ 1554010 w 2010439"/>
                <a:gd name="connsiteY459" fmla="*/ 701240 h 1123079"/>
                <a:gd name="connsiteX460" fmla="*/ 1574349 w 2010439"/>
                <a:gd name="connsiteY460" fmla="*/ 675945 h 1123079"/>
                <a:gd name="connsiteX461" fmla="*/ 1597619 w 2010439"/>
                <a:gd name="connsiteY461" fmla="*/ 655154 h 1123079"/>
                <a:gd name="connsiteX462" fmla="*/ 1611902 w 2010439"/>
                <a:gd name="connsiteY462" fmla="*/ 649253 h 1123079"/>
                <a:gd name="connsiteX463" fmla="*/ 1639168 w 2010439"/>
                <a:gd name="connsiteY463" fmla="*/ 640272 h 1123079"/>
                <a:gd name="connsiteX464" fmla="*/ 1686040 w 2010439"/>
                <a:gd name="connsiteY464" fmla="*/ 625747 h 1123079"/>
                <a:gd name="connsiteX465" fmla="*/ 1701785 w 2010439"/>
                <a:gd name="connsiteY465" fmla="*/ 615373 h 1123079"/>
                <a:gd name="connsiteX466" fmla="*/ 1742452 w 2010439"/>
                <a:gd name="connsiteY466" fmla="*/ 571712 h 1123079"/>
                <a:gd name="connsiteX467" fmla="*/ 1758187 w 2010439"/>
                <a:gd name="connsiteY467" fmla="*/ 576258 h 1123079"/>
                <a:gd name="connsiteX468" fmla="*/ 1763326 w 2010439"/>
                <a:gd name="connsiteY468" fmla="*/ 584516 h 1123079"/>
                <a:gd name="connsiteX469" fmla="*/ 1767433 w 2010439"/>
                <a:gd name="connsiteY469" fmla="*/ 593829 h 1123079"/>
                <a:gd name="connsiteX470" fmla="*/ 1788417 w 2010439"/>
                <a:gd name="connsiteY470" fmla="*/ 579656 h 1123079"/>
                <a:gd name="connsiteX471" fmla="*/ 1789733 w 2010439"/>
                <a:gd name="connsiteY471" fmla="*/ 562576 h 1123079"/>
                <a:gd name="connsiteX472" fmla="*/ 1793812 w 2010439"/>
                <a:gd name="connsiteY472" fmla="*/ 554420 h 1123079"/>
                <a:gd name="connsiteX473" fmla="*/ 1793320 w 2010439"/>
                <a:gd name="connsiteY473" fmla="*/ 548307 h 1123079"/>
                <a:gd name="connsiteX474" fmla="*/ 1797244 w 2010439"/>
                <a:gd name="connsiteY474" fmla="*/ 545193 h 1123079"/>
                <a:gd name="connsiteX475" fmla="*/ 1819130 w 2010439"/>
                <a:gd name="connsiteY475" fmla="*/ 544986 h 1123079"/>
                <a:gd name="connsiteX476" fmla="*/ 1822977 w 2010439"/>
                <a:gd name="connsiteY476" fmla="*/ 538054 h 1123079"/>
                <a:gd name="connsiteX477" fmla="*/ 1834841 w 2010439"/>
                <a:gd name="connsiteY477" fmla="*/ 530427 h 1123079"/>
                <a:gd name="connsiteX478" fmla="*/ 1860251 w 2010439"/>
                <a:gd name="connsiteY478" fmla="*/ 528205 h 1123079"/>
                <a:gd name="connsiteX479" fmla="*/ 1875942 w 2010439"/>
                <a:gd name="connsiteY479" fmla="*/ 533166 h 1123079"/>
                <a:gd name="connsiteX480" fmla="*/ 1883646 w 2010439"/>
                <a:gd name="connsiteY480" fmla="*/ 529082 h 1123079"/>
                <a:gd name="connsiteX481" fmla="*/ 1892882 w 2010439"/>
                <a:gd name="connsiteY481" fmla="*/ 530991 h 1123079"/>
                <a:gd name="connsiteX482" fmla="*/ 1911442 w 2010439"/>
                <a:gd name="connsiteY482" fmla="*/ 525959 h 1123079"/>
                <a:gd name="connsiteX483" fmla="*/ 1925870 w 2010439"/>
                <a:gd name="connsiteY483" fmla="*/ 505046 h 1123079"/>
                <a:gd name="connsiteX484" fmla="*/ 1958184 w 2010439"/>
                <a:gd name="connsiteY484" fmla="*/ 513266 h 1123079"/>
                <a:gd name="connsiteX485" fmla="*/ 1956848 w 2010439"/>
                <a:gd name="connsiteY485" fmla="*/ 528060 h 1123079"/>
                <a:gd name="connsiteX486" fmla="*/ 1966962 w 2010439"/>
                <a:gd name="connsiteY486" fmla="*/ 538545 h 1123079"/>
                <a:gd name="connsiteX487" fmla="*/ 1973099 w 2010439"/>
                <a:gd name="connsiteY487" fmla="*/ 537360 h 1123079"/>
                <a:gd name="connsiteX488" fmla="*/ 1974333 w 2010439"/>
                <a:gd name="connsiteY488" fmla="*/ 528542 h 1123079"/>
                <a:gd name="connsiteX489" fmla="*/ 1985208 w 2010439"/>
                <a:gd name="connsiteY489" fmla="*/ 516491 h 1123079"/>
                <a:gd name="connsiteX490" fmla="*/ 2010440 w 2010439"/>
                <a:gd name="connsiteY490" fmla="*/ 495405 h 1123079"/>
                <a:gd name="connsiteX491" fmla="*/ 2007750 w 2010439"/>
                <a:gd name="connsiteY491" fmla="*/ 475770 h 1123079"/>
                <a:gd name="connsiteX492" fmla="*/ 1798098 w 2010439"/>
                <a:gd name="connsiteY492" fmla="*/ 336856 h 1123079"/>
                <a:gd name="connsiteX493" fmla="*/ 1792847 w 2010439"/>
                <a:gd name="connsiteY493" fmla="*/ 341393 h 1123079"/>
                <a:gd name="connsiteX494" fmla="*/ 1788928 w 2010439"/>
                <a:gd name="connsiteY494" fmla="*/ 349236 h 1123079"/>
                <a:gd name="connsiteX495" fmla="*/ 1781846 w 2010439"/>
                <a:gd name="connsiteY495" fmla="*/ 347592 h 1123079"/>
                <a:gd name="connsiteX496" fmla="*/ 1781259 w 2010439"/>
                <a:gd name="connsiteY496" fmla="*/ 354062 h 1123079"/>
                <a:gd name="connsiteX497" fmla="*/ 1776563 w 2010439"/>
                <a:gd name="connsiteY497" fmla="*/ 360391 h 1123079"/>
                <a:gd name="connsiteX498" fmla="*/ 1769197 w 2010439"/>
                <a:gd name="connsiteY498" fmla="*/ 381159 h 1123079"/>
                <a:gd name="connsiteX499" fmla="*/ 1775985 w 2010439"/>
                <a:gd name="connsiteY499" fmla="*/ 379674 h 1123079"/>
                <a:gd name="connsiteX500" fmla="*/ 1783003 w 2010439"/>
                <a:gd name="connsiteY500" fmla="*/ 382586 h 1123079"/>
                <a:gd name="connsiteX501" fmla="*/ 1790553 w 2010439"/>
                <a:gd name="connsiteY501" fmla="*/ 382581 h 1123079"/>
                <a:gd name="connsiteX502" fmla="*/ 1796391 w 2010439"/>
                <a:gd name="connsiteY502" fmla="*/ 388911 h 1123079"/>
                <a:gd name="connsiteX503" fmla="*/ 1792086 w 2010439"/>
                <a:gd name="connsiteY503" fmla="*/ 398615 h 1123079"/>
                <a:gd name="connsiteX504" fmla="*/ 1783669 w 2010439"/>
                <a:gd name="connsiteY504" fmla="*/ 413993 h 1123079"/>
                <a:gd name="connsiteX505" fmla="*/ 1767635 w 2010439"/>
                <a:gd name="connsiteY505" fmla="*/ 420853 h 1123079"/>
                <a:gd name="connsiteX506" fmla="*/ 1761175 w 2010439"/>
                <a:gd name="connsiteY506" fmla="*/ 408950 h 1123079"/>
                <a:gd name="connsiteX507" fmla="*/ 1755810 w 2010439"/>
                <a:gd name="connsiteY507" fmla="*/ 408733 h 1123079"/>
                <a:gd name="connsiteX508" fmla="*/ 1753617 w 2010439"/>
                <a:gd name="connsiteY508" fmla="*/ 402192 h 1123079"/>
                <a:gd name="connsiteX509" fmla="*/ 1745869 w 2010439"/>
                <a:gd name="connsiteY509" fmla="*/ 412802 h 1123079"/>
                <a:gd name="connsiteX510" fmla="*/ 1737597 w 2010439"/>
                <a:gd name="connsiteY510" fmla="*/ 417324 h 1123079"/>
                <a:gd name="connsiteX511" fmla="*/ 1723444 w 2010439"/>
                <a:gd name="connsiteY511" fmla="*/ 412513 h 1123079"/>
                <a:gd name="connsiteX512" fmla="*/ 1718532 w 2010439"/>
                <a:gd name="connsiteY512" fmla="*/ 418167 h 1123079"/>
                <a:gd name="connsiteX513" fmla="*/ 1712443 w 2010439"/>
                <a:gd name="connsiteY513" fmla="*/ 414166 h 1123079"/>
                <a:gd name="connsiteX514" fmla="*/ 1699350 w 2010439"/>
                <a:gd name="connsiteY514" fmla="*/ 420819 h 1123079"/>
                <a:gd name="connsiteX515" fmla="*/ 1711016 w 2010439"/>
                <a:gd name="connsiteY515" fmla="*/ 400095 h 1123079"/>
                <a:gd name="connsiteX516" fmla="*/ 1703761 w 2010439"/>
                <a:gd name="connsiteY516" fmla="*/ 389711 h 1123079"/>
                <a:gd name="connsiteX517" fmla="*/ 1707965 w 2010439"/>
                <a:gd name="connsiteY517" fmla="*/ 384292 h 1123079"/>
                <a:gd name="connsiteX518" fmla="*/ 1714357 w 2010439"/>
                <a:gd name="connsiteY518" fmla="*/ 380875 h 1123079"/>
                <a:gd name="connsiteX519" fmla="*/ 1718295 w 2010439"/>
                <a:gd name="connsiteY519" fmla="*/ 376835 h 1123079"/>
                <a:gd name="connsiteX520" fmla="*/ 1730197 w 2010439"/>
                <a:gd name="connsiteY520" fmla="*/ 371865 h 1123079"/>
                <a:gd name="connsiteX521" fmla="*/ 1737034 w 2010439"/>
                <a:gd name="connsiteY521" fmla="*/ 370568 h 1123079"/>
                <a:gd name="connsiteX522" fmla="*/ 1749008 w 2010439"/>
                <a:gd name="connsiteY522" fmla="*/ 366576 h 1123079"/>
                <a:gd name="connsiteX523" fmla="*/ 1760592 w 2010439"/>
                <a:gd name="connsiteY523" fmla="*/ 360685 h 1123079"/>
                <a:gd name="connsiteX524" fmla="*/ 1766854 w 2010439"/>
                <a:gd name="connsiteY524" fmla="*/ 348585 h 1123079"/>
                <a:gd name="connsiteX525" fmla="*/ 1754263 w 2010439"/>
                <a:gd name="connsiteY525" fmla="*/ 349255 h 1123079"/>
                <a:gd name="connsiteX526" fmla="*/ 1759710 w 2010439"/>
                <a:gd name="connsiteY526" fmla="*/ 342150 h 1123079"/>
                <a:gd name="connsiteX527" fmla="*/ 1770070 w 2010439"/>
                <a:gd name="connsiteY527" fmla="*/ 336413 h 1123079"/>
                <a:gd name="connsiteX528" fmla="*/ 1775580 w 2010439"/>
                <a:gd name="connsiteY528" fmla="*/ 335598 h 1123079"/>
                <a:gd name="connsiteX529" fmla="*/ 1778617 w 2010439"/>
                <a:gd name="connsiteY529" fmla="*/ 331081 h 1123079"/>
                <a:gd name="connsiteX530" fmla="*/ 1789193 w 2010439"/>
                <a:gd name="connsiteY530" fmla="*/ 324511 h 1123079"/>
                <a:gd name="connsiteX531" fmla="*/ 1802292 w 2010439"/>
                <a:gd name="connsiteY531" fmla="*/ 325436 h 1123079"/>
                <a:gd name="connsiteX532" fmla="*/ 1802672 w 2010439"/>
                <a:gd name="connsiteY532" fmla="*/ 331809 h 1123079"/>
                <a:gd name="connsiteX533" fmla="*/ 1798098 w 2010439"/>
                <a:gd name="connsiteY533" fmla="*/ 336856 h 112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Lst>
              <a:rect l="l" t="t" r="r" b="b"/>
              <a:pathLst>
                <a:path w="2010439" h="1123079">
                  <a:moveTo>
                    <a:pt x="2007750" y="475770"/>
                  </a:moveTo>
                  <a:cubicBezTo>
                    <a:pt x="1972703" y="468009"/>
                    <a:pt x="1973021" y="448962"/>
                    <a:pt x="1973021" y="448962"/>
                  </a:cubicBezTo>
                  <a:lnTo>
                    <a:pt x="1966200" y="443968"/>
                  </a:lnTo>
                  <a:cubicBezTo>
                    <a:pt x="1966200" y="443968"/>
                    <a:pt x="1964566" y="439610"/>
                    <a:pt x="1967377" y="431998"/>
                  </a:cubicBezTo>
                  <a:cubicBezTo>
                    <a:pt x="1963713" y="424150"/>
                    <a:pt x="1953440" y="425254"/>
                    <a:pt x="1948816" y="430248"/>
                  </a:cubicBezTo>
                  <a:cubicBezTo>
                    <a:pt x="1941899" y="418298"/>
                    <a:pt x="1929741" y="420366"/>
                    <a:pt x="1923980" y="423610"/>
                  </a:cubicBezTo>
                  <a:cubicBezTo>
                    <a:pt x="1918273" y="418630"/>
                    <a:pt x="1916976" y="410744"/>
                    <a:pt x="1919685" y="403652"/>
                  </a:cubicBezTo>
                  <a:cubicBezTo>
                    <a:pt x="1919049" y="399352"/>
                    <a:pt x="1920013" y="390636"/>
                    <a:pt x="1922028" y="380277"/>
                  </a:cubicBezTo>
                  <a:cubicBezTo>
                    <a:pt x="1918056" y="369218"/>
                    <a:pt x="1921961" y="362016"/>
                    <a:pt x="1923248" y="358102"/>
                  </a:cubicBezTo>
                  <a:cubicBezTo>
                    <a:pt x="1923248" y="358102"/>
                    <a:pt x="1920505" y="355166"/>
                    <a:pt x="1916957" y="352649"/>
                  </a:cubicBezTo>
                  <a:cubicBezTo>
                    <a:pt x="1901979" y="363727"/>
                    <a:pt x="1901902" y="353194"/>
                    <a:pt x="1899804" y="345722"/>
                  </a:cubicBezTo>
                  <a:cubicBezTo>
                    <a:pt x="1897534" y="332017"/>
                    <a:pt x="1885020" y="315419"/>
                    <a:pt x="1882942" y="311273"/>
                  </a:cubicBezTo>
                  <a:cubicBezTo>
                    <a:pt x="1880802" y="307127"/>
                    <a:pt x="1882450" y="301964"/>
                    <a:pt x="1880507" y="298252"/>
                  </a:cubicBezTo>
                  <a:cubicBezTo>
                    <a:pt x="1873281" y="299882"/>
                    <a:pt x="1865076" y="291412"/>
                    <a:pt x="1859349" y="284229"/>
                  </a:cubicBezTo>
                  <a:cubicBezTo>
                    <a:pt x="1861133" y="261451"/>
                    <a:pt x="1853198" y="261957"/>
                    <a:pt x="1846622" y="262357"/>
                  </a:cubicBezTo>
                  <a:cubicBezTo>
                    <a:pt x="1845157" y="255078"/>
                    <a:pt x="1835294" y="244492"/>
                    <a:pt x="1830088" y="240105"/>
                  </a:cubicBezTo>
                  <a:cubicBezTo>
                    <a:pt x="1835699" y="229441"/>
                    <a:pt x="1845523" y="230059"/>
                    <a:pt x="1856240" y="229220"/>
                  </a:cubicBezTo>
                  <a:cubicBezTo>
                    <a:pt x="1870176" y="222080"/>
                    <a:pt x="1864425" y="206794"/>
                    <a:pt x="1859364" y="201269"/>
                  </a:cubicBezTo>
                  <a:cubicBezTo>
                    <a:pt x="1860882" y="197962"/>
                    <a:pt x="1860246" y="187068"/>
                    <a:pt x="1857334" y="183780"/>
                  </a:cubicBezTo>
                  <a:cubicBezTo>
                    <a:pt x="1858964" y="179600"/>
                    <a:pt x="1869111" y="164237"/>
                    <a:pt x="1869111" y="164237"/>
                  </a:cubicBezTo>
                  <a:cubicBezTo>
                    <a:pt x="1869111" y="164237"/>
                    <a:pt x="1862068" y="160423"/>
                    <a:pt x="1859470" y="158245"/>
                  </a:cubicBezTo>
                  <a:cubicBezTo>
                    <a:pt x="1834277" y="139367"/>
                    <a:pt x="1814570" y="147981"/>
                    <a:pt x="1811031" y="154239"/>
                  </a:cubicBezTo>
                  <a:cubicBezTo>
                    <a:pt x="1811031" y="154239"/>
                    <a:pt x="1807112" y="154875"/>
                    <a:pt x="1803029" y="153795"/>
                  </a:cubicBezTo>
                  <a:cubicBezTo>
                    <a:pt x="1798449" y="161421"/>
                    <a:pt x="1788586" y="165514"/>
                    <a:pt x="1784999" y="163311"/>
                  </a:cubicBezTo>
                  <a:cubicBezTo>
                    <a:pt x="1776366" y="159266"/>
                    <a:pt x="1767457" y="160809"/>
                    <a:pt x="1765963" y="161209"/>
                  </a:cubicBezTo>
                  <a:cubicBezTo>
                    <a:pt x="1764468" y="161653"/>
                    <a:pt x="1762574" y="161672"/>
                    <a:pt x="1759214" y="160452"/>
                  </a:cubicBezTo>
                  <a:cubicBezTo>
                    <a:pt x="1755897" y="159209"/>
                    <a:pt x="1756480" y="157897"/>
                    <a:pt x="1760549" y="152667"/>
                  </a:cubicBezTo>
                  <a:cubicBezTo>
                    <a:pt x="1757907" y="150358"/>
                    <a:pt x="1756205" y="147557"/>
                    <a:pt x="1752928" y="140972"/>
                  </a:cubicBezTo>
                  <a:cubicBezTo>
                    <a:pt x="1739849" y="136132"/>
                    <a:pt x="1739439" y="127059"/>
                    <a:pt x="1738620" y="124037"/>
                  </a:cubicBezTo>
                  <a:cubicBezTo>
                    <a:pt x="1731354" y="120450"/>
                    <a:pt x="1729976" y="110953"/>
                    <a:pt x="1734845" y="101857"/>
                  </a:cubicBezTo>
                  <a:cubicBezTo>
                    <a:pt x="1744404" y="82632"/>
                    <a:pt x="1734975" y="73246"/>
                    <a:pt x="1732873" y="71284"/>
                  </a:cubicBezTo>
                  <a:cubicBezTo>
                    <a:pt x="1730757" y="69298"/>
                    <a:pt x="1725078" y="67326"/>
                    <a:pt x="1722142" y="60987"/>
                  </a:cubicBezTo>
                  <a:cubicBezTo>
                    <a:pt x="1717774" y="48916"/>
                    <a:pt x="1707906" y="48202"/>
                    <a:pt x="1702570" y="48274"/>
                  </a:cubicBezTo>
                  <a:cubicBezTo>
                    <a:pt x="1697224" y="48347"/>
                    <a:pt x="1692562" y="48318"/>
                    <a:pt x="1691608" y="41366"/>
                  </a:cubicBezTo>
                  <a:cubicBezTo>
                    <a:pt x="1689984" y="28529"/>
                    <a:pt x="1678606" y="27145"/>
                    <a:pt x="1674996" y="30419"/>
                  </a:cubicBezTo>
                  <a:cubicBezTo>
                    <a:pt x="1666824" y="38614"/>
                    <a:pt x="1655602" y="30655"/>
                    <a:pt x="1651659" y="29257"/>
                  </a:cubicBezTo>
                  <a:cubicBezTo>
                    <a:pt x="1661440" y="18738"/>
                    <a:pt x="1651307" y="22127"/>
                    <a:pt x="1647214" y="24345"/>
                  </a:cubicBezTo>
                  <a:cubicBezTo>
                    <a:pt x="1645580" y="21809"/>
                    <a:pt x="1640185" y="19148"/>
                    <a:pt x="1632896" y="18010"/>
                  </a:cubicBezTo>
                  <a:cubicBezTo>
                    <a:pt x="1623438" y="7428"/>
                    <a:pt x="1617119" y="11179"/>
                    <a:pt x="1612375" y="13488"/>
                  </a:cubicBezTo>
                  <a:cubicBezTo>
                    <a:pt x="1612375" y="13488"/>
                    <a:pt x="1607005" y="11247"/>
                    <a:pt x="1603779" y="10663"/>
                  </a:cubicBezTo>
                  <a:cubicBezTo>
                    <a:pt x="1605250" y="8745"/>
                    <a:pt x="1606807" y="5245"/>
                    <a:pt x="1606233" y="0"/>
                  </a:cubicBezTo>
                  <a:cubicBezTo>
                    <a:pt x="1589525" y="453"/>
                    <a:pt x="1581787" y="8036"/>
                    <a:pt x="1581787" y="8036"/>
                  </a:cubicBezTo>
                  <a:lnTo>
                    <a:pt x="1580968" y="29074"/>
                  </a:lnTo>
                  <a:cubicBezTo>
                    <a:pt x="1580968" y="29074"/>
                    <a:pt x="1579155" y="30708"/>
                    <a:pt x="1575284" y="32458"/>
                  </a:cubicBezTo>
                  <a:cubicBezTo>
                    <a:pt x="1541997" y="29782"/>
                    <a:pt x="1538305" y="34622"/>
                    <a:pt x="1534752" y="38672"/>
                  </a:cubicBezTo>
                  <a:cubicBezTo>
                    <a:pt x="1534752" y="38672"/>
                    <a:pt x="1530326" y="38373"/>
                    <a:pt x="1527429" y="38247"/>
                  </a:cubicBezTo>
                  <a:cubicBezTo>
                    <a:pt x="1524349" y="38840"/>
                    <a:pt x="1521707" y="43140"/>
                    <a:pt x="1519012" y="47720"/>
                  </a:cubicBezTo>
                  <a:cubicBezTo>
                    <a:pt x="1516317" y="52280"/>
                    <a:pt x="1504217" y="54315"/>
                    <a:pt x="1499874" y="51591"/>
                  </a:cubicBezTo>
                  <a:lnTo>
                    <a:pt x="1493448" y="54252"/>
                  </a:lnTo>
                  <a:lnTo>
                    <a:pt x="1485074" y="51605"/>
                  </a:lnTo>
                  <a:lnTo>
                    <a:pt x="1481357" y="52333"/>
                  </a:lnTo>
                  <a:lnTo>
                    <a:pt x="1480032" y="58398"/>
                  </a:lnTo>
                  <a:cubicBezTo>
                    <a:pt x="1478113" y="63219"/>
                    <a:pt x="1476122" y="69934"/>
                    <a:pt x="1475274" y="76423"/>
                  </a:cubicBezTo>
                  <a:cubicBezTo>
                    <a:pt x="1466712" y="78375"/>
                    <a:pt x="1459491" y="94910"/>
                    <a:pt x="1459491" y="94910"/>
                  </a:cubicBezTo>
                  <a:lnTo>
                    <a:pt x="1452934" y="97754"/>
                  </a:lnTo>
                  <a:cubicBezTo>
                    <a:pt x="1452934" y="97754"/>
                    <a:pt x="1451609" y="101341"/>
                    <a:pt x="1449261" y="105545"/>
                  </a:cubicBezTo>
                  <a:cubicBezTo>
                    <a:pt x="1444676" y="108697"/>
                    <a:pt x="1438549" y="117162"/>
                    <a:pt x="1438549" y="117162"/>
                  </a:cubicBezTo>
                  <a:lnTo>
                    <a:pt x="1430942" y="118753"/>
                  </a:lnTo>
                  <a:lnTo>
                    <a:pt x="1420968" y="129084"/>
                  </a:lnTo>
                  <a:cubicBezTo>
                    <a:pt x="1420968" y="129084"/>
                    <a:pt x="1420317" y="131774"/>
                    <a:pt x="1419551" y="137448"/>
                  </a:cubicBezTo>
                  <a:cubicBezTo>
                    <a:pt x="1414229" y="139010"/>
                    <a:pt x="1412358" y="143455"/>
                    <a:pt x="1410836" y="145426"/>
                  </a:cubicBezTo>
                  <a:cubicBezTo>
                    <a:pt x="1409312" y="147456"/>
                    <a:pt x="1405663" y="150898"/>
                    <a:pt x="1401136" y="151958"/>
                  </a:cubicBezTo>
                  <a:cubicBezTo>
                    <a:pt x="1392257" y="154224"/>
                    <a:pt x="1388703" y="165032"/>
                    <a:pt x="1388703" y="165032"/>
                  </a:cubicBezTo>
                  <a:lnTo>
                    <a:pt x="1374410" y="178009"/>
                  </a:lnTo>
                  <a:lnTo>
                    <a:pt x="1367213" y="181331"/>
                  </a:lnTo>
                  <a:cubicBezTo>
                    <a:pt x="1367213" y="181331"/>
                    <a:pt x="1361351" y="178949"/>
                    <a:pt x="1357070" y="176848"/>
                  </a:cubicBezTo>
                  <a:cubicBezTo>
                    <a:pt x="1352809" y="174765"/>
                    <a:pt x="1348147" y="182069"/>
                    <a:pt x="1348147" y="182069"/>
                  </a:cubicBezTo>
                  <a:cubicBezTo>
                    <a:pt x="1348147" y="182069"/>
                    <a:pt x="1344068" y="183370"/>
                    <a:pt x="1340299" y="184373"/>
                  </a:cubicBezTo>
                  <a:cubicBezTo>
                    <a:pt x="1333015" y="178646"/>
                    <a:pt x="1324559" y="182406"/>
                    <a:pt x="1322342" y="183674"/>
                  </a:cubicBezTo>
                  <a:cubicBezTo>
                    <a:pt x="1320134" y="184932"/>
                    <a:pt x="1316219" y="186571"/>
                    <a:pt x="1312927" y="184951"/>
                  </a:cubicBezTo>
                  <a:cubicBezTo>
                    <a:pt x="1303102" y="178525"/>
                    <a:pt x="1298407" y="178622"/>
                    <a:pt x="1296049" y="178453"/>
                  </a:cubicBezTo>
                  <a:cubicBezTo>
                    <a:pt x="1293914" y="178241"/>
                    <a:pt x="1290457" y="181577"/>
                    <a:pt x="1288895" y="183418"/>
                  </a:cubicBezTo>
                  <a:cubicBezTo>
                    <a:pt x="1287305" y="185250"/>
                    <a:pt x="1285502" y="186532"/>
                    <a:pt x="1280194" y="191623"/>
                  </a:cubicBezTo>
                  <a:cubicBezTo>
                    <a:pt x="1269733" y="187892"/>
                    <a:pt x="1267974" y="191421"/>
                    <a:pt x="1266325" y="193691"/>
                  </a:cubicBezTo>
                  <a:cubicBezTo>
                    <a:pt x="1263577" y="198435"/>
                    <a:pt x="1250046" y="203511"/>
                    <a:pt x="1245702" y="205136"/>
                  </a:cubicBezTo>
                  <a:cubicBezTo>
                    <a:pt x="1241344" y="206770"/>
                    <a:pt x="1231476" y="217240"/>
                    <a:pt x="1229133" y="223068"/>
                  </a:cubicBezTo>
                  <a:cubicBezTo>
                    <a:pt x="1229133" y="223068"/>
                    <a:pt x="1225065" y="223146"/>
                    <a:pt x="1221054" y="221926"/>
                  </a:cubicBezTo>
                  <a:cubicBezTo>
                    <a:pt x="1210443" y="238697"/>
                    <a:pt x="1192708" y="239146"/>
                    <a:pt x="1183433" y="239141"/>
                  </a:cubicBezTo>
                  <a:cubicBezTo>
                    <a:pt x="1175946" y="243349"/>
                    <a:pt x="1164786" y="241570"/>
                    <a:pt x="1156842" y="240225"/>
                  </a:cubicBezTo>
                  <a:cubicBezTo>
                    <a:pt x="1132946" y="246266"/>
                    <a:pt x="1133008" y="237584"/>
                    <a:pt x="1130511" y="230917"/>
                  </a:cubicBezTo>
                  <a:lnTo>
                    <a:pt x="1117447" y="237863"/>
                  </a:lnTo>
                  <a:lnTo>
                    <a:pt x="1115986" y="244988"/>
                  </a:lnTo>
                  <a:cubicBezTo>
                    <a:pt x="1115986" y="244988"/>
                    <a:pt x="1113147" y="247288"/>
                    <a:pt x="1110254" y="250055"/>
                  </a:cubicBezTo>
                  <a:cubicBezTo>
                    <a:pt x="1106355" y="247379"/>
                    <a:pt x="1099374" y="246266"/>
                    <a:pt x="1095696" y="247452"/>
                  </a:cubicBezTo>
                  <a:cubicBezTo>
                    <a:pt x="1095696" y="247452"/>
                    <a:pt x="1089265" y="246748"/>
                    <a:pt x="1079677" y="243147"/>
                  </a:cubicBezTo>
                  <a:cubicBezTo>
                    <a:pt x="1066603" y="248440"/>
                    <a:pt x="1056658" y="247191"/>
                    <a:pt x="1052493" y="244839"/>
                  </a:cubicBezTo>
                  <a:cubicBezTo>
                    <a:pt x="1048419" y="225778"/>
                    <a:pt x="1019225" y="229697"/>
                    <a:pt x="1015484" y="231298"/>
                  </a:cubicBezTo>
                  <a:cubicBezTo>
                    <a:pt x="1011768" y="232898"/>
                    <a:pt x="1010678" y="233284"/>
                    <a:pt x="1004170" y="236759"/>
                  </a:cubicBezTo>
                  <a:cubicBezTo>
                    <a:pt x="1003230" y="248025"/>
                    <a:pt x="997604" y="253444"/>
                    <a:pt x="992841" y="256062"/>
                  </a:cubicBezTo>
                  <a:cubicBezTo>
                    <a:pt x="992841" y="256062"/>
                    <a:pt x="990469" y="255869"/>
                    <a:pt x="984212" y="254505"/>
                  </a:cubicBezTo>
                  <a:cubicBezTo>
                    <a:pt x="972609" y="251058"/>
                    <a:pt x="959766" y="242033"/>
                    <a:pt x="950400" y="235217"/>
                  </a:cubicBezTo>
                  <a:cubicBezTo>
                    <a:pt x="945574" y="207382"/>
                    <a:pt x="934626" y="209002"/>
                    <a:pt x="929434" y="208284"/>
                  </a:cubicBezTo>
                  <a:lnTo>
                    <a:pt x="924276" y="211036"/>
                  </a:lnTo>
                  <a:lnTo>
                    <a:pt x="922859" y="217708"/>
                  </a:lnTo>
                  <a:cubicBezTo>
                    <a:pt x="922859" y="217708"/>
                    <a:pt x="922266" y="212815"/>
                    <a:pt x="921481" y="207965"/>
                  </a:cubicBezTo>
                  <a:cubicBezTo>
                    <a:pt x="917985" y="212959"/>
                    <a:pt x="904347" y="222808"/>
                    <a:pt x="902284" y="223353"/>
                  </a:cubicBezTo>
                  <a:cubicBezTo>
                    <a:pt x="900274" y="223907"/>
                    <a:pt x="897305" y="226438"/>
                    <a:pt x="894268" y="229870"/>
                  </a:cubicBezTo>
                  <a:cubicBezTo>
                    <a:pt x="889032" y="233491"/>
                    <a:pt x="879019" y="233713"/>
                    <a:pt x="870265" y="227913"/>
                  </a:cubicBezTo>
                  <a:cubicBezTo>
                    <a:pt x="857755" y="231963"/>
                    <a:pt x="849498" y="224770"/>
                    <a:pt x="842999" y="217308"/>
                  </a:cubicBezTo>
                  <a:cubicBezTo>
                    <a:pt x="828658" y="210940"/>
                    <a:pt x="828527" y="200671"/>
                    <a:pt x="830952" y="192804"/>
                  </a:cubicBezTo>
                  <a:cubicBezTo>
                    <a:pt x="826392" y="196106"/>
                    <a:pt x="817493" y="190982"/>
                    <a:pt x="813834" y="187853"/>
                  </a:cubicBezTo>
                  <a:cubicBezTo>
                    <a:pt x="811139" y="188870"/>
                    <a:pt x="810826" y="193518"/>
                    <a:pt x="804680" y="204654"/>
                  </a:cubicBezTo>
                  <a:cubicBezTo>
                    <a:pt x="798571" y="215818"/>
                    <a:pt x="782538" y="218725"/>
                    <a:pt x="776517" y="219737"/>
                  </a:cubicBezTo>
                  <a:cubicBezTo>
                    <a:pt x="774685" y="219790"/>
                    <a:pt x="771079" y="218889"/>
                    <a:pt x="768992" y="217202"/>
                  </a:cubicBezTo>
                  <a:cubicBezTo>
                    <a:pt x="759230" y="225787"/>
                    <a:pt x="750374" y="229085"/>
                    <a:pt x="745799" y="227918"/>
                  </a:cubicBezTo>
                  <a:cubicBezTo>
                    <a:pt x="741277" y="226756"/>
                    <a:pt x="736216" y="229827"/>
                    <a:pt x="728223" y="228747"/>
                  </a:cubicBezTo>
                  <a:cubicBezTo>
                    <a:pt x="722867" y="230960"/>
                    <a:pt x="707571" y="237463"/>
                    <a:pt x="701714" y="237805"/>
                  </a:cubicBezTo>
                  <a:cubicBezTo>
                    <a:pt x="695876" y="238133"/>
                    <a:pt x="687575" y="240230"/>
                    <a:pt x="681886" y="241522"/>
                  </a:cubicBezTo>
                  <a:cubicBezTo>
                    <a:pt x="676863" y="240727"/>
                    <a:pt x="668412" y="241826"/>
                    <a:pt x="665896" y="242776"/>
                  </a:cubicBezTo>
                  <a:cubicBezTo>
                    <a:pt x="663351" y="243691"/>
                    <a:pt x="660714" y="244318"/>
                    <a:pt x="656173" y="244347"/>
                  </a:cubicBezTo>
                  <a:cubicBezTo>
                    <a:pt x="651651" y="244424"/>
                    <a:pt x="648918" y="248088"/>
                    <a:pt x="647611" y="250648"/>
                  </a:cubicBezTo>
                  <a:cubicBezTo>
                    <a:pt x="646300" y="253193"/>
                    <a:pt x="641330" y="255266"/>
                    <a:pt x="639696" y="256481"/>
                  </a:cubicBezTo>
                  <a:cubicBezTo>
                    <a:pt x="638090" y="257691"/>
                    <a:pt x="637473" y="259388"/>
                    <a:pt x="634537" y="260892"/>
                  </a:cubicBezTo>
                  <a:cubicBezTo>
                    <a:pt x="627196" y="263847"/>
                    <a:pt x="623098" y="268277"/>
                    <a:pt x="618340" y="273141"/>
                  </a:cubicBezTo>
                  <a:cubicBezTo>
                    <a:pt x="613534" y="278005"/>
                    <a:pt x="605791" y="281510"/>
                    <a:pt x="603270" y="282469"/>
                  </a:cubicBezTo>
                  <a:cubicBezTo>
                    <a:pt x="600759" y="283419"/>
                    <a:pt x="594766" y="287309"/>
                    <a:pt x="592795" y="289691"/>
                  </a:cubicBezTo>
                  <a:cubicBezTo>
                    <a:pt x="592795" y="289691"/>
                    <a:pt x="591199" y="290934"/>
                    <a:pt x="586668" y="290959"/>
                  </a:cubicBezTo>
                  <a:cubicBezTo>
                    <a:pt x="582551" y="292665"/>
                    <a:pt x="576554" y="300292"/>
                    <a:pt x="573093" y="305300"/>
                  </a:cubicBezTo>
                  <a:cubicBezTo>
                    <a:pt x="569612" y="310333"/>
                    <a:pt x="565206" y="312372"/>
                    <a:pt x="558895" y="314734"/>
                  </a:cubicBezTo>
                  <a:cubicBezTo>
                    <a:pt x="554707" y="320023"/>
                    <a:pt x="551578" y="334764"/>
                    <a:pt x="544689" y="338390"/>
                  </a:cubicBezTo>
                  <a:cubicBezTo>
                    <a:pt x="536600" y="342651"/>
                    <a:pt x="534098" y="349747"/>
                    <a:pt x="531572" y="350711"/>
                  </a:cubicBezTo>
                  <a:cubicBezTo>
                    <a:pt x="529051" y="351651"/>
                    <a:pt x="526606" y="353989"/>
                    <a:pt x="524351" y="357344"/>
                  </a:cubicBezTo>
                  <a:cubicBezTo>
                    <a:pt x="522104" y="360652"/>
                    <a:pt x="507329" y="377866"/>
                    <a:pt x="500912" y="381101"/>
                  </a:cubicBezTo>
                  <a:cubicBezTo>
                    <a:pt x="494530" y="384316"/>
                    <a:pt x="492172" y="390767"/>
                    <a:pt x="492172" y="390767"/>
                  </a:cubicBezTo>
                  <a:cubicBezTo>
                    <a:pt x="492172" y="390767"/>
                    <a:pt x="490591" y="391133"/>
                    <a:pt x="486518" y="393505"/>
                  </a:cubicBezTo>
                  <a:cubicBezTo>
                    <a:pt x="497369" y="414422"/>
                    <a:pt x="479455" y="426064"/>
                    <a:pt x="467644" y="429646"/>
                  </a:cubicBezTo>
                  <a:cubicBezTo>
                    <a:pt x="446004" y="443823"/>
                    <a:pt x="421636" y="440304"/>
                    <a:pt x="413093" y="438000"/>
                  </a:cubicBezTo>
                  <a:cubicBezTo>
                    <a:pt x="406176" y="440849"/>
                    <a:pt x="383832" y="439027"/>
                    <a:pt x="380351" y="437060"/>
                  </a:cubicBezTo>
                  <a:cubicBezTo>
                    <a:pt x="378297" y="437547"/>
                    <a:pt x="372474" y="442483"/>
                    <a:pt x="370107" y="447208"/>
                  </a:cubicBezTo>
                  <a:cubicBezTo>
                    <a:pt x="366665" y="449015"/>
                    <a:pt x="330731" y="460850"/>
                    <a:pt x="307872" y="460059"/>
                  </a:cubicBezTo>
                  <a:cubicBezTo>
                    <a:pt x="304314" y="460946"/>
                    <a:pt x="301966" y="459602"/>
                    <a:pt x="300048" y="460831"/>
                  </a:cubicBezTo>
                  <a:cubicBezTo>
                    <a:pt x="293318" y="461048"/>
                    <a:pt x="282987" y="460469"/>
                    <a:pt x="281054" y="459698"/>
                  </a:cubicBezTo>
                  <a:cubicBezTo>
                    <a:pt x="276870" y="460455"/>
                    <a:pt x="258021" y="458652"/>
                    <a:pt x="251985" y="473625"/>
                  </a:cubicBezTo>
                  <a:cubicBezTo>
                    <a:pt x="251725" y="474189"/>
                    <a:pt x="251484" y="474787"/>
                    <a:pt x="251281" y="475409"/>
                  </a:cubicBezTo>
                  <a:cubicBezTo>
                    <a:pt x="253320" y="479545"/>
                    <a:pt x="253754" y="481916"/>
                    <a:pt x="252742" y="484741"/>
                  </a:cubicBezTo>
                  <a:cubicBezTo>
                    <a:pt x="251908" y="487031"/>
                    <a:pt x="249594" y="494127"/>
                    <a:pt x="250568" y="499830"/>
                  </a:cubicBezTo>
                  <a:cubicBezTo>
                    <a:pt x="251325" y="499835"/>
                    <a:pt x="252014" y="499936"/>
                    <a:pt x="252626" y="500221"/>
                  </a:cubicBezTo>
                  <a:cubicBezTo>
                    <a:pt x="257553" y="502477"/>
                    <a:pt x="260031" y="502713"/>
                    <a:pt x="262721" y="505186"/>
                  </a:cubicBezTo>
                  <a:cubicBezTo>
                    <a:pt x="265449" y="507645"/>
                    <a:pt x="270588" y="508561"/>
                    <a:pt x="275983" y="507645"/>
                  </a:cubicBezTo>
                  <a:cubicBezTo>
                    <a:pt x="281377" y="510132"/>
                    <a:pt x="283204" y="511477"/>
                    <a:pt x="283204" y="511477"/>
                  </a:cubicBezTo>
                  <a:lnTo>
                    <a:pt x="282283" y="515739"/>
                  </a:lnTo>
                  <a:lnTo>
                    <a:pt x="288579" y="514403"/>
                  </a:lnTo>
                  <a:lnTo>
                    <a:pt x="293491" y="520468"/>
                  </a:lnTo>
                  <a:cubicBezTo>
                    <a:pt x="293491" y="520468"/>
                    <a:pt x="298216" y="515343"/>
                    <a:pt x="311719" y="514201"/>
                  </a:cubicBezTo>
                  <a:cubicBezTo>
                    <a:pt x="321615" y="510393"/>
                    <a:pt x="324296" y="509486"/>
                    <a:pt x="327222" y="509930"/>
                  </a:cubicBezTo>
                  <a:cubicBezTo>
                    <a:pt x="330138" y="510393"/>
                    <a:pt x="337095" y="510609"/>
                    <a:pt x="340016" y="507678"/>
                  </a:cubicBezTo>
                  <a:cubicBezTo>
                    <a:pt x="342937" y="504767"/>
                    <a:pt x="350356" y="502973"/>
                    <a:pt x="350356" y="506131"/>
                  </a:cubicBezTo>
                  <a:cubicBezTo>
                    <a:pt x="350356" y="509279"/>
                    <a:pt x="350356" y="511313"/>
                    <a:pt x="348327" y="511106"/>
                  </a:cubicBezTo>
                  <a:cubicBezTo>
                    <a:pt x="346283" y="510850"/>
                    <a:pt x="336208" y="512181"/>
                    <a:pt x="327858" y="518674"/>
                  </a:cubicBezTo>
                  <a:cubicBezTo>
                    <a:pt x="319571" y="525221"/>
                    <a:pt x="313054" y="522309"/>
                    <a:pt x="308325" y="522285"/>
                  </a:cubicBezTo>
                  <a:cubicBezTo>
                    <a:pt x="305206" y="526749"/>
                    <a:pt x="302034" y="528576"/>
                    <a:pt x="302034" y="528576"/>
                  </a:cubicBezTo>
                  <a:lnTo>
                    <a:pt x="295747" y="530133"/>
                  </a:lnTo>
                  <a:lnTo>
                    <a:pt x="289220" y="535749"/>
                  </a:lnTo>
                  <a:cubicBezTo>
                    <a:pt x="283599" y="537099"/>
                    <a:pt x="277762" y="538430"/>
                    <a:pt x="273968" y="541814"/>
                  </a:cubicBezTo>
                  <a:cubicBezTo>
                    <a:pt x="270140" y="545174"/>
                    <a:pt x="269224" y="544046"/>
                    <a:pt x="267643" y="544046"/>
                  </a:cubicBezTo>
                  <a:cubicBezTo>
                    <a:pt x="266071" y="544041"/>
                    <a:pt x="259992" y="546056"/>
                    <a:pt x="258199" y="549652"/>
                  </a:cubicBezTo>
                  <a:cubicBezTo>
                    <a:pt x="256401" y="553258"/>
                    <a:pt x="250356" y="559761"/>
                    <a:pt x="245873" y="561318"/>
                  </a:cubicBezTo>
                  <a:cubicBezTo>
                    <a:pt x="246538" y="564703"/>
                    <a:pt x="246836" y="567629"/>
                    <a:pt x="249792" y="568280"/>
                  </a:cubicBezTo>
                  <a:cubicBezTo>
                    <a:pt x="252703" y="568954"/>
                    <a:pt x="264586" y="572907"/>
                    <a:pt x="267402" y="569432"/>
                  </a:cubicBezTo>
                  <a:cubicBezTo>
                    <a:pt x="270207" y="565927"/>
                    <a:pt x="271355" y="564799"/>
                    <a:pt x="273688" y="565378"/>
                  </a:cubicBezTo>
                  <a:cubicBezTo>
                    <a:pt x="276074" y="565946"/>
                    <a:pt x="281440" y="566949"/>
                    <a:pt x="283257" y="569099"/>
                  </a:cubicBezTo>
                  <a:cubicBezTo>
                    <a:pt x="280321" y="571476"/>
                    <a:pt x="278311" y="573708"/>
                    <a:pt x="278311" y="573708"/>
                  </a:cubicBezTo>
                  <a:lnTo>
                    <a:pt x="277626" y="580322"/>
                  </a:lnTo>
                  <a:cubicBezTo>
                    <a:pt x="277626" y="580322"/>
                    <a:pt x="270299" y="586396"/>
                    <a:pt x="265623" y="584472"/>
                  </a:cubicBezTo>
                  <a:cubicBezTo>
                    <a:pt x="260899" y="582558"/>
                    <a:pt x="248991" y="581527"/>
                    <a:pt x="243800" y="587736"/>
                  </a:cubicBezTo>
                  <a:cubicBezTo>
                    <a:pt x="240772" y="591178"/>
                    <a:pt x="236381" y="592860"/>
                    <a:pt x="228315" y="591515"/>
                  </a:cubicBezTo>
                  <a:cubicBezTo>
                    <a:pt x="220236" y="590161"/>
                    <a:pt x="188058" y="597440"/>
                    <a:pt x="169344" y="610475"/>
                  </a:cubicBezTo>
                  <a:cubicBezTo>
                    <a:pt x="167319" y="611271"/>
                    <a:pt x="162614" y="610904"/>
                    <a:pt x="163019" y="608455"/>
                  </a:cubicBezTo>
                  <a:cubicBezTo>
                    <a:pt x="163501" y="605973"/>
                    <a:pt x="163400" y="604416"/>
                    <a:pt x="163400" y="604416"/>
                  </a:cubicBezTo>
                  <a:lnTo>
                    <a:pt x="170260" y="597782"/>
                  </a:lnTo>
                  <a:lnTo>
                    <a:pt x="167878" y="592060"/>
                  </a:lnTo>
                  <a:cubicBezTo>
                    <a:pt x="162272" y="592947"/>
                    <a:pt x="159678" y="592268"/>
                    <a:pt x="153961" y="592383"/>
                  </a:cubicBezTo>
                  <a:cubicBezTo>
                    <a:pt x="148239" y="592475"/>
                    <a:pt x="138448" y="594350"/>
                    <a:pt x="138236" y="597657"/>
                  </a:cubicBezTo>
                  <a:cubicBezTo>
                    <a:pt x="137985" y="600906"/>
                    <a:pt x="138896" y="601788"/>
                    <a:pt x="141123" y="602690"/>
                  </a:cubicBezTo>
                  <a:cubicBezTo>
                    <a:pt x="143394" y="603586"/>
                    <a:pt x="147892" y="606628"/>
                    <a:pt x="149584" y="609969"/>
                  </a:cubicBezTo>
                  <a:cubicBezTo>
                    <a:pt x="152476" y="609000"/>
                    <a:pt x="154621" y="609019"/>
                    <a:pt x="154621" y="609019"/>
                  </a:cubicBezTo>
                  <a:lnTo>
                    <a:pt x="154838" y="615190"/>
                  </a:lnTo>
                  <a:lnTo>
                    <a:pt x="149434" y="622262"/>
                  </a:lnTo>
                  <a:cubicBezTo>
                    <a:pt x="142917" y="622363"/>
                    <a:pt x="132504" y="624937"/>
                    <a:pt x="129679" y="626981"/>
                  </a:cubicBezTo>
                  <a:cubicBezTo>
                    <a:pt x="126864" y="628972"/>
                    <a:pt x="121122" y="630081"/>
                    <a:pt x="116755" y="628630"/>
                  </a:cubicBezTo>
                  <a:cubicBezTo>
                    <a:pt x="112368" y="627155"/>
                    <a:pt x="104867" y="623920"/>
                    <a:pt x="103536" y="623920"/>
                  </a:cubicBezTo>
                  <a:cubicBezTo>
                    <a:pt x="102158" y="623910"/>
                    <a:pt x="100817" y="623096"/>
                    <a:pt x="101054" y="620208"/>
                  </a:cubicBezTo>
                  <a:cubicBezTo>
                    <a:pt x="101227" y="617272"/>
                    <a:pt x="100268" y="616598"/>
                    <a:pt x="99034" y="615686"/>
                  </a:cubicBezTo>
                  <a:cubicBezTo>
                    <a:pt x="97771" y="614799"/>
                    <a:pt x="96213" y="613912"/>
                    <a:pt x="94623" y="615272"/>
                  </a:cubicBezTo>
                  <a:cubicBezTo>
                    <a:pt x="93070" y="616593"/>
                    <a:pt x="89701" y="618974"/>
                    <a:pt x="89701" y="618974"/>
                  </a:cubicBezTo>
                  <a:cubicBezTo>
                    <a:pt x="86659" y="618945"/>
                    <a:pt x="78912" y="617812"/>
                    <a:pt x="74082" y="627251"/>
                  </a:cubicBezTo>
                  <a:cubicBezTo>
                    <a:pt x="72158" y="630954"/>
                    <a:pt x="69705" y="631527"/>
                    <a:pt x="68012" y="631845"/>
                  </a:cubicBezTo>
                  <a:cubicBezTo>
                    <a:pt x="63978" y="631392"/>
                    <a:pt x="61697" y="631064"/>
                    <a:pt x="61697" y="631064"/>
                  </a:cubicBezTo>
                  <a:cubicBezTo>
                    <a:pt x="58665" y="632973"/>
                    <a:pt x="53950" y="634087"/>
                    <a:pt x="51275" y="634193"/>
                  </a:cubicBezTo>
                  <a:cubicBezTo>
                    <a:pt x="48575" y="634299"/>
                    <a:pt x="43620" y="637355"/>
                    <a:pt x="42275" y="639920"/>
                  </a:cubicBezTo>
                  <a:cubicBezTo>
                    <a:pt x="40934" y="642528"/>
                    <a:pt x="34716" y="653071"/>
                    <a:pt x="31819" y="655409"/>
                  </a:cubicBezTo>
                  <a:cubicBezTo>
                    <a:pt x="30715" y="660697"/>
                    <a:pt x="24086" y="668680"/>
                    <a:pt x="18118" y="673699"/>
                  </a:cubicBezTo>
                  <a:cubicBezTo>
                    <a:pt x="19222" y="678785"/>
                    <a:pt x="19222" y="680351"/>
                    <a:pt x="19222" y="680351"/>
                  </a:cubicBezTo>
                  <a:lnTo>
                    <a:pt x="16301" y="687206"/>
                  </a:lnTo>
                  <a:lnTo>
                    <a:pt x="15062" y="694510"/>
                  </a:lnTo>
                  <a:cubicBezTo>
                    <a:pt x="11461" y="698106"/>
                    <a:pt x="7662" y="702454"/>
                    <a:pt x="5059" y="701235"/>
                  </a:cubicBezTo>
                  <a:cubicBezTo>
                    <a:pt x="2475" y="699981"/>
                    <a:pt x="-75" y="701235"/>
                    <a:pt x="2" y="705945"/>
                  </a:cubicBezTo>
                  <a:cubicBezTo>
                    <a:pt x="132" y="710664"/>
                    <a:pt x="1453" y="719332"/>
                    <a:pt x="2687" y="724475"/>
                  </a:cubicBezTo>
                  <a:cubicBezTo>
                    <a:pt x="3907" y="729658"/>
                    <a:pt x="4017" y="736402"/>
                    <a:pt x="4162" y="737289"/>
                  </a:cubicBezTo>
                  <a:cubicBezTo>
                    <a:pt x="6524" y="739791"/>
                    <a:pt x="10217" y="746974"/>
                    <a:pt x="8626" y="751437"/>
                  </a:cubicBezTo>
                  <a:cubicBezTo>
                    <a:pt x="7059" y="755940"/>
                    <a:pt x="4143" y="763027"/>
                    <a:pt x="5618" y="773912"/>
                  </a:cubicBezTo>
                  <a:cubicBezTo>
                    <a:pt x="6245" y="775700"/>
                    <a:pt x="7604" y="775700"/>
                    <a:pt x="10622" y="774799"/>
                  </a:cubicBezTo>
                  <a:cubicBezTo>
                    <a:pt x="13664" y="773912"/>
                    <a:pt x="23344" y="771670"/>
                    <a:pt x="23344" y="771670"/>
                  </a:cubicBezTo>
                  <a:lnTo>
                    <a:pt x="29042" y="767278"/>
                  </a:lnTo>
                  <a:cubicBezTo>
                    <a:pt x="32098" y="767187"/>
                    <a:pt x="38394" y="764839"/>
                    <a:pt x="39643" y="762487"/>
                  </a:cubicBezTo>
                  <a:cubicBezTo>
                    <a:pt x="40877" y="760120"/>
                    <a:pt x="66590" y="745547"/>
                    <a:pt x="78608" y="744650"/>
                  </a:cubicBezTo>
                  <a:cubicBezTo>
                    <a:pt x="86586" y="740716"/>
                    <a:pt x="92338" y="737554"/>
                    <a:pt x="92743" y="742534"/>
                  </a:cubicBezTo>
                  <a:cubicBezTo>
                    <a:pt x="93201" y="747456"/>
                    <a:pt x="89503" y="754653"/>
                    <a:pt x="87175" y="758461"/>
                  </a:cubicBezTo>
                  <a:cubicBezTo>
                    <a:pt x="84784" y="762289"/>
                    <a:pt x="83116" y="765880"/>
                    <a:pt x="81173" y="770359"/>
                  </a:cubicBezTo>
                  <a:cubicBezTo>
                    <a:pt x="79283" y="774852"/>
                    <a:pt x="72067" y="778221"/>
                    <a:pt x="68273" y="781051"/>
                  </a:cubicBezTo>
                  <a:cubicBezTo>
                    <a:pt x="67569" y="786074"/>
                    <a:pt x="67010" y="788808"/>
                    <a:pt x="70967" y="787805"/>
                  </a:cubicBezTo>
                  <a:cubicBezTo>
                    <a:pt x="74887" y="786764"/>
                    <a:pt x="79486" y="787323"/>
                    <a:pt x="79929" y="789936"/>
                  </a:cubicBezTo>
                  <a:cubicBezTo>
                    <a:pt x="80363" y="792495"/>
                    <a:pt x="84432" y="797895"/>
                    <a:pt x="88472" y="797895"/>
                  </a:cubicBezTo>
                  <a:cubicBezTo>
                    <a:pt x="92535" y="797895"/>
                    <a:pt x="99130" y="802841"/>
                    <a:pt x="100470" y="807223"/>
                  </a:cubicBezTo>
                  <a:cubicBezTo>
                    <a:pt x="97091" y="811378"/>
                    <a:pt x="93716" y="818204"/>
                    <a:pt x="95736" y="822041"/>
                  </a:cubicBezTo>
                  <a:cubicBezTo>
                    <a:pt x="97746" y="825869"/>
                    <a:pt x="103146" y="829909"/>
                    <a:pt x="112835" y="824182"/>
                  </a:cubicBezTo>
                  <a:cubicBezTo>
                    <a:pt x="115757" y="826226"/>
                    <a:pt x="117328" y="827672"/>
                    <a:pt x="122029" y="827007"/>
                  </a:cubicBezTo>
                  <a:cubicBezTo>
                    <a:pt x="122727" y="830377"/>
                    <a:pt x="123706" y="832411"/>
                    <a:pt x="121681" y="833645"/>
                  </a:cubicBezTo>
                  <a:cubicBezTo>
                    <a:pt x="119652" y="834860"/>
                    <a:pt x="116523" y="835863"/>
                    <a:pt x="117545" y="839141"/>
                  </a:cubicBezTo>
                  <a:cubicBezTo>
                    <a:pt x="118529" y="842385"/>
                    <a:pt x="115617" y="842510"/>
                    <a:pt x="112725" y="842510"/>
                  </a:cubicBezTo>
                  <a:cubicBezTo>
                    <a:pt x="114277" y="844627"/>
                    <a:pt x="116745" y="848454"/>
                    <a:pt x="112358" y="850228"/>
                  </a:cubicBezTo>
                  <a:cubicBezTo>
                    <a:pt x="107976" y="852056"/>
                    <a:pt x="93928" y="854697"/>
                    <a:pt x="97187" y="861161"/>
                  </a:cubicBezTo>
                  <a:cubicBezTo>
                    <a:pt x="100446" y="867549"/>
                    <a:pt x="103122" y="876877"/>
                    <a:pt x="109528" y="870924"/>
                  </a:cubicBezTo>
                  <a:cubicBezTo>
                    <a:pt x="113674" y="878878"/>
                    <a:pt x="119300" y="885868"/>
                    <a:pt x="123099" y="885868"/>
                  </a:cubicBezTo>
                  <a:cubicBezTo>
                    <a:pt x="122790" y="887979"/>
                    <a:pt x="122670" y="889252"/>
                    <a:pt x="128286" y="888678"/>
                  </a:cubicBezTo>
                  <a:cubicBezTo>
                    <a:pt x="133338" y="885526"/>
                    <a:pt x="146725" y="882860"/>
                    <a:pt x="147361" y="885540"/>
                  </a:cubicBezTo>
                  <a:cubicBezTo>
                    <a:pt x="148041" y="888244"/>
                    <a:pt x="146470" y="891831"/>
                    <a:pt x="142454" y="892038"/>
                  </a:cubicBezTo>
                  <a:cubicBezTo>
                    <a:pt x="138385" y="892270"/>
                    <a:pt x="138048" y="891831"/>
                    <a:pt x="135030" y="894319"/>
                  </a:cubicBezTo>
                  <a:cubicBezTo>
                    <a:pt x="131978" y="896762"/>
                    <a:pt x="115366" y="905647"/>
                    <a:pt x="113211" y="903723"/>
                  </a:cubicBezTo>
                  <a:cubicBezTo>
                    <a:pt x="111100" y="901820"/>
                    <a:pt x="106588" y="899356"/>
                    <a:pt x="105257" y="900002"/>
                  </a:cubicBezTo>
                  <a:cubicBezTo>
                    <a:pt x="103917" y="900668"/>
                    <a:pt x="100755" y="901810"/>
                    <a:pt x="101777" y="904750"/>
                  </a:cubicBezTo>
                  <a:cubicBezTo>
                    <a:pt x="102770" y="907648"/>
                    <a:pt x="103209" y="911109"/>
                    <a:pt x="105353" y="913365"/>
                  </a:cubicBezTo>
                  <a:cubicBezTo>
                    <a:pt x="101198" y="912261"/>
                    <a:pt x="94806" y="906177"/>
                    <a:pt x="93239" y="901015"/>
                  </a:cubicBezTo>
                  <a:cubicBezTo>
                    <a:pt x="92564" y="898667"/>
                    <a:pt x="92212" y="895634"/>
                    <a:pt x="93697" y="894029"/>
                  </a:cubicBezTo>
                  <a:cubicBezTo>
                    <a:pt x="95158" y="892477"/>
                    <a:pt x="95042" y="892139"/>
                    <a:pt x="93928" y="890240"/>
                  </a:cubicBezTo>
                  <a:cubicBezTo>
                    <a:pt x="92791" y="888322"/>
                    <a:pt x="71252" y="861017"/>
                    <a:pt x="60805" y="874949"/>
                  </a:cubicBezTo>
                  <a:cubicBezTo>
                    <a:pt x="58554" y="878309"/>
                    <a:pt x="59774" y="883241"/>
                    <a:pt x="62584" y="886736"/>
                  </a:cubicBezTo>
                  <a:cubicBezTo>
                    <a:pt x="65390" y="890216"/>
                    <a:pt x="71252" y="895697"/>
                    <a:pt x="69444" y="901902"/>
                  </a:cubicBezTo>
                  <a:cubicBezTo>
                    <a:pt x="73031" y="899428"/>
                    <a:pt x="75379" y="899771"/>
                    <a:pt x="75379" y="899771"/>
                  </a:cubicBezTo>
                  <a:lnTo>
                    <a:pt x="81308" y="902225"/>
                  </a:lnTo>
                  <a:cubicBezTo>
                    <a:pt x="79862" y="906163"/>
                    <a:pt x="80406" y="911692"/>
                    <a:pt x="80845" y="913461"/>
                  </a:cubicBezTo>
                  <a:cubicBezTo>
                    <a:pt x="76825" y="916050"/>
                    <a:pt x="67844" y="923137"/>
                    <a:pt x="61760" y="917959"/>
                  </a:cubicBezTo>
                  <a:cubicBezTo>
                    <a:pt x="62989" y="922544"/>
                    <a:pt x="63105" y="924130"/>
                    <a:pt x="63105" y="924130"/>
                  </a:cubicBezTo>
                  <a:lnTo>
                    <a:pt x="59403" y="931312"/>
                  </a:lnTo>
                  <a:lnTo>
                    <a:pt x="64112" y="929977"/>
                  </a:lnTo>
                  <a:lnTo>
                    <a:pt x="70423" y="933347"/>
                  </a:lnTo>
                  <a:lnTo>
                    <a:pt x="75591" y="928512"/>
                  </a:lnTo>
                  <a:lnTo>
                    <a:pt x="78951" y="934026"/>
                  </a:lnTo>
                  <a:cubicBezTo>
                    <a:pt x="82653" y="935945"/>
                    <a:pt x="88703" y="936722"/>
                    <a:pt x="91754" y="936172"/>
                  </a:cubicBezTo>
                  <a:cubicBezTo>
                    <a:pt x="94763" y="941682"/>
                    <a:pt x="99270" y="946744"/>
                    <a:pt x="101507" y="943379"/>
                  </a:cubicBezTo>
                  <a:cubicBezTo>
                    <a:pt x="103753" y="939990"/>
                    <a:pt x="102746" y="929765"/>
                    <a:pt x="107041" y="928526"/>
                  </a:cubicBezTo>
                  <a:cubicBezTo>
                    <a:pt x="111278" y="927302"/>
                    <a:pt x="124328" y="925065"/>
                    <a:pt x="130498" y="943948"/>
                  </a:cubicBezTo>
                  <a:cubicBezTo>
                    <a:pt x="138231" y="940911"/>
                    <a:pt x="142844" y="939002"/>
                    <a:pt x="142844" y="939002"/>
                  </a:cubicBezTo>
                  <a:cubicBezTo>
                    <a:pt x="142844" y="939002"/>
                    <a:pt x="148012" y="939334"/>
                    <a:pt x="151825" y="942029"/>
                  </a:cubicBezTo>
                  <a:cubicBezTo>
                    <a:pt x="155634" y="944762"/>
                    <a:pt x="161944" y="947332"/>
                    <a:pt x="165294" y="945876"/>
                  </a:cubicBezTo>
                  <a:cubicBezTo>
                    <a:pt x="168683" y="944415"/>
                    <a:pt x="179337" y="943403"/>
                    <a:pt x="178792" y="951955"/>
                  </a:cubicBezTo>
                  <a:lnTo>
                    <a:pt x="177433" y="962165"/>
                  </a:lnTo>
                  <a:cubicBezTo>
                    <a:pt x="181256" y="964417"/>
                    <a:pt x="182596" y="968254"/>
                    <a:pt x="181352" y="977350"/>
                  </a:cubicBezTo>
                  <a:cubicBezTo>
                    <a:pt x="179790" y="979477"/>
                    <a:pt x="171007" y="987995"/>
                    <a:pt x="161033" y="987883"/>
                  </a:cubicBezTo>
                  <a:cubicBezTo>
                    <a:pt x="159784" y="991369"/>
                    <a:pt x="159095" y="994840"/>
                    <a:pt x="162561" y="993842"/>
                  </a:cubicBezTo>
                  <a:cubicBezTo>
                    <a:pt x="166066" y="992859"/>
                    <a:pt x="178532" y="991509"/>
                    <a:pt x="182466" y="996662"/>
                  </a:cubicBezTo>
                  <a:cubicBezTo>
                    <a:pt x="181092" y="999916"/>
                    <a:pt x="180860" y="1002052"/>
                    <a:pt x="182114" y="1003599"/>
                  </a:cubicBezTo>
                  <a:cubicBezTo>
                    <a:pt x="183348" y="1005185"/>
                    <a:pt x="183999" y="1009798"/>
                    <a:pt x="183006" y="1012807"/>
                  </a:cubicBezTo>
                  <a:cubicBezTo>
                    <a:pt x="185806" y="1012276"/>
                    <a:pt x="189195" y="1013057"/>
                    <a:pt x="189171" y="1027322"/>
                  </a:cubicBezTo>
                  <a:cubicBezTo>
                    <a:pt x="193331" y="1028440"/>
                    <a:pt x="196007" y="1028223"/>
                    <a:pt x="196007" y="1028223"/>
                  </a:cubicBezTo>
                  <a:cubicBezTo>
                    <a:pt x="199391" y="1026117"/>
                    <a:pt x="205109" y="1020602"/>
                    <a:pt x="206150" y="1017887"/>
                  </a:cubicBezTo>
                  <a:cubicBezTo>
                    <a:pt x="210951" y="1016437"/>
                    <a:pt x="213762" y="1014547"/>
                    <a:pt x="212118" y="1018221"/>
                  </a:cubicBezTo>
                  <a:cubicBezTo>
                    <a:pt x="210416" y="1021937"/>
                    <a:pt x="208965" y="1023730"/>
                    <a:pt x="211631" y="1025876"/>
                  </a:cubicBezTo>
                  <a:cubicBezTo>
                    <a:pt x="214326" y="1028026"/>
                    <a:pt x="215902" y="1029462"/>
                    <a:pt x="217050" y="1027124"/>
                  </a:cubicBezTo>
                  <a:cubicBezTo>
                    <a:pt x="218153" y="1024767"/>
                    <a:pt x="219272" y="1021947"/>
                    <a:pt x="220303" y="1024873"/>
                  </a:cubicBezTo>
                  <a:cubicBezTo>
                    <a:pt x="221306" y="1027799"/>
                    <a:pt x="222304" y="1033266"/>
                    <a:pt x="221306" y="1034866"/>
                  </a:cubicBezTo>
                  <a:cubicBezTo>
                    <a:pt x="224425" y="1034866"/>
                    <a:pt x="229150" y="1036563"/>
                    <a:pt x="234110" y="1027351"/>
                  </a:cubicBezTo>
                  <a:cubicBezTo>
                    <a:pt x="236323" y="1034302"/>
                    <a:pt x="237374" y="1038588"/>
                    <a:pt x="237374" y="1038588"/>
                  </a:cubicBezTo>
                  <a:lnTo>
                    <a:pt x="232177" y="1043394"/>
                  </a:lnTo>
                  <a:lnTo>
                    <a:pt x="233411" y="1049025"/>
                  </a:lnTo>
                  <a:lnTo>
                    <a:pt x="227674" y="1055764"/>
                  </a:lnTo>
                  <a:cubicBezTo>
                    <a:pt x="223755" y="1053296"/>
                    <a:pt x="212749" y="1046749"/>
                    <a:pt x="208044" y="1057427"/>
                  </a:cubicBezTo>
                  <a:cubicBezTo>
                    <a:pt x="206656" y="1060546"/>
                    <a:pt x="204327" y="1064287"/>
                    <a:pt x="203093" y="1065733"/>
                  </a:cubicBezTo>
                  <a:cubicBezTo>
                    <a:pt x="204327" y="1068636"/>
                    <a:pt x="209119" y="1079116"/>
                    <a:pt x="209119" y="1079116"/>
                  </a:cubicBezTo>
                  <a:lnTo>
                    <a:pt x="213747" y="1078108"/>
                  </a:lnTo>
                  <a:cubicBezTo>
                    <a:pt x="215107" y="1073952"/>
                    <a:pt x="221282" y="1060917"/>
                    <a:pt x="230711" y="1069465"/>
                  </a:cubicBezTo>
                  <a:cubicBezTo>
                    <a:pt x="239697" y="1066751"/>
                    <a:pt x="263516" y="1059582"/>
                    <a:pt x="263516" y="1059582"/>
                  </a:cubicBezTo>
                  <a:cubicBezTo>
                    <a:pt x="271263" y="1054101"/>
                    <a:pt x="274310" y="1051078"/>
                    <a:pt x="287234" y="1049950"/>
                  </a:cubicBezTo>
                  <a:cubicBezTo>
                    <a:pt x="295212" y="1047395"/>
                    <a:pt x="300809" y="1045342"/>
                    <a:pt x="304526" y="1043761"/>
                  </a:cubicBezTo>
                  <a:cubicBezTo>
                    <a:pt x="308223" y="1042223"/>
                    <a:pt x="313199" y="1039885"/>
                    <a:pt x="318477" y="1041639"/>
                  </a:cubicBezTo>
                  <a:cubicBezTo>
                    <a:pt x="314630" y="1046041"/>
                    <a:pt x="309781" y="1051430"/>
                    <a:pt x="307457" y="1060754"/>
                  </a:cubicBezTo>
                  <a:cubicBezTo>
                    <a:pt x="302737" y="1059047"/>
                    <a:pt x="296456" y="1057842"/>
                    <a:pt x="295198" y="1062523"/>
                  </a:cubicBezTo>
                  <a:cubicBezTo>
                    <a:pt x="293964" y="1067252"/>
                    <a:pt x="290686" y="1070848"/>
                    <a:pt x="297676" y="1079048"/>
                  </a:cubicBezTo>
                  <a:cubicBezTo>
                    <a:pt x="292147" y="1081618"/>
                    <a:pt x="285402" y="1083083"/>
                    <a:pt x="285402" y="1083083"/>
                  </a:cubicBezTo>
                  <a:lnTo>
                    <a:pt x="273399" y="1083844"/>
                  </a:lnTo>
                  <a:cubicBezTo>
                    <a:pt x="269446" y="1087769"/>
                    <a:pt x="262957" y="1093978"/>
                    <a:pt x="254955" y="1089923"/>
                  </a:cubicBezTo>
                  <a:cubicBezTo>
                    <a:pt x="254212" y="1093742"/>
                    <a:pt x="252496" y="1095988"/>
                    <a:pt x="252496" y="1095988"/>
                  </a:cubicBezTo>
                  <a:cubicBezTo>
                    <a:pt x="249141" y="1097314"/>
                    <a:pt x="245414" y="1100134"/>
                    <a:pt x="242151" y="1100693"/>
                  </a:cubicBezTo>
                  <a:cubicBezTo>
                    <a:pt x="238887" y="1101281"/>
                    <a:pt x="236675" y="1101696"/>
                    <a:pt x="235995" y="1103610"/>
                  </a:cubicBezTo>
                  <a:cubicBezTo>
                    <a:pt x="235315" y="1105519"/>
                    <a:pt x="233845" y="1108093"/>
                    <a:pt x="231613" y="1109014"/>
                  </a:cubicBezTo>
                  <a:cubicBezTo>
                    <a:pt x="229347" y="1109891"/>
                    <a:pt x="226112" y="1110561"/>
                    <a:pt x="229116" y="1113135"/>
                  </a:cubicBezTo>
                  <a:cubicBezTo>
                    <a:pt x="232153" y="1115729"/>
                    <a:pt x="234621" y="1114837"/>
                    <a:pt x="235874" y="1113729"/>
                  </a:cubicBezTo>
                  <a:cubicBezTo>
                    <a:pt x="239904" y="1115406"/>
                    <a:pt x="243168" y="1114832"/>
                    <a:pt x="244643" y="1111381"/>
                  </a:cubicBezTo>
                  <a:cubicBezTo>
                    <a:pt x="248996" y="1110031"/>
                    <a:pt x="256179" y="1108020"/>
                    <a:pt x="256179" y="1108020"/>
                  </a:cubicBezTo>
                  <a:lnTo>
                    <a:pt x="263357" y="1108257"/>
                  </a:lnTo>
                  <a:lnTo>
                    <a:pt x="264509" y="1094310"/>
                  </a:lnTo>
                  <a:cubicBezTo>
                    <a:pt x="264509" y="1094310"/>
                    <a:pt x="274049" y="1091842"/>
                    <a:pt x="273510" y="1091856"/>
                  </a:cubicBezTo>
                  <a:cubicBezTo>
                    <a:pt x="279675" y="1092517"/>
                    <a:pt x="283050" y="1093076"/>
                    <a:pt x="289225" y="1089364"/>
                  </a:cubicBezTo>
                  <a:cubicBezTo>
                    <a:pt x="295405" y="1085658"/>
                    <a:pt x="307438" y="1078397"/>
                    <a:pt x="307438" y="1078397"/>
                  </a:cubicBezTo>
                  <a:lnTo>
                    <a:pt x="305076" y="1084534"/>
                  </a:lnTo>
                  <a:lnTo>
                    <a:pt x="306305" y="1090377"/>
                  </a:lnTo>
                  <a:lnTo>
                    <a:pt x="300361" y="1091409"/>
                  </a:lnTo>
                  <a:lnTo>
                    <a:pt x="298086" y="1096914"/>
                  </a:lnTo>
                  <a:lnTo>
                    <a:pt x="304140" y="1096321"/>
                  </a:lnTo>
                  <a:lnTo>
                    <a:pt x="306406" y="1102858"/>
                  </a:lnTo>
                  <a:cubicBezTo>
                    <a:pt x="303138" y="1107924"/>
                    <a:pt x="300452" y="1110045"/>
                    <a:pt x="298418" y="1110407"/>
                  </a:cubicBezTo>
                  <a:cubicBezTo>
                    <a:pt x="300751" y="1113965"/>
                    <a:pt x="303364" y="1113318"/>
                    <a:pt x="305832" y="1110716"/>
                  </a:cubicBezTo>
                  <a:cubicBezTo>
                    <a:pt x="308291" y="1108122"/>
                    <a:pt x="314042" y="1106463"/>
                    <a:pt x="314380" y="1093091"/>
                  </a:cubicBezTo>
                  <a:cubicBezTo>
                    <a:pt x="318974" y="1090613"/>
                    <a:pt x="321230" y="1088940"/>
                    <a:pt x="321230" y="1088940"/>
                  </a:cubicBezTo>
                  <a:lnTo>
                    <a:pt x="321582" y="1085474"/>
                  </a:lnTo>
                  <a:lnTo>
                    <a:pt x="326740" y="1082876"/>
                  </a:lnTo>
                  <a:lnTo>
                    <a:pt x="318313" y="1074136"/>
                  </a:lnTo>
                  <a:lnTo>
                    <a:pt x="323042" y="1067502"/>
                  </a:lnTo>
                  <a:lnTo>
                    <a:pt x="324489" y="1073003"/>
                  </a:lnTo>
                  <a:lnTo>
                    <a:pt x="336492" y="1067835"/>
                  </a:lnTo>
                  <a:lnTo>
                    <a:pt x="335186" y="1061568"/>
                  </a:lnTo>
                  <a:lnTo>
                    <a:pt x="341236" y="1058955"/>
                  </a:lnTo>
                  <a:cubicBezTo>
                    <a:pt x="341236" y="1058955"/>
                    <a:pt x="341467" y="1066278"/>
                    <a:pt x="349783" y="1067290"/>
                  </a:cubicBezTo>
                  <a:cubicBezTo>
                    <a:pt x="350800" y="1063699"/>
                    <a:pt x="350684" y="1060869"/>
                    <a:pt x="353254" y="1061106"/>
                  </a:cubicBezTo>
                  <a:cubicBezTo>
                    <a:pt x="355852" y="1061346"/>
                    <a:pt x="357530" y="1060773"/>
                    <a:pt x="358234" y="1063935"/>
                  </a:cubicBezTo>
                  <a:cubicBezTo>
                    <a:pt x="358870" y="1067073"/>
                    <a:pt x="362553" y="1076387"/>
                    <a:pt x="365257" y="1078855"/>
                  </a:cubicBezTo>
                  <a:lnTo>
                    <a:pt x="367499" y="1077563"/>
                  </a:lnTo>
                  <a:lnTo>
                    <a:pt x="377348" y="1080470"/>
                  </a:lnTo>
                  <a:lnTo>
                    <a:pt x="382038" y="1085315"/>
                  </a:lnTo>
                  <a:lnTo>
                    <a:pt x="388026" y="1082943"/>
                  </a:lnTo>
                  <a:lnTo>
                    <a:pt x="385336" y="1076411"/>
                  </a:lnTo>
                  <a:cubicBezTo>
                    <a:pt x="385336" y="1076411"/>
                    <a:pt x="386232" y="1072926"/>
                    <a:pt x="388078" y="1068370"/>
                  </a:cubicBezTo>
                  <a:cubicBezTo>
                    <a:pt x="400405" y="1063897"/>
                    <a:pt x="408740" y="1074121"/>
                    <a:pt x="408740" y="1074121"/>
                  </a:cubicBezTo>
                  <a:lnTo>
                    <a:pt x="404474" y="1082852"/>
                  </a:lnTo>
                  <a:lnTo>
                    <a:pt x="404715" y="1089340"/>
                  </a:lnTo>
                  <a:lnTo>
                    <a:pt x="408186" y="1086964"/>
                  </a:lnTo>
                  <a:cubicBezTo>
                    <a:pt x="408186" y="1086964"/>
                    <a:pt x="413339" y="1086410"/>
                    <a:pt x="416598" y="1086573"/>
                  </a:cubicBezTo>
                  <a:cubicBezTo>
                    <a:pt x="421587" y="1092667"/>
                    <a:pt x="420213" y="1103277"/>
                    <a:pt x="419042" y="1106772"/>
                  </a:cubicBezTo>
                  <a:cubicBezTo>
                    <a:pt x="421033" y="1108526"/>
                    <a:pt x="427112" y="1112407"/>
                    <a:pt x="430824" y="1112668"/>
                  </a:cubicBezTo>
                  <a:cubicBezTo>
                    <a:pt x="432872" y="1112330"/>
                    <a:pt x="449890" y="1121205"/>
                    <a:pt x="449890" y="1121205"/>
                  </a:cubicBezTo>
                  <a:cubicBezTo>
                    <a:pt x="449890" y="1121205"/>
                    <a:pt x="453872" y="1120048"/>
                    <a:pt x="457241" y="1118544"/>
                  </a:cubicBezTo>
                  <a:cubicBezTo>
                    <a:pt x="463079" y="1121519"/>
                    <a:pt x="472875" y="1119933"/>
                    <a:pt x="478202" y="1117927"/>
                  </a:cubicBezTo>
                  <a:cubicBezTo>
                    <a:pt x="478477" y="1117826"/>
                    <a:pt x="483302" y="1123052"/>
                    <a:pt x="483302" y="1123052"/>
                  </a:cubicBezTo>
                  <a:cubicBezTo>
                    <a:pt x="483302" y="1123052"/>
                    <a:pt x="490417" y="1123245"/>
                    <a:pt x="497880" y="1122618"/>
                  </a:cubicBezTo>
                  <a:cubicBezTo>
                    <a:pt x="505130" y="1109197"/>
                    <a:pt x="516049" y="1106975"/>
                    <a:pt x="519925" y="1106160"/>
                  </a:cubicBezTo>
                  <a:lnTo>
                    <a:pt x="521699" y="1102274"/>
                  </a:lnTo>
                  <a:cubicBezTo>
                    <a:pt x="521699" y="1102274"/>
                    <a:pt x="523724" y="1102216"/>
                    <a:pt x="528347" y="1100510"/>
                  </a:cubicBezTo>
                  <a:cubicBezTo>
                    <a:pt x="533326" y="1087128"/>
                    <a:pt x="545518" y="1086385"/>
                    <a:pt x="545518" y="1086385"/>
                  </a:cubicBezTo>
                  <a:lnTo>
                    <a:pt x="561538" y="1090165"/>
                  </a:lnTo>
                  <a:cubicBezTo>
                    <a:pt x="561538" y="1090165"/>
                    <a:pt x="561962" y="1091548"/>
                    <a:pt x="563552" y="1097044"/>
                  </a:cubicBezTo>
                  <a:cubicBezTo>
                    <a:pt x="563229" y="1092715"/>
                    <a:pt x="568817" y="1084751"/>
                    <a:pt x="569805" y="1076657"/>
                  </a:cubicBezTo>
                  <a:cubicBezTo>
                    <a:pt x="560212" y="1065733"/>
                    <a:pt x="566623" y="1052221"/>
                    <a:pt x="568397" y="1050389"/>
                  </a:cubicBezTo>
                  <a:cubicBezTo>
                    <a:pt x="570249" y="1048595"/>
                    <a:pt x="568913" y="1045602"/>
                    <a:pt x="569246" y="1042681"/>
                  </a:cubicBezTo>
                  <a:cubicBezTo>
                    <a:pt x="569125" y="1042430"/>
                    <a:pt x="564083" y="1036062"/>
                    <a:pt x="564083" y="1036062"/>
                  </a:cubicBezTo>
                  <a:cubicBezTo>
                    <a:pt x="564083" y="1036062"/>
                    <a:pt x="564227" y="1031795"/>
                    <a:pt x="564705" y="1029149"/>
                  </a:cubicBezTo>
                  <a:cubicBezTo>
                    <a:pt x="554846" y="1001936"/>
                    <a:pt x="569954" y="1001430"/>
                    <a:pt x="573811" y="1001445"/>
                  </a:cubicBezTo>
                  <a:cubicBezTo>
                    <a:pt x="577605" y="1001445"/>
                    <a:pt x="584113" y="1000056"/>
                    <a:pt x="590794" y="997525"/>
                  </a:cubicBezTo>
                  <a:cubicBezTo>
                    <a:pt x="597495" y="995028"/>
                    <a:pt x="608973" y="993616"/>
                    <a:pt x="612333" y="993909"/>
                  </a:cubicBezTo>
                  <a:cubicBezTo>
                    <a:pt x="615606" y="994247"/>
                    <a:pt x="622876" y="992222"/>
                    <a:pt x="622876" y="992222"/>
                  </a:cubicBezTo>
                  <a:lnTo>
                    <a:pt x="625204" y="993235"/>
                  </a:lnTo>
                  <a:lnTo>
                    <a:pt x="639339" y="991331"/>
                  </a:lnTo>
                  <a:cubicBezTo>
                    <a:pt x="639339" y="991331"/>
                    <a:pt x="643890" y="993553"/>
                    <a:pt x="647693" y="995293"/>
                  </a:cubicBezTo>
                  <a:cubicBezTo>
                    <a:pt x="655045" y="995023"/>
                    <a:pt x="680768" y="1000755"/>
                    <a:pt x="685946" y="1002490"/>
                  </a:cubicBezTo>
                  <a:cubicBezTo>
                    <a:pt x="691142" y="1004284"/>
                    <a:pt x="707566" y="1006906"/>
                    <a:pt x="719392" y="1005147"/>
                  </a:cubicBezTo>
                  <a:cubicBezTo>
                    <a:pt x="731708" y="1007861"/>
                    <a:pt x="744985" y="1022877"/>
                    <a:pt x="746869" y="1024946"/>
                  </a:cubicBezTo>
                  <a:cubicBezTo>
                    <a:pt x="748783" y="1027033"/>
                    <a:pt x="754602" y="1029882"/>
                    <a:pt x="755359" y="1031381"/>
                  </a:cubicBezTo>
                  <a:cubicBezTo>
                    <a:pt x="756062" y="1032817"/>
                    <a:pt x="757740" y="1034698"/>
                    <a:pt x="760324" y="1035893"/>
                  </a:cubicBezTo>
                  <a:cubicBezTo>
                    <a:pt x="762952" y="1037069"/>
                    <a:pt x="768317" y="1040935"/>
                    <a:pt x="771725" y="1043804"/>
                  </a:cubicBezTo>
                  <a:cubicBezTo>
                    <a:pt x="775167" y="1046624"/>
                    <a:pt x="790289" y="1049314"/>
                    <a:pt x="795636" y="1048219"/>
                  </a:cubicBezTo>
                  <a:cubicBezTo>
                    <a:pt x="795636" y="1048219"/>
                    <a:pt x="805133" y="1050750"/>
                    <a:pt x="809196" y="1051705"/>
                  </a:cubicBezTo>
                  <a:cubicBezTo>
                    <a:pt x="811544" y="1051064"/>
                    <a:pt x="815145" y="1050813"/>
                    <a:pt x="823109" y="1050326"/>
                  </a:cubicBezTo>
                  <a:cubicBezTo>
                    <a:pt x="834144" y="1032181"/>
                    <a:pt x="846701" y="1035724"/>
                    <a:pt x="850871" y="1035816"/>
                  </a:cubicBezTo>
                  <a:cubicBezTo>
                    <a:pt x="850871" y="1035816"/>
                    <a:pt x="852129" y="1031232"/>
                    <a:pt x="851792" y="1027625"/>
                  </a:cubicBezTo>
                  <a:cubicBezTo>
                    <a:pt x="851489" y="1024049"/>
                    <a:pt x="857167" y="1026550"/>
                    <a:pt x="859824" y="1026194"/>
                  </a:cubicBezTo>
                  <a:cubicBezTo>
                    <a:pt x="862176" y="1024767"/>
                    <a:pt x="870106" y="1023171"/>
                    <a:pt x="870106" y="1023171"/>
                  </a:cubicBezTo>
                  <a:lnTo>
                    <a:pt x="875038" y="1018346"/>
                  </a:lnTo>
                  <a:lnTo>
                    <a:pt x="881623" y="1016706"/>
                  </a:lnTo>
                  <a:lnTo>
                    <a:pt x="888492" y="1014007"/>
                  </a:lnTo>
                  <a:lnTo>
                    <a:pt x="896837" y="1014990"/>
                  </a:lnTo>
                  <a:lnTo>
                    <a:pt x="900737" y="1007253"/>
                  </a:lnTo>
                  <a:lnTo>
                    <a:pt x="906122" y="1003787"/>
                  </a:lnTo>
                  <a:lnTo>
                    <a:pt x="912066" y="1009524"/>
                  </a:lnTo>
                  <a:cubicBezTo>
                    <a:pt x="912066" y="1009524"/>
                    <a:pt x="912268" y="1005098"/>
                    <a:pt x="912837" y="1001917"/>
                  </a:cubicBezTo>
                  <a:cubicBezTo>
                    <a:pt x="913652" y="1001093"/>
                    <a:pt x="918598" y="993678"/>
                    <a:pt x="919586" y="991355"/>
                  </a:cubicBezTo>
                  <a:cubicBezTo>
                    <a:pt x="920608" y="989021"/>
                    <a:pt x="926508" y="981771"/>
                    <a:pt x="926508" y="981771"/>
                  </a:cubicBezTo>
                  <a:lnTo>
                    <a:pt x="933908" y="986095"/>
                  </a:lnTo>
                  <a:lnTo>
                    <a:pt x="936449" y="993693"/>
                  </a:lnTo>
                  <a:lnTo>
                    <a:pt x="937519" y="984750"/>
                  </a:lnTo>
                  <a:lnTo>
                    <a:pt x="944528" y="972125"/>
                  </a:lnTo>
                  <a:lnTo>
                    <a:pt x="942638" y="965641"/>
                  </a:lnTo>
                  <a:cubicBezTo>
                    <a:pt x="942638" y="965641"/>
                    <a:pt x="942504" y="959278"/>
                    <a:pt x="945213" y="956843"/>
                  </a:cubicBezTo>
                  <a:cubicBezTo>
                    <a:pt x="947903" y="954413"/>
                    <a:pt x="952762" y="944551"/>
                    <a:pt x="954522" y="938457"/>
                  </a:cubicBezTo>
                  <a:cubicBezTo>
                    <a:pt x="956199" y="932339"/>
                    <a:pt x="964496" y="920804"/>
                    <a:pt x="967330" y="917665"/>
                  </a:cubicBezTo>
                  <a:cubicBezTo>
                    <a:pt x="970165" y="914556"/>
                    <a:pt x="975332" y="905792"/>
                    <a:pt x="977863" y="901790"/>
                  </a:cubicBezTo>
                  <a:cubicBezTo>
                    <a:pt x="997214" y="880763"/>
                    <a:pt x="1011565" y="891137"/>
                    <a:pt x="1015836" y="896748"/>
                  </a:cubicBezTo>
                  <a:lnTo>
                    <a:pt x="1019611" y="894935"/>
                  </a:lnTo>
                  <a:cubicBezTo>
                    <a:pt x="1019611" y="894935"/>
                    <a:pt x="1026123" y="895056"/>
                    <a:pt x="1030341" y="895355"/>
                  </a:cubicBezTo>
                  <a:cubicBezTo>
                    <a:pt x="1035346" y="897394"/>
                    <a:pt x="1064289" y="903449"/>
                    <a:pt x="1069129" y="905893"/>
                  </a:cubicBezTo>
                  <a:lnTo>
                    <a:pt x="1074312" y="899911"/>
                  </a:lnTo>
                  <a:lnTo>
                    <a:pt x="1076384" y="896179"/>
                  </a:lnTo>
                  <a:lnTo>
                    <a:pt x="1082391" y="891330"/>
                  </a:lnTo>
                  <a:lnTo>
                    <a:pt x="1090764" y="893778"/>
                  </a:lnTo>
                  <a:lnTo>
                    <a:pt x="1096303" y="888283"/>
                  </a:lnTo>
                  <a:lnTo>
                    <a:pt x="1095339" y="880724"/>
                  </a:lnTo>
                  <a:lnTo>
                    <a:pt x="1097595" y="875469"/>
                  </a:lnTo>
                  <a:cubicBezTo>
                    <a:pt x="1097595" y="875469"/>
                    <a:pt x="1091174" y="875889"/>
                    <a:pt x="1086117" y="876747"/>
                  </a:cubicBezTo>
                  <a:cubicBezTo>
                    <a:pt x="1087703" y="871319"/>
                    <a:pt x="1095060" y="865915"/>
                    <a:pt x="1099201" y="865163"/>
                  </a:cubicBezTo>
                  <a:cubicBezTo>
                    <a:pt x="1103380" y="864430"/>
                    <a:pt x="1109309" y="860569"/>
                    <a:pt x="1109309" y="860569"/>
                  </a:cubicBezTo>
                  <a:lnTo>
                    <a:pt x="1120340" y="838258"/>
                  </a:lnTo>
                  <a:cubicBezTo>
                    <a:pt x="1120340" y="838258"/>
                    <a:pt x="1123507" y="835674"/>
                    <a:pt x="1126365" y="834522"/>
                  </a:cubicBezTo>
                  <a:cubicBezTo>
                    <a:pt x="1135997" y="836890"/>
                    <a:pt x="1141950" y="842057"/>
                    <a:pt x="1148160" y="847075"/>
                  </a:cubicBezTo>
                  <a:cubicBezTo>
                    <a:pt x="1148049" y="849274"/>
                    <a:pt x="1151283" y="856514"/>
                    <a:pt x="1152074" y="857783"/>
                  </a:cubicBezTo>
                  <a:cubicBezTo>
                    <a:pt x="1152855" y="859017"/>
                    <a:pt x="1154610" y="865669"/>
                    <a:pt x="1154610" y="865669"/>
                  </a:cubicBezTo>
                  <a:cubicBezTo>
                    <a:pt x="1154610" y="865669"/>
                    <a:pt x="1148743" y="877538"/>
                    <a:pt x="1146342" y="881944"/>
                  </a:cubicBezTo>
                  <a:cubicBezTo>
                    <a:pt x="1144800" y="883024"/>
                    <a:pt x="1140630" y="884470"/>
                    <a:pt x="1140056" y="887979"/>
                  </a:cubicBezTo>
                  <a:cubicBezTo>
                    <a:pt x="1139516" y="891484"/>
                    <a:pt x="1135351" y="896546"/>
                    <a:pt x="1131307" y="900865"/>
                  </a:cubicBezTo>
                  <a:cubicBezTo>
                    <a:pt x="1131576" y="904871"/>
                    <a:pt x="1127585" y="914638"/>
                    <a:pt x="1125266" y="917530"/>
                  </a:cubicBezTo>
                  <a:cubicBezTo>
                    <a:pt x="1125266" y="917530"/>
                    <a:pt x="1125724" y="920302"/>
                    <a:pt x="1126004" y="924193"/>
                  </a:cubicBezTo>
                  <a:cubicBezTo>
                    <a:pt x="1130791" y="927600"/>
                    <a:pt x="1144573" y="940573"/>
                    <a:pt x="1147620" y="942959"/>
                  </a:cubicBezTo>
                  <a:cubicBezTo>
                    <a:pt x="1150657" y="945346"/>
                    <a:pt x="1156871" y="955744"/>
                    <a:pt x="1156871" y="955744"/>
                  </a:cubicBezTo>
                  <a:lnTo>
                    <a:pt x="1153298" y="966750"/>
                  </a:lnTo>
                  <a:lnTo>
                    <a:pt x="1165292" y="966128"/>
                  </a:lnTo>
                  <a:lnTo>
                    <a:pt x="1168252" y="969652"/>
                  </a:lnTo>
                  <a:lnTo>
                    <a:pt x="1174861" y="968987"/>
                  </a:lnTo>
                  <a:cubicBezTo>
                    <a:pt x="1174861" y="968987"/>
                    <a:pt x="1179943" y="970784"/>
                    <a:pt x="1184971" y="972496"/>
                  </a:cubicBezTo>
                  <a:cubicBezTo>
                    <a:pt x="1181133" y="964021"/>
                    <a:pt x="1180950" y="959147"/>
                    <a:pt x="1181987" y="954250"/>
                  </a:cubicBezTo>
                  <a:lnTo>
                    <a:pt x="1191474" y="950562"/>
                  </a:lnTo>
                  <a:lnTo>
                    <a:pt x="1191498" y="942164"/>
                  </a:lnTo>
                  <a:cubicBezTo>
                    <a:pt x="1191498" y="942164"/>
                    <a:pt x="1195008" y="941967"/>
                    <a:pt x="1198879" y="940236"/>
                  </a:cubicBezTo>
                  <a:cubicBezTo>
                    <a:pt x="1194010" y="927644"/>
                    <a:pt x="1189738" y="912454"/>
                    <a:pt x="1189738" y="912454"/>
                  </a:cubicBezTo>
                  <a:lnTo>
                    <a:pt x="1199423" y="913794"/>
                  </a:lnTo>
                  <a:lnTo>
                    <a:pt x="1202995" y="907238"/>
                  </a:lnTo>
                  <a:lnTo>
                    <a:pt x="1215987" y="905555"/>
                  </a:lnTo>
                  <a:cubicBezTo>
                    <a:pt x="1215987" y="905555"/>
                    <a:pt x="1218860" y="904052"/>
                    <a:pt x="1221107" y="902379"/>
                  </a:cubicBezTo>
                  <a:cubicBezTo>
                    <a:pt x="1217790" y="890568"/>
                    <a:pt x="1207864" y="893085"/>
                    <a:pt x="1207864" y="893085"/>
                  </a:cubicBezTo>
                  <a:cubicBezTo>
                    <a:pt x="1207864" y="893085"/>
                    <a:pt x="1207021" y="887897"/>
                    <a:pt x="1206346" y="884986"/>
                  </a:cubicBezTo>
                  <a:cubicBezTo>
                    <a:pt x="1201689" y="883149"/>
                    <a:pt x="1195393" y="875489"/>
                    <a:pt x="1197167" y="872071"/>
                  </a:cubicBezTo>
                  <a:cubicBezTo>
                    <a:pt x="1198883" y="868667"/>
                    <a:pt x="1196189" y="856664"/>
                    <a:pt x="1194019" y="854962"/>
                  </a:cubicBezTo>
                  <a:lnTo>
                    <a:pt x="1194959" y="847495"/>
                  </a:lnTo>
                  <a:lnTo>
                    <a:pt x="1192930" y="840273"/>
                  </a:lnTo>
                  <a:lnTo>
                    <a:pt x="1194501" y="833091"/>
                  </a:lnTo>
                  <a:cubicBezTo>
                    <a:pt x="1194501" y="833091"/>
                    <a:pt x="1194853" y="830772"/>
                    <a:pt x="1194704" y="827797"/>
                  </a:cubicBezTo>
                  <a:cubicBezTo>
                    <a:pt x="1195032" y="823141"/>
                    <a:pt x="1212275" y="824124"/>
                    <a:pt x="1215992" y="824799"/>
                  </a:cubicBezTo>
                  <a:cubicBezTo>
                    <a:pt x="1219665" y="825469"/>
                    <a:pt x="1226737" y="825676"/>
                    <a:pt x="1229822" y="824693"/>
                  </a:cubicBezTo>
                  <a:lnTo>
                    <a:pt x="1238688" y="828265"/>
                  </a:lnTo>
                  <a:lnTo>
                    <a:pt x="1239522" y="834812"/>
                  </a:lnTo>
                  <a:cubicBezTo>
                    <a:pt x="1239522" y="834812"/>
                    <a:pt x="1242279" y="837762"/>
                    <a:pt x="1246068" y="839888"/>
                  </a:cubicBezTo>
                  <a:cubicBezTo>
                    <a:pt x="1250440" y="828102"/>
                    <a:pt x="1277114" y="825137"/>
                    <a:pt x="1281235" y="826052"/>
                  </a:cubicBezTo>
                  <a:cubicBezTo>
                    <a:pt x="1281235" y="826052"/>
                    <a:pt x="1284745" y="825030"/>
                    <a:pt x="1287743" y="824187"/>
                  </a:cubicBezTo>
                  <a:cubicBezTo>
                    <a:pt x="1288153" y="816604"/>
                    <a:pt x="1301815" y="806851"/>
                    <a:pt x="1306558" y="802190"/>
                  </a:cubicBezTo>
                  <a:cubicBezTo>
                    <a:pt x="1312006" y="801366"/>
                    <a:pt x="1321498" y="794515"/>
                    <a:pt x="1323990" y="792645"/>
                  </a:cubicBezTo>
                  <a:cubicBezTo>
                    <a:pt x="1326434" y="790760"/>
                    <a:pt x="1328184" y="786942"/>
                    <a:pt x="1335372" y="781943"/>
                  </a:cubicBezTo>
                  <a:cubicBezTo>
                    <a:pt x="1344194" y="767360"/>
                    <a:pt x="1354645" y="761908"/>
                    <a:pt x="1362643" y="762405"/>
                  </a:cubicBezTo>
                  <a:cubicBezTo>
                    <a:pt x="1374487" y="756981"/>
                    <a:pt x="1394348" y="764116"/>
                    <a:pt x="1406468" y="770846"/>
                  </a:cubicBezTo>
                  <a:cubicBezTo>
                    <a:pt x="1418602" y="777575"/>
                    <a:pt x="1443664" y="765302"/>
                    <a:pt x="1448722" y="762328"/>
                  </a:cubicBezTo>
                  <a:cubicBezTo>
                    <a:pt x="1452265" y="764034"/>
                    <a:pt x="1463959" y="761836"/>
                    <a:pt x="1470578" y="761180"/>
                  </a:cubicBezTo>
                  <a:cubicBezTo>
                    <a:pt x="1474768" y="753679"/>
                    <a:pt x="1506608" y="740119"/>
                    <a:pt x="1506608" y="740119"/>
                  </a:cubicBezTo>
                  <a:lnTo>
                    <a:pt x="1510629" y="734633"/>
                  </a:lnTo>
                  <a:cubicBezTo>
                    <a:pt x="1510629" y="734633"/>
                    <a:pt x="1519301" y="731808"/>
                    <a:pt x="1524893" y="729875"/>
                  </a:cubicBezTo>
                  <a:cubicBezTo>
                    <a:pt x="1529251" y="724620"/>
                    <a:pt x="1549464" y="703761"/>
                    <a:pt x="1554010" y="701240"/>
                  </a:cubicBezTo>
                  <a:cubicBezTo>
                    <a:pt x="1558566" y="698728"/>
                    <a:pt x="1570140" y="684102"/>
                    <a:pt x="1574349" y="675945"/>
                  </a:cubicBezTo>
                  <a:cubicBezTo>
                    <a:pt x="1583715" y="671587"/>
                    <a:pt x="1595281" y="659169"/>
                    <a:pt x="1597619" y="655154"/>
                  </a:cubicBezTo>
                  <a:cubicBezTo>
                    <a:pt x="1599942" y="651099"/>
                    <a:pt x="1606093" y="650309"/>
                    <a:pt x="1611902" y="649253"/>
                  </a:cubicBezTo>
                  <a:cubicBezTo>
                    <a:pt x="1615701" y="643998"/>
                    <a:pt x="1620387" y="642215"/>
                    <a:pt x="1639168" y="640272"/>
                  </a:cubicBezTo>
                  <a:cubicBezTo>
                    <a:pt x="1657955" y="638353"/>
                    <a:pt x="1680824" y="628278"/>
                    <a:pt x="1686040" y="625747"/>
                  </a:cubicBezTo>
                  <a:cubicBezTo>
                    <a:pt x="1691295" y="623250"/>
                    <a:pt x="1694693" y="618024"/>
                    <a:pt x="1701785" y="615373"/>
                  </a:cubicBezTo>
                  <a:cubicBezTo>
                    <a:pt x="1729171" y="605934"/>
                    <a:pt x="1740625" y="579271"/>
                    <a:pt x="1742452" y="571712"/>
                  </a:cubicBezTo>
                  <a:cubicBezTo>
                    <a:pt x="1743546" y="573486"/>
                    <a:pt x="1754017" y="575776"/>
                    <a:pt x="1758187" y="576258"/>
                  </a:cubicBezTo>
                  <a:cubicBezTo>
                    <a:pt x="1762352" y="576759"/>
                    <a:pt x="1760862" y="581869"/>
                    <a:pt x="1763326" y="584516"/>
                  </a:cubicBezTo>
                  <a:cubicBezTo>
                    <a:pt x="1765827" y="587138"/>
                    <a:pt x="1767433" y="593829"/>
                    <a:pt x="1767433" y="593829"/>
                  </a:cubicBezTo>
                  <a:lnTo>
                    <a:pt x="1788417" y="579656"/>
                  </a:lnTo>
                  <a:lnTo>
                    <a:pt x="1789733" y="562576"/>
                  </a:lnTo>
                  <a:lnTo>
                    <a:pt x="1793812" y="554420"/>
                  </a:lnTo>
                  <a:lnTo>
                    <a:pt x="1793320" y="548307"/>
                  </a:lnTo>
                  <a:lnTo>
                    <a:pt x="1797244" y="545193"/>
                  </a:lnTo>
                  <a:lnTo>
                    <a:pt x="1819130" y="544986"/>
                  </a:lnTo>
                  <a:lnTo>
                    <a:pt x="1822977" y="538054"/>
                  </a:lnTo>
                  <a:cubicBezTo>
                    <a:pt x="1822977" y="538054"/>
                    <a:pt x="1828444" y="534607"/>
                    <a:pt x="1834841" y="530427"/>
                  </a:cubicBezTo>
                  <a:cubicBezTo>
                    <a:pt x="1844704" y="533739"/>
                    <a:pt x="1854610" y="530741"/>
                    <a:pt x="1860251" y="528205"/>
                  </a:cubicBezTo>
                  <a:lnTo>
                    <a:pt x="1875942" y="533166"/>
                  </a:lnTo>
                  <a:lnTo>
                    <a:pt x="1883646" y="529082"/>
                  </a:lnTo>
                  <a:cubicBezTo>
                    <a:pt x="1883646" y="529082"/>
                    <a:pt x="1888683" y="530056"/>
                    <a:pt x="1892882" y="530991"/>
                  </a:cubicBezTo>
                  <a:cubicBezTo>
                    <a:pt x="1897712" y="525197"/>
                    <a:pt x="1908704" y="525221"/>
                    <a:pt x="1911442" y="525959"/>
                  </a:cubicBezTo>
                  <a:cubicBezTo>
                    <a:pt x="1914199" y="526691"/>
                    <a:pt x="1922819" y="513854"/>
                    <a:pt x="1925870" y="505046"/>
                  </a:cubicBezTo>
                  <a:cubicBezTo>
                    <a:pt x="1946860" y="495805"/>
                    <a:pt x="1955228" y="506425"/>
                    <a:pt x="1958184" y="513266"/>
                  </a:cubicBezTo>
                  <a:cubicBezTo>
                    <a:pt x="1951782" y="520347"/>
                    <a:pt x="1956848" y="528060"/>
                    <a:pt x="1956848" y="528060"/>
                  </a:cubicBezTo>
                  <a:lnTo>
                    <a:pt x="1966962" y="538545"/>
                  </a:lnTo>
                  <a:lnTo>
                    <a:pt x="1973099" y="537360"/>
                  </a:lnTo>
                  <a:lnTo>
                    <a:pt x="1974333" y="528542"/>
                  </a:lnTo>
                  <a:cubicBezTo>
                    <a:pt x="1974333" y="528542"/>
                    <a:pt x="1979014" y="523341"/>
                    <a:pt x="1985208" y="516491"/>
                  </a:cubicBezTo>
                  <a:cubicBezTo>
                    <a:pt x="1990520" y="496518"/>
                    <a:pt x="2003807" y="494566"/>
                    <a:pt x="2010440" y="495405"/>
                  </a:cubicBezTo>
                  <a:cubicBezTo>
                    <a:pt x="2007601" y="491500"/>
                    <a:pt x="2007142" y="484389"/>
                    <a:pt x="2007750" y="475770"/>
                  </a:cubicBezTo>
                  <a:close/>
                  <a:moveTo>
                    <a:pt x="1798098" y="336856"/>
                  </a:moveTo>
                  <a:lnTo>
                    <a:pt x="1792847" y="341393"/>
                  </a:lnTo>
                  <a:lnTo>
                    <a:pt x="1788928" y="349236"/>
                  </a:lnTo>
                  <a:lnTo>
                    <a:pt x="1781846" y="347592"/>
                  </a:lnTo>
                  <a:lnTo>
                    <a:pt x="1781259" y="354062"/>
                  </a:lnTo>
                  <a:lnTo>
                    <a:pt x="1776563" y="360391"/>
                  </a:lnTo>
                  <a:cubicBezTo>
                    <a:pt x="1776563" y="360391"/>
                    <a:pt x="1775199" y="373619"/>
                    <a:pt x="1769197" y="381159"/>
                  </a:cubicBezTo>
                  <a:cubicBezTo>
                    <a:pt x="1772765" y="380469"/>
                    <a:pt x="1775985" y="379674"/>
                    <a:pt x="1775985" y="379674"/>
                  </a:cubicBezTo>
                  <a:lnTo>
                    <a:pt x="1783003" y="382586"/>
                  </a:lnTo>
                  <a:lnTo>
                    <a:pt x="1790553" y="382581"/>
                  </a:lnTo>
                  <a:lnTo>
                    <a:pt x="1796391" y="388911"/>
                  </a:lnTo>
                  <a:cubicBezTo>
                    <a:pt x="1796391" y="388911"/>
                    <a:pt x="1795195" y="394339"/>
                    <a:pt x="1792086" y="398615"/>
                  </a:cubicBezTo>
                  <a:cubicBezTo>
                    <a:pt x="1789025" y="402920"/>
                    <a:pt x="1785554" y="409081"/>
                    <a:pt x="1783669" y="413993"/>
                  </a:cubicBezTo>
                  <a:cubicBezTo>
                    <a:pt x="1781798" y="418876"/>
                    <a:pt x="1772480" y="422501"/>
                    <a:pt x="1767635" y="420853"/>
                  </a:cubicBezTo>
                  <a:cubicBezTo>
                    <a:pt x="1765461" y="417309"/>
                    <a:pt x="1761175" y="408950"/>
                    <a:pt x="1761175" y="408950"/>
                  </a:cubicBezTo>
                  <a:lnTo>
                    <a:pt x="1755810" y="408733"/>
                  </a:lnTo>
                  <a:lnTo>
                    <a:pt x="1753617" y="402192"/>
                  </a:lnTo>
                  <a:lnTo>
                    <a:pt x="1745869" y="412802"/>
                  </a:lnTo>
                  <a:lnTo>
                    <a:pt x="1737597" y="417324"/>
                  </a:lnTo>
                  <a:cubicBezTo>
                    <a:pt x="1737597" y="417324"/>
                    <a:pt x="1728853" y="411438"/>
                    <a:pt x="1723444" y="412513"/>
                  </a:cubicBezTo>
                  <a:cubicBezTo>
                    <a:pt x="1722094" y="415222"/>
                    <a:pt x="1718532" y="418167"/>
                    <a:pt x="1718532" y="418167"/>
                  </a:cubicBezTo>
                  <a:lnTo>
                    <a:pt x="1712443" y="414166"/>
                  </a:lnTo>
                  <a:lnTo>
                    <a:pt x="1699350" y="420819"/>
                  </a:lnTo>
                  <a:lnTo>
                    <a:pt x="1711016" y="400095"/>
                  </a:lnTo>
                  <a:lnTo>
                    <a:pt x="1703761" y="389711"/>
                  </a:lnTo>
                  <a:lnTo>
                    <a:pt x="1707965" y="384292"/>
                  </a:lnTo>
                  <a:lnTo>
                    <a:pt x="1714357" y="380875"/>
                  </a:lnTo>
                  <a:lnTo>
                    <a:pt x="1718295" y="376835"/>
                  </a:lnTo>
                  <a:lnTo>
                    <a:pt x="1730197" y="371865"/>
                  </a:lnTo>
                  <a:lnTo>
                    <a:pt x="1737034" y="370568"/>
                  </a:lnTo>
                  <a:cubicBezTo>
                    <a:pt x="1737034" y="370568"/>
                    <a:pt x="1743430" y="367140"/>
                    <a:pt x="1749008" y="366576"/>
                  </a:cubicBezTo>
                  <a:cubicBezTo>
                    <a:pt x="1754412" y="364739"/>
                    <a:pt x="1760592" y="360685"/>
                    <a:pt x="1760592" y="360685"/>
                  </a:cubicBezTo>
                  <a:cubicBezTo>
                    <a:pt x="1760592" y="360685"/>
                    <a:pt x="1766377" y="355503"/>
                    <a:pt x="1766854" y="348585"/>
                  </a:cubicBezTo>
                  <a:cubicBezTo>
                    <a:pt x="1763827" y="349299"/>
                    <a:pt x="1754263" y="349255"/>
                    <a:pt x="1754263" y="349255"/>
                  </a:cubicBezTo>
                  <a:lnTo>
                    <a:pt x="1759710" y="342150"/>
                  </a:lnTo>
                  <a:lnTo>
                    <a:pt x="1770070" y="336413"/>
                  </a:lnTo>
                  <a:lnTo>
                    <a:pt x="1775580" y="335598"/>
                  </a:lnTo>
                  <a:lnTo>
                    <a:pt x="1778617" y="331081"/>
                  </a:lnTo>
                  <a:lnTo>
                    <a:pt x="1789193" y="324511"/>
                  </a:lnTo>
                  <a:lnTo>
                    <a:pt x="1802292" y="325436"/>
                  </a:lnTo>
                  <a:lnTo>
                    <a:pt x="1802672" y="331809"/>
                  </a:lnTo>
                  <a:lnTo>
                    <a:pt x="1798098" y="33685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62" name="Freihandform: Form 661">
              <a:extLst>
                <a:ext uri="{FF2B5EF4-FFF2-40B4-BE49-F238E27FC236}">
                  <a16:creationId xmlns:a16="http://schemas.microsoft.com/office/drawing/2014/main" id="{21E8D4BF-8EB2-0ECE-A2F7-7E84161A4A5E}"/>
                </a:ext>
              </a:extLst>
            </p:cNvPr>
            <p:cNvSpPr/>
            <p:nvPr/>
          </p:nvSpPr>
          <p:spPr>
            <a:xfrm>
              <a:off x="6742076" y="3492495"/>
              <a:ext cx="1942880" cy="1328788"/>
            </a:xfrm>
            <a:custGeom>
              <a:avLst/>
              <a:gdLst>
                <a:gd name="connsiteX0" fmla="*/ 1515848 w 1522208"/>
                <a:gd name="connsiteY0" fmla="*/ 353553 h 1041752"/>
                <a:gd name="connsiteX1" fmla="*/ 1516509 w 1522208"/>
                <a:gd name="connsiteY1" fmla="*/ 342311 h 1041752"/>
                <a:gd name="connsiteX2" fmla="*/ 1517699 w 1522208"/>
                <a:gd name="connsiteY2" fmla="*/ 313194 h 1041752"/>
                <a:gd name="connsiteX3" fmla="*/ 1507672 w 1522208"/>
                <a:gd name="connsiteY3" fmla="*/ 312958 h 1041752"/>
                <a:gd name="connsiteX4" fmla="*/ 1503681 w 1522208"/>
                <a:gd name="connsiteY4" fmla="*/ 309593 h 1041752"/>
                <a:gd name="connsiteX5" fmla="*/ 1491725 w 1522208"/>
                <a:gd name="connsiteY5" fmla="*/ 293019 h 1041752"/>
                <a:gd name="connsiteX6" fmla="*/ 1477037 w 1522208"/>
                <a:gd name="connsiteY6" fmla="*/ 284525 h 1041752"/>
                <a:gd name="connsiteX7" fmla="*/ 1470052 w 1522208"/>
                <a:gd name="connsiteY7" fmla="*/ 278297 h 1041752"/>
                <a:gd name="connsiteX8" fmla="*/ 1467463 w 1522208"/>
                <a:gd name="connsiteY8" fmla="*/ 260773 h 1041752"/>
                <a:gd name="connsiteX9" fmla="*/ 1480512 w 1522208"/>
                <a:gd name="connsiteY9" fmla="*/ 252255 h 1041752"/>
                <a:gd name="connsiteX10" fmla="*/ 1489464 w 1522208"/>
                <a:gd name="connsiteY10" fmla="*/ 235585 h 1041752"/>
                <a:gd name="connsiteX11" fmla="*/ 1474694 w 1522208"/>
                <a:gd name="connsiteY11" fmla="*/ 241086 h 1041752"/>
                <a:gd name="connsiteX12" fmla="*/ 1450050 w 1522208"/>
                <a:gd name="connsiteY12" fmla="*/ 231589 h 1041752"/>
                <a:gd name="connsiteX13" fmla="*/ 1468335 w 1522208"/>
                <a:gd name="connsiteY13" fmla="*/ 217185 h 1041752"/>
                <a:gd name="connsiteX14" fmla="*/ 1472563 w 1522208"/>
                <a:gd name="connsiteY14" fmla="*/ 182259 h 1041752"/>
                <a:gd name="connsiteX15" fmla="*/ 1455792 w 1522208"/>
                <a:gd name="connsiteY15" fmla="*/ 165825 h 1041752"/>
                <a:gd name="connsiteX16" fmla="*/ 1455054 w 1522208"/>
                <a:gd name="connsiteY16" fmla="*/ 152582 h 1041752"/>
                <a:gd name="connsiteX17" fmla="*/ 1442443 w 1522208"/>
                <a:gd name="connsiteY17" fmla="*/ 148316 h 1041752"/>
                <a:gd name="connsiteX18" fmla="*/ 1426848 w 1522208"/>
                <a:gd name="connsiteY18" fmla="*/ 162687 h 1041752"/>
                <a:gd name="connsiteX19" fmla="*/ 1417935 w 1522208"/>
                <a:gd name="connsiteY19" fmla="*/ 161626 h 1041752"/>
                <a:gd name="connsiteX20" fmla="*/ 1406100 w 1522208"/>
                <a:gd name="connsiteY20" fmla="*/ 152789 h 1041752"/>
                <a:gd name="connsiteX21" fmla="*/ 1388504 w 1522208"/>
                <a:gd name="connsiteY21" fmla="*/ 152428 h 1041752"/>
                <a:gd name="connsiteX22" fmla="*/ 1366127 w 1522208"/>
                <a:gd name="connsiteY22" fmla="*/ 146007 h 1041752"/>
                <a:gd name="connsiteX23" fmla="*/ 1359758 w 1522208"/>
                <a:gd name="connsiteY23" fmla="*/ 149815 h 1041752"/>
                <a:gd name="connsiteX24" fmla="*/ 1344959 w 1522208"/>
                <a:gd name="connsiteY24" fmla="*/ 159654 h 1041752"/>
                <a:gd name="connsiteX25" fmla="*/ 1332623 w 1522208"/>
                <a:gd name="connsiteY25" fmla="*/ 157991 h 1041752"/>
                <a:gd name="connsiteX26" fmla="*/ 1317056 w 1522208"/>
                <a:gd name="connsiteY26" fmla="*/ 151898 h 1041752"/>
                <a:gd name="connsiteX27" fmla="*/ 1292885 w 1522208"/>
                <a:gd name="connsiteY27" fmla="*/ 159996 h 1041752"/>
                <a:gd name="connsiteX28" fmla="*/ 1291859 w 1522208"/>
                <a:gd name="connsiteY28" fmla="*/ 155735 h 1041752"/>
                <a:gd name="connsiteX29" fmla="*/ 1278708 w 1522208"/>
                <a:gd name="connsiteY29" fmla="*/ 154048 h 1041752"/>
                <a:gd name="connsiteX30" fmla="*/ 1278669 w 1522208"/>
                <a:gd name="connsiteY30" fmla="*/ 162956 h 1041752"/>
                <a:gd name="connsiteX31" fmla="*/ 1277628 w 1522208"/>
                <a:gd name="connsiteY31" fmla="*/ 173740 h 1041752"/>
                <a:gd name="connsiteX32" fmla="*/ 1270252 w 1522208"/>
                <a:gd name="connsiteY32" fmla="*/ 180547 h 1041752"/>
                <a:gd name="connsiteX33" fmla="*/ 1239183 w 1522208"/>
                <a:gd name="connsiteY33" fmla="*/ 170264 h 1041752"/>
                <a:gd name="connsiteX34" fmla="*/ 1224875 w 1522208"/>
                <a:gd name="connsiteY34" fmla="*/ 157654 h 1041752"/>
                <a:gd name="connsiteX35" fmla="*/ 1218521 w 1522208"/>
                <a:gd name="connsiteY35" fmla="*/ 143683 h 1041752"/>
                <a:gd name="connsiteX36" fmla="*/ 1201287 w 1522208"/>
                <a:gd name="connsiteY36" fmla="*/ 136476 h 1041752"/>
                <a:gd name="connsiteX37" fmla="*/ 1185890 w 1522208"/>
                <a:gd name="connsiteY37" fmla="*/ 145192 h 1041752"/>
                <a:gd name="connsiteX38" fmla="*/ 1165691 w 1522208"/>
                <a:gd name="connsiteY38" fmla="*/ 161207 h 1041752"/>
                <a:gd name="connsiteX39" fmla="*/ 1144702 w 1522208"/>
                <a:gd name="connsiteY39" fmla="*/ 188000 h 1041752"/>
                <a:gd name="connsiteX40" fmla="*/ 1137601 w 1522208"/>
                <a:gd name="connsiteY40" fmla="*/ 187711 h 1041752"/>
                <a:gd name="connsiteX41" fmla="*/ 1128432 w 1522208"/>
                <a:gd name="connsiteY41" fmla="*/ 180513 h 1041752"/>
                <a:gd name="connsiteX42" fmla="*/ 1119210 w 1522208"/>
                <a:gd name="connsiteY42" fmla="*/ 186515 h 1041752"/>
                <a:gd name="connsiteX43" fmla="*/ 1108156 w 1522208"/>
                <a:gd name="connsiteY43" fmla="*/ 186351 h 1041752"/>
                <a:gd name="connsiteX44" fmla="*/ 1079931 w 1522208"/>
                <a:gd name="connsiteY44" fmla="*/ 181150 h 1041752"/>
                <a:gd name="connsiteX45" fmla="*/ 1062750 w 1522208"/>
                <a:gd name="connsiteY45" fmla="*/ 200032 h 1041752"/>
                <a:gd name="connsiteX46" fmla="*/ 1052901 w 1522208"/>
                <a:gd name="connsiteY46" fmla="*/ 196822 h 1041752"/>
                <a:gd name="connsiteX47" fmla="*/ 1046533 w 1522208"/>
                <a:gd name="connsiteY47" fmla="*/ 189046 h 1041752"/>
                <a:gd name="connsiteX48" fmla="*/ 1028344 w 1522208"/>
                <a:gd name="connsiteY48" fmla="*/ 169773 h 1041752"/>
                <a:gd name="connsiteX49" fmla="*/ 1028152 w 1522208"/>
                <a:gd name="connsiteY49" fmla="*/ 157461 h 1041752"/>
                <a:gd name="connsiteX50" fmla="*/ 1015912 w 1522208"/>
                <a:gd name="connsiteY50" fmla="*/ 143669 h 1041752"/>
                <a:gd name="connsiteX51" fmla="*/ 1009809 w 1522208"/>
                <a:gd name="connsiteY51" fmla="*/ 136876 h 1041752"/>
                <a:gd name="connsiteX52" fmla="*/ 1007297 w 1522208"/>
                <a:gd name="connsiteY52" fmla="*/ 125808 h 1041752"/>
                <a:gd name="connsiteX53" fmla="*/ 994411 w 1522208"/>
                <a:gd name="connsiteY53" fmla="*/ 125099 h 1041752"/>
                <a:gd name="connsiteX54" fmla="*/ 984471 w 1522208"/>
                <a:gd name="connsiteY54" fmla="*/ 117073 h 1041752"/>
                <a:gd name="connsiteX55" fmla="*/ 976618 w 1522208"/>
                <a:gd name="connsiteY55" fmla="*/ 108550 h 1041752"/>
                <a:gd name="connsiteX56" fmla="*/ 971542 w 1522208"/>
                <a:gd name="connsiteY56" fmla="*/ 109914 h 1041752"/>
                <a:gd name="connsiteX57" fmla="*/ 963858 w 1522208"/>
                <a:gd name="connsiteY57" fmla="*/ 116798 h 1041752"/>
                <a:gd name="connsiteX58" fmla="*/ 949791 w 1522208"/>
                <a:gd name="connsiteY58" fmla="*/ 124820 h 1041752"/>
                <a:gd name="connsiteX59" fmla="*/ 944266 w 1522208"/>
                <a:gd name="connsiteY59" fmla="*/ 118230 h 1041752"/>
                <a:gd name="connsiteX60" fmla="*/ 937522 w 1522208"/>
                <a:gd name="connsiteY60" fmla="*/ 121079 h 1041752"/>
                <a:gd name="connsiteX61" fmla="*/ 931863 w 1522208"/>
                <a:gd name="connsiteY61" fmla="*/ 120573 h 1041752"/>
                <a:gd name="connsiteX62" fmla="*/ 927948 w 1522208"/>
                <a:gd name="connsiteY62" fmla="*/ 122111 h 1041752"/>
                <a:gd name="connsiteX63" fmla="*/ 921893 w 1522208"/>
                <a:gd name="connsiteY63" fmla="*/ 121850 h 1041752"/>
                <a:gd name="connsiteX64" fmla="*/ 916971 w 1522208"/>
                <a:gd name="connsiteY64" fmla="*/ 128435 h 1041752"/>
                <a:gd name="connsiteX65" fmla="*/ 908998 w 1522208"/>
                <a:gd name="connsiteY65" fmla="*/ 127813 h 1041752"/>
                <a:gd name="connsiteX66" fmla="*/ 911051 w 1522208"/>
                <a:gd name="connsiteY66" fmla="*/ 124690 h 1041752"/>
                <a:gd name="connsiteX67" fmla="*/ 911929 w 1522208"/>
                <a:gd name="connsiteY67" fmla="*/ 115154 h 1041752"/>
                <a:gd name="connsiteX68" fmla="*/ 907961 w 1522208"/>
                <a:gd name="connsiteY68" fmla="*/ 112045 h 1041752"/>
                <a:gd name="connsiteX69" fmla="*/ 900335 w 1522208"/>
                <a:gd name="connsiteY69" fmla="*/ 95119 h 1041752"/>
                <a:gd name="connsiteX70" fmla="*/ 890009 w 1522208"/>
                <a:gd name="connsiteY70" fmla="*/ 84282 h 1041752"/>
                <a:gd name="connsiteX71" fmla="*/ 883805 w 1522208"/>
                <a:gd name="connsiteY71" fmla="*/ 78088 h 1041752"/>
                <a:gd name="connsiteX72" fmla="*/ 902799 w 1522208"/>
                <a:gd name="connsiteY72" fmla="*/ 63876 h 1041752"/>
                <a:gd name="connsiteX73" fmla="*/ 895948 w 1522208"/>
                <a:gd name="connsiteY73" fmla="*/ 49279 h 1041752"/>
                <a:gd name="connsiteX74" fmla="*/ 884846 w 1522208"/>
                <a:gd name="connsiteY74" fmla="*/ 45408 h 1041752"/>
                <a:gd name="connsiteX75" fmla="*/ 877220 w 1522208"/>
                <a:gd name="connsiteY75" fmla="*/ 41667 h 1041752"/>
                <a:gd name="connsiteX76" fmla="*/ 871021 w 1522208"/>
                <a:gd name="connsiteY76" fmla="*/ 41523 h 1041752"/>
                <a:gd name="connsiteX77" fmla="*/ 867530 w 1522208"/>
                <a:gd name="connsiteY77" fmla="*/ 37382 h 1041752"/>
                <a:gd name="connsiteX78" fmla="*/ 862261 w 1522208"/>
                <a:gd name="connsiteY78" fmla="*/ 29268 h 1041752"/>
                <a:gd name="connsiteX79" fmla="*/ 857976 w 1522208"/>
                <a:gd name="connsiteY79" fmla="*/ 16479 h 1041752"/>
                <a:gd name="connsiteX80" fmla="*/ 852952 w 1522208"/>
                <a:gd name="connsiteY80" fmla="*/ 12338 h 1041752"/>
                <a:gd name="connsiteX81" fmla="*/ 844415 w 1522208"/>
                <a:gd name="connsiteY81" fmla="*/ 9773 h 1041752"/>
                <a:gd name="connsiteX82" fmla="*/ 838592 w 1522208"/>
                <a:gd name="connsiteY82" fmla="*/ 4601 h 1041752"/>
                <a:gd name="connsiteX83" fmla="*/ 828888 w 1522208"/>
                <a:gd name="connsiteY83" fmla="*/ 334 h 1041752"/>
                <a:gd name="connsiteX84" fmla="*/ 810964 w 1522208"/>
                <a:gd name="connsiteY84" fmla="*/ 15322 h 1041752"/>
                <a:gd name="connsiteX85" fmla="*/ 802181 w 1522208"/>
                <a:gd name="connsiteY85" fmla="*/ 9248 h 1041752"/>
                <a:gd name="connsiteX86" fmla="*/ 782416 w 1522208"/>
                <a:gd name="connsiteY86" fmla="*/ 13365 h 1041752"/>
                <a:gd name="connsiteX87" fmla="*/ 779326 w 1522208"/>
                <a:gd name="connsiteY87" fmla="*/ 19584 h 1041752"/>
                <a:gd name="connsiteX88" fmla="*/ 772586 w 1522208"/>
                <a:gd name="connsiteY88" fmla="*/ 25253 h 1041752"/>
                <a:gd name="connsiteX89" fmla="*/ 769622 w 1522208"/>
                <a:gd name="connsiteY89" fmla="*/ 31963 h 1041752"/>
                <a:gd name="connsiteX90" fmla="*/ 763702 w 1522208"/>
                <a:gd name="connsiteY90" fmla="*/ 37146 h 1041752"/>
                <a:gd name="connsiteX91" fmla="*/ 757753 w 1522208"/>
                <a:gd name="connsiteY91" fmla="*/ 37382 h 1041752"/>
                <a:gd name="connsiteX92" fmla="*/ 751173 w 1522208"/>
                <a:gd name="connsiteY92" fmla="*/ 39604 h 1041752"/>
                <a:gd name="connsiteX93" fmla="*/ 735134 w 1522208"/>
                <a:gd name="connsiteY93" fmla="*/ 37382 h 1041752"/>
                <a:gd name="connsiteX94" fmla="*/ 720417 w 1522208"/>
                <a:gd name="connsiteY94" fmla="*/ 38953 h 1041752"/>
                <a:gd name="connsiteX95" fmla="*/ 719915 w 1522208"/>
                <a:gd name="connsiteY95" fmla="*/ 46175 h 1041752"/>
                <a:gd name="connsiteX96" fmla="*/ 723275 w 1522208"/>
                <a:gd name="connsiteY96" fmla="*/ 51998 h 1041752"/>
                <a:gd name="connsiteX97" fmla="*/ 721545 w 1522208"/>
                <a:gd name="connsiteY97" fmla="*/ 55990 h 1041752"/>
                <a:gd name="connsiteX98" fmla="*/ 723131 w 1522208"/>
                <a:gd name="connsiteY98" fmla="*/ 62965 h 1041752"/>
                <a:gd name="connsiteX99" fmla="*/ 715119 w 1522208"/>
                <a:gd name="connsiteY99" fmla="*/ 79625 h 1041752"/>
                <a:gd name="connsiteX100" fmla="*/ 704537 w 1522208"/>
                <a:gd name="connsiteY100" fmla="*/ 84157 h 1041752"/>
                <a:gd name="connsiteX101" fmla="*/ 695359 w 1522208"/>
                <a:gd name="connsiteY101" fmla="*/ 88149 h 1041752"/>
                <a:gd name="connsiteX102" fmla="*/ 688658 w 1522208"/>
                <a:gd name="connsiteY102" fmla="*/ 81838 h 1041752"/>
                <a:gd name="connsiteX103" fmla="*/ 682984 w 1522208"/>
                <a:gd name="connsiteY103" fmla="*/ 83501 h 1041752"/>
                <a:gd name="connsiteX104" fmla="*/ 682685 w 1522208"/>
                <a:gd name="connsiteY104" fmla="*/ 83617 h 1041752"/>
                <a:gd name="connsiteX105" fmla="*/ 683341 w 1522208"/>
                <a:gd name="connsiteY105" fmla="*/ 87633 h 1041752"/>
                <a:gd name="connsiteX106" fmla="*/ 682685 w 1522208"/>
                <a:gd name="connsiteY106" fmla="*/ 83617 h 1041752"/>
                <a:gd name="connsiteX107" fmla="*/ 675107 w 1522208"/>
                <a:gd name="connsiteY107" fmla="*/ 87006 h 1041752"/>
                <a:gd name="connsiteX108" fmla="*/ 655737 w 1522208"/>
                <a:gd name="connsiteY108" fmla="*/ 90221 h 1041752"/>
                <a:gd name="connsiteX109" fmla="*/ 646250 w 1522208"/>
                <a:gd name="connsiteY109" fmla="*/ 95895 h 1041752"/>
                <a:gd name="connsiteX110" fmla="*/ 645387 w 1522208"/>
                <a:gd name="connsiteY110" fmla="*/ 101198 h 1041752"/>
                <a:gd name="connsiteX111" fmla="*/ 632357 w 1522208"/>
                <a:gd name="connsiteY111" fmla="*/ 101960 h 1041752"/>
                <a:gd name="connsiteX112" fmla="*/ 618647 w 1522208"/>
                <a:gd name="connsiteY112" fmla="*/ 107417 h 1041752"/>
                <a:gd name="connsiteX113" fmla="*/ 612173 w 1522208"/>
                <a:gd name="connsiteY113" fmla="*/ 127023 h 1041752"/>
                <a:gd name="connsiteX114" fmla="*/ 611821 w 1522208"/>
                <a:gd name="connsiteY114" fmla="*/ 129872 h 1041752"/>
                <a:gd name="connsiteX115" fmla="*/ 609492 w 1522208"/>
                <a:gd name="connsiteY115" fmla="*/ 135551 h 1041752"/>
                <a:gd name="connsiteX116" fmla="*/ 606253 w 1522208"/>
                <a:gd name="connsiteY116" fmla="*/ 147169 h 1041752"/>
                <a:gd name="connsiteX117" fmla="*/ 606513 w 1522208"/>
                <a:gd name="connsiteY117" fmla="*/ 160083 h 1041752"/>
                <a:gd name="connsiteX118" fmla="*/ 603799 w 1522208"/>
                <a:gd name="connsiteY118" fmla="*/ 165637 h 1041752"/>
                <a:gd name="connsiteX119" fmla="*/ 604551 w 1522208"/>
                <a:gd name="connsiteY119" fmla="*/ 172231 h 1041752"/>
                <a:gd name="connsiteX120" fmla="*/ 602507 w 1522208"/>
                <a:gd name="connsiteY120" fmla="*/ 177766 h 1041752"/>
                <a:gd name="connsiteX121" fmla="*/ 606002 w 1522208"/>
                <a:gd name="connsiteY121" fmla="*/ 184621 h 1041752"/>
                <a:gd name="connsiteX122" fmla="*/ 611941 w 1522208"/>
                <a:gd name="connsiteY122" fmla="*/ 189538 h 1041752"/>
                <a:gd name="connsiteX123" fmla="*/ 613469 w 1522208"/>
                <a:gd name="connsiteY123" fmla="*/ 197661 h 1041752"/>
                <a:gd name="connsiteX124" fmla="*/ 620455 w 1522208"/>
                <a:gd name="connsiteY124" fmla="*/ 203542 h 1041752"/>
                <a:gd name="connsiteX125" fmla="*/ 622658 w 1522208"/>
                <a:gd name="connsiteY125" fmla="*/ 209418 h 1041752"/>
                <a:gd name="connsiteX126" fmla="*/ 620585 w 1522208"/>
                <a:gd name="connsiteY126" fmla="*/ 213304 h 1041752"/>
                <a:gd name="connsiteX127" fmla="*/ 618772 w 1522208"/>
                <a:gd name="connsiteY127" fmla="*/ 222338 h 1041752"/>
                <a:gd name="connsiteX128" fmla="*/ 609979 w 1522208"/>
                <a:gd name="connsiteY128" fmla="*/ 218327 h 1041752"/>
                <a:gd name="connsiteX129" fmla="*/ 603264 w 1522208"/>
                <a:gd name="connsiteY129" fmla="*/ 219633 h 1041752"/>
                <a:gd name="connsiteX130" fmla="*/ 593584 w 1522208"/>
                <a:gd name="connsiteY130" fmla="*/ 206328 h 1041752"/>
                <a:gd name="connsiteX131" fmla="*/ 587775 w 1522208"/>
                <a:gd name="connsiteY131" fmla="*/ 204135 h 1041752"/>
                <a:gd name="connsiteX132" fmla="*/ 584294 w 1522208"/>
                <a:gd name="connsiteY132" fmla="*/ 201411 h 1041752"/>
                <a:gd name="connsiteX133" fmla="*/ 578220 w 1522208"/>
                <a:gd name="connsiteY133" fmla="*/ 200654 h 1041752"/>
                <a:gd name="connsiteX134" fmla="*/ 565686 w 1522208"/>
                <a:gd name="connsiteY134" fmla="*/ 205166 h 1041752"/>
                <a:gd name="connsiteX135" fmla="*/ 555741 w 1522208"/>
                <a:gd name="connsiteY135" fmla="*/ 215362 h 1041752"/>
                <a:gd name="connsiteX136" fmla="*/ 549797 w 1522208"/>
                <a:gd name="connsiteY136" fmla="*/ 216148 h 1041752"/>
                <a:gd name="connsiteX137" fmla="*/ 543468 w 1522208"/>
                <a:gd name="connsiteY137" fmla="*/ 211756 h 1041752"/>
                <a:gd name="connsiteX138" fmla="*/ 537948 w 1522208"/>
                <a:gd name="connsiteY138" fmla="*/ 212118 h 1041752"/>
                <a:gd name="connsiteX139" fmla="*/ 534053 w 1522208"/>
                <a:gd name="connsiteY139" fmla="*/ 217580 h 1041752"/>
                <a:gd name="connsiteX140" fmla="*/ 529020 w 1522208"/>
                <a:gd name="connsiteY140" fmla="*/ 220275 h 1041752"/>
                <a:gd name="connsiteX141" fmla="*/ 528249 w 1522208"/>
                <a:gd name="connsiteY141" fmla="*/ 226739 h 1041752"/>
                <a:gd name="connsiteX142" fmla="*/ 523091 w 1522208"/>
                <a:gd name="connsiteY142" fmla="*/ 228557 h 1041752"/>
                <a:gd name="connsiteX143" fmla="*/ 517764 w 1522208"/>
                <a:gd name="connsiteY143" fmla="*/ 233835 h 1041752"/>
                <a:gd name="connsiteX144" fmla="*/ 506266 w 1522208"/>
                <a:gd name="connsiteY144" fmla="*/ 225968 h 1041752"/>
                <a:gd name="connsiteX145" fmla="*/ 504849 w 1522208"/>
                <a:gd name="connsiteY145" fmla="*/ 218732 h 1041752"/>
                <a:gd name="connsiteX146" fmla="*/ 495675 w 1522208"/>
                <a:gd name="connsiteY146" fmla="*/ 207490 h 1041752"/>
                <a:gd name="connsiteX147" fmla="*/ 484554 w 1522208"/>
                <a:gd name="connsiteY147" fmla="*/ 208777 h 1041752"/>
                <a:gd name="connsiteX148" fmla="*/ 479945 w 1522208"/>
                <a:gd name="connsiteY148" fmla="*/ 216799 h 1041752"/>
                <a:gd name="connsiteX149" fmla="*/ 474006 w 1522208"/>
                <a:gd name="connsiteY149" fmla="*/ 219638 h 1041752"/>
                <a:gd name="connsiteX150" fmla="*/ 468322 w 1522208"/>
                <a:gd name="connsiteY150" fmla="*/ 226093 h 1041752"/>
                <a:gd name="connsiteX151" fmla="*/ 468067 w 1522208"/>
                <a:gd name="connsiteY151" fmla="*/ 232288 h 1041752"/>
                <a:gd name="connsiteX152" fmla="*/ 464842 w 1522208"/>
                <a:gd name="connsiteY152" fmla="*/ 238367 h 1041752"/>
                <a:gd name="connsiteX153" fmla="*/ 459274 w 1522208"/>
                <a:gd name="connsiteY153" fmla="*/ 238237 h 1041752"/>
                <a:gd name="connsiteX154" fmla="*/ 453581 w 1522208"/>
                <a:gd name="connsiteY154" fmla="*/ 225071 h 1041752"/>
                <a:gd name="connsiteX155" fmla="*/ 448427 w 1522208"/>
                <a:gd name="connsiteY155" fmla="*/ 226884 h 1041752"/>
                <a:gd name="connsiteX156" fmla="*/ 442353 w 1522208"/>
                <a:gd name="connsiteY156" fmla="*/ 226474 h 1041752"/>
                <a:gd name="connsiteX157" fmla="*/ 435508 w 1522208"/>
                <a:gd name="connsiteY157" fmla="*/ 232818 h 1041752"/>
                <a:gd name="connsiteX158" fmla="*/ 423774 w 1522208"/>
                <a:gd name="connsiteY158" fmla="*/ 226604 h 1041752"/>
                <a:gd name="connsiteX159" fmla="*/ 418857 w 1522208"/>
                <a:gd name="connsiteY159" fmla="*/ 224155 h 1041752"/>
                <a:gd name="connsiteX160" fmla="*/ 413034 w 1522208"/>
                <a:gd name="connsiteY160" fmla="*/ 234901 h 1041752"/>
                <a:gd name="connsiteX161" fmla="*/ 400650 w 1522208"/>
                <a:gd name="connsiteY161" fmla="*/ 239119 h 1041752"/>
                <a:gd name="connsiteX162" fmla="*/ 395342 w 1522208"/>
                <a:gd name="connsiteY162" fmla="*/ 235522 h 1041752"/>
                <a:gd name="connsiteX163" fmla="*/ 389128 w 1522208"/>
                <a:gd name="connsiteY163" fmla="*/ 235812 h 1041752"/>
                <a:gd name="connsiteX164" fmla="*/ 388111 w 1522208"/>
                <a:gd name="connsiteY164" fmla="*/ 240936 h 1041752"/>
                <a:gd name="connsiteX165" fmla="*/ 388771 w 1522208"/>
                <a:gd name="connsiteY165" fmla="*/ 248717 h 1041752"/>
                <a:gd name="connsiteX166" fmla="*/ 385136 w 1522208"/>
                <a:gd name="connsiteY166" fmla="*/ 256671 h 1041752"/>
                <a:gd name="connsiteX167" fmla="*/ 379467 w 1522208"/>
                <a:gd name="connsiteY167" fmla="*/ 253460 h 1041752"/>
                <a:gd name="connsiteX168" fmla="*/ 380754 w 1522208"/>
                <a:gd name="connsiteY168" fmla="*/ 246991 h 1041752"/>
                <a:gd name="connsiteX169" fmla="*/ 379978 w 1522208"/>
                <a:gd name="connsiteY169" fmla="*/ 242884 h 1041752"/>
                <a:gd name="connsiteX170" fmla="*/ 375206 w 1522208"/>
                <a:gd name="connsiteY170" fmla="*/ 240686 h 1041752"/>
                <a:gd name="connsiteX171" fmla="*/ 368211 w 1522208"/>
                <a:gd name="connsiteY171" fmla="*/ 240044 h 1041752"/>
                <a:gd name="connsiteX172" fmla="*/ 358174 w 1522208"/>
                <a:gd name="connsiteY172" fmla="*/ 243264 h 1041752"/>
                <a:gd name="connsiteX173" fmla="*/ 345496 w 1522208"/>
                <a:gd name="connsiteY173" fmla="*/ 247396 h 1041752"/>
                <a:gd name="connsiteX174" fmla="*/ 340709 w 1522208"/>
                <a:gd name="connsiteY174" fmla="*/ 241066 h 1041752"/>
                <a:gd name="connsiteX175" fmla="*/ 334779 w 1522208"/>
                <a:gd name="connsiteY175" fmla="*/ 236173 h 1041752"/>
                <a:gd name="connsiteX176" fmla="*/ 329351 w 1522208"/>
                <a:gd name="connsiteY176" fmla="*/ 230364 h 1041752"/>
                <a:gd name="connsiteX177" fmla="*/ 322901 w 1522208"/>
                <a:gd name="connsiteY177" fmla="*/ 230210 h 1041752"/>
                <a:gd name="connsiteX178" fmla="*/ 311519 w 1522208"/>
                <a:gd name="connsiteY178" fmla="*/ 235638 h 1041752"/>
                <a:gd name="connsiteX179" fmla="*/ 299771 w 1522208"/>
                <a:gd name="connsiteY179" fmla="*/ 234221 h 1041752"/>
                <a:gd name="connsiteX180" fmla="*/ 285454 w 1522208"/>
                <a:gd name="connsiteY180" fmla="*/ 232813 h 1041752"/>
                <a:gd name="connsiteX181" fmla="*/ 274347 w 1522208"/>
                <a:gd name="connsiteY181" fmla="*/ 236409 h 1041752"/>
                <a:gd name="connsiteX182" fmla="*/ 268123 w 1522208"/>
                <a:gd name="connsiteY182" fmla="*/ 235383 h 1041752"/>
                <a:gd name="connsiteX183" fmla="*/ 262864 w 1522208"/>
                <a:gd name="connsiteY183" fmla="*/ 233430 h 1041752"/>
                <a:gd name="connsiteX184" fmla="*/ 246440 w 1522208"/>
                <a:gd name="connsiteY184" fmla="*/ 235272 h 1041752"/>
                <a:gd name="connsiteX185" fmla="*/ 239209 w 1522208"/>
                <a:gd name="connsiteY185" fmla="*/ 230504 h 1041752"/>
                <a:gd name="connsiteX186" fmla="*/ 233390 w 1522208"/>
                <a:gd name="connsiteY186" fmla="*/ 232288 h 1041752"/>
                <a:gd name="connsiteX187" fmla="*/ 213645 w 1522208"/>
                <a:gd name="connsiteY187" fmla="*/ 233059 h 1041752"/>
                <a:gd name="connsiteX188" fmla="*/ 172967 w 1522208"/>
                <a:gd name="connsiteY188" fmla="*/ 241230 h 1041752"/>
                <a:gd name="connsiteX189" fmla="*/ 154489 w 1522208"/>
                <a:gd name="connsiteY189" fmla="*/ 247907 h 1041752"/>
                <a:gd name="connsiteX190" fmla="*/ 126708 w 1522208"/>
                <a:gd name="connsiteY190" fmla="*/ 258146 h 1041752"/>
                <a:gd name="connsiteX191" fmla="*/ 113808 w 1522208"/>
                <a:gd name="connsiteY191" fmla="*/ 262538 h 1041752"/>
                <a:gd name="connsiteX192" fmla="*/ 107488 w 1522208"/>
                <a:gd name="connsiteY192" fmla="*/ 263429 h 1041752"/>
                <a:gd name="connsiteX193" fmla="*/ 99871 w 1522208"/>
                <a:gd name="connsiteY193" fmla="*/ 271678 h 1041752"/>
                <a:gd name="connsiteX194" fmla="*/ 98574 w 1522208"/>
                <a:gd name="connsiteY194" fmla="*/ 284713 h 1041752"/>
                <a:gd name="connsiteX195" fmla="*/ 87366 w 1522208"/>
                <a:gd name="connsiteY195" fmla="*/ 299440 h 1041752"/>
                <a:gd name="connsiteX196" fmla="*/ 83577 w 1522208"/>
                <a:gd name="connsiteY196" fmla="*/ 305399 h 1041752"/>
                <a:gd name="connsiteX197" fmla="*/ 76736 w 1522208"/>
                <a:gd name="connsiteY197" fmla="*/ 311593 h 1041752"/>
                <a:gd name="connsiteX198" fmla="*/ 70532 w 1522208"/>
                <a:gd name="connsiteY198" fmla="*/ 305644 h 1041752"/>
                <a:gd name="connsiteX199" fmla="*/ 61628 w 1522208"/>
                <a:gd name="connsiteY199" fmla="*/ 305548 h 1041752"/>
                <a:gd name="connsiteX200" fmla="*/ 50010 w 1522208"/>
                <a:gd name="connsiteY200" fmla="*/ 309540 h 1041752"/>
                <a:gd name="connsiteX201" fmla="*/ 50382 w 1522208"/>
                <a:gd name="connsiteY201" fmla="*/ 318689 h 1041752"/>
                <a:gd name="connsiteX202" fmla="*/ 49017 w 1522208"/>
                <a:gd name="connsiteY202" fmla="*/ 324257 h 1041752"/>
                <a:gd name="connsiteX203" fmla="*/ 49924 w 1522208"/>
                <a:gd name="connsiteY203" fmla="*/ 324980 h 1041752"/>
                <a:gd name="connsiteX204" fmla="*/ 59734 w 1522208"/>
                <a:gd name="connsiteY204" fmla="*/ 338401 h 1041752"/>
                <a:gd name="connsiteX205" fmla="*/ 58533 w 1522208"/>
                <a:gd name="connsiteY205" fmla="*/ 352010 h 1041752"/>
                <a:gd name="connsiteX206" fmla="*/ 64222 w 1522208"/>
                <a:gd name="connsiteY206" fmla="*/ 355640 h 1041752"/>
                <a:gd name="connsiteX207" fmla="*/ 80921 w 1522208"/>
                <a:gd name="connsiteY207" fmla="*/ 369582 h 1041752"/>
                <a:gd name="connsiteX208" fmla="*/ 82136 w 1522208"/>
                <a:gd name="connsiteY208" fmla="*/ 376297 h 1041752"/>
                <a:gd name="connsiteX209" fmla="*/ 89193 w 1522208"/>
                <a:gd name="connsiteY209" fmla="*/ 387317 h 1041752"/>
                <a:gd name="connsiteX210" fmla="*/ 98131 w 1522208"/>
                <a:gd name="connsiteY210" fmla="*/ 396264 h 1041752"/>
                <a:gd name="connsiteX211" fmla="*/ 108110 w 1522208"/>
                <a:gd name="connsiteY211" fmla="*/ 406778 h 1041752"/>
                <a:gd name="connsiteX212" fmla="*/ 97301 w 1522208"/>
                <a:gd name="connsiteY212" fmla="*/ 409193 h 1041752"/>
                <a:gd name="connsiteX213" fmla="*/ 96916 w 1522208"/>
                <a:gd name="connsiteY213" fmla="*/ 415374 h 1041752"/>
                <a:gd name="connsiteX214" fmla="*/ 113972 w 1522208"/>
                <a:gd name="connsiteY214" fmla="*/ 434676 h 1041752"/>
                <a:gd name="connsiteX215" fmla="*/ 116049 w 1522208"/>
                <a:gd name="connsiteY215" fmla="*/ 444833 h 1041752"/>
                <a:gd name="connsiteX216" fmla="*/ 111224 w 1522208"/>
                <a:gd name="connsiteY216" fmla="*/ 453076 h 1041752"/>
                <a:gd name="connsiteX217" fmla="*/ 110698 w 1522208"/>
                <a:gd name="connsiteY217" fmla="*/ 459811 h 1041752"/>
                <a:gd name="connsiteX218" fmla="*/ 105193 w 1522208"/>
                <a:gd name="connsiteY218" fmla="*/ 465837 h 1041752"/>
                <a:gd name="connsiteX219" fmla="*/ 92823 w 1522208"/>
                <a:gd name="connsiteY219" fmla="*/ 468237 h 1041752"/>
                <a:gd name="connsiteX220" fmla="*/ 87289 w 1522208"/>
                <a:gd name="connsiteY220" fmla="*/ 473396 h 1041752"/>
                <a:gd name="connsiteX221" fmla="*/ 85915 w 1522208"/>
                <a:gd name="connsiteY221" fmla="*/ 480289 h 1041752"/>
                <a:gd name="connsiteX222" fmla="*/ 72296 w 1522208"/>
                <a:gd name="connsiteY222" fmla="*/ 498029 h 1041752"/>
                <a:gd name="connsiteX223" fmla="*/ 39072 w 1522208"/>
                <a:gd name="connsiteY223" fmla="*/ 560207 h 1041752"/>
                <a:gd name="connsiteX224" fmla="*/ 34936 w 1522208"/>
                <a:gd name="connsiteY224" fmla="*/ 564136 h 1041752"/>
                <a:gd name="connsiteX225" fmla="*/ 34276 w 1522208"/>
                <a:gd name="connsiteY225" fmla="*/ 569993 h 1041752"/>
                <a:gd name="connsiteX226" fmla="*/ 28741 w 1522208"/>
                <a:gd name="connsiteY226" fmla="*/ 575691 h 1041752"/>
                <a:gd name="connsiteX227" fmla="*/ 25488 w 1522208"/>
                <a:gd name="connsiteY227" fmla="*/ 584826 h 1041752"/>
                <a:gd name="connsiteX228" fmla="*/ 21703 w 1522208"/>
                <a:gd name="connsiteY228" fmla="*/ 592920 h 1041752"/>
                <a:gd name="connsiteX229" fmla="*/ 22045 w 1522208"/>
                <a:gd name="connsiteY229" fmla="*/ 603916 h 1041752"/>
                <a:gd name="connsiteX230" fmla="*/ 34618 w 1522208"/>
                <a:gd name="connsiteY230" fmla="*/ 633380 h 1041752"/>
                <a:gd name="connsiteX231" fmla="*/ 37356 w 1522208"/>
                <a:gd name="connsiteY231" fmla="*/ 647823 h 1041752"/>
                <a:gd name="connsiteX232" fmla="*/ 46313 w 1522208"/>
                <a:gd name="connsiteY232" fmla="*/ 653333 h 1041752"/>
                <a:gd name="connsiteX233" fmla="*/ 51095 w 1522208"/>
                <a:gd name="connsiteY233" fmla="*/ 665395 h 1041752"/>
                <a:gd name="connsiteX234" fmla="*/ 40986 w 1522208"/>
                <a:gd name="connsiteY234" fmla="*/ 660931 h 1041752"/>
                <a:gd name="connsiteX235" fmla="*/ 33740 w 1522208"/>
                <a:gd name="connsiteY235" fmla="*/ 663674 h 1041752"/>
                <a:gd name="connsiteX236" fmla="*/ 27030 w 1522208"/>
                <a:gd name="connsiteY236" fmla="*/ 660410 h 1041752"/>
                <a:gd name="connsiteX237" fmla="*/ 22036 w 1522208"/>
                <a:gd name="connsiteY237" fmla="*/ 661273 h 1041752"/>
                <a:gd name="connsiteX238" fmla="*/ 22494 w 1522208"/>
                <a:gd name="connsiteY238" fmla="*/ 672182 h 1041752"/>
                <a:gd name="connsiteX239" fmla="*/ 15899 w 1522208"/>
                <a:gd name="connsiteY239" fmla="*/ 678362 h 1041752"/>
                <a:gd name="connsiteX240" fmla="*/ 14506 w 1522208"/>
                <a:gd name="connsiteY240" fmla="*/ 686755 h 1041752"/>
                <a:gd name="connsiteX241" fmla="*/ 13465 w 1522208"/>
                <a:gd name="connsiteY241" fmla="*/ 703310 h 1041752"/>
                <a:gd name="connsiteX242" fmla="*/ 11503 w 1522208"/>
                <a:gd name="connsiteY242" fmla="*/ 709379 h 1041752"/>
                <a:gd name="connsiteX243" fmla="*/ 10095 w 1522208"/>
                <a:gd name="connsiteY243" fmla="*/ 716600 h 1041752"/>
                <a:gd name="connsiteX244" fmla="*/ 1196 w 1522208"/>
                <a:gd name="connsiteY244" fmla="*/ 730036 h 1041752"/>
                <a:gd name="connsiteX245" fmla="*/ 2261 w 1522208"/>
                <a:gd name="connsiteY245" fmla="*/ 753691 h 1041752"/>
                <a:gd name="connsiteX246" fmla="*/ 7000 w 1522208"/>
                <a:gd name="connsiteY246" fmla="*/ 754554 h 1041752"/>
                <a:gd name="connsiteX247" fmla="*/ 12153 w 1522208"/>
                <a:gd name="connsiteY247" fmla="*/ 757899 h 1041752"/>
                <a:gd name="connsiteX248" fmla="*/ 13711 w 1522208"/>
                <a:gd name="connsiteY248" fmla="*/ 760488 h 1041752"/>
                <a:gd name="connsiteX249" fmla="*/ 18734 w 1522208"/>
                <a:gd name="connsiteY249" fmla="*/ 761428 h 1041752"/>
                <a:gd name="connsiteX250" fmla="*/ 20566 w 1522208"/>
                <a:gd name="connsiteY250" fmla="*/ 766557 h 1041752"/>
                <a:gd name="connsiteX251" fmla="*/ 28452 w 1522208"/>
                <a:gd name="connsiteY251" fmla="*/ 772776 h 1041752"/>
                <a:gd name="connsiteX252" fmla="*/ 48449 w 1522208"/>
                <a:gd name="connsiteY252" fmla="*/ 784389 h 1041752"/>
                <a:gd name="connsiteX253" fmla="*/ 56181 w 1522208"/>
                <a:gd name="connsiteY253" fmla="*/ 788270 h 1041752"/>
                <a:gd name="connsiteX254" fmla="*/ 61464 w 1522208"/>
                <a:gd name="connsiteY254" fmla="*/ 784755 h 1041752"/>
                <a:gd name="connsiteX255" fmla="*/ 67317 w 1522208"/>
                <a:gd name="connsiteY255" fmla="*/ 785276 h 1041752"/>
                <a:gd name="connsiteX256" fmla="*/ 74548 w 1522208"/>
                <a:gd name="connsiteY256" fmla="*/ 790989 h 1041752"/>
                <a:gd name="connsiteX257" fmla="*/ 74668 w 1522208"/>
                <a:gd name="connsiteY257" fmla="*/ 796778 h 1041752"/>
                <a:gd name="connsiteX258" fmla="*/ 78197 w 1522208"/>
                <a:gd name="connsiteY258" fmla="*/ 803455 h 1041752"/>
                <a:gd name="connsiteX259" fmla="*/ 80988 w 1522208"/>
                <a:gd name="connsiteY259" fmla="*/ 796778 h 1041752"/>
                <a:gd name="connsiteX260" fmla="*/ 87356 w 1522208"/>
                <a:gd name="connsiteY260" fmla="*/ 796778 h 1041752"/>
                <a:gd name="connsiteX261" fmla="*/ 94019 w 1522208"/>
                <a:gd name="connsiteY261" fmla="*/ 793047 h 1041752"/>
                <a:gd name="connsiteX262" fmla="*/ 95865 w 1522208"/>
                <a:gd name="connsiteY262" fmla="*/ 780508 h 1041752"/>
                <a:gd name="connsiteX263" fmla="*/ 105396 w 1522208"/>
                <a:gd name="connsiteY263" fmla="*/ 779887 h 1041752"/>
                <a:gd name="connsiteX264" fmla="*/ 114174 w 1522208"/>
                <a:gd name="connsiteY264" fmla="*/ 785667 h 1041752"/>
                <a:gd name="connsiteX265" fmla="*/ 128626 w 1522208"/>
                <a:gd name="connsiteY265" fmla="*/ 789277 h 1041752"/>
                <a:gd name="connsiteX266" fmla="*/ 134715 w 1522208"/>
                <a:gd name="connsiteY266" fmla="*/ 784635 h 1041752"/>
                <a:gd name="connsiteX267" fmla="*/ 154610 w 1522208"/>
                <a:gd name="connsiteY267" fmla="*/ 785030 h 1041752"/>
                <a:gd name="connsiteX268" fmla="*/ 166619 w 1522208"/>
                <a:gd name="connsiteY268" fmla="*/ 789277 h 1041752"/>
                <a:gd name="connsiteX269" fmla="*/ 171887 w 1522208"/>
                <a:gd name="connsiteY269" fmla="*/ 784148 h 1041752"/>
                <a:gd name="connsiteX270" fmla="*/ 179143 w 1522208"/>
                <a:gd name="connsiteY270" fmla="*/ 783705 h 1041752"/>
                <a:gd name="connsiteX271" fmla="*/ 184831 w 1522208"/>
                <a:gd name="connsiteY271" fmla="*/ 786317 h 1041752"/>
                <a:gd name="connsiteX272" fmla="*/ 190640 w 1522208"/>
                <a:gd name="connsiteY272" fmla="*/ 785151 h 1041752"/>
                <a:gd name="connsiteX273" fmla="*/ 197996 w 1522208"/>
                <a:gd name="connsiteY273" fmla="*/ 786852 h 1041752"/>
                <a:gd name="connsiteX274" fmla="*/ 209773 w 1522208"/>
                <a:gd name="connsiteY274" fmla="*/ 777924 h 1041752"/>
                <a:gd name="connsiteX275" fmla="*/ 224727 w 1522208"/>
                <a:gd name="connsiteY275" fmla="*/ 775090 h 1041752"/>
                <a:gd name="connsiteX276" fmla="*/ 232469 w 1522208"/>
                <a:gd name="connsiteY276" fmla="*/ 778074 h 1041752"/>
                <a:gd name="connsiteX277" fmla="*/ 235820 w 1522208"/>
                <a:gd name="connsiteY277" fmla="*/ 784148 h 1041752"/>
                <a:gd name="connsiteX278" fmla="*/ 243176 w 1522208"/>
                <a:gd name="connsiteY278" fmla="*/ 786949 h 1041752"/>
                <a:gd name="connsiteX279" fmla="*/ 248609 w 1522208"/>
                <a:gd name="connsiteY279" fmla="*/ 788409 h 1041752"/>
                <a:gd name="connsiteX280" fmla="*/ 254823 w 1522208"/>
                <a:gd name="connsiteY280" fmla="*/ 792257 h 1041752"/>
                <a:gd name="connsiteX281" fmla="*/ 259856 w 1522208"/>
                <a:gd name="connsiteY281" fmla="*/ 798475 h 1041752"/>
                <a:gd name="connsiteX282" fmla="*/ 263847 w 1522208"/>
                <a:gd name="connsiteY282" fmla="*/ 799227 h 1041752"/>
                <a:gd name="connsiteX283" fmla="*/ 275109 w 1522208"/>
                <a:gd name="connsiteY283" fmla="*/ 793172 h 1041752"/>
                <a:gd name="connsiteX284" fmla="*/ 281433 w 1522208"/>
                <a:gd name="connsiteY284" fmla="*/ 782061 h 1041752"/>
                <a:gd name="connsiteX285" fmla="*/ 301184 w 1522208"/>
                <a:gd name="connsiteY285" fmla="*/ 762175 h 1041752"/>
                <a:gd name="connsiteX286" fmla="*/ 313949 w 1522208"/>
                <a:gd name="connsiteY286" fmla="*/ 756998 h 1041752"/>
                <a:gd name="connsiteX287" fmla="*/ 318741 w 1522208"/>
                <a:gd name="connsiteY287" fmla="*/ 756998 h 1041752"/>
                <a:gd name="connsiteX288" fmla="*/ 332306 w 1522208"/>
                <a:gd name="connsiteY288" fmla="*/ 752881 h 1041752"/>
                <a:gd name="connsiteX289" fmla="*/ 346513 w 1522208"/>
                <a:gd name="connsiteY289" fmla="*/ 745534 h 1041752"/>
                <a:gd name="connsiteX290" fmla="*/ 353320 w 1522208"/>
                <a:gd name="connsiteY290" fmla="*/ 741904 h 1041752"/>
                <a:gd name="connsiteX291" fmla="*/ 363954 w 1522208"/>
                <a:gd name="connsiteY291" fmla="*/ 738949 h 1041752"/>
                <a:gd name="connsiteX292" fmla="*/ 365863 w 1522208"/>
                <a:gd name="connsiteY292" fmla="*/ 732215 h 1041752"/>
                <a:gd name="connsiteX293" fmla="*/ 369609 w 1522208"/>
                <a:gd name="connsiteY293" fmla="*/ 727076 h 1041752"/>
                <a:gd name="connsiteX294" fmla="*/ 371542 w 1522208"/>
                <a:gd name="connsiteY294" fmla="*/ 713997 h 1041752"/>
                <a:gd name="connsiteX295" fmla="*/ 371041 w 1522208"/>
                <a:gd name="connsiteY295" fmla="*/ 710526 h 1041752"/>
                <a:gd name="connsiteX296" fmla="*/ 376609 w 1522208"/>
                <a:gd name="connsiteY296" fmla="*/ 709094 h 1041752"/>
                <a:gd name="connsiteX297" fmla="*/ 382789 w 1522208"/>
                <a:gd name="connsiteY297" fmla="*/ 702890 h 1041752"/>
                <a:gd name="connsiteX298" fmla="*/ 388978 w 1522208"/>
                <a:gd name="connsiteY298" fmla="*/ 703310 h 1041752"/>
                <a:gd name="connsiteX299" fmla="*/ 395352 w 1522208"/>
                <a:gd name="connsiteY299" fmla="*/ 695828 h 1041752"/>
                <a:gd name="connsiteX300" fmla="*/ 398041 w 1522208"/>
                <a:gd name="connsiteY300" fmla="*/ 684456 h 1041752"/>
                <a:gd name="connsiteX301" fmla="*/ 406309 w 1522208"/>
                <a:gd name="connsiteY301" fmla="*/ 687425 h 1041752"/>
                <a:gd name="connsiteX302" fmla="*/ 407586 w 1522208"/>
                <a:gd name="connsiteY302" fmla="*/ 680570 h 1041752"/>
                <a:gd name="connsiteX303" fmla="*/ 406420 w 1522208"/>
                <a:gd name="connsiteY303" fmla="*/ 675923 h 1041752"/>
                <a:gd name="connsiteX304" fmla="*/ 410566 w 1522208"/>
                <a:gd name="connsiteY304" fmla="*/ 672949 h 1041752"/>
                <a:gd name="connsiteX305" fmla="*/ 417382 w 1522208"/>
                <a:gd name="connsiteY305" fmla="*/ 673980 h 1041752"/>
                <a:gd name="connsiteX306" fmla="*/ 424753 w 1522208"/>
                <a:gd name="connsiteY306" fmla="*/ 672438 h 1041752"/>
                <a:gd name="connsiteX307" fmla="*/ 440396 w 1522208"/>
                <a:gd name="connsiteY307" fmla="*/ 668533 h 1041752"/>
                <a:gd name="connsiteX308" fmla="*/ 446851 w 1522208"/>
                <a:gd name="connsiteY308" fmla="*/ 665694 h 1041752"/>
                <a:gd name="connsiteX309" fmla="*/ 448158 w 1522208"/>
                <a:gd name="connsiteY309" fmla="*/ 659128 h 1041752"/>
                <a:gd name="connsiteX310" fmla="*/ 453827 w 1522208"/>
                <a:gd name="connsiteY310" fmla="*/ 655141 h 1041752"/>
                <a:gd name="connsiteX311" fmla="*/ 460547 w 1522208"/>
                <a:gd name="connsiteY311" fmla="*/ 653825 h 1041752"/>
                <a:gd name="connsiteX312" fmla="*/ 464818 w 1522208"/>
                <a:gd name="connsiteY312" fmla="*/ 648667 h 1041752"/>
                <a:gd name="connsiteX313" fmla="*/ 471658 w 1522208"/>
                <a:gd name="connsiteY313" fmla="*/ 643870 h 1041752"/>
                <a:gd name="connsiteX314" fmla="*/ 477607 w 1522208"/>
                <a:gd name="connsiteY314" fmla="*/ 649433 h 1041752"/>
                <a:gd name="connsiteX315" fmla="*/ 487118 w 1522208"/>
                <a:gd name="connsiteY315" fmla="*/ 645153 h 1041752"/>
                <a:gd name="connsiteX316" fmla="*/ 491259 w 1522208"/>
                <a:gd name="connsiteY316" fmla="*/ 648281 h 1041752"/>
                <a:gd name="connsiteX317" fmla="*/ 497840 w 1522208"/>
                <a:gd name="connsiteY317" fmla="*/ 649698 h 1041752"/>
                <a:gd name="connsiteX318" fmla="*/ 502111 w 1522208"/>
                <a:gd name="connsiteY318" fmla="*/ 655141 h 1041752"/>
                <a:gd name="connsiteX319" fmla="*/ 508200 w 1522208"/>
                <a:gd name="connsiteY319" fmla="*/ 658082 h 1041752"/>
                <a:gd name="connsiteX320" fmla="*/ 515025 w 1522208"/>
                <a:gd name="connsiteY320" fmla="*/ 657060 h 1041752"/>
                <a:gd name="connsiteX321" fmla="*/ 519808 w 1522208"/>
                <a:gd name="connsiteY321" fmla="*/ 658217 h 1041752"/>
                <a:gd name="connsiteX322" fmla="*/ 521611 w 1522208"/>
                <a:gd name="connsiteY322" fmla="*/ 664407 h 1041752"/>
                <a:gd name="connsiteX323" fmla="*/ 526388 w 1522208"/>
                <a:gd name="connsiteY323" fmla="*/ 662088 h 1041752"/>
                <a:gd name="connsiteX324" fmla="*/ 533643 w 1522208"/>
                <a:gd name="connsiteY324" fmla="*/ 667405 h 1041752"/>
                <a:gd name="connsiteX325" fmla="*/ 539308 w 1522208"/>
                <a:gd name="connsiteY325" fmla="*/ 661196 h 1041752"/>
                <a:gd name="connsiteX326" fmla="*/ 546047 w 1522208"/>
                <a:gd name="connsiteY326" fmla="*/ 659899 h 1041752"/>
                <a:gd name="connsiteX327" fmla="*/ 547194 w 1522208"/>
                <a:gd name="connsiteY327" fmla="*/ 666099 h 1041752"/>
                <a:gd name="connsiteX328" fmla="*/ 544615 w 1522208"/>
                <a:gd name="connsiteY328" fmla="*/ 671898 h 1041752"/>
                <a:gd name="connsiteX329" fmla="*/ 550819 w 1522208"/>
                <a:gd name="connsiteY329" fmla="*/ 669189 h 1041752"/>
                <a:gd name="connsiteX330" fmla="*/ 559723 w 1522208"/>
                <a:gd name="connsiteY330" fmla="*/ 679023 h 1041752"/>
                <a:gd name="connsiteX331" fmla="*/ 558817 w 1522208"/>
                <a:gd name="connsiteY331" fmla="*/ 672554 h 1041752"/>
                <a:gd name="connsiteX332" fmla="*/ 563474 w 1522208"/>
                <a:gd name="connsiteY332" fmla="*/ 666595 h 1041752"/>
                <a:gd name="connsiteX333" fmla="*/ 569143 w 1522208"/>
                <a:gd name="connsiteY333" fmla="*/ 664407 h 1041752"/>
                <a:gd name="connsiteX334" fmla="*/ 576895 w 1522208"/>
                <a:gd name="connsiteY334" fmla="*/ 665694 h 1041752"/>
                <a:gd name="connsiteX335" fmla="*/ 587196 w 1522208"/>
                <a:gd name="connsiteY335" fmla="*/ 663505 h 1041752"/>
                <a:gd name="connsiteX336" fmla="*/ 594852 w 1522208"/>
                <a:gd name="connsiteY336" fmla="*/ 675793 h 1041752"/>
                <a:gd name="connsiteX337" fmla="*/ 609815 w 1522208"/>
                <a:gd name="connsiteY337" fmla="*/ 684948 h 1041752"/>
                <a:gd name="connsiteX338" fmla="*/ 615378 w 1522208"/>
                <a:gd name="connsiteY338" fmla="*/ 678131 h 1041752"/>
                <a:gd name="connsiteX339" fmla="*/ 621558 w 1522208"/>
                <a:gd name="connsiteY339" fmla="*/ 674241 h 1041752"/>
                <a:gd name="connsiteX340" fmla="*/ 631253 w 1522208"/>
                <a:gd name="connsiteY340" fmla="*/ 684191 h 1041752"/>
                <a:gd name="connsiteX341" fmla="*/ 632313 w 1522208"/>
                <a:gd name="connsiteY341" fmla="*/ 697221 h 1041752"/>
                <a:gd name="connsiteX342" fmla="*/ 637872 w 1522208"/>
                <a:gd name="connsiteY342" fmla="*/ 698648 h 1041752"/>
                <a:gd name="connsiteX343" fmla="*/ 638518 w 1522208"/>
                <a:gd name="connsiteY343" fmla="*/ 716065 h 1041752"/>
                <a:gd name="connsiteX344" fmla="*/ 636941 w 1522208"/>
                <a:gd name="connsiteY344" fmla="*/ 726415 h 1041752"/>
                <a:gd name="connsiteX345" fmla="*/ 638243 w 1522208"/>
                <a:gd name="connsiteY345" fmla="*/ 735560 h 1041752"/>
                <a:gd name="connsiteX346" fmla="*/ 643560 w 1522208"/>
                <a:gd name="connsiteY346" fmla="*/ 742863 h 1041752"/>
                <a:gd name="connsiteX347" fmla="*/ 651558 w 1522208"/>
                <a:gd name="connsiteY347" fmla="*/ 740559 h 1041752"/>
                <a:gd name="connsiteX348" fmla="*/ 656976 w 1522208"/>
                <a:gd name="connsiteY348" fmla="*/ 746484 h 1041752"/>
                <a:gd name="connsiteX349" fmla="*/ 663677 w 1522208"/>
                <a:gd name="connsiteY349" fmla="*/ 749357 h 1041752"/>
                <a:gd name="connsiteX350" fmla="*/ 666266 w 1522208"/>
                <a:gd name="connsiteY350" fmla="*/ 754486 h 1041752"/>
                <a:gd name="connsiteX351" fmla="*/ 671949 w 1522208"/>
                <a:gd name="connsiteY351" fmla="*/ 756583 h 1041752"/>
                <a:gd name="connsiteX352" fmla="*/ 672735 w 1522208"/>
                <a:gd name="connsiteY352" fmla="*/ 751145 h 1041752"/>
                <a:gd name="connsiteX353" fmla="*/ 680993 w 1522208"/>
                <a:gd name="connsiteY353" fmla="*/ 746980 h 1041752"/>
                <a:gd name="connsiteX354" fmla="*/ 687935 w 1522208"/>
                <a:gd name="connsiteY354" fmla="*/ 759664 h 1041752"/>
                <a:gd name="connsiteX355" fmla="*/ 684097 w 1522208"/>
                <a:gd name="connsiteY355" fmla="*/ 777727 h 1041752"/>
                <a:gd name="connsiteX356" fmla="*/ 689516 w 1522208"/>
                <a:gd name="connsiteY356" fmla="*/ 778233 h 1041752"/>
                <a:gd name="connsiteX357" fmla="*/ 696501 w 1522208"/>
                <a:gd name="connsiteY357" fmla="*/ 782148 h 1041752"/>
                <a:gd name="connsiteX358" fmla="*/ 695445 w 1522208"/>
                <a:gd name="connsiteY358" fmla="*/ 787836 h 1041752"/>
                <a:gd name="connsiteX359" fmla="*/ 696231 w 1522208"/>
                <a:gd name="connsiteY359" fmla="*/ 792469 h 1041752"/>
                <a:gd name="connsiteX360" fmla="*/ 701520 w 1522208"/>
                <a:gd name="connsiteY360" fmla="*/ 797058 h 1041752"/>
                <a:gd name="connsiteX361" fmla="*/ 707724 w 1522208"/>
                <a:gd name="connsiteY361" fmla="*/ 798470 h 1041752"/>
                <a:gd name="connsiteX362" fmla="*/ 714318 w 1522208"/>
                <a:gd name="connsiteY362" fmla="*/ 803118 h 1041752"/>
                <a:gd name="connsiteX363" fmla="*/ 721000 w 1522208"/>
                <a:gd name="connsiteY363" fmla="*/ 801310 h 1041752"/>
                <a:gd name="connsiteX364" fmla="*/ 726206 w 1522208"/>
                <a:gd name="connsiteY364" fmla="*/ 801560 h 1041752"/>
                <a:gd name="connsiteX365" fmla="*/ 733032 w 1522208"/>
                <a:gd name="connsiteY365" fmla="*/ 804786 h 1041752"/>
                <a:gd name="connsiteX366" fmla="*/ 735626 w 1522208"/>
                <a:gd name="connsiteY366" fmla="*/ 809833 h 1041752"/>
                <a:gd name="connsiteX367" fmla="*/ 738562 w 1522208"/>
                <a:gd name="connsiteY367" fmla="*/ 813950 h 1041752"/>
                <a:gd name="connsiteX368" fmla="*/ 739227 w 1522208"/>
                <a:gd name="connsiteY368" fmla="*/ 821938 h 1041752"/>
                <a:gd name="connsiteX369" fmla="*/ 739603 w 1522208"/>
                <a:gd name="connsiteY369" fmla="*/ 827269 h 1041752"/>
                <a:gd name="connsiteX370" fmla="*/ 744255 w 1522208"/>
                <a:gd name="connsiteY370" fmla="*/ 833980 h 1041752"/>
                <a:gd name="connsiteX371" fmla="*/ 739227 w 1522208"/>
                <a:gd name="connsiteY371" fmla="*/ 839538 h 1041752"/>
                <a:gd name="connsiteX372" fmla="*/ 744134 w 1522208"/>
                <a:gd name="connsiteY372" fmla="*/ 844841 h 1041752"/>
                <a:gd name="connsiteX373" fmla="*/ 750233 w 1522208"/>
                <a:gd name="connsiteY373" fmla="*/ 844547 h 1041752"/>
                <a:gd name="connsiteX374" fmla="*/ 752947 w 1522208"/>
                <a:gd name="connsiteY374" fmla="*/ 849729 h 1041752"/>
                <a:gd name="connsiteX375" fmla="*/ 759136 w 1522208"/>
                <a:gd name="connsiteY375" fmla="*/ 852838 h 1041752"/>
                <a:gd name="connsiteX376" fmla="*/ 764169 w 1522208"/>
                <a:gd name="connsiteY376" fmla="*/ 853480 h 1041752"/>
                <a:gd name="connsiteX377" fmla="*/ 759407 w 1522208"/>
                <a:gd name="connsiteY377" fmla="*/ 857871 h 1041752"/>
                <a:gd name="connsiteX378" fmla="*/ 746853 w 1522208"/>
                <a:gd name="connsiteY378" fmla="*/ 862272 h 1041752"/>
                <a:gd name="connsiteX379" fmla="*/ 739738 w 1522208"/>
                <a:gd name="connsiteY379" fmla="*/ 866659 h 1041752"/>
                <a:gd name="connsiteX380" fmla="*/ 737159 w 1522208"/>
                <a:gd name="connsiteY380" fmla="*/ 861096 h 1041752"/>
                <a:gd name="connsiteX381" fmla="*/ 729952 w 1522208"/>
                <a:gd name="connsiteY381" fmla="*/ 856184 h 1041752"/>
                <a:gd name="connsiteX382" fmla="*/ 724900 w 1522208"/>
                <a:gd name="connsiteY382" fmla="*/ 860976 h 1041752"/>
                <a:gd name="connsiteX383" fmla="*/ 724398 w 1522208"/>
                <a:gd name="connsiteY383" fmla="*/ 866250 h 1041752"/>
                <a:gd name="connsiteX384" fmla="*/ 717958 w 1522208"/>
                <a:gd name="connsiteY384" fmla="*/ 870246 h 1041752"/>
                <a:gd name="connsiteX385" fmla="*/ 712381 w 1522208"/>
                <a:gd name="connsiteY385" fmla="*/ 866250 h 1041752"/>
                <a:gd name="connsiteX386" fmla="*/ 707203 w 1522208"/>
                <a:gd name="connsiteY386" fmla="*/ 859563 h 1041752"/>
                <a:gd name="connsiteX387" fmla="*/ 700883 w 1522208"/>
                <a:gd name="connsiteY387" fmla="*/ 861612 h 1041752"/>
                <a:gd name="connsiteX388" fmla="*/ 698969 w 1522208"/>
                <a:gd name="connsiteY388" fmla="*/ 867966 h 1041752"/>
                <a:gd name="connsiteX389" fmla="*/ 693006 w 1522208"/>
                <a:gd name="connsiteY389" fmla="*/ 864090 h 1041752"/>
                <a:gd name="connsiteX390" fmla="*/ 687694 w 1522208"/>
                <a:gd name="connsiteY390" fmla="*/ 876460 h 1041752"/>
                <a:gd name="connsiteX391" fmla="*/ 682680 w 1522208"/>
                <a:gd name="connsiteY391" fmla="*/ 871066 h 1041752"/>
                <a:gd name="connsiteX392" fmla="*/ 681774 w 1522208"/>
                <a:gd name="connsiteY392" fmla="*/ 864842 h 1041752"/>
                <a:gd name="connsiteX393" fmla="*/ 676230 w 1522208"/>
                <a:gd name="connsiteY393" fmla="*/ 858903 h 1041752"/>
                <a:gd name="connsiteX394" fmla="*/ 659290 w 1522208"/>
                <a:gd name="connsiteY394" fmla="*/ 876074 h 1041752"/>
                <a:gd name="connsiteX395" fmla="*/ 659030 w 1522208"/>
                <a:gd name="connsiteY395" fmla="*/ 884501 h 1041752"/>
                <a:gd name="connsiteX396" fmla="*/ 663677 w 1522208"/>
                <a:gd name="connsiteY396" fmla="*/ 898288 h 1041752"/>
                <a:gd name="connsiteX397" fmla="*/ 675194 w 1522208"/>
                <a:gd name="connsiteY397" fmla="*/ 911854 h 1041752"/>
                <a:gd name="connsiteX398" fmla="*/ 671303 w 1522208"/>
                <a:gd name="connsiteY398" fmla="*/ 922290 h 1041752"/>
                <a:gd name="connsiteX399" fmla="*/ 675815 w 1522208"/>
                <a:gd name="connsiteY399" fmla="*/ 930572 h 1041752"/>
                <a:gd name="connsiteX400" fmla="*/ 670281 w 1522208"/>
                <a:gd name="connsiteY400" fmla="*/ 937572 h 1041752"/>
                <a:gd name="connsiteX401" fmla="*/ 660336 w 1522208"/>
                <a:gd name="connsiteY401" fmla="*/ 944143 h 1041752"/>
                <a:gd name="connsiteX402" fmla="*/ 659155 w 1522208"/>
                <a:gd name="connsiteY402" fmla="*/ 949441 h 1041752"/>
                <a:gd name="connsiteX403" fmla="*/ 662144 w 1522208"/>
                <a:gd name="connsiteY403" fmla="*/ 954989 h 1041752"/>
                <a:gd name="connsiteX404" fmla="*/ 651678 w 1522208"/>
                <a:gd name="connsiteY404" fmla="*/ 972927 h 1041752"/>
                <a:gd name="connsiteX405" fmla="*/ 649205 w 1522208"/>
                <a:gd name="connsiteY405" fmla="*/ 980563 h 1041752"/>
                <a:gd name="connsiteX406" fmla="*/ 644982 w 1522208"/>
                <a:gd name="connsiteY406" fmla="*/ 984424 h 1041752"/>
                <a:gd name="connsiteX407" fmla="*/ 645218 w 1522208"/>
                <a:gd name="connsiteY407" fmla="*/ 988430 h 1041752"/>
                <a:gd name="connsiteX408" fmla="*/ 649085 w 1522208"/>
                <a:gd name="connsiteY408" fmla="*/ 993598 h 1041752"/>
                <a:gd name="connsiteX409" fmla="*/ 649605 w 1522208"/>
                <a:gd name="connsiteY409" fmla="*/ 1000043 h 1041752"/>
                <a:gd name="connsiteX410" fmla="*/ 653091 w 1522208"/>
                <a:gd name="connsiteY410" fmla="*/ 1006373 h 1041752"/>
                <a:gd name="connsiteX411" fmla="*/ 644698 w 1522208"/>
                <a:gd name="connsiteY411" fmla="*/ 1010770 h 1041752"/>
                <a:gd name="connsiteX412" fmla="*/ 629599 w 1522208"/>
                <a:gd name="connsiteY412" fmla="*/ 1013228 h 1041752"/>
                <a:gd name="connsiteX413" fmla="*/ 626746 w 1522208"/>
                <a:gd name="connsiteY413" fmla="*/ 1023540 h 1041752"/>
                <a:gd name="connsiteX414" fmla="*/ 632318 w 1522208"/>
                <a:gd name="connsiteY414" fmla="*/ 1024345 h 1041752"/>
                <a:gd name="connsiteX415" fmla="*/ 660081 w 1522208"/>
                <a:gd name="connsiteY415" fmla="*/ 1039313 h 1041752"/>
                <a:gd name="connsiteX416" fmla="*/ 666531 w 1522208"/>
                <a:gd name="connsiteY416" fmla="*/ 1041752 h 1041752"/>
                <a:gd name="connsiteX417" fmla="*/ 672735 w 1522208"/>
                <a:gd name="connsiteY417" fmla="*/ 1040624 h 1041752"/>
                <a:gd name="connsiteX418" fmla="*/ 679180 w 1522208"/>
                <a:gd name="connsiteY418" fmla="*/ 1041752 h 1041752"/>
                <a:gd name="connsiteX419" fmla="*/ 682941 w 1522208"/>
                <a:gd name="connsiteY419" fmla="*/ 1038927 h 1041752"/>
                <a:gd name="connsiteX420" fmla="*/ 682526 w 1522208"/>
                <a:gd name="connsiteY420" fmla="*/ 1033890 h 1041752"/>
                <a:gd name="connsiteX421" fmla="*/ 683798 w 1522208"/>
                <a:gd name="connsiteY421" fmla="*/ 1028196 h 1041752"/>
                <a:gd name="connsiteX422" fmla="*/ 695060 w 1522208"/>
                <a:gd name="connsiteY422" fmla="*/ 1028592 h 1041752"/>
                <a:gd name="connsiteX423" fmla="*/ 699471 w 1522208"/>
                <a:gd name="connsiteY423" fmla="*/ 1022137 h 1041752"/>
                <a:gd name="connsiteX424" fmla="*/ 717553 w 1522208"/>
                <a:gd name="connsiteY424" fmla="*/ 1004551 h 1041752"/>
                <a:gd name="connsiteX425" fmla="*/ 728260 w 1522208"/>
                <a:gd name="connsiteY425" fmla="*/ 997734 h 1041752"/>
                <a:gd name="connsiteX426" fmla="*/ 737043 w 1522208"/>
                <a:gd name="connsiteY426" fmla="*/ 995782 h 1041752"/>
                <a:gd name="connsiteX427" fmla="*/ 754865 w 1522208"/>
                <a:gd name="connsiteY427" fmla="*/ 997865 h 1041752"/>
                <a:gd name="connsiteX428" fmla="*/ 766589 w 1522208"/>
                <a:gd name="connsiteY428" fmla="*/ 1016713 h 1041752"/>
                <a:gd name="connsiteX429" fmla="*/ 769752 w 1522208"/>
                <a:gd name="connsiteY429" fmla="*/ 1014380 h 1041752"/>
                <a:gd name="connsiteX430" fmla="*/ 769752 w 1522208"/>
                <a:gd name="connsiteY430" fmla="*/ 1012346 h 1041752"/>
                <a:gd name="connsiteX431" fmla="*/ 769178 w 1522208"/>
                <a:gd name="connsiteY431" fmla="*/ 1006503 h 1041752"/>
                <a:gd name="connsiteX432" fmla="*/ 769178 w 1522208"/>
                <a:gd name="connsiteY432" fmla="*/ 1006320 h 1041752"/>
                <a:gd name="connsiteX433" fmla="*/ 769178 w 1522208"/>
                <a:gd name="connsiteY433" fmla="*/ 1000039 h 1041752"/>
                <a:gd name="connsiteX434" fmla="*/ 767491 w 1522208"/>
                <a:gd name="connsiteY434" fmla="*/ 995064 h 1041752"/>
                <a:gd name="connsiteX435" fmla="*/ 764666 w 1522208"/>
                <a:gd name="connsiteY435" fmla="*/ 988209 h 1041752"/>
                <a:gd name="connsiteX436" fmla="*/ 760525 w 1522208"/>
                <a:gd name="connsiteY436" fmla="*/ 987394 h 1041752"/>
                <a:gd name="connsiteX437" fmla="*/ 755131 w 1522208"/>
                <a:gd name="connsiteY437" fmla="*/ 990094 h 1041752"/>
                <a:gd name="connsiteX438" fmla="*/ 753511 w 1522208"/>
                <a:gd name="connsiteY438" fmla="*/ 990094 h 1041752"/>
                <a:gd name="connsiteX439" fmla="*/ 752537 w 1522208"/>
                <a:gd name="connsiteY439" fmla="*/ 988773 h 1041752"/>
                <a:gd name="connsiteX440" fmla="*/ 751318 w 1522208"/>
                <a:gd name="connsiteY440" fmla="*/ 982241 h 1041752"/>
                <a:gd name="connsiteX441" fmla="*/ 751423 w 1522208"/>
                <a:gd name="connsiteY441" fmla="*/ 981300 h 1041752"/>
                <a:gd name="connsiteX442" fmla="*/ 752605 w 1522208"/>
                <a:gd name="connsiteY442" fmla="*/ 978022 h 1041752"/>
                <a:gd name="connsiteX443" fmla="*/ 746704 w 1522208"/>
                <a:gd name="connsiteY443" fmla="*/ 976528 h 1041752"/>
                <a:gd name="connsiteX444" fmla="*/ 745364 w 1522208"/>
                <a:gd name="connsiteY444" fmla="*/ 974995 h 1041752"/>
                <a:gd name="connsiteX445" fmla="*/ 744805 w 1522208"/>
                <a:gd name="connsiteY445" fmla="*/ 969288 h 1041752"/>
                <a:gd name="connsiteX446" fmla="*/ 741903 w 1522208"/>
                <a:gd name="connsiteY446" fmla="*/ 962370 h 1041752"/>
                <a:gd name="connsiteX447" fmla="*/ 741879 w 1522208"/>
                <a:gd name="connsiteY447" fmla="*/ 961193 h 1041752"/>
                <a:gd name="connsiteX448" fmla="*/ 743513 w 1522208"/>
                <a:gd name="connsiteY448" fmla="*/ 955182 h 1041752"/>
                <a:gd name="connsiteX449" fmla="*/ 741290 w 1522208"/>
                <a:gd name="connsiteY449" fmla="*/ 949214 h 1041752"/>
                <a:gd name="connsiteX450" fmla="*/ 741189 w 1522208"/>
                <a:gd name="connsiteY450" fmla="*/ 948452 h 1041752"/>
                <a:gd name="connsiteX451" fmla="*/ 741830 w 1522208"/>
                <a:gd name="connsiteY451" fmla="*/ 941896 h 1041752"/>
                <a:gd name="connsiteX452" fmla="*/ 743069 w 1522208"/>
                <a:gd name="connsiteY452" fmla="*/ 940310 h 1041752"/>
                <a:gd name="connsiteX453" fmla="*/ 745031 w 1522208"/>
                <a:gd name="connsiteY453" fmla="*/ 940913 h 1041752"/>
                <a:gd name="connsiteX454" fmla="*/ 749808 w 1522208"/>
                <a:gd name="connsiteY454" fmla="*/ 946857 h 1041752"/>
                <a:gd name="connsiteX455" fmla="*/ 750122 w 1522208"/>
                <a:gd name="connsiteY455" fmla="*/ 947561 h 1041752"/>
                <a:gd name="connsiteX456" fmla="*/ 751785 w 1522208"/>
                <a:gd name="connsiteY456" fmla="*/ 953654 h 1041752"/>
                <a:gd name="connsiteX457" fmla="*/ 756890 w 1522208"/>
                <a:gd name="connsiteY457" fmla="*/ 959289 h 1041752"/>
                <a:gd name="connsiteX458" fmla="*/ 761070 w 1522208"/>
                <a:gd name="connsiteY458" fmla="*/ 959289 h 1041752"/>
                <a:gd name="connsiteX459" fmla="*/ 764054 w 1522208"/>
                <a:gd name="connsiteY459" fmla="*/ 954806 h 1041752"/>
                <a:gd name="connsiteX460" fmla="*/ 760202 w 1522208"/>
                <a:gd name="connsiteY460" fmla="*/ 953259 h 1041752"/>
                <a:gd name="connsiteX461" fmla="*/ 759146 w 1522208"/>
                <a:gd name="connsiteY461" fmla="*/ 952212 h 1041752"/>
                <a:gd name="connsiteX462" fmla="*/ 759247 w 1522208"/>
                <a:gd name="connsiteY462" fmla="*/ 950790 h 1041752"/>
                <a:gd name="connsiteX463" fmla="*/ 762217 w 1522208"/>
                <a:gd name="connsiteY463" fmla="*/ 944827 h 1041752"/>
                <a:gd name="connsiteX464" fmla="*/ 762911 w 1522208"/>
                <a:gd name="connsiteY464" fmla="*/ 944075 h 1041752"/>
                <a:gd name="connsiteX465" fmla="*/ 768306 w 1522208"/>
                <a:gd name="connsiteY465" fmla="*/ 940811 h 1041752"/>
                <a:gd name="connsiteX466" fmla="*/ 770403 w 1522208"/>
                <a:gd name="connsiteY466" fmla="*/ 934949 h 1041752"/>
                <a:gd name="connsiteX467" fmla="*/ 772201 w 1522208"/>
                <a:gd name="connsiteY467" fmla="*/ 927935 h 1041752"/>
                <a:gd name="connsiteX468" fmla="*/ 773276 w 1522208"/>
                <a:gd name="connsiteY468" fmla="*/ 926682 h 1041752"/>
                <a:gd name="connsiteX469" fmla="*/ 774871 w 1522208"/>
                <a:gd name="connsiteY469" fmla="*/ 926793 h 1041752"/>
                <a:gd name="connsiteX470" fmla="*/ 778945 w 1522208"/>
                <a:gd name="connsiteY470" fmla="*/ 929213 h 1041752"/>
                <a:gd name="connsiteX471" fmla="*/ 780454 w 1522208"/>
                <a:gd name="connsiteY471" fmla="*/ 925057 h 1041752"/>
                <a:gd name="connsiteX472" fmla="*/ 780454 w 1522208"/>
                <a:gd name="connsiteY472" fmla="*/ 919417 h 1041752"/>
                <a:gd name="connsiteX473" fmla="*/ 781683 w 1522208"/>
                <a:gd name="connsiteY473" fmla="*/ 917730 h 1041752"/>
                <a:gd name="connsiteX474" fmla="*/ 783717 w 1522208"/>
                <a:gd name="connsiteY474" fmla="*/ 918284 h 1041752"/>
                <a:gd name="connsiteX475" fmla="*/ 787926 w 1522208"/>
                <a:gd name="connsiteY475" fmla="*/ 923573 h 1041752"/>
                <a:gd name="connsiteX476" fmla="*/ 793711 w 1522208"/>
                <a:gd name="connsiteY476" fmla="*/ 916795 h 1041752"/>
                <a:gd name="connsiteX477" fmla="*/ 795388 w 1522208"/>
                <a:gd name="connsiteY477" fmla="*/ 911333 h 1041752"/>
                <a:gd name="connsiteX478" fmla="*/ 795952 w 1522208"/>
                <a:gd name="connsiteY478" fmla="*/ 907288 h 1041752"/>
                <a:gd name="connsiteX479" fmla="*/ 796049 w 1522208"/>
                <a:gd name="connsiteY479" fmla="*/ 906922 h 1041752"/>
                <a:gd name="connsiteX480" fmla="*/ 798430 w 1522208"/>
                <a:gd name="connsiteY480" fmla="*/ 900395 h 1041752"/>
                <a:gd name="connsiteX481" fmla="*/ 798594 w 1522208"/>
                <a:gd name="connsiteY481" fmla="*/ 900057 h 1041752"/>
                <a:gd name="connsiteX482" fmla="*/ 801872 w 1522208"/>
                <a:gd name="connsiteY482" fmla="*/ 894552 h 1041752"/>
                <a:gd name="connsiteX483" fmla="*/ 801872 w 1522208"/>
                <a:gd name="connsiteY483" fmla="*/ 894456 h 1041752"/>
                <a:gd name="connsiteX484" fmla="*/ 802171 w 1522208"/>
                <a:gd name="connsiteY484" fmla="*/ 893501 h 1041752"/>
                <a:gd name="connsiteX485" fmla="*/ 804909 w 1522208"/>
                <a:gd name="connsiteY485" fmla="*/ 888921 h 1041752"/>
                <a:gd name="connsiteX486" fmla="*/ 804668 w 1522208"/>
                <a:gd name="connsiteY486" fmla="*/ 888473 h 1041752"/>
                <a:gd name="connsiteX487" fmla="*/ 798464 w 1522208"/>
                <a:gd name="connsiteY487" fmla="*/ 884009 h 1041752"/>
                <a:gd name="connsiteX488" fmla="*/ 798131 w 1522208"/>
                <a:gd name="connsiteY488" fmla="*/ 883662 h 1041752"/>
                <a:gd name="connsiteX489" fmla="*/ 793586 w 1522208"/>
                <a:gd name="connsiteY489" fmla="*/ 877983 h 1041752"/>
                <a:gd name="connsiteX490" fmla="*/ 788254 w 1522208"/>
                <a:gd name="connsiteY490" fmla="*/ 874782 h 1041752"/>
                <a:gd name="connsiteX491" fmla="*/ 782127 w 1522208"/>
                <a:gd name="connsiteY491" fmla="*/ 874233 h 1041752"/>
                <a:gd name="connsiteX492" fmla="*/ 781967 w 1522208"/>
                <a:gd name="connsiteY492" fmla="*/ 874213 h 1041752"/>
                <a:gd name="connsiteX493" fmla="*/ 775426 w 1522208"/>
                <a:gd name="connsiteY493" fmla="*/ 873008 h 1041752"/>
                <a:gd name="connsiteX494" fmla="*/ 774703 w 1522208"/>
                <a:gd name="connsiteY494" fmla="*/ 872719 h 1041752"/>
                <a:gd name="connsiteX495" fmla="*/ 768763 w 1522208"/>
                <a:gd name="connsiteY495" fmla="*/ 868563 h 1041752"/>
                <a:gd name="connsiteX496" fmla="*/ 768359 w 1522208"/>
                <a:gd name="connsiteY496" fmla="*/ 868125 h 1041752"/>
                <a:gd name="connsiteX497" fmla="*/ 763586 w 1522208"/>
                <a:gd name="connsiteY497" fmla="*/ 861588 h 1041752"/>
                <a:gd name="connsiteX498" fmla="*/ 763475 w 1522208"/>
                <a:gd name="connsiteY498" fmla="*/ 859587 h 1041752"/>
                <a:gd name="connsiteX499" fmla="*/ 767062 w 1522208"/>
                <a:gd name="connsiteY499" fmla="*/ 853629 h 1041752"/>
                <a:gd name="connsiteX500" fmla="*/ 768132 w 1522208"/>
                <a:gd name="connsiteY500" fmla="*/ 852805 h 1041752"/>
                <a:gd name="connsiteX501" fmla="*/ 774683 w 1522208"/>
                <a:gd name="connsiteY501" fmla="*/ 851026 h 1041752"/>
                <a:gd name="connsiteX502" fmla="*/ 776809 w 1522208"/>
                <a:gd name="connsiteY502" fmla="*/ 852024 h 1041752"/>
                <a:gd name="connsiteX503" fmla="*/ 779046 w 1522208"/>
                <a:gd name="connsiteY503" fmla="*/ 856979 h 1041752"/>
                <a:gd name="connsiteX504" fmla="*/ 779538 w 1522208"/>
                <a:gd name="connsiteY504" fmla="*/ 857389 h 1041752"/>
                <a:gd name="connsiteX505" fmla="*/ 780540 w 1522208"/>
                <a:gd name="connsiteY505" fmla="*/ 854029 h 1041752"/>
                <a:gd name="connsiteX506" fmla="*/ 782050 w 1522208"/>
                <a:gd name="connsiteY506" fmla="*/ 852756 h 1041752"/>
                <a:gd name="connsiteX507" fmla="*/ 783833 w 1522208"/>
                <a:gd name="connsiteY507" fmla="*/ 853591 h 1041752"/>
                <a:gd name="connsiteX508" fmla="*/ 787666 w 1522208"/>
                <a:gd name="connsiteY508" fmla="*/ 859607 h 1041752"/>
                <a:gd name="connsiteX509" fmla="*/ 793639 w 1522208"/>
                <a:gd name="connsiteY509" fmla="*/ 861766 h 1041752"/>
                <a:gd name="connsiteX510" fmla="*/ 794521 w 1522208"/>
                <a:gd name="connsiteY510" fmla="*/ 862427 h 1041752"/>
                <a:gd name="connsiteX511" fmla="*/ 799091 w 1522208"/>
                <a:gd name="connsiteY511" fmla="*/ 868809 h 1041752"/>
                <a:gd name="connsiteX512" fmla="*/ 804943 w 1522208"/>
                <a:gd name="connsiteY512" fmla="*/ 874069 h 1041752"/>
                <a:gd name="connsiteX513" fmla="*/ 805256 w 1522208"/>
                <a:gd name="connsiteY513" fmla="*/ 874397 h 1041752"/>
                <a:gd name="connsiteX514" fmla="*/ 808775 w 1522208"/>
                <a:gd name="connsiteY514" fmla="*/ 879921 h 1041752"/>
                <a:gd name="connsiteX515" fmla="*/ 810275 w 1522208"/>
                <a:gd name="connsiteY515" fmla="*/ 874372 h 1041752"/>
                <a:gd name="connsiteX516" fmla="*/ 811456 w 1522208"/>
                <a:gd name="connsiteY516" fmla="*/ 868491 h 1041752"/>
                <a:gd name="connsiteX517" fmla="*/ 811485 w 1522208"/>
                <a:gd name="connsiteY517" fmla="*/ 868313 h 1041752"/>
                <a:gd name="connsiteX518" fmla="*/ 813331 w 1522208"/>
                <a:gd name="connsiteY518" fmla="*/ 862359 h 1041752"/>
                <a:gd name="connsiteX519" fmla="*/ 813331 w 1522208"/>
                <a:gd name="connsiteY519" fmla="*/ 862292 h 1041752"/>
                <a:gd name="connsiteX520" fmla="*/ 815635 w 1522208"/>
                <a:gd name="connsiteY520" fmla="*/ 855962 h 1041752"/>
                <a:gd name="connsiteX521" fmla="*/ 816204 w 1522208"/>
                <a:gd name="connsiteY521" fmla="*/ 850192 h 1041752"/>
                <a:gd name="connsiteX522" fmla="*/ 816209 w 1522208"/>
                <a:gd name="connsiteY522" fmla="*/ 850028 h 1041752"/>
                <a:gd name="connsiteX523" fmla="*/ 817405 w 1522208"/>
                <a:gd name="connsiteY523" fmla="*/ 844089 h 1041752"/>
                <a:gd name="connsiteX524" fmla="*/ 817535 w 1522208"/>
                <a:gd name="connsiteY524" fmla="*/ 843698 h 1041752"/>
                <a:gd name="connsiteX525" fmla="*/ 820355 w 1522208"/>
                <a:gd name="connsiteY525" fmla="*/ 837508 h 1041752"/>
                <a:gd name="connsiteX526" fmla="*/ 820355 w 1522208"/>
                <a:gd name="connsiteY526" fmla="*/ 832365 h 1041752"/>
                <a:gd name="connsiteX527" fmla="*/ 817597 w 1522208"/>
                <a:gd name="connsiteY527" fmla="*/ 826816 h 1041752"/>
                <a:gd name="connsiteX528" fmla="*/ 817496 w 1522208"/>
                <a:gd name="connsiteY528" fmla="*/ 826623 h 1041752"/>
                <a:gd name="connsiteX529" fmla="*/ 815105 w 1522208"/>
                <a:gd name="connsiteY529" fmla="*/ 820091 h 1041752"/>
                <a:gd name="connsiteX530" fmla="*/ 815842 w 1522208"/>
                <a:gd name="connsiteY530" fmla="*/ 817951 h 1041752"/>
                <a:gd name="connsiteX531" fmla="*/ 822211 w 1522208"/>
                <a:gd name="connsiteY531" fmla="*/ 813897 h 1041752"/>
                <a:gd name="connsiteX532" fmla="*/ 828020 w 1522208"/>
                <a:gd name="connsiteY532" fmla="*/ 808068 h 1041752"/>
                <a:gd name="connsiteX533" fmla="*/ 828140 w 1522208"/>
                <a:gd name="connsiteY533" fmla="*/ 807924 h 1041752"/>
                <a:gd name="connsiteX534" fmla="*/ 834118 w 1522208"/>
                <a:gd name="connsiteY534" fmla="*/ 803171 h 1041752"/>
                <a:gd name="connsiteX535" fmla="*/ 834407 w 1522208"/>
                <a:gd name="connsiteY535" fmla="*/ 802988 h 1041752"/>
                <a:gd name="connsiteX536" fmla="*/ 840886 w 1522208"/>
                <a:gd name="connsiteY536" fmla="*/ 799449 h 1041752"/>
                <a:gd name="connsiteX537" fmla="*/ 846811 w 1522208"/>
                <a:gd name="connsiteY537" fmla="*/ 795872 h 1041752"/>
                <a:gd name="connsiteX538" fmla="*/ 847327 w 1522208"/>
                <a:gd name="connsiteY538" fmla="*/ 795674 h 1041752"/>
                <a:gd name="connsiteX539" fmla="*/ 849689 w 1522208"/>
                <a:gd name="connsiteY539" fmla="*/ 795125 h 1041752"/>
                <a:gd name="connsiteX540" fmla="*/ 850123 w 1522208"/>
                <a:gd name="connsiteY540" fmla="*/ 795024 h 1041752"/>
                <a:gd name="connsiteX541" fmla="*/ 856038 w 1522208"/>
                <a:gd name="connsiteY541" fmla="*/ 795024 h 1041752"/>
                <a:gd name="connsiteX542" fmla="*/ 862454 w 1522208"/>
                <a:gd name="connsiteY542" fmla="*/ 794469 h 1041752"/>
                <a:gd name="connsiteX543" fmla="*/ 862647 w 1522208"/>
                <a:gd name="connsiteY543" fmla="*/ 794469 h 1041752"/>
                <a:gd name="connsiteX544" fmla="*/ 863129 w 1522208"/>
                <a:gd name="connsiteY544" fmla="*/ 794469 h 1041752"/>
                <a:gd name="connsiteX545" fmla="*/ 868268 w 1522208"/>
                <a:gd name="connsiteY545" fmla="*/ 789836 h 1041752"/>
                <a:gd name="connsiteX546" fmla="*/ 870408 w 1522208"/>
                <a:gd name="connsiteY546" fmla="*/ 784442 h 1041752"/>
                <a:gd name="connsiteX547" fmla="*/ 871401 w 1522208"/>
                <a:gd name="connsiteY547" fmla="*/ 779004 h 1041752"/>
                <a:gd name="connsiteX548" fmla="*/ 866132 w 1522208"/>
                <a:gd name="connsiteY548" fmla="*/ 773730 h 1041752"/>
                <a:gd name="connsiteX549" fmla="*/ 865819 w 1522208"/>
                <a:gd name="connsiteY549" fmla="*/ 771614 h 1041752"/>
                <a:gd name="connsiteX550" fmla="*/ 867737 w 1522208"/>
                <a:gd name="connsiteY550" fmla="*/ 770693 h 1041752"/>
                <a:gd name="connsiteX551" fmla="*/ 872283 w 1522208"/>
                <a:gd name="connsiteY551" fmla="*/ 771590 h 1041752"/>
                <a:gd name="connsiteX552" fmla="*/ 874626 w 1522208"/>
                <a:gd name="connsiteY552" fmla="*/ 766461 h 1041752"/>
                <a:gd name="connsiteX553" fmla="*/ 876352 w 1522208"/>
                <a:gd name="connsiteY553" fmla="*/ 760613 h 1041752"/>
                <a:gd name="connsiteX554" fmla="*/ 878338 w 1522208"/>
                <a:gd name="connsiteY554" fmla="*/ 759345 h 1041752"/>
                <a:gd name="connsiteX555" fmla="*/ 879920 w 1522208"/>
                <a:gd name="connsiteY555" fmla="*/ 761173 h 1041752"/>
                <a:gd name="connsiteX556" fmla="*/ 876299 w 1522208"/>
                <a:gd name="connsiteY556" fmla="*/ 784924 h 1041752"/>
                <a:gd name="connsiteX557" fmla="*/ 880946 w 1522208"/>
                <a:gd name="connsiteY557" fmla="*/ 786168 h 1041752"/>
                <a:gd name="connsiteX558" fmla="*/ 881158 w 1522208"/>
                <a:gd name="connsiteY558" fmla="*/ 786245 h 1041752"/>
                <a:gd name="connsiteX559" fmla="*/ 885030 w 1522208"/>
                <a:gd name="connsiteY559" fmla="*/ 781420 h 1041752"/>
                <a:gd name="connsiteX560" fmla="*/ 885921 w 1522208"/>
                <a:gd name="connsiteY560" fmla="*/ 780841 h 1041752"/>
                <a:gd name="connsiteX561" fmla="*/ 891860 w 1522208"/>
                <a:gd name="connsiteY561" fmla="*/ 779024 h 1041752"/>
                <a:gd name="connsiteX562" fmla="*/ 892535 w 1522208"/>
                <a:gd name="connsiteY562" fmla="*/ 778985 h 1041752"/>
                <a:gd name="connsiteX563" fmla="*/ 898942 w 1522208"/>
                <a:gd name="connsiteY563" fmla="*/ 779540 h 1041752"/>
                <a:gd name="connsiteX564" fmla="*/ 904664 w 1522208"/>
                <a:gd name="connsiteY564" fmla="*/ 779024 h 1041752"/>
                <a:gd name="connsiteX565" fmla="*/ 909292 w 1522208"/>
                <a:gd name="connsiteY565" fmla="*/ 774377 h 1041752"/>
                <a:gd name="connsiteX566" fmla="*/ 907388 w 1522208"/>
                <a:gd name="connsiteY566" fmla="*/ 769551 h 1041752"/>
                <a:gd name="connsiteX567" fmla="*/ 907253 w 1522208"/>
                <a:gd name="connsiteY567" fmla="*/ 769257 h 1041752"/>
                <a:gd name="connsiteX568" fmla="*/ 906183 w 1522208"/>
                <a:gd name="connsiteY568" fmla="*/ 763805 h 1041752"/>
                <a:gd name="connsiteX569" fmla="*/ 900566 w 1522208"/>
                <a:gd name="connsiteY569" fmla="*/ 757615 h 1041752"/>
                <a:gd name="connsiteX570" fmla="*/ 900181 w 1522208"/>
                <a:gd name="connsiteY570" fmla="*/ 755865 h 1041752"/>
                <a:gd name="connsiteX571" fmla="*/ 901945 w 1522208"/>
                <a:gd name="connsiteY571" fmla="*/ 749902 h 1041752"/>
                <a:gd name="connsiteX572" fmla="*/ 902056 w 1522208"/>
                <a:gd name="connsiteY572" fmla="*/ 749641 h 1041752"/>
                <a:gd name="connsiteX573" fmla="*/ 904857 w 1522208"/>
                <a:gd name="connsiteY573" fmla="*/ 744074 h 1041752"/>
                <a:gd name="connsiteX574" fmla="*/ 904857 w 1522208"/>
                <a:gd name="connsiteY574" fmla="*/ 740786 h 1041752"/>
                <a:gd name="connsiteX575" fmla="*/ 901087 w 1522208"/>
                <a:gd name="connsiteY575" fmla="*/ 741528 h 1041752"/>
                <a:gd name="connsiteX576" fmla="*/ 899626 w 1522208"/>
                <a:gd name="connsiteY576" fmla="*/ 741191 h 1041752"/>
                <a:gd name="connsiteX577" fmla="*/ 898923 w 1522208"/>
                <a:gd name="connsiteY577" fmla="*/ 739889 h 1041752"/>
                <a:gd name="connsiteX578" fmla="*/ 898301 w 1522208"/>
                <a:gd name="connsiteY578" fmla="*/ 733439 h 1041752"/>
                <a:gd name="connsiteX579" fmla="*/ 894333 w 1522208"/>
                <a:gd name="connsiteY579" fmla="*/ 733791 h 1041752"/>
                <a:gd name="connsiteX580" fmla="*/ 892622 w 1522208"/>
                <a:gd name="connsiteY580" fmla="*/ 732923 h 1041752"/>
                <a:gd name="connsiteX581" fmla="*/ 889040 w 1522208"/>
                <a:gd name="connsiteY581" fmla="*/ 726955 h 1041752"/>
                <a:gd name="connsiteX582" fmla="*/ 888809 w 1522208"/>
                <a:gd name="connsiteY582" fmla="*/ 725875 h 1041752"/>
                <a:gd name="connsiteX583" fmla="*/ 889262 w 1522208"/>
                <a:gd name="connsiteY583" fmla="*/ 720544 h 1041752"/>
                <a:gd name="connsiteX584" fmla="*/ 889209 w 1522208"/>
                <a:gd name="connsiteY584" fmla="*/ 720529 h 1041752"/>
                <a:gd name="connsiteX585" fmla="*/ 888982 w 1522208"/>
                <a:gd name="connsiteY585" fmla="*/ 720409 h 1041752"/>
                <a:gd name="connsiteX586" fmla="*/ 883019 w 1522208"/>
                <a:gd name="connsiteY586" fmla="*/ 716219 h 1041752"/>
                <a:gd name="connsiteX587" fmla="*/ 882368 w 1522208"/>
                <a:gd name="connsiteY587" fmla="*/ 715414 h 1041752"/>
                <a:gd name="connsiteX588" fmla="*/ 880411 w 1522208"/>
                <a:gd name="connsiteY588" fmla="*/ 710473 h 1041752"/>
                <a:gd name="connsiteX589" fmla="*/ 875538 w 1522208"/>
                <a:gd name="connsiteY589" fmla="*/ 709972 h 1041752"/>
                <a:gd name="connsiteX590" fmla="*/ 874024 w 1522208"/>
                <a:gd name="connsiteY590" fmla="*/ 708853 h 1041752"/>
                <a:gd name="connsiteX591" fmla="*/ 871647 w 1522208"/>
                <a:gd name="connsiteY591" fmla="*/ 702268 h 1041752"/>
                <a:gd name="connsiteX592" fmla="*/ 871854 w 1522208"/>
                <a:gd name="connsiteY592" fmla="*/ 700596 h 1041752"/>
                <a:gd name="connsiteX593" fmla="*/ 873339 w 1522208"/>
                <a:gd name="connsiteY593" fmla="*/ 699834 h 1041752"/>
                <a:gd name="connsiteX594" fmla="*/ 873923 w 1522208"/>
                <a:gd name="connsiteY594" fmla="*/ 699834 h 1041752"/>
                <a:gd name="connsiteX595" fmla="*/ 875195 w 1522208"/>
                <a:gd name="connsiteY595" fmla="*/ 700301 h 1041752"/>
                <a:gd name="connsiteX596" fmla="*/ 881125 w 1522208"/>
                <a:gd name="connsiteY596" fmla="*/ 705648 h 1041752"/>
                <a:gd name="connsiteX597" fmla="*/ 881197 w 1522208"/>
                <a:gd name="connsiteY597" fmla="*/ 705720 h 1041752"/>
                <a:gd name="connsiteX598" fmla="*/ 887141 w 1522208"/>
                <a:gd name="connsiteY598" fmla="*/ 711683 h 1041752"/>
                <a:gd name="connsiteX599" fmla="*/ 887647 w 1522208"/>
                <a:gd name="connsiteY599" fmla="*/ 712888 h 1041752"/>
                <a:gd name="connsiteX600" fmla="*/ 892477 w 1522208"/>
                <a:gd name="connsiteY600" fmla="*/ 714846 h 1041752"/>
                <a:gd name="connsiteX601" fmla="*/ 893557 w 1522208"/>
                <a:gd name="connsiteY601" fmla="*/ 716017 h 1041752"/>
                <a:gd name="connsiteX602" fmla="*/ 895105 w 1522208"/>
                <a:gd name="connsiteY602" fmla="*/ 721763 h 1041752"/>
                <a:gd name="connsiteX603" fmla="*/ 900880 w 1522208"/>
                <a:gd name="connsiteY603" fmla="*/ 724391 h 1041752"/>
                <a:gd name="connsiteX604" fmla="*/ 901786 w 1522208"/>
                <a:gd name="connsiteY604" fmla="*/ 725297 h 1041752"/>
                <a:gd name="connsiteX605" fmla="*/ 903927 w 1522208"/>
                <a:gd name="connsiteY605" fmla="*/ 730060 h 1041752"/>
                <a:gd name="connsiteX606" fmla="*/ 909924 w 1522208"/>
                <a:gd name="connsiteY606" fmla="*/ 733396 h 1041752"/>
                <a:gd name="connsiteX607" fmla="*/ 910830 w 1522208"/>
                <a:gd name="connsiteY607" fmla="*/ 734688 h 1041752"/>
                <a:gd name="connsiteX608" fmla="*/ 912040 w 1522208"/>
                <a:gd name="connsiteY608" fmla="*/ 741215 h 1041752"/>
                <a:gd name="connsiteX609" fmla="*/ 912074 w 1522208"/>
                <a:gd name="connsiteY609" fmla="*/ 741528 h 1041752"/>
                <a:gd name="connsiteX610" fmla="*/ 912074 w 1522208"/>
                <a:gd name="connsiteY610" fmla="*/ 747453 h 1041752"/>
                <a:gd name="connsiteX611" fmla="*/ 911929 w 1522208"/>
                <a:gd name="connsiteY611" fmla="*/ 748161 h 1041752"/>
                <a:gd name="connsiteX612" fmla="*/ 909822 w 1522208"/>
                <a:gd name="connsiteY612" fmla="*/ 753406 h 1041752"/>
                <a:gd name="connsiteX613" fmla="*/ 911794 w 1522208"/>
                <a:gd name="connsiteY613" fmla="*/ 758367 h 1041752"/>
                <a:gd name="connsiteX614" fmla="*/ 915096 w 1522208"/>
                <a:gd name="connsiteY614" fmla="*/ 761640 h 1041752"/>
                <a:gd name="connsiteX615" fmla="*/ 915371 w 1522208"/>
                <a:gd name="connsiteY615" fmla="*/ 761978 h 1041752"/>
                <a:gd name="connsiteX616" fmla="*/ 918755 w 1522208"/>
                <a:gd name="connsiteY616" fmla="*/ 767647 h 1041752"/>
                <a:gd name="connsiteX617" fmla="*/ 924511 w 1522208"/>
                <a:gd name="connsiteY617" fmla="*/ 772366 h 1041752"/>
                <a:gd name="connsiteX618" fmla="*/ 929698 w 1522208"/>
                <a:gd name="connsiteY618" fmla="*/ 771865 h 1041752"/>
                <a:gd name="connsiteX619" fmla="*/ 931048 w 1522208"/>
                <a:gd name="connsiteY619" fmla="*/ 772275 h 1041752"/>
                <a:gd name="connsiteX620" fmla="*/ 936230 w 1522208"/>
                <a:gd name="connsiteY620" fmla="*/ 776527 h 1041752"/>
                <a:gd name="connsiteX621" fmla="*/ 940419 w 1522208"/>
                <a:gd name="connsiteY621" fmla="*/ 771836 h 1041752"/>
                <a:gd name="connsiteX622" fmla="*/ 941779 w 1522208"/>
                <a:gd name="connsiteY622" fmla="*/ 771224 h 1041752"/>
                <a:gd name="connsiteX623" fmla="*/ 947737 w 1522208"/>
                <a:gd name="connsiteY623" fmla="*/ 771224 h 1041752"/>
                <a:gd name="connsiteX624" fmla="*/ 947887 w 1522208"/>
                <a:gd name="connsiteY624" fmla="*/ 771224 h 1041752"/>
                <a:gd name="connsiteX625" fmla="*/ 953855 w 1522208"/>
                <a:gd name="connsiteY625" fmla="*/ 771783 h 1041752"/>
                <a:gd name="connsiteX626" fmla="*/ 959066 w 1522208"/>
                <a:gd name="connsiteY626" fmla="*/ 768635 h 1041752"/>
                <a:gd name="connsiteX627" fmla="*/ 964827 w 1522208"/>
                <a:gd name="connsiteY627" fmla="*/ 762325 h 1041752"/>
                <a:gd name="connsiteX628" fmla="*/ 965101 w 1522208"/>
                <a:gd name="connsiteY628" fmla="*/ 762045 h 1041752"/>
                <a:gd name="connsiteX629" fmla="*/ 969840 w 1522208"/>
                <a:gd name="connsiteY629" fmla="*/ 758497 h 1041752"/>
                <a:gd name="connsiteX630" fmla="*/ 971494 w 1522208"/>
                <a:gd name="connsiteY630" fmla="*/ 758372 h 1041752"/>
                <a:gd name="connsiteX631" fmla="*/ 971122 w 1522208"/>
                <a:gd name="connsiteY631" fmla="*/ 765448 h 1041752"/>
                <a:gd name="connsiteX632" fmla="*/ 971494 w 1522208"/>
                <a:gd name="connsiteY632" fmla="*/ 765034 h 1041752"/>
                <a:gd name="connsiteX633" fmla="*/ 971122 w 1522208"/>
                <a:gd name="connsiteY633" fmla="*/ 765448 h 1041752"/>
                <a:gd name="connsiteX634" fmla="*/ 970052 w 1522208"/>
                <a:gd name="connsiteY634" fmla="*/ 767608 h 1041752"/>
                <a:gd name="connsiteX635" fmla="*/ 971122 w 1522208"/>
                <a:gd name="connsiteY635" fmla="*/ 765448 h 1041752"/>
                <a:gd name="connsiteX636" fmla="*/ 966422 w 1522208"/>
                <a:gd name="connsiteY636" fmla="*/ 770636 h 1041752"/>
                <a:gd name="connsiteX637" fmla="*/ 962966 w 1522208"/>
                <a:gd name="connsiteY637" fmla="*/ 775558 h 1041752"/>
                <a:gd name="connsiteX638" fmla="*/ 964812 w 1522208"/>
                <a:gd name="connsiteY638" fmla="*/ 778715 h 1041752"/>
                <a:gd name="connsiteX639" fmla="*/ 964658 w 1522208"/>
                <a:gd name="connsiteY639" fmla="*/ 780643 h 1041752"/>
                <a:gd name="connsiteX640" fmla="*/ 960522 w 1522208"/>
                <a:gd name="connsiteY640" fmla="*/ 786587 h 1041752"/>
                <a:gd name="connsiteX641" fmla="*/ 959374 w 1522208"/>
                <a:gd name="connsiteY641" fmla="*/ 787359 h 1041752"/>
                <a:gd name="connsiteX642" fmla="*/ 952799 w 1522208"/>
                <a:gd name="connsiteY642" fmla="*/ 788535 h 1041752"/>
                <a:gd name="connsiteX643" fmla="*/ 951965 w 1522208"/>
                <a:gd name="connsiteY643" fmla="*/ 788467 h 1041752"/>
                <a:gd name="connsiteX644" fmla="*/ 946590 w 1522208"/>
                <a:gd name="connsiteY644" fmla="*/ 786857 h 1041752"/>
                <a:gd name="connsiteX645" fmla="*/ 940627 w 1522208"/>
                <a:gd name="connsiteY645" fmla="*/ 789031 h 1041752"/>
                <a:gd name="connsiteX646" fmla="*/ 939831 w 1522208"/>
                <a:gd name="connsiteY646" fmla="*/ 789152 h 1041752"/>
                <a:gd name="connsiteX647" fmla="*/ 934394 w 1522208"/>
                <a:gd name="connsiteY647" fmla="*/ 788574 h 1041752"/>
                <a:gd name="connsiteX648" fmla="*/ 928261 w 1522208"/>
                <a:gd name="connsiteY648" fmla="*/ 791384 h 1041752"/>
                <a:gd name="connsiteX649" fmla="*/ 927683 w 1522208"/>
                <a:gd name="connsiteY649" fmla="*/ 791548 h 1041752"/>
                <a:gd name="connsiteX650" fmla="*/ 921850 w 1522208"/>
                <a:gd name="connsiteY650" fmla="*/ 792112 h 1041752"/>
                <a:gd name="connsiteX651" fmla="*/ 915950 w 1522208"/>
                <a:gd name="connsiteY651" fmla="*/ 793278 h 1041752"/>
                <a:gd name="connsiteX652" fmla="*/ 915882 w 1522208"/>
                <a:gd name="connsiteY652" fmla="*/ 793278 h 1041752"/>
                <a:gd name="connsiteX653" fmla="*/ 912329 w 1522208"/>
                <a:gd name="connsiteY653" fmla="*/ 793876 h 1041752"/>
                <a:gd name="connsiteX654" fmla="*/ 911669 w 1522208"/>
                <a:gd name="connsiteY654" fmla="*/ 793876 h 1041752"/>
                <a:gd name="connsiteX655" fmla="*/ 905975 w 1522208"/>
                <a:gd name="connsiteY655" fmla="*/ 792753 h 1041752"/>
                <a:gd name="connsiteX656" fmla="*/ 900673 w 1522208"/>
                <a:gd name="connsiteY656" fmla="*/ 793278 h 1041752"/>
                <a:gd name="connsiteX657" fmla="*/ 894425 w 1522208"/>
                <a:gd name="connsiteY657" fmla="*/ 796667 h 1041752"/>
                <a:gd name="connsiteX658" fmla="*/ 894063 w 1522208"/>
                <a:gd name="connsiteY658" fmla="*/ 796822 h 1041752"/>
                <a:gd name="connsiteX659" fmla="*/ 889677 w 1522208"/>
                <a:gd name="connsiteY659" fmla="*/ 798008 h 1041752"/>
                <a:gd name="connsiteX660" fmla="*/ 894425 w 1522208"/>
                <a:gd name="connsiteY660" fmla="*/ 800620 h 1041752"/>
                <a:gd name="connsiteX661" fmla="*/ 894589 w 1522208"/>
                <a:gd name="connsiteY661" fmla="*/ 800717 h 1041752"/>
                <a:gd name="connsiteX662" fmla="*/ 898012 w 1522208"/>
                <a:gd name="connsiteY662" fmla="*/ 803093 h 1041752"/>
                <a:gd name="connsiteX663" fmla="*/ 898301 w 1522208"/>
                <a:gd name="connsiteY663" fmla="*/ 800264 h 1041752"/>
                <a:gd name="connsiteX664" fmla="*/ 899376 w 1522208"/>
                <a:gd name="connsiteY664" fmla="*/ 798760 h 1041752"/>
                <a:gd name="connsiteX665" fmla="*/ 905927 w 1522208"/>
                <a:gd name="connsiteY665" fmla="*/ 795809 h 1041752"/>
                <a:gd name="connsiteX666" fmla="*/ 906915 w 1522208"/>
                <a:gd name="connsiteY666" fmla="*/ 795655 h 1041752"/>
                <a:gd name="connsiteX667" fmla="*/ 911100 w 1522208"/>
                <a:gd name="connsiteY667" fmla="*/ 796224 h 1041752"/>
                <a:gd name="connsiteX668" fmla="*/ 911100 w 1522208"/>
                <a:gd name="connsiteY668" fmla="*/ 796238 h 1041752"/>
                <a:gd name="connsiteX669" fmla="*/ 914638 w 1522208"/>
                <a:gd name="connsiteY669" fmla="*/ 796822 h 1041752"/>
                <a:gd name="connsiteX670" fmla="*/ 920177 w 1522208"/>
                <a:gd name="connsiteY670" fmla="*/ 797376 h 1041752"/>
                <a:gd name="connsiteX671" fmla="*/ 925788 w 1522208"/>
                <a:gd name="connsiteY671" fmla="*/ 795727 h 1041752"/>
                <a:gd name="connsiteX672" fmla="*/ 926926 w 1522208"/>
                <a:gd name="connsiteY672" fmla="*/ 795737 h 1041752"/>
                <a:gd name="connsiteX673" fmla="*/ 933473 w 1522208"/>
                <a:gd name="connsiteY673" fmla="*/ 798094 h 1041752"/>
                <a:gd name="connsiteX674" fmla="*/ 934663 w 1522208"/>
                <a:gd name="connsiteY674" fmla="*/ 799989 h 1041752"/>
                <a:gd name="connsiteX675" fmla="*/ 934056 w 1522208"/>
                <a:gd name="connsiteY675" fmla="*/ 806540 h 1041752"/>
                <a:gd name="connsiteX676" fmla="*/ 933675 w 1522208"/>
                <a:gd name="connsiteY676" fmla="*/ 807504 h 1041752"/>
                <a:gd name="connsiteX677" fmla="*/ 928903 w 1522208"/>
                <a:gd name="connsiteY677" fmla="*/ 813467 h 1041752"/>
                <a:gd name="connsiteX678" fmla="*/ 928098 w 1522208"/>
                <a:gd name="connsiteY678" fmla="*/ 814037 h 1041752"/>
                <a:gd name="connsiteX679" fmla="*/ 921729 w 1522208"/>
                <a:gd name="connsiteY679" fmla="*/ 816350 h 1041752"/>
                <a:gd name="connsiteX680" fmla="*/ 917029 w 1522208"/>
                <a:gd name="connsiteY680" fmla="*/ 819171 h 1041752"/>
                <a:gd name="connsiteX681" fmla="*/ 917603 w 1522208"/>
                <a:gd name="connsiteY681" fmla="*/ 822087 h 1041752"/>
                <a:gd name="connsiteX682" fmla="*/ 921325 w 1522208"/>
                <a:gd name="connsiteY682" fmla="*/ 821330 h 1041752"/>
                <a:gd name="connsiteX683" fmla="*/ 926950 w 1522208"/>
                <a:gd name="connsiteY683" fmla="*/ 816818 h 1041752"/>
                <a:gd name="connsiteX684" fmla="*/ 928748 w 1522208"/>
                <a:gd name="connsiteY684" fmla="*/ 816601 h 1041752"/>
                <a:gd name="connsiteX685" fmla="*/ 934663 w 1522208"/>
                <a:gd name="connsiteY685" fmla="*/ 818944 h 1041752"/>
                <a:gd name="connsiteX686" fmla="*/ 935955 w 1522208"/>
                <a:gd name="connsiteY686" fmla="*/ 819397 h 1041752"/>
                <a:gd name="connsiteX687" fmla="*/ 942054 w 1522208"/>
                <a:gd name="connsiteY687" fmla="*/ 818240 h 1041752"/>
                <a:gd name="connsiteX688" fmla="*/ 943389 w 1522208"/>
                <a:gd name="connsiteY688" fmla="*/ 818544 h 1041752"/>
                <a:gd name="connsiteX689" fmla="*/ 948991 w 1522208"/>
                <a:gd name="connsiteY689" fmla="*/ 822477 h 1041752"/>
                <a:gd name="connsiteX690" fmla="*/ 954930 w 1522208"/>
                <a:gd name="connsiteY690" fmla="*/ 822993 h 1041752"/>
                <a:gd name="connsiteX691" fmla="*/ 960811 w 1522208"/>
                <a:gd name="connsiteY691" fmla="*/ 822993 h 1041752"/>
                <a:gd name="connsiteX692" fmla="*/ 962368 w 1522208"/>
                <a:gd name="connsiteY692" fmla="*/ 823900 h 1041752"/>
                <a:gd name="connsiteX693" fmla="*/ 965434 w 1522208"/>
                <a:gd name="connsiteY693" fmla="*/ 828986 h 1041752"/>
                <a:gd name="connsiteX694" fmla="*/ 985671 w 1522208"/>
                <a:gd name="connsiteY694" fmla="*/ 831237 h 1041752"/>
                <a:gd name="connsiteX695" fmla="*/ 993862 w 1522208"/>
                <a:gd name="connsiteY695" fmla="*/ 825187 h 1041752"/>
                <a:gd name="connsiteX696" fmla="*/ 1006183 w 1522208"/>
                <a:gd name="connsiteY696" fmla="*/ 816871 h 1041752"/>
                <a:gd name="connsiteX697" fmla="*/ 1030273 w 1522208"/>
                <a:gd name="connsiteY697" fmla="*/ 805865 h 1041752"/>
                <a:gd name="connsiteX698" fmla="*/ 1036487 w 1522208"/>
                <a:gd name="connsiteY698" fmla="*/ 805865 h 1041752"/>
                <a:gd name="connsiteX699" fmla="*/ 1044301 w 1522208"/>
                <a:gd name="connsiteY699" fmla="*/ 792478 h 1041752"/>
                <a:gd name="connsiteX700" fmla="*/ 1051633 w 1522208"/>
                <a:gd name="connsiteY700" fmla="*/ 800775 h 1041752"/>
                <a:gd name="connsiteX701" fmla="*/ 1068429 w 1522208"/>
                <a:gd name="connsiteY701" fmla="*/ 807538 h 1041752"/>
                <a:gd name="connsiteX702" fmla="*/ 1076272 w 1522208"/>
                <a:gd name="connsiteY702" fmla="*/ 804906 h 1041752"/>
                <a:gd name="connsiteX703" fmla="*/ 1077964 w 1522208"/>
                <a:gd name="connsiteY703" fmla="*/ 789031 h 1041752"/>
                <a:gd name="connsiteX704" fmla="*/ 1091814 w 1522208"/>
                <a:gd name="connsiteY704" fmla="*/ 811814 h 1041752"/>
                <a:gd name="connsiteX705" fmla="*/ 1104290 w 1522208"/>
                <a:gd name="connsiteY705" fmla="*/ 812098 h 1041752"/>
                <a:gd name="connsiteX706" fmla="*/ 1099546 w 1522208"/>
                <a:gd name="connsiteY706" fmla="*/ 823186 h 1041752"/>
                <a:gd name="connsiteX707" fmla="*/ 1091380 w 1522208"/>
                <a:gd name="connsiteY707" fmla="*/ 829145 h 1041752"/>
                <a:gd name="connsiteX708" fmla="*/ 1074011 w 1522208"/>
                <a:gd name="connsiteY708" fmla="*/ 843785 h 1041752"/>
                <a:gd name="connsiteX709" fmla="*/ 1060151 w 1522208"/>
                <a:gd name="connsiteY709" fmla="*/ 849570 h 1041752"/>
                <a:gd name="connsiteX710" fmla="*/ 1052356 w 1522208"/>
                <a:gd name="connsiteY710" fmla="*/ 862171 h 1041752"/>
                <a:gd name="connsiteX711" fmla="*/ 1036385 w 1522208"/>
                <a:gd name="connsiteY711" fmla="*/ 887707 h 1041752"/>
                <a:gd name="connsiteX712" fmla="*/ 1030706 w 1522208"/>
                <a:gd name="connsiteY712" fmla="*/ 892908 h 1041752"/>
                <a:gd name="connsiteX713" fmla="*/ 1014480 w 1522208"/>
                <a:gd name="connsiteY713" fmla="*/ 920400 h 1041752"/>
                <a:gd name="connsiteX714" fmla="*/ 1017816 w 1522208"/>
                <a:gd name="connsiteY714" fmla="*/ 926113 h 1041752"/>
                <a:gd name="connsiteX715" fmla="*/ 1033710 w 1522208"/>
                <a:gd name="connsiteY715" fmla="*/ 921591 h 1041752"/>
                <a:gd name="connsiteX716" fmla="*/ 1051604 w 1522208"/>
                <a:gd name="connsiteY716" fmla="*/ 911376 h 1041752"/>
                <a:gd name="connsiteX717" fmla="*/ 1076580 w 1522208"/>
                <a:gd name="connsiteY717" fmla="*/ 920261 h 1041752"/>
                <a:gd name="connsiteX718" fmla="*/ 1096991 w 1522208"/>
                <a:gd name="connsiteY718" fmla="*/ 922710 h 1041752"/>
                <a:gd name="connsiteX719" fmla="*/ 1108315 w 1522208"/>
                <a:gd name="connsiteY719" fmla="*/ 917436 h 1041752"/>
                <a:gd name="connsiteX720" fmla="*/ 1127964 w 1522208"/>
                <a:gd name="connsiteY720" fmla="*/ 933537 h 1041752"/>
                <a:gd name="connsiteX721" fmla="*/ 1133831 w 1522208"/>
                <a:gd name="connsiteY721" fmla="*/ 955732 h 1041752"/>
                <a:gd name="connsiteX722" fmla="*/ 1135851 w 1522208"/>
                <a:gd name="connsiteY722" fmla="*/ 971274 h 1041752"/>
                <a:gd name="connsiteX723" fmla="*/ 1130139 w 1522208"/>
                <a:gd name="connsiteY723" fmla="*/ 993463 h 1041752"/>
                <a:gd name="connsiteX724" fmla="*/ 1131310 w 1522208"/>
                <a:gd name="connsiteY724" fmla="*/ 998202 h 1041752"/>
                <a:gd name="connsiteX725" fmla="*/ 1150877 w 1522208"/>
                <a:gd name="connsiteY725" fmla="*/ 1000656 h 1041752"/>
                <a:gd name="connsiteX726" fmla="*/ 1157404 w 1522208"/>
                <a:gd name="connsiteY726" fmla="*/ 1006238 h 1041752"/>
                <a:gd name="connsiteX727" fmla="*/ 1205115 w 1522208"/>
                <a:gd name="connsiteY727" fmla="*/ 985943 h 1041752"/>
                <a:gd name="connsiteX728" fmla="*/ 1216444 w 1522208"/>
                <a:gd name="connsiteY728" fmla="*/ 969066 h 1041752"/>
                <a:gd name="connsiteX729" fmla="*/ 1234743 w 1522208"/>
                <a:gd name="connsiteY729" fmla="*/ 931522 h 1041752"/>
                <a:gd name="connsiteX730" fmla="*/ 1249080 w 1522208"/>
                <a:gd name="connsiteY730" fmla="*/ 920212 h 1041752"/>
                <a:gd name="connsiteX731" fmla="*/ 1272123 w 1522208"/>
                <a:gd name="connsiteY731" fmla="*/ 915397 h 1041752"/>
                <a:gd name="connsiteX732" fmla="*/ 1279537 w 1522208"/>
                <a:gd name="connsiteY732" fmla="*/ 895405 h 1041752"/>
                <a:gd name="connsiteX733" fmla="*/ 1289405 w 1522208"/>
                <a:gd name="connsiteY733" fmla="*/ 885181 h 1041752"/>
                <a:gd name="connsiteX734" fmla="*/ 1291459 w 1522208"/>
                <a:gd name="connsiteY734" fmla="*/ 877795 h 1041752"/>
                <a:gd name="connsiteX735" fmla="*/ 1291608 w 1522208"/>
                <a:gd name="connsiteY735" fmla="*/ 869431 h 1041752"/>
                <a:gd name="connsiteX736" fmla="*/ 1300059 w 1522208"/>
                <a:gd name="connsiteY736" fmla="*/ 857201 h 1041752"/>
                <a:gd name="connsiteX737" fmla="*/ 1330328 w 1522208"/>
                <a:gd name="connsiteY737" fmla="*/ 863945 h 1041752"/>
                <a:gd name="connsiteX738" fmla="*/ 1340586 w 1522208"/>
                <a:gd name="connsiteY738" fmla="*/ 858691 h 1041752"/>
                <a:gd name="connsiteX739" fmla="*/ 1355063 w 1522208"/>
                <a:gd name="connsiteY739" fmla="*/ 851368 h 1041752"/>
                <a:gd name="connsiteX740" fmla="*/ 1370846 w 1522208"/>
                <a:gd name="connsiteY740" fmla="*/ 842064 h 1041752"/>
                <a:gd name="connsiteX741" fmla="*/ 1377605 w 1522208"/>
                <a:gd name="connsiteY741" fmla="*/ 827910 h 1041752"/>
                <a:gd name="connsiteX742" fmla="*/ 1373599 w 1522208"/>
                <a:gd name="connsiteY742" fmla="*/ 804906 h 1041752"/>
                <a:gd name="connsiteX743" fmla="*/ 1371777 w 1522208"/>
                <a:gd name="connsiteY743" fmla="*/ 797511 h 1041752"/>
                <a:gd name="connsiteX744" fmla="*/ 1380955 w 1522208"/>
                <a:gd name="connsiteY744" fmla="*/ 793139 h 1041752"/>
                <a:gd name="connsiteX745" fmla="*/ 1378771 w 1522208"/>
                <a:gd name="connsiteY745" fmla="*/ 784495 h 1041752"/>
                <a:gd name="connsiteX746" fmla="*/ 1369154 w 1522208"/>
                <a:gd name="connsiteY746" fmla="*/ 787407 h 1041752"/>
                <a:gd name="connsiteX747" fmla="*/ 1352763 w 1522208"/>
                <a:gd name="connsiteY747" fmla="*/ 790188 h 1041752"/>
                <a:gd name="connsiteX748" fmla="*/ 1329566 w 1522208"/>
                <a:gd name="connsiteY748" fmla="*/ 808772 h 1041752"/>
                <a:gd name="connsiteX749" fmla="*/ 1324924 w 1522208"/>
                <a:gd name="connsiteY749" fmla="*/ 813892 h 1041752"/>
                <a:gd name="connsiteX750" fmla="*/ 1309421 w 1522208"/>
                <a:gd name="connsiteY750" fmla="*/ 803508 h 1041752"/>
                <a:gd name="connsiteX751" fmla="*/ 1307155 w 1522208"/>
                <a:gd name="connsiteY751" fmla="*/ 811163 h 1041752"/>
                <a:gd name="connsiteX752" fmla="*/ 1289646 w 1522208"/>
                <a:gd name="connsiteY752" fmla="*/ 835320 h 1041752"/>
                <a:gd name="connsiteX753" fmla="*/ 1282531 w 1522208"/>
                <a:gd name="connsiteY753" fmla="*/ 842855 h 1041752"/>
                <a:gd name="connsiteX754" fmla="*/ 1276095 w 1522208"/>
                <a:gd name="connsiteY754" fmla="*/ 845569 h 1041752"/>
                <a:gd name="connsiteX755" fmla="*/ 1255544 w 1522208"/>
                <a:gd name="connsiteY755" fmla="*/ 843457 h 1041752"/>
                <a:gd name="connsiteX756" fmla="*/ 1241921 w 1522208"/>
                <a:gd name="connsiteY756" fmla="*/ 840285 h 1041752"/>
                <a:gd name="connsiteX757" fmla="*/ 1241024 w 1522208"/>
                <a:gd name="connsiteY757" fmla="*/ 831950 h 1041752"/>
                <a:gd name="connsiteX758" fmla="*/ 1239516 w 1522208"/>
                <a:gd name="connsiteY758" fmla="*/ 822453 h 1041752"/>
                <a:gd name="connsiteX759" fmla="*/ 1227724 w 1522208"/>
                <a:gd name="connsiteY759" fmla="*/ 812783 h 1041752"/>
                <a:gd name="connsiteX760" fmla="*/ 1217827 w 1522208"/>
                <a:gd name="connsiteY760" fmla="*/ 808512 h 1041752"/>
                <a:gd name="connsiteX761" fmla="*/ 1209545 w 1522208"/>
                <a:gd name="connsiteY761" fmla="*/ 804284 h 1041752"/>
                <a:gd name="connsiteX762" fmla="*/ 1197802 w 1522208"/>
                <a:gd name="connsiteY762" fmla="*/ 807268 h 1041752"/>
                <a:gd name="connsiteX763" fmla="*/ 1193569 w 1522208"/>
                <a:gd name="connsiteY763" fmla="*/ 798610 h 1041752"/>
                <a:gd name="connsiteX764" fmla="*/ 1192904 w 1522208"/>
                <a:gd name="connsiteY764" fmla="*/ 788323 h 1041752"/>
                <a:gd name="connsiteX765" fmla="*/ 1181585 w 1522208"/>
                <a:gd name="connsiteY765" fmla="*/ 800861 h 1041752"/>
                <a:gd name="connsiteX766" fmla="*/ 1174060 w 1522208"/>
                <a:gd name="connsiteY766" fmla="*/ 810676 h 1041752"/>
                <a:gd name="connsiteX767" fmla="*/ 1180515 w 1522208"/>
                <a:gd name="connsiteY767" fmla="*/ 793635 h 1041752"/>
                <a:gd name="connsiteX768" fmla="*/ 1174715 w 1522208"/>
                <a:gd name="connsiteY768" fmla="*/ 782485 h 1041752"/>
                <a:gd name="connsiteX769" fmla="*/ 1174744 w 1522208"/>
                <a:gd name="connsiteY769" fmla="*/ 789735 h 1041752"/>
                <a:gd name="connsiteX770" fmla="*/ 1170387 w 1522208"/>
                <a:gd name="connsiteY770" fmla="*/ 799411 h 1041752"/>
                <a:gd name="connsiteX771" fmla="*/ 1159791 w 1522208"/>
                <a:gd name="connsiteY771" fmla="*/ 799912 h 1041752"/>
                <a:gd name="connsiteX772" fmla="*/ 1159063 w 1522208"/>
                <a:gd name="connsiteY772" fmla="*/ 788564 h 1041752"/>
                <a:gd name="connsiteX773" fmla="*/ 1150106 w 1522208"/>
                <a:gd name="connsiteY773" fmla="*/ 785618 h 1041752"/>
                <a:gd name="connsiteX774" fmla="*/ 1141294 w 1522208"/>
                <a:gd name="connsiteY774" fmla="*/ 797434 h 1041752"/>
                <a:gd name="connsiteX775" fmla="*/ 1135422 w 1522208"/>
                <a:gd name="connsiteY775" fmla="*/ 799444 h 1041752"/>
                <a:gd name="connsiteX776" fmla="*/ 1132626 w 1522208"/>
                <a:gd name="connsiteY776" fmla="*/ 789277 h 1041752"/>
                <a:gd name="connsiteX777" fmla="*/ 1113738 w 1522208"/>
                <a:gd name="connsiteY777" fmla="*/ 786342 h 1041752"/>
                <a:gd name="connsiteX778" fmla="*/ 1118723 w 1522208"/>
                <a:gd name="connsiteY778" fmla="*/ 794006 h 1041752"/>
                <a:gd name="connsiteX779" fmla="*/ 1109968 w 1522208"/>
                <a:gd name="connsiteY779" fmla="*/ 794498 h 1041752"/>
                <a:gd name="connsiteX780" fmla="*/ 1107872 w 1522208"/>
                <a:gd name="connsiteY780" fmla="*/ 788371 h 1041752"/>
                <a:gd name="connsiteX781" fmla="*/ 1104309 w 1522208"/>
                <a:gd name="connsiteY781" fmla="*/ 788111 h 1041752"/>
                <a:gd name="connsiteX782" fmla="*/ 1102121 w 1522208"/>
                <a:gd name="connsiteY782" fmla="*/ 781772 h 1041752"/>
                <a:gd name="connsiteX783" fmla="*/ 1095902 w 1522208"/>
                <a:gd name="connsiteY783" fmla="*/ 779887 h 1041752"/>
                <a:gd name="connsiteX784" fmla="*/ 1097652 w 1522208"/>
                <a:gd name="connsiteY784" fmla="*/ 786602 h 1041752"/>
                <a:gd name="connsiteX785" fmla="*/ 1083927 w 1522208"/>
                <a:gd name="connsiteY785" fmla="*/ 777587 h 1041752"/>
                <a:gd name="connsiteX786" fmla="*/ 1093559 w 1522208"/>
                <a:gd name="connsiteY786" fmla="*/ 773065 h 1041752"/>
                <a:gd name="connsiteX787" fmla="*/ 1107688 w 1522208"/>
                <a:gd name="connsiteY787" fmla="*/ 769869 h 1041752"/>
                <a:gd name="connsiteX788" fmla="*/ 1126730 w 1522208"/>
                <a:gd name="connsiteY788" fmla="*/ 776796 h 1041752"/>
                <a:gd name="connsiteX789" fmla="*/ 1126128 w 1522208"/>
                <a:gd name="connsiteY789" fmla="*/ 768630 h 1041752"/>
                <a:gd name="connsiteX790" fmla="*/ 1130524 w 1522208"/>
                <a:gd name="connsiteY790" fmla="*/ 767054 h 1041752"/>
                <a:gd name="connsiteX791" fmla="*/ 1123568 w 1522208"/>
                <a:gd name="connsiteY791" fmla="*/ 755667 h 1041752"/>
                <a:gd name="connsiteX792" fmla="*/ 1143921 w 1522208"/>
                <a:gd name="connsiteY792" fmla="*/ 771364 h 1041752"/>
                <a:gd name="connsiteX793" fmla="*/ 1141934 w 1522208"/>
                <a:gd name="connsiteY793" fmla="*/ 760363 h 1041752"/>
                <a:gd name="connsiteX794" fmla="*/ 1158894 w 1522208"/>
                <a:gd name="connsiteY794" fmla="*/ 760363 h 1041752"/>
                <a:gd name="connsiteX795" fmla="*/ 1163816 w 1522208"/>
                <a:gd name="connsiteY795" fmla="*/ 759688 h 1041752"/>
                <a:gd name="connsiteX796" fmla="*/ 1169336 w 1522208"/>
                <a:gd name="connsiteY796" fmla="*/ 757504 h 1041752"/>
                <a:gd name="connsiteX797" fmla="*/ 1185929 w 1522208"/>
                <a:gd name="connsiteY797" fmla="*/ 761640 h 1041752"/>
                <a:gd name="connsiteX798" fmla="*/ 1179213 w 1522208"/>
                <a:gd name="connsiteY798" fmla="*/ 766099 h 1041752"/>
                <a:gd name="connsiteX799" fmla="*/ 1191053 w 1522208"/>
                <a:gd name="connsiteY799" fmla="*/ 770582 h 1041752"/>
                <a:gd name="connsiteX800" fmla="*/ 1201109 w 1522208"/>
                <a:gd name="connsiteY800" fmla="*/ 791514 h 1041752"/>
                <a:gd name="connsiteX801" fmla="*/ 1210577 w 1522208"/>
                <a:gd name="connsiteY801" fmla="*/ 788125 h 1041752"/>
                <a:gd name="connsiteX802" fmla="*/ 1185929 w 1522208"/>
                <a:gd name="connsiteY802" fmla="*/ 750070 h 1041752"/>
                <a:gd name="connsiteX803" fmla="*/ 1191540 w 1522208"/>
                <a:gd name="connsiteY803" fmla="*/ 737349 h 1041752"/>
                <a:gd name="connsiteX804" fmla="*/ 1208566 w 1522208"/>
                <a:gd name="connsiteY804" fmla="*/ 711751 h 1041752"/>
                <a:gd name="connsiteX805" fmla="*/ 1202208 w 1522208"/>
                <a:gd name="connsiteY805" fmla="*/ 698638 h 1041752"/>
                <a:gd name="connsiteX806" fmla="*/ 1216950 w 1522208"/>
                <a:gd name="connsiteY806" fmla="*/ 712739 h 1041752"/>
                <a:gd name="connsiteX807" fmla="*/ 1223761 w 1522208"/>
                <a:gd name="connsiteY807" fmla="*/ 711225 h 1041752"/>
                <a:gd name="connsiteX808" fmla="*/ 1243266 w 1522208"/>
                <a:gd name="connsiteY808" fmla="*/ 682209 h 1041752"/>
                <a:gd name="connsiteX809" fmla="*/ 1284527 w 1522208"/>
                <a:gd name="connsiteY809" fmla="*/ 642318 h 1041752"/>
                <a:gd name="connsiteX810" fmla="*/ 1291362 w 1522208"/>
                <a:gd name="connsiteY810" fmla="*/ 642670 h 1041752"/>
                <a:gd name="connsiteX811" fmla="*/ 1329928 w 1522208"/>
                <a:gd name="connsiteY811" fmla="*/ 611697 h 1041752"/>
                <a:gd name="connsiteX812" fmla="*/ 1367496 w 1522208"/>
                <a:gd name="connsiteY812" fmla="*/ 577489 h 1041752"/>
                <a:gd name="connsiteX813" fmla="*/ 1380873 w 1522208"/>
                <a:gd name="connsiteY813" fmla="*/ 543329 h 1041752"/>
                <a:gd name="connsiteX814" fmla="*/ 1415968 w 1522208"/>
                <a:gd name="connsiteY814" fmla="*/ 527609 h 1041752"/>
                <a:gd name="connsiteX815" fmla="*/ 1426356 w 1522208"/>
                <a:gd name="connsiteY815" fmla="*/ 531769 h 1041752"/>
                <a:gd name="connsiteX816" fmla="*/ 1432734 w 1522208"/>
                <a:gd name="connsiteY816" fmla="*/ 523391 h 1041752"/>
                <a:gd name="connsiteX817" fmla="*/ 1429466 w 1522208"/>
                <a:gd name="connsiteY817" fmla="*/ 498270 h 1041752"/>
                <a:gd name="connsiteX818" fmla="*/ 1423989 w 1522208"/>
                <a:gd name="connsiteY818" fmla="*/ 492645 h 1041752"/>
                <a:gd name="connsiteX819" fmla="*/ 1418981 w 1522208"/>
                <a:gd name="connsiteY819" fmla="*/ 485023 h 1041752"/>
                <a:gd name="connsiteX820" fmla="*/ 1416624 w 1522208"/>
                <a:gd name="connsiteY820" fmla="*/ 468204 h 1041752"/>
                <a:gd name="connsiteX821" fmla="*/ 1424047 w 1522208"/>
                <a:gd name="connsiteY821" fmla="*/ 445551 h 1041752"/>
                <a:gd name="connsiteX822" fmla="*/ 1438191 w 1522208"/>
                <a:gd name="connsiteY822" fmla="*/ 432636 h 1041752"/>
                <a:gd name="connsiteX823" fmla="*/ 1445172 w 1522208"/>
                <a:gd name="connsiteY823" fmla="*/ 426249 h 1041752"/>
                <a:gd name="connsiteX824" fmla="*/ 1461664 w 1522208"/>
                <a:gd name="connsiteY824" fmla="*/ 394365 h 1041752"/>
                <a:gd name="connsiteX825" fmla="*/ 1481481 w 1522208"/>
                <a:gd name="connsiteY825" fmla="*/ 387847 h 1041752"/>
                <a:gd name="connsiteX826" fmla="*/ 1491388 w 1522208"/>
                <a:gd name="connsiteY826" fmla="*/ 386748 h 1041752"/>
                <a:gd name="connsiteX827" fmla="*/ 1516055 w 1522208"/>
                <a:gd name="connsiteY827" fmla="*/ 377709 h 1041752"/>
                <a:gd name="connsiteX828" fmla="*/ 1515848 w 1522208"/>
                <a:gd name="connsiteY828" fmla="*/ 353553 h 1041752"/>
                <a:gd name="connsiteX829" fmla="*/ 617480 w 1522208"/>
                <a:gd name="connsiteY829" fmla="*/ 257023 h 1041752"/>
                <a:gd name="connsiteX830" fmla="*/ 611536 w 1522208"/>
                <a:gd name="connsiteY830" fmla="*/ 256468 h 1041752"/>
                <a:gd name="connsiteX831" fmla="*/ 605028 w 1522208"/>
                <a:gd name="connsiteY831" fmla="*/ 258242 h 1041752"/>
                <a:gd name="connsiteX832" fmla="*/ 610958 w 1522208"/>
                <a:gd name="connsiteY832" fmla="*/ 253504 h 1041752"/>
                <a:gd name="connsiteX833" fmla="*/ 613918 w 1522208"/>
                <a:gd name="connsiteY833" fmla="*/ 247555 h 1041752"/>
                <a:gd name="connsiteX834" fmla="*/ 618107 w 1522208"/>
                <a:gd name="connsiteY834" fmla="*/ 241592 h 1041752"/>
                <a:gd name="connsiteX835" fmla="*/ 613918 w 1522208"/>
                <a:gd name="connsiteY835" fmla="*/ 235021 h 1041752"/>
                <a:gd name="connsiteX836" fmla="*/ 614554 w 1522208"/>
                <a:gd name="connsiteY836" fmla="*/ 233826 h 1041752"/>
                <a:gd name="connsiteX837" fmla="*/ 616897 w 1522208"/>
                <a:gd name="connsiteY837" fmla="*/ 227877 h 1041752"/>
                <a:gd name="connsiteX838" fmla="*/ 617475 w 1522208"/>
                <a:gd name="connsiteY838" fmla="*/ 227308 h 1041752"/>
                <a:gd name="connsiteX839" fmla="*/ 623424 w 1522208"/>
                <a:gd name="connsiteY839" fmla="*/ 226098 h 1041752"/>
                <a:gd name="connsiteX840" fmla="*/ 624036 w 1522208"/>
                <a:gd name="connsiteY840" fmla="*/ 232047 h 1041752"/>
                <a:gd name="connsiteX841" fmla="*/ 625232 w 1522208"/>
                <a:gd name="connsiteY841" fmla="*/ 238589 h 1041752"/>
                <a:gd name="connsiteX842" fmla="*/ 629397 w 1522208"/>
                <a:gd name="connsiteY842" fmla="*/ 244556 h 1041752"/>
                <a:gd name="connsiteX843" fmla="*/ 628211 w 1522208"/>
                <a:gd name="connsiteY843" fmla="*/ 251098 h 1041752"/>
                <a:gd name="connsiteX844" fmla="*/ 628211 w 1522208"/>
                <a:gd name="connsiteY844" fmla="*/ 251672 h 1041752"/>
                <a:gd name="connsiteX845" fmla="*/ 630568 w 1522208"/>
                <a:gd name="connsiteY845" fmla="*/ 258242 h 1041752"/>
                <a:gd name="connsiteX846" fmla="*/ 631788 w 1522208"/>
                <a:gd name="connsiteY846" fmla="*/ 264775 h 1041752"/>
                <a:gd name="connsiteX847" fmla="*/ 641318 w 1522208"/>
                <a:gd name="connsiteY847" fmla="*/ 306425 h 1041752"/>
                <a:gd name="connsiteX848" fmla="*/ 617480 w 1522208"/>
                <a:gd name="connsiteY848" fmla="*/ 257023 h 1041752"/>
                <a:gd name="connsiteX849" fmla="*/ 1168087 w 1522208"/>
                <a:gd name="connsiteY849" fmla="*/ 567414 h 1041752"/>
                <a:gd name="connsiteX850" fmla="*/ 1149605 w 1522208"/>
                <a:gd name="connsiteY850" fmla="*/ 581042 h 1041752"/>
                <a:gd name="connsiteX851" fmla="*/ 1131570 w 1522208"/>
                <a:gd name="connsiteY851" fmla="*/ 589989 h 1041752"/>
                <a:gd name="connsiteX852" fmla="*/ 1102979 w 1522208"/>
                <a:gd name="connsiteY852" fmla="*/ 586215 h 1041752"/>
                <a:gd name="connsiteX853" fmla="*/ 1088333 w 1522208"/>
                <a:gd name="connsiteY853" fmla="*/ 596569 h 1041752"/>
                <a:gd name="connsiteX854" fmla="*/ 1064422 w 1522208"/>
                <a:gd name="connsiteY854" fmla="*/ 615336 h 1041752"/>
                <a:gd name="connsiteX855" fmla="*/ 1063940 w 1522208"/>
                <a:gd name="connsiteY855" fmla="*/ 624616 h 1041752"/>
                <a:gd name="connsiteX856" fmla="*/ 1077646 w 1522208"/>
                <a:gd name="connsiteY856" fmla="*/ 619130 h 1041752"/>
                <a:gd name="connsiteX857" fmla="*/ 1066784 w 1522208"/>
                <a:gd name="connsiteY857" fmla="*/ 627798 h 1041752"/>
                <a:gd name="connsiteX858" fmla="*/ 1059549 w 1522208"/>
                <a:gd name="connsiteY858" fmla="*/ 659065 h 1041752"/>
                <a:gd name="connsiteX859" fmla="*/ 1054405 w 1522208"/>
                <a:gd name="connsiteY859" fmla="*/ 687507 h 1041752"/>
                <a:gd name="connsiteX860" fmla="*/ 1059737 w 1522208"/>
                <a:gd name="connsiteY860" fmla="*/ 689952 h 1041752"/>
                <a:gd name="connsiteX861" fmla="*/ 1056338 w 1522208"/>
                <a:gd name="connsiteY861" fmla="*/ 696614 h 1041752"/>
                <a:gd name="connsiteX862" fmla="*/ 1052337 w 1522208"/>
                <a:gd name="connsiteY862" fmla="*/ 705609 h 1041752"/>
                <a:gd name="connsiteX863" fmla="*/ 1038309 w 1522208"/>
                <a:gd name="connsiteY863" fmla="*/ 711732 h 1041752"/>
                <a:gd name="connsiteX864" fmla="*/ 1028359 w 1522208"/>
                <a:gd name="connsiteY864" fmla="*/ 722515 h 1041752"/>
                <a:gd name="connsiteX865" fmla="*/ 1009770 w 1522208"/>
                <a:gd name="connsiteY865" fmla="*/ 725162 h 1041752"/>
                <a:gd name="connsiteX866" fmla="*/ 1023470 w 1522208"/>
                <a:gd name="connsiteY866" fmla="*/ 719705 h 1041752"/>
                <a:gd name="connsiteX867" fmla="*/ 1030962 w 1522208"/>
                <a:gd name="connsiteY867" fmla="*/ 714214 h 1041752"/>
                <a:gd name="connsiteX868" fmla="*/ 1045342 w 1522208"/>
                <a:gd name="connsiteY868" fmla="*/ 702071 h 1041752"/>
                <a:gd name="connsiteX869" fmla="*/ 1047319 w 1522208"/>
                <a:gd name="connsiteY869" fmla="*/ 681853 h 1041752"/>
                <a:gd name="connsiteX870" fmla="*/ 1041365 w 1522208"/>
                <a:gd name="connsiteY870" fmla="*/ 683641 h 1041752"/>
                <a:gd name="connsiteX871" fmla="*/ 1047338 w 1522208"/>
                <a:gd name="connsiteY871" fmla="*/ 675672 h 1041752"/>
                <a:gd name="connsiteX872" fmla="*/ 1051889 w 1522208"/>
                <a:gd name="connsiteY872" fmla="*/ 655970 h 1041752"/>
                <a:gd name="connsiteX873" fmla="*/ 1059086 w 1522208"/>
                <a:gd name="connsiteY873" fmla="*/ 627152 h 1041752"/>
                <a:gd name="connsiteX874" fmla="*/ 1053161 w 1522208"/>
                <a:gd name="connsiteY874" fmla="*/ 618176 h 1041752"/>
                <a:gd name="connsiteX875" fmla="*/ 1048528 w 1522208"/>
                <a:gd name="connsiteY875" fmla="*/ 603709 h 1041752"/>
                <a:gd name="connsiteX876" fmla="*/ 1065377 w 1522208"/>
                <a:gd name="connsiteY876" fmla="*/ 598888 h 1041752"/>
                <a:gd name="connsiteX877" fmla="*/ 1073495 w 1522208"/>
                <a:gd name="connsiteY877" fmla="*/ 596444 h 1041752"/>
                <a:gd name="connsiteX878" fmla="*/ 1079362 w 1522208"/>
                <a:gd name="connsiteY878" fmla="*/ 589059 h 1041752"/>
                <a:gd name="connsiteX879" fmla="*/ 1089664 w 1522208"/>
                <a:gd name="connsiteY879" fmla="*/ 584050 h 1041752"/>
                <a:gd name="connsiteX880" fmla="*/ 1105056 w 1522208"/>
                <a:gd name="connsiteY880" fmla="*/ 576183 h 1041752"/>
                <a:gd name="connsiteX881" fmla="*/ 1136762 w 1522208"/>
                <a:gd name="connsiteY881" fmla="*/ 571458 h 1041752"/>
                <a:gd name="connsiteX882" fmla="*/ 1140320 w 1522208"/>
                <a:gd name="connsiteY882" fmla="*/ 543209 h 1041752"/>
                <a:gd name="connsiteX883" fmla="*/ 1129791 w 1522208"/>
                <a:gd name="connsiteY883" fmla="*/ 523415 h 1041752"/>
                <a:gd name="connsiteX884" fmla="*/ 1128301 w 1522208"/>
                <a:gd name="connsiteY884" fmla="*/ 511310 h 1041752"/>
                <a:gd name="connsiteX885" fmla="*/ 1117604 w 1522208"/>
                <a:gd name="connsiteY885" fmla="*/ 503506 h 1041752"/>
                <a:gd name="connsiteX886" fmla="*/ 1116935 w 1522208"/>
                <a:gd name="connsiteY886" fmla="*/ 495908 h 1041752"/>
                <a:gd name="connsiteX887" fmla="*/ 1122864 w 1522208"/>
                <a:gd name="connsiteY887" fmla="*/ 487915 h 1041752"/>
                <a:gd name="connsiteX888" fmla="*/ 1101817 w 1522208"/>
                <a:gd name="connsiteY888" fmla="*/ 457482 h 1041752"/>
                <a:gd name="connsiteX889" fmla="*/ 1100250 w 1522208"/>
                <a:gd name="connsiteY889" fmla="*/ 457593 h 1041752"/>
                <a:gd name="connsiteX890" fmla="*/ 1085884 w 1522208"/>
                <a:gd name="connsiteY890" fmla="*/ 459502 h 1041752"/>
                <a:gd name="connsiteX891" fmla="*/ 1070120 w 1522208"/>
                <a:gd name="connsiteY891" fmla="*/ 460635 h 1041752"/>
                <a:gd name="connsiteX892" fmla="*/ 1049637 w 1522208"/>
                <a:gd name="connsiteY892" fmla="*/ 462351 h 1041752"/>
                <a:gd name="connsiteX893" fmla="*/ 1034216 w 1522208"/>
                <a:gd name="connsiteY893" fmla="*/ 456248 h 1041752"/>
                <a:gd name="connsiteX894" fmla="*/ 1020385 w 1522208"/>
                <a:gd name="connsiteY894" fmla="*/ 452344 h 1041752"/>
                <a:gd name="connsiteX895" fmla="*/ 1007707 w 1522208"/>
                <a:gd name="connsiteY895" fmla="*/ 448641 h 1041752"/>
                <a:gd name="connsiteX896" fmla="*/ 995197 w 1522208"/>
                <a:gd name="connsiteY896" fmla="*/ 449167 h 1041752"/>
                <a:gd name="connsiteX897" fmla="*/ 981174 w 1522208"/>
                <a:gd name="connsiteY897" fmla="*/ 440894 h 1041752"/>
                <a:gd name="connsiteX898" fmla="*/ 978276 w 1522208"/>
                <a:gd name="connsiteY898" fmla="*/ 444370 h 1041752"/>
                <a:gd name="connsiteX899" fmla="*/ 976705 w 1522208"/>
                <a:gd name="connsiteY899" fmla="*/ 442104 h 1041752"/>
                <a:gd name="connsiteX900" fmla="*/ 969811 w 1522208"/>
                <a:gd name="connsiteY900" fmla="*/ 443362 h 1041752"/>
                <a:gd name="connsiteX901" fmla="*/ 963858 w 1522208"/>
                <a:gd name="connsiteY901" fmla="*/ 439202 h 1041752"/>
                <a:gd name="connsiteX902" fmla="*/ 960300 w 1522208"/>
                <a:gd name="connsiteY902" fmla="*/ 438551 h 1041752"/>
                <a:gd name="connsiteX903" fmla="*/ 954954 w 1522208"/>
                <a:gd name="connsiteY903" fmla="*/ 432627 h 1041752"/>
                <a:gd name="connsiteX904" fmla="*/ 948991 w 1522208"/>
                <a:gd name="connsiteY904" fmla="*/ 432068 h 1041752"/>
                <a:gd name="connsiteX905" fmla="*/ 943649 w 1522208"/>
                <a:gd name="connsiteY905" fmla="*/ 429088 h 1041752"/>
                <a:gd name="connsiteX906" fmla="*/ 941263 w 1522208"/>
                <a:gd name="connsiteY906" fmla="*/ 428491 h 1041752"/>
                <a:gd name="connsiteX907" fmla="*/ 935309 w 1522208"/>
                <a:gd name="connsiteY907" fmla="*/ 427276 h 1041752"/>
                <a:gd name="connsiteX908" fmla="*/ 930566 w 1522208"/>
                <a:gd name="connsiteY908" fmla="*/ 429088 h 1041752"/>
                <a:gd name="connsiteX909" fmla="*/ 926396 w 1522208"/>
                <a:gd name="connsiteY909" fmla="*/ 430279 h 1041752"/>
                <a:gd name="connsiteX910" fmla="*/ 922809 w 1522208"/>
                <a:gd name="connsiteY910" fmla="*/ 430867 h 1041752"/>
                <a:gd name="connsiteX911" fmla="*/ 921633 w 1522208"/>
                <a:gd name="connsiteY911" fmla="*/ 431460 h 1041752"/>
                <a:gd name="connsiteX912" fmla="*/ 919849 w 1522208"/>
                <a:gd name="connsiteY912" fmla="*/ 435013 h 1041752"/>
                <a:gd name="connsiteX913" fmla="*/ 922211 w 1522208"/>
                <a:gd name="connsiteY913" fmla="*/ 440996 h 1041752"/>
                <a:gd name="connsiteX914" fmla="*/ 916263 w 1522208"/>
                <a:gd name="connsiteY914" fmla="*/ 442750 h 1041752"/>
                <a:gd name="connsiteX915" fmla="*/ 915087 w 1522208"/>
                <a:gd name="connsiteY915" fmla="*/ 443362 h 1041752"/>
                <a:gd name="connsiteX916" fmla="*/ 909138 w 1522208"/>
                <a:gd name="connsiteY916" fmla="*/ 448685 h 1041752"/>
                <a:gd name="connsiteX917" fmla="*/ 913867 w 1522208"/>
                <a:gd name="connsiteY917" fmla="*/ 442750 h 1041752"/>
                <a:gd name="connsiteX918" fmla="*/ 913867 w 1522208"/>
                <a:gd name="connsiteY918" fmla="*/ 436189 h 1041752"/>
                <a:gd name="connsiteX919" fmla="*/ 907354 w 1522208"/>
                <a:gd name="connsiteY919" fmla="*/ 435013 h 1041752"/>
                <a:gd name="connsiteX920" fmla="*/ 901381 w 1522208"/>
                <a:gd name="connsiteY920" fmla="*/ 437978 h 1041752"/>
                <a:gd name="connsiteX921" fmla="*/ 895432 w 1522208"/>
                <a:gd name="connsiteY921" fmla="*/ 437409 h 1041752"/>
                <a:gd name="connsiteX922" fmla="*/ 888867 w 1522208"/>
                <a:gd name="connsiteY922" fmla="*/ 441000 h 1041752"/>
                <a:gd name="connsiteX923" fmla="*/ 888283 w 1522208"/>
                <a:gd name="connsiteY923" fmla="*/ 441550 h 1041752"/>
                <a:gd name="connsiteX924" fmla="*/ 851993 w 1522208"/>
                <a:gd name="connsiteY924" fmla="*/ 426119 h 1041752"/>
                <a:gd name="connsiteX925" fmla="*/ 845451 w 1522208"/>
                <a:gd name="connsiteY925" fmla="*/ 423101 h 1041752"/>
                <a:gd name="connsiteX926" fmla="*/ 839483 w 1522208"/>
                <a:gd name="connsiteY926" fmla="*/ 421322 h 1041752"/>
                <a:gd name="connsiteX927" fmla="*/ 833559 w 1522208"/>
                <a:gd name="connsiteY927" fmla="*/ 421322 h 1041752"/>
                <a:gd name="connsiteX928" fmla="*/ 827012 w 1522208"/>
                <a:gd name="connsiteY928" fmla="*/ 420720 h 1041752"/>
                <a:gd name="connsiteX929" fmla="*/ 821035 w 1522208"/>
                <a:gd name="connsiteY929" fmla="*/ 417186 h 1041752"/>
                <a:gd name="connsiteX930" fmla="*/ 815100 w 1522208"/>
                <a:gd name="connsiteY930" fmla="*/ 414790 h 1041752"/>
                <a:gd name="connsiteX931" fmla="*/ 811562 w 1522208"/>
                <a:gd name="connsiteY931" fmla="*/ 415359 h 1041752"/>
                <a:gd name="connsiteX932" fmla="*/ 809754 w 1522208"/>
                <a:gd name="connsiteY932" fmla="*/ 414790 h 1041752"/>
                <a:gd name="connsiteX933" fmla="*/ 808568 w 1522208"/>
                <a:gd name="connsiteY933" fmla="*/ 413021 h 1041752"/>
                <a:gd name="connsiteX934" fmla="*/ 802026 w 1522208"/>
                <a:gd name="connsiteY934" fmla="*/ 408865 h 1041752"/>
                <a:gd name="connsiteX935" fmla="*/ 796068 w 1522208"/>
                <a:gd name="connsiteY935" fmla="*/ 407014 h 1041752"/>
                <a:gd name="connsiteX936" fmla="*/ 789531 w 1522208"/>
                <a:gd name="connsiteY936" fmla="*/ 407675 h 1041752"/>
                <a:gd name="connsiteX937" fmla="*/ 783597 w 1522208"/>
                <a:gd name="connsiteY937" fmla="*/ 404667 h 1041752"/>
                <a:gd name="connsiteX938" fmla="*/ 777605 w 1522208"/>
                <a:gd name="connsiteY938" fmla="*/ 400521 h 1041752"/>
                <a:gd name="connsiteX939" fmla="*/ 771106 w 1522208"/>
                <a:gd name="connsiteY939" fmla="*/ 401692 h 1041752"/>
                <a:gd name="connsiteX940" fmla="*/ 765129 w 1522208"/>
                <a:gd name="connsiteY940" fmla="*/ 398144 h 1041752"/>
                <a:gd name="connsiteX941" fmla="*/ 758602 w 1522208"/>
                <a:gd name="connsiteY941" fmla="*/ 394558 h 1041752"/>
                <a:gd name="connsiteX942" fmla="*/ 752633 w 1522208"/>
                <a:gd name="connsiteY942" fmla="*/ 391564 h 1041752"/>
                <a:gd name="connsiteX943" fmla="*/ 750850 w 1522208"/>
                <a:gd name="connsiteY943" fmla="*/ 390402 h 1041752"/>
                <a:gd name="connsiteX944" fmla="*/ 749674 w 1522208"/>
                <a:gd name="connsiteY944" fmla="*/ 391005 h 1041752"/>
                <a:gd name="connsiteX945" fmla="*/ 746670 w 1522208"/>
                <a:gd name="connsiteY945" fmla="*/ 385032 h 1041752"/>
                <a:gd name="connsiteX946" fmla="*/ 744911 w 1522208"/>
                <a:gd name="connsiteY946" fmla="*/ 378481 h 1041752"/>
                <a:gd name="connsiteX947" fmla="*/ 741319 w 1522208"/>
                <a:gd name="connsiteY947" fmla="*/ 372522 h 1041752"/>
                <a:gd name="connsiteX948" fmla="*/ 740114 w 1522208"/>
                <a:gd name="connsiteY948" fmla="*/ 365976 h 1041752"/>
                <a:gd name="connsiteX949" fmla="*/ 734180 w 1522208"/>
                <a:gd name="connsiteY949" fmla="*/ 363045 h 1041752"/>
                <a:gd name="connsiteX950" fmla="*/ 730617 w 1522208"/>
                <a:gd name="connsiteY950" fmla="*/ 368984 h 1041752"/>
                <a:gd name="connsiteX951" fmla="*/ 724090 w 1522208"/>
                <a:gd name="connsiteY951" fmla="*/ 372522 h 1041752"/>
                <a:gd name="connsiteX952" fmla="*/ 718127 w 1522208"/>
                <a:gd name="connsiteY952" fmla="*/ 373130 h 1041752"/>
                <a:gd name="connsiteX953" fmla="*/ 712164 w 1522208"/>
                <a:gd name="connsiteY953" fmla="*/ 371355 h 1041752"/>
                <a:gd name="connsiteX954" fmla="*/ 705636 w 1522208"/>
                <a:gd name="connsiteY954" fmla="*/ 371958 h 1041752"/>
                <a:gd name="connsiteX955" fmla="*/ 703829 w 1522208"/>
                <a:gd name="connsiteY955" fmla="*/ 370748 h 1041752"/>
                <a:gd name="connsiteX956" fmla="*/ 697885 w 1522208"/>
                <a:gd name="connsiteY956" fmla="*/ 366617 h 1041752"/>
                <a:gd name="connsiteX957" fmla="*/ 691353 w 1522208"/>
                <a:gd name="connsiteY957" fmla="*/ 362418 h 1041752"/>
                <a:gd name="connsiteX958" fmla="*/ 685409 w 1522208"/>
                <a:gd name="connsiteY958" fmla="*/ 359439 h 1041752"/>
                <a:gd name="connsiteX959" fmla="*/ 678848 w 1522208"/>
                <a:gd name="connsiteY959" fmla="*/ 360644 h 1041752"/>
                <a:gd name="connsiteX960" fmla="*/ 672909 w 1522208"/>
                <a:gd name="connsiteY960" fmla="*/ 355279 h 1041752"/>
                <a:gd name="connsiteX961" fmla="*/ 667577 w 1522208"/>
                <a:gd name="connsiteY961" fmla="*/ 348713 h 1041752"/>
                <a:gd name="connsiteX962" fmla="*/ 666391 w 1522208"/>
                <a:gd name="connsiteY962" fmla="*/ 346958 h 1041752"/>
                <a:gd name="connsiteX963" fmla="*/ 672913 w 1522208"/>
                <a:gd name="connsiteY963" fmla="*/ 349913 h 1041752"/>
                <a:gd name="connsiteX964" fmla="*/ 678852 w 1522208"/>
                <a:gd name="connsiteY964" fmla="*/ 355279 h 1041752"/>
                <a:gd name="connsiteX965" fmla="*/ 684816 w 1522208"/>
                <a:gd name="connsiteY965" fmla="*/ 356484 h 1041752"/>
                <a:gd name="connsiteX966" fmla="*/ 691357 w 1522208"/>
                <a:gd name="connsiteY966" fmla="*/ 357660 h 1041752"/>
                <a:gd name="connsiteX967" fmla="*/ 697306 w 1522208"/>
                <a:gd name="connsiteY967" fmla="*/ 361844 h 1041752"/>
                <a:gd name="connsiteX968" fmla="*/ 703250 w 1522208"/>
                <a:gd name="connsiteY968" fmla="*/ 365976 h 1041752"/>
                <a:gd name="connsiteX969" fmla="*/ 709228 w 1522208"/>
                <a:gd name="connsiteY969" fmla="*/ 368984 h 1041752"/>
                <a:gd name="connsiteX970" fmla="*/ 715177 w 1522208"/>
                <a:gd name="connsiteY970" fmla="*/ 369553 h 1041752"/>
                <a:gd name="connsiteX971" fmla="*/ 727050 w 1522208"/>
                <a:gd name="connsiteY971" fmla="*/ 361247 h 1041752"/>
                <a:gd name="connsiteX972" fmla="*/ 733606 w 1522208"/>
                <a:gd name="connsiteY972" fmla="*/ 358263 h 1041752"/>
                <a:gd name="connsiteX973" fmla="*/ 739564 w 1522208"/>
                <a:gd name="connsiteY973" fmla="*/ 358860 h 1041752"/>
                <a:gd name="connsiteX974" fmla="*/ 741324 w 1522208"/>
                <a:gd name="connsiteY974" fmla="*/ 359444 h 1041752"/>
                <a:gd name="connsiteX975" fmla="*/ 743103 w 1522208"/>
                <a:gd name="connsiteY975" fmla="*/ 358860 h 1041752"/>
                <a:gd name="connsiteX976" fmla="*/ 746092 w 1522208"/>
                <a:gd name="connsiteY976" fmla="*/ 357660 h 1041752"/>
                <a:gd name="connsiteX977" fmla="*/ 752016 w 1522208"/>
                <a:gd name="connsiteY977" fmla="*/ 363045 h 1041752"/>
                <a:gd name="connsiteX978" fmla="*/ 753819 w 1522208"/>
                <a:gd name="connsiteY978" fmla="*/ 368984 h 1041752"/>
                <a:gd name="connsiteX979" fmla="*/ 755005 w 1522208"/>
                <a:gd name="connsiteY979" fmla="*/ 370748 h 1041752"/>
                <a:gd name="connsiteX980" fmla="*/ 756813 w 1522208"/>
                <a:gd name="connsiteY980" fmla="*/ 376726 h 1041752"/>
                <a:gd name="connsiteX981" fmla="*/ 754432 w 1522208"/>
                <a:gd name="connsiteY981" fmla="*/ 382679 h 1041752"/>
                <a:gd name="connsiteX982" fmla="*/ 754432 w 1522208"/>
                <a:gd name="connsiteY982" fmla="*/ 384454 h 1041752"/>
                <a:gd name="connsiteX983" fmla="*/ 752016 w 1522208"/>
                <a:gd name="connsiteY983" fmla="*/ 389221 h 1041752"/>
                <a:gd name="connsiteX984" fmla="*/ 754432 w 1522208"/>
                <a:gd name="connsiteY984" fmla="*/ 391564 h 1041752"/>
                <a:gd name="connsiteX985" fmla="*/ 760356 w 1522208"/>
                <a:gd name="connsiteY985" fmla="*/ 393917 h 1041752"/>
                <a:gd name="connsiteX986" fmla="*/ 766344 w 1522208"/>
                <a:gd name="connsiteY986" fmla="*/ 398139 h 1041752"/>
                <a:gd name="connsiteX987" fmla="*/ 772856 w 1522208"/>
                <a:gd name="connsiteY987" fmla="*/ 399321 h 1041752"/>
                <a:gd name="connsiteX988" fmla="*/ 778853 w 1522208"/>
                <a:gd name="connsiteY988" fmla="*/ 398139 h 1041752"/>
                <a:gd name="connsiteX989" fmla="*/ 784768 w 1522208"/>
                <a:gd name="connsiteY989" fmla="*/ 401688 h 1041752"/>
                <a:gd name="connsiteX990" fmla="*/ 790731 w 1522208"/>
                <a:gd name="connsiteY990" fmla="*/ 405877 h 1041752"/>
                <a:gd name="connsiteX991" fmla="*/ 797288 w 1522208"/>
                <a:gd name="connsiteY991" fmla="*/ 402888 h 1041752"/>
                <a:gd name="connsiteX992" fmla="*/ 799067 w 1522208"/>
                <a:gd name="connsiteY992" fmla="*/ 396944 h 1041752"/>
                <a:gd name="connsiteX993" fmla="*/ 805006 w 1522208"/>
                <a:gd name="connsiteY993" fmla="*/ 398737 h 1041752"/>
                <a:gd name="connsiteX994" fmla="*/ 811571 w 1522208"/>
                <a:gd name="connsiteY994" fmla="*/ 404083 h 1041752"/>
                <a:gd name="connsiteX995" fmla="*/ 817525 w 1522208"/>
                <a:gd name="connsiteY995" fmla="*/ 404083 h 1041752"/>
                <a:gd name="connsiteX996" fmla="*/ 824057 w 1522208"/>
                <a:gd name="connsiteY996" fmla="*/ 401688 h 1041752"/>
                <a:gd name="connsiteX997" fmla="*/ 830011 w 1522208"/>
                <a:gd name="connsiteY997" fmla="*/ 401104 h 1041752"/>
                <a:gd name="connsiteX998" fmla="*/ 867487 w 1522208"/>
                <a:gd name="connsiteY998" fmla="*/ 410649 h 1041752"/>
                <a:gd name="connsiteX999" fmla="*/ 869256 w 1522208"/>
                <a:gd name="connsiteY999" fmla="*/ 404662 h 1041752"/>
                <a:gd name="connsiteX1000" fmla="*/ 863312 w 1522208"/>
                <a:gd name="connsiteY1000" fmla="*/ 400516 h 1041752"/>
                <a:gd name="connsiteX1001" fmla="*/ 857354 w 1522208"/>
                <a:gd name="connsiteY1001" fmla="*/ 394558 h 1041752"/>
                <a:gd name="connsiteX1002" fmla="*/ 857354 w 1522208"/>
                <a:gd name="connsiteY1002" fmla="*/ 389226 h 1041752"/>
                <a:gd name="connsiteX1003" fmla="*/ 857990 w 1522208"/>
                <a:gd name="connsiteY1003" fmla="*/ 383239 h 1041752"/>
                <a:gd name="connsiteX1004" fmla="*/ 864522 w 1522208"/>
                <a:gd name="connsiteY1004" fmla="*/ 384454 h 1041752"/>
                <a:gd name="connsiteX1005" fmla="*/ 865086 w 1522208"/>
                <a:gd name="connsiteY1005" fmla="*/ 385596 h 1041752"/>
                <a:gd name="connsiteX1006" fmla="*/ 863881 w 1522208"/>
                <a:gd name="connsiteY1006" fmla="*/ 391569 h 1041752"/>
                <a:gd name="connsiteX1007" fmla="*/ 866846 w 1522208"/>
                <a:gd name="connsiteY1007" fmla="*/ 392784 h 1041752"/>
                <a:gd name="connsiteX1008" fmla="*/ 873392 w 1522208"/>
                <a:gd name="connsiteY1008" fmla="*/ 393917 h 1041752"/>
                <a:gd name="connsiteX1009" fmla="*/ 879346 w 1522208"/>
                <a:gd name="connsiteY1009" fmla="*/ 399913 h 1041752"/>
                <a:gd name="connsiteX1010" fmla="*/ 885883 w 1522208"/>
                <a:gd name="connsiteY1010" fmla="*/ 402305 h 1041752"/>
                <a:gd name="connsiteX1011" fmla="*/ 891865 w 1522208"/>
                <a:gd name="connsiteY1011" fmla="*/ 406489 h 1041752"/>
                <a:gd name="connsiteX1012" fmla="*/ 922795 w 1522208"/>
                <a:gd name="connsiteY1012" fmla="*/ 428500 h 1041752"/>
                <a:gd name="connsiteX1013" fmla="*/ 925740 w 1522208"/>
                <a:gd name="connsiteY1013" fmla="*/ 428500 h 1041752"/>
                <a:gd name="connsiteX1014" fmla="*/ 928763 w 1522208"/>
                <a:gd name="connsiteY1014" fmla="*/ 427898 h 1041752"/>
                <a:gd name="connsiteX1015" fmla="*/ 934692 w 1522208"/>
                <a:gd name="connsiteY1015" fmla="*/ 425540 h 1041752"/>
                <a:gd name="connsiteX1016" fmla="*/ 941249 w 1522208"/>
                <a:gd name="connsiteY1016" fmla="*/ 426119 h 1041752"/>
                <a:gd name="connsiteX1017" fmla="*/ 943635 w 1522208"/>
                <a:gd name="connsiteY1017" fmla="*/ 427281 h 1041752"/>
                <a:gd name="connsiteX1018" fmla="*/ 946021 w 1522208"/>
                <a:gd name="connsiteY1018" fmla="*/ 427898 h 1041752"/>
                <a:gd name="connsiteX1019" fmla="*/ 951950 w 1522208"/>
                <a:gd name="connsiteY1019" fmla="*/ 427281 h 1041752"/>
                <a:gd name="connsiteX1020" fmla="*/ 958497 w 1522208"/>
                <a:gd name="connsiteY1020" fmla="*/ 427898 h 1041752"/>
                <a:gd name="connsiteX1021" fmla="*/ 964422 w 1522208"/>
                <a:gd name="connsiteY1021" fmla="*/ 429098 h 1041752"/>
                <a:gd name="connsiteX1022" fmla="*/ 971002 w 1522208"/>
                <a:gd name="connsiteY1022" fmla="*/ 437414 h 1041752"/>
                <a:gd name="connsiteX1023" fmla="*/ 985078 w 1522208"/>
                <a:gd name="connsiteY1023" fmla="*/ 433538 h 1041752"/>
                <a:gd name="connsiteX1024" fmla="*/ 986920 w 1522208"/>
                <a:gd name="connsiteY1024" fmla="*/ 433986 h 1041752"/>
                <a:gd name="connsiteX1025" fmla="*/ 986722 w 1522208"/>
                <a:gd name="connsiteY1025" fmla="*/ 434227 h 1041752"/>
                <a:gd name="connsiteX1026" fmla="*/ 999859 w 1522208"/>
                <a:gd name="connsiteY1026" fmla="*/ 428524 h 1041752"/>
                <a:gd name="connsiteX1027" fmla="*/ 1003007 w 1522208"/>
                <a:gd name="connsiteY1027" fmla="*/ 438291 h 1041752"/>
                <a:gd name="connsiteX1028" fmla="*/ 1017242 w 1522208"/>
                <a:gd name="connsiteY1028" fmla="*/ 440653 h 1041752"/>
                <a:gd name="connsiteX1029" fmla="*/ 1044412 w 1522208"/>
                <a:gd name="connsiteY1029" fmla="*/ 452623 h 1041752"/>
                <a:gd name="connsiteX1030" fmla="*/ 1055832 w 1522208"/>
                <a:gd name="connsiteY1030" fmla="*/ 454841 h 1041752"/>
                <a:gd name="connsiteX1031" fmla="*/ 1075587 w 1522208"/>
                <a:gd name="connsiteY1031" fmla="*/ 458856 h 1041752"/>
                <a:gd name="connsiteX1032" fmla="*/ 1094282 w 1522208"/>
                <a:gd name="connsiteY1032" fmla="*/ 452551 h 1041752"/>
                <a:gd name="connsiteX1033" fmla="*/ 1105230 w 1522208"/>
                <a:gd name="connsiteY1033" fmla="*/ 446009 h 1041752"/>
                <a:gd name="connsiteX1034" fmla="*/ 1104622 w 1522208"/>
                <a:gd name="connsiteY1034" fmla="*/ 455477 h 1041752"/>
                <a:gd name="connsiteX1035" fmla="*/ 1126378 w 1522208"/>
                <a:gd name="connsiteY1035" fmla="*/ 487139 h 1041752"/>
                <a:gd name="connsiteX1036" fmla="*/ 1118217 w 1522208"/>
                <a:gd name="connsiteY1036" fmla="*/ 498483 h 1041752"/>
                <a:gd name="connsiteX1037" fmla="*/ 1128837 w 1522208"/>
                <a:gd name="connsiteY1037" fmla="*/ 506022 h 1041752"/>
                <a:gd name="connsiteX1038" fmla="*/ 1131300 w 1522208"/>
                <a:gd name="connsiteY1038" fmla="*/ 514169 h 1041752"/>
                <a:gd name="connsiteX1039" fmla="*/ 1133706 w 1522208"/>
                <a:gd name="connsiteY1039" fmla="*/ 528501 h 1041752"/>
                <a:gd name="connsiteX1040" fmla="*/ 1134834 w 1522208"/>
                <a:gd name="connsiteY1040" fmla="*/ 529504 h 1041752"/>
                <a:gd name="connsiteX1041" fmla="*/ 1149798 w 1522208"/>
                <a:gd name="connsiteY1041" fmla="*/ 544380 h 1041752"/>
                <a:gd name="connsiteX1042" fmla="*/ 1168087 w 1522208"/>
                <a:gd name="connsiteY1042" fmla="*/ 567414 h 1041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Lst>
              <a:rect l="l" t="t" r="r" b="b"/>
              <a:pathLst>
                <a:path w="1522208" h="1041752">
                  <a:moveTo>
                    <a:pt x="1515848" y="353553"/>
                  </a:moveTo>
                  <a:cubicBezTo>
                    <a:pt x="1511268" y="351716"/>
                    <a:pt x="1512170" y="344952"/>
                    <a:pt x="1516509" y="342311"/>
                  </a:cubicBezTo>
                  <a:cubicBezTo>
                    <a:pt x="1508395" y="325135"/>
                    <a:pt x="1516769" y="319104"/>
                    <a:pt x="1517699" y="313194"/>
                  </a:cubicBezTo>
                  <a:cubicBezTo>
                    <a:pt x="1518605" y="307230"/>
                    <a:pt x="1510391" y="312153"/>
                    <a:pt x="1507672" y="312958"/>
                  </a:cubicBezTo>
                  <a:cubicBezTo>
                    <a:pt x="1504953" y="313777"/>
                    <a:pt x="1501111" y="315228"/>
                    <a:pt x="1503681" y="309593"/>
                  </a:cubicBezTo>
                  <a:cubicBezTo>
                    <a:pt x="1506313" y="303972"/>
                    <a:pt x="1498517" y="294215"/>
                    <a:pt x="1491725" y="293019"/>
                  </a:cubicBezTo>
                  <a:cubicBezTo>
                    <a:pt x="1489778" y="277733"/>
                    <a:pt x="1481158" y="282997"/>
                    <a:pt x="1477037" y="284525"/>
                  </a:cubicBezTo>
                  <a:cubicBezTo>
                    <a:pt x="1472896" y="286044"/>
                    <a:pt x="1471796" y="283151"/>
                    <a:pt x="1470052" y="278297"/>
                  </a:cubicBezTo>
                  <a:cubicBezTo>
                    <a:pt x="1472563" y="269721"/>
                    <a:pt x="1467617" y="269335"/>
                    <a:pt x="1467463" y="260773"/>
                  </a:cubicBezTo>
                  <a:cubicBezTo>
                    <a:pt x="1467318" y="252217"/>
                    <a:pt x="1473190" y="248553"/>
                    <a:pt x="1480512" y="252255"/>
                  </a:cubicBezTo>
                  <a:cubicBezTo>
                    <a:pt x="1487801" y="255982"/>
                    <a:pt x="1492405" y="243573"/>
                    <a:pt x="1489464" y="235585"/>
                  </a:cubicBezTo>
                  <a:cubicBezTo>
                    <a:pt x="1486524" y="227578"/>
                    <a:pt x="1481018" y="238907"/>
                    <a:pt x="1474694" y="241086"/>
                  </a:cubicBezTo>
                  <a:cubicBezTo>
                    <a:pt x="1461061" y="245771"/>
                    <a:pt x="1451294" y="235792"/>
                    <a:pt x="1450050" y="231589"/>
                  </a:cubicBezTo>
                  <a:cubicBezTo>
                    <a:pt x="1448787" y="227404"/>
                    <a:pt x="1459938" y="221610"/>
                    <a:pt x="1468335" y="217185"/>
                  </a:cubicBezTo>
                  <a:cubicBezTo>
                    <a:pt x="1464618" y="205918"/>
                    <a:pt x="1475123" y="190647"/>
                    <a:pt x="1472563" y="182259"/>
                  </a:cubicBezTo>
                  <a:cubicBezTo>
                    <a:pt x="1470061" y="173885"/>
                    <a:pt x="1459171" y="167218"/>
                    <a:pt x="1455792" y="165825"/>
                  </a:cubicBezTo>
                  <a:cubicBezTo>
                    <a:pt x="1452398" y="164412"/>
                    <a:pt x="1450523" y="159032"/>
                    <a:pt x="1455054" y="152582"/>
                  </a:cubicBezTo>
                  <a:cubicBezTo>
                    <a:pt x="1461427" y="142560"/>
                    <a:pt x="1450527" y="145592"/>
                    <a:pt x="1442443" y="148316"/>
                  </a:cubicBezTo>
                  <a:cubicBezTo>
                    <a:pt x="1439893" y="161197"/>
                    <a:pt x="1428714" y="164287"/>
                    <a:pt x="1426848" y="162687"/>
                  </a:cubicBezTo>
                  <a:cubicBezTo>
                    <a:pt x="1425036" y="161096"/>
                    <a:pt x="1421632" y="160507"/>
                    <a:pt x="1417935" y="161626"/>
                  </a:cubicBezTo>
                  <a:cubicBezTo>
                    <a:pt x="1414252" y="162734"/>
                    <a:pt x="1409045" y="158892"/>
                    <a:pt x="1406100" y="152789"/>
                  </a:cubicBezTo>
                  <a:cubicBezTo>
                    <a:pt x="1402094" y="144845"/>
                    <a:pt x="1389078" y="150654"/>
                    <a:pt x="1388504" y="152428"/>
                  </a:cubicBezTo>
                  <a:cubicBezTo>
                    <a:pt x="1380791" y="166070"/>
                    <a:pt x="1368956" y="149994"/>
                    <a:pt x="1366127" y="146007"/>
                  </a:cubicBezTo>
                  <a:cubicBezTo>
                    <a:pt x="1363335" y="142010"/>
                    <a:pt x="1361586" y="142526"/>
                    <a:pt x="1359758" y="149815"/>
                  </a:cubicBezTo>
                  <a:cubicBezTo>
                    <a:pt x="1357927" y="157070"/>
                    <a:pt x="1348661" y="163911"/>
                    <a:pt x="1344959" y="159654"/>
                  </a:cubicBezTo>
                  <a:cubicBezTo>
                    <a:pt x="1341266" y="155373"/>
                    <a:pt x="1337920" y="155865"/>
                    <a:pt x="1332623" y="157991"/>
                  </a:cubicBezTo>
                  <a:cubicBezTo>
                    <a:pt x="1327349" y="160112"/>
                    <a:pt x="1324037" y="156260"/>
                    <a:pt x="1317056" y="151898"/>
                  </a:cubicBezTo>
                  <a:cubicBezTo>
                    <a:pt x="1306798" y="157981"/>
                    <a:pt x="1292885" y="159996"/>
                    <a:pt x="1292885" y="159996"/>
                  </a:cubicBezTo>
                  <a:lnTo>
                    <a:pt x="1291859" y="155735"/>
                  </a:lnTo>
                  <a:cubicBezTo>
                    <a:pt x="1289463" y="149497"/>
                    <a:pt x="1284391" y="151527"/>
                    <a:pt x="1278708" y="154048"/>
                  </a:cubicBezTo>
                  <a:cubicBezTo>
                    <a:pt x="1272986" y="156593"/>
                    <a:pt x="1276514" y="158493"/>
                    <a:pt x="1278669" y="162956"/>
                  </a:cubicBezTo>
                  <a:cubicBezTo>
                    <a:pt x="1280853" y="167411"/>
                    <a:pt x="1281263" y="172395"/>
                    <a:pt x="1277628" y="173740"/>
                  </a:cubicBezTo>
                  <a:cubicBezTo>
                    <a:pt x="1274013" y="175109"/>
                    <a:pt x="1272571" y="176633"/>
                    <a:pt x="1270252" y="180547"/>
                  </a:cubicBezTo>
                  <a:cubicBezTo>
                    <a:pt x="1259916" y="168592"/>
                    <a:pt x="1246800" y="165280"/>
                    <a:pt x="1239183" y="170264"/>
                  </a:cubicBezTo>
                  <a:cubicBezTo>
                    <a:pt x="1236951" y="165574"/>
                    <a:pt x="1230761" y="160180"/>
                    <a:pt x="1224875" y="157654"/>
                  </a:cubicBezTo>
                  <a:cubicBezTo>
                    <a:pt x="1221886" y="155851"/>
                    <a:pt x="1220228" y="152042"/>
                    <a:pt x="1218521" y="143683"/>
                  </a:cubicBezTo>
                  <a:cubicBezTo>
                    <a:pt x="1206561" y="147800"/>
                    <a:pt x="1203273" y="143158"/>
                    <a:pt x="1201287" y="136476"/>
                  </a:cubicBezTo>
                  <a:cubicBezTo>
                    <a:pt x="1199282" y="129824"/>
                    <a:pt x="1187741" y="139754"/>
                    <a:pt x="1185890" y="145192"/>
                  </a:cubicBezTo>
                  <a:cubicBezTo>
                    <a:pt x="1184000" y="150572"/>
                    <a:pt x="1175559" y="158222"/>
                    <a:pt x="1165691" y="161207"/>
                  </a:cubicBezTo>
                  <a:cubicBezTo>
                    <a:pt x="1146244" y="167343"/>
                    <a:pt x="1147604" y="186829"/>
                    <a:pt x="1144702" y="188000"/>
                  </a:cubicBezTo>
                  <a:cubicBezTo>
                    <a:pt x="1141819" y="189142"/>
                    <a:pt x="1138237" y="190733"/>
                    <a:pt x="1137601" y="187711"/>
                  </a:cubicBezTo>
                  <a:cubicBezTo>
                    <a:pt x="1136960" y="184664"/>
                    <a:pt x="1132886" y="181853"/>
                    <a:pt x="1128432" y="180513"/>
                  </a:cubicBezTo>
                  <a:cubicBezTo>
                    <a:pt x="1123997" y="179149"/>
                    <a:pt x="1121105" y="182181"/>
                    <a:pt x="1119210" y="186515"/>
                  </a:cubicBezTo>
                  <a:cubicBezTo>
                    <a:pt x="1117287" y="190868"/>
                    <a:pt x="1112292" y="192102"/>
                    <a:pt x="1108156" y="186351"/>
                  </a:cubicBezTo>
                  <a:cubicBezTo>
                    <a:pt x="1100182" y="170732"/>
                    <a:pt x="1087659" y="179077"/>
                    <a:pt x="1079931" y="181150"/>
                  </a:cubicBezTo>
                  <a:cubicBezTo>
                    <a:pt x="1066307" y="184973"/>
                    <a:pt x="1066799" y="198282"/>
                    <a:pt x="1062750" y="200032"/>
                  </a:cubicBezTo>
                  <a:cubicBezTo>
                    <a:pt x="1058715" y="201802"/>
                    <a:pt x="1054015" y="200534"/>
                    <a:pt x="1052901" y="196822"/>
                  </a:cubicBezTo>
                  <a:cubicBezTo>
                    <a:pt x="1051797" y="193115"/>
                    <a:pt x="1050061" y="187441"/>
                    <a:pt x="1046533" y="189046"/>
                  </a:cubicBezTo>
                  <a:cubicBezTo>
                    <a:pt x="1037827" y="191418"/>
                    <a:pt x="1024989" y="172945"/>
                    <a:pt x="1028344" y="169773"/>
                  </a:cubicBezTo>
                  <a:cubicBezTo>
                    <a:pt x="1031675" y="166601"/>
                    <a:pt x="1029337" y="163274"/>
                    <a:pt x="1028152" y="157461"/>
                  </a:cubicBezTo>
                  <a:cubicBezTo>
                    <a:pt x="1026917" y="151637"/>
                    <a:pt x="1017999" y="147058"/>
                    <a:pt x="1015912" y="143669"/>
                  </a:cubicBezTo>
                  <a:cubicBezTo>
                    <a:pt x="1013805" y="140275"/>
                    <a:pt x="1014548" y="136534"/>
                    <a:pt x="1009809" y="136876"/>
                  </a:cubicBezTo>
                  <a:cubicBezTo>
                    <a:pt x="1005089" y="137223"/>
                    <a:pt x="1003831" y="129525"/>
                    <a:pt x="1007297" y="125808"/>
                  </a:cubicBezTo>
                  <a:cubicBezTo>
                    <a:pt x="1010744" y="122062"/>
                    <a:pt x="999738" y="121339"/>
                    <a:pt x="994411" y="125099"/>
                  </a:cubicBezTo>
                  <a:cubicBezTo>
                    <a:pt x="989089" y="128879"/>
                    <a:pt x="986124" y="124367"/>
                    <a:pt x="984471" y="117073"/>
                  </a:cubicBezTo>
                  <a:cubicBezTo>
                    <a:pt x="983116" y="111085"/>
                    <a:pt x="979385" y="108762"/>
                    <a:pt x="976618" y="108550"/>
                  </a:cubicBezTo>
                  <a:cubicBezTo>
                    <a:pt x="973914" y="108656"/>
                    <a:pt x="971542" y="109914"/>
                    <a:pt x="971542" y="109914"/>
                  </a:cubicBezTo>
                  <a:cubicBezTo>
                    <a:pt x="968857" y="110729"/>
                    <a:pt x="965767" y="112956"/>
                    <a:pt x="963858" y="116798"/>
                  </a:cubicBezTo>
                  <a:cubicBezTo>
                    <a:pt x="960772" y="123017"/>
                    <a:pt x="949791" y="124820"/>
                    <a:pt x="949791" y="124820"/>
                  </a:cubicBezTo>
                  <a:lnTo>
                    <a:pt x="944266" y="118230"/>
                  </a:lnTo>
                  <a:lnTo>
                    <a:pt x="937522" y="121079"/>
                  </a:lnTo>
                  <a:lnTo>
                    <a:pt x="931863" y="120573"/>
                  </a:lnTo>
                  <a:lnTo>
                    <a:pt x="927948" y="122111"/>
                  </a:lnTo>
                  <a:lnTo>
                    <a:pt x="921893" y="121850"/>
                  </a:lnTo>
                  <a:lnTo>
                    <a:pt x="916971" y="128435"/>
                  </a:lnTo>
                  <a:lnTo>
                    <a:pt x="908998" y="127813"/>
                  </a:lnTo>
                  <a:cubicBezTo>
                    <a:pt x="908998" y="127813"/>
                    <a:pt x="908998" y="125861"/>
                    <a:pt x="911051" y="124690"/>
                  </a:cubicBezTo>
                  <a:cubicBezTo>
                    <a:pt x="913101" y="123542"/>
                    <a:pt x="911929" y="117984"/>
                    <a:pt x="911929" y="115154"/>
                  </a:cubicBezTo>
                  <a:cubicBezTo>
                    <a:pt x="911929" y="112291"/>
                    <a:pt x="909494" y="111245"/>
                    <a:pt x="907961" y="112045"/>
                  </a:cubicBezTo>
                  <a:cubicBezTo>
                    <a:pt x="903686" y="114378"/>
                    <a:pt x="901646" y="100046"/>
                    <a:pt x="900335" y="95119"/>
                  </a:cubicBezTo>
                  <a:cubicBezTo>
                    <a:pt x="899039" y="90221"/>
                    <a:pt x="891552" y="87768"/>
                    <a:pt x="890009" y="84282"/>
                  </a:cubicBezTo>
                  <a:cubicBezTo>
                    <a:pt x="888471" y="80802"/>
                    <a:pt x="882494" y="83121"/>
                    <a:pt x="883805" y="78088"/>
                  </a:cubicBezTo>
                  <a:cubicBezTo>
                    <a:pt x="885102" y="73065"/>
                    <a:pt x="897100" y="66562"/>
                    <a:pt x="902799" y="63876"/>
                  </a:cubicBezTo>
                  <a:cubicBezTo>
                    <a:pt x="908444" y="61148"/>
                    <a:pt x="895948" y="49279"/>
                    <a:pt x="895948" y="49279"/>
                  </a:cubicBezTo>
                  <a:cubicBezTo>
                    <a:pt x="895948" y="49279"/>
                    <a:pt x="887806" y="45548"/>
                    <a:pt x="884846" y="45408"/>
                  </a:cubicBezTo>
                  <a:cubicBezTo>
                    <a:pt x="881843" y="45269"/>
                    <a:pt x="878666" y="44135"/>
                    <a:pt x="877220" y="41667"/>
                  </a:cubicBezTo>
                  <a:cubicBezTo>
                    <a:pt x="875769" y="39185"/>
                    <a:pt x="872823" y="40125"/>
                    <a:pt x="871021" y="41523"/>
                  </a:cubicBezTo>
                  <a:cubicBezTo>
                    <a:pt x="869189" y="42940"/>
                    <a:pt x="867530" y="40616"/>
                    <a:pt x="867530" y="37382"/>
                  </a:cubicBezTo>
                  <a:cubicBezTo>
                    <a:pt x="867530" y="34162"/>
                    <a:pt x="863775" y="30305"/>
                    <a:pt x="862261" y="29268"/>
                  </a:cubicBezTo>
                  <a:cubicBezTo>
                    <a:pt x="860666" y="28217"/>
                    <a:pt x="857976" y="16479"/>
                    <a:pt x="857976" y="16479"/>
                  </a:cubicBezTo>
                  <a:lnTo>
                    <a:pt x="852952" y="12338"/>
                  </a:lnTo>
                  <a:lnTo>
                    <a:pt x="844415" y="9773"/>
                  </a:lnTo>
                  <a:lnTo>
                    <a:pt x="838592" y="4601"/>
                  </a:lnTo>
                  <a:cubicBezTo>
                    <a:pt x="838592" y="4601"/>
                    <a:pt x="834682" y="2518"/>
                    <a:pt x="828888" y="334"/>
                  </a:cubicBezTo>
                  <a:cubicBezTo>
                    <a:pt x="823083" y="-1849"/>
                    <a:pt x="814059" y="7064"/>
                    <a:pt x="810964" y="15322"/>
                  </a:cubicBezTo>
                  <a:cubicBezTo>
                    <a:pt x="808631" y="10540"/>
                    <a:pt x="804480" y="7686"/>
                    <a:pt x="802181" y="9248"/>
                  </a:cubicBezTo>
                  <a:cubicBezTo>
                    <a:pt x="794434" y="13746"/>
                    <a:pt x="782416" y="13365"/>
                    <a:pt x="782416" y="13365"/>
                  </a:cubicBezTo>
                  <a:lnTo>
                    <a:pt x="779326" y="19584"/>
                  </a:lnTo>
                  <a:lnTo>
                    <a:pt x="772586" y="25253"/>
                  </a:lnTo>
                  <a:lnTo>
                    <a:pt x="769622" y="31963"/>
                  </a:lnTo>
                  <a:lnTo>
                    <a:pt x="763702" y="37146"/>
                  </a:lnTo>
                  <a:lnTo>
                    <a:pt x="757753" y="37382"/>
                  </a:lnTo>
                  <a:cubicBezTo>
                    <a:pt x="757753" y="37382"/>
                    <a:pt x="755540" y="37382"/>
                    <a:pt x="751173" y="39604"/>
                  </a:cubicBezTo>
                  <a:cubicBezTo>
                    <a:pt x="746752" y="41778"/>
                    <a:pt x="737333" y="38298"/>
                    <a:pt x="735134" y="37382"/>
                  </a:cubicBezTo>
                  <a:cubicBezTo>
                    <a:pt x="732984" y="36485"/>
                    <a:pt x="720417" y="38953"/>
                    <a:pt x="720417" y="38953"/>
                  </a:cubicBezTo>
                  <a:lnTo>
                    <a:pt x="719915" y="46175"/>
                  </a:lnTo>
                  <a:lnTo>
                    <a:pt x="723275" y="51998"/>
                  </a:lnTo>
                  <a:lnTo>
                    <a:pt x="721545" y="55990"/>
                  </a:lnTo>
                  <a:cubicBezTo>
                    <a:pt x="721545" y="55990"/>
                    <a:pt x="722625" y="59600"/>
                    <a:pt x="723131" y="62965"/>
                  </a:cubicBezTo>
                  <a:cubicBezTo>
                    <a:pt x="723801" y="70596"/>
                    <a:pt x="717847" y="76671"/>
                    <a:pt x="715119" y="79625"/>
                  </a:cubicBezTo>
                  <a:cubicBezTo>
                    <a:pt x="712419" y="82600"/>
                    <a:pt x="704537" y="84157"/>
                    <a:pt x="704537" y="84157"/>
                  </a:cubicBezTo>
                  <a:cubicBezTo>
                    <a:pt x="699514" y="84678"/>
                    <a:pt x="695359" y="88149"/>
                    <a:pt x="695359" y="88149"/>
                  </a:cubicBezTo>
                  <a:lnTo>
                    <a:pt x="688658" y="81838"/>
                  </a:lnTo>
                  <a:lnTo>
                    <a:pt x="682984" y="83501"/>
                  </a:lnTo>
                  <a:lnTo>
                    <a:pt x="682685" y="83617"/>
                  </a:lnTo>
                  <a:cubicBezTo>
                    <a:pt x="683061" y="85001"/>
                    <a:pt x="683297" y="86370"/>
                    <a:pt x="683341" y="87633"/>
                  </a:cubicBezTo>
                  <a:cubicBezTo>
                    <a:pt x="683297" y="86375"/>
                    <a:pt x="683061" y="85006"/>
                    <a:pt x="682685" y="83617"/>
                  </a:cubicBezTo>
                  <a:lnTo>
                    <a:pt x="675107" y="87006"/>
                  </a:lnTo>
                  <a:lnTo>
                    <a:pt x="655737" y="90221"/>
                  </a:lnTo>
                  <a:lnTo>
                    <a:pt x="646250" y="95895"/>
                  </a:lnTo>
                  <a:cubicBezTo>
                    <a:pt x="646250" y="95895"/>
                    <a:pt x="645387" y="98210"/>
                    <a:pt x="645387" y="101198"/>
                  </a:cubicBezTo>
                  <a:cubicBezTo>
                    <a:pt x="645387" y="104187"/>
                    <a:pt x="636840" y="104182"/>
                    <a:pt x="632357" y="101960"/>
                  </a:cubicBezTo>
                  <a:cubicBezTo>
                    <a:pt x="631055" y="103141"/>
                    <a:pt x="620459" y="106130"/>
                    <a:pt x="618647" y="107417"/>
                  </a:cubicBezTo>
                  <a:cubicBezTo>
                    <a:pt x="622002" y="123402"/>
                    <a:pt x="612173" y="127023"/>
                    <a:pt x="612173" y="127023"/>
                  </a:cubicBezTo>
                  <a:lnTo>
                    <a:pt x="611821" y="129872"/>
                  </a:lnTo>
                  <a:lnTo>
                    <a:pt x="609492" y="135551"/>
                  </a:lnTo>
                  <a:lnTo>
                    <a:pt x="606253" y="147169"/>
                  </a:lnTo>
                  <a:lnTo>
                    <a:pt x="606513" y="160083"/>
                  </a:lnTo>
                  <a:lnTo>
                    <a:pt x="603799" y="165637"/>
                  </a:lnTo>
                  <a:lnTo>
                    <a:pt x="604551" y="172231"/>
                  </a:lnTo>
                  <a:lnTo>
                    <a:pt x="602507" y="177766"/>
                  </a:lnTo>
                  <a:lnTo>
                    <a:pt x="606002" y="184621"/>
                  </a:lnTo>
                  <a:lnTo>
                    <a:pt x="611941" y="189538"/>
                  </a:lnTo>
                  <a:lnTo>
                    <a:pt x="613469" y="197661"/>
                  </a:lnTo>
                  <a:lnTo>
                    <a:pt x="620455" y="203542"/>
                  </a:lnTo>
                  <a:lnTo>
                    <a:pt x="622658" y="209418"/>
                  </a:lnTo>
                  <a:lnTo>
                    <a:pt x="620585" y="213304"/>
                  </a:lnTo>
                  <a:lnTo>
                    <a:pt x="618772" y="222338"/>
                  </a:lnTo>
                  <a:lnTo>
                    <a:pt x="609979" y="218327"/>
                  </a:lnTo>
                  <a:lnTo>
                    <a:pt x="603264" y="219633"/>
                  </a:lnTo>
                  <a:lnTo>
                    <a:pt x="593584" y="206328"/>
                  </a:lnTo>
                  <a:lnTo>
                    <a:pt x="587775" y="204135"/>
                  </a:lnTo>
                  <a:lnTo>
                    <a:pt x="584294" y="201411"/>
                  </a:lnTo>
                  <a:lnTo>
                    <a:pt x="578220" y="200654"/>
                  </a:lnTo>
                  <a:lnTo>
                    <a:pt x="565686" y="205166"/>
                  </a:lnTo>
                  <a:lnTo>
                    <a:pt x="555741" y="215362"/>
                  </a:lnTo>
                  <a:lnTo>
                    <a:pt x="549797" y="216148"/>
                  </a:lnTo>
                  <a:lnTo>
                    <a:pt x="543468" y="211756"/>
                  </a:lnTo>
                  <a:lnTo>
                    <a:pt x="537948" y="212118"/>
                  </a:lnTo>
                  <a:lnTo>
                    <a:pt x="534053" y="217580"/>
                  </a:lnTo>
                  <a:lnTo>
                    <a:pt x="529020" y="220275"/>
                  </a:lnTo>
                  <a:lnTo>
                    <a:pt x="528249" y="226739"/>
                  </a:lnTo>
                  <a:lnTo>
                    <a:pt x="523091" y="228557"/>
                  </a:lnTo>
                  <a:lnTo>
                    <a:pt x="517764" y="233835"/>
                  </a:lnTo>
                  <a:lnTo>
                    <a:pt x="506266" y="225968"/>
                  </a:lnTo>
                  <a:lnTo>
                    <a:pt x="504849" y="218732"/>
                  </a:lnTo>
                  <a:cubicBezTo>
                    <a:pt x="504849" y="218732"/>
                    <a:pt x="498515" y="210599"/>
                    <a:pt x="495675" y="207490"/>
                  </a:cubicBezTo>
                  <a:cubicBezTo>
                    <a:pt x="492850" y="204405"/>
                    <a:pt x="484554" y="206584"/>
                    <a:pt x="484554" y="208777"/>
                  </a:cubicBezTo>
                  <a:cubicBezTo>
                    <a:pt x="484554" y="211000"/>
                    <a:pt x="479945" y="216799"/>
                    <a:pt x="479945" y="216799"/>
                  </a:cubicBezTo>
                  <a:lnTo>
                    <a:pt x="474006" y="219638"/>
                  </a:lnTo>
                  <a:lnTo>
                    <a:pt x="468322" y="226093"/>
                  </a:lnTo>
                  <a:lnTo>
                    <a:pt x="468067" y="232288"/>
                  </a:lnTo>
                  <a:lnTo>
                    <a:pt x="464842" y="238367"/>
                  </a:lnTo>
                  <a:lnTo>
                    <a:pt x="459274" y="238237"/>
                  </a:lnTo>
                  <a:lnTo>
                    <a:pt x="453581" y="225071"/>
                  </a:lnTo>
                  <a:lnTo>
                    <a:pt x="448427" y="226884"/>
                  </a:lnTo>
                  <a:lnTo>
                    <a:pt x="442353" y="226474"/>
                  </a:lnTo>
                  <a:cubicBezTo>
                    <a:pt x="442353" y="226474"/>
                    <a:pt x="435103" y="232818"/>
                    <a:pt x="435508" y="232818"/>
                  </a:cubicBezTo>
                  <a:cubicBezTo>
                    <a:pt x="435889" y="232818"/>
                    <a:pt x="423774" y="226604"/>
                    <a:pt x="423774" y="226604"/>
                  </a:cubicBezTo>
                  <a:cubicBezTo>
                    <a:pt x="423774" y="226604"/>
                    <a:pt x="421431" y="226879"/>
                    <a:pt x="418857" y="224155"/>
                  </a:cubicBezTo>
                  <a:cubicBezTo>
                    <a:pt x="416264" y="221441"/>
                    <a:pt x="413810" y="232548"/>
                    <a:pt x="413034" y="234901"/>
                  </a:cubicBezTo>
                  <a:cubicBezTo>
                    <a:pt x="412263" y="237181"/>
                    <a:pt x="400650" y="239119"/>
                    <a:pt x="400650" y="239119"/>
                  </a:cubicBezTo>
                  <a:lnTo>
                    <a:pt x="395342" y="235522"/>
                  </a:lnTo>
                  <a:lnTo>
                    <a:pt x="389128" y="235812"/>
                  </a:lnTo>
                  <a:lnTo>
                    <a:pt x="388111" y="240936"/>
                  </a:lnTo>
                  <a:cubicBezTo>
                    <a:pt x="388111" y="240936"/>
                    <a:pt x="388376" y="243024"/>
                    <a:pt x="388771" y="248717"/>
                  </a:cubicBezTo>
                  <a:cubicBezTo>
                    <a:pt x="386433" y="250669"/>
                    <a:pt x="385136" y="256671"/>
                    <a:pt x="385136" y="256671"/>
                  </a:cubicBezTo>
                  <a:lnTo>
                    <a:pt x="379467" y="253460"/>
                  </a:lnTo>
                  <a:lnTo>
                    <a:pt x="380754" y="246991"/>
                  </a:lnTo>
                  <a:cubicBezTo>
                    <a:pt x="380754" y="246991"/>
                    <a:pt x="380754" y="245212"/>
                    <a:pt x="379978" y="242884"/>
                  </a:cubicBezTo>
                  <a:cubicBezTo>
                    <a:pt x="379216" y="240555"/>
                    <a:pt x="376883" y="239408"/>
                    <a:pt x="375206" y="240686"/>
                  </a:cubicBezTo>
                  <a:cubicBezTo>
                    <a:pt x="373533" y="241968"/>
                    <a:pt x="371335" y="241601"/>
                    <a:pt x="368211" y="240044"/>
                  </a:cubicBezTo>
                  <a:cubicBezTo>
                    <a:pt x="365126" y="238497"/>
                    <a:pt x="361274" y="239649"/>
                    <a:pt x="358174" y="243264"/>
                  </a:cubicBezTo>
                  <a:cubicBezTo>
                    <a:pt x="355041" y="246885"/>
                    <a:pt x="348456" y="247136"/>
                    <a:pt x="345496" y="247396"/>
                  </a:cubicBezTo>
                  <a:cubicBezTo>
                    <a:pt x="342531" y="247651"/>
                    <a:pt x="340709" y="241066"/>
                    <a:pt x="340709" y="241066"/>
                  </a:cubicBezTo>
                  <a:lnTo>
                    <a:pt x="334779" y="236173"/>
                  </a:lnTo>
                  <a:lnTo>
                    <a:pt x="329351" y="230364"/>
                  </a:lnTo>
                  <a:lnTo>
                    <a:pt x="322901" y="230210"/>
                  </a:lnTo>
                  <a:cubicBezTo>
                    <a:pt x="322901" y="230210"/>
                    <a:pt x="314108" y="233695"/>
                    <a:pt x="311519" y="235638"/>
                  </a:cubicBezTo>
                  <a:cubicBezTo>
                    <a:pt x="308940" y="237581"/>
                    <a:pt x="303917" y="236168"/>
                    <a:pt x="299771" y="234221"/>
                  </a:cubicBezTo>
                  <a:cubicBezTo>
                    <a:pt x="295654" y="232278"/>
                    <a:pt x="288558" y="232813"/>
                    <a:pt x="285454" y="232813"/>
                  </a:cubicBezTo>
                  <a:cubicBezTo>
                    <a:pt x="282340" y="232813"/>
                    <a:pt x="277543" y="234896"/>
                    <a:pt x="274347" y="236409"/>
                  </a:cubicBezTo>
                  <a:cubicBezTo>
                    <a:pt x="271107" y="237976"/>
                    <a:pt x="269700" y="237080"/>
                    <a:pt x="268123" y="235383"/>
                  </a:cubicBezTo>
                  <a:cubicBezTo>
                    <a:pt x="266590" y="233700"/>
                    <a:pt x="264758" y="232818"/>
                    <a:pt x="262864" y="233430"/>
                  </a:cubicBezTo>
                  <a:cubicBezTo>
                    <a:pt x="258048" y="235643"/>
                    <a:pt x="249038" y="235272"/>
                    <a:pt x="246440" y="235272"/>
                  </a:cubicBezTo>
                  <a:cubicBezTo>
                    <a:pt x="243856" y="235272"/>
                    <a:pt x="239209" y="230504"/>
                    <a:pt x="239209" y="230504"/>
                  </a:cubicBezTo>
                  <a:cubicBezTo>
                    <a:pt x="239209" y="230504"/>
                    <a:pt x="236360" y="231010"/>
                    <a:pt x="233390" y="232288"/>
                  </a:cubicBezTo>
                  <a:cubicBezTo>
                    <a:pt x="230445" y="233575"/>
                    <a:pt x="219974" y="233835"/>
                    <a:pt x="213645" y="233059"/>
                  </a:cubicBezTo>
                  <a:cubicBezTo>
                    <a:pt x="208872" y="239760"/>
                    <a:pt x="178386" y="243920"/>
                    <a:pt x="172967" y="241230"/>
                  </a:cubicBezTo>
                  <a:cubicBezTo>
                    <a:pt x="167539" y="238502"/>
                    <a:pt x="159908" y="244050"/>
                    <a:pt x="154489" y="247907"/>
                  </a:cubicBezTo>
                  <a:cubicBezTo>
                    <a:pt x="139762" y="257192"/>
                    <a:pt x="130092" y="258011"/>
                    <a:pt x="126708" y="258146"/>
                  </a:cubicBezTo>
                  <a:cubicBezTo>
                    <a:pt x="123382" y="258257"/>
                    <a:pt x="113808" y="262538"/>
                    <a:pt x="113808" y="262538"/>
                  </a:cubicBezTo>
                  <a:lnTo>
                    <a:pt x="107488" y="263429"/>
                  </a:lnTo>
                  <a:cubicBezTo>
                    <a:pt x="107488" y="263429"/>
                    <a:pt x="101650" y="268347"/>
                    <a:pt x="99871" y="271678"/>
                  </a:cubicBezTo>
                  <a:cubicBezTo>
                    <a:pt x="98039" y="275067"/>
                    <a:pt x="98574" y="282775"/>
                    <a:pt x="98574" y="284713"/>
                  </a:cubicBezTo>
                  <a:cubicBezTo>
                    <a:pt x="98574" y="286685"/>
                    <a:pt x="87366" y="299440"/>
                    <a:pt x="87366" y="299440"/>
                  </a:cubicBezTo>
                  <a:lnTo>
                    <a:pt x="83577" y="305399"/>
                  </a:lnTo>
                  <a:lnTo>
                    <a:pt x="76736" y="311593"/>
                  </a:lnTo>
                  <a:lnTo>
                    <a:pt x="70532" y="305644"/>
                  </a:lnTo>
                  <a:lnTo>
                    <a:pt x="61628" y="305548"/>
                  </a:lnTo>
                  <a:cubicBezTo>
                    <a:pt x="61628" y="305548"/>
                    <a:pt x="52204" y="308349"/>
                    <a:pt x="50010" y="309540"/>
                  </a:cubicBezTo>
                  <a:cubicBezTo>
                    <a:pt x="47793" y="310687"/>
                    <a:pt x="48723" y="315855"/>
                    <a:pt x="50382" y="318689"/>
                  </a:cubicBezTo>
                  <a:cubicBezTo>
                    <a:pt x="51553" y="320690"/>
                    <a:pt x="50926" y="321977"/>
                    <a:pt x="49017" y="324257"/>
                  </a:cubicBezTo>
                  <a:cubicBezTo>
                    <a:pt x="49350" y="324498"/>
                    <a:pt x="49553" y="324749"/>
                    <a:pt x="49924" y="324980"/>
                  </a:cubicBezTo>
                  <a:cubicBezTo>
                    <a:pt x="53197" y="329960"/>
                    <a:pt x="59734" y="338401"/>
                    <a:pt x="59734" y="338401"/>
                  </a:cubicBezTo>
                  <a:cubicBezTo>
                    <a:pt x="59734" y="338401"/>
                    <a:pt x="55805" y="351504"/>
                    <a:pt x="58533" y="352010"/>
                  </a:cubicBezTo>
                  <a:cubicBezTo>
                    <a:pt x="61271" y="352531"/>
                    <a:pt x="63185" y="353562"/>
                    <a:pt x="64222" y="355640"/>
                  </a:cubicBezTo>
                  <a:cubicBezTo>
                    <a:pt x="65249" y="357694"/>
                    <a:pt x="71781" y="368203"/>
                    <a:pt x="80921" y="369582"/>
                  </a:cubicBezTo>
                  <a:cubicBezTo>
                    <a:pt x="81596" y="374383"/>
                    <a:pt x="82136" y="376297"/>
                    <a:pt x="82136" y="376297"/>
                  </a:cubicBezTo>
                  <a:cubicBezTo>
                    <a:pt x="82136" y="376297"/>
                    <a:pt x="87805" y="380934"/>
                    <a:pt x="89193" y="387317"/>
                  </a:cubicBezTo>
                  <a:cubicBezTo>
                    <a:pt x="92283" y="389390"/>
                    <a:pt x="96607" y="392118"/>
                    <a:pt x="98131" y="396264"/>
                  </a:cubicBezTo>
                  <a:cubicBezTo>
                    <a:pt x="104865" y="399885"/>
                    <a:pt x="116372" y="404869"/>
                    <a:pt x="108110" y="406778"/>
                  </a:cubicBezTo>
                  <a:cubicBezTo>
                    <a:pt x="99871" y="408658"/>
                    <a:pt x="97301" y="409193"/>
                    <a:pt x="97301" y="409193"/>
                  </a:cubicBezTo>
                  <a:lnTo>
                    <a:pt x="96916" y="415374"/>
                  </a:lnTo>
                  <a:cubicBezTo>
                    <a:pt x="96916" y="415374"/>
                    <a:pt x="113972" y="429320"/>
                    <a:pt x="113972" y="434676"/>
                  </a:cubicBezTo>
                  <a:cubicBezTo>
                    <a:pt x="113972" y="439328"/>
                    <a:pt x="118276" y="440841"/>
                    <a:pt x="116049" y="444833"/>
                  </a:cubicBezTo>
                  <a:cubicBezTo>
                    <a:pt x="113808" y="448781"/>
                    <a:pt x="110202" y="449846"/>
                    <a:pt x="111224" y="453076"/>
                  </a:cubicBezTo>
                  <a:cubicBezTo>
                    <a:pt x="112289" y="456369"/>
                    <a:pt x="110698" y="459811"/>
                    <a:pt x="110698" y="459811"/>
                  </a:cubicBezTo>
                  <a:lnTo>
                    <a:pt x="105193" y="465837"/>
                  </a:lnTo>
                  <a:lnTo>
                    <a:pt x="92823" y="468237"/>
                  </a:lnTo>
                  <a:lnTo>
                    <a:pt x="87289" y="473396"/>
                  </a:lnTo>
                  <a:lnTo>
                    <a:pt x="85915" y="480289"/>
                  </a:lnTo>
                  <a:cubicBezTo>
                    <a:pt x="85915" y="480289"/>
                    <a:pt x="78665" y="491309"/>
                    <a:pt x="72296" y="498029"/>
                  </a:cubicBezTo>
                  <a:cubicBezTo>
                    <a:pt x="65957" y="504749"/>
                    <a:pt x="44235" y="541228"/>
                    <a:pt x="39072" y="560207"/>
                  </a:cubicBezTo>
                  <a:cubicBezTo>
                    <a:pt x="36141" y="562583"/>
                    <a:pt x="34936" y="564136"/>
                    <a:pt x="34936" y="564136"/>
                  </a:cubicBezTo>
                  <a:lnTo>
                    <a:pt x="34276" y="569993"/>
                  </a:lnTo>
                  <a:lnTo>
                    <a:pt x="28741" y="575691"/>
                  </a:lnTo>
                  <a:cubicBezTo>
                    <a:pt x="28741" y="575691"/>
                    <a:pt x="25680" y="581056"/>
                    <a:pt x="25488" y="584826"/>
                  </a:cubicBezTo>
                  <a:cubicBezTo>
                    <a:pt x="25299" y="588601"/>
                    <a:pt x="23048" y="591691"/>
                    <a:pt x="21703" y="592920"/>
                  </a:cubicBezTo>
                  <a:cubicBezTo>
                    <a:pt x="20295" y="594087"/>
                    <a:pt x="19462" y="601009"/>
                    <a:pt x="22045" y="603916"/>
                  </a:cubicBezTo>
                  <a:cubicBezTo>
                    <a:pt x="24620" y="606857"/>
                    <a:pt x="35616" y="629606"/>
                    <a:pt x="34618" y="633380"/>
                  </a:cubicBezTo>
                  <a:cubicBezTo>
                    <a:pt x="33567" y="637174"/>
                    <a:pt x="32198" y="644931"/>
                    <a:pt x="37356" y="647823"/>
                  </a:cubicBezTo>
                  <a:cubicBezTo>
                    <a:pt x="42504" y="650759"/>
                    <a:pt x="46313" y="653333"/>
                    <a:pt x="46313" y="653333"/>
                  </a:cubicBezTo>
                  <a:cubicBezTo>
                    <a:pt x="46313" y="653333"/>
                    <a:pt x="48545" y="663173"/>
                    <a:pt x="51095" y="665395"/>
                  </a:cubicBezTo>
                  <a:cubicBezTo>
                    <a:pt x="53703" y="667617"/>
                    <a:pt x="40986" y="660931"/>
                    <a:pt x="40986" y="660931"/>
                  </a:cubicBezTo>
                  <a:lnTo>
                    <a:pt x="33740" y="663674"/>
                  </a:lnTo>
                  <a:lnTo>
                    <a:pt x="27030" y="660410"/>
                  </a:lnTo>
                  <a:cubicBezTo>
                    <a:pt x="27030" y="660410"/>
                    <a:pt x="24918" y="660926"/>
                    <a:pt x="22036" y="661273"/>
                  </a:cubicBezTo>
                  <a:lnTo>
                    <a:pt x="22494" y="672182"/>
                  </a:lnTo>
                  <a:lnTo>
                    <a:pt x="15899" y="678362"/>
                  </a:lnTo>
                  <a:cubicBezTo>
                    <a:pt x="15899" y="678362"/>
                    <a:pt x="16555" y="681477"/>
                    <a:pt x="14506" y="686755"/>
                  </a:cubicBezTo>
                  <a:cubicBezTo>
                    <a:pt x="12423" y="692058"/>
                    <a:pt x="13465" y="703310"/>
                    <a:pt x="13465" y="703310"/>
                  </a:cubicBezTo>
                  <a:lnTo>
                    <a:pt x="11503" y="709379"/>
                  </a:lnTo>
                  <a:cubicBezTo>
                    <a:pt x="11503" y="709379"/>
                    <a:pt x="11271" y="712720"/>
                    <a:pt x="10095" y="716600"/>
                  </a:cubicBezTo>
                  <a:cubicBezTo>
                    <a:pt x="7145" y="718919"/>
                    <a:pt x="4416" y="724983"/>
                    <a:pt x="1196" y="730036"/>
                  </a:cubicBezTo>
                  <a:cubicBezTo>
                    <a:pt x="-1846" y="734794"/>
                    <a:pt x="1823" y="751734"/>
                    <a:pt x="2261" y="753691"/>
                  </a:cubicBezTo>
                  <a:cubicBezTo>
                    <a:pt x="4170" y="753459"/>
                    <a:pt x="5944" y="753715"/>
                    <a:pt x="7000" y="754554"/>
                  </a:cubicBezTo>
                  <a:cubicBezTo>
                    <a:pt x="9314" y="756352"/>
                    <a:pt x="12279" y="755595"/>
                    <a:pt x="12153" y="757899"/>
                  </a:cubicBezTo>
                  <a:cubicBezTo>
                    <a:pt x="12052" y="760257"/>
                    <a:pt x="12153" y="761298"/>
                    <a:pt x="13711" y="760488"/>
                  </a:cubicBezTo>
                  <a:cubicBezTo>
                    <a:pt x="15268" y="759726"/>
                    <a:pt x="18362" y="758675"/>
                    <a:pt x="18734" y="761428"/>
                  </a:cubicBezTo>
                  <a:cubicBezTo>
                    <a:pt x="19143" y="764133"/>
                    <a:pt x="20566" y="766557"/>
                    <a:pt x="20566" y="766557"/>
                  </a:cubicBezTo>
                  <a:cubicBezTo>
                    <a:pt x="20566" y="766557"/>
                    <a:pt x="26495" y="774328"/>
                    <a:pt x="28452" y="772776"/>
                  </a:cubicBezTo>
                  <a:cubicBezTo>
                    <a:pt x="30361" y="771214"/>
                    <a:pt x="40952" y="770558"/>
                    <a:pt x="48449" y="784389"/>
                  </a:cubicBezTo>
                  <a:cubicBezTo>
                    <a:pt x="49885" y="787354"/>
                    <a:pt x="53105" y="790314"/>
                    <a:pt x="56181" y="788270"/>
                  </a:cubicBezTo>
                  <a:cubicBezTo>
                    <a:pt x="59285" y="786202"/>
                    <a:pt x="61464" y="784755"/>
                    <a:pt x="61464" y="784755"/>
                  </a:cubicBezTo>
                  <a:lnTo>
                    <a:pt x="67317" y="785276"/>
                  </a:lnTo>
                  <a:lnTo>
                    <a:pt x="74548" y="790989"/>
                  </a:lnTo>
                  <a:lnTo>
                    <a:pt x="74668" y="796778"/>
                  </a:lnTo>
                  <a:cubicBezTo>
                    <a:pt x="74668" y="796778"/>
                    <a:pt x="76177" y="800620"/>
                    <a:pt x="78197" y="803455"/>
                  </a:cubicBezTo>
                  <a:lnTo>
                    <a:pt x="80988" y="796778"/>
                  </a:lnTo>
                  <a:lnTo>
                    <a:pt x="87356" y="796778"/>
                  </a:lnTo>
                  <a:lnTo>
                    <a:pt x="94019" y="793047"/>
                  </a:lnTo>
                  <a:lnTo>
                    <a:pt x="95865" y="780508"/>
                  </a:lnTo>
                  <a:cubicBezTo>
                    <a:pt x="95865" y="780508"/>
                    <a:pt x="102436" y="779602"/>
                    <a:pt x="105396" y="779887"/>
                  </a:cubicBezTo>
                  <a:cubicBezTo>
                    <a:pt x="108370" y="780113"/>
                    <a:pt x="110853" y="782842"/>
                    <a:pt x="114174" y="785667"/>
                  </a:cubicBezTo>
                  <a:cubicBezTo>
                    <a:pt x="118609" y="789938"/>
                    <a:pt x="125267" y="789022"/>
                    <a:pt x="128626" y="789277"/>
                  </a:cubicBezTo>
                  <a:cubicBezTo>
                    <a:pt x="131972" y="789562"/>
                    <a:pt x="133028" y="786949"/>
                    <a:pt x="134715" y="784635"/>
                  </a:cubicBezTo>
                  <a:cubicBezTo>
                    <a:pt x="139753" y="788916"/>
                    <a:pt x="154610" y="785030"/>
                    <a:pt x="154610" y="785030"/>
                  </a:cubicBezTo>
                  <a:lnTo>
                    <a:pt x="166619" y="789277"/>
                  </a:lnTo>
                  <a:lnTo>
                    <a:pt x="171887" y="784148"/>
                  </a:lnTo>
                  <a:lnTo>
                    <a:pt x="179143" y="783705"/>
                  </a:lnTo>
                  <a:lnTo>
                    <a:pt x="184831" y="786317"/>
                  </a:lnTo>
                  <a:lnTo>
                    <a:pt x="190640" y="785151"/>
                  </a:lnTo>
                  <a:lnTo>
                    <a:pt x="197996" y="786852"/>
                  </a:lnTo>
                  <a:lnTo>
                    <a:pt x="209773" y="777924"/>
                  </a:lnTo>
                  <a:lnTo>
                    <a:pt x="224727" y="775090"/>
                  </a:lnTo>
                  <a:lnTo>
                    <a:pt x="232469" y="778074"/>
                  </a:lnTo>
                  <a:lnTo>
                    <a:pt x="235820" y="784148"/>
                  </a:lnTo>
                  <a:lnTo>
                    <a:pt x="243176" y="786949"/>
                  </a:lnTo>
                  <a:lnTo>
                    <a:pt x="248609" y="788409"/>
                  </a:lnTo>
                  <a:lnTo>
                    <a:pt x="254823" y="792257"/>
                  </a:lnTo>
                  <a:lnTo>
                    <a:pt x="259856" y="798475"/>
                  </a:lnTo>
                  <a:lnTo>
                    <a:pt x="263847" y="799227"/>
                  </a:lnTo>
                  <a:cubicBezTo>
                    <a:pt x="263847" y="799227"/>
                    <a:pt x="273793" y="794334"/>
                    <a:pt x="275109" y="793172"/>
                  </a:cubicBezTo>
                  <a:cubicBezTo>
                    <a:pt x="276362" y="792011"/>
                    <a:pt x="280267" y="787860"/>
                    <a:pt x="281433" y="782061"/>
                  </a:cubicBezTo>
                  <a:cubicBezTo>
                    <a:pt x="284904" y="768245"/>
                    <a:pt x="293442" y="763607"/>
                    <a:pt x="301184" y="762175"/>
                  </a:cubicBezTo>
                  <a:lnTo>
                    <a:pt x="313949" y="756998"/>
                  </a:lnTo>
                  <a:lnTo>
                    <a:pt x="318741" y="756998"/>
                  </a:lnTo>
                  <a:cubicBezTo>
                    <a:pt x="318741" y="756998"/>
                    <a:pt x="330619" y="753792"/>
                    <a:pt x="332306" y="752881"/>
                  </a:cubicBezTo>
                  <a:cubicBezTo>
                    <a:pt x="336948" y="746282"/>
                    <a:pt x="346513" y="745534"/>
                    <a:pt x="346513" y="745534"/>
                  </a:cubicBezTo>
                  <a:cubicBezTo>
                    <a:pt x="346513" y="745534"/>
                    <a:pt x="349073" y="743967"/>
                    <a:pt x="353320" y="741904"/>
                  </a:cubicBezTo>
                  <a:cubicBezTo>
                    <a:pt x="355296" y="742020"/>
                    <a:pt x="363954" y="738949"/>
                    <a:pt x="363954" y="738949"/>
                  </a:cubicBezTo>
                  <a:lnTo>
                    <a:pt x="365863" y="732215"/>
                  </a:lnTo>
                  <a:lnTo>
                    <a:pt x="369609" y="727076"/>
                  </a:lnTo>
                  <a:lnTo>
                    <a:pt x="371542" y="713997"/>
                  </a:lnTo>
                  <a:lnTo>
                    <a:pt x="371041" y="710526"/>
                  </a:lnTo>
                  <a:lnTo>
                    <a:pt x="376609" y="709094"/>
                  </a:lnTo>
                  <a:lnTo>
                    <a:pt x="382789" y="702890"/>
                  </a:lnTo>
                  <a:lnTo>
                    <a:pt x="388978" y="703310"/>
                  </a:lnTo>
                  <a:cubicBezTo>
                    <a:pt x="388978" y="703310"/>
                    <a:pt x="392777" y="698291"/>
                    <a:pt x="395352" y="695828"/>
                  </a:cubicBezTo>
                  <a:cubicBezTo>
                    <a:pt x="394821" y="689710"/>
                    <a:pt x="398041" y="684456"/>
                    <a:pt x="398041" y="684456"/>
                  </a:cubicBezTo>
                  <a:lnTo>
                    <a:pt x="406309" y="687425"/>
                  </a:lnTo>
                  <a:lnTo>
                    <a:pt x="407586" y="680570"/>
                  </a:lnTo>
                  <a:cubicBezTo>
                    <a:pt x="407586" y="680570"/>
                    <a:pt x="407051" y="678237"/>
                    <a:pt x="406420" y="675923"/>
                  </a:cubicBezTo>
                  <a:cubicBezTo>
                    <a:pt x="405774" y="673575"/>
                    <a:pt x="408502" y="673980"/>
                    <a:pt x="410566" y="672949"/>
                  </a:cubicBezTo>
                  <a:cubicBezTo>
                    <a:pt x="412619" y="671898"/>
                    <a:pt x="414914" y="672288"/>
                    <a:pt x="417382" y="673980"/>
                  </a:cubicBezTo>
                  <a:cubicBezTo>
                    <a:pt x="419846" y="675677"/>
                    <a:pt x="423745" y="674626"/>
                    <a:pt x="424753" y="672438"/>
                  </a:cubicBezTo>
                  <a:cubicBezTo>
                    <a:pt x="430340" y="664551"/>
                    <a:pt x="440396" y="668533"/>
                    <a:pt x="440396" y="668533"/>
                  </a:cubicBezTo>
                  <a:lnTo>
                    <a:pt x="446851" y="665694"/>
                  </a:lnTo>
                  <a:lnTo>
                    <a:pt x="448158" y="659128"/>
                  </a:lnTo>
                  <a:lnTo>
                    <a:pt x="453827" y="655141"/>
                  </a:lnTo>
                  <a:lnTo>
                    <a:pt x="460547" y="653825"/>
                  </a:lnTo>
                  <a:lnTo>
                    <a:pt x="464818" y="648667"/>
                  </a:lnTo>
                  <a:lnTo>
                    <a:pt x="471658" y="643870"/>
                  </a:lnTo>
                  <a:lnTo>
                    <a:pt x="477607" y="649433"/>
                  </a:lnTo>
                  <a:lnTo>
                    <a:pt x="487118" y="645153"/>
                  </a:lnTo>
                  <a:lnTo>
                    <a:pt x="491259" y="648281"/>
                  </a:lnTo>
                  <a:lnTo>
                    <a:pt x="497840" y="649698"/>
                  </a:lnTo>
                  <a:lnTo>
                    <a:pt x="502111" y="655141"/>
                  </a:lnTo>
                  <a:lnTo>
                    <a:pt x="508200" y="658082"/>
                  </a:lnTo>
                  <a:lnTo>
                    <a:pt x="515025" y="657060"/>
                  </a:lnTo>
                  <a:lnTo>
                    <a:pt x="519808" y="658217"/>
                  </a:lnTo>
                  <a:lnTo>
                    <a:pt x="521611" y="664407"/>
                  </a:lnTo>
                  <a:lnTo>
                    <a:pt x="526388" y="662088"/>
                  </a:lnTo>
                  <a:lnTo>
                    <a:pt x="533643" y="667405"/>
                  </a:lnTo>
                  <a:lnTo>
                    <a:pt x="539308" y="661196"/>
                  </a:lnTo>
                  <a:lnTo>
                    <a:pt x="546047" y="659899"/>
                  </a:lnTo>
                  <a:lnTo>
                    <a:pt x="547194" y="666099"/>
                  </a:lnTo>
                  <a:lnTo>
                    <a:pt x="544615" y="671898"/>
                  </a:lnTo>
                  <a:lnTo>
                    <a:pt x="550819" y="669189"/>
                  </a:lnTo>
                  <a:lnTo>
                    <a:pt x="559723" y="679023"/>
                  </a:lnTo>
                  <a:lnTo>
                    <a:pt x="558817" y="672554"/>
                  </a:lnTo>
                  <a:lnTo>
                    <a:pt x="563474" y="666595"/>
                  </a:lnTo>
                  <a:lnTo>
                    <a:pt x="569143" y="664407"/>
                  </a:lnTo>
                  <a:cubicBezTo>
                    <a:pt x="569143" y="664407"/>
                    <a:pt x="573530" y="664546"/>
                    <a:pt x="576895" y="665694"/>
                  </a:cubicBezTo>
                  <a:cubicBezTo>
                    <a:pt x="579334" y="664271"/>
                    <a:pt x="587196" y="663505"/>
                    <a:pt x="587196" y="663505"/>
                  </a:cubicBezTo>
                  <a:lnTo>
                    <a:pt x="594852" y="675793"/>
                  </a:lnTo>
                  <a:lnTo>
                    <a:pt x="609815" y="684948"/>
                  </a:lnTo>
                  <a:lnTo>
                    <a:pt x="615378" y="678131"/>
                  </a:lnTo>
                  <a:cubicBezTo>
                    <a:pt x="615378" y="678131"/>
                    <a:pt x="616926" y="677312"/>
                    <a:pt x="621558" y="674241"/>
                  </a:cubicBezTo>
                  <a:cubicBezTo>
                    <a:pt x="624022" y="679625"/>
                    <a:pt x="628674" y="682479"/>
                    <a:pt x="631253" y="684191"/>
                  </a:cubicBezTo>
                  <a:cubicBezTo>
                    <a:pt x="633837" y="685859"/>
                    <a:pt x="632313" y="697221"/>
                    <a:pt x="632313" y="697221"/>
                  </a:cubicBezTo>
                  <a:cubicBezTo>
                    <a:pt x="632313" y="697221"/>
                    <a:pt x="633972" y="698267"/>
                    <a:pt x="637872" y="698648"/>
                  </a:cubicBezTo>
                  <a:cubicBezTo>
                    <a:pt x="635910" y="703671"/>
                    <a:pt x="637491" y="713491"/>
                    <a:pt x="638518" y="716065"/>
                  </a:cubicBezTo>
                  <a:cubicBezTo>
                    <a:pt x="639516" y="718673"/>
                    <a:pt x="638518" y="722795"/>
                    <a:pt x="636941" y="726415"/>
                  </a:cubicBezTo>
                  <a:cubicBezTo>
                    <a:pt x="635399" y="730026"/>
                    <a:pt x="636305" y="732986"/>
                    <a:pt x="638243" y="735560"/>
                  </a:cubicBezTo>
                  <a:lnTo>
                    <a:pt x="643560" y="742863"/>
                  </a:lnTo>
                  <a:lnTo>
                    <a:pt x="651558" y="740559"/>
                  </a:lnTo>
                  <a:lnTo>
                    <a:pt x="656976" y="746484"/>
                  </a:lnTo>
                  <a:lnTo>
                    <a:pt x="663677" y="749357"/>
                  </a:lnTo>
                  <a:lnTo>
                    <a:pt x="666266" y="754486"/>
                  </a:lnTo>
                  <a:lnTo>
                    <a:pt x="671949" y="756583"/>
                  </a:lnTo>
                  <a:lnTo>
                    <a:pt x="672735" y="751145"/>
                  </a:lnTo>
                  <a:lnTo>
                    <a:pt x="680993" y="746980"/>
                  </a:lnTo>
                  <a:cubicBezTo>
                    <a:pt x="680993" y="746980"/>
                    <a:pt x="685905" y="752953"/>
                    <a:pt x="687935" y="759664"/>
                  </a:cubicBezTo>
                  <a:cubicBezTo>
                    <a:pt x="690017" y="766384"/>
                    <a:pt x="684097" y="777727"/>
                    <a:pt x="684097" y="777727"/>
                  </a:cubicBezTo>
                  <a:lnTo>
                    <a:pt x="689516" y="778233"/>
                  </a:lnTo>
                  <a:lnTo>
                    <a:pt x="696501" y="782148"/>
                  </a:lnTo>
                  <a:lnTo>
                    <a:pt x="695445" y="787836"/>
                  </a:lnTo>
                  <a:lnTo>
                    <a:pt x="696231" y="792469"/>
                  </a:lnTo>
                  <a:lnTo>
                    <a:pt x="701520" y="797058"/>
                  </a:lnTo>
                  <a:lnTo>
                    <a:pt x="707724" y="798470"/>
                  </a:lnTo>
                  <a:lnTo>
                    <a:pt x="714318" y="803118"/>
                  </a:lnTo>
                  <a:lnTo>
                    <a:pt x="721000" y="801310"/>
                  </a:lnTo>
                  <a:lnTo>
                    <a:pt x="726206" y="801560"/>
                  </a:lnTo>
                  <a:lnTo>
                    <a:pt x="733032" y="804786"/>
                  </a:lnTo>
                  <a:lnTo>
                    <a:pt x="735626" y="809833"/>
                  </a:lnTo>
                  <a:cubicBezTo>
                    <a:pt x="735626" y="809833"/>
                    <a:pt x="738070" y="810334"/>
                    <a:pt x="738562" y="813950"/>
                  </a:cubicBezTo>
                  <a:cubicBezTo>
                    <a:pt x="739107" y="817614"/>
                    <a:pt x="739227" y="821938"/>
                    <a:pt x="739227" y="821938"/>
                  </a:cubicBezTo>
                  <a:lnTo>
                    <a:pt x="739603" y="827269"/>
                  </a:lnTo>
                  <a:lnTo>
                    <a:pt x="744255" y="833980"/>
                  </a:lnTo>
                  <a:lnTo>
                    <a:pt x="739227" y="839538"/>
                  </a:lnTo>
                  <a:lnTo>
                    <a:pt x="744134" y="844841"/>
                  </a:lnTo>
                  <a:lnTo>
                    <a:pt x="750233" y="844547"/>
                  </a:lnTo>
                  <a:lnTo>
                    <a:pt x="752947" y="849729"/>
                  </a:lnTo>
                  <a:lnTo>
                    <a:pt x="759136" y="852838"/>
                  </a:lnTo>
                  <a:cubicBezTo>
                    <a:pt x="759136" y="852838"/>
                    <a:pt x="764926" y="850124"/>
                    <a:pt x="764169" y="853480"/>
                  </a:cubicBezTo>
                  <a:cubicBezTo>
                    <a:pt x="763393" y="856839"/>
                    <a:pt x="762497" y="857736"/>
                    <a:pt x="759407" y="857871"/>
                  </a:cubicBezTo>
                  <a:cubicBezTo>
                    <a:pt x="756288" y="858006"/>
                    <a:pt x="751130" y="858908"/>
                    <a:pt x="746853" y="862272"/>
                  </a:cubicBezTo>
                  <a:cubicBezTo>
                    <a:pt x="742582" y="865603"/>
                    <a:pt x="739738" y="866659"/>
                    <a:pt x="739738" y="866659"/>
                  </a:cubicBezTo>
                  <a:lnTo>
                    <a:pt x="737159" y="861096"/>
                  </a:lnTo>
                  <a:lnTo>
                    <a:pt x="729952" y="856184"/>
                  </a:lnTo>
                  <a:lnTo>
                    <a:pt x="724900" y="860976"/>
                  </a:lnTo>
                  <a:lnTo>
                    <a:pt x="724398" y="866250"/>
                  </a:lnTo>
                  <a:lnTo>
                    <a:pt x="717958" y="870246"/>
                  </a:lnTo>
                  <a:lnTo>
                    <a:pt x="712381" y="866250"/>
                  </a:lnTo>
                  <a:lnTo>
                    <a:pt x="707203" y="859563"/>
                  </a:lnTo>
                  <a:lnTo>
                    <a:pt x="700883" y="861612"/>
                  </a:lnTo>
                  <a:lnTo>
                    <a:pt x="698969" y="867966"/>
                  </a:lnTo>
                  <a:lnTo>
                    <a:pt x="693006" y="864090"/>
                  </a:lnTo>
                  <a:lnTo>
                    <a:pt x="687694" y="876460"/>
                  </a:lnTo>
                  <a:lnTo>
                    <a:pt x="682680" y="871066"/>
                  </a:lnTo>
                  <a:lnTo>
                    <a:pt x="681774" y="864842"/>
                  </a:lnTo>
                  <a:lnTo>
                    <a:pt x="676230" y="858903"/>
                  </a:lnTo>
                  <a:cubicBezTo>
                    <a:pt x="676230" y="858903"/>
                    <a:pt x="660437" y="869508"/>
                    <a:pt x="659290" y="876074"/>
                  </a:cubicBezTo>
                  <a:cubicBezTo>
                    <a:pt x="658123" y="882655"/>
                    <a:pt x="659030" y="884501"/>
                    <a:pt x="659030" y="884501"/>
                  </a:cubicBezTo>
                  <a:cubicBezTo>
                    <a:pt x="659030" y="884501"/>
                    <a:pt x="664728" y="891168"/>
                    <a:pt x="663677" y="898288"/>
                  </a:cubicBezTo>
                  <a:cubicBezTo>
                    <a:pt x="671949" y="904227"/>
                    <a:pt x="676230" y="909660"/>
                    <a:pt x="675194" y="911854"/>
                  </a:cubicBezTo>
                  <a:cubicBezTo>
                    <a:pt x="674133" y="914032"/>
                    <a:pt x="671303" y="922290"/>
                    <a:pt x="671303" y="922290"/>
                  </a:cubicBezTo>
                  <a:lnTo>
                    <a:pt x="675815" y="930572"/>
                  </a:lnTo>
                  <a:lnTo>
                    <a:pt x="670281" y="937572"/>
                  </a:lnTo>
                  <a:cubicBezTo>
                    <a:pt x="670281" y="937572"/>
                    <a:pt x="661233" y="941029"/>
                    <a:pt x="660336" y="944143"/>
                  </a:cubicBezTo>
                  <a:cubicBezTo>
                    <a:pt x="659396" y="947228"/>
                    <a:pt x="659155" y="949441"/>
                    <a:pt x="659155" y="949441"/>
                  </a:cubicBezTo>
                  <a:lnTo>
                    <a:pt x="662144" y="954989"/>
                  </a:lnTo>
                  <a:cubicBezTo>
                    <a:pt x="662144" y="954989"/>
                    <a:pt x="662674" y="967629"/>
                    <a:pt x="651678" y="972927"/>
                  </a:cubicBezTo>
                  <a:cubicBezTo>
                    <a:pt x="652088" y="976408"/>
                    <a:pt x="651562" y="979748"/>
                    <a:pt x="649205" y="980563"/>
                  </a:cubicBezTo>
                  <a:cubicBezTo>
                    <a:pt x="646925" y="981330"/>
                    <a:pt x="645093" y="981971"/>
                    <a:pt x="644982" y="984424"/>
                  </a:cubicBezTo>
                  <a:cubicBezTo>
                    <a:pt x="644818" y="986888"/>
                    <a:pt x="645218" y="988430"/>
                    <a:pt x="645218" y="988430"/>
                  </a:cubicBezTo>
                  <a:lnTo>
                    <a:pt x="649085" y="993598"/>
                  </a:lnTo>
                  <a:lnTo>
                    <a:pt x="649605" y="1000043"/>
                  </a:lnTo>
                  <a:lnTo>
                    <a:pt x="653091" y="1006373"/>
                  </a:lnTo>
                  <a:cubicBezTo>
                    <a:pt x="653091" y="1006373"/>
                    <a:pt x="648834" y="1010490"/>
                    <a:pt x="644698" y="1010770"/>
                  </a:cubicBezTo>
                  <a:cubicBezTo>
                    <a:pt x="640567" y="1011025"/>
                    <a:pt x="631798" y="1009993"/>
                    <a:pt x="629599" y="1013228"/>
                  </a:cubicBezTo>
                  <a:cubicBezTo>
                    <a:pt x="628023" y="1015557"/>
                    <a:pt x="626152" y="1019028"/>
                    <a:pt x="626746" y="1023540"/>
                  </a:cubicBezTo>
                  <a:cubicBezTo>
                    <a:pt x="628317" y="1024219"/>
                    <a:pt x="630105" y="1024629"/>
                    <a:pt x="632318" y="1024345"/>
                  </a:cubicBezTo>
                  <a:cubicBezTo>
                    <a:pt x="635779" y="1030024"/>
                    <a:pt x="640562" y="1042548"/>
                    <a:pt x="660081" y="1039313"/>
                  </a:cubicBezTo>
                  <a:cubicBezTo>
                    <a:pt x="662544" y="1040099"/>
                    <a:pt x="666531" y="1041752"/>
                    <a:pt x="666531" y="1041752"/>
                  </a:cubicBezTo>
                  <a:lnTo>
                    <a:pt x="672735" y="1040624"/>
                  </a:lnTo>
                  <a:lnTo>
                    <a:pt x="679180" y="1041752"/>
                  </a:lnTo>
                  <a:lnTo>
                    <a:pt x="682941" y="1038927"/>
                  </a:lnTo>
                  <a:lnTo>
                    <a:pt x="682526" y="1033890"/>
                  </a:lnTo>
                  <a:lnTo>
                    <a:pt x="683798" y="1028196"/>
                  </a:lnTo>
                  <a:cubicBezTo>
                    <a:pt x="683798" y="1028196"/>
                    <a:pt x="686657" y="1026022"/>
                    <a:pt x="695060" y="1028592"/>
                  </a:cubicBezTo>
                  <a:cubicBezTo>
                    <a:pt x="697774" y="1024075"/>
                    <a:pt x="699471" y="1022137"/>
                    <a:pt x="699471" y="1022137"/>
                  </a:cubicBezTo>
                  <a:cubicBezTo>
                    <a:pt x="699471" y="1022137"/>
                    <a:pt x="715345" y="1009208"/>
                    <a:pt x="717553" y="1004551"/>
                  </a:cubicBezTo>
                  <a:cubicBezTo>
                    <a:pt x="719708" y="999928"/>
                    <a:pt x="725946" y="997218"/>
                    <a:pt x="728260" y="997734"/>
                  </a:cubicBezTo>
                  <a:cubicBezTo>
                    <a:pt x="730569" y="998269"/>
                    <a:pt x="730482" y="999682"/>
                    <a:pt x="737043" y="995782"/>
                  </a:cubicBezTo>
                  <a:cubicBezTo>
                    <a:pt x="745913" y="996042"/>
                    <a:pt x="754865" y="997865"/>
                    <a:pt x="754865" y="997865"/>
                  </a:cubicBezTo>
                  <a:cubicBezTo>
                    <a:pt x="754865" y="997865"/>
                    <a:pt x="765095" y="1001914"/>
                    <a:pt x="766589" y="1016713"/>
                  </a:cubicBezTo>
                  <a:lnTo>
                    <a:pt x="769752" y="1014380"/>
                  </a:lnTo>
                  <a:lnTo>
                    <a:pt x="769752" y="1012346"/>
                  </a:lnTo>
                  <a:lnTo>
                    <a:pt x="769178" y="1006503"/>
                  </a:lnTo>
                  <a:lnTo>
                    <a:pt x="769178" y="1006320"/>
                  </a:lnTo>
                  <a:lnTo>
                    <a:pt x="769178" y="1000039"/>
                  </a:lnTo>
                  <a:lnTo>
                    <a:pt x="767491" y="995064"/>
                  </a:lnTo>
                  <a:lnTo>
                    <a:pt x="764666" y="988209"/>
                  </a:lnTo>
                  <a:lnTo>
                    <a:pt x="760525" y="987394"/>
                  </a:lnTo>
                  <a:lnTo>
                    <a:pt x="755131" y="990094"/>
                  </a:lnTo>
                  <a:lnTo>
                    <a:pt x="753511" y="990094"/>
                  </a:lnTo>
                  <a:lnTo>
                    <a:pt x="752537" y="988773"/>
                  </a:lnTo>
                  <a:lnTo>
                    <a:pt x="751318" y="982241"/>
                  </a:lnTo>
                  <a:lnTo>
                    <a:pt x="751423" y="981300"/>
                  </a:lnTo>
                  <a:lnTo>
                    <a:pt x="752605" y="978022"/>
                  </a:lnTo>
                  <a:lnTo>
                    <a:pt x="746704" y="976528"/>
                  </a:lnTo>
                  <a:cubicBezTo>
                    <a:pt x="746010" y="976340"/>
                    <a:pt x="745426" y="975723"/>
                    <a:pt x="745364" y="974995"/>
                  </a:cubicBezTo>
                  <a:lnTo>
                    <a:pt x="744805" y="969288"/>
                  </a:lnTo>
                  <a:lnTo>
                    <a:pt x="741903" y="962370"/>
                  </a:lnTo>
                  <a:lnTo>
                    <a:pt x="741879" y="961193"/>
                  </a:lnTo>
                  <a:lnTo>
                    <a:pt x="743513" y="955182"/>
                  </a:lnTo>
                  <a:lnTo>
                    <a:pt x="741290" y="949214"/>
                  </a:lnTo>
                  <a:lnTo>
                    <a:pt x="741189" y="948452"/>
                  </a:lnTo>
                  <a:lnTo>
                    <a:pt x="741830" y="941896"/>
                  </a:lnTo>
                  <a:lnTo>
                    <a:pt x="743069" y="940310"/>
                  </a:lnTo>
                  <a:lnTo>
                    <a:pt x="745031" y="940913"/>
                  </a:lnTo>
                  <a:lnTo>
                    <a:pt x="749808" y="946857"/>
                  </a:lnTo>
                  <a:lnTo>
                    <a:pt x="750122" y="947561"/>
                  </a:lnTo>
                  <a:lnTo>
                    <a:pt x="751785" y="953654"/>
                  </a:lnTo>
                  <a:lnTo>
                    <a:pt x="756890" y="959289"/>
                  </a:lnTo>
                  <a:lnTo>
                    <a:pt x="761070" y="959289"/>
                  </a:lnTo>
                  <a:lnTo>
                    <a:pt x="764054" y="954806"/>
                  </a:lnTo>
                  <a:lnTo>
                    <a:pt x="760202" y="953259"/>
                  </a:lnTo>
                  <a:lnTo>
                    <a:pt x="759146" y="952212"/>
                  </a:lnTo>
                  <a:lnTo>
                    <a:pt x="759247" y="950790"/>
                  </a:lnTo>
                  <a:lnTo>
                    <a:pt x="762217" y="944827"/>
                  </a:lnTo>
                  <a:lnTo>
                    <a:pt x="762911" y="944075"/>
                  </a:lnTo>
                  <a:lnTo>
                    <a:pt x="768306" y="940811"/>
                  </a:lnTo>
                  <a:lnTo>
                    <a:pt x="770403" y="934949"/>
                  </a:lnTo>
                  <a:lnTo>
                    <a:pt x="772201" y="927935"/>
                  </a:lnTo>
                  <a:lnTo>
                    <a:pt x="773276" y="926682"/>
                  </a:lnTo>
                  <a:lnTo>
                    <a:pt x="774871" y="926793"/>
                  </a:lnTo>
                  <a:lnTo>
                    <a:pt x="778945" y="929213"/>
                  </a:lnTo>
                  <a:lnTo>
                    <a:pt x="780454" y="925057"/>
                  </a:lnTo>
                  <a:lnTo>
                    <a:pt x="780454" y="919417"/>
                  </a:lnTo>
                  <a:cubicBezTo>
                    <a:pt x="780454" y="918685"/>
                    <a:pt x="780960" y="917985"/>
                    <a:pt x="781683" y="917730"/>
                  </a:cubicBezTo>
                  <a:lnTo>
                    <a:pt x="783717" y="918284"/>
                  </a:lnTo>
                  <a:lnTo>
                    <a:pt x="787926" y="923573"/>
                  </a:lnTo>
                  <a:cubicBezTo>
                    <a:pt x="789623" y="921432"/>
                    <a:pt x="791537" y="919176"/>
                    <a:pt x="793711" y="916795"/>
                  </a:cubicBezTo>
                  <a:lnTo>
                    <a:pt x="795388" y="911333"/>
                  </a:lnTo>
                  <a:lnTo>
                    <a:pt x="795952" y="907288"/>
                  </a:lnTo>
                  <a:lnTo>
                    <a:pt x="796049" y="906922"/>
                  </a:lnTo>
                  <a:lnTo>
                    <a:pt x="798430" y="900395"/>
                  </a:lnTo>
                  <a:lnTo>
                    <a:pt x="798594" y="900057"/>
                  </a:lnTo>
                  <a:lnTo>
                    <a:pt x="801872" y="894552"/>
                  </a:lnTo>
                  <a:lnTo>
                    <a:pt x="801872" y="894456"/>
                  </a:lnTo>
                  <a:lnTo>
                    <a:pt x="802171" y="893501"/>
                  </a:lnTo>
                  <a:lnTo>
                    <a:pt x="804909" y="888921"/>
                  </a:lnTo>
                  <a:lnTo>
                    <a:pt x="804668" y="888473"/>
                  </a:lnTo>
                  <a:lnTo>
                    <a:pt x="798464" y="884009"/>
                  </a:lnTo>
                  <a:lnTo>
                    <a:pt x="798131" y="883662"/>
                  </a:lnTo>
                  <a:lnTo>
                    <a:pt x="793586" y="877983"/>
                  </a:lnTo>
                  <a:lnTo>
                    <a:pt x="788254" y="874782"/>
                  </a:lnTo>
                  <a:lnTo>
                    <a:pt x="782127" y="874233"/>
                  </a:lnTo>
                  <a:lnTo>
                    <a:pt x="781967" y="874213"/>
                  </a:lnTo>
                  <a:lnTo>
                    <a:pt x="775426" y="873008"/>
                  </a:lnTo>
                  <a:lnTo>
                    <a:pt x="774703" y="872719"/>
                  </a:lnTo>
                  <a:lnTo>
                    <a:pt x="768763" y="868563"/>
                  </a:lnTo>
                  <a:lnTo>
                    <a:pt x="768359" y="868125"/>
                  </a:lnTo>
                  <a:lnTo>
                    <a:pt x="763586" y="861588"/>
                  </a:lnTo>
                  <a:lnTo>
                    <a:pt x="763475" y="859587"/>
                  </a:lnTo>
                  <a:lnTo>
                    <a:pt x="767062" y="853629"/>
                  </a:lnTo>
                  <a:lnTo>
                    <a:pt x="768132" y="852805"/>
                  </a:lnTo>
                  <a:lnTo>
                    <a:pt x="774683" y="851026"/>
                  </a:lnTo>
                  <a:cubicBezTo>
                    <a:pt x="775551" y="850804"/>
                    <a:pt x="776448" y="851214"/>
                    <a:pt x="776809" y="852024"/>
                  </a:cubicBezTo>
                  <a:lnTo>
                    <a:pt x="779046" y="856979"/>
                  </a:lnTo>
                  <a:lnTo>
                    <a:pt x="779538" y="857389"/>
                  </a:lnTo>
                  <a:lnTo>
                    <a:pt x="780540" y="854029"/>
                  </a:lnTo>
                  <a:lnTo>
                    <a:pt x="782050" y="852756"/>
                  </a:lnTo>
                  <a:lnTo>
                    <a:pt x="783833" y="853591"/>
                  </a:lnTo>
                  <a:lnTo>
                    <a:pt x="787666" y="859607"/>
                  </a:lnTo>
                  <a:lnTo>
                    <a:pt x="793639" y="861766"/>
                  </a:lnTo>
                  <a:lnTo>
                    <a:pt x="794521" y="862427"/>
                  </a:lnTo>
                  <a:lnTo>
                    <a:pt x="799091" y="868809"/>
                  </a:lnTo>
                  <a:lnTo>
                    <a:pt x="804943" y="874069"/>
                  </a:lnTo>
                  <a:lnTo>
                    <a:pt x="805256" y="874397"/>
                  </a:lnTo>
                  <a:lnTo>
                    <a:pt x="808775" y="879921"/>
                  </a:lnTo>
                  <a:lnTo>
                    <a:pt x="810275" y="874372"/>
                  </a:lnTo>
                  <a:lnTo>
                    <a:pt x="811456" y="868491"/>
                  </a:lnTo>
                  <a:lnTo>
                    <a:pt x="811485" y="868313"/>
                  </a:lnTo>
                  <a:lnTo>
                    <a:pt x="813331" y="862359"/>
                  </a:lnTo>
                  <a:lnTo>
                    <a:pt x="813331" y="862292"/>
                  </a:lnTo>
                  <a:lnTo>
                    <a:pt x="815635" y="855962"/>
                  </a:lnTo>
                  <a:lnTo>
                    <a:pt x="816204" y="850192"/>
                  </a:lnTo>
                  <a:lnTo>
                    <a:pt x="816209" y="850028"/>
                  </a:lnTo>
                  <a:lnTo>
                    <a:pt x="817405" y="844089"/>
                  </a:lnTo>
                  <a:lnTo>
                    <a:pt x="817535" y="843698"/>
                  </a:lnTo>
                  <a:lnTo>
                    <a:pt x="820355" y="837508"/>
                  </a:lnTo>
                  <a:lnTo>
                    <a:pt x="820355" y="832365"/>
                  </a:lnTo>
                  <a:lnTo>
                    <a:pt x="817597" y="826816"/>
                  </a:lnTo>
                  <a:lnTo>
                    <a:pt x="817496" y="826623"/>
                  </a:lnTo>
                  <a:lnTo>
                    <a:pt x="815105" y="820091"/>
                  </a:lnTo>
                  <a:cubicBezTo>
                    <a:pt x="814825" y="819267"/>
                    <a:pt x="815134" y="818399"/>
                    <a:pt x="815842" y="817951"/>
                  </a:cubicBezTo>
                  <a:lnTo>
                    <a:pt x="822211" y="813897"/>
                  </a:lnTo>
                  <a:lnTo>
                    <a:pt x="828020" y="808068"/>
                  </a:lnTo>
                  <a:lnTo>
                    <a:pt x="828140" y="807924"/>
                  </a:lnTo>
                  <a:lnTo>
                    <a:pt x="834118" y="803171"/>
                  </a:lnTo>
                  <a:lnTo>
                    <a:pt x="834407" y="802988"/>
                  </a:lnTo>
                  <a:lnTo>
                    <a:pt x="840886" y="799449"/>
                  </a:lnTo>
                  <a:lnTo>
                    <a:pt x="846811" y="795872"/>
                  </a:lnTo>
                  <a:lnTo>
                    <a:pt x="847327" y="795674"/>
                  </a:lnTo>
                  <a:lnTo>
                    <a:pt x="849689" y="795125"/>
                  </a:lnTo>
                  <a:lnTo>
                    <a:pt x="850123" y="795024"/>
                  </a:lnTo>
                  <a:lnTo>
                    <a:pt x="856038" y="795024"/>
                  </a:lnTo>
                  <a:lnTo>
                    <a:pt x="862454" y="794469"/>
                  </a:lnTo>
                  <a:lnTo>
                    <a:pt x="862647" y="794469"/>
                  </a:lnTo>
                  <a:lnTo>
                    <a:pt x="863129" y="794469"/>
                  </a:lnTo>
                  <a:lnTo>
                    <a:pt x="868268" y="789836"/>
                  </a:lnTo>
                  <a:lnTo>
                    <a:pt x="870408" y="784442"/>
                  </a:lnTo>
                  <a:lnTo>
                    <a:pt x="871401" y="779004"/>
                  </a:lnTo>
                  <a:lnTo>
                    <a:pt x="866132" y="773730"/>
                  </a:lnTo>
                  <a:lnTo>
                    <a:pt x="865819" y="771614"/>
                  </a:lnTo>
                  <a:cubicBezTo>
                    <a:pt x="866176" y="770915"/>
                    <a:pt x="866961" y="770496"/>
                    <a:pt x="867737" y="770693"/>
                  </a:cubicBezTo>
                  <a:lnTo>
                    <a:pt x="872283" y="771590"/>
                  </a:lnTo>
                  <a:lnTo>
                    <a:pt x="874626" y="766461"/>
                  </a:lnTo>
                  <a:lnTo>
                    <a:pt x="876352" y="760613"/>
                  </a:lnTo>
                  <a:cubicBezTo>
                    <a:pt x="876598" y="759779"/>
                    <a:pt x="877466" y="759201"/>
                    <a:pt x="878338" y="759345"/>
                  </a:cubicBezTo>
                  <a:cubicBezTo>
                    <a:pt x="879245" y="759466"/>
                    <a:pt x="879920" y="760257"/>
                    <a:pt x="879920" y="761173"/>
                  </a:cubicBezTo>
                  <a:cubicBezTo>
                    <a:pt x="880180" y="768707"/>
                    <a:pt x="879486" y="777934"/>
                    <a:pt x="876299" y="784924"/>
                  </a:cubicBezTo>
                  <a:lnTo>
                    <a:pt x="880946" y="786168"/>
                  </a:lnTo>
                  <a:lnTo>
                    <a:pt x="881158" y="786245"/>
                  </a:lnTo>
                  <a:lnTo>
                    <a:pt x="885030" y="781420"/>
                  </a:lnTo>
                  <a:lnTo>
                    <a:pt x="885921" y="780841"/>
                  </a:lnTo>
                  <a:lnTo>
                    <a:pt x="891860" y="779024"/>
                  </a:lnTo>
                  <a:lnTo>
                    <a:pt x="892535" y="778985"/>
                  </a:lnTo>
                  <a:lnTo>
                    <a:pt x="898942" y="779540"/>
                  </a:lnTo>
                  <a:lnTo>
                    <a:pt x="904664" y="779024"/>
                  </a:lnTo>
                  <a:lnTo>
                    <a:pt x="909292" y="774377"/>
                  </a:lnTo>
                  <a:lnTo>
                    <a:pt x="907388" y="769551"/>
                  </a:lnTo>
                  <a:lnTo>
                    <a:pt x="907253" y="769257"/>
                  </a:lnTo>
                  <a:lnTo>
                    <a:pt x="906183" y="763805"/>
                  </a:lnTo>
                  <a:lnTo>
                    <a:pt x="900566" y="757615"/>
                  </a:lnTo>
                  <a:lnTo>
                    <a:pt x="900181" y="755865"/>
                  </a:lnTo>
                  <a:lnTo>
                    <a:pt x="901945" y="749902"/>
                  </a:lnTo>
                  <a:lnTo>
                    <a:pt x="902056" y="749641"/>
                  </a:lnTo>
                  <a:lnTo>
                    <a:pt x="904857" y="744074"/>
                  </a:lnTo>
                  <a:lnTo>
                    <a:pt x="904857" y="740786"/>
                  </a:lnTo>
                  <a:lnTo>
                    <a:pt x="901087" y="741528"/>
                  </a:lnTo>
                  <a:lnTo>
                    <a:pt x="899626" y="741191"/>
                  </a:lnTo>
                  <a:lnTo>
                    <a:pt x="898923" y="739889"/>
                  </a:lnTo>
                  <a:lnTo>
                    <a:pt x="898301" y="733439"/>
                  </a:lnTo>
                  <a:lnTo>
                    <a:pt x="894333" y="733791"/>
                  </a:lnTo>
                  <a:lnTo>
                    <a:pt x="892622" y="732923"/>
                  </a:lnTo>
                  <a:lnTo>
                    <a:pt x="889040" y="726955"/>
                  </a:lnTo>
                  <a:lnTo>
                    <a:pt x="888809" y="725875"/>
                  </a:lnTo>
                  <a:lnTo>
                    <a:pt x="889262" y="720544"/>
                  </a:lnTo>
                  <a:lnTo>
                    <a:pt x="889209" y="720529"/>
                  </a:lnTo>
                  <a:lnTo>
                    <a:pt x="888982" y="720409"/>
                  </a:lnTo>
                  <a:lnTo>
                    <a:pt x="883019" y="716219"/>
                  </a:lnTo>
                  <a:lnTo>
                    <a:pt x="882368" y="715414"/>
                  </a:lnTo>
                  <a:lnTo>
                    <a:pt x="880411" y="710473"/>
                  </a:lnTo>
                  <a:lnTo>
                    <a:pt x="875538" y="709972"/>
                  </a:lnTo>
                  <a:lnTo>
                    <a:pt x="874024" y="708853"/>
                  </a:lnTo>
                  <a:lnTo>
                    <a:pt x="871647" y="702268"/>
                  </a:lnTo>
                  <a:lnTo>
                    <a:pt x="871854" y="700596"/>
                  </a:lnTo>
                  <a:lnTo>
                    <a:pt x="873339" y="699834"/>
                  </a:lnTo>
                  <a:lnTo>
                    <a:pt x="873923" y="699834"/>
                  </a:lnTo>
                  <a:lnTo>
                    <a:pt x="875195" y="700301"/>
                  </a:lnTo>
                  <a:lnTo>
                    <a:pt x="881125" y="705648"/>
                  </a:lnTo>
                  <a:lnTo>
                    <a:pt x="881197" y="705720"/>
                  </a:lnTo>
                  <a:lnTo>
                    <a:pt x="887141" y="711683"/>
                  </a:lnTo>
                  <a:lnTo>
                    <a:pt x="887647" y="712888"/>
                  </a:lnTo>
                  <a:lnTo>
                    <a:pt x="892477" y="714846"/>
                  </a:lnTo>
                  <a:lnTo>
                    <a:pt x="893557" y="716017"/>
                  </a:lnTo>
                  <a:lnTo>
                    <a:pt x="895105" y="721763"/>
                  </a:lnTo>
                  <a:lnTo>
                    <a:pt x="900880" y="724391"/>
                  </a:lnTo>
                  <a:lnTo>
                    <a:pt x="901786" y="725297"/>
                  </a:lnTo>
                  <a:lnTo>
                    <a:pt x="903927" y="730060"/>
                  </a:lnTo>
                  <a:lnTo>
                    <a:pt x="909924" y="733396"/>
                  </a:lnTo>
                  <a:lnTo>
                    <a:pt x="910830" y="734688"/>
                  </a:lnTo>
                  <a:lnTo>
                    <a:pt x="912040" y="741215"/>
                  </a:lnTo>
                  <a:lnTo>
                    <a:pt x="912074" y="741528"/>
                  </a:lnTo>
                  <a:lnTo>
                    <a:pt x="912074" y="747453"/>
                  </a:lnTo>
                  <a:lnTo>
                    <a:pt x="911929" y="748161"/>
                  </a:lnTo>
                  <a:lnTo>
                    <a:pt x="909822" y="753406"/>
                  </a:lnTo>
                  <a:lnTo>
                    <a:pt x="911794" y="758367"/>
                  </a:lnTo>
                  <a:lnTo>
                    <a:pt x="915096" y="761640"/>
                  </a:lnTo>
                  <a:lnTo>
                    <a:pt x="915371" y="761978"/>
                  </a:lnTo>
                  <a:lnTo>
                    <a:pt x="918755" y="767647"/>
                  </a:lnTo>
                  <a:lnTo>
                    <a:pt x="924511" y="772366"/>
                  </a:lnTo>
                  <a:lnTo>
                    <a:pt x="929698" y="771865"/>
                  </a:lnTo>
                  <a:lnTo>
                    <a:pt x="931048" y="772275"/>
                  </a:lnTo>
                  <a:lnTo>
                    <a:pt x="936230" y="776527"/>
                  </a:lnTo>
                  <a:lnTo>
                    <a:pt x="940419" y="771836"/>
                  </a:lnTo>
                  <a:lnTo>
                    <a:pt x="941779" y="771224"/>
                  </a:lnTo>
                  <a:lnTo>
                    <a:pt x="947737" y="771224"/>
                  </a:lnTo>
                  <a:lnTo>
                    <a:pt x="947887" y="771224"/>
                  </a:lnTo>
                  <a:lnTo>
                    <a:pt x="953855" y="771783"/>
                  </a:lnTo>
                  <a:lnTo>
                    <a:pt x="959066" y="768635"/>
                  </a:lnTo>
                  <a:lnTo>
                    <a:pt x="964827" y="762325"/>
                  </a:lnTo>
                  <a:lnTo>
                    <a:pt x="965101" y="762045"/>
                  </a:lnTo>
                  <a:lnTo>
                    <a:pt x="969840" y="758497"/>
                  </a:lnTo>
                  <a:cubicBezTo>
                    <a:pt x="970356" y="758111"/>
                    <a:pt x="970944" y="758140"/>
                    <a:pt x="971494" y="758372"/>
                  </a:cubicBezTo>
                  <a:cubicBezTo>
                    <a:pt x="971494" y="758372"/>
                    <a:pt x="973567" y="759813"/>
                    <a:pt x="971122" y="765448"/>
                  </a:cubicBezTo>
                  <a:lnTo>
                    <a:pt x="971494" y="765034"/>
                  </a:lnTo>
                  <a:lnTo>
                    <a:pt x="971122" y="765448"/>
                  </a:lnTo>
                  <a:cubicBezTo>
                    <a:pt x="970828" y="766123"/>
                    <a:pt x="970476" y="766842"/>
                    <a:pt x="970052" y="767608"/>
                  </a:cubicBezTo>
                  <a:cubicBezTo>
                    <a:pt x="970476" y="766842"/>
                    <a:pt x="970828" y="766119"/>
                    <a:pt x="971122" y="765448"/>
                  </a:cubicBezTo>
                  <a:lnTo>
                    <a:pt x="966422" y="770636"/>
                  </a:lnTo>
                  <a:lnTo>
                    <a:pt x="962966" y="775558"/>
                  </a:lnTo>
                  <a:lnTo>
                    <a:pt x="964812" y="778715"/>
                  </a:lnTo>
                  <a:lnTo>
                    <a:pt x="964658" y="780643"/>
                  </a:lnTo>
                  <a:lnTo>
                    <a:pt x="960522" y="786587"/>
                  </a:lnTo>
                  <a:lnTo>
                    <a:pt x="959374" y="787359"/>
                  </a:lnTo>
                  <a:lnTo>
                    <a:pt x="952799" y="788535"/>
                  </a:lnTo>
                  <a:lnTo>
                    <a:pt x="951965" y="788467"/>
                  </a:lnTo>
                  <a:lnTo>
                    <a:pt x="946590" y="786857"/>
                  </a:lnTo>
                  <a:lnTo>
                    <a:pt x="940627" y="789031"/>
                  </a:lnTo>
                  <a:lnTo>
                    <a:pt x="939831" y="789152"/>
                  </a:lnTo>
                  <a:lnTo>
                    <a:pt x="934394" y="788574"/>
                  </a:lnTo>
                  <a:lnTo>
                    <a:pt x="928261" y="791384"/>
                  </a:lnTo>
                  <a:lnTo>
                    <a:pt x="927683" y="791548"/>
                  </a:lnTo>
                  <a:lnTo>
                    <a:pt x="921850" y="792112"/>
                  </a:lnTo>
                  <a:lnTo>
                    <a:pt x="915950" y="793278"/>
                  </a:lnTo>
                  <a:lnTo>
                    <a:pt x="915882" y="793278"/>
                  </a:lnTo>
                  <a:lnTo>
                    <a:pt x="912329" y="793876"/>
                  </a:lnTo>
                  <a:lnTo>
                    <a:pt x="911669" y="793876"/>
                  </a:lnTo>
                  <a:lnTo>
                    <a:pt x="905975" y="792753"/>
                  </a:lnTo>
                  <a:lnTo>
                    <a:pt x="900673" y="793278"/>
                  </a:lnTo>
                  <a:lnTo>
                    <a:pt x="894425" y="796667"/>
                  </a:lnTo>
                  <a:lnTo>
                    <a:pt x="894063" y="796822"/>
                  </a:lnTo>
                  <a:lnTo>
                    <a:pt x="889677" y="798008"/>
                  </a:lnTo>
                  <a:lnTo>
                    <a:pt x="894425" y="800620"/>
                  </a:lnTo>
                  <a:lnTo>
                    <a:pt x="894589" y="800717"/>
                  </a:lnTo>
                  <a:lnTo>
                    <a:pt x="898012" y="803093"/>
                  </a:lnTo>
                  <a:lnTo>
                    <a:pt x="898301" y="800264"/>
                  </a:lnTo>
                  <a:lnTo>
                    <a:pt x="899376" y="798760"/>
                  </a:lnTo>
                  <a:lnTo>
                    <a:pt x="905927" y="795809"/>
                  </a:lnTo>
                  <a:lnTo>
                    <a:pt x="906915" y="795655"/>
                  </a:lnTo>
                  <a:lnTo>
                    <a:pt x="911100" y="796224"/>
                  </a:lnTo>
                  <a:lnTo>
                    <a:pt x="911100" y="796238"/>
                  </a:lnTo>
                  <a:lnTo>
                    <a:pt x="914638" y="796822"/>
                  </a:lnTo>
                  <a:lnTo>
                    <a:pt x="920177" y="797376"/>
                  </a:lnTo>
                  <a:lnTo>
                    <a:pt x="925788" y="795727"/>
                  </a:lnTo>
                  <a:lnTo>
                    <a:pt x="926926" y="795737"/>
                  </a:lnTo>
                  <a:lnTo>
                    <a:pt x="933473" y="798094"/>
                  </a:lnTo>
                  <a:cubicBezTo>
                    <a:pt x="934225" y="798388"/>
                    <a:pt x="934721" y="799184"/>
                    <a:pt x="934663" y="799989"/>
                  </a:cubicBezTo>
                  <a:lnTo>
                    <a:pt x="934056" y="806540"/>
                  </a:lnTo>
                  <a:lnTo>
                    <a:pt x="933675" y="807504"/>
                  </a:lnTo>
                  <a:lnTo>
                    <a:pt x="928903" y="813467"/>
                  </a:lnTo>
                  <a:lnTo>
                    <a:pt x="928098" y="814037"/>
                  </a:lnTo>
                  <a:lnTo>
                    <a:pt x="921729" y="816350"/>
                  </a:lnTo>
                  <a:lnTo>
                    <a:pt x="917029" y="819171"/>
                  </a:lnTo>
                  <a:lnTo>
                    <a:pt x="917603" y="822087"/>
                  </a:lnTo>
                  <a:lnTo>
                    <a:pt x="921325" y="821330"/>
                  </a:lnTo>
                  <a:lnTo>
                    <a:pt x="926950" y="816818"/>
                  </a:lnTo>
                  <a:lnTo>
                    <a:pt x="928748" y="816601"/>
                  </a:lnTo>
                  <a:lnTo>
                    <a:pt x="934663" y="818944"/>
                  </a:lnTo>
                  <a:lnTo>
                    <a:pt x="935955" y="819397"/>
                  </a:lnTo>
                  <a:lnTo>
                    <a:pt x="942054" y="818240"/>
                  </a:lnTo>
                  <a:lnTo>
                    <a:pt x="943389" y="818544"/>
                  </a:lnTo>
                  <a:lnTo>
                    <a:pt x="948991" y="822477"/>
                  </a:lnTo>
                  <a:lnTo>
                    <a:pt x="954930" y="822993"/>
                  </a:lnTo>
                  <a:lnTo>
                    <a:pt x="960811" y="822993"/>
                  </a:lnTo>
                  <a:lnTo>
                    <a:pt x="962368" y="823900"/>
                  </a:lnTo>
                  <a:lnTo>
                    <a:pt x="965434" y="828986"/>
                  </a:lnTo>
                  <a:lnTo>
                    <a:pt x="985671" y="831237"/>
                  </a:lnTo>
                  <a:cubicBezTo>
                    <a:pt x="990034" y="830147"/>
                    <a:pt x="991042" y="826720"/>
                    <a:pt x="993862" y="825187"/>
                  </a:cubicBezTo>
                  <a:cubicBezTo>
                    <a:pt x="997082" y="823403"/>
                    <a:pt x="1004265" y="821219"/>
                    <a:pt x="1006183" y="816871"/>
                  </a:cubicBezTo>
                  <a:cubicBezTo>
                    <a:pt x="1010686" y="815772"/>
                    <a:pt x="1031849" y="813733"/>
                    <a:pt x="1030273" y="805865"/>
                  </a:cubicBezTo>
                  <a:cubicBezTo>
                    <a:pt x="1028715" y="803354"/>
                    <a:pt x="1033237" y="804945"/>
                    <a:pt x="1036487" y="805865"/>
                  </a:cubicBezTo>
                  <a:cubicBezTo>
                    <a:pt x="1039707" y="806743"/>
                    <a:pt x="1043187" y="802255"/>
                    <a:pt x="1044301" y="792478"/>
                  </a:cubicBezTo>
                  <a:cubicBezTo>
                    <a:pt x="1045487" y="801011"/>
                    <a:pt x="1048254" y="802062"/>
                    <a:pt x="1051633" y="800775"/>
                  </a:cubicBezTo>
                  <a:cubicBezTo>
                    <a:pt x="1054998" y="799473"/>
                    <a:pt x="1065560" y="804120"/>
                    <a:pt x="1068429" y="807538"/>
                  </a:cubicBezTo>
                  <a:cubicBezTo>
                    <a:pt x="1072960" y="806429"/>
                    <a:pt x="1076272" y="804906"/>
                    <a:pt x="1076272" y="804906"/>
                  </a:cubicBezTo>
                  <a:cubicBezTo>
                    <a:pt x="1076272" y="804906"/>
                    <a:pt x="1074093" y="792353"/>
                    <a:pt x="1077964" y="789031"/>
                  </a:cubicBezTo>
                  <a:cubicBezTo>
                    <a:pt x="1083961" y="791027"/>
                    <a:pt x="1088690" y="796036"/>
                    <a:pt x="1091814" y="811814"/>
                  </a:cubicBezTo>
                  <a:cubicBezTo>
                    <a:pt x="1096909" y="810783"/>
                    <a:pt x="1100125" y="808199"/>
                    <a:pt x="1104290" y="812098"/>
                  </a:cubicBezTo>
                  <a:cubicBezTo>
                    <a:pt x="1100308" y="816760"/>
                    <a:pt x="1097960" y="818823"/>
                    <a:pt x="1099546" y="823186"/>
                  </a:cubicBezTo>
                  <a:cubicBezTo>
                    <a:pt x="1092296" y="824025"/>
                    <a:pt x="1089616" y="825095"/>
                    <a:pt x="1091380" y="829145"/>
                  </a:cubicBezTo>
                  <a:cubicBezTo>
                    <a:pt x="1081271" y="832201"/>
                    <a:pt x="1076980" y="836699"/>
                    <a:pt x="1074011" y="843785"/>
                  </a:cubicBezTo>
                  <a:cubicBezTo>
                    <a:pt x="1071258" y="849748"/>
                    <a:pt x="1066250" y="853682"/>
                    <a:pt x="1060151" y="849570"/>
                  </a:cubicBezTo>
                  <a:cubicBezTo>
                    <a:pt x="1059481" y="856247"/>
                    <a:pt x="1055480" y="859081"/>
                    <a:pt x="1052356" y="862171"/>
                  </a:cubicBezTo>
                  <a:cubicBezTo>
                    <a:pt x="1049252" y="865261"/>
                    <a:pt x="1033474" y="875380"/>
                    <a:pt x="1036385" y="887707"/>
                  </a:cubicBezTo>
                  <a:cubicBezTo>
                    <a:pt x="1031521" y="888622"/>
                    <a:pt x="1030055" y="889861"/>
                    <a:pt x="1030706" y="892908"/>
                  </a:cubicBezTo>
                  <a:cubicBezTo>
                    <a:pt x="1025582" y="897406"/>
                    <a:pt x="1009674" y="907062"/>
                    <a:pt x="1014480" y="920400"/>
                  </a:cubicBezTo>
                  <a:cubicBezTo>
                    <a:pt x="1016355" y="923052"/>
                    <a:pt x="1017816" y="926113"/>
                    <a:pt x="1017816" y="926113"/>
                  </a:cubicBezTo>
                  <a:cubicBezTo>
                    <a:pt x="1017816" y="926113"/>
                    <a:pt x="1031478" y="926822"/>
                    <a:pt x="1033710" y="921591"/>
                  </a:cubicBezTo>
                  <a:cubicBezTo>
                    <a:pt x="1035874" y="916380"/>
                    <a:pt x="1045660" y="911280"/>
                    <a:pt x="1051604" y="911376"/>
                  </a:cubicBezTo>
                  <a:cubicBezTo>
                    <a:pt x="1057543" y="911478"/>
                    <a:pt x="1070815" y="917142"/>
                    <a:pt x="1076580" y="920261"/>
                  </a:cubicBezTo>
                  <a:cubicBezTo>
                    <a:pt x="1082370" y="923332"/>
                    <a:pt x="1094398" y="927526"/>
                    <a:pt x="1096991" y="922710"/>
                  </a:cubicBezTo>
                  <a:cubicBezTo>
                    <a:pt x="1099585" y="917908"/>
                    <a:pt x="1103065" y="915213"/>
                    <a:pt x="1108315" y="917436"/>
                  </a:cubicBezTo>
                  <a:cubicBezTo>
                    <a:pt x="1113550" y="919605"/>
                    <a:pt x="1125004" y="922064"/>
                    <a:pt x="1127964" y="933537"/>
                  </a:cubicBezTo>
                  <a:cubicBezTo>
                    <a:pt x="1132129" y="936608"/>
                    <a:pt x="1139433" y="948404"/>
                    <a:pt x="1133831" y="955732"/>
                  </a:cubicBezTo>
                  <a:cubicBezTo>
                    <a:pt x="1130423" y="958629"/>
                    <a:pt x="1133966" y="965908"/>
                    <a:pt x="1135851" y="971274"/>
                  </a:cubicBezTo>
                  <a:cubicBezTo>
                    <a:pt x="1138594" y="972358"/>
                    <a:pt x="1146510" y="988773"/>
                    <a:pt x="1130139" y="993463"/>
                  </a:cubicBezTo>
                  <a:cubicBezTo>
                    <a:pt x="1127704" y="995262"/>
                    <a:pt x="1128490" y="996900"/>
                    <a:pt x="1131310" y="998202"/>
                  </a:cubicBezTo>
                  <a:cubicBezTo>
                    <a:pt x="1134144" y="999508"/>
                    <a:pt x="1142470" y="1004797"/>
                    <a:pt x="1150877" y="1000656"/>
                  </a:cubicBezTo>
                  <a:cubicBezTo>
                    <a:pt x="1154415" y="999036"/>
                    <a:pt x="1156402" y="1003852"/>
                    <a:pt x="1157404" y="1006238"/>
                  </a:cubicBezTo>
                  <a:cubicBezTo>
                    <a:pt x="1164742" y="1009935"/>
                    <a:pt x="1194244" y="1008812"/>
                    <a:pt x="1205115" y="985943"/>
                  </a:cubicBezTo>
                  <a:cubicBezTo>
                    <a:pt x="1209208" y="976345"/>
                    <a:pt x="1211729" y="970454"/>
                    <a:pt x="1216444" y="969066"/>
                  </a:cubicBezTo>
                  <a:cubicBezTo>
                    <a:pt x="1217109" y="958884"/>
                    <a:pt x="1213242" y="941482"/>
                    <a:pt x="1234743" y="931522"/>
                  </a:cubicBezTo>
                  <a:cubicBezTo>
                    <a:pt x="1239964" y="922151"/>
                    <a:pt x="1243386" y="921919"/>
                    <a:pt x="1249080" y="920212"/>
                  </a:cubicBezTo>
                  <a:cubicBezTo>
                    <a:pt x="1254686" y="914726"/>
                    <a:pt x="1260302" y="907394"/>
                    <a:pt x="1272123" y="915397"/>
                  </a:cubicBezTo>
                  <a:cubicBezTo>
                    <a:pt x="1275232" y="911511"/>
                    <a:pt x="1269047" y="897218"/>
                    <a:pt x="1279537" y="895405"/>
                  </a:cubicBezTo>
                  <a:cubicBezTo>
                    <a:pt x="1278973" y="889939"/>
                    <a:pt x="1279166" y="887981"/>
                    <a:pt x="1289405" y="885181"/>
                  </a:cubicBezTo>
                  <a:cubicBezTo>
                    <a:pt x="1288513" y="881391"/>
                    <a:pt x="1288595" y="878947"/>
                    <a:pt x="1291459" y="877795"/>
                  </a:cubicBezTo>
                  <a:cubicBezTo>
                    <a:pt x="1294361" y="876715"/>
                    <a:pt x="1293604" y="870704"/>
                    <a:pt x="1291608" y="869431"/>
                  </a:cubicBezTo>
                  <a:cubicBezTo>
                    <a:pt x="1289632" y="868154"/>
                    <a:pt x="1295499" y="859120"/>
                    <a:pt x="1300059" y="857201"/>
                  </a:cubicBezTo>
                  <a:cubicBezTo>
                    <a:pt x="1304600" y="855311"/>
                    <a:pt x="1320903" y="854150"/>
                    <a:pt x="1330328" y="863945"/>
                  </a:cubicBezTo>
                  <a:cubicBezTo>
                    <a:pt x="1336898" y="862523"/>
                    <a:pt x="1337308" y="860248"/>
                    <a:pt x="1340586" y="858691"/>
                  </a:cubicBezTo>
                  <a:cubicBezTo>
                    <a:pt x="1343903" y="857163"/>
                    <a:pt x="1348931" y="844344"/>
                    <a:pt x="1355063" y="851368"/>
                  </a:cubicBezTo>
                  <a:cubicBezTo>
                    <a:pt x="1364521" y="848803"/>
                    <a:pt x="1363668" y="844224"/>
                    <a:pt x="1370846" y="842064"/>
                  </a:cubicBezTo>
                  <a:cubicBezTo>
                    <a:pt x="1377489" y="840054"/>
                    <a:pt x="1384764" y="831140"/>
                    <a:pt x="1377605" y="827910"/>
                  </a:cubicBezTo>
                  <a:cubicBezTo>
                    <a:pt x="1370431" y="824681"/>
                    <a:pt x="1367380" y="809211"/>
                    <a:pt x="1373599" y="804906"/>
                  </a:cubicBezTo>
                  <a:cubicBezTo>
                    <a:pt x="1372129" y="802664"/>
                    <a:pt x="1371777" y="797511"/>
                    <a:pt x="1371777" y="797511"/>
                  </a:cubicBezTo>
                  <a:cubicBezTo>
                    <a:pt x="1371777" y="797511"/>
                    <a:pt x="1376163" y="794595"/>
                    <a:pt x="1380955" y="793139"/>
                  </a:cubicBezTo>
                  <a:cubicBezTo>
                    <a:pt x="1385776" y="791668"/>
                    <a:pt x="1386673" y="789383"/>
                    <a:pt x="1378771" y="784495"/>
                  </a:cubicBezTo>
                  <a:cubicBezTo>
                    <a:pt x="1376024" y="782090"/>
                    <a:pt x="1372509" y="789620"/>
                    <a:pt x="1369154" y="787407"/>
                  </a:cubicBezTo>
                  <a:cubicBezTo>
                    <a:pt x="1365789" y="785185"/>
                    <a:pt x="1355704" y="789277"/>
                    <a:pt x="1352763" y="790188"/>
                  </a:cubicBezTo>
                  <a:cubicBezTo>
                    <a:pt x="1349726" y="786269"/>
                    <a:pt x="1330039" y="793269"/>
                    <a:pt x="1329566" y="808772"/>
                  </a:cubicBezTo>
                  <a:cubicBezTo>
                    <a:pt x="1328790" y="813294"/>
                    <a:pt x="1324924" y="813892"/>
                    <a:pt x="1324924" y="813892"/>
                  </a:cubicBezTo>
                  <a:cubicBezTo>
                    <a:pt x="1324924" y="813892"/>
                    <a:pt x="1312120" y="814287"/>
                    <a:pt x="1309421" y="803508"/>
                  </a:cubicBezTo>
                  <a:cubicBezTo>
                    <a:pt x="1308211" y="803074"/>
                    <a:pt x="1304952" y="805653"/>
                    <a:pt x="1307155" y="811163"/>
                  </a:cubicBezTo>
                  <a:cubicBezTo>
                    <a:pt x="1305656" y="815160"/>
                    <a:pt x="1306007" y="827949"/>
                    <a:pt x="1289646" y="835320"/>
                  </a:cubicBezTo>
                  <a:cubicBezTo>
                    <a:pt x="1282256" y="838352"/>
                    <a:pt x="1282097" y="840560"/>
                    <a:pt x="1282531" y="842855"/>
                  </a:cubicBezTo>
                  <a:cubicBezTo>
                    <a:pt x="1282931" y="845135"/>
                    <a:pt x="1279599" y="848316"/>
                    <a:pt x="1276095" y="845569"/>
                  </a:cubicBezTo>
                  <a:cubicBezTo>
                    <a:pt x="1272571" y="842864"/>
                    <a:pt x="1259001" y="842421"/>
                    <a:pt x="1255544" y="843457"/>
                  </a:cubicBezTo>
                  <a:cubicBezTo>
                    <a:pt x="1252069" y="844465"/>
                    <a:pt x="1244857" y="843693"/>
                    <a:pt x="1241921" y="840285"/>
                  </a:cubicBezTo>
                  <a:cubicBezTo>
                    <a:pt x="1238990" y="836848"/>
                    <a:pt x="1238739" y="835031"/>
                    <a:pt x="1241024" y="831950"/>
                  </a:cubicBezTo>
                  <a:cubicBezTo>
                    <a:pt x="1243290" y="828822"/>
                    <a:pt x="1241039" y="825731"/>
                    <a:pt x="1239516" y="822453"/>
                  </a:cubicBezTo>
                  <a:cubicBezTo>
                    <a:pt x="1237973" y="819132"/>
                    <a:pt x="1231455" y="812749"/>
                    <a:pt x="1227724" y="812783"/>
                  </a:cubicBezTo>
                  <a:cubicBezTo>
                    <a:pt x="1224359" y="807904"/>
                    <a:pt x="1222122" y="806675"/>
                    <a:pt x="1217827" y="808512"/>
                  </a:cubicBezTo>
                  <a:cubicBezTo>
                    <a:pt x="1213484" y="809278"/>
                    <a:pt x="1209637" y="807225"/>
                    <a:pt x="1209545" y="804284"/>
                  </a:cubicBezTo>
                  <a:cubicBezTo>
                    <a:pt x="1204271" y="806415"/>
                    <a:pt x="1197802" y="807268"/>
                    <a:pt x="1197802" y="807268"/>
                  </a:cubicBezTo>
                  <a:cubicBezTo>
                    <a:pt x="1197802" y="807268"/>
                    <a:pt x="1197479" y="792840"/>
                    <a:pt x="1193569" y="798610"/>
                  </a:cubicBezTo>
                  <a:cubicBezTo>
                    <a:pt x="1191048" y="801787"/>
                    <a:pt x="1185239" y="799502"/>
                    <a:pt x="1192904" y="788323"/>
                  </a:cubicBezTo>
                  <a:cubicBezTo>
                    <a:pt x="1186444" y="791075"/>
                    <a:pt x="1182805" y="796744"/>
                    <a:pt x="1181585" y="800861"/>
                  </a:cubicBezTo>
                  <a:cubicBezTo>
                    <a:pt x="1180414" y="804983"/>
                    <a:pt x="1176186" y="809760"/>
                    <a:pt x="1174060" y="810676"/>
                  </a:cubicBezTo>
                  <a:cubicBezTo>
                    <a:pt x="1173886" y="802930"/>
                    <a:pt x="1176687" y="796152"/>
                    <a:pt x="1180515" y="793635"/>
                  </a:cubicBezTo>
                  <a:cubicBezTo>
                    <a:pt x="1182954" y="788361"/>
                    <a:pt x="1179030" y="781718"/>
                    <a:pt x="1174715" y="782485"/>
                  </a:cubicBezTo>
                  <a:cubicBezTo>
                    <a:pt x="1170367" y="783271"/>
                    <a:pt x="1176022" y="788564"/>
                    <a:pt x="1174744" y="789735"/>
                  </a:cubicBezTo>
                  <a:cubicBezTo>
                    <a:pt x="1173491" y="790969"/>
                    <a:pt x="1169277" y="795732"/>
                    <a:pt x="1170387" y="799411"/>
                  </a:cubicBezTo>
                  <a:cubicBezTo>
                    <a:pt x="1166790" y="802636"/>
                    <a:pt x="1165098" y="796957"/>
                    <a:pt x="1159791" y="799912"/>
                  </a:cubicBezTo>
                  <a:cubicBezTo>
                    <a:pt x="1157443" y="796590"/>
                    <a:pt x="1162418" y="790781"/>
                    <a:pt x="1159063" y="788564"/>
                  </a:cubicBezTo>
                  <a:cubicBezTo>
                    <a:pt x="1155683" y="786337"/>
                    <a:pt x="1151118" y="781015"/>
                    <a:pt x="1150106" y="785618"/>
                  </a:cubicBezTo>
                  <a:cubicBezTo>
                    <a:pt x="1147691" y="786597"/>
                    <a:pt x="1136111" y="782032"/>
                    <a:pt x="1141294" y="797434"/>
                  </a:cubicBezTo>
                  <a:cubicBezTo>
                    <a:pt x="1137399" y="798846"/>
                    <a:pt x="1135422" y="799444"/>
                    <a:pt x="1135422" y="799444"/>
                  </a:cubicBezTo>
                  <a:cubicBezTo>
                    <a:pt x="1135422" y="799444"/>
                    <a:pt x="1139621" y="790131"/>
                    <a:pt x="1132626" y="789277"/>
                  </a:cubicBezTo>
                  <a:cubicBezTo>
                    <a:pt x="1125636" y="788405"/>
                    <a:pt x="1115455" y="780446"/>
                    <a:pt x="1113738" y="786342"/>
                  </a:cubicBezTo>
                  <a:cubicBezTo>
                    <a:pt x="1117855" y="787542"/>
                    <a:pt x="1120328" y="792160"/>
                    <a:pt x="1118723" y="794006"/>
                  </a:cubicBezTo>
                  <a:cubicBezTo>
                    <a:pt x="1113970" y="794344"/>
                    <a:pt x="1109968" y="794498"/>
                    <a:pt x="1109968" y="794498"/>
                  </a:cubicBezTo>
                  <a:lnTo>
                    <a:pt x="1107872" y="788371"/>
                  </a:lnTo>
                  <a:lnTo>
                    <a:pt x="1104309" y="788111"/>
                  </a:lnTo>
                  <a:lnTo>
                    <a:pt x="1102121" y="781772"/>
                  </a:lnTo>
                  <a:lnTo>
                    <a:pt x="1095902" y="779887"/>
                  </a:lnTo>
                  <a:lnTo>
                    <a:pt x="1097652" y="786602"/>
                  </a:lnTo>
                  <a:cubicBezTo>
                    <a:pt x="1097652" y="786602"/>
                    <a:pt x="1087629" y="786438"/>
                    <a:pt x="1083927" y="777587"/>
                  </a:cubicBezTo>
                  <a:cubicBezTo>
                    <a:pt x="1088068" y="777124"/>
                    <a:pt x="1089181" y="770096"/>
                    <a:pt x="1093559" y="773065"/>
                  </a:cubicBezTo>
                  <a:cubicBezTo>
                    <a:pt x="1098655" y="772067"/>
                    <a:pt x="1107688" y="769869"/>
                    <a:pt x="1107688" y="769869"/>
                  </a:cubicBezTo>
                  <a:cubicBezTo>
                    <a:pt x="1107688" y="769869"/>
                    <a:pt x="1115965" y="782181"/>
                    <a:pt x="1126730" y="776796"/>
                  </a:cubicBezTo>
                  <a:cubicBezTo>
                    <a:pt x="1125785" y="772781"/>
                    <a:pt x="1120020" y="766176"/>
                    <a:pt x="1126128" y="768630"/>
                  </a:cubicBezTo>
                  <a:cubicBezTo>
                    <a:pt x="1132259" y="771089"/>
                    <a:pt x="1134130" y="768365"/>
                    <a:pt x="1130524" y="767054"/>
                  </a:cubicBezTo>
                  <a:cubicBezTo>
                    <a:pt x="1126884" y="765728"/>
                    <a:pt x="1119933" y="757885"/>
                    <a:pt x="1123568" y="755667"/>
                  </a:cubicBezTo>
                  <a:cubicBezTo>
                    <a:pt x="1127685" y="754983"/>
                    <a:pt x="1138382" y="766292"/>
                    <a:pt x="1143921" y="771364"/>
                  </a:cubicBezTo>
                  <a:cubicBezTo>
                    <a:pt x="1143766" y="768972"/>
                    <a:pt x="1137562" y="760073"/>
                    <a:pt x="1141934" y="760363"/>
                  </a:cubicBezTo>
                  <a:cubicBezTo>
                    <a:pt x="1146370" y="760637"/>
                    <a:pt x="1158855" y="767396"/>
                    <a:pt x="1158894" y="760363"/>
                  </a:cubicBezTo>
                  <a:cubicBezTo>
                    <a:pt x="1159367" y="754833"/>
                    <a:pt x="1162177" y="756950"/>
                    <a:pt x="1163816" y="759688"/>
                  </a:cubicBezTo>
                  <a:cubicBezTo>
                    <a:pt x="1165445" y="762407"/>
                    <a:pt x="1168072" y="762190"/>
                    <a:pt x="1169336" y="757504"/>
                  </a:cubicBezTo>
                  <a:cubicBezTo>
                    <a:pt x="1170637" y="752785"/>
                    <a:pt x="1182429" y="750066"/>
                    <a:pt x="1185929" y="761640"/>
                  </a:cubicBezTo>
                  <a:cubicBezTo>
                    <a:pt x="1179531" y="760073"/>
                    <a:pt x="1175714" y="762580"/>
                    <a:pt x="1179213" y="766099"/>
                  </a:cubicBezTo>
                  <a:cubicBezTo>
                    <a:pt x="1182679" y="769614"/>
                    <a:pt x="1185615" y="772250"/>
                    <a:pt x="1191053" y="770582"/>
                  </a:cubicBezTo>
                  <a:cubicBezTo>
                    <a:pt x="1195738" y="775384"/>
                    <a:pt x="1200844" y="783507"/>
                    <a:pt x="1201109" y="791514"/>
                  </a:cubicBezTo>
                  <a:cubicBezTo>
                    <a:pt x="1201591" y="794845"/>
                    <a:pt x="1204787" y="785840"/>
                    <a:pt x="1210577" y="788125"/>
                  </a:cubicBezTo>
                  <a:cubicBezTo>
                    <a:pt x="1205626" y="783189"/>
                    <a:pt x="1188556" y="757890"/>
                    <a:pt x="1185929" y="750070"/>
                  </a:cubicBezTo>
                  <a:cubicBezTo>
                    <a:pt x="1183745" y="743746"/>
                    <a:pt x="1186102" y="738997"/>
                    <a:pt x="1191540" y="737349"/>
                  </a:cubicBezTo>
                  <a:cubicBezTo>
                    <a:pt x="1196963" y="735719"/>
                    <a:pt x="1208369" y="729852"/>
                    <a:pt x="1208566" y="711751"/>
                  </a:cubicBezTo>
                  <a:cubicBezTo>
                    <a:pt x="1209550" y="706106"/>
                    <a:pt x="1206889" y="701772"/>
                    <a:pt x="1202208" y="698638"/>
                  </a:cubicBezTo>
                  <a:cubicBezTo>
                    <a:pt x="1207096" y="697954"/>
                    <a:pt x="1212004" y="696455"/>
                    <a:pt x="1216950" y="712739"/>
                  </a:cubicBezTo>
                  <a:cubicBezTo>
                    <a:pt x="1221042" y="712040"/>
                    <a:pt x="1223761" y="711225"/>
                    <a:pt x="1223761" y="711225"/>
                  </a:cubicBezTo>
                  <a:cubicBezTo>
                    <a:pt x="1223761" y="711225"/>
                    <a:pt x="1230910" y="688616"/>
                    <a:pt x="1243266" y="682209"/>
                  </a:cubicBezTo>
                  <a:cubicBezTo>
                    <a:pt x="1245758" y="666364"/>
                    <a:pt x="1251890" y="651892"/>
                    <a:pt x="1284527" y="642318"/>
                  </a:cubicBezTo>
                  <a:cubicBezTo>
                    <a:pt x="1289251" y="648151"/>
                    <a:pt x="1291203" y="647577"/>
                    <a:pt x="1291362" y="642670"/>
                  </a:cubicBezTo>
                  <a:cubicBezTo>
                    <a:pt x="1291492" y="637786"/>
                    <a:pt x="1305708" y="611721"/>
                    <a:pt x="1329928" y="611697"/>
                  </a:cubicBezTo>
                  <a:cubicBezTo>
                    <a:pt x="1337612" y="592684"/>
                    <a:pt x="1357565" y="566792"/>
                    <a:pt x="1367496" y="577489"/>
                  </a:cubicBezTo>
                  <a:cubicBezTo>
                    <a:pt x="1370610" y="562029"/>
                    <a:pt x="1373724" y="545475"/>
                    <a:pt x="1380873" y="543329"/>
                  </a:cubicBezTo>
                  <a:cubicBezTo>
                    <a:pt x="1402099" y="538798"/>
                    <a:pt x="1393783" y="534325"/>
                    <a:pt x="1415968" y="527609"/>
                  </a:cubicBezTo>
                  <a:cubicBezTo>
                    <a:pt x="1419429" y="523897"/>
                    <a:pt x="1423686" y="522885"/>
                    <a:pt x="1426356" y="531769"/>
                  </a:cubicBezTo>
                  <a:cubicBezTo>
                    <a:pt x="1428718" y="527016"/>
                    <a:pt x="1432734" y="523391"/>
                    <a:pt x="1432734" y="523391"/>
                  </a:cubicBezTo>
                  <a:cubicBezTo>
                    <a:pt x="1429080" y="513986"/>
                    <a:pt x="1426930" y="503322"/>
                    <a:pt x="1429466" y="498270"/>
                  </a:cubicBezTo>
                  <a:cubicBezTo>
                    <a:pt x="1431948" y="493189"/>
                    <a:pt x="1429832" y="489791"/>
                    <a:pt x="1423989" y="492645"/>
                  </a:cubicBezTo>
                  <a:cubicBezTo>
                    <a:pt x="1418142" y="495494"/>
                    <a:pt x="1417467" y="489757"/>
                    <a:pt x="1418981" y="485023"/>
                  </a:cubicBezTo>
                  <a:cubicBezTo>
                    <a:pt x="1420509" y="480251"/>
                    <a:pt x="1418870" y="478293"/>
                    <a:pt x="1416624" y="468204"/>
                  </a:cubicBezTo>
                  <a:cubicBezTo>
                    <a:pt x="1414396" y="458119"/>
                    <a:pt x="1413042" y="449123"/>
                    <a:pt x="1424047" y="445551"/>
                  </a:cubicBezTo>
                  <a:cubicBezTo>
                    <a:pt x="1435082" y="441945"/>
                    <a:pt x="1437285" y="436691"/>
                    <a:pt x="1438191" y="432636"/>
                  </a:cubicBezTo>
                  <a:cubicBezTo>
                    <a:pt x="1439127" y="428606"/>
                    <a:pt x="1438996" y="427295"/>
                    <a:pt x="1445172" y="426249"/>
                  </a:cubicBezTo>
                  <a:cubicBezTo>
                    <a:pt x="1436620" y="397884"/>
                    <a:pt x="1452258" y="398019"/>
                    <a:pt x="1461664" y="394365"/>
                  </a:cubicBezTo>
                  <a:cubicBezTo>
                    <a:pt x="1471493" y="400299"/>
                    <a:pt x="1476627" y="391482"/>
                    <a:pt x="1481481" y="387847"/>
                  </a:cubicBezTo>
                  <a:cubicBezTo>
                    <a:pt x="1486307" y="384251"/>
                    <a:pt x="1489387" y="387370"/>
                    <a:pt x="1491388" y="386748"/>
                  </a:cubicBezTo>
                  <a:cubicBezTo>
                    <a:pt x="1493350" y="386160"/>
                    <a:pt x="1502803" y="380886"/>
                    <a:pt x="1516055" y="377709"/>
                  </a:cubicBezTo>
                  <a:cubicBezTo>
                    <a:pt x="1529433" y="374513"/>
                    <a:pt x="1517001" y="359116"/>
                    <a:pt x="1515848" y="353553"/>
                  </a:cubicBezTo>
                  <a:close/>
                  <a:moveTo>
                    <a:pt x="617480" y="257023"/>
                  </a:moveTo>
                  <a:lnTo>
                    <a:pt x="611536" y="256468"/>
                  </a:lnTo>
                  <a:lnTo>
                    <a:pt x="605028" y="258242"/>
                  </a:lnTo>
                  <a:lnTo>
                    <a:pt x="610958" y="253504"/>
                  </a:lnTo>
                  <a:lnTo>
                    <a:pt x="613918" y="247555"/>
                  </a:lnTo>
                  <a:lnTo>
                    <a:pt x="618107" y="241592"/>
                  </a:lnTo>
                  <a:lnTo>
                    <a:pt x="613918" y="235021"/>
                  </a:lnTo>
                  <a:lnTo>
                    <a:pt x="614554" y="233826"/>
                  </a:lnTo>
                  <a:lnTo>
                    <a:pt x="616897" y="227877"/>
                  </a:lnTo>
                  <a:lnTo>
                    <a:pt x="617475" y="227308"/>
                  </a:lnTo>
                  <a:lnTo>
                    <a:pt x="623424" y="226098"/>
                  </a:lnTo>
                  <a:lnTo>
                    <a:pt x="624036" y="232047"/>
                  </a:lnTo>
                  <a:lnTo>
                    <a:pt x="625232" y="238589"/>
                  </a:lnTo>
                  <a:lnTo>
                    <a:pt x="629397" y="244556"/>
                  </a:lnTo>
                  <a:lnTo>
                    <a:pt x="628211" y="251098"/>
                  </a:lnTo>
                  <a:lnTo>
                    <a:pt x="628211" y="251672"/>
                  </a:lnTo>
                  <a:lnTo>
                    <a:pt x="630568" y="258242"/>
                  </a:lnTo>
                  <a:lnTo>
                    <a:pt x="631788" y="264775"/>
                  </a:lnTo>
                  <a:cubicBezTo>
                    <a:pt x="641497" y="284515"/>
                    <a:pt x="631942" y="291930"/>
                    <a:pt x="641318" y="306425"/>
                  </a:cubicBezTo>
                  <a:cubicBezTo>
                    <a:pt x="612597" y="299918"/>
                    <a:pt x="630559" y="274286"/>
                    <a:pt x="617480" y="257023"/>
                  </a:cubicBezTo>
                  <a:close/>
                  <a:moveTo>
                    <a:pt x="1168087" y="567414"/>
                  </a:moveTo>
                  <a:cubicBezTo>
                    <a:pt x="1166761" y="573715"/>
                    <a:pt x="1162447" y="579051"/>
                    <a:pt x="1149605" y="581042"/>
                  </a:cubicBezTo>
                  <a:cubicBezTo>
                    <a:pt x="1146779" y="588630"/>
                    <a:pt x="1141655" y="595808"/>
                    <a:pt x="1131570" y="589989"/>
                  </a:cubicBezTo>
                  <a:cubicBezTo>
                    <a:pt x="1121461" y="584113"/>
                    <a:pt x="1106073" y="581259"/>
                    <a:pt x="1102979" y="586215"/>
                  </a:cubicBezTo>
                  <a:cubicBezTo>
                    <a:pt x="1099908" y="591175"/>
                    <a:pt x="1092855" y="594665"/>
                    <a:pt x="1088333" y="596569"/>
                  </a:cubicBezTo>
                  <a:cubicBezTo>
                    <a:pt x="1087147" y="606866"/>
                    <a:pt x="1083392" y="609595"/>
                    <a:pt x="1064422" y="615336"/>
                  </a:cubicBezTo>
                  <a:cubicBezTo>
                    <a:pt x="1061125" y="618740"/>
                    <a:pt x="1062417" y="622114"/>
                    <a:pt x="1063940" y="624616"/>
                  </a:cubicBezTo>
                  <a:cubicBezTo>
                    <a:pt x="1073837" y="621642"/>
                    <a:pt x="1077646" y="619130"/>
                    <a:pt x="1077646" y="619130"/>
                  </a:cubicBezTo>
                  <a:cubicBezTo>
                    <a:pt x="1073351" y="624496"/>
                    <a:pt x="1069706" y="626665"/>
                    <a:pt x="1066784" y="627798"/>
                  </a:cubicBezTo>
                  <a:cubicBezTo>
                    <a:pt x="1067455" y="637030"/>
                    <a:pt x="1066177" y="652461"/>
                    <a:pt x="1059549" y="659065"/>
                  </a:cubicBezTo>
                  <a:cubicBezTo>
                    <a:pt x="1061366" y="673045"/>
                    <a:pt x="1051137" y="678541"/>
                    <a:pt x="1054405" y="687507"/>
                  </a:cubicBezTo>
                  <a:cubicBezTo>
                    <a:pt x="1059366" y="687064"/>
                    <a:pt x="1063892" y="688674"/>
                    <a:pt x="1059737" y="689952"/>
                  </a:cubicBezTo>
                  <a:cubicBezTo>
                    <a:pt x="1055495" y="691195"/>
                    <a:pt x="1050968" y="693924"/>
                    <a:pt x="1056338" y="696614"/>
                  </a:cubicBezTo>
                  <a:cubicBezTo>
                    <a:pt x="1060918" y="698455"/>
                    <a:pt x="1050944" y="702818"/>
                    <a:pt x="1052337" y="705609"/>
                  </a:cubicBezTo>
                  <a:cubicBezTo>
                    <a:pt x="1047381" y="707128"/>
                    <a:pt x="1039721" y="707561"/>
                    <a:pt x="1038309" y="711732"/>
                  </a:cubicBezTo>
                  <a:cubicBezTo>
                    <a:pt x="1036877" y="715921"/>
                    <a:pt x="1032287" y="722159"/>
                    <a:pt x="1028359" y="722515"/>
                  </a:cubicBezTo>
                  <a:cubicBezTo>
                    <a:pt x="1024430" y="722896"/>
                    <a:pt x="1014412" y="722713"/>
                    <a:pt x="1009770" y="725162"/>
                  </a:cubicBezTo>
                  <a:cubicBezTo>
                    <a:pt x="1009071" y="721050"/>
                    <a:pt x="1020395" y="719285"/>
                    <a:pt x="1023470" y="719705"/>
                  </a:cubicBezTo>
                  <a:cubicBezTo>
                    <a:pt x="1026556" y="720105"/>
                    <a:pt x="1030378" y="717622"/>
                    <a:pt x="1030962" y="714214"/>
                  </a:cubicBezTo>
                  <a:cubicBezTo>
                    <a:pt x="1031550" y="710801"/>
                    <a:pt x="1035392" y="702109"/>
                    <a:pt x="1045342" y="702071"/>
                  </a:cubicBezTo>
                  <a:cubicBezTo>
                    <a:pt x="1050279" y="697881"/>
                    <a:pt x="1047319" y="681853"/>
                    <a:pt x="1047319" y="681853"/>
                  </a:cubicBezTo>
                  <a:lnTo>
                    <a:pt x="1041365" y="683641"/>
                  </a:lnTo>
                  <a:cubicBezTo>
                    <a:pt x="1041365" y="683641"/>
                    <a:pt x="1042893" y="676145"/>
                    <a:pt x="1047338" y="675672"/>
                  </a:cubicBezTo>
                  <a:cubicBezTo>
                    <a:pt x="1051749" y="675089"/>
                    <a:pt x="1055412" y="661369"/>
                    <a:pt x="1051889" y="655970"/>
                  </a:cubicBezTo>
                  <a:cubicBezTo>
                    <a:pt x="1056362" y="650306"/>
                    <a:pt x="1063651" y="638693"/>
                    <a:pt x="1059086" y="627152"/>
                  </a:cubicBezTo>
                  <a:cubicBezTo>
                    <a:pt x="1061009" y="622833"/>
                    <a:pt x="1055012" y="618971"/>
                    <a:pt x="1053161" y="618176"/>
                  </a:cubicBezTo>
                  <a:cubicBezTo>
                    <a:pt x="1051913" y="612367"/>
                    <a:pt x="1042907" y="605661"/>
                    <a:pt x="1048528" y="603709"/>
                  </a:cubicBezTo>
                  <a:cubicBezTo>
                    <a:pt x="1054106" y="601737"/>
                    <a:pt x="1059153" y="590809"/>
                    <a:pt x="1065377" y="598888"/>
                  </a:cubicBezTo>
                  <a:cubicBezTo>
                    <a:pt x="1069065" y="597770"/>
                    <a:pt x="1073495" y="596444"/>
                    <a:pt x="1073495" y="596444"/>
                  </a:cubicBezTo>
                  <a:cubicBezTo>
                    <a:pt x="1073495" y="596444"/>
                    <a:pt x="1073114" y="587950"/>
                    <a:pt x="1079362" y="589059"/>
                  </a:cubicBezTo>
                  <a:cubicBezTo>
                    <a:pt x="1085368" y="589367"/>
                    <a:pt x="1089013" y="587184"/>
                    <a:pt x="1089664" y="584050"/>
                  </a:cubicBezTo>
                  <a:cubicBezTo>
                    <a:pt x="1090363" y="580883"/>
                    <a:pt x="1099691" y="573464"/>
                    <a:pt x="1105056" y="576183"/>
                  </a:cubicBezTo>
                  <a:cubicBezTo>
                    <a:pt x="1110446" y="578858"/>
                    <a:pt x="1135210" y="574365"/>
                    <a:pt x="1136762" y="571458"/>
                  </a:cubicBezTo>
                  <a:cubicBezTo>
                    <a:pt x="1138285" y="568590"/>
                    <a:pt x="1145864" y="549905"/>
                    <a:pt x="1140320" y="543209"/>
                  </a:cubicBezTo>
                  <a:cubicBezTo>
                    <a:pt x="1136179" y="538393"/>
                    <a:pt x="1129810" y="530294"/>
                    <a:pt x="1129791" y="523415"/>
                  </a:cubicBezTo>
                  <a:cubicBezTo>
                    <a:pt x="1128533" y="518392"/>
                    <a:pt x="1128027" y="512964"/>
                    <a:pt x="1128301" y="511310"/>
                  </a:cubicBezTo>
                  <a:cubicBezTo>
                    <a:pt x="1128774" y="508461"/>
                    <a:pt x="1120159" y="504870"/>
                    <a:pt x="1117604" y="503506"/>
                  </a:cubicBezTo>
                  <a:cubicBezTo>
                    <a:pt x="1115030" y="502127"/>
                    <a:pt x="1114457" y="496646"/>
                    <a:pt x="1116935" y="495908"/>
                  </a:cubicBezTo>
                  <a:cubicBezTo>
                    <a:pt x="1119393" y="495166"/>
                    <a:pt x="1123611" y="493098"/>
                    <a:pt x="1122864" y="487915"/>
                  </a:cubicBezTo>
                  <a:cubicBezTo>
                    <a:pt x="1120285" y="473718"/>
                    <a:pt x="1106975" y="461532"/>
                    <a:pt x="1101817" y="457482"/>
                  </a:cubicBezTo>
                  <a:cubicBezTo>
                    <a:pt x="1101310" y="457593"/>
                    <a:pt x="1100795" y="457637"/>
                    <a:pt x="1100250" y="457593"/>
                  </a:cubicBezTo>
                  <a:cubicBezTo>
                    <a:pt x="1096128" y="457236"/>
                    <a:pt x="1089823" y="455096"/>
                    <a:pt x="1085884" y="459502"/>
                  </a:cubicBezTo>
                  <a:cubicBezTo>
                    <a:pt x="1081989" y="463903"/>
                    <a:pt x="1072275" y="461175"/>
                    <a:pt x="1070120" y="460635"/>
                  </a:cubicBezTo>
                  <a:cubicBezTo>
                    <a:pt x="1067908" y="460100"/>
                    <a:pt x="1053991" y="459430"/>
                    <a:pt x="1049637" y="462351"/>
                  </a:cubicBezTo>
                  <a:cubicBezTo>
                    <a:pt x="1045651" y="457116"/>
                    <a:pt x="1041601" y="454016"/>
                    <a:pt x="1034216" y="456248"/>
                  </a:cubicBezTo>
                  <a:cubicBezTo>
                    <a:pt x="1032914" y="452874"/>
                    <a:pt x="1028122" y="449475"/>
                    <a:pt x="1020385" y="452344"/>
                  </a:cubicBezTo>
                  <a:cubicBezTo>
                    <a:pt x="1015714" y="446751"/>
                    <a:pt x="1011019" y="443584"/>
                    <a:pt x="1007707" y="448641"/>
                  </a:cubicBezTo>
                  <a:cubicBezTo>
                    <a:pt x="1003436" y="446134"/>
                    <a:pt x="997270" y="442640"/>
                    <a:pt x="995197" y="449167"/>
                  </a:cubicBezTo>
                  <a:cubicBezTo>
                    <a:pt x="991832" y="443801"/>
                    <a:pt x="987759" y="439988"/>
                    <a:pt x="981174" y="440894"/>
                  </a:cubicBezTo>
                  <a:lnTo>
                    <a:pt x="978276" y="444370"/>
                  </a:lnTo>
                  <a:cubicBezTo>
                    <a:pt x="977828" y="443295"/>
                    <a:pt x="977288" y="442586"/>
                    <a:pt x="976705" y="442104"/>
                  </a:cubicBezTo>
                  <a:cubicBezTo>
                    <a:pt x="973779" y="439660"/>
                    <a:pt x="969811" y="443362"/>
                    <a:pt x="969811" y="443362"/>
                  </a:cubicBezTo>
                  <a:lnTo>
                    <a:pt x="963858" y="439202"/>
                  </a:lnTo>
                  <a:lnTo>
                    <a:pt x="960300" y="438551"/>
                  </a:lnTo>
                  <a:lnTo>
                    <a:pt x="954954" y="432627"/>
                  </a:lnTo>
                  <a:lnTo>
                    <a:pt x="948991" y="432068"/>
                  </a:lnTo>
                  <a:lnTo>
                    <a:pt x="943649" y="429088"/>
                  </a:lnTo>
                  <a:lnTo>
                    <a:pt x="941263" y="428491"/>
                  </a:lnTo>
                  <a:lnTo>
                    <a:pt x="935309" y="427276"/>
                  </a:lnTo>
                  <a:lnTo>
                    <a:pt x="930566" y="429088"/>
                  </a:lnTo>
                  <a:lnTo>
                    <a:pt x="926396" y="430279"/>
                  </a:lnTo>
                  <a:lnTo>
                    <a:pt x="922809" y="430867"/>
                  </a:lnTo>
                  <a:lnTo>
                    <a:pt x="921633" y="431460"/>
                  </a:lnTo>
                  <a:lnTo>
                    <a:pt x="919849" y="435013"/>
                  </a:lnTo>
                  <a:lnTo>
                    <a:pt x="922211" y="440996"/>
                  </a:lnTo>
                  <a:lnTo>
                    <a:pt x="916263" y="442750"/>
                  </a:lnTo>
                  <a:lnTo>
                    <a:pt x="915087" y="443362"/>
                  </a:lnTo>
                  <a:lnTo>
                    <a:pt x="909138" y="448685"/>
                  </a:lnTo>
                  <a:lnTo>
                    <a:pt x="913867" y="442750"/>
                  </a:lnTo>
                  <a:lnTo>
                    <a:pt x="913867" y="436189"/>
                  </a:lnTo>
                  <a:lnTo>
                    <a:pt x="907354" y="435013"/>
                  </a:lnTo>
                  <a:lnTo>
                    <a:pt x="901381" y="437978"/>
                  </a:lnTo>
                  <a:lnTo>
                    <a:pt x="895432" y="437409"/>
                  </a:lnTo>
                  <a:lnTo>
                    <a:pt x="888867" y="441000"/>
                  </a:lnTo>
                  <a:lnTo>
                    <a:pt x="888283" y="441550"/>
                  </a:lnTo>
                  <a:cubicBezTo>
                    <a:pt x="877981" y="433099"/>
                    <a:pt x="865954" y="425352"/>
                    <a:pt x="851993" y="426119"/>
                  </a:cubicBezTo>
                  <a:lnTo>
                    <a:pt x="845451" y="423101"/>
                  </a:lnTo>
                  <a:lnTo>
                    <a:pt x="839483" y="421322"/>
                  </a:lnTo>
                  <a:lnTo>
                    <a:pt x="833559" y="421322"/>
                  </a:lnTo>
                  <a:lnTo>
                    <a:pt x="827012" y="420720"/>
                  </a:lnTo>
                  <a:lnTo>
                    <a:pt x="821035" y="417186"/>
                  </a:lnTo>
                  <a:lnTo>
                    <a:pt x="815100" y="414790"/>
                  </a:lnTo>
                  <a:lnTo>
                    <a:pt x="811562" y="415359"/>
                  </a:lnTo>
                  <a:lnTo>
                    <a:pt x="809754" y="414790"/>
                  </a:lnTo>
                  <a:lnTo>
                    <a:pt x="808568" y="413021"/>
                  </a:lnTo>
                  <a:lnTo>
                    <a:pt x="802026" y="408865"/>
                  </a:lnTo>
                  <a:lnTo>
                    <a:pt x="796068" y="407014"/>
                  </a:lnTo>
                  <a:lnTo>
                    <a:pt x="789531" y="407675"/>
                  </a:lnTo>
                  <a:lnTo>
                    <a:pt x="783597" y="404667"/>
                  </a:lnTo>
                  <a:lnTo>
                    <a:pt x="777605" y="400521"/>
                  </a:lnTo>
                  <a:lnTo>
                    <a:pt x="771106" y="401692"/>
                  </a:lnTo>
                  <a:lnTo>
                    <a:pt x="765129" y="398144"/>
                  </a:lnTo>
                  <a:lnTo>
                    <a:pt x="758602" y="394558"/>
                  </a:lnTo>
                  <a:lnTo>
                    <a:pt x="752633" y="391564"/>
                  </a:lnTo>
                  <a:lnTo>
                    <a:pt x="750850" y="390402"/>
                  </a:lnTo>
                  <a:lnTo>
                    <a:pt x="749674" y="391005"/>
                  </a:lnTo>
                  <a:lnTo>
                    <a:pt x="746670" y="385032"/>
                  </a:lnTo>
                  <a:lnTo>
                    <a:pt x="744911" y="378481"/>
                  </a:lnTo>
                  <a:lnTo>
                    <a:pt x="741319" y="372522"/>
                  </a:lnTo>
                  <a:lnTo>
                    <a:pt x="740114" y="365976"/>
                  </a:lnTo>
                  <a:lnTo>
                    <a:pt x="734180" y="363045"/>
                  </a:lnTo>
                  <a:lnTo>
                    <a:pt x="730617" y="368984"/>
                  </a:lnTo>
                  <a:lnTo>
                    <a:pt x="724090" y="372522"/>
                  </a:lnTo>
                  <a:lnTo>
                    <a:pt x="718127" y="373130"/>
                  </a:lnTo>
                  <a:lnTo>
                    <a:pt x="712164" y="371355"/>
                  </a:lnTo>
                  <a:lnTo>
                    <a:pt x="705636" y="371958"/>
                  </a:lnTo>
                  <a:lnTo>
                    <a:pt x="703829" y="370748"/>
                  </a:lnTo>
                  <a:lnTo>
                    <a:pt x="697885" y="366617"/>
                  </a:lnTo>
                  <a:lnTo>
                    <a:pt x="691353" y="362418"/>
                  </a:lnTo>
                  <a:lnTo>
                    <a:pt x="685409" y="359439"/>
                  </a:lnTo>
                  <a:lnTo>
                    <a:pt x="678848" y="360644"/>
                  </a:lnTo>
                  <a:lnTo>
                    <a:pt x="672909" y="355279"/>
                  </a:lnTo>
                  <a:lnTo>
                    <a:pt x="667577" y="348713"/>
                  </a:lnTo>
                  <a:lnTo>
                    <a:pt x="666391" y="346958"/>
                  </a:lnTo>
                  <a:lnTo>
                    <a:pt x="672913" y="349913"/>
                  </a:lnTo>
                  <a:lnTo>
                    <a:pt x="678852" y="355279"/>
                  </a:lnTo>
                  <a:lnTo>
                    <a:pt x="684816" y="356484"/>
                  </a:lnTo>
                  <a:lnTo>
                    <a:pt x="691357" y="357660"/>
                  </a:lnTo>
                  <a:lnTo>
                    <a:pt x="697306" y="361844"/>
                  </a:lnTo>
                  <a:lnTo>
                    <a:pt x="703250" y="365976"/>
                  </a:lnTo>
                  <a:lnTo>
                    <a:pt x="709228" y="368984"/>
                  </a:lnTo>
                  <a:lnTo>
                    <a:pt x="715177" y="369553"/>
                  </a:lnTo>
                  <a:lnTo>
                    <a:pt x="727050" y="361247"/>
                  </a:lnTo>
                  <a:lnTo>
                    <a:pt x="733606" y="358263"/>
                  </a:lnTo>
                  <a:lnTo>
                    <a:pt x="739564" y="358860"/>
                  </a:lnTo>
                  <a:lnTo>
                    <a:pt x="741324" y="359444"/>
                  </a:lnTo>
                  <a:lnTo>
                    <a:pt x="743103" y="358860"/>
                  </a:lnTo>
                  <a:lnTo>
                    <a:pt x="746092" y="357660"/>
                  </a:lnTo>
                  <a:lnTo>
                    <a:pt x="752016" y="363045"/>
                  </a:lnTo>
                  <a:lnTo>
                    <a:pt x="753819" y="368984"/>
                  </a:lnTo>
                  <a:lnTo>
                    <a:pt x="755005" y="370748"/>
                  </a:lnTo>
                  <a:lnTo>
                    <a:pt x="756813" y="376726"/>
                  </a:lnTo>
                  <a:lnTo>
                    <a:pt x="754432" y="382679"/>
                  </a:lnTo>
                  <a:lnTo>
                    <a:pt x="754432" y="384454"/>
                  </a:lnTo>
                  <a:lnTo>
                    <a:pt x="752016" y="389221"/>
                  </a:lnTo>
                  <a:lnTo>
                    <a:pt x="754432" y="391564"/>
                  </a:lnTo>
                  <a:lnTo>
                    <a:pt x="760356" y="393917"/>
                  </a:lnTo>
                  <a:lnTo>
                    <a:pt x="766344" y="398139"/>
                  </a:lnTo>
                  <a:lnTo>
                    <a:pt x="772856" y="399321"/>
                  </a:lnTo>
                  <a:lnTo>
                    <a:pt x="778853" y="398139"/>
                  </a:lnTo>
                  <a:lnTo>
                    <a:pt x="784768" y="401688"/>
                  </a:lnTo>
                  <a:lnTo>
                    <a:pt x="790731" y="405877"/>
                  </a:lnTo>
                  <a:lnTo>
                    <a:pt x="797288" y="402888"/>
                  </a:lnTo>
                  <a:lnTo>
                    <a:pt x="799067" y="396944"/>
                  </a:lnTo>
                  <a:lnTo>
                    <a:pt x="805006" y="398737"/>
                  </a:lnTo>
                  <a:lnTo>
                    <a:pt x="811571" y="404083"/>
                  </a:lnTo>
                  <a:lnTo>
                    <a:pt x="817525" y="404083"/>
                  </a:lnTo>
                  <a:lnTo>
                    <a:pt x="824057" y="401688"/>
                  </a:lnTo>
                  <a:lnTo>
                    <a:pt x="830011" y="401104"/>
                  </a:lnTo>
                  <a:cubicBezTo>
                    <a:pt x="842679" y="408489"/>
                    <a:pt x="853015" y="410283"/>
                    <a:pt x="867487" y="410649"/>
                  </a:cubicBezTo>
                  <a:lnTo>
                    <a:pt x="869256" y="404662"/>
                  </a:lnTo>
                  <a:lnTo>
                    <a:pt x="863312" y="400516"/>
                  </a:lnTo>
                  <a:lnTo>
                    <a:pt x="857354" y="394558"/>
                  </a:lnTo>
                  <a:lnTo>
                    <a:pt x="857354" y="389226"/>
                  </a:lnTo>
                  <a:lnTo>
                    <a:pt x="857990" y="383239"/>
                  </a:lnTo>
                  <a:lnTo>
                    <a:pt x="864522" y="384454"/>
                  </a:lnTo>
                  <a:lnTo>
                    <a:pt x="865086" y="385596"/>
                  </a:lnTo>
                  <a:lnTo>
                    <a:pt x="863881" y="391569"/>
                  </a:lnTo>
                  <a:lnTo>
                    <a:pt x="866846" y="392784"/>
                  </a:lnTo>
                  <a:lnTo>
                    <a:pt x="873392" y="393917"/>
                  </a:lnTo>
                  <a:lnTo>
                    <a:pt x="879346" y="399913"/>
                  </a:lnTo>
                  <a:lnTo>
                    <a:pt x="885883" y="402305"/>
                  </a:lnTo>
                  <a:lnTo>
                    <a:pt x="891865" y="406489"/>
                  </a:lnTo>
                  <a:cubicBezTo>
                    <a:pt x="902596" y="412891"/>
                    <a:pt x="912695" y="420903"/>
                    <a:pt x="922795" y="428500"/>
                  </a:cubicBezTo>
                  <a:lnTo>
                    <a:pt x="925740" y="428500"/>
                  </a:lnTo>
                  <a:lnTo>
                    <a:pt x="928763" y="427898"/>
                  </a:lnTo>
                  <a:lnTo>
                    <a:pt x="934692" y="425540"/>
                  </a:lnTo>
                  <a:lnTo>
                    <a:pt x="941249" y="426119"/>
                  </a:lnTo>
                  <a:lnTo>
                    <a:pt x="943635" y="427281"/>
                  </a:lnTo>
                  <a:lnTo>
                    <a:pt x="946021" y="427898"/>
                  </a:lnTo>
                  <a:lnTo>
                    <a:pt x="951950" y="427281"/>
                  </a:lnTo>
                  <a:lnTo>
                    <a:pt x="958497" y="427898"/>
                  </a:lnTo>
                  <a:lnTo>
                    <a:pt x="964422" y="429098"/>
                  </a:lnTo>
                  <a:lnTo>
                    <a:pt x="971002" y="437414"/>
                  </a:lnTo>
                  <a:cubicBezTo>
                    <a:pt x="971002" y="437414"/>
                    <a:pt x="980552" y="433408"/>
                    <a:pt x="985078" y="433538"/>
                  </a:cubicBezTo>
                  <a:cubicBezTo>
                    <a:pt x="985855" y="433538"/>
                    <a:pt x="986510" y="433673"/>
                    <a:pt x="986920" y="433986"/>
                  </a:cubicBezTo>
                  <a:lnTo>
                    <a:pt x="986722" y="434227"/>
                  </a:lnTo>
                  <a:cubicBezTo>
                    <a:pt x="992015" y="436305"/>
                    <a:pt x="995347" y="435403"/>
                    <a:pt x="999859" y="428524"/>
                  </a:cubicBezTo>
                  <a:cubicBezTo>
                    <a:pt x="1005658" y="424967"/>
                    <a:pt x="1000071" y="439969"/>
                    <a:pt x="1003007" y="438291"/>
                  </a:cubicBezTo>
                  <a:cubicBezTo>
                    <a:pt x="1005918" y="436585"/>
                    <a:pt x="1014895" y="435519"/>
                    <a:pt x="1017242" y="440653"/>
                  </a:cubicBezTo>
                  <a:cubicBezTo>
                    <a:pt x="1023505" y="442596"/>
                    <a:pt x="1039393" y="447701"/>
                    <a:pt x="1044412" y="452623"/>
                  </a:cubicBezTo>
                  <a:cubicBezTo>
                    <a:pt x="1050365" y="451905"/>
                    <a:pt x="1054550" y="451461"/>
                    <a:pt x="1055832" y="454841"/>
                  </a:cubicBezTo>
                  <a:cubicBezTo>
                    <a:pt x="1070569" y="454715"/>
                    <a:pt x="1070709" y="459502"/>
                    <a:pt x="1075587" y="458856"/>
                  </a:cubicBezTo>
                  <a:cubicBezTo>
                    <a:pt x="1080818" y="457396"/>
                    <a:pt x="1087697" y="452093"/>
                    <a:pt x="1094282" y="452551"/>
                  </a:cubicBezTo>
                  <a:cubicBezTo>
                    <a:pt x="1100886" y="452975"/>
                    <a:pt x="1101894" y="452281"/>
                    <a:pt x="1105230" y="446009"/>
                  </a:cubicBezTo>
                  <a:cubicBezTo>
                    <a:pt x="1106483" y="450242"/>
                    <a:pt x="1106001" y="453486"/>
                    <a:pt x="1104622" y="455477"/>
                  </a:cubicBezTo>
                  <a:cubicBezTo>
                    <a:pt x="1117841" y="465938"/>
                    <a:pt x="1123095" y="478935"/>
                    <a:pt x="1126378" y="487139"/>
                  </a:cubicBezTo>
                  <a:cubicBezTo>
                    <a:pt x="1129719" y="495532"/>
                    <a:pt x="1121736" y="497668"/>
                    <a:pt x="1118217" y="498483"/>
                  </a:cubicBezTo>
                  <a:cubicBezTo>
                    <a:pt x="1114717" y="499283"/>
                    <a:pt x="1122627" y="504137"/>
                    <a:pt x="1128837" y="506022"/>
                  </a:cubicBezTo>
                  <a:cubicBezTo>
                    <a:pt x="1135075" y="507917"/>
                    <a:pt x="1130562" y="510886"/>
                    <a:pt x="1131300" y="514169"/>
                  </a:cubicBezTo>
                  <a:cubicBezTo>
                    <a:pt x="1131951" y="517182"/>
                    <a:pt x="1134660" y="521873"/>
                    <a:pt x="1133706" y="528501"/>
                  </a:cubicBezTo>
                  <a:cubicBezTo>
                    <a:pt x="1134048" y="528795"/>
                    <a:pt x="1134390" y="529137"/>
                    <a:pt x="1134834" y="529504"/>
                  </a:cubicBezTo>
                  <a:cubicBezTo>
                    <a:pt x="1139539" y="533505"/>
                    <a:pt x="1147025" y="536870"/>
                    <a:pt x="1149798" y="544380"/>
                  </a:cubicBezTo>
                  <a:cubicBezTo>
                    <a:pt x="1158320" y="550180"/>
                    <a:pt x="1169514" y="559691"/>
                    <a:pt x="1168087" y="56741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63" name="Freihandform: Form 662">
              <a:extLst>
                <a:ext uri="{FF2B5EF4-FFF2-40B4-BE49-F238E27FC236}">
                  <a16:creationId xmlns:a16="http://schemas.microsoft.com/office/drawing/2014/main" id="{7584D62A-68AC-9CE2-4851-3A88E5566EA4}"/>
                </a:ext>
              </a:extLst>
            </p:cNvPr>
            <p:cNvSpPr/>
            <p:nvPr/>
          </p:nvSpPr>
          <p:spPr>
            <a:xfrm>
              <a:off x="7988123" y="4054491"/>
              <a:ext cx="6349" cy="4763"/>
            </a:xfrm>
            <a:custGeom>
              <a:avLst/>
              <a:gdLst>
                <a:gd name="connsiteX0" fmla="*/ 1571 w 4468"/>
                <a:gd name="connsiteY0" fmla="*/ 3476 h 3475"/>
                <a:gd name="connsiteX1" fmla="*/ 4469 w 4468"/>
                <a:gd name="connsiteY1" fmla="*/ 0 h 3475"/>
                <a:gd name="connsiteX2" fmla="*/ 0 w 4468"/>
                <a:gd name="connsiteY2" fmla="*/ 1210 h 3475"/>
                <a:gd name="connsiteX3" fmla="*/ 1571 w 4468"/>
                <a:gd name="connsiteY3" fmla="*/ 3476 h 3475"/>
              </a:gdLst>
              <a:ahLst/>
              <a:cxnLst>
                <a:cxn ang="0">
                  <a:pos x="connsiteX0" y="connsiteY0"/>
                </a:cxn>
                <a:cxn ang="0">
                  <a:pos x="connsiteX1" y="connsiteY1"/>
                </a:cxn>
                <a:cxn ang="0">
                  <a:pos x="connsiteX2" y="connsiteY2"/>
                </a:cxn>
                <a:cxn ang="0">
                  <a:pos x="connsiteX3" y="connsiteY3"/>
                </a:cxn>
              </a:cxnLst>
              <a:rect l="l" t="t" r="r" b="b"/>
              <a:pathLst>
                <a:path w="4468" h="3475">
                  <a:moveTo>
                    <a:pt x="1571" y="3476"/>
                  </a:moveTo>
                  <a:lnTo>
                    <a:pt x="4469" y="0"/>
                  </a:lnTo>
                  <a:cubicBezTo>
                    <a:pt x="3114" y="198"/>
                    <a:pt x="1629" y="550"/>
                    <a:pt x="0" y="1210"/>
                  </a:cubicBezTo>
                  <a:cubicBezTo>
                    <a:pt x="583" y="1692"/>
                    <a:pt x="1128" y="2401"/>
                    <a:pt x="1571" y="347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64" name="Freihandform: Form 663">
              <a:extLst>
                <a:ext uri="{FF2B5EF4-FFF2-40B4-BE49-F238E27FC236}">
                  <a16:creationId xmlns:a16="http://schemas.microsoft.com/office/drawing/2014/main" id="{F26B8101-5E4E-1332-3946-7BAC60C624F6}"/>
                </a:ext>
              </a:extLst>
            </p:cNvPr>
            <p:cNvSpPr/>
            <p:nvPr/>
          </p:nvSpPr>
          <p:spPr>
            <a:xfrm>
              <a:off x="7999234" y="4044966"/>
              <a:ext cx="3175" cy="1588"/>
            </a:xfrm>
            <a:custGeom>
              <a:avLst/>
              <a:gdLst>
                <a:gd name="connsiteX0" fmla="*/ 1841 w 1841"/>
                <a:gd name="connsiteY0" fmla="*/ 448 h 689"/>
                <a:gd name="connsiteX1" fmla="*/ 0 w 1841"/>
                <a:gd name="connsiteY1" fmla="*/ 0 h 689"/>
                <a:gd name="connsiteX2" fmla="*/ 1644 w 1841"/>
                <a:gd name="connsiteY2" fmla="*/ 689 h 689"/>
                <a:gd name="connsiteX3" fmla="*/ 1841 w 1841"/>
                <a:gd name="connsiteY3" fmla="*/ 448 h 689"/>
              </a:gdLst>
              <a:ahLst/>
              <a:cxnLst>
                <a:cxn ang="0">
                  <a:pos x="connsiteX0" y="connsiteY0"/>
                </a:cxn>
                <a:cxn ang="0">
                  <a:pos x="connsiteX1" y="connsiteY1"/>
                </a:cxn>
                <a:cxn ang="0">
                  <a:pos x="connsiteX2" y="connsiteY2"/>
                </a:cxn>
                <a:cxn ang="0">
                  <a:pos x="connsiteX3" y="connsiteY3"/>
                </a:cxn>
              </a:cxnLst>
              <a:rect l="l" t="t" r="r" b="b"/>
              <a:pathLst>
                <a:path w="1841" h="689">
                  <a:moveTo>
                    <a:pt x="1841" y="448"/>
                  </a:moveTo>
                  <a:cubicBezTo>
                    <a:pt x="1432" y="135"/>
                    <a:pt x="776" y="0"/>
                    <a:pt x="0" y="0"/>
                  </a:cubicBezTo>
                  <a:cubicBezTo>
                    <a:pt x="569" y="231"/>
                    <a:pt x="1109" y="501"/>
                    <a:pt x="1644" y="689"/>
                  </a:cubicBezTo>
                  <a:lnTo>
                    <a:pt x="1841" y="44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66" name="Freihandform: Form 665">
              <a:extLst>
                <a:ext uri="{FF2B5EF4-FFF2-40B4-BE49-F238E27FC236}">
                  <a16:creationId xmlns:a16="http://schemas.microsoft.com/office/drawing/2014/main" id="{5BEE4178-1DED-DCB3-3487-21E211D279DC}"/>
                </a:ext>
              </a:extLst>
            </p:cNvPr>
            <p:cNvSpPr/>
            <p:nvPr/>
          </p:nvSpPr>
          <p:spPr>
            <a:xfrm>
              <a:off x="5584919" y="2412954"/>
              <a:ext cx="1588" cy="0"/>
            </a:xfrm>
            <a:custGeom>
              <a:avLst/>
              <a:gdLst>
                <a:gd name="connsiteX0" fmla="*/ 34 w 33"/>
                <a:gd name="connsiteY0" fmla="*/ 0 h 28"/>
                <a:gd name="connsiteX1" fmla="*/ 0 w 33"/>
                <a:gd name="connsiteY1" fmla="*/ 14 h 28"/>
                <a:gd name="connsiteX2" fmla="*/ 24 w 33"/>
                <a:gd name="connsiteY2" fmla="*/ 29 h 28"/>
              </a:gdLst>
              <a:ahLst/>
              <a:cxnLst>
                <a:cxn ang="0">
                  <a:pos x="connsiteX0" y="connsiteY0"/>
                </a:cxn>
                <a:cxn ang="0">
                  <a:pos x="connsiteX1" y="connsiteY1"/>
                </a:cxn>
                <a:cxn ang="0">
                  <a:pos x="connsiteX2" y="connsiteY2"/>
                </a:cxn>
              </a:cxnLst>
              <a:rect l="l" t="t" r="r" b="b"/>
              <a:pathLst>
                <a:path w="33" h="28">
                  <a:moveTo>
                    <a:pt x="34" y="0"/>
                  </a:moveTo>
                  <a:lnTo>
                    <a:pt x="0" y="14"/>
                  </a:lnTo>
                  <a:lnTo>
                    <a:pt x="24" y="2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67" name="Freihandform: Form 666">
              <a:extLst>
                <a:ext uri="{FF2B5EF4-FFF2-40B4-BE49-F238E27FC236}">
                  <a16:creationId xmlns:a16="http://schemas.microsoft.com/office/drawing/2014/main" id="{AF4F4154-8281-D0D1-6714-C74490053568}"/>
                </a:ext>
              </a:extLst>
            </p:cNvPr>
            <p:cNvSpPr/>
            <p:nvPr/>
          </p:nvSpPr>
          <p:spPr>
            <a:xfrm>
              <a:off x="5476981" y="960337"/>
              <a:ext cx="901598" cy="1833631"/>
            </a:xfrm>
            <a:custGeom>
              <a:avLst/>
              <a:gdLst>
                <a:gd name="connsiteX0" fmla="*/ 482 w 706773"/>
                <a:gd name="connsiteY0" fmla="*/ 1409628 h 1437679"/>
                <a:gd name="connsiteX1" fmla="*/ 612 w 706773"/>
                <a:gd name="connsiteY1" fmla="*/ 1410944 h 1437679"/>
                <a:gd name="connsiteX2" fmla="*/ 1924 w 706773"/>
                <a:gd name="connsiteY2" fmla="*/ 1410809 h 1437679"/>
                <a:gd name="connsiteX3" fmla="*/ 6976 w 706773"/>
                <a:gd name="connsiteY3" fmla="*/ 1410930 h 1437679"/>
                <a:gd name="connsiteX4" fmla="*/ 12693 w 706773"/>
                <a:gd name="connsiteY4" fmla="*/ 1422408 h 1437679"/>
                <a:gd name="connsiteX5" fmla="*/ 15354 w 706773"/>
                <a:gd name="connsiteY5" fmla="*/ 1435164 h 1437679"/>
                <a:gd name="connsiteX6" fmla="*/ 15653 w 706773"/>
                <a:gd name="connsiteY6" fmla="*/ 1436629 h 1437679"/>
                <a:gd name="connsiteX7" fmla="*/ 15865 w 706773"/>
                <a:gd name="connsiteY7" fmla="*/ 1437680 h 1437679"/>
                <a:gd name="connsiteX8" fmla="*/ 16940 w 706773"/>
                <a:gd name="connsiteY8" fmla="*/ 1437680 h 1437679"/>
                <a:gd name="connsiteX9" fmla="*/ 18444 w 706773"/>
                <a:gd name="connsiteY9" fmla="*/ 1437680 h 1437679"/>
                <a:gd name="connsiteX10" fmla="*/ 24489 w 706773"/>
                <a:gd name="connsiteY10" fmla="*/ 1437680 h 1437679"/>
                <a:gd name="connsiteX11" fmla="*/ 24692 w 706773"/>
                <a:gd name="connsiteY11" fmla="*/ 1437680 h 1437679"/>
                <a:gd name="connsiteX12" fmla="*/ 24870 w 706773"/>
                <a:gd name="connsiteY12" fmla="*/ 1437680 h 1437679"/>
                <a:gd name="connsiteX13" fmla="*/ 25039 w 706773"/>
                <a:gd name="connsiteY13" fmla="*/ 1437632 h 1437679"/>
                <a:gd name="connsiteX14" fmla="*/ 25227 w 706773"/>
                <a:gd name="connsiteY14" fmla="*/ 1437584 h 1437679"/>
                <a:gd name="connsiteX15" fmla="*/ 35890 w 706773"/>
                <a:gd name="connsiteY15" fmla="*/ 1427995 h 1437679"/>
                <a:gd name="connsiteX16" fmla="*/ 37187 w 706773"/>
                <a:gd name="connsiteY16" fmla="*/ 1415418 h 1437679"/>
                <a:gd name="connsiteX17" fmla="*/ 40234 w 706773"/>
                <a:gd name="connsiteY17" fmla="*/ 1409026 h 1437679"/>
                <a:gd name="connsiteX18" fmla="*/ 40537 w 706773"/>
                <a:gd name="connsiteY18" fmla="*/ 1408418 h 1437679"/>
                <a:gd name="connsiteX19" fmla="*/ 40774 w 706773"/>
                <a:gd name="connsiteY19" fmla="*/ 1407941 h 1437679"/>
                <a:gd name="connsiteX20" fmla="*/ 40615 w 706773"/>
                <a:gd name="connsiteY20" fmla="*/ 1407440 h 1437679"/>
                <a:gd name="connsiteX21" fmla="*/ 40407 w 706773"/>
                <a:gd name="connsiteY21" fmla="*/ 1406774 h 1437679"/>
                <a:gd name="connsiteX22" fmla="*/ 40465 w 706773"/>
                <a:gd name="connsiteY22" fmla="*/ 1394265 h 1437679"/>
                <a:gd name="connsiteX23" fmla="*/ 39101 w 706773"/>
                <a:gd name="connsiteY23" fmla="*/ 1365635 h 1437679"/>
                <a:gd name="connsiteX24" fmla="*/ 32448 w 706773"/>
                <a:gd name="connsiteY24" fmla="*/ 1341425 h 1437679"/>
                <a:gd name="connsiteX25" fmla="*/ 35736 w 706773"/>
                <a:gd name="connsiteY25" fmla="*/ 1335717 h 1437679"/>
                <a:gd name="connsiteX26" fmla="*/ 39906 w 706773"/>
                <a:gd name="connsiteY26" fmla="*/ 1334358 h 1437679"/>
                <a:gd name="connsiteX27" fmla="*/ 40528 w 706773"/>
                <a:gd name="connsiteY27" fmla="*/ 1334165 h 1437679"/>
                <a:gd name="connsiteX28" fmla="*/ 40991 w 706773"/>
                <a:gd name="connsiteY28" fmla="*/ 1334020 h 1437679"/>
                <a:gd name="connsiteX29" fmla="*/ 41251 w 706773"/>
                <a:gd name="connsiteY29" fmla="*/ 1333611 h 1437679"/>
                <a:gd name="connsiteX30" fmla="*/ 41612 w 706773"/>
                <a:gd name="connsiteY30" fmla="*/ 1333032 h 1437679"/>
                <a:gd name="connsiteX31" fmla="*/ 46110 w 706773"/>
                <a:gd name="connsiteY31" fmla="*/ 1325806 h 1437679"/>
                <a:gd name="connsiteX32" fmla="*/ 46399 w 706773"/>
                <a:gd name="connsiteY32" fmla="*/ 1325338 h 1437679"/>
                <a:gd name="connsiteX33" fmla="*/ 46602 w 706773"/>
                <a:gd name="connsiteY33" fmla="*/ 1325010 h 1437679"/>
                <a:gd name="connsiteX34" fmla="*/ 46597 w 706773"/>
                <a:gd name="connsiteY34" fmla="*/ 1324620 h 1437679"/>
                <a:gd name="connsiteX35" fmla="*/ 46583 w 706773"/>
                <a:gd name="connsiteY35" fmla="*/ 1324056 h 1437679"/>
                <a:gd name="connsiteX36" fmla="*/ 46240 w 706773"/>
                <a:gd name="connsiteY36" fmla="*/ 1312843 h 1437679"/>
                <a:gd name="connsiteX37" fmla="*/ 46221 w 706773"/>
                <a:gd name="connsiteY37" fmla="*/ 1312356 h 1437679"/>
                <a:gd name="connsiteX38" fmla="*/ 46207 w 706773"/>
                <a:gd name="connsiteY38" fmla="*/ 1312023 h 1437679"/>
                <a:gd name="connsiteX39" fmla="*/ 46038 w 706773"/>
                <a:gd name="connsiteY39" fmla="*/ 1311744 h 1437679"/>
                <a:gd name="connsiteX40" fmla="*/ 45797 w 706773"/>
                <a:gd name="connsiteY40" fmla="*/ 1311334 h 1437679"/>
                <a:gd name="connsiteX41" fmla="*/ 42972 w 706773"/>
                <a:gd name="connsiteY41" fmla="*/ 1306562 h 1437679"/>
                <a:gd name="connsiteX42" fmla="*/ 42972 w 706773"/>
                <a:gd name="connsiteY42" fmla="*/ 1303264 h 1437679"/>
                <a:gd name="connsiteX43" fmla="*/ 47224 w 706773"/>
                <a:gd name="connsiteY43" fmla="*/ 1301297 h 1437679"/>
                <a:gd name="connsiteX44" fmla="*/ 57887 w 706773"/>
                <a:gd name="connsiteY44" fmla="*/ 1301297 h 1437679"/>
                <a:gd name="connsiteX45" fmla="*/ 58418 w 706773"/>
                <a:gd name="connsiteY45" fmla="*/ 1301297 h 1437679"/>
                <a:gd name="connsiteX46" fmla="*/ 58803 w 706773"/>
                <a:gd name="connsiteY46" fmla="*/ 1301297 h 1437679"/>
                <a:gd name="connsiteX47" fmla="*/ 59131 w 706773"/>
                <a:gd name="connsiteY47" fmla="*/ 1301090 h 1437679"/>
                <a:gd name="connsiteX48" fmla="*/ 59569 w 706773"/>
                <a:gd name="connsiteY48" fmla="*/ 1300806 h 1437679"/>
                <a:gd name="connsiteX49" fmla="*/ 85240 w 706773"/>
                <a:gd name="connsiteY49" fmla="*/ 1249373 h 1437679"/>
                <a:gd name="connsiteX50" fmla="*/ 85245 w 706773"/>
                <a:gd name="connsiteY50" fmla="*/ 1249373 h 1437679"/>
                <a:gd name="connsiteX51" fmla="*/ 83924 w 706773"/>
                <a:gd name="connsiteY51" fmla="*/ 1244220 h 1437679"/>
                <a:gd name="connsiteX52" fmla="*/ 89169 w 706773"/>
                <a:gd name="connsiteY52" fmla="*/ 1212269 h 1437679"/>
                <a:gd name="connsiteX53" fmla="*/ 82887 w 706773"/>
                <a:gd name="connsiteY53" fmla="*/ 1199146 h 1437679"/>
                <a:gd name="connsiteX54" fmla="*/ 76567 w 706773"/>
                <a:gd name="connsiteY54" fmla="*/ 1185981 h 1437679"/>
                <a:gd name="connsiteX55" fmla="*/ 69158 w 706773"/>
                <a:gd name="connsiteY55" fmla="*/ 1165619 h 1437679"/>
                <a:gd name="connsiteX56" fmla="*/ 69158 w 706773"/>
                <a:gd name="connsiteY56" fmla="*/ 1164939 h 1437679"/>
                <a:gd name="connsiteX57" fmla="*/ 66309 w 706773"/>
                <a:gd name="connsiteY57" fmla="*/ 1155770 h 1437679"/>
                <a:gd name="connsiteX58" fmla="*/ 65123 w 706773"/>
                <a:gd name="connsiteY58" fmla="*/ 1149614 h 1437679"/>
                <a:gd name="connsiteX59" fmla="*/ 65629 w 706773"/>
                <a:gd name="connsiteY59" fmla="*/ 1148982 h 1437679"/>
                <a:gd name="connsiteX60" fmla="*/ 82068 w 706773"/>
                <a:gd name="connsiteY60" fmla="*/ 1144258 h 1437679"/>
                <a:gd name="connsiteX61" fmla="*/ 83027 w 706773"/>
                <a:gd name="connsiteY61" fmla="*/ 1144595 h 1437679"/>
                <a:gd name="connsiteX62" fmla="*/ 91222 w 706773"/>
                <a:gd name="connsiteY62" fmla="*/ 1144166 h 1437679"/>
                <a:gd name="connsiteX63" fmla="*/ 94525 w 706773"/>
                <a:gd name="connsiteY63" fmla="*/ 1139876 h 1437679"/>
                <a:gd name="connsiteX64" fmla="*/ 97403 w 706773"/>
                <a:gd name="connsiteY64" fmla="*/ 1125751 h 1437679"/>
                <a:gd name="connsiteX65" fmla="*/ 103549 w 706773"/>
                <a:gd name="connsiteY65" fmla="*/ 1098326 h 1437679"/>
                <a:gd name="connsiteX66" fmla="*/ 103486 w 706773"/>
                <a:gd name="connsiteY66" fmla="*/ 1097825 h 1437679"/>
                <a:gd name="connsiteX67" fmla="*/ 103443 w 706773"/>
                <a:gd name="connsiteY67" fmla="*/ 1097444 h 1437679"/>
                <a:gd name="connsiteX68" fmla="*/ 103202 w 706773"/>
                <a:gd name="connsiteY68" fmla="*/ 1097150 h 1437679"/>
                <a:gd name="connsiteX69" fmla="*/ 102874 w 706773"/>
                <a:gd name="connsiteY69" fmla="*/ 1096750 h 1437679"/>
                <a:gd name="connsiteX70" fmla="*/ 83027 w 706773"/>
                <a:gd name="connsiteY70" fmla="*/ 1070226 h 1437679"/>
                <a:gd name="connsiteX71" fmla="*/ 82507 w 706773"/>
                <a:gd name="connsiteY71" fmla="*/ 1069508 h 1437679"/>
                <a:gd name="connsiteX72" fmla="*/ 82145 w 706773"/>
                <a:gd name="connsiteY72" fmla="*/ 1069007 h 1437679"/>
                <a:gd name="connsiteX73" fmla="*/ 81528 w 706773"/>
                <a:gd name="connsiteY73" fmla="*/ 1068973 h 1437679"/>
                <a:gd name="connsiteX74" fmla="*/ 80655 w 706773"/>
                <a:gd name="connsiteY74" fmla="*/ 1068915 h 1437679"/>
                <a:gd name="connsiteX75" fmla="*/ 70624 w 706773"/>
                <a:gd name="connsiteY75" fmla="*/ 1068284 h 1437679"/>
                <a:gd name="connsiteX76" fmla="*/ 54653 w 706773"/>
                <a:gd name="connsiteY76" fmla="*/ 1049840 h 1437679"/>
                <a:gd name="connsiteX77" fmla="*/ 61753 w 706773"/>
                <a:gd name="connsiteY77" fmla="*/ 981974 h 1437679"/>
                <a:gd name="connsiteX78" fmla="*/ 61753 w 706773"/>
                <a:gd name="connsiteY78" fmla="*/ 981414 h 1437679"/>
                <a:gd name="connsiteX79" fmla="*/ 54315 w 706773"/>
                <a:gd name="connsiteY79" fmla="*/ 955879 h 1437679"/>
                <a:gd name="connsiteX80" fmla="*/ 46795 w 706773"/>
                <a:gd name="connsiteY80" fmla="*/ 928117 h 1437679"/>
                <a:gd name="connsiteX81" fmla="*/ 49755 w 706773"/>
                <a:gd name="connsiteY81" fmla="*/ 917203 h 1437679"/>
                <a:gd name="connsiteX82" fmla="*/ 49865 w 706773"/>
                <a:gd name="connsiteY82" fmla="*/ 916749 h 1437679"/>
                <a:gd name="connsiteX83" fmla="*/ 49933 w 706773"/>
                <a:gd name="connsiteY83" fmla="*/ 916479 h 1437679"/>
                <a:gd name="connsiteX84" fmla="*/ 49885 w 706773"/>
                <a:gd name="connsiteY84" fmla="*/ 916214 h 1437679"/>
                <a:gd name="connsiteX85" fmla="*/ 49812 w 706773"/>
                <a:gd name="connsiteY85" fmla="*/ 915790 h 1437679"/>
                <a:gd name="connsiteX86" fmla="*/ 44871 w 706773"/>
                <a:gd name="connsiteY86" fmla="*/ 890274 h 1437679"/>
                <a:gd name="connsiteX87" fmla="*/ 51683 w 706773"/>
                <a:gd name="connsiteY87" fmla="*/ 878719 h 1437679"/>
                <a:gd name="connsiteX88" fmla="*/ 52131 w 706773"/>
                <a:gd name="connsiteY88" fmla="*/ 877981 h 1437679"/>
                <a:gd name="connsiteX89" fmla="*/ 52454 w 706773"/>
                <a:gd name="connsiteY89" fmla="*/ 877437 h 1437679"/>
                <a:gd name="connsiteX90" fmla="*/ 52237 w 706773"/>
                <a:gd name="connsiteY90" fmla="*/ 876844 h 1437679"/>
                <a:gd name="connsiteX91" fmla="*/ 51919 w 706773"/>
                <a:gd name="connsiteY91" fmla="*/ 876000 h 1437679"/>
                <a:gd name="connsiteX92" fmla="*/ 37563 w 706773"/>
                <a:gd name="connsiteY92" fmla="*/ 838533 h 1437679"/>
                <a:gd name="connsiteX93" fmla="*/ 49735 w 706773"/>
                <a:gd name="connsiteY93" fmla="*/ 812694 h 1437679"/>
                <a:gd name="connsiteX94" fmla="*/ 49986 w 706773"/>
                <a:gd name="connsiteY94" fmla="*/ 812169 h 1437679"/>
                <a:gd name="connsiteX95" fmla="*/ 50164 w 706773"/>
                <a:gd name="connsiteY95" fmla="*/ 811788 h 1437679"/>
                <a:gd name="connsiteX96" fmla="*/ 50087 w 706773"/>
                <a:gd name="connsiteY96" fmla="*/ 811373 h 1437679"/>
                <a:gd name="connsiteX97" fmla="*/ 49986 w 706773"/>
                <a:gd name="connsiteY97" fmla="*/ 810790 h 1437679"/>
                <a:gd name="connsiteX98" fmla="*/ 47470 w 706773"/>
                <a:gd name="connsiteY98" fmla="*/ 797133 h 1437679"/>
                <a:gd name="connsiteX99" fmla="*/ 55130 w 706773"/>
                <a:gd name="connsiteY99" fmla="*/ 786320 h 1437679"/>
                <a:gd name="connsiteX100" fmla="*/ 55332 w 706773"/>
                <a:gd name="connsiteY100" fmla="*/ 786036 h 1437679"/>
                <a:gd name="connsiteX101" fmla="*/ 55472 w 706773"/>
                <a:gd name="connsiteY101" fmla="*/ 785843 h 1437679"/>
                <a:gd name="connsiteX102" fmla="*/ 55535 w 706773"/>
                <a:gd name="connsiteY102" fmla="*/ 785617 h 1437679"/>
                <a:gd name="connsiteX103" fmla="*/ 55621 w 706773"/>
                <a:gd name="connsiteY103" fmla="*/ 785293 h 1437679"/>
                <a:gd name="connsiteX104" fmla="*/ 56614 w 706773"/>
                <a:gd name="connsiteY104" fmla="*/ 781326 h 1437679"/>
                <a:gd name="connsiteX105" fmla="*/ 103631 w 706773"/>
                <a:gd name="connsiteY105" fmla="*/ 729918 h 1437679"/>
                <a:gd name="connsiteX106" fmla="*/ 116208 w 706773"/>
                <a:gd name="connsiteY106" fmla="*/ 732338 h 1437679"/>
                <a:gd name="connsiteX107" fmla="*/ 152681 w 706773"/>
                <a:gd name="connsiteY107" fmla="*/ 733567 h 1437679"/>
                <a:gd name="connsiteX108" fmla="*/ 162096 w 706773"/>
                <a:gd name="connsiteY108" fmla="*/ 710375 h 1437679"/>
                <a:gd name="connsiteX109" fmla="*/ 162284 w 706773"/>
                <a:gd name="connsiteY109" fmla="*/ 709917 h 1437679"/>
                <a:gd name="connsiteX110" fmla="*/ 162419 w 706773"/>
                <a:gd name="connsiteY110" fmla="*/ 709575 h 1437679"/>
                <a:gd name="connsiteX111" fmla="*/ 162361 w 706773"/>
                <a:gd name="connsiteY111" fmla="*/ 709218 h 1437679"/>
                <a:gd name="connsiteX112" fmla="*/ 162280 w 706773"/>
                <a:gd name="connsiteY112" fmla="*/ 708707 h 1437679"/>
                <a:gd name="connsiteX113" fmla="*/ 156051 w 706773"/>
                <a:gd name="connsiteY113" fmla="*/ 672865 h 1437679"/>
                <a:gd name="connsiteX114" fmla="*/ 155868 w 706773"/>
                <a:gd name="connsiteY114" fmla="*/ 671780 h 1437679"/>
                <a:gd name="connsiteX115" fmla="*/ 155728 w 706773"/>
                <a:gd name="connsiteY115" fmla="*/ 671004 h 1437679"/>
                <a:gd name="connsiteX116" fmla="*/ 154981 w 706773"/>
                <a:gd name="connsiteY116" fmla="*/ 670758 h 1437679"/>
                <a:gd name="connsiteX117" fmla="*/ 153940 w 706773"/>
                <a:gd name="connsiteY117" fmla="*/ 670416 h 1437679"/>
                <a:gd name="connsiteX118" fmla="*/ 141025 w 706773"/>
                <a:gd name="connsiteY118" fmla="*/ 666126 h 1437679"/>
                <a:gd name="connsiteX119" fmla="*/ 128834 w 706773"/>
                <a:gd name="connsiteY119" fmla="*/ 656643 h 1437679"/>
                <a:gd name="connsiteX120" fmla="*/ 162873 w 706773"/>
                <a:gd name="connsiteY120" fmla="*/ 585244 h 1437679"/>
                <a:gd name="connsiteX121" fmla="*/ 163003 w 706773"/>
                <a:gd name="connsiteY121" fmla="*/ 585003 h 1437679"/>
                <a:gd name="connsiteX122" fmla="*/ 163119 w 706773"/>
                <a:gd name="connsiteY122" fmla="*/ 584776 h 1437679"/>
                <a:gd name="connsiteX123" fmla="*/ 163147 w 706773"/>
                <a:gd name="connsiteY123" fmla="*/ 584516 h 1437679"/>
                <a:gd name="connsiteX124" fmla="*/ 163176 w 706773"/>
                <a:gd name="connsiteY124" fmla="*/ 584188 h 1437679"/>
                <a:gd name="connsiteX125" fmla="*/ 164801 w 706773"/>
                <a:gd name="connsiteY125" fmla="*/ 566843 h 1437679"/>
                <a:gd name="connsiteX126" fmla="*/ 169901 w 706773"/>
                <a:gd name="connsiteY126" fmla="*/ 560354 h 1437679"/>
                <a:gd name="connsiteX127" fmla="*/ 170263 w 706773"/>
                <a:gd name="connsiteY127" fmla="*/ 559892 h 1437679"/>
                <a:gd name="connsiteX128" fmla="*/ 170518 w 706773"/>
                <a:gd name="connsiteY128" fmla="*/ 559564 h 1437679"/>
                <a:gd name="connsiteX129" fmla="*/ 170542 w 706773"/>
                <a:gd name="connsiteY129" fmla="*/ 559154 h 1437679"/>
                <a:gd name="connsiteX130" fmla="*/ 170576 w 706773"/>
                <a:gd name="connsiteY130" fmla="*/ 558561 h 1437679"/>
                <a:gd name="connsiteX131" fmla="*/ 171275 w 706773"/>
                <a:gd name="connsiteY131" fmla="*/ 543569 h 1437679"/>
                <a:gd name="connsiteX132" fmla="*/ 171275 w 706773"/>
                <a:gd name="connsiteY132" fmla="*/ 499305 h 1437679"/>
                <a:gd name="connsiteX133" fmla="*/ 175093 w 706773"/>
                <a:gd name="connsiteY133" fmla="*/ 486651 h 1437679"/>
                <a:gd name="connsiteX134" fmla="*/ 175233 w 706773"/>
                <a:gd name="connsiteY134" fmla="*/ 486202 h 1437679"/>
                <a:gd name="connsiteX135" fmla="*/ 175344 w 706773"/>
                <a:gd name="connsiteY135" fmla="*/ 485855 h 1437679"/>
                <a:gd name="connsiteX136" fmla="*/ 175252 w 706773"/>
                <a:gd name="connsiteY136" fmla="*/ 485498 h 1437679"/>
                <a:gd name="connsiteX137" fmla="*/ 175136 w 706773"/>
                <a:gd name="connsiteY137" fmla="*/ 485021 h 1437679"/>
                <a:gd name="connsiteX138" fmla="*/ 166397 w 706773"/>
                <a:gd name="connsiteY138" fmla="*/ 445530 h 1437679"/>
                <a:gd name="connsiteX139" fmla="*/ 190201 w 706773"/>
                <a:gd name="connsiteY139" fmla="*/ 441013 h 1437679"/>
                <a:gd name="connsiteX140" fmla="*/ 190659 w 706773"/>
                <a:gd name="connsiteY140" fmla="*/ 440931 h 1437679"/>
                <a:gd name="connsiteX141" fmla="*/ 191016 w 706773"/>
                <a:gd name="connsiteY141" fmla="*/ 440868 h 1437679"/>
                <a:gd name="connsiteX142" fmla="*/ 191291 w 706773"/>
                <a:gd name="connsiteY142" fmla="*/ 440632 h 1437679"/>
                <a:gd name="connsiteX143" fmla="*/ 191657 w 706773"/>
                <a:gd name="connsiteY143" fmla="*/ 440314 h 1437679"/>
                <a:gd name="connsiteX144" fmla="*/ 214922 w 706773"/>
                <a:gd name="connsiteY144" fmla="*/ 420838 h 1437679"/>
                <a:gd name="connsiteX145" fmla="*/ 215573 w 706773"/>
                <a:gd name="connsiteY145" fmla="*/ 420284 h 1437679"/>
                <a:gd name="connsiteX146" fmla="*/ 216031 w 706773"/>
                <a:gd name="connsiteY146" fmla="*/ 419898 h 1437679"/>
                <a:gd name="connsiteX147" fmla="*/ 216040 w 706773"/>
                <a:gd name="connsiteY147" fmla="*/ 419300 h 1437679"/>
                <a:gd name="connsiteX148" fmla="*/ 216054 w 706773"/>
                <a:gd name="connsiteY148" fmla="*/ 418457 h 1437679"/>
                <a:gd name="connsiteX149" fmla="*/ 216228 w 706773"/>
                <a:gd name="connsiteY149" fmla="*/ 408319 h 1437679"/>
                <a:gd name="connsiteX150" fmla="*/ 216233 w 706773"/>
                <a:gd name="connsiteY150" fmla="*/ 408054 h 1437679"/>
                <a:gd name="connsiteX151" fmla="*/ 216233 w 706773"/>
                <a:gd name="connsiteY151" fmla="*/ 407856 h 1437679"/>
                <a:gd name="connsiteX152" fmla="*/ 216175 w 706773"/>
                <a:gd name="connsiteY152" fmla="*/ 407668 h 1437679"/>
                <a:gd name="connsiteX153" fmla="*/ 216103 w 706773"/>
                <a:gd name="connsiteY153" fmla="*/ 407403 h 1437679"/>
                <a:gd name="connsiteX154" fmla="*/ 211186 w 706773"/>
                <a:gd name="connsiteY154" fmla="*/ 389692 h 1437679"/>
                <a:gd name="connsiteX155" fmla="*/ 215823 w 706773"/>
                <a:gd name="connsiteY155" fmla="*/ 384095 h 1437679"/>
                <a:gd name="connsiteX156" fmla="*/ 237063 w 706773"/>
                <a:gd name="connsiteY156" fmla="*/ 337946 h 1437679"/>
                <a:gd name="connsiteX157" fmla="*/ 257045 w 706773"/>
                <a:gd name="connsiteY157" fmla="*/ 310801 h 1437679"/>
                <a:gd name="connsiteX158" fmla="*/ 257522 w 706773"/>
                <a:gd name="connsiteY158" fmla="*/ 310458 h 1437679"/>
                <a:gd name="connsiteX159" fmla="*/ 258405 w 706773"/>
                <a:gd name="connsiteY159" fmla="*/ 310454 h 1437679"/>
                <a:gd name="connsiteX160" fmla="*/ 258405 w 706773"/>
                <a:gd name="connsiteY160" fmla="*/ 309147 h 1437679"/>
                <a:gd name="connsiteX161" fmla="*/ 258405 w 706773"/>
                <a:gd name="connsiteY161" fmla="*/ 306583 h 1437679"/>
                <a:gd name="connsiteX162" fmla="*/ 258347 w 706773"/>
                <a:gd name="connsiteY162" fmla="*/ 306626 h 1437679"/>
                <a:gd name="connsiteX163" fmla="*/ 257874 w 706773"/>
                <a:gd name="connsiteY163" fmla="*/ 286615 h 1437679"/>
                <a:gd name="connsiteX164" fmla="*/ 257869 w 706773"/>
                <a:gd name="connsiteY164" fmla="*/ 286099 h 1437679"/>
                <a:gd name="connsiteX165" fmla="*/ 256549 w 706773"/>
                <a:gd name="connsiteY165" fmla="*/ 286109 h 1437679"/>
                <a:gd name="connsiteX166" fmla="*/ 256255 w 706773"/>
                <a:gd name="connsiteY166" fmla="*/ 285680 h 1437679"/>
                <a:gd name="connsiteX167" fmla="*/ 255922 w 706773"/>
                <a:gd name="connsiteY167" fmla="*/ 285179 h 1437679"/>
                <a:gd name="connsiteX168" fmla="*/ 256153 w 706773"/>
                <a:gd name="connsiteY168" fmla="*/ 284865 h 1437679"/>
                <a:gd name="connsiteX169" fmla="*/ 257614 w 706773"/>
                <a:gd name="connsiteY169" fmla="*/ 285338 h 1437679"/>
                <a:gd name="connsiteX170" fmla="*/ 257349 w 706773"/>
                <a:gd name="connsiteY170" fmla="*/ 284952 h 1437679"/>
                <a:gd name="connsiteX171" fmla="*/ 238230 w 706773"/>
                <a:gd name="connsiteY171" fmla="*/ 256163 h 1437679"/>
                <a:gd name="connsiteX172" fmla="*/ 239358 w 706773"/>
                <a:gd name="connsiteY172" fmla="*/ 248069 h 1437679"/>
                <a:gd name="connsiteX173" fmla="*/ 250479 w 706773"/>
                <a:gd name="connsiteY173" fmla="*/ 243263 h 1437679"/>
                <a:gd name="connsiteX174" fmla="*/ 251091 w 706773"/>
                <a:gd name="connsiteY174" fmla="*/ 243002 h 1437679"/>
                <a:gd name="connsiteX175" fmla="*/ 251554 w 706773"/>
                <a:gd name="connsiteY175" fmla="*/ 242810 h 1437679"/>
                <a:gd name="connsiteX176" fmla="*/ 251771 w 706773"/>
                <a:gd name="connsiteY176" fmla="*/ 242356 h 1437679"/>
                <a:gd name="connsiteX177" fmla="*/ 252065 w 706773"/>
                <a:gd name="connsiteY177" fmla="*/ 241739 h 1437679"/>
                <a:gd name="connsiteX178" fmla="*/ 259822 w 706773"/>
                <a:gd name="connsiteY178" fmla="*/ 226101 h 1437679"/>
                <a:gd name="connsiteX179" fmla="*/ 259962 w 706773"/>
                <a:gd name="connsiteY179" fmla="*/ 225788 h 1437679"/>
                <a:gd name="connsiteX180" fmla="*/ 260024 w 706773"/>
                <a:gd name="connsiteY180" fmla="*/ 225653 h 1437679"/>
                <a:gd name="connsiteX181" fmla="*/ 260053 w 706773"/>
                <a:gd name="connsiteY181" fmla="*/ 225513 h 1437679"/>
                <a:gd name="connsiteX182" fmla="*/ 260111 w 706773"/>
                <a:gd name="connsiteY182" fmla="*/ 225233 h 1437679"/>
                <a:gd name="connsiteX183" fmla="*/ 265804 w 706773"/>
                <a:gd name="connsiteY183" fmla="*/ 187140 h 1437679"/>
                <a:gd name="connsiteX184" fmla="*/ 279910 w 706773"/>
                <a:gd name="connsiteY184" fmla="*/ 173584 h 1437679"/>
                <a:gd name="connsiteX185" fmla="*/ 280035 w 706773"/>
                <a:gd name="connsiteY185" fmla="*/ 173468 h 1437679"/>
                <a:gd name="connsiteX186" fmla="*/ 280141 w 706773"/>
                <a:gd name="connsiteY186" fmla="*/ 173367 h 1437679"/>
                <a:gd name="connsiteX187" fmla="*/ 280223 w 706773"/>
                <a:gd name="connsiteY187" fmla="*/ 173247 h 1437679"/>
                <a:gd name="connsiteX188" fmla="*/ 280324 w 706773"/>
                <a:gd name="connsiteY188" fmla="*/ 173097 h 1437679"/>
                <a:gd name="connsiteX189" fmla="*/ 288134 w 706773"/>
                <a:gd name="connsiteY189" fmla="*/ 161643 h 1437679"/>
                <a:gd name="connsiteX190" fmla="*/ 295828 w 706773"/>
                <a:gd name="connsiteY190" fmla="*/ 161262 h 1437679"/>
                <a:gd name="connsiteX191" fmla="*/ 306192 w 706773"/>
                <a:gd name="connsiteY191" fmla="*/ 165659 h 1437679"/>
                <a:gd name="connsiteX192" fmla="*/ 313828 w 706773"/>
                <a:gd name="connsiteY192" fmla="*/ 171256 h 1437679"/>
                <a:gd name="connsiteX193" fmla="*/ 314542 w 706773"/>
                <a:gd name="connsiteY193" fmla="*/ 171786 h 1437679"/>
                <a:gd name="connsiteX194" fmla="*/ 315062 w 706773"/>
                <a:gd name="connsiteY194" fmla="*/ 172172 h 1437679"/>
                <a:gd name="connsiteX195" fmla="*/ 315684 w 706773"/>
                <a:gd name="connsiteY195" fmla="*/ 171993 h 1437679"/>
                <a:gd name="connsiteX196" fmla="*/ 316562 w 706773"/>
                <a:gd name="connsiteY196" fmla="*/ 171743 h 1437679"/>
                <a:gd name="connsiteX197" fmla="*/ 323629 w 706773"/>
                <a:gd name="connsiteY197" fmla="*/ 169689 h 1437679"/>
                <a:gd name="connsiteX198" fmla="*/ 324550 w 706773"/>
                <a:gd name="connsiteY198" fmla="*/ 169429 h 1437679"/>
                <a:gd name="connsiteX199" fmla="*/ 325215 w 706773"/>
                <a:gd name="connsiteY199" fmla="*/ 169241 h 1437679"/>
                <a:gd name="connsiteX200" fmla="*/ 325436 w 706773"/>
                <a:gd name="connsiteY200" fmla="*/ 168590 h 1437679"/>
                <a:gd name="connsiteX201" fmla="*/ 325750 w 706773"/>
                <a:gd name="connsiteY201" fmla="*/ 167674 h 1437679"/>
                <a:gd name="connsiteX202" fmla="*/ 335049 w 706773"/>
                <a:gd name="connsiteY202" fmla="*/ 140138 h 1437679"/>
                <a:gd name="connsiteX203" fmla="*/ 335208 w 706773"/>
                <a:gd name="connsiteY203" fmla="*/ 139627 h 1437679"/>
                <a:gd name="connsiteX204" fmla="*/ 335309 w 706773"/>
                <a:gd name="connsiteY204" fmla="*/ 139309 h 1437679"/>
                <a:gd name="connsiteX205" fmla="*/ 335242 w 706773"/>
                <a:gd name="connsiteY205" fmla="*/ 138981 h 1437679"/>
                <a:gd name="connsiteX206" fmla="*/ 335140 w 706773"/>
                <a:gd name="connsiteY206" fmla="*/ 138480 h 1437679"/>
                <a:gd name="connsiteX207" fmla="*/ 327803 w 706773"/>
                <a:gd name="connsiteY207" fmla="*/ 104209 h 1437679"/>
                <a:gd name="connsiteX208" fmla="*/ 327953 w 706773"/>
                <a:gd name="connsiteY208" fmla="*/ 93035 h 1437679"/>
                <a:gd name="connsiteX209" fmla="*/ 338920 w 706773"/>
                <a:gd name="connsiteY209" fmla="*/ 87559 h 1437679"/>
                <a:gd name="connsiteX210" fmla="*/ 349232 w 706773"/>
                <a:gd name="connsiteY210" fmla="*/ 95479 h 1437679"/>
                <a:gd name="connsiteX211" fmla="*/ 349931 w 706773"/>
                <a:gd name="connsiteY211" fmla="*/ 96029 h 1437679"/>
                <a:gd name="connsiteX212" fmla="*/ 350437 w 706773"/>
                <a:gd name="connsiteY212" fmla="*/ 96429 h 1437679"/>
                <a:gd name="connsiteX213" fmla="*/ 351063 w 706773"/>
                <a:gd name="connsiteY213" fmla="*/ 96270 h 1437679"/>
                <a:gd name="connsiteX214" fmla="*/ 351936 w 706773"/>
                <a:gd name="connsiteY214" fmla="*/ 96048 h 1437679"/>
                <a:gd name="connsiteX215" fmla="*/ 366943 w 706773"/>
                <a:gd name="connsiteY215" fmla="*/ 92302 h 1437679"/>
                <a:gd name="connsiteX216" fmla="*/ 418616 w 706773"/>
                <a:gd name="connsiteY216" fmla="*/ 107555 h 1437679"/>
                <a:gd name="connsiteX217" fmla="*/ 419980 w 706773"/>
                <a:gd name="connsiteY217" fmla="*/ 107969 h 1437679"/>
                <a:gd name="connsiteX218" fmla="*/ 420968 w 706773"/>
                <a:gd name="connsiteY218" fmla="*/ 108268 h 1437679"/>
                <a:gd name="connsiteX219" fmla="*/ 421494 w 706773"/>
                <a:gd name="connsiteY219" fmla="*/ 107381 h 1437679"/>
                <a:gd name="connsiteX220" fmla="*/ 422232 w 706773"/>
                <a:gd name="connsiteY220" fmla="*/ 106133 h 1437679"/>
                <a:gd name="connsiteX221" fmla="*/ 433941 w 706773"/>
                <a:gd name="connsiteY221" fmla="*/ 86146 h 1437679"/>
                <a:gd name="connsiteX222" fmla="*/ 434929 w 706773"/>
                <a:gd name="connsiteY222" fmla="*/ 84468 h 1437679"/>
                <a:gd name="connsiteX223" fmla="*/ 435633 w 706773"/>
                <a:gd name="connsiteY223" fmla="*/ 83278 h 1437679"/>
                <a:gd name="connsiteX224" fmla="*/ 434404 w 706773"/>
                <a:gd name="connsiteY224" fmla="*/ 82637 h 1437679"/>
                <a:gd name="connsiteX225" fmla="*/ 432688 w 706773"/>
                <a:gd name="connsiteY225" fmla="*/ 81735 h 1437679"/>
                <a:gd name="connsiteX226" fmla="*/ 422309 w 706773"/>
                <a:gd name="connsiteY226" fmla="*/ 76341 h 1437679"/>
                <a:gd name="connsiteX227" fmla="*/ 433869 w 706773"/>
                <a:gd name="connsiteY227" fmla="*/ 40238 h 1437679"/>
                <a:gd name="connsiteX228" fmla="*/ 430624 w 706773"/>
                <a:gd name="connsiteY228" fmla="*/ 22262 h 1437679"/>
                <a:gd name="connsiteX229" fmla="*/ 430509 w 706773"/>
                <a:gd name="connsiteY229" fmla="*/ 21862 h 1437679"/>
                <a:gd name="connsiteX230" fmla="*/ 430412 w 706773"/>
                <a:gd name="connsiteY230" fmla="*/ 21539 h 1437679"/>
                <a:gd name="connsiteX231" fmla="*/ 430171 w 706773"/>
                <a:gd name="connsiteY231" fmla="*/ 21303 h 1437679"/>
                <a:gd name="connsiteX232" fmla="*/ 429858 w 706773"/>
                <a:gd name="connsiteY232" fmla="*/ 20999 h 1437679"/>
                <a:gd name="connsiteX233" fmla="*/ 420313 w 706773"/>
                <a:gd name="connsiteY233" fmla="*/ 11223 h 1437679"/>
                <a:gd name="connsiteX234" fmla="*/ 436183 w 706773"/>
                <a:gd name="connsiteY234" fmla="*/ 7356 h 1437679"/>
                <a:gd name="connsiteX235" fmla="*/ 439215 w 706773"/>
                <a:gd name="connsiteY235" fmla="*/ 8513 h 1437679"/>
                <a:gd name="connsiteX236" fmla="*/ 440439 w 706773"/>
                <a:gd name="connsiteY236" fmla="*/ 8981 h 1437679"/>
                <a:gd name="connsiteX237" fmla="*/ 440912 w 706773"/>
                <a:gd name="connsiteY237" fmla="*/ 7752 h 1437679"/>
                <a:gd name="connsiteX238" fmla="*/ 441172 w 706773"/>
                <a:gd name="connsiteY238" fmla="*/ 7067 h 1437679"/>
                <a:gd name="connsiteX239" fmla="*/ 453455 w 706773"/>
                <a:gd name="connsiteY239" fmla="*/ 12013 h 1437679"/>
                <a:gd name="connsiteX240" fmla="*/ 453455 w 706773"/>
                <a:gd name="connsiteY240" fmla="*/ 12023 h 1437679"/>
                <a:gd name="connsiteX241" fmla="*/ 452699 w 706773"/>
                <a:gd name="connsiteY241" fmla="*/ 13170 h 1437679"/>
                <a:gd name="connsiteX242" fmla="*/ 452539 w 706773"/>
                <a:gd name="connsiteY242" fmla="*/ 13334 h 1437679"/>
                <a:gd name="connsiteX243" fmla="*/ 452409 w 706773"/>
                <a:gd name="connsiteY243" fmla="*/ 13469 h 1437679"/>
                <a:gd name="connsiteX244" fmla="*/ 452317 w 706773"/>
                <a:gd name="connsiteY244" fmla="*/ 13638 h 1437679"/>
                <a:gd name="connsiteX245" fmla="*/ 452202 w 706773"/>
                <a:gd name="connsiteY245" fmla="*/ 13864 h 1437679"/>
                <a:gd name="connsiteX246" fmla="*/ 451874 w 706773"/>
                <a:gd name="connsiteY246" fmla="*/ 17880 h 1437679"/>
                <a:gd name="connsiteX247" fmla="*/ 463757 w 706773"/>
                <a:gd name="connsiteY247" fmla="*/ 27198 h 1437679"/>
                <a:gd name="connsiteX248" fmla="*/ 464138 w 706773"/>
                <a:gd name="connsiteY248" fmla="*/ 27396 h 1437679"/>
                <a:gd name="connsiteX249" fmla="*/ 467459 w 706773"/>
                <a:gd name="connsiteY249" fmla="*/ 29204 h 1437679"/>
                <a:gd name="connsiteX250" fmla="*/ 482823 w 706773"/>
                <a:gd name="connsiteY250" fmla="*/ 40880 h 1437679"/>
                <a:gd name="connsiteX251" fmla="*/ 489027 w 706773"/>
                <a:gd name="connsiteY251" fmla="*/ 48087 h 1437679"/>
                <a:gd name="connsiteX252" fmla="*/ 501021 w 706773"/>
                <a:gd name="connsiteY252" fmla="*/ 54339 h 1437679"/>
                <a:gd name="connsiteX253" fmla="*/ 501899 w 706773"/>
                <a:gd name="connsiteY253" fmla="*/ 56706 h 1437679"/>
                <a:gd name="connsiteX254" fmla="*/ 501604 w 706773"/>
                <a:gd name="connsiteY254" fmla="*/ 59343 h 1437679"/>
                <a:gd name="connsiteX255" fmla="*/ 501397 w 706773"/>
                <a:gd name="connsiteY255" fmla="*/ 61223 h 1437679"/>
                <a:gd name="connsiteX256" fmla="*/ 503229 w 706773"/>
                <a:gd name="connsiteY256" fmla="*/ 60765 h 1437679"/>
                <a:gd name="connsiteX257" fmla="*/ 505794 w 706773"/>
                <a:gd name="connsiteY257" fmla="*/ 60129 h 1437679"/>
                <a:gd name="connsiteX258" fmla="*/ 516177 w 706773"/>
                <a:gd name="connsiteY258" fmla="*/ 64839 h 1437679"/>
                <a:gd name="connsiteX259" fmla="*/ 528750 w 706773"/>
                <a:gd name="connsiteY259" fmla="*/ 73916 h 1437679"/>
                <a:gd name="connsiteX260" fmla="*/ 529174 w 706773"/>
                <a:gd name="connsiteY260" fmla="*/ 73959 h 1437679"/>
                <a:gd name="connsiteX261" fmla="*/ 529521 w 706773"/>
                <a:gd name="connsiteY261" fmla="*/ 73998 h 1437679"/>
                <a:gd name="connsiteX262" fmla="*/ 529835 w 706773"/>
                <a:gd name="connsiteY262" fmla="*/ 73858 h 1437679"/>
                <a:gd name="connsiteX263" fmla="*/ 530269 w 706773"/>
                <a:gd name="connsiteY263" fmla="*/ 73670 h 1437679"/>
                <a:gd name="connsiteX264" fmla="*/ 535152 w 706773"/>
                <a:gd name="connsiteY264" fmla="*/ 71612 h 1437679"/>
                <a:gd name="connsiteX265" fmla="*/ 537943 w 706773"/>
                <a:gd name="connsiteY265" fmla="*/ 74518 h 1437679"/>
                <a:gd name="connsiteX266" fmla="*/ 538748 w 706773"/>
                <a:gd name="connsiteY266" fmla="*/ 75372 h 1437679"/>
                <a:gd name="connsiteX267" fmla="*/ 539341 w 706773"/>
                <a:gd name="connsiteY267" fmla="*/ 75994 h 1437679"/>
                <a:gd name="connsiteX268" fmla="*/ 540146 w 706773"/>
                <a:gd name="connsiteY268" fmla="*/ 75709 h 1437679"/>
                <a:gd name="connsiteX269" fmla="*/ 541269 w 706773"/>
                <a:gd name="connsiteY269" fmla="*/ 75309 h 1437679"/>
                <a:gd name="connsiteX270" fmla="*/ 562346 w 706773"/>
                <a:gd name="connsiteY270" fmla="*/ 79489 h 1437679"/>
                <a:gd name="connsiteX271" fmla="*/ 582033 w 706773"/>
                <a:gd name="connsiteY271" fmla="*/ 96192 h 1437679"/>
                <a:gd name="connsiteX272" fmla="*/ 588912 w 706773"/>
                <a:gd name="connsiteY272" fmla="*/ 108582 h 1437679"/>
                <a:gd name="connsiteX273" fmla="*/ 594133 w 706773"/>
                <a:gd name="connsiteY273" fmla="*/ 108210 h 1437679"/>
                <a:gd name="connsiteX274" fmla="*/ 595107 w 706773"/>
                <a:gd name="connsiteY274" fmla="*/ 107618 h 1437679"/>
                <a:gd name="connsiteX275" fmla="*/ 616289 w 706773"/>
                <a:gd name="connsiteY275" fmla="*/ 129937 h 1437679"/>
                <a:gd name="connsiteX276" fmla="*/ 616318 w 706773"/>
                <a:gd name="connsiteY276" fmla="*/ 129942 h 1437679"/>
                <a:gd name="connsiteX277" fmla="*/ 616197 w 706773"/>
                <a:gd name="connsiteY277" fmla="*/ 130048 h 1437679"/>
                <a:gd name="connsiteX278" fmla="*/ 611276 w 706773"/>
                <a:gd name="connsiteY278" fmla="*/ 153665 h 1437679"/>
                <a:gd name="connsiteX279" fmla="*/ 618781 w 706773"/>
                <a:gd name="connsiteY279" fmla="*/ 175970 h 1437679"/>
                <a:gd name="connsiteX280" fmla="*/ 616424 w 706773"/>
                <a:gd name="connsiteY280" fmla="*/ 180801 h 1437679"/>
                <a:gd name="connsiteX281" fmla="*/ 616236 w 706773"/>
                <a:gd name="connsiteY281" fmla="*/ 181191 h 1437679"/>
                <a:gd name="connsiteX282" fmla="*/ 616106 w 706773"/>
                <a:gd name="connsiteY282" fmla="*/ 181461 h 1437679"/>
                <a:gd name="connsiteX283" fmla="*/ 616106 w 706773"/>
                <a:gd name="connsiteY283" fmla="*/ 181765 h 1437679"/>
                <a:gd name="connsiteX284" fmla="*/ 616106 w 706773"/>
                <a:gd name="connsiteY284" fmla="*/ 182194 h 1437679"/>
                <a:gd name="connsiteX285" fmla="*/ 616135 w 706773"/>
                <a:gd name="connsiteY285" fmla="*/ 195735 h 1437679"/>
                <a:gd name="connsiteX286" fmla="*/ 616140 w 706773"/>
                <a:gd name="connsiteY286" fmla="*/ 197659 h 1437679"/>
                <a:gd name="connsiteX287" fmla="*/ 616145 w 706773"/>
                <a:gd name="connsiteY287" fmla="*/ 199037 h 1437679"/>
                <a:gd name="connsiteX288" fmla="*/ 617519 w 706773"/>
                <a:gd name="connsiteY288" fmla="*/ 198965 h 1437679"/>
                <a:gd name="connsiteX289" fmla="*/ 619442 w 706773"/>
                <a:gd name="connsiteY289" fmla="*/ 198869 h 1437679"/>
                <a:gd name="connsiteX290" fmla="*/ 638855 w 706773"/>
                <a:gd name="connsiteY290" fmla="*/ 206553 h 1437679"/>
                <a:gd name="connsiteX291" fmla="*/ 637524 w 706773"/>
                <a:gd name="connsiteY291" fmla="*/ 217077 h 1437679"/>
                <a:gd name="connsiteX292" fmla="*/ 637968 w 706773"/>
                <a:gd name="connsiteY292" fmla="*/ 218349 h 1437679"/>
                <a:gd name="connsiteX293" fmla="*/ 637958 w 706773"/>
                <a:gd name="connsiteY293" fmla="*/ 218359 h 1437679"/>
                <a:gd name="connsiteX294" fmla="*/ 637288 w 706773"/>
                <a:gd name="connsiteY294" fmla="*/ 218802 h 1437679"/>
                <a:gd name="connsiteX295" fmla="*/ 636994 w 706773"/>
                <a:gd name="connsiteY295" fmla="*/ 218614 h 1437679"/>
                <a:gd name="connsiteX296" fmla="*/ 637486 w 706773"/>
                <a:gd name="connsiteY296" fmla="*/ 217105 h 1437679"/>
                <a:gd name="connsiteX297" fmla="*/ 637293 w 706773"/>
                <a:gd name="connsiteY297" fmla="*/ 217216 h 1437679"/>
                <a:gd name="connsiteX298" fmla="*/ 631277 w 706773"/>
                <a:gd name="connsiteY298" fmla="*/ 225609 h 1437679"/>
                <a:gd name="connsiteX299" fmla="*/ 632381 w 706773"/>
                <a:gd name="connsiteY299" fmla="*/ 235376 h 1437679"/>
                <a:gd name="connsiteX300" fmla="*/ 632458 w 706773"/>
                <a:gd name="connsiteY300" fmla="*/ 235733 h 1437679"/>
                <a:gd name="connsiteX301" fmla="*/ 632516 w 706773"/>
                <a:gd name="connsiteY301" fmla="*/ 236017 h 1437679"/>
                <a:gd name="connsiteX302" fmla="*/ 632689 w 706773"/>
                <a:gd name="connsiteY302" fmla="*/ 236244 h 1437679"/>
                <a:gd name="connsiteX303" fmla="*/ 632925 w 706773"/>
                <a:gd name="connsiteY303" fmla="*/ 236557 h 1437679"/>
                <a:gd name="connsiteX304" fmla="*/ 663802 w 706773"/>
                <a:gd name="connsiteY304" fmla="*/ 279158 h 1437679"/>
                <a:gd name="connsiteX305" fmla="*/ 661917 w 706773"/>
                <a:gd name="connsiteY305" fmla="*/ 284648 h 1437679"/>
                <a:gd name="connsiteX306" fmla="*/ 661787 w 706773"/>
                <a:gd name="connsiteY306" fmla="*/ 285020 h 1437679"/>
                <a:gd name="connsiteX307" fmla="*/ 661681 w 706773"/>
                <a:gd name="connsiteY307" fmla="*/ 285314 h 1437679"/>
                <a:gd name="connsiteX308" fmla="*/ 661720 w 706773"/>
                <a:gd name="connsiteY308" fmla="*/ 285622 h 1437679"/>
                <a:gd name="connsiteX309" fmla="*/ 661773 w 706773"/>
                <a:gd name="connsiteY309" fmla="*/ 286027 h 1437679"/>
                <a:gd name="connsiteX310" fmla="*/ 662592 w 706773"/>
                <a:gd name="connsiteY310" fmla="*/ 293972 h 1437679"/>
                <a:gd name="connsiteX311" fmla="*/ 662264 w 706773"/>
                <a:gd name="connsiteY311" fmla="*/ 299419 h 1437679"/>
                <a:gd name="connsiteX312" fmla="*/ 662226 w 706773"/>
                <a:gd name="connsiteY312" fmla="*/ 300258 h 1437679"/>
                <a:gd name="connsiteX313" fmla="*/ 662206 w 706773"/>
                <a:gd name="connsiteY313" fmla="*/ 300817 h 1437679"/>
                <a:gd name="connsiteX314" fmla="*/ 662592 w 706773"/>
                <a:gd name="connsiteY314" fmla="*/ 301217 h 1437679"/>
                <a:gd name="connsiteX315" fmla="*/ 663161 w 706773"/>
                <a:gd name="connsiteY315" fmla="*/ 301820 h 1437679"/>
                <a:gd name="connsiteX316" fmla="*/ 655925 w 706773"/>
                <a:gd name="connsiteY316" fmla="*/ 331265 h 1437679"/>
                <a:gd name="connsiteX317" fmla="*/ 656007 w 706773"/>
                <a:gd name="connsiteY317" fmla="*/ 331154 h 1437679"/>
                <a:gd name="connsiteX318" fmla="*/ 654903 w 706773"/>
                <a:gd name="connsiteY318" fmla="*/ 334432 h 1437679"/>
                <a:gd name="connsiteX319" fmla="*/ 656962 w 706773"/>
                <a:gd name="connsiteY319" fmla="*/ 337700 h 1437679"/>
                <a:gd name="connsiteX320" fmla="*/ 659174 w 706773"/>
                <a:gd name="connsiteY320" fmla="*/ 343659 h 1437679"/>
                <a:gd name="connsiteX321" fmla="*/ 680530 w 706773"/>
                <a:gd name="connsiteY321" fmla="*/ 373446 h 1437679"/>
                <a:gd name="connsiteX322" fmla="*/ 682049 w 706773"/>
                <a:gd name="connsiteY322" fmla="*/ 378450 h 1437679"/>
                <a:gd name="connsiteX323" fmla="*/ 682232 w 706773"/>
                <a:gd name="connsiteY323" fmla="*/ 378980 h 1437679"/>
                <a:gd name="connsiteX324" fmla="*/ 684845 w 706773"/>
                <a:gd name="connsiteY324" fmla="*/ 384027 h 1437679"/>
                <a:gd name="connsiteX325" fmla="*/ 700348 w 706773"/>
                <a:gd name="connsiteY325" fmla="*/ 412725 h 1437679"/>
                <a:gd name="connsiteX326" fmla="*/ 700690 w 706773"/>
                <a:gd name="connsiteY326" fmla="*/ 413998 h 1437679"/>
                <a:gd name="connsiteX327" fmla="*/ 701958 w 706773"/>
                <a:gd name="connsiteY327" fmla="*/ 413660 h 1437679"/>
                <a:gd name="connsiteX328" fmla="*/ 705506 w 706773"/>
                <a:gd name="connsiteY328" fmla="*/ 412711 h 1437679"/>
                <a:gd name="connsiteX329" fmla="*/ 706774 w 706773"/>
                <a:gd name="connsiteY329" fmla="*/ 412368 h 1437679"/>
                <a:gd name="connsiteX330" fmla="*/ 706441 w 706773"/>
                <a:gd name="connsiteY330" fmla="*/ 411100 h 1437679"/>
                <a:gd name="connsiteX331" fmla="*/ 690186 w 706773"/>
                <a:gd name="connsiteY331" fmla="*/ 380653 h 1437679"/>
                <a:gd name="connsiteX332" fmla="*/ 690089 w 706773"/>
                <a:gd name="connsiteY332" fmla="*/ 380508 h 1437679"/>
                <a:gd name="connsiteX333" fmla="*/ 688417 w 706773"/>
                <a:gd name="connsiteY333" fmla="*/ 377973 h 1437679"/>
                <a:gd name="connsiteX334" fmla="*/ 688007 w 706773"/>
                <a:gd name="connsiteY334" fmla="*/ 376353 h 1437679"/>
                <a:gd name="connsiteX335" fmla="*/ 686228 w 706773"/>
                <a:gd name="connsiteY335" fmla="*/ 370322 h 1437679"/>
                <a:gd name="connsiteX336" fmla="*/ 685982 w 706773"/>
                <a:gd name="connsiteY336" fmla="*/ 369276 h 1437679"/>
                <a:gd name="connsiteX337" fmla="*/ 685799 w 706773"/>
                <a:gd name="connsiteY337" fmla="*/ 368485 h 1437679"/>
                <a:gd name="connsiteX338" fmla="*/ 685013 w 706773"/>
                <a:gd name="connsiteY338" fmla="*/ 368293 h 1437679"/>
                <a:gd name="connsiteX339" fmla="*/ 683924 w 706773"/>
                <a:gd name="connsiteY339" fmla="*/ 368023 h 1437679"/>
                <a:gd name="connsiteX340" fmla="*/ 665480 w 706773"/>
                <a:gd name="connsiteY340" fmla="*/ 343765 h 1437679"/>
                <a:gd name="connsiteX341" fmla="*/ 661893 w 706773"/>
                <a:gd name="connsiteY341" fmla="*/ 333622 h 1437679"/>
                <a:gd name="connsiteX342" fmla="*/ 668632 w 706773"/>
                <a:gd name="connsiteY342" fmla="*/ 298677 h 1437679"/>
                <a:gd name="connsiteX343" fmla="*/ 668907 w 706773"/>
                <a:gd name="connsiteY343" fmla="*/ 294121 h 1437679"/>
                <a:gd name="connsiteX344" fmla="*/ 668917 w 706773"/>
                <a:gd name="connsiteY344" fmla="*/ 294083 h 1437679"/>
                <a:gd name="connsiteX345" fmla="*/ 668946 w 706773"/>
                <a:gd name="connsiteY345" fmla="*/ 293875 h 1437679"/>
                <a:gd name="connsiteX346" fmla="*/ 668912 w 706773"/>
                <a:gd name="connsiteY346" fmla="*/ 293668 h 1437679"/>
                <a:gd name="connsiteX347" fmla="*/ 668888 w 706773"/>
                <a:gd name="connsiteY347" fmla="*/ 293518 h 1437679"/>
                <a:gd name="connsiteX348" fmla="*/ 668117 w 706773"/>
                <a:gd name="connsiteY348" fmla="*/ 286042 h 1437679"/>
                <a:gd name="connsiteX349" fmla="*/ 670300 w 706773"/>
                <a:gd name="connsiteY349" fmla="*/ 279635 h 1437679"/>
                <a:gd name="connsiteX350" fmla="*/ 670609 w 706773"/>
                <a:gd name="connsiteY350" fmla="*/ 278729 h 1437679"/>
                <a:gd name="connsiteX351" fmla="*/ 670831 w 706773"/>
                <a:gd name="connsiteY351" fmla="*/ 278078 h 1437679"/>
                <a:gd name="connsiteX352" fmla="*/ 670430 w 706773"/>
                <a:gd name="connsiteY352" fmla="*/ 277528 h 1437679"/>
                <a:gd name="connsiteX353" fmla="*/ 669871 w 706773"/>
                <a:gd name="connsiteY353" fmla="*/ 276762 h 1437679"/>
                <a:gd name="connsiteX354" fmla="*/ 638431 w 706773"/>
                <a:gd name="connsiteY354" fmla="*/ 233409 h 1437679"/>
                <a:gd name="connsiteX355" fmla="*/ 637582 w 706773"/>
                <a:gd name="connsiteY355" fmla="*/ 225908 h 1437679"/>
                <a:gd name="connsiteX356" fmla="*/ 640600 w 706773"/>
                <a:gd name="connsiteY356" fmla="*/ 222596 h 1437679"/>
                <a:gd name="connsiteX357" fmla="*/ 640933 w 706773"/>
                <a:gd name="connsiteY357" fmla="*/ 222379 h 1437679"/>
                <a:gd name="connsiteX358" fmla="*/ 645136 w 706773"/>
                <a:gd name="connsiteY358" fmla="*/ 205989 h 1437679"/>
                <a:gd name="connsiteX359" fmla="*/ 622440 w 706773"/>
                <a:gd name="connsiteY359" fmla="*/ 192578 h 1437679"/>
                <a:gd name="connsiteX360" fmla="*/ 622407 w 706773"/>
                <a:gd name="connsiteY360" fmla="*/ 182917 h 1437679"/>
                <a:gd name="connsiteX361" fmla="*/ 625039 w 706773"/>
                <a:gd name="connsiteY361" fmla="*/ 177547 h 1437679"/>
                <a:gd name="connsiteX362" fmla="*/ 625376 w 706773"/>
                <a:gd name="connsiteY362" fmla="*/ 176867 h 1437679"/>
                <a:gd name="connsiteX363" fmla="*/ 625622 w 706773"/>
                <a:gd name="connsiteY363" fmla="*/ 176370 h 1437679"/>
                <a:gd name="connsiteX364" fmla="*/ 625439 w 706773"/>
                <a:gd name="connsiteY364" fmla="*/ 175850 h 1437679"/>
                <a:gd name="connsiteX365" fmla="*/ 625179 w 706773"/>
                <a:gd name="connsiteY365" fmla="*/ 175112 h 1437679"/>
                <a:gd name="connsiteX366" fmla="*/ 617292 w 706773"/>
                <a:gd name="connsiteY366" fmla="*/ 151785 h 1437679"/>
                <a:gd name="connsiteX367" fmla="*/ 619948 w 706773"/>
                <a:gd name="connsiteY367" fmla="*/ 135110 h 1437679"/>
                <a:gd name="connsiteX368" fmla="*/ 623052 w 706773"/>
                <a:gd name="connsiteY368" fmla="*/ 128361 h 1437679"/>
                <a:gd name="connsiteX369" fmla="*/ 618116 w 706773"/>
                <a:gd name="connsiteY369" fmla="*/ 123931 h 1437679"/>
                <a:gd name="connsiteX370" fmla="*/ 618121 w 706773"/>
                <a:gd name="connsiteY370" fmla="*/ 123897 h 1437679"/>
                <a:gd name="connsiteX371" fmla="*/ 601109 w 706773"/>
                <a:gd name="connsiteY371" fmla="*/ 105699 h 1437679"/>
                <a:gd name="connsiteX372" fmla="*/ 597551 w 706773"/>
                <a:gd name="connsiteY372" fmla="*/ 101216 h 1437679"/>
                <a:gd name="connsiteX373" fmla="*/ 591265 w 706773"/>
                <a:gd name="connsiteY373" fmla="*/ 102561 h 1437679"/>
                <a:gd name="connsiteX374" fmla="*/ 588286 w 706773"/>
                <a:gd name="connsiteY374" fmla="*/ 95291 h 1437679"/>
                <a:gd name="connsiteX375" fmla="*/ 565633 w 706773"/>
                <a:gd name="connsiteY375" fmla="*/ 74094 h 1437679"/>
                <a:gd name="connsiteX376" fmla="*/ 541255 w 706773"/>
                <a:gd name="connsiteY376" fmla="*/ 68844 h 1437679"/>
                <a:gd name="connsiteX377" fmla="*/ 538198 w 706773"/>
                <a:gd name="connsiteY377" fmla="*/ 65663 h 1437679"/>
                <a:gd name="connsiteX378" fmla="*/ 537326 w 706773"/>
                <a:gd name="connsiteY378" fmla="*/ 64742 h 1437679"/>
                <a:gd name="connsiteX379" fmla="*/ 536699 w 706773"/>
                <a:gd name="connsiteY379" fmla="*/ 64082 h 1437679"/>
                <a:gd name="connsiteX380" fmla="*/ 535860 w 706773"/>
                <a:gd name="connsiteY380" fmla="*/ 64434 h 1437679"/>
                <a:gd name="connsiteX381" fmla="*/ 534684 w 706773"/>
                <a:gd name="connsiteY381" fmla="*/ 64930 h 1437679"/>
                <a:gd name="connsiteX382" fmla="*/ 528663 w 706773"/>
                <a:gd name="connsiteY382" fmla="*/ 67495 h 1437679"/>
                <a:gd name="connsiteX383" fmla="*/ 521938 w 706773"/>
                <a:gd name="connsiteY383" fmla="*/ 62264 h 1437679"/>
                <a:gd name="connsiteX384" fmla="*/ 507558 w 706773"/>
                <a:gd name="connsiteY384" fmla="*/ 53544 h 1437679"/>
                <a:gd name="connsiteX385" fmla="*/ 489789 w 706773"/>
                <a:gd name="connsiteY385" fmla="*/ 41820 h 1437679"/>
                <a:gd name="connsiteX386" fmla="*/ 488936 w 706773"/>
                <a:gd name="connsiteY386" fmla="*/ 39255 h 1437679"/>
                <a:gd name="connsiteX387" fmla="*/ 470872 w 706773"/>
                <a:gd name="connsiteY387" fmla="*/ 23891 h 1437679"/>
                <a:gd name="connsiteX388" fmla="*/ 470853 w 706773"/>
                <a:gd name="connsiteY388" fmla="*/ 23877 h 1437679"/>
                <a:gd name="connsiteX389" fmla="*/ 470757 w 706773"/>
                <a:gd name="connsiteY389" fmla="*/ 23819 h 1437679"/>
                <a:gd name="connsiteX390" fmla="*/ 467161 w 706773"/>
                <a:gd name="connsiteY390" fmla="*/ 21867 h 1437679"/>
                <a:gd name="connsiteX391" fmla="*/ 466645 w 706773"/>
                <a:gd name="connsiteY391" fmla="*/ 21597 h 1437679"/>
                <a:gd name="connsiteX392" fmla="*/ 458117 w 706773"/>
                <a:gd name="connsiteY392" fmla="*/ 16318 h 1437679"/>
                <a:gd name="connsiteX393" fmla="*/ 459399 w 706773"/>
                <a:gd name="connsiteY393" fmla="*/ 9960 h 1437679"/>
                <a:gd name="connsiteX394" fmla="*/ 439861 w 706773"/>
                <a:gd name="connsiteY394" fmla="*/ 415 h 1437679"/>
                <a:gd name="connsiteX395" fmla="*/ 439760 w 706773"/>
                <a:gd name="connsiteY395" fmla="*/ 386 h 1437679"/>
                <a:gd name="connsiteX396" fmla="*/ 439302 w 706773"/>
                <a:gd name="connsiteY396" fmla="*/ 270 h 1437679"/>
                <a:gd name="connsiteX397" fmla="*/ 438979 w 706773"/>
                <a:gd name="connsiteY397" fmla="*/ 188 h 1437679"/>
                <a:gd name="connsiteX398" fmla="*/ 438762 w 706773"/>
                <a:gd name="connsiteY398" fmla="*/ 241 h 1437679"/>
                <a:gd name="connsiteX399" fmla="*/ 438140 w 706773"/>
                <a:gd name="connsiteY399" fmla="*/ 149 h 1437679"/>
                <a:gd name="connsiteX400" fmla="*/ 437094 w 706773"/>
                <a:gd name="connsiteY400" fmla="*/ 0 h 1437679"/>
                <a:gd name="connsiteX401" fmla="*/ 436819 w 706773"/>
                <a:gd name="connsiteY401" fmla="*/ 723 h 1437679"/>
                <a:gd name="connsiteX402" fmla="*/ 413424 w 706773"/>
                <a:gd name="connsiteY402" fmla="*/ 6416 h 1437679"/>
                <a:gd name="connsiteX403" fmla="*/ 410291 w 706773"/>
                <a:gd name="connsiteY403" fmla="*/ 7183 h 1437679"/>
                <a:gd name="connsiteX404" fmla="*/ 408049 w 706773"/>
                <a:gd name="connsiteY404" fmla="*/ 7728 h 1437679"/>
                <a:gd name="connsiteX405" fmla="*/ 409654 w 706773"/>
                <a:gd name="connsiteY405" fmla="*/ 9376 h 1437679"/>
                <a:gd name="connsiteX406" fmla="*/ 411915 w 706773"/>
                <a:gd name="connsiteY406" fmla="*/ 11695 h 1437679"/>
                <a:gd name="connsiteX407" fmla="*/ 424806 w 706773"/>
                <a:gd name="connsiteY407" fmla="*/ 24904 h 1437679"/>
                <a:gd name="connsiteX408" fmla="*/ 427544 w 706773"/>
                <a:gd name="connsiteY408" fmla="*/ 40123 h 1437679"/>
                <a:gd name="connsiteX409" fmla="*/ 415179 w 706773"/>
                <a:gd name="connsiteY409" fmla="*/ 74967 h 1437679"/>
                <a:gd name="connsiteX410" fmla="*/ 413212 w 706773"/>
                <a:gd name="connsiteY410" fmla="*/ 76765 h 1437679"/>
                <a:gd name="connsiteX411" fmla="*/ 411828 w 706773"/>
                <a:gd name="connsiteY411" fmla="*/ 78028 h 1437679"/>
                <a:gd name="connsiteX412" fmla="*/ 413487 w 706773"/>
                <a:gd name="connsiteY412" fmla="*/ 78896 h 1437679"/>
                <a:gd name="connsiteX413" fmla="*/ 415830 w 706773"/>
                <a:gd name="connsiteY413" fmla="*/ 80130 h 1437679"/>
                <a:gd name="connsiteX414" fmla="*/ 426806 w 706773"/>
                <a:gd name="connsiteY414" fmla="*/ 85842 h 1437679"/>
                <a:gd name="connsiteX415" fmla="*/ 418023 w 706773"/>
                <a:gd name="connsiteY415" fmla="*/ 100830 h 1437679"/>
                <a:gd name="connsiteX416" fmla="*/ 367888 w 706773"/>
                <a:gd name="connsiteY416" fmla="*/ 86021 h 1437679"/>
                <a:gd name="connsiteX417" fmla="*/ 367415 w 706773"/>
                <a:gd name="connsiteY417" fmla="*/ 85881 h 1437679"/>
                <a:gd name="connsiteX418" fmla="*/ 367073 w 706773"/>
                <a:gd name="connsiteY418" fmla="*/ 85780 h 1437679"/>
                <a:gd name="connsiteX419" fmla="*/ 366726 w 706773"/>
                <a:gd name="connsiteY419" fmla="*/ 85866 h 1437679"/>
                <a:gd name="connsiteX420" fmla="*/ 366234 w 706773"/>
                <a:gd name="connsiteY420" fmla="*/ 85992 h 1437679"/>
                <a:gd name="connsiteX421" fmla="*/ 351864 w 706773"/>
                <a:gd name="connsiteY421" fmla="*/ 89583 h 1437679"/>
                <a:gd name="connsiteX422" fmla="*/ 341200 w 706773"/>
                <a:gd name="connsiteY422" fmla="*/ 81378 h 1437679"/>
                <a:gd name="connsiteX423" fmla="*/ 340294 w 706773"/>
                <a:gd name="connsiteY423" fmla="*/ 80679 h 1437679"/>
                <a:gd name="connsiteX424" fmla="*/ 339643 w 706773"/>
                <a:gd name="connsiteY424" fmla="*/ 80183 h 1437679"/>
                <a:gd name="connsiteX425" fmla="*/ 338910 w 706773"/>
                <a:gd name="connsiteY425" fmla="*/ 80549 h 1437679"/>
                <a:gd name="connsiteX426" fmla="*/ 337879 w 706773"/>
                <a:gd name="connsiteY426" fmla="*/ 81065 h 1437679"/>
                <a:gd name="connsiteX427" fmla="*/ 323407 w 706773"/>
                <a:gd name="connsiteY427" fmla="*/ 88267 h 1437679"/>
                <a:gd name="connsiteX428" fmla="*/ 322390 w 706773"/>
                <a:gd name="connsiteY428" fmla="*/ 88778 h 1437679"/>
                <a:gd name="connsiteX429" fmla="*/ 321672 w 706773"/>
                <a:gd name="connsiteY429" fmla="*/ 89135 h 1437679"/>
                <a:gd name="connsiteX430" fmla="*/ 321662 w 706773"/>
                <a:gd name="connsiteY430" fmla="*/ 89940 h 1437679"/>
                <a:gd name="connsiteX431" fmla="*/ 321652 w 706773"/>
                <a:gd name="connsiteY431" fmla="*/ 91068 h 1437679"/>
                <a:gd name="connsiteX432" fmla="*/ 321488 w 706773"/>
                <a:gd name="connsiteY432" fmla="*/ 104527 h 1437679"/>
                <a:gd name="connsiteX433" fmla="*/ 321488 w 706773"/>
                <a:gd name="connsiteY433" fmla="*/ 104754 h 1437679"/>
                <a:gd name="connsiteX434" fmla="*/ 321488 w 706773"/>
                <a:gd name="connsiteY434" fmla="*/ 104899 h 1437679"/>
                <a:gd name="connsiteX435" fmla="*/ 321522 w 706773"/>
                <a:gd name="connsiteY435" fmla="*/ 105043 h 1437679"/>
                <a:gd name="connsiteX436" fmla="*/ 321565 w 706773"/>
                <a:gd name="connsiteY436" fmla="*/ 105236 h 1437679"/>
                <a:gd name="connsiteX437" fmla="*/ 328772 w 706773"/>
                <a:gd name="connsiteY437" fmla="*/ 138981 h 1437679"/>
                <a:gd name="connsiteX438" fmla="*/ 320278 w 706773"/>
                <a:gd name="connsiteY438" fmla="*/ 164126 h 1437679"/>
                <a:gd name="connsiteX439" fmla="*/ 316306 w 706773"/>
                <a:gd name="connsiteY439" fmla="*/ 165278 h 1437679"/>
                <a:gd name="connsiteX440" fmla="*/ 309634 w 706773"/>
                <a:gd name="connsiteY440" fmla="*/ 160380 h 1437679"/>
                <a:gd name="connsiteX441" fmla="*/ 309480 w 706773"/>
                <a:gd name="connsiteY441" fmla="*/ 160269 h 1437679"/>
                <a:gd name="connsiteX442" fmla="*/ 309355 w 706773"/>
                <a:gd name="connsiteY442" fmla="*/ 160173 h 1437679"/>
                <a:gd name="connsiteX443" fmla="*/ 309205 w 706773"/>
                <a:gd name="connsiteY443" fmla="*/ 160110 h 1437679"/>
                <a:gd name="connsiteX444" fmla="*/ 309003 w 706773"/>
                <a:gd name="connsiteY444" fmla="*/ 160023 h 1437679"/>
                <a:gd name="connsiteX445" fmla="*/ 297631 w 706773"/>
                <a:gd name="connsiteY445" fmla="*/ 155198 h 1437679"/>
                <a:gd name="connsiteX446" fmla="*/ 297231 w 706773"/>
                <a:gd name="connsiteY446" fmla="*/ 155034 h 1437679"/>
                <a:gd name="connsiteX447" fmla="*/ 296956 w 706773"/>
                <a:gd name="connsiteY447" fmla="*/ 154918 h 1437679"/>
                <a:gd name="connsiteX448" fmla="*/ 296657 w 706773"/>
                <a:gd name="connsiteY448" fmla="*/ 154938 h 1437679"/>
                <a:gd name="connsiteX449" fmla="*/ 296233 w 706773"/>
                <a:gd name="connsiteY449" fmla="*/ 154962 h 1437679"/>
                <a:gd name="connsiteX450" fmla="*/ 286254 w 706773"/>
                <a:gd name="connsiteY450" fmla="*/ 155453 h 1437679"/>
                <a:gd name="connsiteX451" fmla="*/ 285328 w 706773"/>
                <a:gd name="connsiteY451" fmla="*/ 155506 h 1437679"/>
                <a:gd name="connsiteX452" fmla="*/ 284687 w 706773"/>
                <a:gd name="connsiteY452" fmla="*/ 155545 h 1437679"/>
                <a:gd name="connsiteX453" fmla="*/ 284326 w 706773"/>
                <a:gd name="connsiteY453" fmla="*/ 156070 h 1437679"/>
                <a:gd name="connsiteX454" fmla="*/ 283805 w 706773"/>
                <a:gd name="connsiteY454" fmla="*/ 156818 h 1437679"/>
                <a:gd name="connsiteX455" fmla="*/ 275301 w 706773"/>
                <a:gd name="connsiteY455" fmla="*/ 169294 h 1437679"/>
                <a:gd name="connsiteX456" fmla="*/ 260637 w 706773"/>
                <a:gd name="connsiteY456" fmla="*/ 183375 h 1437679"/>
                <a:gd name="connsiteX457" fmla="*/ 260188 w 706773"/>
                <a:gd name="connsiteY457" fmla="*/ 183804 h 1437679"/>
                <a:gd name="connsiteX458" fmla="*/ 259856 w 706773"/>
                <a:gd name="connsiteY458" fmla="*/ 184117 h 1437679"/>
                <a:gd name="connsiteX459" fmla="*/ 259793 w 706773"/>
                <a:gd name="connsiteY459" fmla="*/ 184575 h 1437679"/>
                <a:gd name="connsiteX460" fmla="*/ 259706 w 706773"/>
                <a:gd name="connsiteY460" fmla="*/ 185197 h 1437679"/>
                <a:gd name="connsiteX461" fmla="*/ 253931 w 706773"/>
                <a:gd name="connsiteY461" fmla="*/ 223773 h 1437679"/>
                <a:gd name="connsiteX462" fmla="*/ 246902 w 706773"/>
                <a:gd name="connsiteY462" fmla="*/ 237960 h 1437679"/>
                <a:gd name="connsiteX463" fmla="*/ 235217 w 706773"/>
                <a:gd name="connsiteY463" fmla="*/ 243002 h 1437679"/>
                <a:gd name="connsiteX464" fmla="*/ 234257 w 706773"/>
                <a:gd name="connsiteY464" fmla="*/ 243422 h 1437679"/>
                <a:gd name="connsiteX465" fmla="*/ 233578 w 706773"/>
                <a:gd name="connsiteY465" fmla="*/ 243721 h 1437679"/>
                <a:gd name="connsiteX466" fmla="*/ 233477 w 706773"/>
                <a:gd name="connsiteY466" fmla="*/ 244458 h 1437679"/>
                <a:gd name="connsiteX467" fmla="*/ 233342 w 706773"/>
                <a:gd name="connsiteY467" fmla="*/ 245475 h 1437679"/>
                <a:gd name="connsiteX468" fmla="*/ 231799 w 706773"/>
                <a:gd name="connsiteY468" fmla="*/ 256520 h 1437679"/>
                <a:gd name="connsiteX469" fmla="*/ 231712 w 706773"/>
                <a:gd name="connsiteY469" fmla="*/ 257233 h 1437679"/>
                <a:gd name="connsiteX470" fmla="*/ 231654 w 706773"/>
                <a:gd name="connsiteY470" fmla="*/ 257710 h 1437679"/>
                <a:gd name="connsiteX471" fmla="*/ 231920 w 706773"/>
                <a:gd name="connsiteY471" fmla="*/ 258110 h 1437679"/>
                <a:gd name="connsiteX472" fmla="*/ 232301 w 706773"/>
                <a:gd name="connsiteY472" fmla="*/ 258689 h 1437679"/>
                <a:gd name="connsiteX473" fmla="*/ 251583 w 706773"/>
                <a:gd name="connsiteY473" fmla="*/ 287724 h 1437679"/>
                <a:gd name="connsiteX474" fmla="*/ 252032 w 706773"/>
                <a:gd name="connsiteY474" fmla="*/ 306747 h 1437679"/>
                <a:gd name="connsiteX475" fmla="*/ 231071 w 706773"/>
                <a:gd name="connsiteY475" fmla="*/ 336003 h 1437679"/>
                <a:gd name="connsiteX476" fmla="*/ 210839 w 706773"/>
                <a:gd name="connsiteY476" fmla="*/ 380253 h 1437679"/>
                <a:gd name="connsiteX477" fmla="*/ 210872 w 706773"/>
                <a:gd name="connsiteY477" fmla="*/ 380277 h 1437679"/>
                <a:gd name="connsiteX478" fmla="*/ 210009 w 706773"/>
                <a:gd name="connsiteY478" fmla="*/ 381246 h 1437679"/>
                <a:gd name="connsiteX479" fmla="*/ 208072 w 706773"/>
                <a:gd name="connsiteY479" fmla="*/ 383574 h 1437679"/>
                <a:gd name="connsiteX480" fmla="*/ 205261 w 706773"/>
                <a:gd name="connsiteY480" fmla="*/ 386968 h 1437679"/>
                <a:gd name="connsiteX481" fmla="*/ 204644 w 706773"/>
                <a:gd name="connsiteY481" fmla="*/ 387730 h 1437679"/>
                <a:gd name="connsiteX482" fmla="*/ 204220 w 706773"/>
                <a:gd name="connsiteY482" fmla="*/ 388250 h 1437679"/>
                <a:gd name="connsiteX483" fmla="*/ 204398 w 706773"/>
                <a:gd name="connsiteY483" fmla="*/ 388896 h 1437679"/>
                <a:gd name="connsiteX484" fmla="*/ 204644 w 706773"/>
                <a:gd name="connsiteY484" fmla="*/ 389817 h 1437679"/>
                <a:gd name="connsiteX485" fmla="*/ 209884 w 706773"/>
                <a:gd name="connsiteY485" fmla="*/ 408700 h 1437679"/>
                <a:gd name="connsiteX486" fmla="*/ 209749 w 706773"/>
                <a:gd name="connsiteY486" fmla="*/ 416943 h 1437679"/>
                <a:gd name="connsiteX487" fmla="*/ 188220 w 706773"/>
                <a:gd name="connsiteY487" fmla="*/ 434987 h 1437679"/>
                <a:gd name="connsiteX488" fmla="*/ 162010 w 706773"/>
                <a:gd name="connsiteY488" fmla="*/ 439957 h 1437679"/>
                <a:gd name="connsiteX489" fmla="*/ 160139 w 706773"/>
                <a:gd name="connsiteY489" fmla="*/ 440309 h 1437679"/>
                <a:gd name="connsiteX490" fmla="*/ 158799 w 706773"/>
                <a:gd name="connsiteY490" fmla="*/ 440555 h 1437679"/>
                <a:gd name="connsiteX491" fmla="*/ 159103 w 706773"/>
                <a:gd name="connsiteY491" fmla="*/ 441885 h 1437679"/>
                <a:gd name="connsiteX492" fmla="*/ 159522 w 706773"/>
                <a:gd name="connsiteY492" fmla="*/ 443741 h 1437679"/>
                <a:gd name="connsiteX493" fmla="*/ 168797 w 706773"/>
                <a:gd name="connsiteY493" fmla="*/ 485657 h 1437679"/>
                <a:gd name="connsiteX494" fmla="*/ 165095 w 706773"/>
                <a:gd name="connsiteY494" fmla="*/ 497965 h 1437679"/>
                <a:gd name="connsiteX495" fmla="*/ 165022 w 706773"/>
                <a:gd name="connsiteY495" fmla="*/ 498158 h 1437679"/>
                <a:gd name="connsiteX496" fmla="*/ 164945 w 706773"/>
                <a:gd name="connsiteY496" fmla="*/ 498370 h 1437679"/>
                <a:gd name="connsiteX497" fmla="*/ 164945 w 706773"/>
                <a:gd name="connsiteY497" fmla="*/ 498601 h 1437679"/>
                <a:gd name="connsiteX498" fmla="*/ 164945 w 706773"/>
                <a:gd name="connsiteY498" fmla="*/ 498881 h 1437679"/>
                <a:gd name="connsiteX499" fmla="*/ 164945 w 706773"/>
                <a:gd name="connsiteY499" fmla="*/ 543458 h 1437679"/>
                <a:gd name="connsiteX500" fmla="*/ 165047 w 706773"/>
                <a:gd name="connsiteY500" fmla="*/ 543559 h 1437679"/>
                <a:gd name="connsiteX501" fmla="*/ 165061 w 706773"/>
                <a:gd name="connsiteY501" fmla="*/ 543458 h 1437679"/>
                <a:gd name="connsiteX502" fmla="*/ 166261 w 706773"/>
                <a:gd name="connsiteY502" fmla="*/ 543458 h 1437679"/>
                <a:gd name="connsiteX503" fmla="*/ 166199 w 706773"/>
                <a:gd name="connsiteY503" fmla="*/ 544750 h 1437679"/>
                <a:gd name="connsiteX504" fmla="*/ 165042 w 706773"/>
                <a:gd name="connsiteY504" fmla="*/ 543559 h 1437679"/>
                <a:gd name="connsiteX505" fmla="*/ 164666 w 706773"/>
                <a:gd name="connsiteY505" fmla="*/ 549460 h 1437679"/>
                <a:gd name="connsiteX506" fmla="*/ 164304 w 706773"/>
                <a:gd name="connsiteY506" fmla="*/ 557279 h 1437679"/>
                <a:gd name="connsiteX507" fmla="*/ 159257 w 706773"/>
                <a:gd name="connsiteY507" fmla="*/ 563714 h 1437679"/>
                <a:gd name="connsiteX508" fmla="*/ 158929 w 706773"/>
                <a:gd name="connsiteY508" fmla="*/ 564119 h 1437679"/>
                <a:gd name="connsiteX509" fmla="*/ 158674 w 706773"/>
                <a:gd name="connsiteY509" fmla="*/ 564438 h 1437679"/>
                <a:gd name="connsiteX510" fmla="*/ 158640 w 706773"/>
                <a:gd name="connsiteY510" fmla="*/ 564838 h 1437679"/>
                <a:gd name="connsiteX511" fmla="*/ 158597 w 706773"/>
                <a:gd name="connsiteY511" fmla="*/ 565382 h 1437679"/>
                <a:gd name="connsiteX512" fmla="*/ 156929 w 706773"/>
                <a:gd name="connsiteY512" fmla="*/ 583084 h 1437679"/>
                <a:gd name="connsiteX513" fmla="*/ 122036 w 706773"/>
                <a:gd name="connsiteY513" fmla="*/ 656248 h 1437679"/>
                <a:gd name="connsiteX514" fmla="*/ 121400 w 706773"/>
                <a:gd name="connsiteY514" fmla="*/ 657602 h 1437679"/>
                <a:gd name="connsiteX515" fmla="*/ 120956 w 706773"/>
                <a:gd name="connsiteY515" fmla="*/ 658552 h 1437679"/>
                <a:gd name="connsiteX516" fmla="*/ 121781 w 706773"/>
                <a:gd name="connsiteY516" fmla="*/ 659198 h 1437679"/>
                <a:gd name="connsiteX517" fmla="*/ 122943 w 706773"/>
                <a:gd name="connsiteY517" fmla="*/ 660104 h 1437679"/>
                <a:gd name="connsiteX518" fmla="*/ 137583 w 706773"/>
                <a:gd name="connsiteY518" fmla="*/ 671477 h 1437679"/>
                <a:gd name="connsiteX519" fmla="*/ 137790 w 706773"/>
                <a:gd name="connsiteY519" fmla="*/ 671650 h 1437679"/>
                <a:gd name="connsiteX520" fmla="*/ 137978 w 706773"/>
                <a:gd name="connsiteY520" fmla="*/ 671804 h 1437679"/>
                <a:gd name="connsiteX521" fmla="*/ 138210 w 706773"/>
                <a:gd name="connsiteY521" fmla="*/ 671881 h 1437679"/>
                <a:gd name="connsiteX522" fmla="*/ 138514 w 706773"/>
                <a:gd name="connsiteY522" fmla="*/ 671983 h 1437679"/>
                <a:gd name="connsiteX523" fmla="*/ 150151 w 706773"/>
                <a:gd name="connsiteY523" fmla="*/ 675844 h 1437679"/>
                <a:gd name="connsiteX524" fmla="*/ 155892 w 706773"/>
                <a:gd name="connsiteY524" fmla="*/ 708938 h 1437679"/>
                <a:gd name="connsiteX525" fmla="*/ 147176 w 706773"/>
                <a:gd name="connsiteY525" fmla="*/ 730453 h 1437679"/>
                <a:gd name="connsiteX526" fmla="*/ 117409 w 706773"/>
                <a:gd name="connsiteY526" fmla="*/ 726168 h 1437679"/>
                <a:gd name="connsiteX527" fmla="*/ 104807 w 706773"/>
                <a:gd name="connsiteY527" fmla="*/ 723747 h 1437679"/>
                <a:gd name="connsiteX528" fmla="*/ 50647 w 706773"/>
                <a:gd name="connsiteY528" fmla="*/ 779268 h 1437679"/>
                <a:gd name="connsiteX529" fmla="*/ 50622 w 706773"/>
                <a:gd name="connsiteY529" fmla="*/ 779325 h 1437679"/>
                <a:gd name="connsiteX530" fmla="*/ 50579 w 706773"/>
                <a:gd name="connsiteY530" fmla="*/ 779494 h 1437679"/>
                <a:gd name="connsiteX531" fmla="*/ 50550 w 706773"/>
                <a:gd name="connsiteY531" fmla="*/ 779591 h 1437679"/>
                <a:gd name="connsiteX532" fmla="*/ 49644 w 706773"/>
                <a:gd name="connsiteY532" fmla="*/ 783187 h 1437679"/>
                <a:gd name="connsiteX533" fmla="*/ 41554 w 706773"/>
                <a:gd name="connsiteY533" fmla="*/ 794607 h 1437679"/>
                <a:gd name="connsiteX534" fmla="*/ 41101 w 706773"/>
                <a:gd name="connsiteY534" fmla="*/ 795239 h 1437679"/>
                <a:gd name="connsiteX535" fmla="*/ 40779 w 706773"/>
                <a:gd name="connsiteY535" fmla="*/ 795692 h 1437679"/>
                <a:gd name="connsiteX536" fmla="*/ 40885 w 706773"/>
                <a:gd name="connsiteY536" fmla="*/ 796241 h 1437679"/>
                <a:gd name="connsiteX537" fmla="*/ 41024 w 706773"/>
                <a:gd name="connsiteY537" fmla="*/ 797003 h 1437679"/>
                <a:gd name="connsiteX538" fmla="*/ 43584 w 706773"/>
                <a:gd name="connsiteY538" fmla="*/ 810959 h 1437679"/>
                <a:gd name="connsiteX539" fmla="*/ 31282 w 706773"/>
                <a:gd name="connsiteY539" fmla="*/ 837097 h 1437679"/>
                <a:gd name="connsiteX540" fmla="*/ 30949 w 706773"/>
                <a:gd name="connsiteY540" fmla="*/ 837801 h 1437679"/>
                <a:gd name="connsiteX541" fmla="*/ 30708 w 706773"/>
                <a:gd name="connsiteY541" fmla="*/ 838307 h 1437679"/>
                <a:gd name="connsiteX542" fmla="*/ 30911 w 706773"/>
                <a:gd name="connsiteY542" fmla="*/ 838832 h 1437679"/>
                <a:gd name="connsiteX543" fmla="*/ 31190 w 706773"/>
                <a:gd name="connsiteY543" fmla="*/ 839560 h 1437679"/>
                <a:gd name="connsiteX544" fmla="*/ 45459 w 706773"/>
                <a:gd name="connsiteY544" fmla="*/ 876853 h 1437679"/>
                <a:gd name="connsiteX545" fmla="*/ 38812 w 706773"/>
                <a:gd name="connsiteY545" fmla="*/ 888139 h 1437679"/>
                <a:gd name="connsiteX546" fmla="*/ 38460 w 706773"/>
                <a:gd name="connsiteY546" fmla="*/ 888722 h 1437679"/>
                <a:gd name="connsiteX547" fmla="*/ 38204 w 706773"/>
                <a:gd name="connsiteY547" fmla="*/ 889156 h 1437679"/>
                <a:gd name="connsiteX548" fmla="*/ 38301 w 706773"/>
                <a:gd name="connsiteY548" fmla="*/ 889647 h 1437679"/>
                <a:gd name="connsiteX549" fmla="*/ 38431 w 706773"/>
                <a:gd name="connsiteY549" fmla="*/ 890332 h 1437679"/>
                <a:gd name="connsiteX550" fmla="*/ 43464 w 706773"/>
                <a:gd name="connsiteY550" fmla="*/ 916296 h 1437679"/>
                <a:gd name="connsiteX551" fmla="*/ 40566 w 706773"/>
                <a:gd name="connsiteY551" fmla="*/ 926979 h 1437679"/>
                <a:gd name="connsiteX552" fmla="*/ 40494 w 706773"/>
                <a:gd name="connsiteY552" fmla="*/ 927244 h 1437679"/>
                <a:gd name="connsiteX553" fmla="*/ 40446 w 706773"/>
                <a:gd name="connsiteY553" fmla="*/ 927422 h 1437679"/>
                <a:gd name="connsiteX554" fmla="*/ 40451 w 706773"/>
                <a:gd name="connsiteY554" fmla="*/ 927610 h 1437679"/>
                <a:gd name="connsiteX555" fmla="*/ 40456 w 706773"/>
                <a:gd name="connsiteY555" fmla="*/ 927871 h 1437679"/>
                <a:gd name="connsiteX556" fmla="*/ 48742 w 706773"/>
                <a:gd name="connsiteY556" fmla="*/ 958897 h 1437679"/>
                <a:gd name="connsiteX557" fmla="*/ 55448 w 706773"/>
                <a:gd name="connsiteY557" fmla="*/ 981405 h 1437679"/>
                <a:gd name="connsiteX558" fmla="*/ 55438 w 706773"/>
                <a:gd name="connsiteY558" fmla="*/ 981993 h 1437679"/>
                <a:gd name="connsiteX559" fmla="*/ 48222 w 706773"/>
                <a:gd name="connsiteY559" fmla="*/ 1050563 h 1437679"/>
                <a:gd name="connsiteX560" fmla="*/ 48135 w 706773"/>
                <a:gd name="connsiteY560" fmla="*/ 1051368 h 1437679"/>
                <a:gd name="connsiteX561" fmla="*/ 48072 w 706773"/>
                <a:gd name="connsiteY561" fmla="*/ 1051941 h 1437679"/>
                <a:gd name="connsiteX562" fmla="*/ 48458 w 706773"/>
                <a:gd name="connsiteY562" fmla="*/ 1052375 h 1437679"/>
                <a:gd name="connsiteX563" fmla="*/ 48979 w 706773"/>
                <a:gd name="connsiteY563" fmla="*/ 1052973 h 1437679"/>
                <a:gd name="connsiteX564" fmla="*/ 66704 w 706773"/>
                <a:gd name="connsiteY564" fmla="*/ 1073456 h 1437679"/>
                <a:gd name="connsiteX565" fmla="*/ 67206 w 706773"/>
                <a:gd name="connsiteY565" fmla="*/ 1074044 h 1437679"/>
                <a:gd name="connsiteX566" fmla="*/ 67562 w 706773"/>
                <a:gd name="connsiteY566" fmla="*/ 1074454 h 1437679"/>
                <a:gd name="connsiteX567" fmla="*/ 68107 w 706773"/>
                <a:gd name="connsiteY567" fmla="*/ 1074493 h 1437679"/>
                <a:gd name="connsiteX568" fmla="*/ 68878 w 706773"/>
                <a:gd name="connsiteY568" fmla="*/ 1074546 h 1437679"/>
                <a:gd name="connsiteX569" fmla="*/ 78771 w 706773"/>
                <a:gd name="connsiteY569" fmla="*/ 1075168 h 1437679"/>
                <a:gd name="connsiteX570" fmla="*/ 97321 w 706773"/>
                <a:gd name="connsiteY570" fmla="*/ 1099927 h 1437679"/>
                <a:gd name="connsiteX571" fmla="*/ 91835 w 706773"/>
                <a:gd name="connsiteY571" fmla="*/ 1122743 h 1437679"/>
                <a:gd name="connsiteX572" fmla="*/ 91608 w 706773"/>
                <a:gd name="connsiteY572" fmla="*/ 1123037 h 1437679"/>
                <a:gd name="connsiteX573" fmla="*/ 91333 w 706773"/>
                <a:gd name="connsiteY573" fmla="*/ 1123394 h 1437679"/>
                <a:gd name="connsiteX574" fmla="*/ 91333 w 706773"/>
                <a:gd name="connsiteY574" fmla="*/ 1123722 h 1437679"/>
                <a:gd name="connsiteX575" fmla="*/ 91275 w 706773"/>
                <a:gd name="connsiteY575" fmla="*/ 1124030 h 1437679"/>
                <a:gd name="connsiteX576" fmla="*/ 91266 w 706773"/>
                <a:gd name="connsiteY576" fmla="*/ 1124098 h 1437679"/>
                <a:gd name="connsiteX577" fmla="*/ 91261 w 706773"/>
                <a:gd name="connsiteY577" fmla="*/ 1124170 h 1437679"/>
                <a:gd name="connsiteX578" fmla="*/ 88412 w 706773"/>
                <a:gd name="connsiteY578" fmla="*/ 1138275 h 1437679"/>
                <a:gd name="connsiteX579" fmla="*/ 88147 w 706773"/>
                <a:gd name="connsiteY579" fmla="*/ 1138685 h 1437679"/>
                <a:gd name="connsiteX580" fmla="*/ 84999 w 706773"/>
                <a:gd name="connsiteY580" fmla="*/ 1138637 h 1437679"/>
                <a:gd name="connsiteX581" fmla="*/ 84989 w 706773"/>
                <a:gd name="connsiteY581" fmla="*/ 1138666 h 1437679"/>
                <a:gd name="connsiteX582" fmla="*/ 85023 w 706773"/>
                <a:gd name="connsiteY582" fmla="*/ 1138647 h 1437679"/>
                <a:gd name="connsiteX583" fmla="*/ 85009 w 706773"/>
                <a:gd name="connsiteY583" fmla="*/ 1138709 h 1437679"/>
                <a:gd name="connsiteX584" fmla="*/ 84980 w 706773"/>
                <a:gd name="connsiteY584" fmla="*/ 1138695 h 1437679"/>
                <a:gd name="connsiteX585" fmla="*/ 84608 w 706773"/>
                <a:gd name="connsiteY585" fmla="*/ 1139895 h 1437679"/>
                <a:gd name="connsiteX586" fmla="*/ 83398 w 706773"/>
                <a:gd name="connsiteY586" fmla="*/ 1139461 h 1437679"/>
                <a:gd name="connsiteX587" fmla="*/ 84956 w 706773"/>
                <a:gd name="connsiteY587" fmla="*/ 1138680 h 1437679"/>
                <a:gd name="connsiteX588" fmla="*/ 83225 w 706773"/>
                <a:gd name="connsiteY588" fmla="*/ 1138001 h 1437679"/>
                <a:gd name="connsiteX589" fmla="*/ 82661 w 706773"/>
                <a:gd name="connsiteY589" fmla="*/ 1137798 h 1437679"/>
                <a:gd name="connsiteX590" fmla="*/ 82251 w 706773"/>
                <a:gd name="connsiteY590" fmla="*/ 1137654 h 1437679"/>
                <a:gd name="connsiteX591" fmla="*/ 81836 w 706773"/>
                <a:gd name="connsiteY591" fmla="*/ 1137784 h 1437679"/>
                <a:gd name="connsiteX592" fmla="*/ 81272 w 706773"/>
                <a:gd name="connsiteY592" fmla="*/ 1137957 h 1437679"/>
                <a:gd name="connsiteX593" fmla="*/ 63932 w 706773"/>
                <a:gd name="connsiteY593" fmla="*/ 1142932 h 1437679"/>
                <a:gd name="connsiteX594" fmla="*/ 59150 w 706773"/>
                <a:gd name="connsiteY594" fmla="*/ 1147604 h 1437679"/>
                <a:gd name="connsiteX595" fmla="*/ 61223 w 706773"/>
                <a:gd name="connsiteY595" fmla="*/ 1159554 h 1437679"/>
                <a:gd name="connsiteX596" fmla="*/ 62833 w 706773"/>
                <a:gd name="connsiteY596" fmla="*/ 1164958 h 1437679"/>
                <a:gd name="connsiteX597" fmla="*/ 62833 w 706773"/>
                <a:gd name="connsiteY597" fmla="*/ 1165580 h 1437679"/>
                <a:gd name="connsiteX598" fmla="*/ 71602 w 706773"/>
                <a:gd name="connsiteY598" fmla="*/ 1189944 h 1437679"/>
                <a:gd name="connsiteX599" fmla="*/ 76645 w 706773"/>
                <a:gd name="connsiteY599" fmla="*/ 1200154 h 1437679"/>
                <a:gd name="connsiteX600" fmla="*/ 83543 w 706773"/>
                <a:gd name="connsiteY600" fmla="*/ 1215185 h 1437679"/>
                <a:gd name="connsiteX601" fmla="*/ 78057 w 706773"/>
                <a:gd name="connsiteY601" fmla="*/ 1241521 h 1437679"/>
                <a:gd name="connsiteX602" fmla="*/ 77401 w 706773"/>
                <a:gd name="connsiteY602" fmla="*/ 1242301 h 1437679"/>
                <a:gd name="connsiteX603" fmla="*/ 76948 w 706773"/>
                <a:gd name="connsiteY603" fmla="*/ 1242841 h 1437679"/>
                <a:gd name="connsiteX604" fmla="*/ 77141 w 706773"/>
                <a:gd name="connsiteY604" fmla="*/ 1243516 h 1437679"/>
                <a:gd name="connsiteX605" fmla="*/ 77416 w 706773"/>
                <a:gd name="connsiteY605" fmla="*/ 1244461 h 1437679"/>
                <a:gd name="connsiteX606" fmla="*/ 77426 w 706773"/>
                <a:gd name="connsiteY606" fmla="*/ 1244500 h 1437679"/>
                <a:gd name="connsiteX607" fmla="*/ 77426 w 706773"/>
                <a:gd name="connsiteY607" fmla="*/ 1244500 h 1437679"/>
                <a:gd name="connsiteX608" fmla="*/ 79098 w 706773"/>
                <a:gd name="connsiteY608" fmla="*/ 1250878 h 1437679"/>
                <a:gd name="connsiteX609" fmla="*/ 79118 w 706773"/>
                <a:gd name="connsiteY609" fmla="*/ 1250979 h 1437679"/>
                <a:gd name="connsiteX610" fmla="*/ 79137 w 706773"/>
                <a:gd name="connsiteY610" fmla="*/ 1251085 h 1437679"/>
                <a:gd name="connsiteX611" fmla="*/ 79180 w 706773"/>
                <a:gd name="connsiteY611" fmla="*/ 1251191 h 1437679"/>
                <a:gd name="connsiteX612" fmla="*/ 79180 w 706773"/>
                <a:gd name="connsiteY612" fmla="*/ 1251191 h 1437679"/>
                <a:gd name="connsiteX613" fmla="*/ 79224 w 706773"/>
                <a:gd name="connsiteY613" fmla="*/ 1251311 h 1437679"/>
                <a:gd name="connsiteX614" fmla="*/ 56938 w 706773"/>
                <a:gd name="connsiteY614" fmla="*/ 1295001 h 1437679"/>
                <a:gd name="connsiteX615" fmla="*/ 46515 w 706773"/>
                <a:gd name="connsiteY615" fmla="*/ 1295001 h 1437679"/>
                <a:gd name="connsiteX616" fmla="*/ 46110 w 706773"/>
                <a:gd name="connsiteY616" fmla="*/ 1295001 h 1437679"/>
                <a:gd name="connsiteX617" fmla="*/ 45797 w 706773"/>
                <a:gd name="connsiteY617" fmla="*/ 1295001 h 1437679"/>
                <a:gd name="connsiteX618" fmla="*/ 45517 w 706773"/>
                <a:gd name="connsiteY618" fmla="*/ 1295141 h 1437679"/>
                <a:gd name="connsiteX619" fmla="*/ 45156 w 706773"/>
                <a:gd name="connsiteY619" fmla="*/ 1295325 h 1437679"/>
                <a:gd name="connsiteX620" fmla="*/ 38484 w 706773"/>
                <a:gd name="connsiteY620" fmla="*/ 1298424 h 1437679"/>
                <a:gd name="connsiteX621" fmla="*/ 37418 w 706773"/>
                <a:gd name="connsiteY621" fmla="*/ 1298921 h 1437679"/>
                <a:gd name="connsiteX622" fmla="*/ 36662 w 706773"/>
                <a:gd name="connsiteY622" fmla="*/ 1299277 h 1437679"/>
                <a:gd name="connsiteX623" fmla="*/ 36662 w 706773"/>
                <a:gd name="connsiteY623" fmla="*/ 1300111 h 1437679"/>
                <a:gd name="connsiteX624" fmla="*/ 36662 w 706773"/>
                <a:gd name="connsiteY624" fmla="*/ 1301283 h 1437679"/>
                <a:gd name="connsiteX625" fmla="*/ 36662 w 706773"/>
                <a:gd name="connsiteY625" fmla="*/ 1307478 h 1437679"/>
                <a:gd name="connsiteX626" fmla="*/ 36662 w 706773"/>
                <a:gd name="connsiteY626" fmla="*/ 1307974 h 1437679"/>
                <a:gd name="connsiteX627" fmla="*/ 36662 w 706773"/>
                <a:gd name="connsiteY627" fmla="*/ 1308316 h 1437679"/>
                <a:gd name="connsiteX628" fmla="*/ 36830 w 706773"/>
                <a:gd name="connsiteY628" fmla="*/ 1308615 h 1437679"/>
                <a:gd name="connsiteX629" fmla="*/ 37076 w 706773"/>
                <a:gd name="connsiteY629" fmla="*/ 1309059 h 1437679"/>
                <a:gd name="connsiteX630" fmla="*/ 39949 w 706773"/>
                <a:gd name="connsiteY630" fmla="*/ 1313903 h 1437679"/>
                <a:gd name="connsiteX631" fmla="*/ 40234 w 706773"/>
                <a:gd name="connsiteY631" fmla="*/ 1323333 h 1437679"/>
                <a:gd name="connsiteX632" fmla="*/ 36874 w 706773"/>
                <a:gd name="connsiteY632" fmla="*/ 1328751 h 1437679"/>
                <a:gd name="connsiteX633" fmla="*/ 32632 w 706773"/>
                <a:gd name="connsiteY633" fmla="*/ 1330115 h 1437679"/>
                <a:gd name="connsiteX634" fmla="*/ 31957 w 706773"/>
                <a:gd name="connsiteY634" fmla="*/ 1330337 h 1437679"/>
                <a:gd name="connsiteX635" fmla="*/ 31475 w 706773"/>
                <a:gd name="connsiteY635" fmla="*/ 1330496 h 1437679"/>
                <a:gd name="connsiteX636" fmla="*/ 31224 w 706773"/>
                <a:gd name="connsiteY636" fmla="*/ 1330930 h 1437679"/>
                <a:gd name="connsiteX637" fmla="*/ 30867 w 706773"/>
                <a:gd name="connsiteY637" fmla="*/ 1331547 h 1437679"/>
                <a:gd name="connsiteX638" fmla="*/ 26384 w 706773"/>
                <a:gd name="connsiteY638" fmla="*/ 1339314 h 1437679"/>
                <a:gd name="connsiteX639" fmla="*/ 26056 w 706773"/>
                <a:gd name="connsiteY639" fmla="*/ 1339897 h 1437679"/>
                <a:gd name="connsiteX640" fmla="*/ 25820 w 706773"/>
                <a:gd name="connsiteY640" fmla="*/ 1340311 h 1437679"/>
                <a:gd name="connsiteX641" fmla="*/ 25907 w 706773"/>
                <a:gd name="connsiteY641" fmla="*/ 1340784 h 1437679"/>
                <a:gd name="connsiteX642" fmla="*/ 26022 w 706773"/>
                <a:gd name="connsiteY642" fmla="*/ 1341425 h 1437679"/>
                <a:gd name="connsiteX643" fmla="*/ 33282 w 706773"/>
                <a:gd name="connsiteY643" fmla="*/ 1368122 h 1437679"/>
                <a:gd name="connsiteX644" fmla="*/ 35008 w 706773"/>
                <a:gd name="connsiteY644" fmla="*/ 1391126 h 1437679"/>
                <a:gd name="connsiteX645" fmla="*/ 34058 w 706773"/>
                <a:gd name="connsiteY645" fmla="*/ 1407367 h 1437679"/>
                <a:gd name="connsiteX646" fmla="*/ 31272 w 706773"/>
                <a:gd name="connsiteY646" fmla="*/ 1413215 h 1437679"/>
                <a:gd name="connsiteX647" fmla="*/ 31137 w 706773"/>
                <a:gd name="connsiteY647" fmla="*/ 1413504 h 1437679"/>
                <a:gd name="connsiteX648" fmla="*/ 31050 w 706773"/>
                <a:gd name="connsiteY648" fmla="*/ 1413697 h 1437679"/>
                <a:gd name="connsiteX649" fmla="*/ 31026 w 706773"/>
                <a:gd name="connsiteY649" fmla="*/ 1413899 h 1437679"/>
                <a:gd name="connsiteX650" fmla="*/ 30992 w 706773"/>
                <a:gd name="connsiteY650" fmla="*/ 1414193 h 1437679"/>
                <a:gd name="connsiteX651" fmla="*/ 29595 w 706773"/>
                <a:gd name="connsiteY651" fmla="*/ 1427638 h 1437679"/>
                <a:gd name="connsiteX652" fmla="*/ 24094 w 706773"/>
                <a:gd name="connsiteY652" fmla="*/ 1431408 h 1437679"/>
                <a:gd name="connsiteX653" fmla="*/ 21028 w 706773"/>
                <a:gd name="connsiteY653" fmla="*/ 1431408 h 1437679"/>
                <a:gd name="connsiteX654" fmla="*/ 18786 w 706773"/>
                <a:gd name="connsiteY654" fmla="*/ 1420658 h 1437679"/>
                <a:gd name="connsiteX655" fmla="*/ 18729 w 706773"/>
                <a:gd name="connsiteY655" fmla="*/ 1420374 h 1437679"/>
                <a:gd name="connsiteX656" fmla="*/ 18690 w 706773"/>
                <a:gd name="connsiteY656" fmla="*/ 1420171 h 1437679"/>
                <a:gd name="connsiteX657" fmla="*/ 18589 w 706773"/>
                <a:gd name="connsiteY657" fmla="*/ 1419988 h 1437679"/>
                <a:gd name="connsiteX658" fmla="*/ 18435 w 706773"/>
                <a:gd name="connsiteY658" fmla="*/ 1419708 h 1437679"/>
                <a:gd name="connsiteX659" fmla="*/ 12905 w 706773"/>
                <a:gd name="connsiteY659" fmla="*/ 1408789 h 1437679"/>
                <a:gd name="connsiteX660" fmla="*/ 1302 w 706773"/>
                <a:gd name="connsiteY660" fmla="*/ 1404567 h 1437679"/>
                <a:gd name="connsiteX661" fmla="*/ 0 w 706773"/>
                <a:gd name="connsiteY661" fmla="*/ 1404701 h 1437679"/>
                <a:gd name="connsiteX662" fmla="*/ 125 w 706773"/>
                <a:gd name="connsiteY662" fmla="*/ 1406008 h 1437679"/>
                <a:gd name="connsiteX663" fmla="*/ 482 w 706773"/>
                <a:gd name="connsiteY663" fmla="*/ 1409628 h 1437679"/>
                <a:gd name="connsiteX664" fmla="*/ 457702 w 706773"/>
                <a:gd name="connsiteY664" fmla="*/ 16901 h 1437679"/>
                <a:gd name="connsiteX665" fmla="*/ 457611 w 706773"/>
                <a:gd name="connsiteY665" fmla="*/ 17022 h 1437679"/>
                <a:gd name="connsiteX666" fmla="*/ 457707 w 706773"/>
                <a:gd name="connsiteY666" fmla="*/ 16872 h 1437679"/>
                <a:gd name="connsiteX667" fmla="*/ 457702 w 706773"/>
                <a:gd name="connsiteY667" fmla="*/ 16901 h 1437679"/>
                <a:gd name="connsiteX668" fmla="*/ 210853 w 706773"/>
                <a:gd name="connsiteY668" fmla="*/ 380151 h 1437679"/>
                <a:gd name="connsiteX669" fmla="*/ 210897 w 706773"/>
                <a:gd name="connsiteY669" fmla="*/ 380185 h 1437679"/>
                <a:gd name="connsiteX670" fmla="*/ 210858 w 706773"/>
                <a:gd name="connsiteY670" fmla="*/ 380219 h 1437679"/>
                <a:gd name="connsiteX671" fmla="*/ 210853 w 706773"/>
                <a:gd name="connsiteY671" fmla="*/ 380151 h 1437679"/>
                <a:gd name="connsiteX672" fmla="*/ 211851 w 706773"/>
                <a:gd name="connsiteY672" fmla="*/ 381005 h 1437679"/>
                <a:gd name="connsiteX673" fmla="*/ 211036 w 706773"/>
                <a:gd name="connsiteY673" fmla="*/ 381988 h 1437679"/>
                <a:gd name="connsiteX674" fmla="*/ 210863 w 706773"/>
                <a:gd name="connsiteY674" fmla="*/ 380238 h 1437679"/>
                <a:gd name="connsiteX675" fmla="*/ 211851 w 706773"/>
                <a:gd name="connsiteY675" fmla="*/ 381005 h 1437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Lst>
              <a:rect l="l" t="t" r="r" b="b"/>
              <a:pathLst>
                <a:path w="706773" h="1437679">
                  <a:moveTo>
                    <a:pt x="482" y="1409628"/>
                  </a:moveTo>
                  <a:lnTo>
                    <a:pt x="612" y="1410944"/>
                  </a:lnTo>
                  <a:lnTo>
                    <a:pt x="1924" y="1410809"/>
                  </a:lnTo>
                  <a:cubicBezTo>
                    <a:pt x="5047" y="1410491"/>
                    <a:pt x="6465" y="1410771"/>
                    <a:pt x="6976" y="1410930"/>
                  </a:cubicBezTo>
                  <a:cubicBezTo>
                    <a:pt x="8051" y="1414304"/>
                    <a:pt x="11469" y="1420311"/>
                    <a:pt x="12693" y="1422408"/>
                  </a:cubicBezTo>
                  <a:lnTo>
                    <a:pt x="15354" y="1435164"/>
                  </a:lnTo>
                  <a:cubicBezTo>
                    <a:pt x="15349" y="1435159"/>
                    <a:pt x="15653" y="1436629"/>
                    <a:pt x="15653" y="1436629"/>
                  </a:cubicBezTo>
                  <a:lnTo>
                    <a:pt x="15865" y="1437680"/>
                  </a:lnTo>
                  <a:lnTo>
                    <a:pt x="16940" y="1437680"/>
                  </a:lnTo>
                  <a:lnTo>
                    <a:pt x="18444" y="1437680"/>
                  </a:lnTo>
                  <a:lnTo>
                    <a:pt x="24489" y="1437680"/>
                  </a:lnTo>
                  <a:lnTo>
                    <a:pt x="24692" y="1437680"/>
                  </a:lnTo>
                  <a:lnTo>
                    <a:pt x="24870" y="1437680"/>
                  </a:lnTo>
                  <a:lnTo>
                    <a:pt x="25039" y="1437632"/>
                  </a:lnTo>
                  <a:lnTo>
                    <a:pt x="25227" y="1437584"/>
                  </a:lnTo>
                  <a:cubicBezTo>
                    <a:pt x="26895" y="1437198"/>
                    <a:pt x="35418" y="1434884"/>
                    <a:pt x="35890" y="1427995"/>
                  </a:cubicBezTo>
                  <a:cubicBezTo>
                    <a:pt x="36175" y="1423922"/>
                    <a:pt x="36922" y="1417554"/>
                    <a:pt x="37187" y="1415418"/>
                  </a:cubicBezTo>
                  <a:lnTo>
                    <a:pt x="40234" y="1409026"/>
                  </a:lnTo>
                  <a:cubicBezTo>
                    <a:pt x="40224" y="1409050"/>
                    <a:pt x="40537" y="1408418"/>
                    <a:pt x="40537" y="1408418"/>
                  </a:cubicBezTo>
                  <a:lnTo>
                    <a:pt x="40774" y="1407941"/>
                  </a:lnTo>
                  <a:lnTo>
                    <a:pt x="40615" y="1407440"/>
                  </a:lnTo>
                  <a:lnTo>
                    <a:pt x="40407" y="1406774"/>
                  </a:lnTo>
                  <a:cubicBezTo>
                    <a:pt x="39511" y="1403554"/>
                    <a:pt x="38715" y="1397258"/>
                    <a:pt x="40465" y="1394265"/>
                  </a:cubicBezTo>
                  <a:cubicBezTo>
                    <a:pt x="44273" y="1387708"/>
                    <a:pt x="43748" y="1376737"/>
                    <a:pt x="39101" y="1365635"/>
                  </a:cubicBezTo>
                  <a:cubicBezTo>
                    <a:pt x="35394" y="1356769"/>
                    <a:pt x="33032" y="1344635"/>
                    <a:pt x="32448" y="1341425"/>
                  </a:cubicBezTo>
                  <a:lnTo>
                    <a:pt x="35736" y="1335717"/>
                  </a:lnTo>
                  <a:lnTo>
                    <a:pt x="39906" y="1334358"/>
                  </a:lnTo>
                  <a:cubicBezTo>
                    <a:pt x="39891" y="1334363"/>
                    <a:pt x="40528" y="1334165"/>
                    <a:pt x="40528" y="1334165"/>
                  </a:cubicBezTo>
                  <a:lnTo>
                    <a:pt x="40991" y="1334020"/>
                  </a:lnTo>
                  <a:lnTo>
                    <a:pt x="41251" y="1333611"/>
                  </a:lnTo>
                  <a:lnTo>
                    <a:pt x="41612" y="1333032"/>
                  </a:lnTo>
                  <a:cubicBezTo>
                    <a:pt x="41617" y="1333027"/>
                    <a:pt x="46110" y="1325806"/>
                    <a:pt x="46110" y="1325806"/>
                  </a:cubicBezTo>
                  <a:cubicBezTo>
                    <a:pt x="46110" y="1325806"/>
                    <a:pt x="46399" y="1325338"/>
                    <a:pt x="46399" y="1325338"/>
                  </a:cubicBezTo>
                  <a:lnTo>
                    <a:pt x="46602" y="1325010"/>
                  </a:lnTo>
                  <a:lnTo>
                    <a:pt x="46597" y="1324620"/>
                  </a:lnTo>
                  <a:lnTo>
                    <a:pt x="46583" y="1324056"/>
                  </a:lnTo>
                  <a:cubicBezTo>
                    <a:pt x="46583" y="1324046"/>
                    <a:pt x="46240" y="1312843"/>
                    <a:pt x="46240" y="1312843"/>
                  </a:cubicBezTo>
                  <a:cubicBezTo>
                    <a:pt x="46240" y="1312828"/>
                    <a:pt x="46221" y="1312356"/>
                    <a:pt x="46221" y="1312356"/>
                  </a:cubicBezTo>
                  <a:lnTo>
                    <a:pt x="46207" y="1312023"/>
                  </a:lnTo>
                  <a:lnTo>
                    <a:pt x="46038" y="1311744"/>
                  </a:lnTo>
                  <a:lnTo>
                    <a:pt x="45797" y="1311334"/>
                  </a:lnTo>
                  <a:cubicBezTo>
                    <a:pt x="45797" y="1311334"/>
                    <a:pt x="43608" y="1307632"/>
                    <a:pt x="42972" y="1306562"/>
                  </a:cubicBezTo>
                  <a:lnTo>
                    <a:pt x="42972" y="1303264"/>
                  </a:lnTo>
                  <a:lnTo>
                    <a:pt x="47224" y="1301297"/>
                  </a:lnTo>
                  <a:lnTo>
                    <a:pt x="57887" y="1301297"/>
                  </a:lnTo>
                  <a:lnTo>
                    <a:pt x="58418" y="1301297"/>
                  </a:lnTo>
                  <a:lnTo>
                    <a:pt x="58803" y="1301297"/>
                  </a:lnTo>
                  <a:lnTo>
                    <a:pt x="59131" y="1301090"/>
                  </a:lnTo>
                  <a:lnTo>
                    <a:pt x="59569" y="1300806"/>
                  </a:lnTo>
                  <a:cubicBezTo>
                    <a:pt x="61054" y="1299890"/>
                    <a:pt x="96062" y="1277787"/>
                    <a:pt x="85240" y="1249373"/>
                  </a:cubicBezTo>
                  <a:lnTo>
                    <a:pt x="85245" y="1249373"/>
                  </a:lnTo>
                  <a:cubicBezTo>
                    <a:pt x="84714" y="1247166"/>
                    <a:pt x="84237" y="1245363"/>
                    <a:pt x="83924" y="1244220"/>
                  </a:cubicBezTo>
                  <a:cubicBezTo>
                    <a:pt x="87274" y="1239708"/>
                    <a:pt x="95653" y="1226311"/>
                    <a:pt x="89169" y="1212269"/>
                  </a:cubicBezTo>
                  <a:cubicBezTo>
                    <a:pt x="84941" y="1204705"/>
                    <a:pt x="83196" y="1201046"/>
                    <a:pt x="82887" y="1199146"/>
                  </a:cubicBezTo>
                  <a:cubicBezTo>
                    <a:pt x="82497" y="1196587"/>
                    <a:pt x="80231" y="1190614"/>
                    <a:pt x="76567" y="1185981"/>
                  </a:cubicBezTo>
                  <a:cubicBezTo>
                    <a:pt x="73381" y="1181980"/>
                    <a:pt x="68984" y="1173023"/>
                    <a:pt x="69158" y="1165619"/>
                  </a:cubicBezTo>
                  <a:cubicBezTo>
                    <a:pt x="69158" y="1165590"/>
                    <a:pt x="69158" y="1164939"/>
                    <a:pt x="69158" y="1164939"/>
                  </a:cubicBezTo>
                  <a:cubicBezTo>
                    <a:pt x="69168" y="1161868"/>
                    <a:pt x="69177" y="1159655"/>
                    <a:pt x="66309" y="1155770"/>
                  </a:cubicBezTo>
                  <a:cubicBezTo>
                    <a:pt x="65157" y="1154189"/>
                    <a:pt x="64583" y="1151195"/>
                    <a:pt x="65123" y="1149614"/>
                  </a:cubicBezTo>
                  <a:cubicBezTo>
                    <a:pt x="65316" y="1149064"/>
                    <a:pt x="65523" y="1149011"/>
                    <a:pt x="65629" y="1148982"/>
                  </a:cubicBezTo>
                  <a:cubicBezTo>
                    <a:pt x="65644" y="1148977"/>
                    <a:pt x="79600" y="1144962"/>
                    <a:pt x="82068" y="1144258"/>
                  </a:cubicBezTo>
                  <a:lnTo>
                    <a:pt x="83027" y="1144595"/>
                  </a:lnTo>
                  <a:cubicBezTo>
                    <a:pt x="83856" y="1144856"/>
                    <a:pt x="87925" y="1145984"/>
                    <a:pt x="91222" y="1144166"/>
                  </a:cubicBezTo>
                  <a:cubicBezTo>
                    <a:pt x="92866" y="1143255"/>
                    <a:pt x="94004" y="1141770"/>
                    <a:pt x="94525" y="1139876"/>
                  </a:cubicBezTo>
                  <a:cubicBezTo>
                    <a:pt x="95604" y="1135822"/>
                    <a:pt x="97036" y="1127810"/>
                    <a:pt x="97403" y="1125751"/>
                  </a:cubicBezTo>
                  <a:cubicBezTo>
                    <a:pt x="99022" y="1123317"/>
                    <a:pt x="105366" y="1112726"/>
                    <a:pt x="103549" y="1098326"/>
                  </a:cubicBezTo>
                  <a:lnTo>
                    <a:pt x="103486" y="1097825"/>
                  </a:lnTo>
                  <a:lnTo>
                    <a:pt x="103443" y="1097444"/>
                  </a:lnTo>
                  <a:lnTo>
                    <a:pt x="103202" y="1097150"/>
                  </a:lnTo>
                  <a:lnTo>
                    <a:pt x="102874" y="1096750"/>
                  </a:lnTo>
                  <a:cubicBezTo>
                    <a:pt x="95262" y="1087142"/>
                    <a:pt x="83524" y="1070911"/>
                    <a:pt x="83027" y="1070226"/>
                  </a:cubicBezTo>
                  <a:cubicBezTo>
                    <a:pt x="83022" y="1070217"/>
                    <a:pt x="82507" y="1069508"/>
                    <a:pt x="82507" y="1069508"/>
                  </a:cubicBezTo>
                  <a:lnTo>
                    <a:pt x="82145" y="1069007"/>
                  </a:lnTo>
                  <a:lnTo>
                    <a:pt x="81528" y="1068973"/>
                  </a:lnTo>
                  <a:lnTo>
                    <a:pt x="80655" y="1068915"/>
                  </a:lnTo>
                  <a:lnTo>
                    <a:pt x="70624" y="1068284"/>
                  </a:lnTo>
                  <a:lnTo>
                    <a:pt x="54653" y="1049840"/>
                  </a:lnTo>
                  <a:cubicBezTo>
                    <a:pt x="55390" y="1043144"/>
                    <a:pt x="61753" y="985358"/>
                    <a:pt x="61753" y="981974"/>
                  </a:cubicBezTo>
                  <a:cubicBezTo>
                    <a:pt x="61753" y="981978"/>
                    <a:pt x="61753" y="981414"/>
                    <a:pt x="61753" y="981414"/>
                  </a:cubicBezTo>
                  <a:cubicBezTo>
                    <a:pt x="61787" y="977688"/>
                    <a:pt x="61854" y="969917"/>
                    <a:pt x="54315" y="955879"/>
                  </a:cubicBezTo>
                  <a:cubicBezTo>
                    <a:pt x="47788" y="943721"/>
                    <a:pt x="46896" y="930151"/>
                    <a:pt x="46795" y="928117"/>
                  </a:cubicBezTo>
                  <a:lnTo>
                    <a:pt x="49755" y="917203"/>
                  </a:lnTo>
                  <a:cubicBezTo>
                    <a:pt x="49764" y="917169"/>
                    <a:pt x="49865" y="916749"/>
                    <a:pt x="49865" y="916749"/>
                  </a:cubicBezTo>
                  <a:lnTo>
                    <a:pt x="49933" y="916479"/>
                  </a:lnTo>
                  <a:lnTo>
                    <a:pt x="49885" y="916214"/>
                  </a:lnTo>
                  <a:lnTo>
                    <a:pt x="49812" y="915790"/>
                  </a:lnTo>
                  <a:cubicBezTo>
                    <a:pt x="49812" y="915766"/>
                    <a:pt x="45527" y="893692"/>
                    <a:pt x="44871" y="890274"/>
                  </a:cubicBezTo>
                  <a:lnTo>
                    <a:pt x="51683" y="878719"/>
                  </a:lnTo>
                  <a:cubicBezTo>
                    <a:pt x="51678" y="878729"/>
                    <a:pt x="52131" y="877981"/>
                    <a:pt x="52131" y="877981"/>
                  </a:cubicBezTo>
                  <a:lnTo>
                    <a:pt x="52454" y="877437"/>
                  </a:lnTo>
                  <a:lnTo>
                    <a:pt x="52237" y="876844"/>
                  </a:lnTo>
                  <a:lnTo>
                    <a:pt x="51919" y="876000"/>
                  </a:lnTo>
                  <a:cubicBezTo>
                    <a:pt x="51914" y="875990"/>
                    <a:pt x="39274" y="842992"/>
                    <a:pt x="37563" y="838533"/>
                  </a:cubicBezTo>
                  <a:lnTo>
                    <a:pt x="49735" y="812694"/>
                  </a:lnTo>
                  <a:lnTo>
                    <a:pt x="49986" y="812169"/>
                  </a:lnTo>
                  <a:lnTo>
                    <a:pt x="50164" y="811788"/>
                  </a:lnTo>
                  <a:lnTo>
                    <a:pt x="50087" y="811373"/>
                  </a:lnTo>
                  <a:lnTo>
                    <a:pt x="49986" y="810790"/>
                  </a:lnTo>
                  <a:cubicBezTo>
                    <a:pt x="49986" y="810785"/>
                    <a:pt x="47942" y="799707"/>
                    <a:pt x="47470" y="797133"/>
                  </a:cubicBezTo>
                  <a:lnTo>
                    <a:pt x="55130" y="786320"/>
                  </a:lnTo>
                  <a:cubicBezTo>
                    <a:pt x="55130" y="786325"/>
                    <a:pt x="55332" y="786036"/>
                    <a:pt x="55332" y="786036"/>
                  </a:cubicBezTo>
                  <a:lnTo>
                    <a:pt x="55472" y="785843"/>
                  </a:lnTo>
                  <a:lnTo>
                    <a:pt x="55535" y="785617"/>
                  </a:lnTo>
                  <a:lnTo>
                    <a:pt x="55621" y="785293"/>
                  </a:lnTo>
                  <a:cubicBezTo>
                    <a:pt x="55626" y="785274"/>
                    <a:pt x="56518" y="781707"/>
                    <a:pt x="56614" y="781326"/>
                  </a:cubicBezTo>
                  <a:cubicBezTo>
                    <a:pt x="57362" y="779436"/>
                    <a:pt x="78997" y="725276"/>
                    <a:pt x="103631" y="729918"/>
                  </a:cubicBezTo>
                  <a:cubicBezTo>
                    <a:pt x="103631" y="729918"/>
                    <a:pt x="116208" y="732338"/>
                    <a:pt x="116208" y="732338"/>
                  </a:cubicBezTo>
                  <a:cubicBezTo>
                    <a:pt x="140808" y="737120"/>
                    <a:pt x="150011" y="738909"/>
                    <a:pt x="152681" y="733567"/>
                  </a:cubicBezTo>
                  <a:cubicBezTo>
                    <a:pt x="154663" y="729580"/>
                    <a:pt x="162024" y="710568"/>
                    <a:pt x="162096" y="710375"/>
                  </a:cubicBezTo>
                  <a:cubicBezTo>
                    <a:pt x="162092" y="710389"/>
                    <a:pt x="162284" y="709917"/>
                    <a:pt x="162284" y="709917"/>
                  </a:cubicBezTo>
                  <a:lnTo>
                    <a:pt x="162419" y="709575"/>
                  </a:lnTo>
                  <a:lnTo>
                    <a:pt x="162361" y="709218"/>
                  </a:lnTo>
                  <a:lnTo>
                    <a:pt x="162280" y="708707"/>
                  </a:lnTo>
                  <a:cubicBezTo>
                    <a:pt x="162275" y="708688"/>
                    <a:pt x="156051" y="672865"/>
                    <a:pt x="156051" y="672865"/>
                  </a:cubicBezTo>
                  <a:cubicBezTo>
                    <a:pt x="156051" y="672865"/>
                    <a:pt x="155868" y="671780"/>
                    <a:pt x="155868" y="671780"/>
                  </a:cubicBezTo>
                  <a:lnTo>
                    <a:pt x="155728" y="671004"/>
                  </a:lnTo>
                  <a:lnTo>
                    <a:pt x="154981" y="670758"/>
                  </a:lnTo>
                  <a:lnTo>
                    <a:pt x="153940" y="670416"/>
                  </a:lnTo>
                  <a:cubicBezTo>
                    <a:pt x="153940" y="670416"/>
                    <a:pt x="142664" y="666665"/>
                    <a:pt x="141025" y="666126"/>
                  </a:cubicBezTo>
                  <a:lnTo>
                    <a:pt x="128834" y="656643"/>
                  </a:lnTo>
                  <a:lnTo>
                    <a:pt x="162873" y="585244"/>
                  </a:lnTo>
                  <a:cubicBezTo>
                    <a:pt x="162853" y="585287"/>
                    <a:pt x="163003" y="585003"/>
                    <a:pt x="163003" y="585003"/>
                  </a:cubicBezTo>
                  <a:lnTo>
                    <a:pt x="163119" y="584776"/>
                  </a:lnTo>
                  <a:lnTo>
                    <a:pt x="163147" y="584516"/>
                  </a:lnTo>
                  <a:lnTo>
                    <a:pt x="163176" y="584188"/>
                  </a:lnTo>
                  <a:lnTo>
                    <a:pt x="164801" y="566843"/>
                  </a:lnTo>
                  <a:lnTo>
                    <a:pt x="169901" y="560354"/>
                  </a:lnTo>
                  <a:lnTo>
                    <a:pt x="170263" y="559892"/>
                  </a:lnTo>
                  <a:lnTo>
                    <a:pt x="170518" y="559564"/>
                  </a:lnTo>
                  <a:lnTo>
                    <a:pt x="170542" y="559154"/>
                  </a:lnTo>
                  <a:lnTo>
                    <a:pt x="170576" y="558561"/>
                  </a:lnTo>
                  <a:cubicBezTo>
                    <a:pt x="170576" y="558547"/>
                    <a:pt x="171275" y="543569"/>
                    <a:pt x="171275" y="543569"/>
                  </a:cubicBezTo>
                  <a:cubicBezTo>
                    <a:pt x="171275" y="543511"/>
                    <a:pt x="171275" y="501349"/>
                    <a:pt x="171275" y="499305"/>
                  </a:cubicBezTo>
                  <a:lnTo>
                    <a:pt x="175093" y="486651"/>
                  </a:lnTo>
                  <a:cubicBezTo>
                    <a:pt x="175093" y="486660"/>
                    <a:pt x="175233" y="486202"/>
                    <a:pt x="175233" y="486202"/>
                  </a:cubicBezTo>
                  <a:lnTo>
                    <a:pt x="175344" y="485855"/>
                  </a:lnTo>
                  <a:lnTo>
                    <a:pt x="175252" y="485498"/>
                  </a:lnTo>
                  <a:lnTo>
                    <a:pt x="175136" y="485021"/>
                  </a:lnTo>
                  <a:cubicBezTo>
                    <a:pt x="175141" y="485050"/>
                    <a:pt x="167910" y="452361"/>
                    <a:pt x="166397" y="445530"/>
                  </a:cubicBezTo>
                  <a:lnTo>
                    <a:pt x="190201" y="441013"/>
                  </a:lnTo>
                  <a:cubicBezTo>
                    <a:pt x="190191" y="441013"/>
                    <a:pt x="190659" y="440931"/>
                    <a:pt x="190659" y="440931"/>
                  </a:cubicBezTo>
                  <a:lnTo>
                    <a:pt x="191016" y="440868"/>
                  </a:lnTo>
                  <a:lnTo>
                    <a:pt x="191291" y="440632"/>
                  </a:lnTo>
                  <a:lnTo>
                    <a:pt x="191657" y="440314"/>
                  </a:lnTo>
                  <a:cubicBezTo>
                    <a:pt x="191643" y="440328"/>
                    <a:pt x="214922" y="420838"/>
                    <a:pt x="214922" y="420838"/>
                  </a:cubicBezTo>
                  <a:cubicBezTo>
                    <a:pt x="214927" y="420833"/>
                    <a:pt x="215573" y="420284"/>
                    <a:pt x="215573" y="420284"/>
                  </a:cubicBezTo>
                  <a:lnTo>
                    <a:pt x="216031" y="419898"/>
                  </a:lnTo>
                  <a:lnTo>
                    <a:pt x="216040" y="419300"/>
                  </a:lnTo>
                  <a:lnTo>
                    <a:pt x="216054" y="418457"/>
                  </a:lnTo>
                  <a:cubicBezTo>
                    <a:pt x="216054" y="418462"/>
                    <a:pt x="216228" y="408319"/>
                    <a:pt x="216228" y="408319"/>
                  </a:cubicBezTo>
                  <a:cubicBezTo>
                    <a:pt x="216228" y="408324"/>
                    <a:pt x="216233" y="408054"/>
                    <a:pt x="216233" y="408054"/>
                  </a:cubicBezTo>
                  <a:lnTo>
                    <a:pt x="216233" y="407856"/>
                  </a:lnTo>
                  <a:lnTo>
                    <a:pt x="216175" y="407668"/>
                  </a:lnTo>
                  <a:lnTo>
                    <a:pt x="216103" y="407403"/>
                  </a:lnTo>
                  <a:cubicBezTo>
                    <a:pt x="216103" y="407408"/>
                    <a:pt x="212082" y="392926"/>
                    <a:pt x="211186" y="389692"/>
                  </a:cubicBezTo>
                  <a:lnTo>
                    <a:pt x="215823" y="384095"/>
                  </a:lnTo>
                  <a:cubicBezTo>
                    <a:pt x="216305" y="383454"/>
                    <a:pt x="226742" y="369266"/>
                    <a:pt x="237063" y="337946"/>
                  </a:cubicBezTo>
                  <a:cubicBezTo>
                    <a:pt x="240742" y="326950"/>
                    <a:pt x="247838" y="317304"/>
                    <a:pt x="257045" y="310801"/>
                  </a:cubicBezTo>
                  <a:cubicBezTo>
                    <a:pt x="257050" y="310801"/>
                    <a:pt x="257296" y="310618"/>
                    <a:pt x="257522" y="310458"/>
                  </a:cubicBezTo>
                  <a:lnTo>
                    <a:pt x="258405" y="310454"/>
                  </a:lnTo>
                  <a:lnTo>
                    <a:pt x="258405" y="309147"/>
                  </a:lnTo>
                  <a:lnTo>
                    <a:pt x="258405" y="306583"/>
                  </a:lnTo>
                  <a:lnTo>
                    <a:pt x="258347" y="306626"/>
                  </a:lnTo>
                  <a:cubicBezTo>
                    <a:pt x="258231" y="301743"/>
                    <a:pt x="257874" y="286615"/>
                    <a:pt x="257874" y="286615"/>
                  </a:cubicBezTo>
                  <a:cubicBezTo>
                    <a:pt x="257874" y="286625"/>
                    <a:pt x="257869" y="286099"/>
                    <a:pt x="257869" y="286099"/>
                  </a:cubicBezTo>
                  <a:lnTo>
                    <a:pt x="256549" y="286109"/>
                  </a:lnTo>
                  <a:cubicBezTo>
                    <a:pt x="256539" y="286099"/>
                    <a:pt x="256255" y="285680"/>
                    <a:pt x="256255" y="285680"/>
                  </a:cubicBezTo>
                  <a:lnTo>
                    <a:pt x="255922" y="285179"/>
                  </a:lnTo>
                  <a:lnTo>
                    <a:pt x="256153" y="284865"/>
                  </a:lnTo>
                  <a:lnTo>
                    <a:pt x="257614" y="285338"/>
                  </a:lnTo>
                  <a:cubicBezTo>
                    <a:pt x="257585" y="285304"/>
                    <a:pt x="257455" y="285106"/>
                    <a:pt x="257349" y="284952"/>
                  </a:cubicBezTo>
                  <a:cubicBezTo>
                    <a:pt x="257349" y="284957"/>
                    <a:pt x="240534" y="259639"/>
                    <a:pt x="238230" y="256163"/>
                  </a:cubicBezTo>
                  <a:lnTo>
                    <a:pt x="239358" y="248069"/>
                  </a:lnTo>
                  <a:lnTo>
                    <a:pt x="250479" y="243263"/>
                  </a:lnTo>
                  <a:cubicBezTo>
                    <a:pt x="250465" y="243267"/>
                    <a:pt x="251091" y="243002"/>
                    <a:pt x="251091" y="243002"/>
                  </a:cubicBezTo>
                  <a:lnTo>
                    <a:pt x="251554" y="242810"/>
                  </a:lnTo>
                  <a:lnTo>
                    <a:pt x="251771" y="242356"/>
                  </a:lnTo>
                  <a:lnTo>
                    <a:pt x="252065" y="241739"/>
                  </a:lnTo>
                  <a:cubicBezTo>
                    <a:pt x="252061" y="241759"/>
                    <a:pt x="259822" y="226101"/>
                    <a:pt x="259822" y="226101"/>
                  </a:cubicBezTo>
                  <a:cubicBezTo>
                    <a:pt x="259841" y="226053"/>
                    <a:pt x="259962" y="225788"/>
                    <a:pt x="259962" y="225788"/>
                  </a:cubicBezTo>
                  <a:lnTo>
                    <a:pt x="260024" y="225653"/>
                  </a:lnTo>
                  <a:lnTo>
                    <a:pt x="260053" y="225513"/>
                  </a:lnTo>
                  <a:lnTo>
                    <a:pt x="260111" y="225233"/>
                  </a:lnTo>
                  <a:cubicBezTo>
                    <a:pt x="260121" y="225175"/>
                    <a:pt x="265168" y="191397"/>
                    <a:pt x="265804" y="187140"/>
                  </a:cubicBezTo>
                  <a:lnTo>
                    <a:pt x="279910" y="173584"/>
                  </a:lnTo>
                  <a:cubicBezTo>
                    <a:pt x="279886" y="173608"/>
                    <a:pt x="280035" y="173468"/>
                    <a:pt x="280035" y="173468"/>
                  </a:cubicBezTo>
                  <a:lnTo>
                    <a:pt x="280141" y="173367"/>
                  </a:lnTo>
                  <a:lnTo>
                    <a:pt x="280223" y="173247"/>
                  </a:lnTo>
                  <a:lnTo>
                    <a:pt x="280324" y="173097"/>
                  </a:lnTo>
                  <a:cubicBezTo>
                    <a:pt x="280334" y="173092"/>
                    <a:pt x="286553" y="163967"/>
                    <a:pt x="288134" y="161643"/>
                  </a:cubicBezTo>
                  <a:lnTo>
                    <a:pt x="295828" y="161262"/>
                  </a:lnTo>
                  <a:lnTo>
                    <a:pt x="306192" y="165659"/>
                  </a:lnTo>
                  <a:lnTo>
                    <a:pt x="313828" y="171256"/>
                  </a:lnTo>
                  <a:cubicBezTo>
                    <a:pt x="313823" y="171251"/>
                    <a:pt x="314542" y="171786"/>
                    <a:pt x="314542" y="171786"/>
                  </a:cubicBezTo>
                  <a:lnTo>
                    <a:pt x="315062" y="172172"/>
                  </a:lnTo>
                  <a:lnTo>
                    <a:pt x="315684" y="171993"/>
                  </a:lnTo>
                  <a:lnTo>
                    <a:pt x="316562" y="171743"/>
                  </a:lnTo>
                  <a:cubicBezTo>
                    <a:pt x="316566" y="171743"/>
                    <a:pt x="323629" y="169689"/>
                    <a:pt x="323629" y="169689"/>
                  </a:cubicBezTo>
                  <a:cubicBezTo>
                    <a:pt x="323619" y="169694"/>
                    <a:pt x="324550" y="169429"/>
                    <a:pt x="324550" y="169429"/>
                  </a:cubicBezTo>
                  <a:lnTo>
                    <a:pt x="325215" y="169241"/>
                  </a:lnTo>
                  <a:lnTo>
                    <a:pt x="325436" y="168590"/>
                  </a:lnTo>
                  <a:lnTo>
                    <a:pt x="325750" y="167674"/>
                  </a:lnTo>
                  <a:cubicBezTo>
                    <a:pt x="325755" y="167669"/>
                    <a:pt x="335049" y="140138"/>
                    <a:pt x="335049" y="140138"/>
                  </a:cubicBezTo>
                  <a:cubicBezTo>
                    <a:pt x="335059" y="140109"/>
                    <a:pt x="335208" y="139627"/>
                    <a:pt x="335208" y="139627"/>
                  </a:cubicBezTo>
                  <a:lnTo>
                    <a:pt x="335309" y="139309"/>
                  </a:lnTo>
                  <a:lnTo>
                    <a:pt x="335242" y="138981"/>
                  </a:lnTo>
                  <a:lnTo>
                    <a:pt x="335140" y="138480"/>
                  </a:lnTo>
                  <a:cubicBezTo>
                    <a:pt x="335136" y="138465"/>
                    <a:pt x="328127" y="105704"/>
                    <a:pt x="327803" y="104209"/>
                  </a:cubicBezTo>
                  <a:lnTo>
                    <a:pt x="327953" y="93035"/>
                  </a:lnTo>
                  <a:lnTo>
                    <a:pt x="338920" y="87559"/>
                  </a:lnTo>
                  <a:lnTo>
                    <a:pt x="349232" y="95479"/>
                  </a:lnTo>
                  <a:cubicBezTo>
                    <a:pt x="349222" y="95474"/>
                    <a:pt x="349931" y="96029"/>
                    <a:pt x="349931" y="96029"/>
                  </a:cubicBezTo>
                  <a:lnTo>
                    <a:pt x="350437" y="96429"/>
                  </a:lnTo>
                  <a:lnTo>
                    <a:pt x="351063" y="96270"/>
                  </a:lnTo>
                  <a:lnTo>
                    <a:pt x="351936" y="96048"/>
                  </a:lnTo>
                  <a:cubicBezTo>
                    <a:pt x="351931" y="96053"/>
                    <a:pt x="364764" y="92847"/>
                    <a:pt x="366943" y="92302"/>
                  </a:cubicBezTo>
                  <a:lnTo>
                    <a:pt x="418616" y="107555"/>
                  </a:lnTo>
                  <a:cubicBezTo>
                    <a:pt x="418606" y="107555"/>
                    <a:pt x="419980" y="107969"/>
                    <a:pt x="419980" y="107969"/>
                  </a:cubicBezTo>
                  <a:lnTo>
                    <a:pt x="420968" y="108268"/>
                  </a:lnTo>
                  <a:lnTo>
                    <a:pt x="421494" y="107381"/>
                  </a:lnTo>
                  <a:lnTo>
                    <a:pt x="422232" y="106133"/>
                  </a:lnTo>
                  <a:cubicBezTo>
                    <a:pt x="422232" y="106133"/>
                    <a:pt x="433941" y="86146"/>
                    <a:pt x="433941" y="86146"/>
                  </a:cubicBezTo>
                  <a:lnTo>
                    <a:pt x="434929" y="84468"/>
                  </a:lnTo>
                  <a:lnTo>
                    <a:pt x="435633" y="83278"/>
                  </a:lnTo>
                  <a:lnTo>
                    <a:pt x="434404" y="82637"/>
                  </a:lnTo>
                  <a:lnTo>
                    <a:pt x="432688" y="81735"/>
                  </a:lnTo>
                  <a:cubicBezTo>
                    <a:pt x="432688" y="81735"/>
                    <a:pt x="425389" y="77941"/>
                    <a:pt x="422309" y="76341"/>
                  </a:cubicBezTo>
                  <a:cubicBezTo>
                    <a:pt x="426117" y="71400"/>
                    <a:pt x="432967" y="59912"/>
                    <a:pt x="433869" y="40238"/>
                  </a:cubicBezTo>
                  <a:cubicBezTo>
                    <a:pt x="433869" y="32482"/>
                    <a:pt x="430755" y="22677"/>
                    <a:pt x="430624" y="22262"/>
                  </a:cubicBezTo>
                  <a:cubicBezTo>
                    <a:pt x="430634" y="22286"/>
                    <a:pt x="430509" y="21862"/>
                    <a:pt x="430509" y="21862"/>
                  </a:cubicBezTo>
                  <a:lnTo>
                    <a:pt x="430412" y="21539"/>
                  </a:lnTo>
                  <a:lnTo>
                    <a:pt x="430171" y="21303"/>
                  </a:lnTo>
                  <a:lnTo>
                    <a:pt x="429858" y="20999"/>
                  </a:lnTo>
                  <a:cubicBezTo>
                    <a:pt x="429868" y="21013"/>
                    <a:pt x="423393" y="14380"/>
                    <a:pt x="420313" y="11223"/>
                  </a:cubicBezTo>
                  <a:lnTo>
                    <a:pt x="436183" y="7356"/>
                  </a:lnTo>
                  <a:lnTo>
                    <a:pt x="439215" y="8513"/>
                  </a:lnTo>
                  <a:lnTo>
                    <a:pt x="440439" y="8981"/>
                  </a:lnTo>
                  <a:lnTo>
                    <a:pt x="440912" y="7752"/>
                  </a:lnTo>
                  <a:lnTo>
                    <a:pt x="441172" y="7067"/>
                  </a:lnTo>
                  <a:cubicBezTo>
                    <a:pt x="448196" y="8470"/>
                    <a:pt x="452992" y="10678"/>
                    <a:pt x="453455" y="12013"/>
                  </a:cubicBezTo>
                  <a:cubicBezTo>
                    <a:pt x="453455" y="12013"/>
                    <a:pt x="453455" y="12018"/>
                    <a:pt x="453455" y="12023"/>
                  </a:cubicBezTo>
                  <a:cubicBezTo>
                    <a:pt x="453455" y="12037"/>
                    <a:pt x="453421" y="12394"/>
                    <a:pt x="452699" y="13170"/>
                  </a:cubicBezTo>
                  <a:cubicBezTo>
                    <a:pt x="452713" y="13156"/>
                    <a:pt x="452539" y="13334"/>
                    <a:pt x="452539" y="13334"/>
                  </a:cubicBezTo>
                  <a:lnTo>
                    <a:pt x="452409" y="13469"/>
                  </a:lnTo>
                  <a:lnTo>
                    <a:pt x="452317" y="13638"/>
                  </a:lnTo>
                  <a:lnTo>
                    <a:pt x="452202" y="13864"/>
                  </a:lnTo>
                  <a:cubicBezTo>
                    <a:pt x="451551" y="15098"/>
                    <a:pt x="451435" y="16525"/>
                    <a:pt x="451874" y="17880"/>
                  </a:cubicBezTo>
                  <a:cubicBezTo>
                    <a:pt x="452978" y="21409"/>
                    <a:pt x="457297" y="23858"/>
                    <a:pt x="463757" y="27198"/>
                  </a:cubicBezTo>
                  <a:lnTo>
                    <a:pt x="464138" y="27396"/>
                  </a:lnTo>
                  <a:cubicBezTo>
                    <a:pt x="465425" y="28061"/>
                    <a:pt x="466640" y="28693"/>
                    <a:pt x="467459" y="29204"/>
                  </a:cubicBezTo>
                  <a:cubicBezTo>
                    <a:pt x="472984" y="32607"/>
                    <a:pt x="481763" y="39404"/>
                    <a:pt x="482823" y="40880"/>
                  </a:cubicBezTo>
                  <a:cubicBezTo>
                    <a:pt x="483213" y="42933"/>
                    <a:pt x="484274" y="47460"/>
                    <a:pt x="489027" y="48087"/>
                  </a:cubicBezTo>
                  <a:cubicBezTo>
                    <a:pt x="490695" y="48275"/>
                    <a:pt x="498302" y="50921"/>
                    <a:pt x="501021" y="54339"/>
                  </a:cubicBezTo>
                  <a:cubicBezTo>
                    <a:pt x="501686" y="55178"/>
                    <a:pt x="501980" y="55973"/>
                    <a:pt x="501899" y="56706"/>
                  </a:cubicBezTo>
                  <a:lnTo>
                    <a:pt x="501604" y="59343"/>
                  </a:lnTo>
                  <a:lnTo>
                    <a:pt x="501397" y="61223"/>
                  </a:lnTo>
                  <a:lnTo>
                    <a:pt x="503229" y="60765"/>
                  </a:lnTo>
                  <a:lnTo>
                    <a:pt x="505794" y="60129"/>
                  </a:lnTo>
                  <a:cubicBezTo>
                    <a:pt x="508026" y="59574"/>
                    <a:pt x="513516" y="58923"/>
                    <a:pt x="516177" y="64839"/>
                  </a:cubicBezTo>
                  <a:cubicBezTo>
                    <a:pt x="519904" y="73193"/>
                    <a:pt x="528658" y="73906"/>
                    <a:pt x="528750" y="73916"/>
                  </a:cubicBezTo>
                  <a:cubicBezTo>
                    <a:pt x="528706" y="73911"/>
                    <a:pt x="529174" y="73959"/>
                    <a:pt x="529174" y="73959"/>
                  </a:cubicBezTo>
                  <a:lnTo>
                    <a:pt x="529521" y="73998"/>
                  </a:lnTo>
                  <a:lnTo>
                    <a:pt x="529835" y="73858"/>
                  </a:lnTo>
                  <a:lnTo>
                    <a:pt x="530269" y="73670"/>
                  </a:lnTo>
                  <a:cubicBezTo>
                    <a:pt x="530254" y="73675"/>
                    <a:pt x="533566" y="72277"/>
                    <a:pt x="535152" y="71612"/>
                  </a:cubicBezTo>
                  <a:lnTo>
                    <a:pt x="537943" y="74518"/>
                  </a:lnTo>
                  <a:cubicBezTo>
                    <a:pt x="537938" y="74509"/>
                    <a:pt x="538748" y="75372"/>
                    <a:pt x="538748" y="75372"/>
                  </a:cubicBezTo>
                  <a:lnTo>
                    <a:pt x="539341" y="75994"/>
                  </a:lnTo>
                  <a:lnTo>
                    <a:pt x="540146" y="75709"/>
                  </a:lnTo>
                  <a:lnTo>
                    <a:pt x="541269" y="75309"/>
                  </a:lnTo>
                  <a:cubicBezTo>
                    <a:pt x="541356" y="75280"/>
                    <a:pt x="550501" y="72238"/>
                    <a:pt x="562346" y="79489"/>
                  </a:cubicBezTo>
                  <a:cubicBezTo>
                    <a:pt x="573795" y="86508"/>
                    <a:pt x="581354" y="91463"/>
                    <a:pt x="582033" y="96192"/>
                  </a:cubicBezTo>
                  <a:cubicBezTo>
                    <a:pt x="582737" y="101124"/>
                    <a:pt x="585138" y="106875"/>
                    <a:pt x="588912" y="108582"/>
                  </a:cubicBezTo>
                  <a:cubicBezTo>
                    <a:pt x="590633" y="109377"/>
                    <a:pt x="592538" y="109242"/>
                    <a:pt x="594133" y="108210"/>
                  </a:cubicBezTo>
                  <a:cubicBezTo>
                    <a:pt x="594548" y="107940"/>
                    <a:pt x="594851" y="107762"/>
                    <a:pt x="595107" y="107618"/>
                  </a:cubicBezTo>
                  <a:cubicBezTo>
                    <a:pt x="596442" y="111710"/>
                    <a:pt x="608123" y="127474"/>
                    <a:pt x="616289" y="129937"/>
                  </a:cubicBezTo>
                  <a:lnTo>
                    <a:pt x="616318" y="129942"/>
                  </a:lnTo>
                  <a:cubicBezTo>
                    <a:pt x="616270" y="129981"/>
                    <a:pt x="616251" y="130010"/>
                    <a:pt x="616197" y="130048"/>
                  </a:cubicBezTo>
                  <a:cubicBezTo>
                    <a:pt x="611401" y="133611"/>
                    <a:pt x="607809" y="142524"/>
                    <a:pt x="611276" y="153665"/>
                  </a:cubicBezTo>
                  <a:cubicBezTo>
                    <a:pt x="613739" y="161581"/>
                    <a:pt x="617157" y="171420"/>
                    <a:pt x="618781" y="175970"/>
                  </a:cubicBezTo>
                  <a:lnTo>
                    <a:pt x="616424" y="180801"/>
                  </a:lnTo>
                  <a:cubicBezTo>
                    <a:pt x="616424" y="180801"/>
                    <a:pt x="616236" y="181191"/>
                    <a:pt x="616236" y="181191"/>
                  </a:cubicBezTo>
                  <a:lnTo>
                    <a:pt x="616106" y="181461"/>
                  </a:lnTo>
                  <a:lnTo>
                    <a:pt x="616106" y="181765"/>
                  </a:lnTo>
                  <a:lnTo>
                    <a:pt x="616106" y="182194"/>
                  </a:lnTo>
                  <a:cubicBezTo>
                    <a:pt x="616106" y="182199"/>
                    <a:pt x="616135" y="195735"/>
                    <a:pt x="616135" y="195735"/>
                  </a:cubicBezTo>
                  <a:cubicBezTo>
                    <a:pt x="616135" y="195740"/>
                    <a:pt x="616140" y="197659"/>
                    <a:pt x="616140" y="197659"/>
                  </a:cubicBezTo>
                  <a:lnTo>
                    <a:pt x="616145" y="199037"/>
                  </a:lnTo>
                  <a:lnTo>
                    <a:pt x="617519" y="198965"/>
                  </a:lnTo>
                  <a:lnTo>
                    <a:pt x="619442" y="198869"/>
                  </a:lnTo>
                  <a:cubicBezTo>
                    <a:pt x="619606" y="198869"/>
                    <a:pt x="638141" y="198464"/>
                    <a:pt x="638855" y="206553"/>
                  </a:cubicBezTo>
                  <a:cubicBezTo>
                    <a:pt x="639390" y="212444"/>
                    <a:pt x="638918" y="216180"/>
                    <a:pt x="637524" y="217077"/>
                  </a:cubicBezTo>
                  <a:lnTo>
                    <a:pt x="637968" y="218349"/>
                  </a:lnTo>
                  <a:lnTo>
                    <a:pt x="637958" y="218359"/>
                  </a:lnTo>
                  <a:cubicBezTo>
                    <a:pt x="637756" y="218484"/>
                    <a:pt x="637510" y="218658"/>
                    <a:pt x="637288" y="218802"/>
                  </a:cubicBezTo>
                  <a:lnTo>
                    <a:pt x="636994" y="218614"/>
                  </a:lnTo>
                  <a:lnTo>
                    <a:pt x="637486" y="217105"/>
                  </a:lnTo>
                  <a:cubicBezTo>
                    <a:pt x="637462" y="217120"/>
                    <a:pt x="637370" y="217178"/>
                    <a:pt x="637293" y="217216"/>
                  </a:cubicBezTo>
                  <a:cubicBezTo>
                    <a:pt x="635249" y="218499"/>
                    <a:pt x="631508" y="220837"/>
                    <a:pt x="631277" y="225609"/>
                  </a:cubicBezTo>
                  <a:cubicBezTo>
                    <a:pt x="631069" y="229384"/>
                    <a:pt x="632366" y="235323"/>
                    <a:pt x="632381" y="235376"/>
                  </a:cubicBezTo>
                  <a:cubicBezTo>
                    <a:pt x="632376" y="235352"/>
                    <a:pt x="632458" y="235733"/>
                    <a:pt x="632458" y="235733"/>
                  </a:cubicBezTo>
                  <a:lnTo>
                    <a:pt x="632516" y="236017"/>
                  </a:lnTo>
                  <a:lnTo>
                    <a:pt x="632689" y="236244"/>
                  </a:lnTo>
                  <a:lnTo>
                    <a:pt x="632925" y="236557"/>
                  </a:lnTo>
                  <a:cubicBezTo>
                    <a:pt x="632911" y="236547"/>
                    <a:pt x="660220" y="274216"/>
                    <a:pt x="663802" y="279158"/>
                  </a:cubicBezTo>
                  <a:lnTo>
                    <a:pt x="661917" y="284648"/>
                  </a:lnTo>
                  <a:cubicBezTo>
                    <a:pt x="661922" y="284634"/>
                    <a:pt x="661787" y="285020"/>
                    <a:pt x="661787" y="285020"/>
                  </a:cubicBezTo>
                  <a:lnTo>
                    <a:pt x="661681" y="285314"/>
                  </a:lnTo>
                  <a:lnTo>
                    <a:pt x="661720" y="285622"/>
                  </a:lnTo>
                  <a:lnTo>
                    <a:pt x="661773" y="286027"/>
                  </a:lnTo>
                  <a:cubicBezTo>
                    <a:pt x="661768" y="286003"/>
                    <a:pt x="662534" y="293379"/>
                    <a:pt x="662592" y="293972"/>
                  </a:cubicBezTo>
                  <a:lnTo>
                    <a:pt x="662264" y="299419"/>
                  </a:lnTo>
                  <a:cubicBezTo>
                    <a:pt x="662264" y="299438"/>
                    <a:pt x="662226" y="300258"/>
                    <a:pt x="662226" y="300258"/>
                  </a:cubicBezTo>
                  <a:lnTo>
                    <a:pt x="662206" y="300817"/>
                  </a:lnTo>
                  <a:lnTo>
                    <a:pt x="662592" y="301217"/>
                  </a:lnTo>
                  <a:lnTo>
                    <a:pt x="663161" y="301820"/>
                  </a:lnTo>
                  <a:cubicBezTo>
                    <a:pt x="663190" y="301853"/>
                    <a:pt x="669708" y="310082"/>
                    <a:pt x="655925" y="331265"/>
                  </a:cubicBezTo>
                  <a:lnTo>
                    <a:pt x="656007" y="331154"/>
                  </a:lnTo>
                  <a:cubicBezTo>
                    <a:pt x="655178" y="332166"/>
                    <a:pt x="654792" y="333299"/>
                    <a:pt x="654903" y="334432"/>
                  </a:cubicBezTo>
                  <a:cubicBezTo>
                    <a:pt x="655072" y="336134"/>
                    <a:pt x="656210" y="337078"/>
                    <a:pt x="656962" y="337700"/>
                  </a:cubicBezTo>
                  <a:cubicBezTo>
                    <a:pt x="658056" y="338597"/>
                    <a:pt x="659242" y="339571"/>
                    <a:pt x="659174" y="343659"/>
                  </a:cubicBezTo>
                  <a:cubicBezTo>
                    <a:pt x="659001" y="352958"/>
                    <a:pt x="664607" y="368365"/>
                    <a:pt x="680530" y="373446"/>
                  </a:cubicBezTo>
                  <a:cubicBezTo>
                    <a:pt x="681195" y="375938"/>
                    <a:pt x="681725" y="377510"/>
                    <a:pt x="682049" y="378450"/>
                  </a:cubicBezTo>
                  <a:cubicBezTo>
                    <a:pt x="682169" y="378768"/>
                    <a:pt x="682203" y="378893"/>
                    <a:pt x="682232" y="378980"/>
                  </a:cubicBezTo>
                  <a:cubicBezTo>
                    <a:pt x="682169" y="379978"/>
                    <a:pt x="682699" y="380836"/>
                    <a:pt x="684845" y="384027"/>
                  </a:cubicBezTo>
                  <a:cubicBezTo>
                    <a:pt x="688768" y="389894"/>
                    <a:pt x="697884" y="403513"/>
                    <a:pt x="700348" y="412725"/>
                  </a:cubicBezTo>
                  <a:lnTo>
                    <a:pt x="700690" y="413998"/>
                  </a:lnTo>
                  <a:lnTo>
                    <a:pt x="701958" y="413660"/>
                  </a:lnTo>
                  <a:lnTo>
                    <a:pt x="705506" y="412711"/>
                  </a:lnTo>
                  <a:lnTo>
                    <a:pt x="706774" y="412368"/>
                  </a:lnTo>
                  <a:lnTo>
                    <a:pt x="706441" y="411100"/>
                  </a:lnTo>
                  <a:cubicBezTo>
                    <a:pt x="703737" y="400909"/>
                    <a:pt x="694582" y="387223"/>
                    <a:pt x="690186" y="380653"/>
                  </a:cubicBezTo>
                  <a:lnTo>
                    <a:pt x="690089" y="380508"/>
                  </a:lnTo>
                  <a:cubicBezTo>
                    <a:pt x="688990" y="378893"/>
                    <a:pt x="688580" y="378247"/>
                    <a:pt x="688417" y="377973"/>
                  </a:cubicBezTo>
                  <a:cubicBezTo>
                    <a:pt x="688325" y="377457"/>
                    <a:pt x="688224" y="376955"/>
                    <a:pt x="688007" y="376353"/>
                  </a:cubicBezTo>
                  <a:cubicBezTo>
                    <a:pt x="687636" y="375273"/>
                    <a:pt x="687028" y="373528"/>
                    <a:pt x="686228" y="370322"/>
                  </a:cubicBezTo>
                  <a:cubicBezTo>
                    <a:pt x="686233" y="370351"/>
                    <a:pt x="685982" y="369276"/>
                    <a:pt x="685982" y="369276"/>
                  </a:cubicBezTo>
                  <a:lnTo>
                    <a:pt x="685799" y="368485"/>
                  </a:lnTo>
                  <a:lnTo>
                    <a:pt x="685013" y="368293"/>
                  </a:lnTo>
                  <a:lnTo>
                    <a:pt x="683924" y="368023"/>
                  </a:lnTo>
                  <a:cubicBezTo>
                    <a:pt x="670136" y="364576"/>
                    <a:pt x="665340" y="351627"/>
                    <a:pt x="665480" y="343765"/>
                  </a:cubicBezTo>
                  <a:cubicBezTo>
                    <a:pt x="665576" y="337816"/>
                    <a:pt x="663465" y="335083"/>
                    <a:pt x="661893" y="333622"/>
                  </a:cubicBezTo>
                  <a:cubicBezTo>
                    <a:pt x="675073" y="312748"/>
                    <a:pt x="670763" y="301998"/>
                    <a:pt x="668632" y="298677"/>
                  </a:cubicBezTo>
                  <a:lnTo>
                    <a:pt x="668907" y="294121"/>
                  </a:lnTo>
                  <a:cubicBezTo>
                    <a:pt x="668897" y="294232"/>
                    <a:pt x="668917" y="294083"/>
                    <a:pt x="668917" y="294083"/>
                  </a:cubicBezTo>
                  <a:lnTo>
                    <a:pt x="668946" y="293875"/>
                  </a:lnTo>
                  <a:lnTo>
                    <a:pt x="668912" y="293668"/>
                  </a:lnTo>
                  <a:lnTo>
                    <a:pt x="668888" y="293518"/>
                  </a:lnTo>
                  <a:cubicBezTo>
                    <a:pt x="668897" y="293596"/>
                    <a:pt x="668256" y="287391"/>
                    <a:pt x="668117" y="286042"/>
                  </a:cubicBezTo>
                  <a:lnTo>
                    <a:pt x="670300" y="279635"/>
                  </a:lnTo>
                  <a:cubicBezTo>
                    <a:pt x="670300" y="279640"/>
                    <a:pt x="670609" y="278729"/>
                    <a:pt x="670609" y="278729"/>
                  </a:cubicBezTo>
                  <a:lnTo>
                    <a:pt x="670831" y="278078"/>
                  </a:lnTo>
                  <a:lnTo>
                    <a:pt x="670430" y="277528"/>
                  </a:lnTo>
                  <a:lnTo>
                    <a:pt x="669871" y="276762"/>
                  </a:lnTo>
                  <a:lnTo>
                    <a:pt x="638431" y="233409"/>
                  </a:lnTo>
                  <a:cubicBezTo>
                    <a:pt x="637645" y="229177"/>
                    <a:pt x="637529" y="226983"/>
                    <a:pt x="637582" y="225908"/>
                  </a:cubicBezTo>
                  <a:cubicBezTo>
                    <a:pt x="637640" y="224650"/>
                    <a:pt x="638513" y="223903"/>
                    <a:pt x="640600" y="222596"/>
                  </a:cubicBezTo>
                  <a:cubicBezTo>
                    <a:pt x="640624" y="222582"/>
                    <a:pt x="640933" y="222379"/>
                    <a:pt x="640933" y="222379"/>
                  </a:cubicBezTo>
                  <a:cubicBezTo>
                    <a:pt x="644707" y="219954"/>
                    <a:pt x="645970" y="215047"/>
                    <a:pt x="645136" y="205989"/>
                  </a:cubicBezTo>
                  <a:cubicBezTo>
                    <a:pt x="644143" y="194776"/>
                    <a:pt x="629835" y="192828"/>
                    <a:pt x="622440" y="192578"/>
                  </a:cubicBezTo>
                  <a:lnTo>
                    <a:pt x="622407" y="182917"/>
                  </a:lnTo>
                  <a:lnTo>
                    <a:pt x="625039" y="177547"/>
                  </a:lnTo>
                  <a:cubicBezTo>
                    <a:pt x="625039" y="177551"/>
                    <a:pt x="625376" y="176867"/>
                    <a:pt x="625376" y="176867"/>
                  </a:cubicBezTo>
                  <a:lnTo>
                    <a:pt x="625622" y="176370"/>
                  </a:lnTo>
                  <a:lnTo>
                    <a:pt x="625439" y="175850"/>
                  </a:lnTo>
                  <a:lnTo>
                    <a:pt x="625179" y="175112"/>
                  </a:lnTo>
                  <a:cubicBezTo>
                    <a:pt x="625130" y="174977"/>
                    <a:pt x="620517" y="162154"/>
                    <a:pt x="617292" y="151785"/>
                  </a:cubicBezTo>
                  <a:cubicBezTo>
                    <a:pt x="614587" y="143088"/>
                    <a:pt x="617489" y="136937"/>
                    <a:pt x="619948" y="135110"/>
                  </a:cubicBezTo>
                  <a:cubicBezTo>
                    <a:pt x="623515" y="132488"/>
                    <a:pt x="623303" y="129513"/>
                    <a:pt x="623052" y="128361"/>
                  </a:cubicBezTo>
                  <a:cubicBezTo>
                    <a:pt x="622527" y="126148"/>
                    <a:pt x="620637" y="124504"/>
                    <a:pt x="618116" y="123931"/>
                  </a:cubicBezTo>
                  <a:lnTo>
                    <a:pt x="618121" y="123897"/>
                  </a:lnTo>
                  <a:cubicBezTo>
                    <a:pt x="612423" y="122181"/>
                    <a:pt x="601875" y="108235"/>
                    <a:pt x="601109" y="105699"/>
                  </a:cubicBezTo>
                  <a:cubicBezTo>
                    <a:pt x="600429" y="103370"/>
                    <a:pt x="599229" y="101857"/>
                    <a:pt x="597551" y="101216"/>
                  </a:cubicBezTo>
                  <a:cubicBezTo>
                    <a:pt x="595271" y="100386"/>
                    <a:pt x="593140" y="101404"/>
                    <a:pt x="591265" y="102561"/>
                  </a:cubicBezTo>
                  <a:cubicBezTo>
                    <a:pt x="590364" y="101775"/>
                    <a:pt x="588835" y="99085"/>
                    <a:pt x="588286" y="95291"/>
                  </a:cubicBezTo>
                  <a:cubicBezTo>
                    <a:pt x="587177" y="87655"/>
                    <a:pt x="578953" y="82261"/>
                    <a:pt x="565633" y="74094"/>
                  </a:cubicBezTo>
                  <a:cubicBezTo>
                    <a:pt x="554579" y="67336"/>
                    <a:pt x="545343" y="68030"/>
                    <a:pt x="541255" y="68844"/>
                  </a:cubicBezTo>
                  <a:lnTo>
                    <a:pt x="538198" y="65663"/>
                  </a:lnTo>
                  <a:cubicBezTo>
                    <a:pt x="538203" y="65668"/>
                    <a:pt x="537326" y="64742"/>
                    <a:pt x="537326" y="64742"/>
                  </a:cubicBezTo>
                  <a:lnTo>
                    <a:pt x="536699" y="64082"/>
                  </a:lnTo>
                  <a:lnTo>
                    <a:pt x="535860" y="64434"/>
                  </a:lnTo>
                  <a:lnTo>
                    <a:pt x="534684" y="64930"/>
                  </a:lnTo>
                  <a:cubicBezTo>
                    <a:pt x="534684" y="64930"/>
                    <a:pt x="530037" y="66911"/>
                    <a:pt x="528663" y="67495"/>
                  </a:cubicBezTo>
                  <a:cubicBezTo>
                    <a:pt x="527231" y="67196"/>
                    <a:pt x="523659" y="66111"/>
                    <a:pt x="521938" y="62264"/>
                  </a:cubicBezTo>
                  <a:cubicBezTo>
                    <a:pt x="519272" y="56359"/>
                    <a:pt x="513936" y="53187"/>
                    <a:pt x="507558" y="53544"/>
                  </a:cubicBezTo>
                  <a:cubicBezTo>
                    <a:pt x="504912" y="46144"/>
                    <a:pt x="492860" y="42172"/>
                    <a:pt x="489789" y="41820"/>
                  </a:cubicBezTo>
                  <a:cubicBezTo>
                    <a:pt x="489534" y="41786"/>
                    <a:pt x="489235" y="40918"/>
                    <a:pt x="488936" y="39255"/>
                  </a:cubicBezTo>
                  <a:cubicBezTo>
                    <a:pt x="488294" y="35741"/>
                    <a:pt x="477347" y="28119"/>
                    <a:pt x="470872" y="23891"/>
                  </a:cubicBezTo>
                  <a:lnTo>
                    <a:pt x="470853" y="23877"/>
                  </a:lnTo>
                  <a:cubicBezTo>
                    <a:pt x="470781" y="23834"/>
                    <a:pt x="470757" y="23819"/>
                    <a:pt x="470757" y="23819"/>
                  </a:cubicBezTo>
                  <a:cubicBezTo>
                    <a:pt x="469759" y="23217"/>
                    <a:pt x="468496" y="22561"/>
                    <a:pt x="467161" y="21867"/>
                  </a:cubicBezTo>
                  <a:lnTo>
                    <a:pt x="466645" y="21597"/>
                  </a:lnTo>
                  <a:cubicBezTo>
                    <a:pt x="464736" y="20609"/>
                    <a:pt x="459264" y="17788"/>
                    <a:pt x="458117" y="16318"/>
                  </a:cubicBezTo>
                  <a:cubicBezTo>
                    <a:pt x="460079" y="13551"/>
                    <a:pt x="459823" y="11174"/>
                    <a:pt x="459399" y="9960"/>
                  </a:cubicBezTo>
                  <a:cubicBezTo>
                    <a:pt x="457341" y="3992"/>
                    <a:pt x="446325" y="1422"/>
                    <a:pt x="439861" y="415"/>
                  </a:cubicBezTo>
                  <a:cubicBezTo>
                    <a:pt x="439813" y="400"/>
                    <a:pt x="439760" y="386"/>
                    <a:pt x="439760" y="386"/>
                  </a:cubicBezTo>
                  <a:lnTo>
                    <a:pt x="439302" y="270"/>
                  </a:lnTo>
                  <a:lnTo>
                    <a:pt x="438979" y="188"/>
                  </a:lnTo>
                  <a:lnTo>
                    <a:pt x="438762" y="241"/>
                  </a:lnTo>
                  <a:lnTo>
                    <a:pt x="438140" y="149"/>
                  </a:lnTo>
                  <a:lnTo>
                    <a:pt x="437094" y="0"/>
                  </a:lnTo>
                  <a:lnTo>
                    <a:pt x="436819" y="723"/>
                  </a:lnTo>
                  <a:lnTo>
                    <a:pt x="413424" y="6416"/>
                  </a:lnTo>
                  <a:lnTo>
                    <a:pt x="410291" y="7183"/>
                  </a:lnTo>
                  <a:lnTo>
                    <a:pt x="408049" y="7728"/>
                  </a:lnTo>
                  <a:lnTo>
                    <a:pt x="409654" y="9376"/>
                  </a:lnTo>
                  <a:lnTo>
                    <a:pt x="411915" y="11695"/>
                  </a:lnTo>
                  <a:cubicBezTo>
                    <a:pt x="411915" y="11700"/>
                    <a:pt x="423123" y="23183"/>
                    <a:pt x="424806" y="24904"/>
                  </a:cubicBezTo>
                  <a:cubicBezTo>
                    <a:pt x="425403" y="26900"/>
                    <a:pt x="427544" y="34401"/>
                    <a:pt x="427544" y="40123"/>
                  </a:cubicBezTo>
                  <a:cubicBezTo>
                    <a:pt x="426421" y="64462"/>
                    <a:pt x="415290" y="74866"/>
                    <a:pt x="415179" y="74967"/>
                  </a:cubicBezTo>
                  <a:cubicBezTo>
                    <a:pt x="415164" y="74981"/>
                    <a:pt x="413212" y="76765"/>
                    <a:pt x="413212" y="76765"/>
                  </a:cubicBezTo>
                  <a:lnTo>
                    <a:pt x="411828" y="78028"/>
                  </a:lnTo>
                  <a:lnTo>
                    <a:pt x="413487" y="78896"/>
                  </a:lnTo>
                  <a:lnTo>
                    <a:pt x="415830" y="80130"/>
                  </a:lnTo>
                  <a:cubicBezTo>
                    <a:pt x="415834" y="80130"/>
                    <a:pt x="423779" y="84261"/>
                    <a:pt x="426806" y="85842"/>
                  </a:cubicBezTo>
                  <a:lnTo>
                    <a:pt x="418023" y="100830"/>
                  </a:lnTo>
                  <a:lnTo>
                    <a:pt x="367888" y="86021"/>
                  </a:lnTo>
                  <a:lnTo>
                    <a:pt x="367415" y="85881"/>
                  </a:lnTo>
                  <a:lnTo>
                    <a:pt x="367073" y="85780"/>
                  </a:lnTo>
                  <a:lnTo>
                    <a:pt x="366726" y="85866"/>
                  </a:lnTo>
                  <a:lnTo>
                    <a:pt x="366234" y="85992"/>
                  </a:lnTo>
                  <a:lnTo>
                    <a:pt x="351864" y="89583"/>
                  </a:lnTo>
                  <a:lnTo>
                    <a:pt x="341200" y="81378"/>
                  </a:lnTo>
                  <a:cubicBezTo>
                    <a:pt x="341200" y="81378"/>
                    <a:pt x="340294" y="80679"/>
                    <a:pt x="340294" y="80679"/>
                  </a:cubicBezTo>
                  <a:lnTo>
                    <a:pt x="339643" y="80183"/>
                  </a:lnTo>
                  <a:lnTo>
                    <a:pt x="338910" y="80549"/>
                  </a:lnTo>
                  <a:lnTo>
                    <a:pt x="337879" y="81065"/>
                  </a:lnTo>
                  <a:cubicBezTo>
                    <a:pt x="337879" y="81065"/>
                    <a:pt x="323407" y="88267"/>
                    <a:pt x="323407" y="88267"/>
                  </a:cubicBezTo>
                  <a:cubicBezTo>
                    <a:pt x="323402" y="88272"/>
                    <a:pt x="322390" y="88778"/>
                    <a:pt x="322390" y="88778"/>
                  </a:cubicBezTo>
                  <a:lnTo>
                    <a:pt x="321672" y="89135"/>
                  </a:lnTo>
                  <a:lnTo>
                    <a:pt x="321662" y="89940"/>
                  </a:lnTo>
                  <a:lnTo>
                    <a:pt x="321652" y="91068"/>
                  </a:lnTo>
                  <a:lnTo>
                    <a:pt x="321488" y="104527"/>
                  </a:lnTo>
                  <a:cubicBezTo>
                    <a:pt x="321488" y="104542"/>
                    <a:pt x="321488" y="104754"/>
                    <a:pt x="321488" y="104754"/>
                  </a:cubicBezTo>
                  <a:lnTo>
                    <a:pt x="321488" y="104899"/>
                  </a:lnTo>
                  <a:lnTo>
                    <a:pt x="321522" y="105043"/>
                  </a:lnTo>
                  <a:lnTo>
                    <a:pt x="321565" y="105236"/>
                  </a:lnTo>
                  <a:cubicBezTo>
                    <a:pt x="321561" y="105226"/>
                    <a:pt x="328030" y="135500"/>
                    <a:pt x="328772" y="138981"/>
                  </a:cubicBezTo>
                  <a:lnTo>
                    <a:pt x="320278" y="164126"/>
                  </a:lnTo>
                  <a:lnTo>
                    <a:pt x="316306" y="165278"/>
                  </a:lnTo>
                  <a:lnTo>
                    <a:pt x="309634" y="160380"/>
                  </a:lnTo>
                  <a:cubicBezTo>
                    <a:pt x="309639" y="160390"/>
                    <a:pt x="309480" y="160269"/>
                    <a:pt x="309480" y="160269"/>
                  </a:cubicBezTo>
                  <a:lnTo>
                    <a:pt x="309355" y="160173"/>
                  </a:lnTo>
                  <a:lnTo>
                    <a:pt x="309205" y="160110"/>
                  </a:lnTo>
                  <a:lnTo>
                    <a:pt x="309003" y="160023"/>
                  </a:lnTo>
                  <a:cubicBezTo>
                    <a:pt x="309003" y="160023"/>
                    <a:pt x="297631" y="155198"/>
                    <a:pt x="297631" y="155198"/>
                  </a:cubicBezTo>
                  <a:cubicBezTo>
                    <a:pt x="297616" y="155193"/>
                    <a:pt x="297231" y="155034"/>
                    <a:pt x="297231" y="155034"/>
                  </a:cubicBezTo>
                  <a:lnTo>
                    <a:pt x="296956" y="154918"/>
                  </a:lnTo>
                  <a:lnTo>
                    <a:pt x="296657" y="154938"/>
                  </a:lnTo>
                  <a:lnTo>
                    <a:pt x="296233" y="154962"/>
                  </a:lnTo>
                  <a:cubicBezTo>
                    <a:pt x="296238" y="154962"/>
                    <a:pt x="286254" y="155453"/>
                    <a:pt x="286254" y="155453"/>
                  </a:cubicBezTo>
                  <a:cubicBezTo>
                    <a:pt x="286239" y="155453"/>
                    <a:pt x="285328" y="155506"/>
                    <a:pt x="285328" y="155506"/>
                  </a:cubicBezTo>
                  <a:lnTo>
                    <a:pt x="284687" y="155545"/>
                  </a:lnTo>
                  <a:lnTo>
                    <a:pt x="284326" y="156070"/>
                  </a:lnTo>
                  <a:lnTo>
                    <a:pt x="283805" y="156818"/>
                  </a:lnTo>
                  <a:cubicBezTo>
                    <a:pt x="283800" y="156827"/>
                    <a:pt x="275745" y="168652"/>
                    <a:pt x="275301" y="169294"/>
                  </a:cubicBezTo>
                  <a:lnTo>
                    <a:pt x="260637" y="183375"/>
                  </a:lnTo>
                  <a:lnTo>
                    <a:pt x="260188" y="183804"/>
                  </a:lnTo>
                  <a:lnTo>
                    <a:pt x="259856" y="184117"/>
                  </a:lnTo>
                  <a:lnTo>
                    <a:pt x="259793" y="184575"/>
                  </a:lnTo>
                  <a:lnTo>
                    <a:pt x="259706" y="185197"/>
                  </a:lnTo>
                  <a:cubicBezTo>
                    <a:pt x="259706" y="185183"/>
                    <a:pt x="254254" y="221608"/>
                    <a:pt x="253931" y="223773"/>
                  </a:cubicBezTo>
                  <a:lnTo>
                    <a:pt x="246902" y="237960"/>
                  </a:lnTo>
                  <a:lnTo>
                    <a:pt x="235217" y="243002"/>
                  </a:lnTo>
                  <a:cubicBezTo>
                    <a:pt x="235212" y="243002"/>
                    <a:pt x="234257" y="243422"/>
                    <a:pt x="234257" y="243422"/>
                  </a:cubicBezTo>
                  <a:lnTo>
                    <a:pt x="233578" y="243721"/>
                  </a:lnTo>
                  <a:lnTo>
                    <a:pt x="233477" y="244458"/>
                  </a:lnTo>
                  <a:lnTo>
                    <a:pt x="233342" y="245475"/>
                  </a:lnTo>
                  <a:cubicBezTo>
                    <a:pt x="233342" y="245466"/>
                    <a:pt x="231799" y="256520"/>
                    <a:pt x="231799" y="256520"/>
                  </a:cubicBezTo>
                  <a:cubicBezTo>
                    <a:pt x="231799" y="256544"/>
                    <a:pt x="231712" y="257233"/>
                    <a:pt x="231712" y="257233"/>
                  </a:cubicBezTo>
                  <a:lnTo>
                    <a:pt x="231654" y="257710"/>
                  </a:lnTo>
                  <a:lnTo>
                    <a:pt x="231920" y="258110"/>
                  </a:lnTo>
                  <a:lnTo>
                    <a:pt x="232301" y="258689"/>
                  </a:lnTo>
                  <a:cubicBezTo>
                    <a:pt x="232305" y="258694"/>
                    <a:pt x="249530" y="284624"/>
                    <a:pt x="251583" y="287724"/>
                  </a:cubicBezTo>
                  <a:lnTo>
                    <a:pt x="252032" y="306747"/>
                  </a:lnTo>
                  <a:cubicBezTo>
                    <a:pt x="242395" y="314021"/>
                    <a:pt x="234957" y="324366"/>
                    <a:pt x="231071" y="336003"/>
                  </a:cubicBezTo>
                  <a:cubicBezTo>
                    <a:pt x="221232" y="365810"/>
                    <a:pt x="210940" y="380113"/>
                    <a:pt x="210839" y="380253"/>
                  </a:cubicBezTo>
                  <a:lnTo>
                    <a:pt x="210872" y="380277"/>
                  </a:lnTo>
                  <a:cubicBezTo>
                    <a:pt x="210612" y="380542"/>
                    <a:pt x="210337" y="380855"/>
                    <a:pt x="210009" y="381246"/>
                  </a:cubicBezTo>
                  <a:lnTo>
                    <a:pt x="208072" y="383574"/>
                  </a:lnTo>
                  <a:lnTo>
                    <a:pt x="205261" y="386968"/>
                  </a:lnTo>
                  <a:cubicBezTo>
                    <a:pt x="205251" y="386978"/>
                    <a:pt x="204644" y="387730"/>
                    <a:pt x="204644" y="387730"/>
                  </a:cubicBezTo>
                  <a:lnTo>
                    <a:pt x="204220" y="388250"/>
                  </a:lnTo>
                  <a:lnTo>
                    <a:pt x="204398" y="388896"/>
                  </a:lnTo>
                  <a:lnTo>
                    <a:pt x="204644" y="389817"/>
                  </a:lnTo>
                  <a:cubicBezTo>
                    <a:pt x="204649" y="389822"/>
                    <a:pt x="209368" y="406839"/>
                    <a:pt x="209884" y="408700"/>
                  </a:cubicBezTo>
                  <a:lnTo>
                    <a:pt x="209749" y="416943"/>
                  </a:lnTo>
                  <a:lnTo>
                    <a:pt x="188220" y="434987"/>
                  </a:lnTo>
                  <a:lnTo>
                    <a:pt x="162010" y="439957"/>
                  </a:lnTo>
                  <a:cubicBezTo>
                    <a:pt x="162015" y="439957"/>
                    <a:pt x="160139" y="440309"/>
                    <a:pt x="160139" y="440309"/>
                  </a:cubicBezTo>
                  <a:lnTo>
                    <a:pt x="158799" y="440555"/>
                  </a:lnTo>
                  <a:lnTo>
                    <a:pt x="159103" y="441885"/>
                  </a:lnTo>
                  <a:lnTo>
                    <a:pt x="159522" y="443741"/>
                  </a:lnTo>
                  <a:cubicBezTo>
                    <a:pt x="159522" y="443737"/>
                    <a:pt x="168050" y="482273"/>
                    <a:pt x="168797" y="485657"/>
                  </a:cubicBezTo>
                  <a:lnTo>
                    <a:pt x="165095" y="497965"/>
                  </a:lnTo>
                  <a:cubicBezTo>
                    <a:pt x="165114" y="497897"/>
                    <a:pt x="165022" y="498158"/>
                    <a:pt x="165022" y="498158"/>
                  </a:cubicBezTo>
                  <a:lnTo>
                    <a:pt x="164945" y="498370"/>
                  </a:lnTo>
                  <a:lnTo>
                    <a:pt x="164945" y="498601"/>
                  </a:lnTo>
                  <a:lnTo>
                    <a:pt x="164945" y="498881"/>
                  </a:lnTo>
                  <a:lnTo>
                    <a:pt x="164945" y="543458"/>
                  </a:lnTo>
                  <a:lnTo>
                    <a:pt x="165047" y="543559"/>
                  </a:lnTo>
                  <a:cubicBezTo>
                    <a:pt x="165052" y="543525"/>
                    <a:pt x="165056" y="543492"/>
                    <a:pt x="165061" y="543458"/>
                  </a:cubicBezTo>
                  <a:lnTo>
                    <a:pt x="166261" y="543458"/>
                  </a:lnTo>
                  <a:cubicBezTo>
                    <a:pt x="166261" y="543443"/>
                    <a:pt x="166237" y="543983"/>
                    <a:pt x="166199" y="544750"/>
                  </a:cubicBezTo>
                  <a:lnTo>
                    <a:pt x="165042" y="543559"/>
                  </a:lnTo>
                  <a:cubicBezTo>
                    <a:pt x="164897" y="544586"/>
                    <a:pt x="164811" y="546336"/>
                    <a:pt x="164666" y="549460"/>
                  </a:cubicBezTo>
                  <a:lnTo>
                    <a:pt x="164304" y="557279"/>
                  </a:lnTo>
                  <a:lnTo>
                    <a:pt x="159257" y="563714"/>
                  </a:lnTo>
                  <a:cubicBezTo>
                    <a:pt x="159271" y="563700"/>
                    <a:pt x="158929" y="564119"/>
                    <a:pt x="158929" y="564119"/>
                  </a:cubicBezTo>
                  <a:lnTo>
                    <a:pt x="158674" y="564438"/>
                  </a:lnTo>
                  <a:lnTo>
                    <a:pt x="158640" y="564838"/>
                  </a:lnTo>
                  <a:lnTo>
                    <a:pt x="158597" y="565382"/>
                  </a:lnTo>
                  <a:cubicBezTo>
                    <a:pt x="158597" y="565373"/>
                    <a:pt x="157121" y="581030"/>
                    <a:pt x="156929" y="583084"/>
                  </a:cubicBezTo>
                  <a:lnTo>
                    <a:pt x="122036" y="656248"/>
                  </a:lnTo>
                  <a:cubicBezTo>
                    <a:pt x="122036" y="656253"/>
                    <a:pt x="121400" y="657602"/>
                    <a:pt x="121400" y="657602"/>
                  </a:cubicBezTo>
                  <a:lnTo>
                    <a:pt x="120956" y="658552"/>
                  </a:lnTo>
                  <a:lnTo>
                    <a:pt x="121781" y="659198"/>
                  </a:lnTo>
                  <a:lnTo>
                    <a:pt x="122943" y="660104"/>
                  </a:lnTo>
                  <a:cubicBezTo>
                    <a:pt x="122943" y="660104"/>
                    <a:pt x="137583" y="671477"/>
                    <a:pt x="137583" y="671477"/>
                  </a:cubicBezTo>
                  <a:cubicBezTo>
                    <a:pt x="137549" y="671448"/>
                    <a:pt x="137790" y="671650"/>
                    <a:pt x="137790" y="671650"/>
                  </a:cubicBezTo>
                  <a:lnTo>
                    <a:pt x="137978" y="671804"/>
                  </a:lnTo>
                  <a:lnTo>
                    <a:pt x="138210" y="671881"/>
                  </a:lnTo>
                  <a:lnTo>
                    <a:pt x="138514" y="671983"/>
                  </a:lnTo>
                  <a:cubicBezTo>
                    <a:pt x="138518" y="671983"/>
                    <a:pt x="147538" y="674981"/>
                    <a:pt x="150151" y="675844"/>
                  </a:cubicBezTo>
                  <a:lnTo>
                    <a:pt x="155892" y="708938"/>
                  </a:lnTo>
                  <a:cubicBezTo>
                    <a:pt x="154369" y="712891"/>
                    <a:pt x="148888" y="726876"/>
                    <a:pt x="147176" y="730453"/>
                  </a:cubicBezTo>
                  <a:cubicBezTo>
                    <a:pt x="144761" y="731480"/>
                    <a:pt x="128988" y="728424"/>
                    <a:pt x="117409" y="726168"/>
                  </a:cubicBezTo>
                  <a:lnTo>
                    <a:pt x="104807" y="723747"/>
                  </a:lnTo>
                  <a:cubicBezTo>
                    <a:pt x="75058" y="718136"/>
                    <a:pt x="53057" y="772991"/>
                    <a:pt x="50647" y="779268"/>
                  </a:cubicBezTo>
                  <a:lnTo>
                    <a:pt x="50622" y="779325"/>
                  </a:lnTo>
                  <a:cubicBezTo>
                    <a:pt x="50593" y="779436"/>
                    <a:pt x="50579" y="779494"/>
                    <a:pt x="50579" y="779494"/>
                  </a:cubicBezTo>
                  <a:lnTo>
                    <a:pt x="50550" y="779591"/>
                  </a:lnTo>
                  <a:cubicBezTo>
                    <a:pt x="50545" y="779619"/>
                    <a:pt x="49851" y="782372"/>
                    <a:pt x="49644" y="783187"/>
                  </a:cubicBezTo>
                  <a:lnTo>
                    <a:pt x="41554" y="794607"/>
                  </a:lnTo>
                  <a:cubicBezTo>
                    <a:pt x="41554" y="794602"/>
                    <a:pt x="41101" y="795239"/>
                    <a:pt x="41101" y="795239"/>
                  </a:cubicBezTo>
                  <a:lnTo>
                    <a:pt x="40779" y="795692"/>
                  </a:lnTo>
                  <a:lnTo>
                    <a:pt x="40885" y="796241"/>
                  </a:lnTo>
                  <a:lnTo>
                    <a:pt x="41024" y="797003"/>
                  </a:lnTo>
                  <a:cubicBezTo>
                    <a:pt x="41024" y="796998"/>
                    <a:pt x="43170" y="808679"/>
                    <a:pt x="43584" y="810959"/>
                  </a:cubicBezTo>
                  <a:lnTo>
                    <a:pt x="31282" y="837097"/>
                  </a:lnTo>
                  <a:lnTo>
                    <a:pt x="30949" y="837801"/>
                  </a:lnTo>
                  <a:lnTo>
                    <a:pt x="30708" y="838307"/>
                  </a:lnTo>
                  <a:lnTo>
                    <a:pt x="30911" y="838832"/>
                  </a:lnTo>
                  <a:lnTo>
                    <a:pt x="31190" y="839560"/>
                  </a:lnTo>
                  <a:cubicBezTo>
                    <a:pt x="31190" y="839560"/>
                    <a:pt x="43681" y="872201"/>
                    <a:pt x="45459" y="876853"/>
                  </a:cubicBezTo>
                  <a:lnTo>
                    <a:pt x="38812" y="888139"/>
                  </a:lnTo>
                  <a:cubicBezTo>
                    <a:pt x="38812" y="888129"/>
                    <a:pt x="38460" y="888722"/>
                    <a:pt x="38460" y="888722"/>
                  </a:cubicBezTo>
                  <a:lnTo>
                    <a:pt x="38204" y="889156"/>
                  </a:lnTo>
                  <a:lnTo>
                    <a:pt x="38301" y="889647"/>
                  </a:lnTo>
                  <a:lnTo>
                    <a:pt x="38431" y="890332"/>
                  </a:lnTo>
                  <a:cubicBezTo>
                    <a:pt x="38431" y="890332"/>
                    <a:pt x="42900" y="913409"/>
                    <a:pt x="43464" y="916296"/>
                  </a:cubicBezTo>
                  <a:lnTo>
                    <a:pt x="40566" y="926979"/>
                  </a:lnTo>
                  <a:cubicBezTo>
                    <a:pt x="40566" y="926984"/>
                    <a:pt x="40494" y="927244"/>
                    <a:pt x="40494" y="927244"/>
                  </a:cubicBezTo>
                  <a:lnTo>
                    <a:pt x="40446" y="927422"/>
                  </a:lnTo>
                  <a:lnTo>
                    <a:pt x="40451" y="927610"/>
                  </a:lnTo>
                  <a:lnTo>
                    <a:pt x="40456" y="927871"/>
                  </a:lnTo>
                  <a:cubicBezTo>
                    <a:pt x="40460" y="928030"/>
                    <a:pt x="40803" y="944097"/>
                    <a:pt x="48742" y="958897"/>
                  </a:cubicBezTo>
                  <a:cubicBezTo>
                    <a:pt x="55525" y="971508"/>
                    <a:pt x="55472" y="978194"/>
                    <a:pt x="55448" y="981405"/>
                  </a:cubicBezTo>
                  <a:cubicBezTo>
                    <a:pt x="55448" y="981405"/>
                    <a:pt x="55438" y="981993"/>
                    <a:pt x="55438" y="981993"/>
                  </a:cubicBezTo>
                  <a:cubicBezTo>
                    <a:pt x="55438" y="984027"/>
                    <a:pt x="51721" y="1018833"/>
                    <a:pt x="48222" y="1050563"/>
                  </a:cubicBezTo>
                  <a:lnTo>
                    <a:pt x="48135" y="1051368"/>
                  </a:lnTo>
                  <a:lnTo>
                    <a:pt x="48072" y="1051941"/>
                  </a:lnTo>
                  <a:lnTo>
                    <a:pt x="48458" y="1052375"/>
                  </a:lnTo>
                  <a:lnTo>
                    <a:pt x="48979" y="1052973"/>
                  </a:lnTo>
                  <a:cubicBezTo>
                    <a:pt x="48974" y="1052968"/>
                    <a:pt x="66704" y="1073456"/>
                    <a:pt x="66704" y="1073456"/>
                  </a:cubicBezTo>
                  <a:lnTo>
                    <a:pt x="67206" y="1074044"/>
                  </a:lnTo>
                  <a:lnTo>
                    <a:pt x="67562" y="1074454"/>
                  </a:lnTo>
                  <a:lnTo>
                    <a:pt x="68107" y="1074493"/>
                  </a:lnTo>
                  <a:lnTo>
                    <a:pt x="68878" y="1074546"/>
                  </a:lnTo>
                  <a:cubicBezTo>
                    <a:pt x="68888" y="1074546"/>
                    <a:pt x="76572" y="1075028"/>
                    <a:pt x="78771" y="1075168"/>
                  </a:cubicBezTo>
                  <a:cubicBezTo>
                    <a:pt x="86662" y="1086004"/>
                    <a:pt x="92885" y="1094315"/>
                    <a:pt x="97321" y="1099927"/>
                  </a:cubicBezTo>
                  <a:cubicBezTo>
                    <a:pt x="98622" y="1112730"/>
                    <a:pt x="92114" y="1122338"/>
                    <a:pt x="91835" y="1122743"/>
                  </a:cubicBezTo>
                  <a:cubicBezTo>
                    <a:pt x="91864" y="1122700"/>
                    <a:pt x="91608" y="1123037"/>
                    <a:pt x="91608" y="1123037"/>
                  </a:cubicBezTo>
                  <a:lnTo>
                    <a:pt x="91333" y="1123394"/>
                  </a:lnTo>
                  <a:lnTo>
                    <a:pt x="91333" y="1123722"/>
                  </a:lnTo>
                  <a:cubicBezTo>
                    <a:pt x="91319" y="1123799"/>
                    <a:pt x="91300" y="1123910"/>
                    <a:pt x="91275" y="1124030"/>
                  </a:cubicBezTo>
                  <a:lnTo>
                    <a:pt x="91266" y="1124098"/>
                  </a:lnTo>
                  <a:lnTo>
                    <a:pt x="91261" y="1124170"/>
                  </a:lnTo>
                  <a:cubicBezTo>
                    <a:pt x="91189" y="1124604"/>
                    <a:pt x="89516" y="1134134"/>
                    <a:pt x="88412" y="1138275"/>
                  </a:cubicBezTo>
                  <a:cubicBezTo>
                    <a:pt x="88325" y="1138579"/>
                    <a:pt x="88243" y="1138627"/>
                    <a:pt x="88147" y="1138685"/>
                  </a:cubicBezTo>
                  <a:cubicBezTo>
                    <a:pt x="87457" y="1139061"/>
                    <a:pt x="85727" y="1138854"/>
                    <a:pt x="84999" y="1138637"/>
                  </a:cubicBezTo>
                  <a:lnTo>
                    <a:pt x="84989" y="1138666"/>
                  </a:lnTo>
                  <a:lnTo>
                    <a:pt x="85023" y="1138647"/>
                  </a:lnTo>
                  <a:lnTo>
                    <a:pt x="85009" y="1138709"/>
                  </a:lnTo>
                  <a:cubicBezTo>
                    <a:pt x="84999" y="1138704"/>
                    <a:pt x="84989" y="1138700"/>
                    <a:pt x="84980" y="1138695"/>
                  </a:cubicBezTo>
                  <a:lnTo>
                    <a:pt x="84608" y="1139895"/>
                  </a:lnTo>
                  <a:cubicBezTo>
                    <a:pt x="84618" y="1139895"/>
                    <a:pt x="83938" y="1139659"/>
                    <a:pt x="83398" y="1139461"/>
                  </a:cubicBezTo>
                  <a:lnTo>
                    <a:pt x="84956" y="1138680"/>
                  </a:lnTo>
                  <a:cubicBezTo>
                    <a:pt x="84526" y="1138483"/>
                    <a:pt x="83991" y="1138275"/>
                    <a:pt x="83225" y="1138001"/>
                  </a:cubicBezTo>
                  <a:cubicBezTo>
                    <a:pt x="83225" y="1138001"/>
                    <a:pt x="82661" y="1137798"/>
                    <a:pt x="82661" y="1137798"/>
                  </a:cubicBezTo>
                  <a:lnTo>
                    <a:pt x="82251" y="1137654"/>
                  </a:lnTo>
                  <a:lnTo>
                    <a:pt x="81836" y="1137784"/>
                  </a:lnTo>
                  <a:lnTo>
                    <a:pt x="81272" y="1137957"/>
                  </a:lnTo>
                  <a:cubicBezTo>
                    <a:pt x="81302" y="1137948"/>
                    <a:pt x="63932" y="1142932"/>
                    <a:pt x="63932" y="1142932"/>
                  </a:cubicBezTo>
                  <a:cubicBezTo>
                    <a:pt x="61657" y="1143573"/>
                    <a:pt x="59951" y="1145237"/>
                    <a:pt x="59150" y="1147604"/>
                  </a:cubicBezTo>
                  <a:cubicBezTo>
                    <a:pt x="57743" y="1151653"/>
                    <a:pt x="59170" y="1156787"/>
                    <a:pt x="61223" y="1159554"/>
                  </a:cubicBezTo>
                  <a:cubicBezTo>
                    <a:pt x="62853" y="1161757"/>
                    <a:pt x="62853" y="1162369"/>
                    <a:pt x="62833" y="1164958"/>
                  </a:cubicBezTo>
                  <a:cubicBezTo>
                    <a:pt x="62833" y="1164968"/>
                    <a:pt x="62833" y="1165580"/>
                    <a:pt x="62833" y="1165580"/>
                  </a:cubicBezTo>
                  <a:cubicBezTo>
                    <a:pt x="62607" y="1174947"/>
                    <a:pt x="68093" y="1185499"/>
                    <a:pt x="71602" y="1189944"/>
                  </a:cubicBezTo>
                  <a:cubicBezTo>
                    <a:pt x="74682" y="1193834"/>
                    <a:pt x="76433" y="1198756"/>
                    <a:pt x="76645" y="1200154"/>
                  </a:cubicBezTo>
                  <a:cubicBezTo>
                    <a:pt x="77107" y="1203022"/>
                    <a:pt x="78848" y="1206811"/>
                    <a:pt x="83543" y="1215185"/>
                  </a:cubicBezTo>
                  <a:cubicBezTo>
                    <a:pt x="89424" y="1227950"/>
                    <a:pt x="78173" y="1241386"/>
                    <a:pt x="78057" y="1241521"/>
                  </a:cubicBezTo>
                  <a:cubicBezTo>
                    <a:pt x="78043" y="1241535"/>
                    <a:pt x="77401" y="1242301"/>
                    <a:pt x="77401" y="1242301"/>
                  </a:cubicBezTo>
                  <a:lnTo>
                    <a:pt x="76948" y="1242841"/>
                  </a:lnTo>
                  <a:lnTo>
                    <a:pt x="77141" y="1243516"/>
                  </a:lnTo>
                  <a:lnTo>
                    <a:pt x="77416" y="1244461"/>
                  </a:lnTo>
                  <a:lnTo>
                    <a:pt x="77426" y="1244500"/>
                  </a:lnTo>
                  <a:lnTo>
                    <a:pt x="77426" y="1244500"/>
                  </a:lnTo>
                  <a:cubicBezTo>
                    <a:pt x="77493" y="1244717"/>
                    <a:pt x="78303" y="1247546"/>
                    <a:pt x="79098" y="1250878"/>
                  </a:cubicBezTo>
                  <a:cubicBezTo>
                    <a:pt x="79094" y="1250839"/>
                    <a:pt x="79118" y="1250979"/>
                    <a:pt x="79118" y="1250979"/>
                  </a:cubicBezTo>
                  <a:lnTo>
                    <a:pt x="79137" y="1251085"/>
                  </a:lnTo>
                  <a:lnTo>
                    <a:pt x="79180" y="1251191"/>
                  </a:lnTo>
                  <a:lnTo>
                    <a:pt x="79180" y="1251191"/>
                  </a:lnTo>
                  <a:cubicBezTo>
                    <a:pt x="79224" y="1251311"/>
                    <a:pt x="79224" y="1251311"/>
                    <a:pt x="79224" y="1251311"/>
                  </a:cubicBezTo>
                  <a:cubicBezTo>
                    <a:pt x="87911" y="1273231"/>
                    <a:pt x="61185" y="1292167"/>
                    <a:pt x="56938" y="1295001"/>
                  </a:cubicBezTo>
                  <a:lnTo>
                    <a:pt x="46515" y="1295001"/>
                  </a:lnTo>
                  <a:lnTo>
                    <a:pt x="46110" y="1295001"/>
                  </a:lnTo>
                  <a:lnTo>
                    <a:pt x="45797" y="1295001"/>
                  </a:lnTo>
                  <a:lnTo>
                    <a:pt x="45517" y="1295141"/>
                  </a:lnTo>
                  <a:lnTo>
                    <a:pt x="45156" y="1295325"/>
                  </a:lnTo>
                  <a:cubicBezTo>
                    <a:pt x="45189" y="1295310"/>
                    <a:pt x="38484" y="1298424"/>
                    <a:pt x="38484" y="1298424"/>
                  </a:cubicBezTo>
                  <a:cubicBezTo>
                    <a:pt x="38474" y="1298424"/>
                    <a:pt x="37418" y="1298921"/>
                    <a:pt x="37418" y="1298921"/>
                  </a:cubicBezTo>
                  <a:lnTo>
                    <a:pt x="36662" y="1299277"/>
                  </a:lnTo>
                  <a:lnTo>
                    <a:pt x="36662" y="1300111"/>
                  </a:lnTo>
                  <a:lnTo>
                    <a:pt x="36662" y="1301283"/>
                  </a:lnTo>
                  <a:lnTo>
                    <a:pt x="36662" y="1307478"/>
                  </a:lnTo>
                  <a:lnTo>
                    <a:pt x="36662" y="1307974"/>
                  </a:lnTo>
                  <a:lnTo>
                    <a:pt x="36662" y="1308316"/>
                  </a:lnTo>
                  <a:lnTo>
                    <a:pt x="36830" y="1308615"/>
                  </a:lnTo>
                  <a:lnTo>
                    <a:pt x="37076" y="1309059"/>
                  </a:lnTo>
                  <a:cubicBezTo>
                    <a:pt x="37091" y="1309083"/>
                    <a:pt x="39318" y="1312838"/>
                    <a:pt x="39949" y="1313903"/>
                  </a:cubicBezTo>
                  <a:lnTo>
                    <a:pt x="40234" y="1323333"/>
                  </a:lnTo>
                  <a:lnTo>
                    <a:pt x="36874" y="1328751"/>
                  </a:lnTo>
                  <a:lnTo>
                    <a:pt x="32632" y="1330115"/>
                  </a:lnTo>
                  <a:cubicBezTo>
                    <a:pt x="32627" y="1330115"/>
                    <a:pt x="31957" y="1330337"/>
                    <a:pt x="31957" y="1330337"/>
                  </a:cubicBezTo>
                  <a:lnTo>
                    <a:pt x="31475" y="1330496"/>
                  </a:lnTo>
                  <a:lnTo>
                    <a:pt x="31224" y="1330930"/>
                  </a:lnTo>
                  <a:lnTo>
                    <a:pt x="30867" y="1331547"/>
                  </a:lnTo>
                  <a:lnTo>
                    <a:pt x="26384" y="1339314"/>
                  </a:lnTo>
                  <a:cubicBezTo>
                    <a:pt x="26384" y="1339318"/>
                    <a:pt x="26056" y="1339897"/>
                    <a:pt x="26056" y="1339897"/>
                  </a:cubicBezTo>
                  <a:lnTo>
                    <a:pt x="25820" y="1340311"/>
                  </a:lnTo>
                  <a:lnTo>
                    <a:pt x="25907" y="1340784"/>
                  </a:lnTo>
                  <a:lnTo>
                    <a:pt x="26022" y="1341425"/>
                  </a:lnTo>
                  <a:cubicBezTo>
                    <a:pt x="26046" y="1341560"/>
                    <a:pt x="28601" y="1356957"/>
                    <a:pt x="33282" y="1368122"/>
                  </a:cubicBezTo>
                  <a:cubicBezTo>
                    <a:pt x="37120" y="1377305"/>
                    <a:pt x="37799" y="1386335"/>
                    <a:pt x="35008" y="1391126"/>
                  </a:cubicBezTo>
                  <a:cubicBezTo>
                    <a:pt x="31990" y="1396294"/>
                    <a:pt x="33249" y="1403896"/>
                    <a:pt x="34058" y="1407367"/>
                  </a:cubicBezTo>
                  <a:lnTo>
                    <a:pt x="31272" y="1413215"/>
                  </a:lnTo>
                  <a:cubicBezTo>
                    <a:pt x="31263" y="1413234"/>
                    <a:pt x="31137" y="1413504"/>
                    <a:pt x="31137" y="1413504"/>
                  </a:cubicBezTo>
                  <a:lnTo>
                    <a:pt x="31050" y="1413697"/>
                  </a:lnTo>
                  <a:lnTo>
                    <a:pt x="31026" y="1413899"/>
                  </a:lnTo>
                  <a:lnTo>
                    <a:pt x="30992" y="1414193"/>
                  </a:lnTo>
                  <a:cubicBezTo>
                    <a:pt x="30925" y="1414680"/>
                    <a:pt x="29937" y="1422659"/>
                    <a:pt x="29595" y="1427638"/>
                  </a:cubicBezTo>
                  <a:cubicBezTo>
                    <a:pt x="29479" y="1429383"/>
                    <a:pt x="26292" y="1430825"/>
                    <a:pt x="24094" y="1431408"/>
                  </a:cubicBezTo>
                  <a:lnTo>
                    <a:pt x="21028" y="1431408"/>
                  </a:lnTo>
                  <a:lnTo>
                    <a:pt x="18786" y="1420658"/>
                  </a:lnTo>
                  <a:cubicBezTo>
                    <a:pt x="18791" y="1420668"/>
                    <a:pt x="18729" y="1420374"/>
                    <a:pt x="18729" y="1420374"/>
                  </a:cubicBezTo>
                  <a:lnTo>
                    <a:pt x="18690" y="1420171"/>
                  </a:lnTo>
                  <a:lnTo>
                    <a:pt x="18589" y="1419988"/>
                  </a:lnTo>
                  <a:lnTo>
                    <a:pt x="18435" y="1419708"/>
                  </a:lnTo>
                  <a:cubicBezTo>
                    <a:pt x="16569" y="1416565"/>
                    <a:pt x="13440" y="1410853"/>
                    <a:pt x="12905" y="1408789"/>
                  </a:cubicBezTo>
                  <a:cubicBezTo>
                    <a:pt x="11507" y="1403511"/>
                    <a:pt x="3828" y="1404306"/>
                    <a:pt x="1302" y="1404567"/>
                  </a:cubicBezTo>
                  <a:lnTo>
                    <a:pt x="0" y="1404701"/>
                  </a:lnTo>
                  <a:lnTo>
                    <a:pt x="125" y="1406008"/>
                  </a:lnTo>
                  <a:lnTo>
                    <a:pt x="482" y="1409628"/>
                  </a:lnTo>
                  <a:close/>
                  <a:moveTo>
                    <a:pt x="457702" y="16901"/>
                  </a:moveTo>
                  <a:lnTo>
                    <a:pt x="457611" y="17022"/>
                  </a:lnTo>
                  <a:cubicBezTo>
                    <a:pt x="457654" y="16969"/>
                    <a:pt x="457664" y="16921"/>
                    <a:pt x="457707" y="16872"/>
                  </a:cubicBezTo>
                  <a:cubicBezTo>
                    <a:pt x="457702" y="16877"/>
                    <a:pt x="457707" y="16892"/>
                    <a:pt x="457702" y="16901"/>
                  </a:cubicBezTo>
                  <a:close/>
                  <a:moveTo>
                    <a:pt x="210853" y="380151"/>
                  </a:moveTo>
                  <a:lnTo>
                    <a:pt x="210897" y="380185"/>
                  </a:lnTo>
                  <a:cubicBezTo>
                    <a:pt x="210882" y="380195"/>
                    <a:pt x="210872" y="380204"/>
                    <a:pt x="210858" y="380219"/>
                  </a:cubicBezTo>
                  <a:lnTo>
                    <a:pt x="210853" y="380151"/>
                  </a:lnTo>
                  <a:close/>
                  <a:moveTo>
                    <a:pt x="211851" y="381005"/>
                  </a:moveTo>
                  <a:cubicBezTo>
                    <a:pt x="211836" y="381024"/>
                    <a:pt x="211528" y="381400"/>
                    <a:pt x="211036" y="381988"/>
                  </a:cubicBezTo>
                  <a:lnTo>
                    <a:pt x="210863" y="380238"/>
                  </a:lnTo>
                  <a:lnTo>
                    <a:pt x="211851" y="38100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68" name="Freihandform: Form 667">
              <a:extLst>
                <a:ext uri="{FF2B5EF4-FFF2-40B4-BE49-F238E27FC236}">
                  <a16:creationId xmlns:a16="http://schemas.microsoft.com/office/drawing/2014/main" id="{6DB007CB-3531-3733-32EC-E369B9E5A07D}"/>
                </a:ext>
              </a:extLst>
            </p:cNvPr>
            <p:cNvSpPr/>
            <p:nvPr/>
          </p:nvSpPr>
          <p:spPr>
            <a:xfrm>
              <a:off x="6662710" y="2778093"/>
              <a:ext cx="285718" cy="73028"/>
            </a:xfrm>
            <a:custGeom>
              <a:avLst/>
              <a:gdLst>
                <a:gd name="connsiteX0" fmla="*/ 255 w 224538"/>
                <a:gd name="connsiteY0" fmla="*/ 44452 h 57270"/>
                <a:gd name="connsiteX1" fmla="*/ 328 w 224538"/>
                <a:gd name="connsiteY1" fmla="*/ 45768 h 57270"/>
                <a:gd name="connsiteX2" fmla="*/ 1644 w 224538"/>
                <a:gd name="connsiteY2" fmla="*/ 45696 h 57270"/>
                <a:gd name="connsiteX3" fmla="*/ 4300 w 224538"/>
                <a:gd name="connsiteY3" fmla="*/ 45556 h 57270"/>
                <a:gd name="connsiteX4" fmla="*/ 5216 w 224538"/>
                <a:gd name="connsiteY4" fmla="*/ 45522 h 57270"/>
                <a:gd name="connsiteX5" fmla="*/ 5915 w 224538"/>
                <a:gd name="connsiteY5" fmla="*/ 45493 h 57270"/>
                <a:gd name="connsiteX6" fmla="*/ 6286 w 224538"/>
                <a:gd name="connsiteY6" fmla="*/ 44900 h 57270"/>
                <a:gd name="connsiteX7" fmla="*/ 6768 w 224538"/>
                <a:gd name="connsiteY7" fmla="*/ 44129 h 57270"/>
                <a:gd name="connsiteX8" fmla="*/ 14298 w 224538"/>
                <a:gd name="connsiteY8" fmla="*/ 33003 h 57270"/>
                <a:gd name="connsiteX9" fmla="*/ 25593 w 224538"/>
                <a:gd name="connsiteY9" fmla="*/ 28973 h 57270"/>
                <a:gd name="connsiteX10" fmla="*/ 25887 w 224538"/>
                <a:gd name="connsiteY10" fmla="*/ 28866 h 57270"/>
                <a:gd name="connsiteX11" fmla="*/ 26080 w 224538"/>
                <a:gd name="connsiteY11" fmla="*/ 28794 h 57270"/>
                <a:gd name="connsiteX12" fmla="*/ 26244 w 224538"/>
                <a:gd name="connsiteY12" fmla="*/ 28664 h 57270"/>
                <a:gd name="connsiteX13" fmla="*/ 26471 w 224538"/>
                <a:gd name="connsiteY13" fmla="*/ 28486 h 57270"/>
                <a:gd name="connsiteX14" fmla="*/ 44678 w 224538"/>
                <a:gd name="connsiteY14" fmla="*/ 14274 h 57270"/>
                <a:gd name="connsiteX15" fmla="*/ 45001 w 224538"/>
                <a:gd name="connsiteY15" fmla="*/ 14028 h 57270"/>
                <a:gd name="connsiteX16" fmla="*/ 45242 w 224538"/>
                <a:gd name="connsiteY16" fmla="*/ 13840 h 57270"/>
                <a:gd name="connsiteX17" fmla="*/ 45377 w 224538"/>
                <a:gd name="connsiteY17" fmla="*/ 13570 h 57270"/>
                <a:gd name="connsiteX18" fmla="*/ 45570 w 224538"/>
                <a:gd name="connsiteY18" fmla="*/ 13190 h 57270"/>
                <a:gd name="connsiteX19" fmla="*/ 47089 w 224538"/>
                <a:gd name="connsiteY19" fmla="*/ 10172 h 57270"/>
                <a:gd name="connsiteX20" fmla="*/ 51162 w 224538"/>
                <a:gd name="connsiteY20" fmla="*/ 7728 h 57270"/>
                <a:gd name="connsiteX21" fmla="*/ 63773 w 224538"/>
                <a:gd name="connsiteY21" fmla="*/ 14207 h 57270"/>
                <a:gd name="connsiteX22" fmla="*/ 66299 w 224538"/>
                <a:gd name="connsiteY22" fmla="*/ 8451 h 57270"/>
                <a:gd name="connsiteX23" fmla="*/ 66294 w 224538"/>
                <a:gd name="connsiteY23" fmla="*/ 8272 h 57270"/>
                <a:gd name="connsiteX24" fmla="*/ 68762 w 224538"/>
                <a:gd name="connsiteY24" fmla="*/ 8128 h 57270"/>
                <a:gd name="connsiteX25" fmla="*/ 73304 w 224538"/>
                <a:gd name="connsiteY25" fmla="*/ 11396 h 57270"/>
                <a:gd name="connsiteX26" fmla="*/ 73559 w 224538"/>
                <a:gd name="connsiteY26" fmla="*/ 11570 h 57270"/>
                <a:gd name="connsiteX27" fmla="*/ 73694 w 224538"/>
                <a:gd name="connsiteY27" fmla="*/ 11661 h 57270"/>
                <a:gd name="connsiteX28" fmla="*/ 73839 w 224538"/>
                <a:gd name="connsiteY28" fmla="*/ 11719 h 57270"/>
                <a:gd name="connsiteX29" fmla="*/ 74094 w 224538"/>
                <a:gd name="connsiteY29" fmla="*/ 11816 h 57270"/>
                <a:gd name="connsiteX30" fmla="*/ 80178 w 224538"/>
                <a:gd name="connsiteY30" fmla="*/ 13956 h 57270"/>
                <a:gd name="connsiteX31" fmla="*/ 85601 w 224538"/>
                <a:gd name="connsiteY31" fmla="*/ 18164 h 57270"/>
                <a:gd name="connsiteX32" fmla="*/ 86252 w 224538"/>
                <a:gd name="connsiteY32" fmla="*/ 18637 h 57270"/>
                <a:gd name="connsiteX33" fmla="*/ 86638 w 224538"/>
                <a:gd name="connsiteY33" fmla="*/ 18921 h 57270"/>
                <a:gd name="connsiteX34" fmla="*/ 87125 w 224538"/>
                <a:gd name="connsiteY34" fmla="*/ 18883 h 57270"/>
                <a:gd name="connsiteX35" fmla="*/ 87828 w 224538"/>
                <a:gd name="connsiteY35" fmla="*/ 18830 h 57270"/>
                <a:gd name="connsiteX36" fmla="*/ 87978 w 224538"/>
                <a:gd name="connsiteY36" fmla="*/ 18815 h 57270"/>
                <a:gd name="connsiteX37" fmla="*/ 87983 w 224538"/>
                <a:gd name="connsiteY37" fmla="*/ 18815 h 57270"/>
                <a:gd name="connsiteX38" fmla="*/ 100497 w 224538"/>
                <a:gd name="connsiteY38" fmla="*/ 21491 h 57270"/>
                <a:gd name="connsiteX39" fmla="*/ 116116 w 224538"/>
                <a:gd name="connsiteY39" fmla="*/ 23038 h 57270"/>
                <a:gd name="connsiteX40" fmla="*/ 116348 w 224538"/>
                <a:gd name="connsiteY40" fmla="*/ 23607 h 57270"/>
                <a:gd name="connsiteX41" fmla="*/ 123723 w 224538"/>
                <a:gd name="connsiteY41" fmla="*/ 32034 h 57270"/>
                <a:gd name="connsiteX42" fmla="*/ 133476 w 224538"/>
                <a:gd name="connsiteY42" fmla="*/ 37601 h 57270"/>
                <a:gd name="connsiteX43" fmla="*/ 146940 w 224538"/>
                <a:gd name="connsiteY43" fmla="*/ 50203 h 57270"/>
                <a:gd name="connsiteX44" fmla="*/ 149283 w 224538"/>
                <a:gd name="connsiteY44" fmla="*/ 50608 h 57270"/>
                <a:gd name="connsiteX45" fmla="*/ 150493 w 224538"/>
                <a:gd name="connsiteY45" fmla="*/ 50825 h 57270"/>
                <a:gd name="connsiteX46" fmla="*/ 156697 w 224538"/>
                <a:gd name="connsiteY46" fmla="*/ 51784 h 57270"/>
                <a:gd name="connsiteX47" fmla="*/ 159069 w 224538"/>
                <a:gd name="connsiteY47" fmla="*/ 54498 h 57270"/>
                <a:gd name="connsiteX48" fmla="*/ 165509 w 224538"/>
                <a:gd name="connsiteY48" fmla="*/ 57140 h 57270"/>
                <a:gd name="connsiteX49" fmla="*/ 165779 w 224538"/>
                <a:gd name="connsiteY49" fmla="*/ 57106 h 57270"/>
                <a:gd name="connsiteX50" fmla="*/ 166184 w 224538"/>
                <a:gd name="connsiteY50" fmla="*/ 57058 h 57270"/>
                <a:gd name="connsiteX51" fmla="*/ 173088 w 224538"/>
                <a:gd name="connsiteY51" fmla="*/ 50622 h 57270"/>
                <a:gd name="connsiteX52" fmla="*/ 173343 w 224538"/>
                <a:gd name="connsiteY52" fmla="*/ 50034 h 57270"/>
                <a:gd name="connsiteX53" fmla="*/ 173463 w 224538"/>
                <a:gd name="connsiteY53" fmla="*/ 49972 h 57270"/>
                <a:gd name="connsiteX54" fmla="*/ 173661 w 224538"/>
                <a:gd name="connsiteY54" fmla="*/ 49861 h 57270"/>
                <a:gd name="connsiteX55" fmla="*/ 173820 w 224538"/>
                <a:gd name="connsiteY55" fmla="*/ 49687 h 57270"/>
                <a:gd name="connsiteX56" fmla="*/ 173796 w 224538"/>
                <a:gd name="connsiteY56" fmla="*/ 49726 h 57270"/>
                <a:gd name="connsiteX57" fmla="*/ 173849 w 224538"/>
                <a:gd name="connsiteY57" fmla="*/ 49682 h 57270"/>
                <a:gd name="connsiteX58" fmla="*/ 173902 w 224538"/>
                <a:gd name="connsiteY58" fmla="*/ 49634 h 57270"/>
                <a:gd name="connsiteX59" fmla="*/ 177551 w 224538"/>
                <a:gd name="connsiteY59" fmla="*/ 46211 h 57270"/>
                <a:gd name="connsiteX60" fmla="*/ 182681 w 224538"/>
                <a:gd name="connsiteY60" fmla="*/ 44968 h 57270"/>
                <a:gd name="connsiteX61" fmla="*/ 183703 w 224538"/>
                <a:gd name="connsiteY61" fmla="*/ 44717 h 57270"/>
                <a:gd name="connsiteX62" fmla="*/ 184435 w 224538"/>
                <a:gd name="connsiteY62" fmla="*/ 44539 h 57270"/>
                <a:gd name="connsiteX63" fmla="*/ 184653 w 224538"/>
                <a:gd name="connsiteY63" fmla="*/ 43820 h 57270"/>
                <a:gd name="connsiteX64" fmla="*/ 184956 w 224538"/>
                <a:gd name="connsiteY64" fmla="*/ 42818 h 57270"/>
                <a:gd name="connsiteX65" fmla="*/ 187622 w 224538"/>
                <a:gd name="connsiteY65" fmla="*/ 37563 h 57270"/>
                <a:gd name="connsiteX66" fmla="*/ 191006 w 224538"/>
                <a:gd name="connsiteY66" fmla="*/ 36811 h 57270"/>
                <a:gd name="connsiteX67" fmla="*/ 195726 w 224538"/>
                <a:gd name="connsiteY67" fmla="*/ 37573 h 57270"/>
                <a:gd name="connsiteX68" fmla="*/ 197543 w 224538"/>
                <a:gd name="connsiteY68" fmla="*/ 39949 h 57270"/>
                <a:gd name="connsiteX69" fmla="*/ 197982 w 224538"/>
                <a:gd name="connsiteY69" fmla="*/ 40528 h 57270"/>
                <a:gd name="connsiteX70" fmla="*/ 198305 w 224538"/>
                <a:gd name="connsiteY70" fmla="*/ 40952 h 57270"/>
                <a:gd name="connsiteX71" fmla="*/ 198830 w 224538"/>
                <a:gd name="connsiteY71" fmla="*/ 41029 h 57270"/>
                <a:gd name="connsiteX72" fmla="*/ 199568 w 224538"/>
                <a:gd name="connsiteY72" fmla="*/ 41140 h 57270"/>
                <a:gd name="connsiteX73" fmla="*/ 205483 w 224538"/>
                <a:gd name="connsiteY73" fmla="*/ 42036 h 57270"/>
                <a:gd name="connsiteX74" fmla="*/ 205690 w 224538"/>
                <a:gd name="connsiteY74" fmla="*/ 42080 h 57270"/>
                <a:gd name="connsiteX75" fmla="*/ 205921 w 224538"/>
                <a:gd name="connsiteY75" fmla="*/ 42133 h 57270"/>
                <a:gd name="connsiteX76" fmla="*/ 206167 w 224538"/>
                <a:gd name="connsiteY76" fmla="*/ 42090 h 57270"/>
                <a:gd name="connsiteX77" fmla="*/ 206418 w 224538"/>
                <a:gd name="connsiteY77" fmla="*/ 42051 h 57270"/>
                <a:gd name="connsiteX78" fmla="*/ 212540 w 224538"/>
                <a:gd name="connsiteY78" fmla="*/ 41251 h 57270"/>
                <a:gd name="connsiteX79" fmla="*/ 217554 w 224538"/>
                <a:gd name="connsiteY79" fmla="*/ 42837 h 57270"/>
                <a:gd name="connsiteX80" fmla="*/ 218151 w 224538"/>
                <a:gd name="connsiteY80" fmla="*/ 43034 h 57270"/>
                <a:gd name="connsiteX81" fmla="*/ 218595 w 224538"/>
                <a:gd name="connsiteY81" fmla="*/ 43179 h 57270"/>
                <a:gd name="connsiteX82" fmla="*/ 219029 w 224538"/>
                <a:gd name="connsiteY82" fmla="*/ 43010 h 57270"/>
                <a:gd name="connsiteX83" fmla="*/ 219641 w 224538"/>
                <a:gd name="connsiteY83" fmla="*/ 42774 h 57270"/>
                <a:gd name="connsiteX84" fmla="*/ 223300 w 224538"/>
                <a:gd name="connsiteY84" fmla="*/ 41410 h 57270"/>
                <a:gd name="connsiteX85" fmla="*/ 224539 w 224538"/>
                <a:gd name="connsiteY85" fmla="*/ 40976 h 57270"/>
                <a:gd name="connsiteX86" fmla="*/ 224105 w 224538"/>
                <a:gd name="connsiteY86" fmla="*/ 39737 h 57270"/>
                <a:gd name="connsiteX87" fmla="*/ 222890 w 224538"/>
                <a:gd name="connsiteY87" fmla="*/ 36247 h 57270"/>
                <a:gd name="connsiteX88" fmla="*/ 222452 w 224538"/>
                <a:gd name="connsiteY88" fmla="*/ 34998 h 57270"/>
                <a:gd name="connsiteX89" fmla="*/ 221203 w 224538"/>
                <a:gd name="connsiteY89" fmla="*/ 35447 h 57270"/>
                <a:gd name="connsiteX90" fmla="*/ 218417 w 224538"/>
                <a:gd name="connsiteY90" fmla="*/ 36478 h 57270"/>
                <a:gd name="connsiteX91" fmla="*/ 213755 w 224538"/>
                <a:gd name="connsiteY91" fmla="*/ 35013 h 57270"/>
                <a:gd name="connsiteX92" fmla="*/ 213418 w 224538"/>
                <a:gd name="connsiteY92" fmla="*/ 34902 h 57270"/>
                <a:gd name="connsiteX93" fmla="*/ 213133 w 224538"/>
                <a:gd name="connsiteY93" fmla="*/ 34801 h 57270"/>
                <a:gd name="connsiteX94" fmla="*/ 212829 w 224538"/>
                <a:gd name="connsiteY94" fmla="*/ 34839 h 57270"/>
                <a:gd name="connsiteX95" fmla="*/ 212391 w 224538"/>
                <a:gd name="connsiteY95" fmla="*/ 34897 h 57270"/>
                <a:gd name="connsiteX96" fmla="*/ 205989 w 224538"/>
                <a:gd name="connsiteY96" fmla="*/ 35736 h 57270"/>
                <a:gd name="connsiteX97" fmla="*/ 201771 w 224538"/>
                <a:gd name="connsiteY97" fmla="*/ 35109 h 57270"/>
                <a:gd name="connsiteX98" fmla="*/ 199948 w 224538"/>
                <a:gd name="connsiteY98" fmla="*/ 32733 h 57270"/>
                <a:gd name="connsiteX99" fmla="*/ 199534 w 224538"/>
                <a:gd name="connsiteY99" fmla="*/ 32168 h 57270"/>
                <a:gd name="connsiteX100" fmla="*/ 199201 w 224538"/>
                <a:gd name="connsiteY100" fmla="*/ 31706 h 57270"/>
                <a:gd name="connsiteX101" fmla="*/ 198637 w 224538"/>
                <a:gd name="connsiteY101" fmla="*/ 31634 h 57270"/>
                <a:gd name="connsiteX102" fmla="*/ 197924 w 224538"/>
                <a:gd name="connsiteY102" fmla="*/ 31542 h 57270"/>
                <a:gd name="connsiteX103" fmla="*/ 191787 w 224538"/>
                <a:gd name="connsiteY103" fmla="*/ 30525 h 57270"/>
                <a:gd name="connsiteX104" fmla="*/ 191691 w 224538"/>
                <a:gd name="connsiteY104" fmla="*/ 30510 h 57270"/>
                <a:gd name="connsiteX105" fmla="*/ 191599 w 224538"/>
                <a:gd name="connsiteY105" fmla="*/ 30510 h 57270"/>
                <a:gd name="connsiteX106" fmla="*/ 191498 w 224538"/>
                <a:gd name="connsiteY106" fmla="*/ 30505 h 57270"/>
                <a:gd name="connsiteX107" fmla="*/ 184556 w 224538"/>
                <a:gd name="connsiteY107" fmla="*/ 32053 h 57270"/>
                <a:gd name="connsiteX108" fmla="*/ 179576 w 224538"/>
                <a:gd name="connsiteY108" fmla="*/ 39231 h 57270"/>
                <a:gd name="connsiteX109" fmla="*/ 175271 w 224538"/>
                <a:gd name="connsiteY109" fmla="*/ 40272 h 57270"/>
                <a:gd name="connsiteX110" fmla="*/ 174813 w 224538"/>
                <a:gd name="connsiteY110" fmla="*/ 40378 h 57270"/>
                <a:gd name="connsiteX111" fmla="*/ 174476 w 224538"/>
                <a:gd name="connsiteY111" fmla="*/ 40460 h 57270"/>
                <a:gd name="connsiteX112" fmla="*/ 174220 w 224538"/>
                <a:gd name="connsiteY112" fmla="*/ 40697 h 57270"/>
                <a:gd name="connsiteX113" fmla="*/ 173864 w 224538"/>
                <a:gd name="connsiteY113" fmla="*/ 41024 h 57270"/>
                <a:gd name="connsiteX114" fmla="*/ 169593 w 224538"/>
                <a:gd name="connsiteY114" fmla="*/ 45006 h 57270"/>
                <a:gd name="connsiteX115" fmla="*/ 169747 w 224538"/>
                <a:gd name="connsiteY115" fmla="*/ 44881 h 57270"/>
                <a:gd name="connsiteX116" fmla="*/ 166787 w 224538"/>
                <a:gd name="connsiteY116" fmla="*/ 50246 h 57270"/>
                <a:gd name="connsiteX117" fmla="*/ 165697 w 224538"/>
                <a:gd name="connsiteY117" fmla="*/ 50767 h 57270"/>
                <a:gd name="connsiteX118" fmla="*/ 164680 w 224538"/>
                <a:gd name="connsiteY118" fmla="*/ 50878 h 57270"/>
                <a:gd name="connsiteX119" fmla="*/ 164266 w 224538"/>
                <a:gd name="connsiteY119" fmla="*/ 50936 h 57270"/>
                <a:gd name="connsiteX120" fmla="*/ 156977 w 224538"/>
                <a:gd name="connsiteY120" fmla="*/ 45522 h 57270"/>
                <a:gd name="connsiteX121" fmla="*/ 156977 w 224538"/>
                <a:gd name="connsiteY121" fmla="*/ 45498 h 57270"/>
                <a:gd name="connsiteX122" fmla="*/ 156924 w 224538"/>
                <a:gd name="connsiteY122" fmla="*/ 45508 h 57270"/>
                <a:gd name="connsiteX123" fmla="*/ 156924 w 224538"/>
                <a:gd name="connsiteY123" fmla="*/ 45498 h 57270"/>
                <a:gd name="connsiteX124" fmla="*/ 151630 w 224538"/>
                <a:gd name="connsiteY124" fmla="*/ 44625 h 57270"/>
                <a:gd name="connsiteX125" fmla="*/ 147967 w 224538"/>
                <a:gd name="connsiteY125" fmla="*/ 43960 h 57270"/>
                <a:gd name="connsiteX126" fmla="*/ 138692 w 224538"/>
                <a:gd name="connsiteY126" fmla="*/ 34039 h 57270"/>
                <a:gd name="connsiteX127" fmla="*/ 125247 w 224538"/>
                <a:gd name="connsiteY127" fmla="*/ 25911 h 57270"/>
                <a:gd name="connsiteX128" fmla="*/ 122243 w 224538"/>
                <a:gd name="connsiteY128" fmla="*/ 21365 h 57270"/>
                <a:gd name="connsiteX129" fmla="*/ 120590 w 224538"/>
                <a:gd name="connsiteY129" fmla="*/ 17480 h 57270"/>
                <a:gd name="connsiteX130" fmla="*/ 119713 w 224538"/>
                <a:gd name="connsiteY130" fmla="*/ 15788 h 57270"/>
                <a:gd name="connsiteX131" fmla="*/ 119100 w 224538"/>
                <a:gd name="connsiteY131" fmla="*/ 14597 h 57270"/>
                <a:gd name="connsiteX132" fmla="*/ 117919 w 224538"/>
                <a:gd name="connsiteY132" fmla="*/ 15233 h 57270"/>
                <a:gd name="connsiteX133" fmla="*/ 116271 w 224538"/>
                <a:gd name="connsiteY133" fmla="*/ 16125 h 57270"/>
                <a:gd name="connsiteX134" fmla="*/ 104725 w 224538"/>
                <a:gd name="connsiteY134" fmla="*/ 16824 h 57270"/>
                <a:gd name="connsiteX135" fmla="*/ 88537 w 224538"/>
                <a:gd name="connsiteY135" fmla="*/ 12462 h 57270"/>
                <a:gd name="connsiteX136" fmla="*/ 83654 w 224538"/>
                <a:gd name="connsiteY136" fmla="*/ 8653 h 57270"/>
                <a:gd name="connsiteX137" fmla="*/ 83388 w 224538"/>
                <a:gd name="connsiteY137" fmla="*/ 8460 h 57270"/>
                <a:gd name="connsiteX138" fmla="*/ 83234 w 224538"/>
                <a:gd name="connsiteY138" fmla="*/ 8345 h 57270"/>
                <a:gd name="connsiteX139" fmla="*/ 83042 w 224538"/>
                <a:gd name="connsiteY139" fmla="*/ 8282 h 57270"/>
                <a:gd name="connsiteX140" fmla="*/ 82747 w 224538"/>
                <a:gd name="connsiteY140" fmla="*/ 8181 h 57270"/>
                <a:gd name="connsiteX141" fmla="*/ 76620 w 224538"/>
                <a:gd name="connsiteY141" fmla="*/ 6002 h 57270"/>
                <a:gd name="connsiteX142" fmla="*/ 71539 w 224538"/>
                <a:gd name="connsiteY142" fmla="*/ 2377 h 57270"/>
                <a:gd name="connsiteX143" fmla="*/ 71052 w 224538"/>
                <a:gd name="connsiteY143" fmla="*/ 2034 h 57270"/>
                <a:gd name="connsiteX144" fmla="*/ 70710 w 224538"/>
                <a:gd name="connsiteY144" fmla="*/ 1793 h 57270"/>
                <a:gd name="connsiteX145" fmla="*/ 70291 w 224538"/>
                <a:gd name="connsiteY145" fmla="*/ 1793 h 57270"/>
                <a:gd name="connsiteX146" fmla="*/ 69712 w 224538"/>
                <a:gd name="connsiteY146" fmla="*/ 1793 h 57270"/>
                <a:gd name="connsiteX147" fmla="*/ 64380 w 224538"/>
                <a:gd name="connsiteY147" fmla="*/ 2092 h 57270"/>
                <a:gd name="connsiteX148" fmla="*/ 61189 w 224538"/>
                <a:gd name="connsiteY148" fmla="*/ 3606 h 57270"/>
                <a:gd name="connsiteX149" fmla="*/ 60013 w 224538"/>
                <a:gd name="connsiteY149" fmla="*/ 6527 h 57270"/>
                <a:gd name="connsiteX150" fmla="*/ 53438 w 224538"/>
                <a:gd name="connsiteY150" fmla="*/ 1470 h 57270"/>
                <a:gd name="connsiteX151" fmla="*/ 52464 w 224538"/>
                <a:gd name="connsiteY151" fmla="*/ 627 h 57270"/>
                <a:gd name="connsiteX152" fmla="*/ 51746 w 224538"/>
                <a:gd name="connsiteY152" fmla="*/ 0 h 57270"/>
                <a:gd name="connsiteX153" fmla="*/ 50926 w 224538"/>
                <a:gd name="connsiteY153" fmla="*/ 497 h 57270"/>
                <a:gd name="connsiteX154" fmla="*/ 49798 w 224538"/>
                <a:gd name="connsiteY154" fmla="*/ 1181 h 57270"/>
                <a:gd name="connsiteX155" fmla="*/ 43063 w 224538"/>
                <a:gd name="connsiteY155" fmla="*/ 5231 h 57270"/>
                <a:gd name="connsiteX156" fmla="*/ 42600 w 224538"/>
                <a:gd name="connsiteY156" fmla="*/ 5510 h 57270"/>
                <a:gd name="connsiteX157" fmla="*/ 42287 w 224538"/>
                <a:gd name="connsiteY157" fmla="*/ 5708 h 57270"/>
                <a:gd name="connsiteX158" fmla="*/ 42119 w 224538"/>
                <a:gd name="connsiteY158" fmla="*/ 6036 h 57270"/>
                <a:gd name="connsiteX159" fmla="*/ 41873 w 224538"/>
                <a:gd name="connsiteY159" fmla="*/ 6503 h 57270"/>
                <a:gd name="connsiteX160" fmla="*/ 40238 w 224538"/>
                <a:gd name="connsiteY160" fmla="*/ 9752 h 57270"/>
                <a:gd name="connsiteX161" fmla="*/ 22985 w 224538"/>
                <a:gd name="connsiteY161" fmla="*/ 23212 h 57270"/>
                <a:gd name="connsiteX162" fmla="*/ 11198 w 224538"/>
                <a:gd name="connsiteY162" fmla="*/ 27430 h 57270"/>
                <a:gd name="connsiteX163" fmla="*/ 10654 w 224538"/>
                <a:gd name="connsiteY163" fmla="*/ 27603 h 57270"/>
                <a:gd name="connsiteX164" fmla="*/ 10205 w 224538"/>
                <a:gd name="connsiteY164" fmla="*/ 27748 h 57270"/>
                <a:gd name="connsiteX165" fmla="*/ 9945 w 224538"/>
                <a:gd name="connsiteY165" fmla="*/ 28148 h 57270"/>
                <a:gd name="connsiteX166" fmla="*/ 9622 w 224538"/>
                <a:gd name="connsiteY166" fmla="*/ 28654 h 57270"/>
                <a:gd name="connsiteX167" fmla="*/ 2391 w 224538"/>
                <a:gd name="connsiteY167" fmla="*/ 39356 h 57270"/>
                <a:gd name="connsiteX168" fmla="*/ 1316 w 224538"/>
                <a:gd name="connsiteY168" fmla="*/ 39409 h 57270"/>
                <a:gd name="connsiteX169" fmla="*/ 0 w 224538"/>
                <a:gd name="connsiteY169" fmla="*/ 39477 h 57270"/>
                <a:gd name="connsiteX170" fmla="*/ 67 w 224538"/>
                <a:gd name="connsiteY170" fmla="*/ 40788 h 57270"/>
                <a:gd name="connsiteX171" fmla="*/ 255 w 224538"/>
                <a:gd name="connsiteY171" fmla="*/ 44452 h 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224538" h="57270">
                  <a:moveTo>
                    <a:pt x="255" y="44452"/>
                  </a:moveTo>
                  <a:lnTo>
                    <a:pt x="328" y="45768"/>
                  </a:lnTo>
                  <a:lnTo>
                    <a:pt x="1644" y="45696"/>
                  </a:lnTo>
                  <a:lnTo>
                    <a:pt x="4300" y="45556"/>
                  </a:lnTo>
                  <a:cubicBezTo>
                    <a:pt x="4276" y="45556"/>
                    <a:pt x="5216" y="45522"/>
                    <a:pt x="5216" y="45522"/>
                  </a:cubicBezTo>
                  <a:lnTo>
                    <a:pt x="5915" y="45493"/>
                  </a:lnTo>
                  <a:lnTo>
                    <a:pt x="6286" y="44900"/>
                  </a:lnTo>
                  <a:lnTo>
                    <a:pt x="6768" y="44129"/>
                  </a:lnTo>
                  <a:cubicBezTo>
                    <a:pt x="6739" y="44167"/>
                    <a:pt x="13132" y="34714"/>
                    <a:pt x="14298" y="33003"/>
                  </a:cubicBezTo>
                  <a:lnTo>
                    <a:pt x="25593" y="28973"/>
                  </a:lnTo>
                  <a:cubicBezTo>
                    <a:pt x="25612" y="28968"/>
                    <a:pt x="25887" y="28866"/>
                    <a:pt x="25887" y="28866"/>
                  </a:cubicBezTo>
                  <a:lnTo>
                    <a:pt x="26080" y="28794"/>
                  </a:lnTo>
                  <a:lnTo>
                    <a:pt x="26244" y="28664"/>
                  </a:lnTo>
                  <a:lnTo>
                    <a:pt x="26471" y="28486"/>
                  </a:lnTo>
                  <a:cubicBezTo>
                    <a:pt x="26471" y="28490"/>
                    <a:pt x="44678" y="14274"/>
                    <a:pt x="44678" y="14274"/>
                  </a:cubicBezTo>
                  <a:cubicBezTo>
                    <a:pt x="44664" y="14284"/>
                    <a:pt x="45001" y="14028"/>
                    <a:pt x="45001" y="14028"/>
                  </a:cubicBezTo>
                  <a:lnTo>
                    <a:pt x="45242" y="13840"/>
                  </a:lnTo>
                  <a:lnTo>
                    <a:pt x="45377" y="13570"/>
                  </a:lnTo>
                  <a:lnTo>
                    <a:pt x="45570" y="13190"/>
                  </a:lnTo>
                  <a:cubicBezTo>
                    <a:pt x="45565" y="13190"/>
                    <a:pt x="46674" y="11010"/>
                    <a:pt x="47089" y="10172"/>
                  </a:cubicBezTo>
                  <a:lnTo>
                    <a:pt x="51162" y="7728"/>
                  </a:lnTo>
                  <a:cubicBezTo>
                    <a:pt x="59786" y="14766"/>
                    <a:pt x="62149" y="14828"/>
                    <a:pt x="63773" y="14207"/>
                  </a:cubicBezTo>
                  <a:cubicBezTo>
                    <a:pt x="66743" y="13093"/>
                    <a:pt x="66425" y="9719"/>
                    <a:pt x="66299" y="8451"/>
                  </a:cubicBezTo>
                  <a:cubicBezTo>
                    <a:pt x="66299" y="8417"/>
                    <a:pt x="66294" y="8330"/>
                    <a:pt x="66294" y="8272"/>
                  </a:cubicBezTo>
                  <a:cubicBezTo>
                    <a:pt x="67379" y="8190"/>
                    <a:pt x="68213" y="8142"/>
                    <a:pt x="68762" y="8128"/>
                  </a:cubicBezTo>
                  <a:lnTo>
                    <a:pt x="73304" y="11396"/>
                  </a:lnTo>
                  <a:cubicBezTo>
                    <a:pt x="73333" y="11411"/>
                    <a:pt x="73559" y="11570"/>
                    <a:pt x="73559" y="11570"/>
                  </a:cubicBezTo>
                  <a:lnTo>
                    <a:pt x="73694" y="11661"/>
                  </a:lnTo>
                  <a:lnTo>
                    <a:pt x="73839" y="11719"/>
                  </a:lnTo>
                  <a:lnTo>
                    <a:pt x="74094" y="11816"/>
                  </a:lnTo>
                  <a:cubicBezTo>
                    <a:pt x="74118" y="11821"/>
                    <a:pt x="79224" y="13623"/>
                    <a:pt x="80178" y="13956"/>
                  </a:cubicBezTo>
                  <a:lnTo>
                    <a:pt x="85601" y="18164"/>
                  </a:lnTo>
                  <a:cubicBezTo>
                    <a:pt x="85640" y="18193"/>
                    <a:pt x="86252" y="18637"/>
                    <a:pt x="86252" y="18637"/>
                  </a:cubicBezTo>
                  <a:lnTo>
                    <a:pt x="86638" y="18921"/>
                  </a:lnTo>
                  <a:lnTo>
                    <a:pt x="87125" y="18883"/>
                  </a:lnTo>
                  <a:lnTo>
                    <a:pt x="87828" y="18830"/>
                  </a:lnTo>
                  <a:lnTo>
                    <a:pt x="87978" y="18815"/>
                  </a:lnTo>
                  <a:lnTo>
                    <a:pt x="87983" y="18815"/>
                  </a:lnTo>
                  <a:cubicBezTo>
                    <a:pt x="89786" y="18613"/>
                    <a:pt x="97239" y="18478"/>
                    <a:pt x="100497" y="21491"/>
                  </a:cubicBezTo>
                  <a:cubicBezTo>
                    <a:pt x="101948" y="22792"/>
                    <a:pt x="107208" y="26461"/>
                    <a:pt x="116116" y="23038"/>
                  </a:cubicBezTo>
                  <a:cubicBezTo>
                    <a:pt x="116194" y="23231"/>
                    <a:pt x="116280" y="23424"/>
                    <a:pt x="116348" y="23607"/>
                  </a:cubicBezTo>
                  <a:cubicBezTo>
                    <a:pt x="117654" y="27044"/>
                    <a:pt x="119134" y="30910"/>
                    <a:pt x="123723" y="32034"/>
                  </a:cubicBezTo>
                  <a:cubicBezTo>
                    <a:pt x="125888" y="32593"/>
                    <a:pt x="131215" y="34251"/>
                    <a:pt x="133476" y="37601"/>
                  </a:cubicBezTo>
                  <a:cubicBezTo>
                    <a:pt x="134295" y="38802"/>
                    <a:pt x="141618" y="49292"/>
                    <a:pt x="146940" y="50203"/>
                  </a:cubicBezTo>
                  <a:cubicBezTo>
                    <a:pt x="147625" y="50304"/>
                    <a:pt x="148435" y="50449"/>
                    <a:pt x="149283" y="50608"/>
                  </a:cubicBezTo>
                  <a:lnTo>
                    <a:pt x="150493" y="50825"/>
                  </a:lnTo>
                  <a:cubicBezTo>
                    <a:pt x="153998" y="51495"/>
                    <a:pt x="155603" y="51760"/>
                    <a:pt x="156697" y="51784"/>
                  </a:cubicBezTo>
                  <a:cubicBezTo>
                    <a:pt x="157218" y="52223"/>
                    <a:pt x="158240" y="53278"/>
                    <a:pt x="159069" y="54498"/>
                  </a:cubicBezTo>
                  <a:cubicBezTo>
                    <a:pt x="161190" y="57747"/>
                    <a:pt x="164107" y="57337"/>
                    <a:pt x="165509" y="57140"/>
                  </a:cubicBezTo>
                  <a:cubicBezTo>
                    <a:pt x="165577" y="57130"/>
                    <a:pt x="165678" y="57121"/>
                    <a:pt x="165779" y="57106"/>
                  </a:cubicBezTo>
                  <a:cubicBezTo>
                    <a:pt x="165924" y="57087"/>
                    <a:pt x="166068" y="57068"/>
                    <a:pt x="166184" y="57058"/>
                  </a:cubicBezTo>
                  <a:cubicBezTo>
                    <a:pt x="169438" y="56783"/>
                    <a:pt x="172842" y="54488"/>
                    <a:pt x="173088" y="50622"/>
                  </a:cubicBezTo>
                  <a:cubicBezTo>
                    <a:pt x="173117" y="50222"/>
                    <a:pt x="173309" y="50063"/>
                    <a:pt x="173343" y="50034"/>
                  </a:cubicBezTo>
                  <a:cubicBezTo>
                    <a:pt x="173280" y="50073"/>
                    <a:pt x="173463" y="49972"/>
                    <a:pt x="173463" y="49972"/>
                  </a:cubicBezTo>
                  <a:lnTo>
                    <a:pt x="173661" y="49861"/>
                  </a:lnTo>
                  <a:lnTo>
                    <a:pt x="173820" y="49687"/>
                  </a:lnTo>
                  <a:cubicBezTo>
                    <a:pt x="173738" y="49764"/>
                    <a:pt x="173772" y="49740"/>
                    <a:pt x="173796" y="49726"/>
                  </a:cubicBezTo>
                  <a:lnTo>
                    <a:pt x="173849" y="49682"/>
                  </a:lnTo>
                  <a:cubicBezTo>
                    <a:pt x="173854" y="49682"/>
                    <a:pt x="173902" y="49634"/>
                    <a:pt x="173902" y="49634"/>
                  </a:cubicBezTo>
                  <a:lnTo>
                    <a:pt x="177551" y="46211"/>
                  </a:lnTo>
                  <a:lnTo>
                    <a:pt x="182681" y="44968"/>
                  </a:lnTo>
                  <a:cubicBezTo>
                    <a:pt x="182686" y="44968"/>
                    <a:pt x="183703" y="44717"/>
                    <a:pt x="183703" y="44717"/>
                  </a:cubicBezTo>
                  <a:lnTo>
                    <a:pt x="184435" y="44539"/>
                  </a:lnTo>
                  <a:lnTo>
                    <a:pt x="184653" y="43820"/>
                  </a:lnTo>
                  <a:lnTo>
                    <a:pt x="184956" y="42818"/>
                  </a:lnTo>
                  <a:cubicBezTo>
                    <a:pt x="185819" y="40161"/>
                    <a:pt x="187135" y="37886"/>
                    <a:pt x="187622" y="37563"/>
                  </a:cubicBezTo>
                  <a:cubicBezTo>
                    <a:pt x="188866" y="36864"/>
                    <a:pt x="190481" y="36806"/>
                    <a:pt x="191006" y="36811"/>
                  </a:cubicBezTo>
                  <a:lnTo>
                    <a:pt x="195726" y="37573"/>
                  </a:lnTo>
                  <a:lnTo>
                    <a:pt x="197543" y="39949"/>
                  </a:lnTo>
                  <a:lnTo>
                    <a:pt x="197982" y="40528"/>
                  </a:lnTo>
                  <a:lnTo>
                    <a:pt x="198305" y="40952"/>
                  </a:lnTo>
                  <a:lnTo>
                    <a:pt x="198830" y="41029"/>
                  </a:lnTo>
                  <a:lnTo>
                    <a:pt x="199568" y="41140"/>
                  </a:lnTo>
                  <a:lnTo>
                    <a:pt x="205483" y="42036"/>
                  </a:lnTo>
                  <a:cubicBezTo>
                    <a:pt x="205410" y="42022"/>
                    <a:pt x="205690" y="42080"/>
                    <a:pt x="205690" y="42080"/>
                  </a:cubicBezTo>
                  <a:lnTo>
                    <a:pt x="205921" y="42133"/>
                  </a:lnTo>
                  <a:lnTo>
                    <a:pt x="206167" y="42090"/>
                  </a:lnTo>
                  <a:lnTo>
                    <a:pt x="206418" y="42051"/>
                  </a:lnTo>
                  <a:cubicBezTo>
                    <a:pt x="206384" y="42056"/>
                    <a:pt x="211296" y="41415"/>
                    <a:pt x="212540" y="41251"/>
                  </a:cubicBezTo>
                  <a:lnTo>
                    <a:pt x="217554" y="42837"/>
                  </a:lnTo>
                  <a:cubicBezTo>
                    <a:pt x="217544" y="42837"/>
                    <a:pt x="218151" y="43034"/>
                    <a:pt x="218151" y="43034"/>
                  </a:cubicBezTo>
                  <a:lnTo>
                    <a:pt x="218595" y="43179"/>
                  </a:lnTo>
                  <a:lnTo>
                    <a:pt x="219029" y="43010"/>
                  </a:lnTo>
                  <a:lnTo>
                    <a:pt x="219641" y="42774"/>
                  </a:lnTo>
                  <a:cubicBezTo>
                    <a:pt x="219834" y="42692"/>
                    <a:pt x="221410" y="42075"/>
                    <a:pt x="223300" y="41410"/>
                  </a:cubicBezTo>
                  <a:lnTo>
                    <a:pt x="224539" y="40976"/>
                  </a:lnTo>
                  <a:lnTo>
                    <a:pt x="224105" y="39737"/>
                  </a:lnTo>
                  <a:lnTo>
                    <a:pt x="222890" y="36247"/>
                  </a:lnTo>
                  <a:lnTo>
                    <a:pt x="222452" y="34998"/>
                  </a:lnTo>
                  <a:lnTo>
                    <a:pt x="221203" y="35447"/>
                  </a:lnTo>
                  <a:cubicBezTo>
                    <a:pt x="220041" y="35856"/>
                    <a:pt x="219116" y="36213"/>
                    <a:pt x="218417" y="36478"/>
                  </a:cubicBezTo>
                  <a:lnTo>
                    <a:pt x="213755" y="35013"/>
                  </a:lnTo>
                  <a:cubicBezTo>
                    <a:pt x="213774" y="35023"/>
                    <a:pt x="213418" y="34902"/>
                    <a:pt x="213418" y="34902"/>
                  </a:cubicBezTo>
                  <a:lnTo>
                    <a:pt x="213133" y="34801"/>
                  </a:lnTo>
                  <a:lnTo>
                    <a:pt x="212829" y="34839"/>
                  </a:lnTo>
                  <a:lnTo>
                    <a:pt x="212391" y="34897"/>
                  </a:lnTo>
                  <a:lnTo>
                    <a:pt x="205989" y="35736"/>
                  </a:lnTo>
                  <a:lnTo>
                    <a:pt x="201771" y="35109"/>
                  </a:lnTo>
                  <a:lnTo>
                    <a:pt x="199948" y="32733"/>
                  </a:lnTo>
                  <a:cubicBezTo>
                    <a:pt x="199968" y="32762"/>
                    <a:pt x="199534" y="32168"/>
                    <a:pt x="199534" y="32168"/>
                  </a:cubicBezTo>
                  <a:lnTo>
                    <a:pt x="199201" y="31706"/>
                  </a:lnTo>
                  <a:lnTo>
                    <a:pt x="198637" y="31634"/>
                  </a:lnTo>
                  <a:lnTo>
                    <a:pt x="197924" y="31542"/>
                  </a:lnTo>
                  <a:cubicBezTo>
                    <a:pt x="197982" y="31551"/>
                    <a:pt x="191787" y="30525"/>
                    <a:pt x="191787" y="30525"/>
                  </a:cubicBezTo>
                  <a:lnTo>
                    <a:pt x="191691" y="30510"/>
                  </a:lnTo>
                  <a:lnTo>
                    <a:pt x="191599" y="30510"/>
                  </a:lnTo>
                  <a:cubicBezTo>
                    <a:pt x="191594" y="30510"/>
                    <a:pt x="191498" y="30505"/>
                    <a:pt x="191498" y="30505"/>
                  </a:cubicBezTo>
                  <a:cubicBezTo>
                    <a:pt x="190505" y="30467"/>
                    <a:pt x="187357" y="30486"/>
                    <a:pt x="184556" y="32053"/>
                  </a:cubicBezTo>
                  <a:cubicBezTo>
                    <a:pt x="182710" y="33070"/>
                    <a:pt x="181042" y="35519"/>
                    <a:pt x="179576" y="39231"/>
                  </a:cubicBezTo>
                  <a:lnTo>
                    <a:pt x="175271" y="40272"/>
                  </a:lnTo>
                  <a:cubicBezTo>
                    <a:pt x="175286" y="40272"/>
                    <a:pt x="174813" y="40378"/>
                    <a:pt x="174813" y="40378"/>
                  </a:cubicBezTo>
                  <a:lnTo>
                    <a:pt x="174476" y="40460"/>
                  </a:lnTo>
                  <a:lnTo>
                    <a:pt x="174220" y="40697"/>
                  </a:lnTo>
                  <a:lnTo>
                    <a:pt x="173864" y="41024"/>
                  </a:lnTo>
                  <a:cubicBezTo>
                    <a:pt x="173854" y="41034"/>
                    <a:pt x="169593" y="45006"/>
                    <a:pt x="169593" y="45006"/>
                  </a:cubicBezTo>
                  <a:lnTo>
                    <a:pt x="169747" y="44881"/>
                  </a:lnTo>
                  <a:cubicBezTo>
                    <a:pt x="169101" y="45324"/>
                    <a:pt x="166980" y="47026"/>
                    <a:pt x="166787" y="50246"/>
                  </a:cubicBezTo>
                  <a:cubicBezTo>
                    <a:pt x="166782" y="50386"/>
                    <a:pt x="166170" y="50738"/>
                    <a:pt x="165697" y="50767"/>
                  </a:cubicBezTo>
                  <a:cubicBezTo>
                    <a:pt x="165394" y="50796"/>
                    <a:pt x="165051" y="50834"/>
                    <a:pt x="164680" y="50878"/>
                  </a:cubicBezTo>
                  <a:cubicBezTo>
                    <a:pt x="164536" y="50897"/>
                    <a:pt x="164386" y="50916"/>
                    <a:pt x="164266" y="50936"/>
                  </a:cubicBezTo>
                  <a:cubicBezTo>
                    <a:pt x="163041" y="49084"/>
                    <a:pt x="160048" y="45199"/>
                    <a:pt x="156977" y="45522"/>
                  </a:cubicBezTo>
                  <a:lnTo>
                    <a:pt x="156977" y="45498"/>
                  </a:lnTo>
                  <a:cubicBezTo>
                    <a:pt x="156967" y="45498"/>
                    <a:pt x="156933" y="45508"/>
                    <a:pt x="156924" y="45508"/>
                  </a:cubicBezTo>
                  <a:lnTo>
                    <a:pt x="156924" y="45498"/>
                  </a:lnTo>
                  <a:cubicBezTo>
                    <a:pt x="156336" y="45508"/>
                    <a:pt x="152918" y="44866"/>
                    <a:pt x="151630" y="44625"/>
                  </a:cubicBezTo>
                  <a:cubicBezTo>
                    <a:pt x="150160" y="44346"/>
                    <a:pt x="148950" y="44124"/>
                    <a:pt x="147967" y="43960"/>
                  </a:cubicBezTo>
                  <a:cubicBezTo>
                    <a:pt x="146848" y="43743"/>
                    <a:pt x="142356" y="39385"/>
                    <a:pt x="138692" y="34039"/>
                  </a:cubicBezTo>
                  <a:cubicBezTo>
                    <a:pt x="135192" y="28862"/>
                    <a:pt x="128125" y="26630"/>
                    <a:pt x="125247" y="25911"/>
                  </a:cubicBezTo>
                  <a:cubicBezTo>
                    <a:pt x="123984" y="25603"/>
                    <a:pt x="123425" y="24422"/>
                    <a:pt x="122243" y="21365"/>
                  </a:cubicBezTo>
                  <a:cubicBezTo>
                    <a:pt x="121742" y="20059"/>
                    <a:pt x="121246" y="18777"/>
                    <a:pt x="120590" y="17480"/>
                  </a:cubicBezTo>
                  <a:cubicBezTo>
                    <a:pt x="120580" y="17465"/>
                    <a:pt x="119713" y="15788"/>
                    <a:pt x="119713" y="15788"/>
                  </a:cubicBezTo>
                  <a:lnTo>
                    <a:pt x="119100" y="14597"/>
                  </a:lnTo>
                  <a:lnTo>
                    <a:pt x="117919" y="15233"/>
                  </a:lnTo>
                  <a:lnTo>
                    <a:pt x="116271" y="16125"/>
                  </a:lnTo>
                  <a:cubicBezTo>
                    <a:pt x="110626" y="19206"/>
                    <a:pt x="106528" y="18425"/>
                    <a:pt x="104725" y="16824"/>
                  </a:cubicBezTo>
                  <a:cubicBezTo>
                    <a:pt x="99904" y="12360"/>
                    <a:pt x="91622" y="12307"/>
                    <a:pt x="88537" y="12462"/>
                  </a:cubicBezTo>
                  <a:lnTo>
                    <a:pt x="83654" y="8653"/>
                  </a:lnTo>
                  <a:cubicBezTo>
                    <a:pt x="83620" y="8629"/>
                    <a:pt x="83388" y="8460"/>
                    <a:pt x="83388" y="8460"/>
                  </a:cubicBezTo>
                  <a:lnTo>
                    <a:pt x="83234" y="8345"/>
                  </a:lnTo>
                  <a:lnTo>
                    <a:pt x="83042" y="8282"/>
                  </a:lnTo>
                  <a:lnTo>
                    <a:pt x="82747" y="8181"/>
                  </a:lnTo>
                  <a:cubicBezTo>
                    <a:pt x="82762" y="8181"/>
                    <a:pt x="77459" y="6301"/>
                    <a:pt x="76620" y="6002"/>
                  </a:cubicBezTo>
                  <a:lnTo>
                    <a:pt x="71539" y="2377"/>
                  </a:lnTo>
                  <a:cubicBezTo>
                    <a:pt x="71534" y="2377"/>
                    <a:pt x="71052" y="2034"/>
                    <a:pt x="71052" y="2034"/>
                  </a:cubicBezTo>
                  <a:lnTo>
                    <a:pt x="70710" y="1793"/>
                  </a:lnTo>
                  <a:lnTo>
                    <a:pt x="70291" y="1793"/>
                  </a:lnTo>
                  <a:lnTo>
                    <a:pt x="69712" y="1793"/>
                  </a:lnTo>
                  <a:cubicBezTo>
                    <a:pt x="69495" y="1793"/>
                    <a:pt x="67528" y="1803"/>
                    <a:pt x="64380" y="2092"/>
                  </a:cubicBezTo>
                  <a:cubicBezTo>
                    <a:pt x="63050" y="2189"/>
                    <a:pt x="61965" y="2700"/>
                    <a:pt x="61189" y="3606"/>
                  </a:cubicBezTo>
                  <a:cubicBezTo>
                    <a:pt x="60452" y="4474"/>
                    <a:pt x="60134" y="5539"/>
                    <a:pt x="60013" y="6527"/>
                  </a:cubicBezTo>
                  <a:cubicBezTo>
                    <a:pt x="58109" y="5211"/>
                    <a:pt x="55660" y="3341"/>
                    <a:pt x="53438" y="1470"/>
                  </a:cubicBezTo>
                  <a:cubicBezTo>
                    <a:pt x="53452" y="1480"/>
                    <a:pt x="52464" y="627"/>
                    <a:pt x="52464" y="627"/>
                  </a:cubicBezTo>
                  <a:lnTo>
                    <a:pt x="51746" y="0"/>
                  </a:lnTo>
                  <a:lnTo>
                    <a:pt x="50926" y="497"/>
                  </a:lnTo>
                  <a:lnTo>
                    <a:pt x="49798" y="1181"/>
                  </a:lnTo>
                  <a:cubicBezTo>
                    <a:pt x="49798" y="1181"/>
                    <a:pt x="43063" y="5231"/>
                    <a:pt x="43063" y="5231"/>
                  </a:cubicBezTo>
                  <a:cubicBezTo>
                    <a:pt x="43054" y="5235"/>
                    <a:pt x="42600" y="5510"/>
                    <a:pt x="42600" y="5510"/>
                  </a:cubicBezTo>
                  <a:lnTo>
                    <a:pt x="42287" y="5708"/>
                  </a:lnTo>
                  <a:lnTo>
                    <a:pt x="42119" y="6036"/>
                  </a:lnTo>
                  <a:lnTo>
                    <a:pt x="41873" y="6503"/>
                  </a:lnTo>
                  <a:cubicBezTo>
                    <a:pt x="41868" y="6513"/>
                    <a:pt x="40639" y="8962"/>
                    <a:pt x="40238" y="9752"/>
                  </a:cubicBezTo>
                  <a:lnTo>
                    <a:pt x="22985" y="23212"/>
                  </a:lnTo>
                  <a:lnTo>
                    <a:pt x="11198" y="27430"/>
                  </a:lnTo>
                  <a:cubicBezTo>
                    <a:pt x="11237" y="27415"/>
                    <a:pt x="10654" y="27603"/>
                    <a:pt x="10654" y="27603"/>
                  </a:cubicBezTo>
                  <a:lnTo>
                    <a:pt x="10205" y="27748"/>
                  </a:lnTo>
                  <a:lnTo>
                    <a:pt x="9945" y="28148"/>
                  </a:lnTo>
                  <a:lnTo>
                    <a:pt x="9622" y="28654"/>
                  </a:lnTo>
                  <a:cubicBezTo>
                    <a:pt x="9637" y="28630"/>
                    <a:pt x="3895" y="37129"/>
                    <a:pt x="2391" y="39356"/>
                  </a:cubicBezTo>
                  <a:lnTo>
                    <a:pt x="1316" y="39409"/>
                  </a:lnTo>
                  <a:lnTo>
                    <a:pt x="0" y="39477"/>
                  </a:lnTo>
                  <a:lnTo>
                    <a:pt x="67" y="40788"/>
                  </a:lnTo>
                  <a:lnTo>
                    <a:pt x="255" y="4445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69" name="Freihandform: Form 668">
              <a:extLst>
                <a:ext uri="{FF2B5EF4-FFF2-40B4-BE49-F238E27FC236}">
                  <a16:creationId xmlns:a16="http://schemas.microsoft.com/office/drawing/2014/main" id="{D7E047F1-619A-1599-CA38-29C4DCF98CE0}"/>
                </a:ext>
              </a:extLst>
            </p:cNvPr>
            <p:cNvSpPr/>
            <p:nvPr/>
          </p:nvSpPr>
          <p:spPr>
            <a:xfrm>
              <a:off x="5238883" y="3467094"/>
              <a:ext cx="82541" cy="26989"/>
            </a:xfrm>
            <a:custGeom>
              <a:avLst/>
              <a:gdLst>
                <a:gd name="connsiteX0" fmla="*/ 3871 w 64732"/>
                <a:gd name="connsiteY0" fmla="*/ 8089 h 21717"/>
                <a:gd name="connsiteX1" fmla="*/ 8287 w 64732"/>
                <a:gd name="connsiteY1" fmla="*/ 9478 h 21717"/>
                <a:gd name="connsiteX2" fmla="*/ 8928 w 64732"/>
                <a:gd name="connsiteY2" fmla="*/ 9680 h 21717"/>
                <a:gd name="connsiteX3" fmla="*/ 9371 w 64732"/>
                <a:gd name="connsiteY3" fmla="*/ 9815 h 21717"/>
                <a:gd name="connsiteX4" fmla="*/ 9805 w 64732"/>
                <a:gd name="connsiteY4" fmla="*/ 9641 h 21717"/>
                <a:gd name="connsiteX5" fmla="*/ 10422 w 64732"/>
                <a:gd name="connsiteY5" fmla="*/ 9391 h 21717"/>
                <a:gd name="connsiteX6" fmla="*/ 17099 w 64732"/>
                <a:gd name="connsiteY6" fmla="*/ 6691 h 21717"/>
                <a:gd name="connsiteX7" fmla="*/ 40238 w 64732"/>
                <a:gd name="connsiteY7" fmla="*/ 13864 h 21717"/>
                <a:gd name="connsiteX8" fmla="*/ 45329 w 64732"/>
                <a:gd name="connsiteY8" fmla="*/ 19736 h 21717"/>
                <a:gd name="connsiteX9" fmla="*/ 45801 w 64732"/>
                <a:gd name="connsiteY9" fmla="*/ 20271 h 21717"/>
                <a:gd name="connsiteX10" fmla="*/ 46134 w 64732"/>
                <a:gd name="connsiteY10" fmla="*/ 20647 h 21717"/>
                <a:gd name="connsiteX11" fmla="*/ 46631 w 64732"/>
                <a:gd name="connsiteY11" fmla="*/ 20705 h 21717"/>
                <a:gd name="connsiteX12" fmla="*/ 47334 w 64732"/>
                <a:gd name="connsiteY12" fmla="*/ 20797 h 21717"/>
                <a:gd name="connsiteX13" fmla="*/ 53650 w 64732"/>
                <a:gd name="connsiteY13" fmla="*/ 21597 h 21717"/>
                <a:gd name="connsiteX14" fmla="*/ 54189 w 64732"/>
                <a:gd name="connsiteY14" fmla="*/ 21655 h 21717"/>
                <a:gd name="connsiteX15" fmla="*/ 54522 w 64732"/>
                <a:gd name="connsiteY15" fmla="*/ 21693 h 21717"/>
                <a:gd name="connsiteX16" fmla="*/ 54831 w 64732"/>
                <a:gd name="connsiteY16" fmla="*/ 21563 h 21717"/>
                <a:gd name="connsiteX17" fmla="*/ 55308 w 64732"/>
                <a:gd name="connsiteY17" fmla="*/ 21360 h 21717"/>
                <a:gd name="connsiteX18" fmla="*/ 60297 w 64732"/>
                <a:gd name="connsiteY18" fmla="*/ 19100 h 21717"/>
                <a:gd name="connsiteX19" fmla="*/ 62206 w 64732"/>
                <a:gd name="connsiteY19" fmla="*/ 20425 h 21717"/>
                <a:gd name="connsiteX20" fmla="*/ 64057 w 64732"/>
                <a:gd name="connsiteY20" fmla="*/ 21717 h 21717"/>
                <a:gd name="connsiteX21" fmla="*/ 64265 w 64732"/>
                <a:gd name="connsiteY21" fmla="*/ 19471 h 21717"/>
                <a:gd name="connsiteX22" fmla="*/ 64554 w 64732"/>
                <a:gd name="connsiteY22" fmla="*/ 16337 h 21717"/>
                <a:gd name="connsiteX23" fmla="*/ 64588 w 64732"/>
                <a:gd name="connsiteY23" fmla="*/ 16029 h 21717"/>
                <a:gd name="connsiteX24" fmla="*/ 64732 w 64732"/>
                <a:gd name="connsiteY24" fmla="*/ 14708 h 21717"/>
                <a:gd name="connsiteX25" fmla="*/ 63990 w 64732"/>
                <a:gd name="connsiteY25" fmla="*/ 14640 h 21717"/>
                <a:gd name="connsiteX26" fmla="*/ 64284 w 64732"/>
                <a:gd name="connsiteY26" fmla="*/ 14221 h 21717"/>
                <a:gd name="connsiteX27" fmla="*/ 63233 w 64732"/>
                <a:gd name="connsiteY27" fmla="*/ 13464 h 21717"/>
                <a:gd name="connsiteX28" fmla="*/ 62438 w 64732"/>
                <a:gd name="connsiteY28" fmla="*/ 12895 h 21717"/>
                <a:gd name="connsiteX29" fmla="*/ 61551 w 64732"/>
                <a:gd name="connsiteY29" fmla="*/ 12293 h 21717"/>
                <a:gd name="connsiteX30" fmla="*/ 60934 w 64732"/>
                <a:gd name="connsiteY30" fmla="*/ 11873 h 21717"/>
                <a:gd name="connsiteX31" fmla="*/ 60259 w 64732"/>
                <a:gd name="connsiteY31" fmla="*/ 12187 h 21717"/>
                <a:gd name="connsiteX32" fmla="*/ 59314 w 64732"/>
                <a:gd name="connsiteY32" fmla="*/ 12626 h 21717"/>
                <a:gd name="connsiteX33" fmla="*/ 53548 w 64732"/>
                <a:gd name="connsiteY33" fmla="*/ 15229 h 21717"/>
                <a:gd name="connsiteX34" fmla="*/ 49311 w 64732"/>
                <a:gd name="connsiteY34" fmla="*/ 14693 h 21717"/>
                <a:gd name="connsiteX35" fmla="*/ 44413 w 64732"/>
                <a:gd name="connsiteY35" fmla="*/ 9053 h 21717"/>
                <a:gd name="connsiteX36" fmla="*/ 44061 w 64732"/>
                <a:gd name="connsiteY36" fmla="*/ 8653 h 21717"/>
                <a:gd name="connsiteX37" fmla="*/ 43825 w 64732"/>
                <a:gd name="connsiteY37" fmla="*/ 8383 h 21717"/>
                <a:gd name="connsiteX38" fmla="*/ 43483 w 64732"/>
                <a:gd name="connsiteY38" fmla="*/ 8272 h 21717"/>
                <a:gd name="connsiteX39" fmla="*/ 42986 w 64732"/>
                <a:gd name="connsiteY39" fmla="*/ 8108 h 21717"/>
                <a:gd name="connsiteX40" fmla="*/ 17899 w 64732"/>
                <a:gd name="connsiteY40" fmla="*/ 337 h 21717"/>
                <a:gd name="connsiteX41" fmla="*/ 17263 w 64732"/>
                <a:gd name="connsiteY41" fmla="*/ 140 h 21717"/>
                <a:gd name="connsiteX42" fmla="*/ 16819 w 64732"/>
                <a:gd name="connsiteY42" fmla="*/ 0 h 21717"/>
                <a:gd name="connsiteX43" fmla="*/ 16386 w 64732"/>
                <a:gd name="connsiteY43" fmla="*/ 178 h 21717"/>
                <a:gd name="connsiteX44" fmla="*/ 15773 w 64732"/>
                <a:gd name="connsiteY44" fmla="*/ 424 h 21717"/>
                <a:gd name="connsiteX45" fmla="*/ 9102 w 64732"/>
                <a:gd name="connsiteY45" fmla="*/ 3109 h 21717"/>
                <a:gd name="connsiteX46" fmla="*/ 5770 w 64732"/>
                <a:gd name="connsiteY46" fmla="*/ 2058 h 21717"/>
                <a:gd name="connsiteX47" fmla="*/ 4502 w 64732"/>
                <a:gd name="connsiteY47" fmla="*/ 1658 h 21717"/>
                <a:gd name="connsiteX48" fmla="*/ 3596 w 64732"/>
                <a:gd name="connsiteY48" fmla="*/ 1369 h 21717"/>
                <a:gd name="connsiteX49" fmla="*/ 3225 w 64732"/>
                <a:gd name="connsiteY49" fmla="*/ 1880 h 21717"/>
                <a:gd name="connsiteX50" fmla="*/ 3162 w 64732"/>
                <a:gd name="connsiteY50" fmla="*/ 1842 h 21717"/>
                <a:gd name="connsiteX51" fmla="*/ 2473 w 64732"/>
                <a:gd name="connsiteY51" fmla="*/ 2873 h 21717"/>
                <a:gd name="connsiteX52" fmla="*/ 2169 w 64732"/>
                <a:gd name="connsiteY52" fmla="*/ 3345 h 21717"/>
                <a:gd name="connsiteX53" fmla="*/ 1649 w 64732"/>
                <a:gd name="connsiteY53" fmla="*/ 4073 h 21717"/>
                <a:gd name="connsiteX54" fmla="*/ 983 w 64732"/>
                <a:gd name="connsiteY54" fmla="*/ 5009 h 21717"/>
                <a:gd name="connsiteX55" fmla="*/ 1085 w 64732"/>
                <a:gd name="connsiteY55" fmla="*/ 5100 h 21717"/>
                <a:gd name="connsiteX56" fmla="*/ 882 w 64732"/>
                <a:gd name="connsiteY56" fmla="*/ 5423 h 21717"/>
                <a:gd name="connsiteX57" fmla="*/ 0 w 64732"/>
                <a:gd name="connsiteY57" fmla="*/ 6855 h 21717"/>
                <a:gd name="connsiteX58" fmla="*/ 1600 w 64732"/>
                <a:gd name="connsiteY58" fmla="*/ 7361 h 21717"/>
                <a:gd name="connsiteX59" fmla="*/ 3871 w 64732"/>
                <a:gd name="connsiteY59" fmla="*/ 8089 h 21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64732" h="21717">
                  <a:moveTo>
                    <a:pt x="3871" y="8089"/>
                  </a:moveTo>
                  <a:lnTo>
                    <a:pt x="8287" y="9478"/>
                  </a:lnTo>
                  <a:cubicBezTo>
                    <a:pt x="8287" y="9478"/>
                    <a:pt x="8928" y="9680"/>
                    <a:pt x="8928" y="9680"/>
                  </a:cubicBezTo>
                  <a:lnTo>
                    <a:pt x="9371" y="9815"/>
                  </a:lnTo>
                  <a:lnTo>
                    <a:pt x="9805" y="9641"/>
                  </a:lnTo>
                  <a:lnTo>
                    <a:pt x="10422" y="9391"/>
                  </a:lnTo>
                  <a:cubicBezTo>
                    <a:pt x="10422" y="9391"/>
                    <a:pt x="15595" y="7298"/>
                    <a:pt x="17099" y="6691"/>
                  </a:cubicBezTo>
                  <a:lnTo>
                    <a:pt x="40238" y="13864"/>
                  </a:lnTo>
                  <a:lnTo>
                    <a:pt x="45329" y="19736"/>
                  </a:lnTo>
                  <a:cubicBezTo>
                    <a:pt x="45334" y="19746"/>
                    <a:pt x="45801" y="20271"/>
                    <a:pt x="45801" y="20271"/>
                  </a:cubicBezTo>
                  <a:lnTo>
                    <a:pt x="46134" y="20647"/>
                  </a:lnTo>
                  <a:lnTo>
                    <a:pt x="46631" y="20705"/>
                  </a:lnTo>
                  <a:lnTo>
                    <a:pt x="47334" y="20797"/>
                  </a:lnTo>
                  <a:cubicBezTo>
                    <a:pt x="47334" y="20797"/>
                    <a:pt x="53650" y="21597"/>
                    <a:pt x="53650" y="21597"/>
                  </a:cubicBezTo>
                  <a:cubicBezTo>
                    <a:pt x="53678" y="21597"/>
                    <a:pt x="54189" y="21655"/>
                    <a:pt x="54189" y="21655"/>
                  </a:cubicBezTo>
                  <a:lnTo>
                    <a:pt x="54522" y="21693"/>
                  </a:lnTo>
                  <a:lnTo>
                    <a:pt x="54831" y="21563"/>
                  </a:lnTo>
                  <a:lnTo>
                    <a:pt x="55308" y="21360"/>
                  </a:lnTo>
                  <a:cubicBezTo>
                    <a:pt x="55332" y="21351"/>
                    <a:pt x="58817" y="19770"/>
                    <a:pt x="60297" y="19100"/>
                  </a:cubicBezTo>
                  <a:lnTo>
                    <a:pt x="62206" y="20425"/>
                  </a:lnTo>
                  <a:lnTo>
                    <a:pt x="64057" y="21717"/>
                  </a:lnTo>
                  <a:lnTo>
                    <a:pt x="64265" y="19471"/>
                  </a:lnTo>
                  <a:lnTo>
                    <a:pt x="64554" y="16337"/>
                  </a:lnTo>
                  <a:cubicBezTo>
                    <a:pt x="64554" y="16357"/>
                    <a:pt x="64588" y="16029"/>
                    <a:pt x="64588" y="16029"/>
                  </a:cubicBezTo>
                  <a:lnTo>
                    <a:pt x="64732" y="14708"/>
                  </a:lnTo>
                  <a:lnTo>
                    <a:pt x="63990" y="14640"/>
                  </a:lnTo>
                  <a:lnTo>
                    <a:pt x="64284" y="14221"/>
                  </a:lnTo>
                  <a:lnTo>
                    <a:pt x="63233" y="13464"/>
                  </a:lnTo>
                  <a:lnTo>
                    <a:pt x="62438" y="12895"/>
                  </a:lnTo>
                  <a:cubicBezTo>
                    <a:pt x="62414" y="12881"/>
                    <a:pt x="61551" y="12293"/>
                    <a:pt x="61551" y="12293"/>
                  </a:cubicBezTo>
                  <a:lnTo>
                    <a:pt x="60934" y="11873"/>
                  </a:lnTo>
                  <a:lnTo>
                    <a:pt x="60259" y="12187"/>
                  </a:lnTo>
                  <a:lnTo>
                    <a:pt x="59314" y="12626"/>
                  </a:lnTo>
                  <a:cubicBezTo>
                    <a:pt x="59319" y="12621"/>
                    <a:pt x="54802" y="14660"/>
                    <a:pt x="53548" y="15229"/>
                  </a:cubicBezTo>
                  <a:lnTo>
                    <a:pt x="49311" y="14693"/>
                  </a:lnTo>
                  <a:lnTo>
                    <a:pt x="44413" y="9053"/>
                  </a:lnTo>
                  <a:cubicBezTo>
                    <a:pt x="44408" y="9049"/>
                    <a:pt x="44061" y="8653"/>
                    <a:pt x="44061" y="8653"/>
                  </a:cubicBezTo>
                  <a:lnTo>
                    <a:pt x="43825" y="8383"/>
                  </a:lnTo>
                  <a:lnTo>
                    <a:pt x="43483" y="8272"/>
                  </a:lnTo>
                  <a:lnTo>
                    <a:pt x="42986" y="8108"/>
                  </a:lnTo>
                  <a:cubicBezTo>
                    <a:pt x="42967" y="8103"/>
                    <a:pt x="17899" y="337"/>
                    <a:pt x="17899" y="337"/>
                  </a:cubicBezTo>
                  <a:cubicBezTo>
                    <a:pt x="17899" y="337"/>
                    <a:pt x="17263" y="140"/>
                    <a:pt x="17263" y="140"/>
                  </a:cubicBezTo>
                  <a:lnTo>
                    <a:pt x="16819" y="0"/>
                  </a:lnTo>
                  <a:lnTo>
                    <a:pt x="16386" y="178"/>
                  </a:lnTo>
                  <a:lnTo>
                    <a:pt x="15773" y="424"/>
                  </a:lnTo>
                  <a:cubicBezTo>
                    <a:pt x="15769" y="424"/>
                    <a:pt x="10610" y="2502"/>
                    <a:pt x="9102" y="3109"/>
                  </a:cubicBezTo>
                  <a:lnTo>
                    <a:pt x="5770" y="2058"/>
                  </a:lnTo>
                  <a:lnTo>
                    <a:pt x="4502" y="1658"/>
                  </a:lnTo>
                  <a:lnTo>
                    <a:pt x="3596" y="1369"/>
                  </a:lnTo>
                  <a:lnTo>
                    <a:pt x="3225" y="1880"/>
                  </a:lnTo>
                  <a:lnTo>
                    <a:pt x="3162" y="1842"/>
                  </a:lnTo>
                  <a:cubicBezTo>
                    <a:pt x="3138" y="1832"/>
                    <a:pt x="2473" y="2873"/>
                    <a:pt x="2473" y="2873"/>
                  </a:cubicBezTo>
                  <a:lnTo>
                    <a:pt x="2169" y="3345"/>
                  </a:lnTo>
                  <a:cubicBezTo>
                    <a:pt x="2208" y="3292"/>
                    <a:pt x="1649" y="4073"/>
                    <a:pt x="1649" y="4073"/>
                  </a:cubicBezTo>
                  <a:lnTo>
                    <a:pt x="983" y="5009"/>
                  </a:lnTo>
                  <a:lnTo>
                    <a:pt x="1085" y="5100"/>
                  </a:lnTo>
                  <a:lnTo>
                    <a:pt x="882" y="5423"/>
                  </a:lnTo>
                  <a:lnTo>
                    <a:pt x="0" y="6855"/>
                  </a:lnTo>
                  <a:lnTo>
                    <a:pt x="1600" y="7361"/>
                  </a:lnTo>
                  <a:cubicBezTo>
                    <a:pt x="1610" y="7376"/>
                    <a:pt x="3861" y="8089"/>
                    <a:pt x="3871" y="808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70" name="Freihandform: Form 669">
              <a:extLst>
                <a:ext uri="{FF2B5EF4-FFF2-40B4-BE49-F238E27FC236}">
                  <a16:creationId xmlns:a16="http://schemas.microsoft.com/office/drawing/2014/main" id="{7486022F-966E-C60F-825D-83E60A6C03B7}"/>
                </a:ext>
              </a:extLst>
            </p:cNvPr>
            <p:cNvSpPr/>
            <p:nvPr/>
          </p:nvSpPr>
          <p:spPr>
            <a:xfrm>
              <a:off x="3915058" y="5329302"/>
              <a:ext cx="609531" cy="250834"/>
            </a:xfrm>
            <a:custGeom>
              <a:avLst/>
              <a:gdLst>
                <a:gd name="connsiteX0" fmla="*/ 475847 w 477117"/>
                <a:gd name="connsiteY0" fmla="*/ 184681 h 197239"/>
                <a:gd name="connsiteX1" fmla="*/ 474536 w 477117"/>
                <a:gd name="connsiteY1" fmla="*/ 183298 h 197239"/>
                <a:gd name="connsiteX2" fmla="*/ 474536 w 477117"/>
                <a:gd name="connsiteY2" fmla="*/ 183182 h 197239"/>
                <a:gd name="connsiteX3" fmla="*/ 474522 w 477117"/>
                <a:gd name="connsiteY3" fmla="*/ 181861 h 197239"/>
                <a:gd name="connsiteX4" fmla="*/ 473201 w 477117"/>
                <a:gd name="connsiteY4" fmla="*/ 181885 h 197239"/>
                <a:gd name="connsiteX5" fmla="*/ 473196 w 477117"/>
                <a:gd name="connsiteY5" fmla="*/ 181885 h 197239"/>
                <a:gd name="connsiteX6" fmla="*/ 472531 w 477117"/>
                <a:gd name="connsiteY6" fmla="*/ 181196 h 197239"/>
                <a:gd name="connsiteX7" fmla="*/ 471846 w 477117"/>
                <a:gd name="connsiteY7" fmla="*/ 181842 h 197239"/>
                <a:gd name="connsiteX8" fmla="*/ 466635 w 477117"/>
                <a:gd name="connsiteY8" fmla="*/ 180077 h 197239"/>
                <a:gd name="connsiteX9" fmla="*/ 460976 w 477117"/>
                <a:gd name="connsiteY9" fmla="*/ 175638 h 197239"/>
                <a:gd name="connsiteX10" fmla="*/ 460619 w 477117"/>
                <a:gd name="connsiteY10" fmla="*/ 175334 h 197239"/>
                <a:gd name="connsiteX11" fmla="*/ 460310 w 477117"/>
                <a:gd name="connsiteY11" fmla="*/ 175069 h 197239"/>
                <a:gd name="connsiteX12" fmla="*/ 459910 w 477117"/>
                <a:gd name="connsiteY12" fmla="*/ 175026 h 197239"/>
                <a:gd name="connsiteX13" fmla="*/ 459414 w 477117"/>
                <a:gd name="connsiteY13" fmla="*/ 174973 h 197239"/>
                <a:gd name="connsiteX14" fmla="*/ 453383 w 477117"/>
                <a:gd name="connsiteY14" fmla="*/ 174182 h 197239"/>
                <a:gd name="connsiteX15" fmla="*/ 453041 w 477117"/>
                <a:gd name="connsiteY15" fmla="*/ 174134 h 197239"/>
                <a:gd name="connsiteX16" fmla="*/ 452732 w 477117"/>
                <a:gd name="connsiteY16" fmla="*/ 174085 h 197239"/>
                <a:gd name="connsiteX17" fmla="*/ 452438 w 477117"/>
                <a:gd name="connsiteY17" fmla="*/ 174187 h 197239"/>
                <a:gd name="connsiteX18" fmla="*/ 452081 w 477117"/>
                <a:gd name="connsiteY18" fmla="*/ 174302 h 197239"/>
                <a:gd name="connsiteX19" fmla="*/ 445824 w 477117"/>
                <a:gd name="connsiteY19" fmla="*/ 175980 h 197239"/>
                <a:gd name="connsiteX20" fmla="*/ 445520 w 477117"/>
                <a:gd name="connsiteY20" fmla="*/ 176057 h 197239"/>
                <a:gd name="connsiteX21" fmla="*/ 445274 w 477117"/>
                <a:gd name="connsiteY21" fmla="*/ 176120 h 197239"/>
                <a:gd name="connsiteX22" fmla="*/ 445072 w 477117"/>
                <a:gd name="connsiteY22" fmla="*/ 176269 h 197239"/>
                <a:gd name="connsiteX23" fmla="*/ 444802 w 477117"/>
                <a:gd name="connsiteY23" fmla="*/ 176462 h 197239"/>
                <a:gd name="connsiteX24" fmla="*/ 438164 w 477117"/>
                <a:gd name="connsiteY24" fmla="*/ 181234 h 197239"/>
                <a:gd name="connsiteX25" fmla="*/ 433030 w 477117"/>
                <a:gd name="connsiteY25" fmla="*/ 179817 h 197239"/>
                <a:gd name="connsiteX26" fmla="*/ 432336 w 477117"/>
                <a:gd name="connsiteY26" fmla="*/ 179634 h 197239"/>
                <a:gd name="connsiteX27" fmla="*/ 431839 w 477117"/>
                <a:gd name="connsiteY27" fmla="*/ 179499 h 197239"/>
                <a:gd name="connsiteX28" fmla="*/ 431381 w 477117"/>
                <a:gd name="connsiteY28" fmla="*/ 179745 h 197239"/>
                <a:gd name="connsiteX29" fmla="*/ 430730 w 477117"/>
                <a:gd name="connsiteY29" fmla="*/ 180082 h 197239"/>
                <a:gd name="connsiteX30" fmla="*/ 424010 w 477117"/>
                <a:gd name="connsiteY30" fmla="*/ 183592 h 197239"/>
                <a:gd name="connsiteX31" fmla="*/ 423514 w 477117"/>
                <a:gd name="connsiteY31" fmla="*/ 183838 h 197239"/>
                <a:gd name="connsiteX32" fmla="*/ 423128 w 477117"/>
                <a:gd name="connsiteY32" fmla="*/ 184026 h 197239"/>
                <a:gd name="connsiteX33" fmla="*/ 422930 w 477117"/>
                <a:gd name="connsiteY33" fmla="*/ 184407 h 197239"/>
                <a:gd name="connsiteX34" fmla="*/ 422665 w 477117"/>
                <a:gd name="connsiteY34" fmla="*/ 184908 h 197239"/>
                <a:gd name="connsiteX35" fmla="*/ 420568 w 477117"/>
                <a:gd name="connsiteY35" fmla="*/ 188928 h 197239"/>
                <a:gd name="connsiteX36" fmla="*/ 416745 w 477117"/>
                <a:gd name="connsiteY36" fmla="*/ 188056 h 197239"/>
                <a:gd name="connsiteX37" fmla="*/ 416167 w 477117"/>
                <a:gd name="connsiteY37" fmla="*/ 187926 h 197239"/>
                <a:gd name="connsiteX38" fmla="*/ 415772 w 477117"/>
                <a:gd name="connsiteY38" fmla="*/ 187839 h 197239"/>
                <a:gd name="connsiteX39" fmla="*/ 415396 w 477117"/>
                <a:gd name="connsiteY39" fmla="*/ 187988 h 197239"/>
                <a:gd name="connsiteX40" fmla="*/ 414841 w 477117"/>
                <a:gd name="connsiteY40" fmla="*/ 188205 h 197239"/>
                <a:gd name="connsiteX41" fmla="*/ 411173 w 477117"/>
                <a:gd name="connsiteY41" fmla="*/ 189787 h 197239"/>
                <a:gd name="connsiteX42" fmla="*/ 383324 w 477117"/>
                <a:gd name="connsiteY42" fmla="*/ 174052 h 197239"/>
                <a:gd name="connsiteX43" fmla="*/ 378074 w 477117"/>
                <a:gd name="connsiteY43" fmla="*/ 175551 h 197239"/>
                <a:gd name="connsiteX44" fmla="*/ 372202 w 477117"/>
                <a:gd name="connsiteY44" fmla="*/ 174973 h 197239"/>
                <a:gd name="connsiteX45" fmla="*/ 371137 w 477117"/>
                <a:gd name="connsiteY45" fmla="*/ 174871 h 197239"/>
                <a:gd name="connsiteX46" fmla="*/ 370390 w 477117"/>
                <a:gd name="connsiteY46" fmla="*/ 174794 h 197239"/>
                <a:gd name="connsiteX47" fmla="*/ 369946 w 477117"/>
                <a:gd name="connsiteY47" fmla="*/ 175402 h 197239"/>
                <a:gd name="connsiteX48" fmla="*/ 369324 w 477117"/>
                <a:gd name="connsiteY48" fmla="*/ 176255 h 197239"/>
                <a:gd name="connsiteX49" fmla="*/ 365357 w 477117"/>
                <a:gd name="connsiteY49" fmla="*/ 181736 h 197239"/>
                <a:gd name="connsiteX50" fmla="*/ 362084 w 477117"/>
                <a:gd name="connsiteY50" fmla="*/ 182454 h 197239"/>
                <a:gd name="connsiteX51" fmla="*/ 357764 w 477117"/>
                <a:gd name="connsiteY51" fmla="*/ 179403 h 197239"/>
                <a:gd name="connsiteX52" fmla="*/ 357036 w 477117"/>
                <a:gd name="connsiteY52" fmla="*/ 174057 h 197239"/>
                <a:gd name="connsiteX53" fmla="*/ 356920 w 477117"/>
                <a:gd name="connsiteY53" fmla="*/ 173222 h 197239"/>
                <a:gd name="connsiteX54" fmla="*/ 356839 w 477117"/>
                <a:gd name="connsiteY54" fmla="*/ 172639 h 197239"/>
                <a:gd name="connsiteX55" fmla="*/ 356342 w 477117"/>
                <a:gd name="connsiteY55" fmla="*/ 172316 h 197239"/>
                <a:gd name="connsiteX56" fmla="*/ 355662 w 477117"/>
                <a:gd name="connsiteY56" fmla="*/ 171858 h 197239"/>
                <a:gd name="connsiteX57" fmla="*/ 343157 w 477117"/>
                <a:gd name="connsiteY57" fmla="*/ 163369 h 197239"/>
                <a:gd name="connsiteX58" fmla="*/ 343003 w 477117"/>
                <a:gd name="connsiteY58" fmla="*/ 163253 h 197239"/>
                <a:gd name="connsiteX59" fmla="*/ 342791 w 477117"/>
                <a:gd name="connsiteY59" fmla="*/ 163094 h 197239"/>
                <a:gd name="connsiteX60" fmla="*/ 342540 w 477117"/>
                <a:gd name="connsiteY60" fmla="*/ 163027 h 197239"/>
                <a:gd name="connsiteX61" fmla="*/ 342285 w 477117"/>
                <a:gd name="connsiteY61" fmla="*/ 162959 h 197239"/>
                <a:gd name="connsiteX62" fmla="*/ 336283 w 477117"/>
                <a:gd name="connsiteY62" fmla="*/ 161017 h 197239"/>
                <a:gd name="connsiteX63" fmla="*/ 308935 w 477117"/>
                <a:gd name="connsiteY63" fmla="*/ 143575 h 197239"/>
                <a:gd name="connsiteX64" fmla="*/ 306057 w 477117"/>
                <a:gd name="connsiteY64" fmla="*/ 136011 h 197239"/>
                <a:gd name="connsiteX65" fmla="*/ 305970 w 477117"/>
                <a:gd name="connsiteY65" fmla="*/ 135732 h 197239"/>
                <a:gd name="connsiteX66" fmla="*/ 305913 w 477117"/>
                <a:gd name="connsiteY66" fmla="*/ 135554 h 197239"/>
                <a:gd name="connsiteX67" fmla="*/ 305811 w 477117"/>
                <a:gd name="connsiteY67" fmla="*/ 135404 h 197239"/>
                <a:gd name="connsiteX68" fmla="*/ 305667 w 477117"/>
                <a:gd name="connsiteY68" fmla="*/ 135182 h 197239"/>
                <a:gd name="connsiteX69" fmla="*/ 300619 w 477117"/>
                <a:gd name="connsiteY69" fmla="*/ 127561 h 197239"/>
                <a:gd name="connsiteX70" fmla="*/ 300166 w 477117"/>
                <a:gd name="connsiteY70" fmla="*/ 126891 h 197239"/>
                <a:gd name="connsiteX71" fmla="*/ 299848 w 477117"/>
                <a:gd name="connsiteY71" fmla="*/ 126418 h 197239"/>
                <a:gd name="connsiteX72" fmla="*/ 299289 w 477117"/>
                <a:gd name="connsiteY72" fmla="*/ 126327 h 197239"/>
                <a:gd name="connsiteX73" fmla="*/ 298508 w 477117"/>
                <a:gd name="connsiteY73" fmla="*/ 126206 h 197239"/>
                <a:gd name="connsiteX74" fmla="*/ 281250 w 477117"/>
                <a:gd name="connsiteY74" fmla="*/ 123232 h 197239"/>
                <a:gd name="connsiteX75" fmla="*/ 278748 w 477117"/>
                <a:gd name="connsiteY75" fmla="*/ 118189 h 197239"/>
                <a:gd name="connsiteX76" fmla="*/ 278449 w 477117"/>
                <a:gd name="connsiteY76" fmla="*/ 117611 h 197239"/>
                <a:gd name="connsiteX77" fmla="*/ 278251 w 477117"/>
                <a:gd name="connsiteY77" fmla="*/ 117225 h 197239"/>
                <a:gd name="connsiteX78" fmla="*/ 277856 w 477117"/>
                <a:gd name="connsiteY78" fmla="*/ 117028 h 197239"/>
                <a:gd name="connsiteX79" fmla="*/ 277287 w 477117"/>
                <a:gd name="connsiteY79" fmla="*/ 116748 h 197239"/>
                <a:gd name="connsiteX80" fmla="*/ 264638 w 477117"/>
                <a:gd name="connsiteY80" fmla="*/ 110568 h 197239"/>
                <a:gd name="connsiteX81" fmla="*/ 264392 w 477117"/>
                <a:gd name="connsiteY81" fmla="*/ 110438 h 197239"/>
                <a:gd name="connsiteX82" fmla="*/ 264160 w 477117"/>
                <a:gd name="connsiteY82" fmla="*/ 110317 h 197239"/>
                <a:gd name="connsiteX83" fmla="*/ 263895 w 477117"/>
                <a:gd name="connsiteY83" fmla="*/ 110293 h 197239"/>
                <a:gd name="connsiteX84" fmla="*/ 263606 w 477117"/>
                <a:gd name="connsiteY84" fmla="*/ 110269 h 197239"/>
                <a:gd name="connsiteX85" fmla="*/ 258303 w 477117"/>
                <a:gd name="connsiteY85" fmla="*/ 109570 h 197239"/>
                <a:gd name="connsiteX86" fmla="*/ 251747 w 477117"/>
                <a:gd name="connsiteY86" fmla="*/ 105872 h 197239"/>
                <a:gd name="connsiteX87" fmla="*/ 251665 w 477117"/>
                <a:gd name="connsiteY87" fmla="*/ 105815 h 197239"/>
                <a:gd name="connsiteX88" fmla="*/ 251487 w 477117"/>
                <a:gd name="connsiteY88" fmla="*/ 105689 h 197239"/>
                <a:gd name="connsiteX89" fmla="*/ 251284 w 477117"/>
                <a:gd name="connsiteY89" fmla="*/ 105636 h 197239"/>
                <a:gd name="connsiteX90" fmla="*/ 251072 w 477117"/>
                <a:gd name="connsiteY90" fmla="*/ 105569 h 197239"/>
                <a:gd name="connsiteX91" fmla="*/ 243176 w 477117"/>
                <a:gd name="connsiteY91" fmla="*/ 102353 h 197239"/>
                <a:gd name="connsiteX92" fmla="*/ 242843 w 477117"/>
                <a:gd name="connsiteY92" fmla="*/ 101765 h 197239"/>
                <a:gd name="connsiteX93" fmla="*/ 242843 w 477117"/>
                <a:gd name="connsiteY93" fmla="*/ 101760 h 197239"/>
                <a:gd name="connsiteX94" fmla="*/ 242530 w 477117"/>
                <a:gd name="connsiteY94" fmla="*/ 101206 h 197239"/>
                <a:gd name="connsiteX95" fmla="*/ 241368 w 477117"/>
                <a:gd name="connsiteY95" fmla="*/ 101866 h 197239"/>
                <a:gd name="connsiteX96" fmla="*/ 240221 w 477117"/>
                <a:gd name="connsiteY96" fmla="*/ 102242 h 197239"/>
                <a:gd name="connsiteX97" fmla="*/ 240148 w 477117"/>
                <a:gd name="connsiteY97" fmla="*/ 101423 h 197239"/>
                <a:gd name="connsiteX98" fmla="*/ 240847 w 477117"/>
                <a:gd name="connsiteY98" fmla="*/ 100666 h 197239"/>
                <a:gd name="connsiteX99" fmla="*/ 239618 w 477117"/>
                <a:gd name="connsiteY99" fmla="*/ 101047 h 197239"/>
                <a:gd name="connsiteX100" fmla="*/ 232310 w 477117"/>
                <a:gd name="connsiteY100" fmla="*/ 103650 h 197239"/>
                <a:gd name="connsiteX101" fmla="*/ 232512 w 477117"/>
                <a:gd name="connsiteY101" fmla="*/ 103534 h 197239"/>
                <a:gd name="connsiteX102" fmla="*/ 231780 w 477117"/>
                <a:gd name="connsiteY102" fmla="*/ 103852 h 197239"/>
                <a:gd name="connsiteX103" fmla="*/ 231235 w 477117"/>
                <a:gd name="connsiteY103" fmla="*/ 104094 h 197239"/>
                <a:gd name="connsiteX104" fmla="*/ 231052 w 477117"/>
                <a:gd name="connsiteY104" fmla="*/ 104658 h 197239"/>
                <a:gd name="connsiteX105" fmla="*/ 230801 w 477117"/>
                <a:gd name="connsiteY105" fmla="*/ 105448 h 197239"/>
                <a:gd name="connsiteX106" fmla="*/ 228887 w 477117"/>
                <a:gd name="connsiteY106" fmla="*/ 111223 h 197239"/>
                <a:gd name="connsiteX107" fmla="*/ 228733 w 477117"/>
                <a:gd name="connsiteY107" fmla="*/ 111667 h 197239"/>
                <a:gd name="connsiteX108" fmla="*/ 228612 w 477117"/>
                <a:gd name="connsiteY108" fmla="*/ 112009 h 197239"/>
                <a:gd name="connsiteX109" fmla="*/ 228685 w 477117"/>
                <a:gd name="connsiteY109" fmla="*/ 112361 h 197239"/>
                <a:gd name="connsiteX110" fmla="*/ 228786 w 477117"/>
                <a:gd name="connsiteY110" fmla="*/ 112872 h 197239"/>
                <a:gd name="connsiteX111" fmla="*/ 230054 w 477117"/>
                <a:gd name="connsiteY111" fmla="*/ 118787 h 197239"/>
                <a:gd name="connsiteX112" fmla="*/ 229326 w 477117"/>
                <a:gd name="connsiteY112" fmla="*/ 121786 h 197239"/>
                <a:gd name="connsiteX113" fmla="*/ 215751 w 477117"/>
                <a:gd name="connsiteY113" fmla="*/ 118893 h 197239"/>
                <a:gd name="connsiteX114" fmla="*/ 208515 w 477117"/>
                <a:gd name="connsiteY114" fmla="*/ 119356 h 197239"/>
                <a:gd name="connsiteX115" fmla="*/ 208322 w 477117"/>
                <a:gd name="connsiteY115" fmla="*/ 119361 h 197239"/>
                <a:gd name="connsiteX116" fmla="*/ 203583 w 477117"/>
                <a:gd name="connsiteY116" fmla="*/ 115244 h 197239"/>
                <a:gd name="connsiteX117" fmla="*/ 202393 w 477117"/>
                <a:gd name="connsiteY117" fmla="*/ 114236 h 197239"/>
                <a:gd name="connsiteX118" fmla="*/ 201559 w 477117"/>
                <a:gd name="connsiteY118" fmla="*/ 113532 h 197239"/>
                <a:gd name="connsiteX119" fmla="*/ 200710 w 477117"/>
                <a:gd name="connsiteY119" fmla="*/ 114227 h 197239"/>
                <a:gd name="connsiteX120" fmla="*/ 199510 w 477117"/>
                <a:gd name="connsiteY120" fmla="*/ 115205 h 197239"/>
                <a:gd name="connsiteX121" fmla="*/ 195991 w 477117"/>
                <a:gd name="connsiteY121" fmla="*/ 118117 h 197239"/>
                <a:gd name="connsiteX122" fmla="*/ 194463 w 477117"/>
                <a:gd name="connsiteY122" fmla="*/ 115360 h 197239"/>
                <a:gd name="connsiteX123" fmla="*/ 194183 w 477117"/>
                <a:gd name="connsiteY123" fmla="*/ 114853 h 197239"/>
                <a:gd name="connsiteX124" fmla="*/ 193981 w 477117"/>
                <a:gd name="connsiteY124" fmla="*/ 114487 h 197239"/>
                <a:gd name="connsiteX125" fmla="*/ 193614 w 477117"/>
                <a:gd name="connsiteY125" fmla="*/ 114309 h 197239"/>
                <a:gd name="connsiteX126" fmla="*/ 193079 w 477117"/>
                <a:gd name="connsiteY126" fmla="*/ 114039 h 197239"/>
                <a:gd name="connsiteX127" fmla="*/ 185959 w 477117"/>
                <a:gd name="connsiteY127" fmla="*/ 110674 h 197239"/>
                <a:gd name="connsiteX128" fmla="*/ 185159 w 477117"/>
                <a:gd name="connsiteY128" fmla="*/ 110303 h 197239"/>
                <a:gd name="connsiteX129" fmla="*/ 184604 w 477117"/>
                <a:gd name="connsiteY129" fmla="*/ 110042 h 197239"/>
                <a:gd name="connsiteX130" fmla="*/ 184055 w 477117"/>
                <a:gd name="connsiteY130" fmla="*/ 110303 h 197239"/>
                <a:gd name="connsiteX131" fmla="*/ 183264 w 477117"/>
                <a:gd name="connsiteY131" fmla="*/ 110669 h 197239"/>
                <a:gd name="connsiteX132" fmla="*/ 177865 w 477117"/>
                <a:gd name="connsiteY132" fmla="*/ 113238 h 197239"/>
                <a:gd name="connsiteX133" fmla="*/ 166686 w 477117"/>
                <a:gd name="connsiteY133" fmla="*/ 114752 h 197239"/>
                <a:gd name="connsiteX134" fmla="*/ 159223 w 477117"/>
                <a:gd name="connsiteY134" fmla="*/ 108109 h 197239"/>
                <a:gd name="connsiteX135" fmla="*/ 139564 w 477117"/>
                <a:gd name="connsiteY135" fmla="*/ 89723 h 197239"/>
                <a:gd name="connsiteX136" fmla="*/ 135385 w 477117"/>
                <a:gd name="connsiteY136" fmla="*/ 90875 h 197239"/>
                <a:gd name="connsiteX137" fmla="*/ 130087 w 477117"/>
                <a:gd name="connsiteY137" fmla="*/ 94071 h 197239"/>
                <a:gd name="connsiteX138" fmla="*/ 119877 w 477117"/>
                <a:gd name="connsiteY138" fmla="*/ 91135 h 197239"/>
                <a:gd name="connsiteX139" fmla="*/ 118324 w 477117"/>
                <a:gd name="connsiteY139" fmla="*/ 90673 h 197239"/>
                <a:gd name="connsiteX140" fmla="*/ 117206 w 477117"/>
                <a:gd name="connsiteY140" fmla="*/ 90345 h 197239"/>
                <a:gd name="connsiteX141" fmla="*/ 116743 w 477117"/>
                <a:gd name="connsiteY141" fmla="*/ 91420 h 197239"/>
                <a:gd name="connsiteX142" fmla="*/ 116107 w 477117"/>
                <a:gd name="connsiteY142" fmla="*/ 92910 h 197239"/>
                <a:gd name="connsiteX143" fmla="*/ 115649 w 477117"/>
                <a:gd name="connsiteY143" fmla="*/ 93787 h 197239"/>
                <a:gd name="connsiteX144" fmla="*/ 114063 w 477117"/>
                <a:gd name="connsiteY144" fmla="*/ 91015 h 197239"/>
                <a:gd name="connsiteX145" fmla="*/ 112978 w 477117"/>
                <a:gd name="connsiteY145" fmla="*/ 88908 h 197239"/>
                <a:gd name="connsiteX146" fmla="*/ 103139 w 477117"/>
                <a:gd name="connsiteY146" fmla="*/ 77319 h 197239"/>
                <a:gd name="connsiteX147" fmla="*/ 99933 w 477117"/>
                <a:gd name="connsiteY147" fmla="*/ 70079 h 197239"/>
                <a:gd name="connsiteX148" fmla="*/ 99784 w 477117"/>
                <a:gd name="connsiteY148" fmla="*/ 67847 h 197239"/>
                <a:gd name="connsiteX149" fmla="*/ 99678 w 477117"/>
                <a:gd name="connsiteY149" fmla="*/ 66261 h 197239"/>
                <a:gd name="connsiteX150" fmla="*/ 98140 w 477117"/>
                <a:gd name="connsiteY150" fmla="*/ 66656 h 197239"/>
                <a:gd name="connsiteX151" fmla="*/ 95975 w 477117"/>
                <a:gd name="connsiteY151" fmla="*/ 67230 h 197239"/>
                <a:gd name="connsiteX152" fmla="*/ 90586 w 477117"/>
                <a:gd name="connsiteY152" fmla="*/ 68589 h 197239"/>
                <a:gd name="connsiteX153" fmla="*/ 80067 w 477117"/>
                <a:gd name="connsiteY153" fmla="*/ 66212 h 197239"/>
                <a:gd name="connsiteX154" fmla="*/ 74533 w 477117"/>
                <a:gd name="connsiteY154" fmla="*/ 60360 h 197239"/>
                <a:gd name="connsiteX155" fmla="*/ 74316 w 477117"/>
                <a:gd name="connsiteY155" fmla="*/ 60134 h 197239"/>
                <a:gd name="connsiteX156" fmla="*/ 74186 w 477117"/>
                <a:gd name="connsiteY156" fmla="*/ 60003 h 197239"/>
                <a:gd name="connsiteX157" fmla="*/ 74022 w 477117"/>
                <a:gd name="connsiteY157" fmla="*/ 59907 h 197239"/>
                <a:gd name="connsiteX158" fmla="*/ 73757 w 477117"/>
                <a:gd name="connsiteY158" fmla="*/ 59757 h 197239"/>
                <a:gd name="connsiteX159" fmla="*/ 51524 w 477117"/>
                <a:gd name="connsiteY159" fmla="*/ 47807 h 197239"/>
                <a:gd name="connsiteX160" fmla="*/ 52256 w 477117"/>
                <a:gd name="connsiteY160" fmla="*/ 45532 h 197239"/>
                <a:gd name="connsiteX161" fmla="*/ 52310 w 477117"/>
                <a:gd name="connsiteY161" fmla="*/ 45392 h 197239"/>
                <a:gd name="connsiteX162" fmla="*/ 52363 w 477117"/>
                <a:gd name="connsiteY162" fmla="*/ 45237 h 197239"/>
                <a:gd name="connsiteX163" fmla="*/ 52382 w 477117"/>
                <a:gd name="connsiteY163" fmla="*/ 45079 h 197239"/>
                <a:gd name="connsiteX164" fmla="*/ 52401 w 477117"/>
                <a:gd name="connsiteY164" fmla="*/ 44895 h 197239"/>
                <a:gd name="connsiteX165" fmla="*/ 50396 w 477117"/>
                <a:gd name="connsiteY165" fmla="*/ 40132 h 197239"/>
                <a:gd name="connsiteX166" fmla="*/ 44177 w 477117"/>
                <a:gd name="connsiteY166" fmla="*/ 40373 h 197239"/>
                <a:gd name="connsiteX167" fmla="*/ 38792 w 477117"/>
                <a:gd name="connsiteY167" fmla="*/ 43608 h 197239"/>
                <a:gd name="connsiteX168" fmla="*/ 38561 w 477117"/>
                <a:gd name="connsiteY168" fmla="*/ 43839 h 197239"/>
                <a:gd name="connsiteX169" fmla="*/ 38411 w 477117"/>
                <a:gd name="connsiteY169" fmla="*/ 43989 h 197239"/>
                <a:gd name="connsiteX170" fmla="*/ 38315 w 477117"/>
                <a:gd name="connsiteY170" fmla="*/ 44172 h 197239"/>
                <a:gd name="connsiteX171" fmla="*/ 38180 w 477117"/>
                <a:gd name="connsiteY171" fmla="*/ 44437 h 197239"/>
                <a:gd name="connsiteX172" fmla="*/ 36372 w 477117"/>
                <a:gd name="connsiteY172" fmla="*/ 47981 h 197239"/>
                <a:gd name="connsiteX173" fmla="*/ 33938 w 477117"/>
                <a:gd name="connsiteY173" fmla="*/ 46751 h 197239"/>
                <a:gd name="connsiteX174" fmla="*/ 33552 w 477117"/>
                <a:gd name="connsiteY174" fmla="*/ 43950 h 197239"/>
                <a:gd name="connsiteX175" fmla="*/ 38214 w 477117"/>
                <a:gd name="connsiteY175" fmla="*/ 40894 h 197239"/>
                <a:gd name="connsiteX176" fmla="*/ 38725 w 477117"/>
                <a:gd name="connsiteY176" fmla="*/ 40590 h 197239"/>
                <a:gd name="connsiteX177" fmla="*/ 39168 w 477117"/>
                <a:gd name="connsiteY177" fmla="*/ 40325 h 197239"/>
                <a:gd name="connsiteX178" fmla="*/ 39313 w 477117"/>
                <a:gd name="connsiteY178" fmla="*/ 39824 h 197239"/>
                <a:gd name="connsiteX179" fmla="*/ 39496 w 477117"/>
                <a:gd name="connsiteY179" fmla="*/ 39192 h 197239"/>
                <a:gd name="connsiteX180" fmla="*/ 43222 w 477117"/>
                <a:gd name="connsiteY180" fmla="*/ 27044 h 197239"/>
                <a:gd name="connsiteX181" fmla="*/ 43420 w 477117"/>
                <a:gd name="connsiteY181" fmla="*/ 26379 h 197239"/>
                <a:gd name="connsiteX182" fmla="*/ 43560 w 477117"/>
                <a:gd name="connsiteY182" fmla="*/ 25916 h 197239"/>
                <a:gd name="connsiteX183" fmla="*/ 43367 w 477117"/>
                <a:gd name="connsiteY183" fmla="*/ 25473 h 197239"/>
                <a:gd name="connsiteX184" fmla="*/ 43083 w 477117"/>
                <a:gd name="connsiteY184" fmla="*/ 24817 h 197239"/>
                <a:gd name="connsiteX185" fmla="*/ 40099 w 477117"/>
                <a:gd name="connsiteY185" fmla="*/ 18304 h 197239"/>
                <a:gd name="connsiteX186" fmla="*/ 39795 w 477117"/>
                <a:gd name="connsiteY186" fmla="*/ 17639 h 197239"/>
                <a:gd name="connsiteX187" fmla="*/ 39578 w 477117"/>
                <a:gd name="connsiteY187" fmla="*/ 17166 h 197239"/>
                <a:gd name="connsiteX188" fmla="*/ 39101 w 477117"/>
                <a:gd name="connsiteY188" fmla="*/ 16969 h 197239"/>
                <a:gd name="connsiteX189" fmla="*/ 38421 w 477117"/>
                <a:gd name="connsiteY189" fmla="*/ 16689 h 197239"/>
                <a:gd name="connsiteX190" fmla="*/ 31715 w 477117"/>
                <a:gd name="connsiteY190" fmla="*/ 13990 h 197239"/>
                <a:gd name="connsiteX191" fmla="*/ 31151 w 477117"/>
                <a:gd name="connsiteY191" fmla="*/ 13758 h 197239"/>
                <a:gd name="connsiteX192" fmla="*/ 30766 w 477117"/>
                <a:gd name="connsiteY192" fmla="*/ 13599 h 197239"/>
                <a:gd name="connsiteX193" fmla="*/ 30361 w 477117"/>
                <a:gd name="connsiteY193" fmla="*/ 13700 h 197239"/>
                <a:gd name="connsiteX194" fmla="*/ 29782 w 477117"/>
                <a:gd name="connsiteY194" fmla="*/ 13831 h 197239"/>
                <a:gd name="connsiteX195" fmla="*/ 21385 w 477117"/>
                <a:gd name="connsiteY195" fmla="*/ 14587 h 197239"/>
                <a:gd name="connsiteX196" fmla="*/ 19558 w 477117"/>
                <a:gd name="connsiteY196" fmla="*/ 12360 h 197239"/>
                <a:gd name="connsiteX197" fmla="*/ 19437 w 477117"/>
                <a:gd name="connsiteY197" fmla="*/ 11931 h 197239"/>
                <a:gd name="connsiteX198" fmla="*/ 16762 w 477117"/>
                <a:gd name="connsiteY198" fmla="*/ 8513 h 197239"/>
                <a:gd name="connsiteX199" fmla="*/ 11690 w 477117"/>
                <a:gd name="connsiteY199" fmla="*/ 8557 h 197239"/>
                <a:gd name="connsiteX200" fmla="*/ 11107 w 477117"/>
                <a:gd name="connsiteY200" fmla="*/ 8745 h 197239"/>
                <a:gd name="connsiteX201" fmla="*/ 9169 w 477117"/>
                <a:gd name="connsiteY201" fmla="*/ 4744 h 197239"/>
                <a:gd name="connsiteX202" fmla="*/ 8070 w 477117"/>
                <a:gd name="connsiteY202" fmla="*/ 2936 h 197239"/>
                <a:gd name="connsiteX203" fmla="*/ 7679 w 477117"/>
                <a:gd name="connsiteY203" fmla="*/ 2063 h 197239"/>
                <a:gd name="connsiteX204" fmla="*/ 7400 w 477117"/>
                <a:gd name="connsiteY204" fmla="*/ 1446 h 197239"/>
                <a:gd name="connsiteX205" fmla="*/ 6739 w 477117"/>
                <a:gd name="connsiteY205" fmla="*/ 1311 h 197239"/>
                <a:gd name="connsiteX206" fmla="*/ 6392 w 477117"/>
                <a:gd name="connsiteY206" fmla="*/ 1239 h 197239"/>
                <a:gd name="connsiteX207" fmla="*/ 5954 w 477117"/>
                <a:gd name="connsiteY207" fmla="*/ 0 h 197239"/>
                <a:gd name="connsiteX208" fmla="*/ 4710 w 477117"/>
                <a:gd name="connsiteY208" fmla="*/ 448 h 197239"/>
                <a:gd name="connsiteX209" fmla="*/ 1244 w 477117"/>
                <a:gd name="connsiteY209" fmla="*/ 1692 h 197239"/>
                <a:gd name="connsiteX210" fmla="*/ 0 w 477117"/>
                <a:gd name="connsiteY210" fmla="*/ 2140 h 197239"/>
                <a:gd name="connsiteX211" fmla="*/ 453 w 477117"/>
                <a:gd name="connsiteY211" fmla="*/ 3379 h 197239"/>
                <a:gd name="connsiteX212" fmla="*/ 1056 w 477117"/>
                <a:gd name="connsiteY212" fmla="*/ 5047 h 197239"/>
                <a:gd name="connsiteX213" fmla="*/ 1374 w 477117"/>
                <a:gd name="connsiteY213" fmla="*/ 5992 h 197239"/>
                <a:gd name="connsiteX214" fmla="*/ 1615 w 477117"/>
                <a:gd name="connsiteY214" fmla="*/ 6696 h 197239"/>
                <a:gd name="connsiteX215" fmla="*/ 2343 w 477117"/>
                <a:gd name="connsiteY215" fmla="*/ 6855 h 197239"/>
                <a:gd name="connsiteX216" fmla="*/ 3172 w 477117"/>
                <a:gd name="connsiteY216" fmla="*/ 7024 h 197239"/>
                <a:gd name="connsiteX217" fmla="*/ 3939 w 477117"/>
                <a:gd name="connsiteY217" fmla="*/ 8296 h 197239"/>
                <a:gd name="connsiteX218" fmla="*/ 4006 w 477117"/>
                <a:gd name="connsiteY218" fmla="*/ 8398 h 197239"/>
                <a:gd name="connsiteX219" fmla="*/ 4912 w 477117"/>
                <a:gd name="connsiteY219" fmla="*/ 9926 h 197239"/>
                <a:gd name="connsiteX220" fmla="*/ 6691 w 477117"/>
                <a:gd name="connsiteY220" fmla="*/ 14472 h 197239"/>
                <a:gd name="connsiteX221" fmla="*/ 13648 w 477117"/>
                <a:gd name="connsiteY221" fmla="*/ 14554 h 197239"/>
                <a:gd name="connsiteX222" fmla="*/ 20073 w 477117"/>
                <a:gd name="connsiteY222" fmla="*/ 20739 h 197239"/>
                <a:gd name="connsiteX223" fmla="*/ 30264 w 477117"/>
                <a:gd name="connsiteY223" fmla="*/ 20208 h 197239"/>
                <a:gd name="connsiteX224" fmla="*/ 34878 w 477117"/>
                <a:gd name="connsiteY224" fmla="*/ 22088 h 197239"/>
                <a:gd name="connsiteX225" fmla="*/ 36816 w 477117"/>
                <a:gd name="connsiteY225" fmla="*/ 26326 h 197239"/>
                <a:gd name="connsiteX226" fmla="*/ 33788 w 477117"/>
                <a:gd name="connsiteY226" fmla="*/ 36218 h 197239"/>
                <a:gd name="connsiteX227" fmla="*/ 28413 w 477117"/>
                <a:gd name="connsiteY227" fmla="*/ 39732 h 197239"/>
                <a:gd name="connsiteX228" fmla="*/ 27435 w 477117"/>
                <a:gd name="connsiteY228" fmla="*/ 40369 h 197239"/>
                <a:gd name="connsiteX229" fmla="*/ 26736 w 477117"/>
                <a:gd name="connsiteY229" fmla="*/ 40822 h 197239"/>
                <a:gd name="connsiteX230" fmla="*/ 26851 w 477117"/>
                <a:gd name="connsiteY230" fmla="*/ 41646 h 197239"/>
                <a:gd name="connsiteX231" fmla="*/ 27010 w 477117"/>
                <a:gd name="connsiteY231" fmla="*/ 42813 h 197239"/>
                <a:gd name="connsiteX232" fmla="*/ 27893 w 477117"/>
                <a:gd name="connsiteY232" fmla="*/ 49239 h 197239"/>
                <a:gd name="connsiteX233" fmla="*/ 28023 w 477117"/>
                <a:gd name="connsiteY233" fmla="*/ 50188 h 197239"/>
                <a:gd name="connsiteX234" fmla="*/ 28119 w 477117"/>
                <a:gd name="connsiteY234" fmla="*/ 50873 h 197239"/>
                <a:gd name="connsiteX235" fmla="*/ 28736 w 477117"/>
                <a:gd name="connsiteY235" fmla="*/ 51181 h 197239"/>
                <a:gd name="connsiteX236" fmla="*/ 29594 w 477117"/>
                <a:gd name="connsiteY236" fmla="*/ 51615 h 197239"/>
                <a:gd name="connsiteX237" fmla="*/ 36319 w 477117"/>
                <a:gd name="connsiteY237" fmla="*/ 55014 h 197239"/>
                <a:gd name="connsiteX238" fmla="*/ 37963 w 477117"/>
                <a:gd name="connsiteY238" fmla="*/ 55843 h 197239"/>
                <a:gd name="connsiteX239" fmla="*/ 39139 w 477117"/>
                <a:gd name="connsiteY239" fmla="*/ 56431 h 197239"/>
                <a:gd name="connsiteX240" fmla="*/ 39732 w 477117"/>
                <a:gd name="connsiteY240" fmla="*/ 55260 h 197239"/>
                <a:gd name="connsiteX241" fmla="*/ 40557 w 477117"/>
                <a:gd name="connsiteY241" fmla="*/ 53616 h 197239"/>
                <a:gd name="connsiteX242" fmla="*/ 43459 w 477117"/>
                <a:gd name="connsiteY242" fmla="*/ 47961 h 197239"/>
                <a:gd name="connsiteX243" fmla="*/ 45136 w 477117"/>
                <a:gd name="connsiteY243" fmla="*/ 46987 h 197239"/>
                <a:gd name="connsiteX244" fmla="*/ 44688 w 477117"/>
                <a:gd name="connsiteY244" fmla="*/ 48371 h 197239"/>
                <a:gd name="connsiteX245" fmla="*/ 44211 w 477117"/>
                <a:gd name="connsiteY245" fmla="*/ 49817 h 197239"/>
                <a:gd name="connsiteX246" fmla="*/ 43868 w 477117"/>
                <a:gd name="connsiteY246" fmla="*/ 50854 h 197239"/>
                <a:gd name="connsiteX247" fmla="*/ 44828 w 477117"/>
                <a:gd name="connsiteY247" fmla="*/ 51384 h 197239"/>
                <a:gd name="connsiteX248" fmla="*/ 46192 w 477117"/>
                <a:gd name="connsiteY248" fmla="*/ 52126 h 197239"/>
                <a:gd name="connsiteX249" fmla="*/ 70300 w 477117"/>
                <a:gd name="connsiteY249" fmla="*/ 65080 h 197239"/>
                <a:gd name="connsiteX250" fmla="*/ 76148 w 477117"/>
                <a:gd name="connsiteY250" fmla="*/ 71221 h 197239"/>
                <a:gd name="connsiteX251" fmla="*/ 76505 w 477117"/>
                <a:gd name="connsiteY251" fmla="*/ 71631 h 197239"/>
                <a:gd name="connsiteX252" fmla="*/ 76794 w 477117"/>
                <a:gd name="connsiteY252" fmla="*/ 71949 h 197239"/>
                <a:gd name="connsiteX253" fmla="*/ 77218 w 477117"/>
                <a:gd name="connsiteY253" fmla="*/ 72041 h 197239"/>
                <a:gd name="connsiteX254" fmla="*/ 77758 w 477117"/>
                <a:gd name="connsiteY254" fmla="*/ 72151 h 197239"/>
                <a:gd name="connsiteX255" fmla="*/ 89887 w 477117"/>
                <a:gd name="connsiteY255" fmla="*/ 74885 h 197239"/>
                <a:gd name="connsiteX256" fmla="*/ 90273 w 477117"/>
                <a:gd name="connsiteY256" fmla="*/ 74976 h 197239"/>
                <a:gd name="connsiteX257" fmla="*/ 90581 w 477117"/>
                <a:gd name="connsiteY257" fmla="*/ 75053 h 197239"/>
                <a:gd name="connsiteX258" fmla="*/ 90890 w 477117"/>
                <a:gd name="connsiteY258" fmla="*/ 74976 h 197239"/>
                <a:gd name="connsiteX259" fmla="*/ 91295 w 477117"/>
                <a:gd name="connsiteY259" fmla="*/ 74875 h 197239"/>
                <a:gd name="connsiteX260" fmla="*/ 91695 w 477117"/>
                <a:gd name="connsiteY260" fmla="*/ 74779 h 197239"/>
                <a:gd name="connsiteX261" fmla="*/ 94298 w 477117"/>
                <a:gd name="connsiteY261" fmla="*/ 74162 h 197239"/>
                <a:gd name="connsiteX262" fmla="*/ 98665 w 477117"/>
                <a:gd name="connsiteY262" fmla="*/ 81774 h 197239"/>
                <a:gd name="connsiteX263" fmla="*/ 107396 w 477117"/>
                <a:gd name="connsiteY263" fmla="*/ 91907 h 197239"/>
                <a:gd name="connsiteX264" fmla="*/ 108413 w 477117"/>
                <a:gd name="connsiteY264" fmla="*/ 93859 h 197239"/>
                <a:gd name="connsiteX265" fmla="*/ 112834 w 477117"/>
                <a:gd name="connsiteY265" fmla="*/ 100232 h 197239"/>
                <a:gd name="connsiteX266" fmla="*/ 116714 w 477117"/>
                <a:gd name="connsiteY266" fmla="*/ 101071 h 197239"/>
                <a:gd name="connsiteX267" fmla="*/ 120532 w 477117"/>
                <a:gd name="connsiteY267" fmla="*/ 97865 h 197239"/>
                <a:gd name="connsiteX268" fmla="*/ 129345 w 477117"/>
                <a:gd name="connsiteY268" fmla="*/ 100396 h 197239"/>
                <a:gd name="connsiteX269" fmla="*/ 129880 w 477117"/>
                <a:gd name="connsiteY269" fmla="*/ 100555 h 197239"/>
                <a:gd name="connsiteX270" fmla="*/ 130265 w 477117"/>
                <a:gd name="connsiteY270" fmla="*/ 100656 h 197239"/>
                <a:gd name="connsiteX271" fmla="*/ 130646 w 477117"/>
                <a:gd name="connsiteY271" fmla="*/ 100541 h 197239"/>
                <a:gd name="connsiteX272" fmla="*/ 131167 w 477117"/>
                <a:gd name="connsiteY272" fmla="*/ 100377 h 197239"/>
                <a:gd name="connsiteX273" fmla="*/ 138914 w 477117"/>
                <a:gd name="connsiteY273" fmla="*/ 96120 h 197239"/>
                <a:gd name="connsiteX274" fmla="*/ 153429 w 477117"/>
                <a:gd name="connsiteY274" fmla="*/ 110664 h 197239"/>
                <a:gd name="connsiteX275" fmla="*/ 165760 w 477117"/>
                <a:gd name="connsiteY275" fmla="*/ 121207 h 197239"/>
                <a:gd name="connsiteX276" fmla="*/ 166652 w 477117"/>
                <a:gd name="connsiteY276" fmla="*/ 121491 h 197239"/>
                <a:gd name="connsiteX277" fmla="*/ 167332 w 477117"/>
                <a:gd name="connsiteY277" fmla="*/ 121708 h 197239"/>
                <a:gd name="connsiteX278" fmla="*/ 167881 w 477117"/>
                <a:gd name="connsiteY278" fmla="*/ 121255 h 197239"/>
                <a:gd name="connsiteX279" fmla="*/ 168633 w 477117"/>
                <a:gd name="connsiteY279" fmla="*/ 120638 h 197239"/>
                <a:gd name="connsiteX280" fmla="*/ 178737 w 477117"/>
                <a:gd name="connsiteY280" fmla="*/ 119486 h 197239"/>
                <a:gd name="connsiteX281" fmla="*/ 179070 w 477117"/>
                <a:gd name="connsiteY281" fmla="*/ 119486 h 197239"/>
                <a:gd name="connsiteX282" fmla="*/ 179364 w 477117"/>
                <a:gd name="connsiteY282" fmla="*/ 119486 h 197239"/>
                <a:gd name="connsiteX283" fmla="*/ 179634 w 477117"/>
                <a:gd name="connsiteY283" fmla="*/ 119361 h 197239"/>
                <a:gd name="connsiteX284" fmla="*/ 179981 w 477117"/>
                <a:gd name="connsiteY284" fmla="*/ 119197 h 197239"/>
                <a:gd name="connsiteX285" fmla="*/ 184590 w 477117"/>
                <a:gd name="connsiteY285" fmla="*/ 117013 h 197239"/>
                <a:gd name="connsiteX286" fmla="*/ 189420 w 477117"/>
                <a:gd name="connsiteY286" fmla="*/ 119317 h 197239"/>
                <a:gd name="connsiteX287" fmla="*/ 192298 w 477117"/>
                <a:gd name="connsiteY287" fmla="*/ 124485 h 197239"/>
                <a:gd name="connsiteX288" fmla="*/ 193368 w 477117"/>
                <a:gd name="connsiteY288" fmla="*/ 126428 h 197239"/>
                <a:gd name="connsiteX289" fmla="*/ 194135 w 477117"/>
                <a:gd name="connsiteY289" fmla="*/ 127807 h 197239"/>
                <a:gd name="connsiteX290" fmla="*/ 195354 w 477117"/>
                <a:gd name="connsiteY290" fmla="*/ 126809 h 197239"/>
                <a:gd name="connsiteX291" fmla="*/ 197061 w 477117"/>
                <a:gd name="connsiteY291" fmla="*/ 125401 h 197239"/>
                <a:gd name="connsiteX292" fmla="*/ 201443 w 477117"/>
                <a:gd name="connsiteY292" fmla="*/ 121771 h 197239"/>
                <a:gd name="connsiteX293" fmla="*/ 205121 w 477117"/>
                <a:gd name="connsiteY293" fmla="*/ 124953 h 197239"/>
                <a:gd name="connsiteX294" fmla="*/ 205676 w 477117"/>
                <a:gd name="connsiteY294" fmla="*/ 125420 h 197239"/>
                <a:gd name="connsiteX295" fmla="*/ 206052 w 477117"/>
                <a:gd name="connsiteY295" fmla="*/ 125739 h 197239"/>
                <a:gd name="connsiteX296" fmla="*/ 206543 w 477117"/>
                <a:gd name="connsiteY296" fmla="*/ 125729 h 197239"/>
                <a:gd name="connsiteX297" fmla="*/ 207262 w 477117"/>
                <a:gd name="connsiteY297" fmla="*/ 125724 h 197239"/>
                <a:gd name="connsiteX298" fmla="*/ 207710 w 477117"/>
                <a:gd name="connsiteY298" fmla="*/ 125700 h 197239"/>
                <a:gd name="connsiteX299" fmla="*/ 216117 w 477117"/>
                <a:gd name="connsiteY299" fmla="*/ 125199 h 197239"/>
                <a:gd name="connsiteX300" fmla="*/ 229996 w 477117"/>
                <a:gd name="connsiteY300" fmla="*/ 128959 h 197239"/>
                <a:gd name="connsiteX301" fmla="*/ 232108 w 477117"/>
                <a:gd name="connsiteY301" fmla="*/ 130048 h 197239"/>
                <a:gd name="connsiteX302" fmla="*/ 233583 w 477117"/>
                <a:gd name="connsiteY302" fmla="*/ 130800 h 197239"/>
                <a:gd name="connsiteX303" fmla="*/ 233983 w 477117"/>
                <a:gd name="connsiteY303" fmla="*/ 129195 h 197239"/>
                <a:gd name="connsiteX304" fmla="*/ 234547 w 477117"/>
                <a:gd name="connsiteY304" fmla="*/ 126929 h 197239"/>
                <a:gd name="connsiteX305" fmla="*/ 236340 w 477117"/>
                <a:gd name="connsiteY305" fmla="*/ 119592 h 197239"/>
                <a:gd name="connsiteX306" fmla="*/ 236441 w 477117"/>
                <a:gd name="connsiteY306" fmla="*/ 119139 h 197239"/>
                <a:gd name="connsiteX307" fmla="*/ 236504 w 477117"/>
                <a:gd name="connsiteY307" fmla="*/ 118859 h 197239"/>
                <a:gd name="connsiteX308" fmla="*/ 236451 w 477117"/>
                <a:gd name="connsiteY308" fmla="*/ 118585 h 197239"/>
                <a:gd name="connsiteX309" fmla="*/ 236369 w 477117"/>
                <a:gd name="connsiteY309" fmla="*/ 118184 h 197239"/>
                <a:gd name="connsiteX310" fmla="*/ 235135 w 477117"/>
                <a:gd name="connsiteY310" fmla="*/ 112400 h 197239"/>
                <a:gd name="connsiteX311" fmla="*/ 236321 w 477117"/>
                <a:gd name="connsiteY311" fmla="*/ 108803 h 197239"/>
                <a:gd name="connsiteX312" fmla="*/ 239830 w 477117"/>
                <a:gd name="connsiteY312" fmla="*/ 107613 h 197239"/>
                <a:gd name="connsiteX313" fmla="*/ 248937 w 477117"/>
                <a:gd name="connsiteY313" fmla="*/ 111527 h 197239"/>
                <a:gd name="connsiteX314" fmla="*/ 255734 w 477117"/>
                <a:gd name="connsiteY314" fmla="*/ 115374 h 197239"/>
                <a:gd name="connsiteX315" fmla="*/ 256028 w 477117"/>
                <a:gd name="connsiteY315" fmla="*/ 115543 h 197239"/>
                <a:gd name="connsiteX316" fmla="*/ 256293 w 477117"/>
                <a:gd name="connsiteY316" fmla="*/ 115702 h 197239"/>
                <a:gd name="connsiteX317" fmla="*/ 256597 w 477117"/>
                <a:gd name="connsiteY317" fmla="*/ 115726 h 197239"/>
                <a:gd name="connsiteX318" fmla="*/ 256953 w 477117"/>
                <a:gd name="connsiteY318" fmla="*/ 115750 h 197239"/>
                <a:gd name="connsiteX319" fmla="*/ 262309 w 477117"/>
                <a:gd name="connsiteY319" fmla="*/ 116444 h 197239"/>
                <a:gd name="connsiteX320" fmla="*/ 273546 w 477117"/>
                <a:gd name="connsiteY320" fmla="*/ 121949 h 197239"/>
                <a:gd name="connsiteX321" fmla="*/ 276285 w 477117"/>
                <a:gd name="connsiteY321" fmla="*/ 127479 h 197239"/>
                <a:gd name="connsiteX322" fmla="*/ 276694 w 477117"/>
                <a:gd name="connsiteY322" fmla="*/ 128303 h 197239"/>
                <a:gd name="connsiteX323" fmla="*/ 276993 w 477117"/>
                <a:gd name="connsiteY323" fmla="*/ 128901 h 197239"/>
                <a:gd name="connsiteX324" fmla="*/ 277649 w 477117"/>
                <a:gd name="connsiteY324" fmla="*/ 129012 h 197239"/>
                <a:gd name="connsiteX325" fmla="*/ 278570 w 477117"/>
                <a:gd name="connsiteY325" fmla="*/ 129171 h 197239"/>
                <a:gd name="connsiteX326" fmla="*/ 296093 w 477117"/>
                <a:gd name="connsiteY326" fmla="*/ 132189 h 197239"/>
                <a:gd name="connsiteX327" fmla="*/ 300137 w 477117"/>
                <a:gd name="connsiteY327" fmla="*/ 138287 h 197239"/>
                <a:gd name="connsiteX328" fmla="*/ 308116 w 477117"/>
                <a:gd name="connsiteY328" fmla="*/ 149847 h 197239"/>
                <a:gd name="connsiteX329" fmla="*/ 331332 w 477117"/>
                <a:gd name="connsiteY329" fmla="*/ 165085 h 197239"/>
                <a:gd name="connsiteX330" fmla="*/ 331679 w 477117"/>
                <a:gd name="connsiteY330" fmla="*/ 165765 h 197239"/>
                <a:gd name="connsiteX331" fmla="*/ 331930 w 477117"/>
                <a:gd name="connsiteY331" fmla="*/ 166252 h 197239"/>
                <a:gd name="connsiteX332" fmla="*/ 332451 w 477117"/>
                <a:gd name="connsiteY332" fmla="*/ 166416 h 197239"/>
                <a:gd name="connsiteX333" fmla="*/ 333164 w 477117"/>
                <a:gd name="connsiteY333" fmla="*/ 166647 h 197239"/>
                <a:gd name="connsiteX334" fmla="*/ 339961 w 477117"/>
                <a:gd name="connsiteY334" fmla="*/ 168845 h 197239"/>
                <a:gd name="connsiteX335" fmla="*/ 350952 w 477117"/>
                <a:gd name="connsiteY335" fmla="*/ 176312 h 197239"/>
                <a:gd name="connsiteX336" fmla="*/ 351680 w 477117"/>
                <a:gd name="connsiteY336" fmla="*/ 181601 h 197239"/>
                <a:gd name="connsiteX337" fmla="*/ 351782 w 477117"/>
                <a:gd name="connsiteY337" fmla="*/ 182401 h 197239"/>
                <a:gd name="connsiteX338" fmla="*/ 351859 w 477117"/>
                <a:gd name="connsiteY338" fmla="*/ 182989 h 197239"/>
                <a:gd name="connsiteX339" fmla="*/ 352355 w 477117"/>
                <a:gd name="connsiteY339" fmla="*/ 183322 h 197239"/>
                <a:gd name="connsiteX340" fmla="*/ 353011 w 477117"/>
                <a:gd name="connsiteY340" fmla="*/ 183765 h 197239"/>
                <a:gd name="connsiteX341" fmla="*/ 359562 w 477117"/>
                <a:gd name="connsiteY341" fmla="*/ 188413 h 197239"/>
                <a:gd name="connsiteX342" fmla="*/ 360252 w 477117"/>
                <a:gd name="connsiteY342" fmla="*/ 188890 h 197239"/>
                <a:gd name="connsiteX343" fmla="*/ 360724 w 477117"/>
                <a:gd name="connsiteY343" fmla="*/ 189208 h 197239"/>
                <a:gd name="connsiteX344" fmla="*/ 361283 w 477117"/>
                <a:gd name="connsiteY344" fmla="*/ 189087 h 197239"/>
                <a:gd name="connsiteX345" fmla="*/ 362074 w 477117"/>
                <a:gd name="connsiteY345" fmla="*/ 188914 h 197239"/>
                <a:gd name="connsiteX346" fmla="*/ 367873 w 477117"/>
                <a:gd name="connsiteY346" fmla="*/ 187641 h 197239"/>
                <a:gd name="connsiteX347" fmla="*/ 368543 w 477117"/>
                <a:gd name="connsiteY347" fmla="*/ 187511 h 197239"/>
                <a:gd name="connsiteX348" fmla="*/ 369064 w 477117"/>
                <a:gd name="connsiteY348" fmla="*/ 187410 h 197239"/>
                <a:gd name="connsiteX349" fmla="*/ 369368 w 477117"/>
                <a:gd name="connsiteY349" fmla="*/ 186966 h 197239"/>
                <a:gd name="connsiteX350" fmla="*/ 369773 w 477117"/>
                <a:gd name="connsiteY350" fmla="*/ 186378 h 197239"/>
                <a:gd name="connsiteX351" fmla="*/ 373369 w 477117"/>
                <a:gd name="connsiteY351" fmla="*/ 181418 h 197239"/>
                <a:gd name="connsiteX352" fmla="*/ 378011 w 477117"/>
                <a:gd name="connsiteY352" fmla="*/ 181900 h 197239"/>
                <a:gd name="connsiteX353" fmla="*/ 378339 w 477117"/>
                <a:gd name="connsiteY353" fmla="*/ 181934 h 197239"/>
                <a:gd name="connsiteX354" fmla="*/ 378604 w 477117"/>
                <a:gd name="connsiteY354" fmla="*/ 181962 h 197239"/>
                <a:gd name="connsiteX355" fmla="*/ 378864 w 477117"/>
                <a:gd name="connsiteY355" fmla="*/ 181881 h 197239"/>
                <a:gd name="connsiteX356" fmla="*/ 379183 w 477117"/>
                <a:gd name="connsiteY356" fmla="*/ 181784 h 197239"/>
                <a:gd name="connsiteX357" fmla="*/ 379351 w 477117"/>
                <a:gd name="connsiteY357" fmla="*/ 181736 h 197239"/>
                <a:gd name="connsiteX358" fmla="*/ 385146 w 477117"/>
                <a:gd name="connsiteY358" fmla="*/ 180092 h 197239"/>
                <a:gd name="connsiteX359" fmla="*/ 408247 w 477117"/>
                <a:gd name="connsiteY359" fmla="*/ 195716 h 197239"/>
                <a:gd name="connsiteX360" fmla="*/ 409114 w 477117"/>
                <a:gd name="connsiteY360" fmla="*/ 196598 h 197239"/>
                <a:gd name="connsiteX361" fmla="*/ 409741 w 477117"/>
                <a:gd name="connsiteY361" fmla="*/ 197239 h 197239"/>
                <a:gd name="connsiteX362" fmla="*/ 410565 w 477117"/>
                <a:gd name="connsiteY362" fmla="*/ 196883 h 197239"/>
                <a:gd name="connsiteX363" fmla="*/ 411698 w 477117"/>
                <a:gd name="connsiteY363" fmla="*/ 196400 h 197239"/>
                <a:gd name="connsiteX364" fmla="*/ 416326 w 477117"/>
                <a:gd name="connsiteY364" fmla="*/ 194453 h 197239"/>
                <a:gd name="connsiteX365" fmla="*/ 421523 w 477117"/>
                <a:gd name="connsiteY365" fmla="*/ 195649 h 197239"/>
                <a:gd name="connsiteX366" fmla="*/ 422921 w 477117"/>
                <a:gd name="connsiteY366" fmla="*/ 195957 h 197239"/>
                <a:gd name="connsiteX367" fmla="*/ 423914 w 477117"/>
                <a:gd name="connsiteY367" fmla="*/ 196179 h 197239"/>
                <a:gd name="connsiteX368" fmla="*/ 424377 w 477117"/>
                <a:gd name="connsiteY368" fmla="*/ 195273 h 197239"/>
                <a:gd name="connsiteX369" fmla="*/ 425032 w 477117"/>
                <a:gd name="connsiteY369" fmla="*/ 193995 h 197239"/>
                <a:gd name="connsiteX370" fmla="*/ 427804 w 477117"/>
                <a:gd name="connsiteY370" fmla="*/ 188697 h 197239"/>
                <a:gd name="connsiteX371" fmla="*/ 432548 w 477117"/>
                <a:gd name="connsiteY371" fmla="*/ 186248 h 197239"/>
                <a:gd name="connsiteX372" fmla="*/ 437928 w 477117"/>
                <a:gd name="connsiteY372" fmla="*/ 187718 h 197239"/>
                <a:gd name="connsiteX373" fmla="*/ 438776 w 477117"/>
                <a:gd name="connsiteY373" fmla="*/ 187955 h 197239"/>
                <a:gd name="connsiteX374" fmla="*/ 439393 w 477117"/>
                <a:gd name="connsiteY374" fmla="*/ 188128 h 197239"/>
                <a:gd name="connsiteX375" fmla="*/ 439904 w 477117"/>
                <a:gd name="connsiteY375" fmla="*/ 187752 h 197239"/>
                <a:gd name="connsiteX376" fmla="*/ 440622 w 477117"/>
                <a:gd name="connsiteY376" fmla="*/ 187231 h 197239"/>
                <a:gd name="connsiteX377" fmla="*/ 448022 w 477117"/>
                <a:gd name="connsiteY377" fmla="*/ 181909 h 197239"/>
                <a:gd name="connsiteX378" fmla="*/ 453176 w 477117"/>
                <a:gd name="connsiteY378" fmla="*/ 180526 h 197239"/>
                <a:gd name="connsiteX379" fmla="*/ 457770 w 477117"/>
                <a:gd name="connsiteY379" fmla="*/ 181124 h 197239"/>
                <a:gd name="connsiteX380" fmla="*/ 463155 w 477117"/>
                <a:gd name="connsiteY380" fmla="*/ 185351 h 197239"/>
                <a:gd name="connsiteX381" fmla="*/ 463439 w 477117"/>
                <a:gd name="connsiteY381" fmla="*/ 185554 h 197239"/>
                <a:gd name="connsiteX382" fmla="*/ 463579 w 477117"/>
                <a:gd name="connsiteY382" fmla="*/ 185665 h 197239"/>
                <a:gd name="connsiteX383" fmla="*/ 463743 w 477117"/>
                <a:gd name="connsiteY383" fmla="*/ 185727 h 197239"/>
                <a:gd name="connsiteX384" fmla="*/ 464046 w 477117"/>
                <a:gd name="connsiteY384" fmla="*/ 185838 h 197239"/>
                <a:gd name="connsiteX385" fmla="*/ 470535 w 477117"/>
                <a:gd name="connsiteY385" fmla="*/ 188089 h 197239"/>
                <a:gd name="connsiteX386" fmla="*/ 470935 w 477117"/>
                <a:gd name="connsiteY386" fmla="*/ 188196 h 197239"/>
                <a:gd name="connsiteX387" fmla="*/ 471137 w 477117"/>
                <a:gd name="connsiteY387" fmla="*/ 188258 h 197239"/>
                <a:gd name="connsiteX388" fmla="*/ 471350 w 477117"/>
                <a:gd name="connsiteY388" fmla="*/ 188253 h 197239"/>
                <a:gd name="connsiteX389" fmla="*/ 471687 w 477117"/>
                <a:gd name="connsiteY389" fmla="*/ 188234 h 197239"/>
                <a:gd name="connsiteX390" fmla="*/ 473370 w 477117"/>
                <a:gd name="connsiteY390" fmla="*/ 188186 h 197239"/>
                <a:gd name="connsiteX391" fmla="*/ 474420 w 477117"/>
                <a:gd name="connsiteY391" fmla="*/ 188157 h 197239"/>
                <a:gd name="connsiteX392" fmla="*/ 475187 w 477117"/>
                <a:gd name="connsiteY392" fmla="*/ 188138 h 197239"/>
                <a:gd name="connsiteX393" fmla="*/ 475548 w 477117"/>
                <a:gd name="connsiteY393" fmla="*/ 187453 h 197239"/>
                <a:gd name="connsiteX394" fmla="*/ 476011 w 477117"/>
                <a:gd name="connsiteY394" fmla="*/ 186586 h 197239"/>
                <a:gd name="connsiteX395" fmla="*/ 477115 w 477117"/>
                <a:gd name="connsiteY395" fmla="*/ 185612 h 197239"/>
                <a:gd name="connsiteX396" fmla="*/ 475847 w 477117"/>
                <a:gd name="connsiteY396" fmla="*/ 184681 h 197239"/>
                <a:gd name="connsiteX397" fmla="*/ 474290 w 477117"/>
                <a:gd name="connsiteY397" fmla="*/ 184884 h 197239"/>
                <a:gd name="connsiteX398" fmla="*/ 475804 w 477117"/>
                <a:gd name="connsiteY398" fmla="*/ 184787 h 197239"/>
                <a:gd name="connsiteX399" fmla="*/ 476127 w 477117"/>
                <a:gd name="connsiteY399" fmla="*/ 185954 h 197239"/>
                <a:gd name="connsiteX400" fmla="*/ 474290 w 477117"/>
                <a:gd name="connsiteY400" fmla="*/ 184884 h 197239"/>
                <a:gd name="connsiteX401" fmla="*/ 14293 w 477117"/>
                <a:gd name="connsiteY401" fmla="*/ 14351 h 197239"/>
                <a:gd name="connsiteX402" fmla="*/ 14399 w 477117"/>
                <a:gd name="connsiteY402" fmla="*/ 14327 h 197239"/>
                <a:gd name="connsiteX403" fmla="*/ 14197 w 477117"/>
                <a:gd name="connsiteY403" fmla="*/ 14298 h 197239"/>
                <a:gd name="connsiteX404" fmla="*/ 14115 w 477117"/>
                <a:gd name="connsiteY404" fmla="*/ 14250 h 197239"/>
                <a:gd name="connsiteX405" fmla="*/ 13590 w 477117"/>
                <a:gd name="connsiteY405" fmla="*/ 13840 h 197239"/>
                <a:gd name="connsiteX406" fmla="*/ 14727 w 477117"/>
                <a:gd name="connsiteY406" fmla="*/ 13585 h 197239"/>
                <a:gd name="connsiteX407" fmla="*/ 15137 w 477117"/>
                <a:gd name="connsiteY407" fmla="*/ 14631 h 197239"/>
                <a:gd name="connsiteX408" fmla="*/ 15050 w 477117"/>
                <a:gd name="connsiteY408" fmla="*/ 14770 h 197239"/>
                <a:gd name="connsiteX409" fmla="*/ 14293 w 477117"/>
                <a:gd name="connsiteY409" fmla="*/ 14351 h 197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477117" h="197239">
                  <a:moveTo>
                    <a:pt x="475847" y="184681"/>
                  </a:moveTo>
                  <a:lnTo>
                    <a:pt x="474536" y="183298"/>
                  </a:lnTo>
                  <a:lnTo>
                    <a:pt x="474536" y="183182"/>
                  </a:lnTo>
                  <a:lnTo>
                    <a:pt x="474522" y="181861"/>
                  </a:lnTo>
                  <a:lnTo>
                    <a:pt x="473201" y="181885"/>
                  </a:lnTo>
                  <a:lnTo>
                    <a:pt x="473196" y="181885"/>
                  </a:lnTo>
                  <a:lnTo>
                    <a:pt x="472531" y="181196"/>
                  </a:lnTo>
                  <a:lnTo>
                    <a:pt x="471846" y="181842"/>
                  </a:lnTo>
                  <a:lnTo>
                    <a:pt x="466635" y="180077"/>
                  </a:lnTo>
                  <a:lnTo>
                    <a:pt x="460976" y="175638"/>
                  </a:lnTo>
                  <a:cubicBezTo>
                    <a:pt x="461014" y="175667"/>
                    <a:pt x="460619" y="175334"/>
                    <a:pt x="460619" y="175334"/>
                  </a:cubicBezTo>
                  <a:lnTo>
                    <a:pt x="460310" y="175069"/>
                  </a:lnTo>
                  <a:lnTo>
                    <a:pt x="459910" y="175026"/>
                  </a:lnTo>
                  <a:lnTo>
                    <a:pt x="459414" y="174973"/>
                  </a:lnTo>
                  <a:cubicBezTo>
                    <a:pt x="459447" y="174977"/>
                    <a:pt x="453383" y="174182"/>
                    <a:pt x="453383" y="174182"/>
                  </a:cubicBezTo>
                  <a:cubicBezTo>
                    <a:pt x="453397" y="174187"/>
                    <a:pt x="453041" y="174134"/>
                    <a:pt x="453041" y="174134"/>
                  </a:cubicBezTo>
                  <a:lnTo>
                    <a:pt x="452732" y="174085"/>
                  </a:lnTo>
                  <a:lnTo>
                    <a:pt x="452438" y="174187"/>
                  </a:lnTo>
                  <a:lnTo>
                    <a:pt x="452081" y="174302"/>
                  </a:lnTo>
                  <a:cubicBezTo>
                    <a:pt x="452158" y="174283"/>
                    <a:pt x="445824" y="175980"/>
                    <a:pt x="445824" y="175980"/>
                  </a:cubicBezTo>
                  <a:cubicBezTo>
                    <a:pt x="445843" y="175975"/>
                    <a:pt x="445520" y="176057"/>
                    <a:pt x="445520" y="176057"/>
                  </a:cubicBezTo>
                  <a:lnTo>
                    <a:pt x="445274" y="176120"/>
                  </a:lnTo>
                  <a:lnTo>
                    <a:pt x="445072" y="176269"/>
                  </a:lnTo>
                  <a:lnTo>
                    <a:pt x="444802" y="176462"/>
                  </a:lnTo>
                  <a:cubicBezTo>
                    <a:pt x="444802" y="176462"/>
                    <a:pt x="439755" y="180092"/>
                    <a:pt x="438164" y="181234"/>
                  </a:cubicBezTo>
                  <a:lnTo>
                    <a:pt x="433030" y="179817"/>
                  </a:lnTo>
                  <a:cubicBezTo>
                    <a:pt x="433025" y="179817"/>
                    <a:pt x="432336" y="179634"/>
                    <a:pt x="432336" y="179634"/>
                  </a:cubicBezTo>
                  <a:lnTo>
                    <a:pt x="431839" y="179499"/>
                  </a:lnTo>
                  <a:lnTo>
                    <a:pt x="431381" y="179745"/>
                  </a:lnTo>
                  <a:lnTo>
                    <a:pt x="430730" y="180082"/>
                  </a:lnTo>
                  <a:cubicBezTo>
                    <a:pt x="430735" y="180077"/>
                    <a:pt x="424010" y="183592"/>
                    <a:pt x="424010" y="183592"/>
                  </a:cubicBezTo>
                  <a:cubicBezTo>
                    <a:pt x="424034" y="183577"/>
                    <a:pt x="423514" y="183838"/>
                    <a:pt x="423514" y="183838"/>
                  </a:cubicBezTo>
                  <a:lnTo>
                    <a:pt x="423128" y="184026"/>
                  </a:lnTo>
                  <a:lnTo>
                    <a:pt x="422930" y="184407"/>
                  </a:lnTo>
                  <a:lnTo>
                    <a:pt x="422665" y="184908"/>
                  </a:lnTo>
                  <a:lnTo>
                    <a:pt x="420568" y="188928"/>
                  </a:lnTo>
                  <a:lnTo>
                    <a:pt x="416745" y="188056"/>
                  </a:lnTo>
                  <a:cubicBezTo>
                    <a:pt x="416745" y="188056"/>
                    <a:pt x="416167" y="187926"/>
                    <a:pt x="416167" y="187926"/>
                  </a:cubicBezTo>
                  <a:lnTo>
                    <a:pt x="415772" y="187839"/>
                  </a:lnTo>
                  <a:lnTo>
                    <a:pt x="415396" y="187988"/>
                  </a:lnTo>
                  <a:lnTo>
                    <a:pt x="414841" y="188205"/>
                  </a:lnTo>
                  <a:cubicBezTo>
                    <a:pt x="414817" y="188220"/>
                    <a:pt x="412450" y="189237"/>
                    <a:pt x="411173" y="189787"/>
                  </a:cubicBezTo>
                  <a:cubicBezTo>
                    <a:pt x="404925" y="183775"/>
                    <a:pt x="391051" y="171617"/>
                    <a:pt x="383324" y="174052"/>
                  </a:cubicBezTo>
                  <a:cubicBezTo>
                    <a:pt x="380961" y="174755"/>
                    <a:pt x="378797" y="175358"/>
                    <a:pt x="378074" y="175551"/>
                  </a:cubicBezTo>
                  <a:lnTo>
                    <a:pt x="372202" y="174973"/>
                  </a:lnTo>
                  <a:cubicBezTo>
                    <a:pt x="372197" y="174973"/>
                    <a:pt x="371137" y="174871"/>
                    <a:pt x="371137" y="174871"/>
                  </a:cubicBezTo>
                  <a:lnTo>
                    <a:pt x="370390" y="174794"/>
                  </a:lnTo>
                  <a:lnTo>
                    <a:pt x="369946" y="175402"/>
                  </a:lnTo>
                  <a:lnTo>
                    <a:pt x="369324" y="176255"/>
                  </a:lnTo>
                  <a:cubicBezTo>
                    <a:pt x="369324" y="176264"/>
                    <a:pt x="366297" y="180439"/>
                    <a:pt x="365357" y="181736"/>
                  </a:cubicBezTo>
                  <a:lnTo>
                    <a:pt x="362084" y="182454"/>
                  </a:lnTo>
                  <a:lnTo>
                    <a:pt x="357764" y="179403"/>
                  </a:lnTo>
                  <a:lnTo>
                    <a:pt x="357036" y="174057"/>
                  </a:lnTo>
                  <a:cubicBezTo>
                    <a:pt x="357036" y="174042"/>
                    <a:pt x="356920" y="173222"/>
                    <a:pt x="356920" y="173222"/>
                  </a:cubicBezTo>
                  <a:lnTo>
                    <a:pt x="356839" y="172639"/>
                  </a:lnTo>
                  <a:lnTo>
                    <a:pt x="356342" y="172316"/>
                  </a:lnTo>
                  <a:lnTo>
                    <a:pt x="355662" y="171858"/>
                  </a:lnTo>
                  <a:cubicBezTo>
                    <a:pt x="355677" y="171868"/>
                    <a:pt x="343157" y="163369"/>
                    <a:pt x="343157" y="163369"/>
                  </a:cubicBezTo>
                  <a:cubicBezTo>
                    <a:pt x="343210" y="163412"/>
                    <a:pt x="343003" y="163253"/>
                    <a:pt x="343003" y="163253"/>
                  </a:cubicBezTo>
                  <a:lnTo>
                    <a:pt x="342791" y="163094"/>
                  </a:lnTo>
                  <a:lnTo>
                    <a:pt x="342540" y="163027"/>
                  </a:lnTo>
                  <a:lnTo>
                    <a:pt x="342285" y="162959"/>
                  </a:lnTo>
                  <a:cubicBezTo>
                    <a:pt x="342352" y="162974"/>
                    <a:pt x="337744" y="161484"/>
                    <a:pt x="336283" y="161017"/>
                  </a:cubicBezTo>
                  <a:cubicBezTo>
                    <a:pt x="334017" y="157203"/>
                    <a:pt x="324694" y="143397"/>
                    <a:pt x="308935" y="143575"/>
                  </a:cubicBezTo>
                  <a:cubicBezTo>
                    <a:pt x="308241" y="142336"/>
                    <a:pt x="307060" y="139376"/>
                    <a:pt x="306057" y="136011"/>
                  </a:cubicBezTo>
                  <a:cubicBezTo>
                    <a:pt x="306057" y="135992"/>
                    <a:pt x="305970" y="135732"/>
                    <a:pt x="305970" y="135732"/>
                  </a:cubicBezTo>
                  <a:lnTo>
                    <a:pt x="305913" y="135554"/>
                  </a:lnTo>
                  <a:lnTo>
                    <a:pt x="305811" y="135404"/>
                  </a:lnTo>
                  <a:lnTo>
                    <a:pt x="305667" y="135182"/>
                  </a:lnTo>
                  <a:lnTo>
                    <a:pt x="300619" y="127561"/>
                  </a:lnTo>
                  <a:cubicBezTo>
                    <a:pt x="300610" y="127541"/>
                    <a:pt x="300166" y="126891"/>
                    <a:pt x="300166" y="126891"/>
                  </a:cubicBezTo>
                  <a:lnTo>
                    <a:pt x="299848" y="126418"/>
                  </a:lnTo>
                  <a:lnTo>
                    <a:pt x="299289" y="126327"/>
                  </a:lnTo>
                  <a:lnTo>
                    <a:pt x="298508" y="126206"/>
                  </a:lnTo>
                  <a:cubicBezTo>
                    <a:pt x="298522" y="126211"/>
                    <a:pt x="284441" y="123781"/>
                    <a:pt x="281250" y="123232"/>
                  </a:cubicBezTo>
                  <a:lnTo>
                    <a:pt x="278748" y="118189"/>
                  </a:lnTo>
                  <a:cubicBezTo>
                    <a:pt x="278743" y="118180"/>
                    <a:pt x="278449" y="117611"/>
                    <a:pt x="278449" y="117611"/>
                  </a:cubicBezTo>
                  <a:lnTo>
                    <a:pt x="278251" y="117225"/>
                  </a:lnTo>
                  <a:lnTo>
                    <a:pt x="277856" y="117028"/>
                  </a:lnTo>
                  <a:lnTo>
                    <a:pt x="277287" y="116748"/>
                  </a:lnTo>
                  <a:lnTo>
                    <a:pt x="264638" y="110568"/>
                  </a:lnTo>
                  <a:cubicBezTo>
                    <a:pt x="264671" y="110587"/>
                    <a:pt x="264392" y="110438"/>
                    <a:pt x="264392" y="110438"/>
                  </a:cubicBezTo>
                  <a:lnTo>
                    <a:pt x="264160" y="110317"/>
                  </a:lnTo>
                  <a:lnTo>
                    <a:pt x="263895" y="110293"/>
                  </a:lnTo>
                  <a:lnTo>
                    <a:pt x="263606" y="110269"/>
                  </a:lnTo>
                  <a:cubicBezTo>
                    <a:pt x="263654" y="110269"/>
                    <a:pt x="259388" y="109719"/>
                    <a:pt x="258303" y="109570"/>
                  </a:cubicBezTo>
                  <a:lnTo>
                    <a:pt x="251747" y="105872"/>
                  </a:lnTo>
                  <a:cubicBezTo>
                    <a:pt x="251848" y="105940"/>
                    <a:pt x="251665" y="105815"/>
                    <a:pt x="251665" y="105815"/>
                  </a:cubicBezTo>
                  <a:lnTo>
                    <a:pt x="251487" y="105689"/>
                  </a:lnTo>
                  <a:lnTo>
                    <a:pt x="251284" y="105636"/>
                  </a:lnTo>
                  <a:lnTo>
                    <a:pt x="251072" y="105569"/>
                  </a:lnTo>
                  <a:cubicBezTo>
                    <a:pt x="246748" y="104335"/>
                    <a:pt x="243663" y="102835"/>
                    <a:pt x="243176" y="102353"/>
                  </a:cubicBezTo>
                  <a:lnTo>
                    <a:pt x="242843" y="101765"/>
                  </a:lnTo>
                  <a:lnTo>
                    <a:pt x="242843" y="101760"/>
                  </a:lnTo>
                  <a:lnTo>
                    <a:pt x="242530" y="101206"/>
                  </a:lnTo>
                  <a:lnTo>
                    <a:pt x="241368" y="101866"/>
                  </a:lnTo>
                  <a:cubicBezTo>
                    <a:pt x="241334" y="101910"/>
                    <a:pt x="240611" y="102127"/>
                    <a:pt x="240221" y="102242"/>
                  </a:cubicBezTo>
                  <a:lnTo>
                    <a:pt x="240148" y="101423"/>
                  </a:lnTo>
                  <a:lnTo>
                    <a:pt x="240847" y="100666"/>
                  </a:lnTo>
                  <a:cubicBezTo>
                    <a:pt x="240717" y="100719"/>
                    <a:pt x="240105" y="100912"/>
                    <a:pt x="239618" y="101047"/>
                  </a:cubicBezTo>
                  <a:cubicBezTo>
                    <a:pt x="235188" y="102397"/>
                    <a:pt x="232676" y="103404"/>
                    <a:pt x="232310" y="103650"/>
                  </a:cubicBezTo>
                  <a:lnTo>
                    <a:pt x="232512" y="103534"/>
                  </a:lnTo>
                  <a:lnTo>
                    <a:pt x="231780" y="103852"/>
                  </a:lnTo>
                  <a:lnTo>
                    <a:pt x="231235" y="104094"/>
                  </a:lnTo>
                  <a:lnTo>
                    <a:pt x="231052" y="104658"/>
                  </a:lnTo>
                  <a:lnTo>
                    <a:pt x="230801" y="105448"/>
                  </a:lnTo>
                  <a:cubicBezTo>
                    <a:pt x="230806" y="105434"/>
                    <a:pt x="228887" y="111223"/>
                    <a:pt x="228887" y="111223"/>
                  </a:cubicBezTo>
                  <a:cubicBezTo>
                    <a:pt x="228892" y="111204"/>
                    <a:pt x="228733" y="111667"/>
                    <a:pt x="228733" y="111667"/>
                  </a:cubicBezTo>
                  <a:lnTo>
                    <a:pt x="228612" y="112009"/>
                  </a:lnTo>
                  <a:lnTo>
                    <a:pt x="228685" y="112361"/>
                  </a:lnTo>
                  <a:lnTo>
                    <a:pt x="228786" y="112872"/>
                  </a:lnTo>
                  <a:cubicBezTo>
                    <a:pt x="228786" y="112891"/>
                    <a:pt x="229794" y="117577"/>
                    <a:pt x="230054" y="118787"/>
                  </a:cubicBezTo>
                  <a:lnTo>
                    <a:pt x="229326" y="121786"/>
                  </a:lnTo>
                  <a:cubicBezTo>
                    <a:pt x="225966" y="120436"/>
                    <a:pt x="220769" y="118734"/>
                    <a:pt x="215751" y="118893"/>
                  </a:cubicBezTo>
                  <a:cubicBezTo>
                    <a:pt x="212936" y="119144"/>
                    <a:pt x="210169" y="119274"/>
                    <a:pt x="208515" y="119356"/>
                  </a:cubicBezTo>
                  <a:lnTo>
                    <a:pt x="208322" y="119361"/>
                  </a:lnTo>
                  <a:lnTo>
                    <a:pt x="203583" y="115244"/>
                  </a:lnTo>
                  <a:cubicBezTo>
                    <a:pt x="203574" y="115239"/>
                    <a:pt x="202393" y="114236"/>
                    <a:pt x="202393" y="114236"/>
                  </a:cubicBezTo>
                  <a:lnTo>
                    <a:pt x="201559" y="113532"/>
                  </a:lnTo>
                  <a:lnTo>
                    <a:pt x="200710" y="114227"/>
                  </a:lnTo>
                  <a:lnTo>
                    <a:pt x="199510" y="115205"/>
                  </a:lnTo>
                  <a:cubicBezTo>
                    <a:pt x="199510" y="115210"/>
                    <a:pt x="197394" y="116950"/>
                    <a:pt x="195991" y="118117"/>
                  </a:cubicBezTo>
                  <a:lnTo>
                    <a:pt x="194463" y="115360"/>
                  </a:lnTo>
                  <a:cubicBezTo>
                    <a:pt x="194463" y="115364"/>
                    <a:pt x="194183" y="114853"/>
                    <a:pt x="194183" y="114853"/>
                  </a:cubicBezTo>
                  <a:lnTo>
                    <a:pt x="193981" y="114487"/>
                  </a:lnTo>
                  <a:lnTo>
                    <a:pt x="193614" y="114309"/>
                  </a:lnTo>
                  <a:lnTo>
                    <a:pt x="193079" y="114039"/>
                  </a:lnTo>
                  <a:cubicBezTo>
                    <a:pt x="193055" y="114029"/>
                    <a:pt x="185959" y="110674"/>
                    <a:pt x="185959" y="110674"/>
                  </a:cubicBezTo>
                  <a:cubicBezTo>
                    <a:pt x="185949" y="110669"/>
                    <a:pt x="185159" y="110303"/>
                    <a:pt x="185159" y="110303"/>
                  </a:cubicBezTo>
                  <a:lnTo>
                    <a:pt x="184604" y="110042"/>
                  </a:lnTo>
                  <a:lnTo>
                    <a:pt x="184055" y="110303"/>
                  </a:lnTo>
                  <a:lnTo>
                    <a:pt x="183264" y="110669"/>
                  </a:lnTo>
                  <a:cubicBezTo>
                    <a:pt x="183250" y="110674"/>
                    <a:pt x="178916" y="112742"/>
                    <a:pt x="177865" y="113238"/>
                  </a:cubicBezTo>
                  <a:cubicBezTo>
                    <a:pt x="172562" y="113475"/>
                    <a:pt x="168927" y="113976"/>
                    <a:pt x="166686" y="114752"/>
                  </a:cubicBezTo>
                  <a:cubicBezTo>
                    <a:pt x="163707" y="113518"/>
                    <a:pt x="160289" y="110515"/>
                    <a:pt x="159223" y="108109"/>
                  </a:cubicBezTo>
                  <a:cubicBezTo>
                    <a:pt x="157709" y="104720"/>
                    <a:pt x="145706" y="90875"/>
                    <a:pt x="139564" y="89723"/>
                  </a:cubicBezTo>
                  <a:cubicBezTo>
                    <a:pt x="137371" y="89313"/>
                    <a:pt x="136002" y="90273"/>
                    <a:pt x="135385" y="90875"/>
                  </a:cubicBezTo>
                  <a:cubicBezTo>
                    <a:pt x="134556" y="91714"/>
                    <a:pt x="132941" y="92914"/>
                    <a:pt x="130087" y="94071"/>
                  </a:cubicBezTo>
                  <a:lnTo>
                    <a:pt x="119877" y="91135"/>
                  </a:lnTo>
                  <a:cubicBezTo>
                    <a:pt x="119891" y="91135"/>
                    <a:pt x="118324" y="90673"/>
                    <a:pt x="118324" y="90673"/>
                  </a:cubicBezTo>
                  <a:lnTo>
                    <a:pt x="117206" y="90345"/>
                  </a:lnTo>
                  <a:lnTo>
                    <a:pt x="116743" y="91420"/>
                  </a:lnTo>
                  <a:lnTo>
                    <a:pt x="116107" y="92910"/>
                  </a:lnTo>
                  <a:cubicBezTo>
                    <a:pt x="115977" y="93218"/>
                    <a:pt x="115808" y="93498"/>
                    <a:pt x="115649" y="93787"/>
                  </a:cubicBezTo>
                  <a:cubicBezTo>
                    <a:pt x="115167" y="93064"/>
                    <a:pt x="114670" y="92206"/>
                    <a:pt x="114063" y="91015"/>
                  </a:cubicBezTo>
                  <a:cubicBezTo>
                    <a:pt x="113668" y="90215"/>
                    <a:pt x="113325" y="89540"/>
                    <a:pt x="112978" y="88908"/>
                  </a:cubicBezTo>
                  <a:cubicBezTo>
                    <a:pt x="111600" y="86348"/>
                    <a:pt x="108292" y="82439"/>
                    <a:pt x="103139" y="77319"/>
                  </a:cubicBezTo>
                  <a:cubicBezTo>
                    <a:pt x="101119" y="75309"/>
                    <a:pt x="100131" y="73082"/>
                    <a:pt x="99933" y="70079"/>
                  </a:cubicBezTo>
                  <a:lnTo>
                    <a:pt x="99784" y="67847"/>
                  </a:lnTo>
                  <a:lnTo>
                    <a:pt x="99678" y="66261"/>
                  </a:lnTo>
                  <a:lnTo>
                    <a:pt x="98140" y="66656"/>
                  </a:lnTo>
                  <a:lnTo>
                    <a:pt x="95975" y="67230"/>
                  </a:lnTo>
                  <a:cubicBezTo>
                    <a:pt x="94018" y="67750"/>
                    <a:pt x="91685" y="68324"/>
                    <a:pt x="90586" y="68589"/>
                  </a:cubicBezTo>
                  <a:lnTo>
                    <a:pt x="80067" y="66212"/>
                  </a:lnTo>
                  <a:lnTo>
                    <a:pt x="74533" y="60360"/>
                  </a:lnTo>
                  <a:cubicBezTo>
                    <a:pt x="74519" y="60346"/>
                    <a:pt x="74316" y="60134"/>
                    <a:pt x="74316" y="60134"/>
                  </a:cubicBezTo>
                  <a:lnTo>
                    <a:pt x="74186" y="60003"/>
                  </a:lnTo>
                  <a:lnTo>
                    <a:pt x="74022" y="59907"/>
                  </a:lnTo>
                  <a:lnTo>
                    <a:pt x="73757" y="59757"/>
                  </a:lnTo>
                  <a:cubicBezTo>
                    <a:pt x="73733" y="59748"/>
                    <a:pt x="55887" y="50155"/>
                    <a:pt x="51524" y="47807"/>
                  </a:cubicBezTo>
                  <a:lnTo>
                    <a:pt x="52256" y="45532"/>
                  </a:lnTo>
                  <a:cubicBezTo>
                    <a:pt x="52247" y="45570"/>
                    <a:pt x="52310" y="45392"/>
                    <a:pt x="52310" y="45392"/>
                  </a:cubicBezTo>
                  <a:lnTo>
                    <a:pt x="52363" y="45237"/>
                  </a:lnTo>
                  <a:lnTo>
                    <a:pt x="52382" y="45079"/>
                  </a:lnTo>
                  <a:lnTo>
                    <a:pt x="52401" y="44895"/>
                  </a:lnTo>
                  <a:cubicBezTo>
                    <a:pt x="52555" y="43444"/>
                    <a:pt x="52126" y="41318"/>
                    <a:pt x="50396" y="40132"/>
                  </a:cubicBezTo>
                  <a:cubicBezTo>
                    <a:pt x="49258" y="39356"/>
                    <a:pt x="47257" y="38768"/>
                    <a:pt x="44177" y="40373"/>
                  </a:cubicBezTo>
                  <a:cubicBezTo>
                    <a:pt x="42191" y="41400"/>
                    <a:pt x="39641" y="42803"/>
                    <a:pt x="38792" y="43608"/>
                  </a:cubicBezTo>
                  <a:cubicBezTo>
                    <a:pt x="38773" y="43627"/>
                    <a:pt x="38561" y="43839"/>
                    <a:pt x="38561" y="43839"/>
                  </a:cubicBezTo>
                  <a:lnTo>
                    <a:pt x="38411" y="43989"/>
                  </a:lnTo>
                  <a:lnTo>
                    <a:pt x="38315" y="44172"/>
                  </a:lnTo>
                  <a:lnTo>
                    <a:pt x="38180" y="44437"/>
                  </a:lnTo>
                  <a:lnTo>
                    <a:pt x="36372" y="47981"/>
                  </a:lnTo>
                  <a:lnTo>
                    <a:pt x="33938" y="46751"/>
                  </a:lnTo>
                  <a:lnTo>
                    <a:pt x="33552" y="43950"/>
                  </a:lnTo>
                  <a:lnTo>
                    <a:pt x="38214" y="40894"/>
                  </a:lnTo>
                  <a:cubicBezTo>
                    <a:pt x="38161" y="40923"/>
                    <a:pt x="38725" y="40590"/>
                    <a:pt x="38725" y="40590"/>
                  </a:cubicBezTo>
                  <a:lnTo>
                    <a:pt x="39168" y="40325"/>
                  </a:lnTo>
                  <a:lnTo>
                    <a:pt x="39313" y="39824"/>
                  </a:lnTo>
                  <a:lnTo>
                    <a:pt x="39496" y="39192"/>
                  </a:lnTo>
                  <a:cubicBezTo>
                    <a:pt x="39496" y="39207"/>
                    <a:pt x="43222" y="27044"/>
                    <a:pt x="43222" y="27044"/>
                  </a:cubicBezTo>
                  <a:cubicBezTo>
                    <a:pt x="43222" y="27039"/>
                    <a:pt x="43420" y="26379"/>
                    <a:pt x="43420" y="26379"/>
                  </a:cubicBezTo>
                  <a:lnTo>
                    <a:pt x="43560" y="25916"/>
                  </a:lnTo>
                  <a:lnTo>
                    <a:pt x="43367" y="25473"/>
                  </a:lnTo>
                  <a:lnTo>
                    <a:pt x="43083" y="24817"/>
                  </a:lnTo>
                  <a:cubicBezTo>
                    <a:pt x="43073" y="24788"/>
                    <a:pt x="40099" y="18304"/>
                    <a:pt x="40099" y="18304"/>
                  </a:cubicBezTo>
                  <a:lnTo>
                    <a:pt x="39795" y="17639"/>
                  </a:lnTo>
                  <a:lnTo>
                    <a:pt x="39578" y="17166"/>
                  </a:lnTo>
                  <a:lnTo>
                    <a:pt x="39101" y="16969"/>
                  </a:lnTo>
                  <a:lnTo>
                    <a:pt x="38421" y="16689"/>
                  </a:lnTo>
                  <a:cubicBezTo>
                    <a:pt x="38416" y="16689"/>
                    <a:pt x="31715" y="13990"/>
                    <a:pt x="31715" y="13990"/>
                  </a:cubicBezTo>
                  <a:cubicBezTo>
                    <a:pt x="31720" y="13990"/>
                    <a:pt x="31151" y="13758"/>
                    <a:pt x="31151" y="13758"/>
                  </a:cubicBezTo>
                  <a:lnTo>
                    <a:pt x="30766" y="13599"/>
                  </a:lnTo>
                  <a:lnTo>
                    <a:pt x="30361" y="13700"/>
                  </a:lnTo>
                  <a:lnTo>
                    <a:pt x="29782" y="13831"/>
                  </a:lnTo>
                  <a:cubicBezTo>
                    <a:pt x="28066" y="14284"/>
                    <a:pt x="23641" y="15084"/>
                    <a:pt x="21385" y="14587"/>
                  </a:cubicBezTo>
                  <a:cubicBezTo>
                    <a:pt x="20421" y="14399"/>
                    <a:pt x="19914" y="13777"/>
                    <a:pt x="19558" y="12360"/>
                  </a:cubicBezTo>
                  <a:cubicBezTo>
                    <a:pt x="19534" y="12211"/>
                    <a:pt x="19481" y="12056"/>
                    <a:pt x="19437" y="11931"/>
                  </a:cubicBezTo>
                  <a:cubicBezTo>
                    <a:pt x="19244" y="11300"/>
                    <a:pt x="18695" y="9478"/>
                    <a:pt x="16762" y="8513"/>
                  </a:cubicBezTo>
                  <a:cubicBezTo>
                    <a:pt x="15315" y="7814"/>
                    <a:pt x="13614" y="7819"/>
                    <a:pt x="11690" y="8557"/>
                  </a:cubicBezTo>
                  <a:cubicBezTo>
                    <a:pt x="11425" y="8658"/>
                    <a:pt x="11309" y="8677"/>
                    <a:pt x="11107" y="8745"/>
                  </a:cubicBezTo>
                  <a:cubicBezTo>
                    <a:pt x="10818" y="7221"/>
                    <a:pt x="9964" y="5920"/>
                    <a:pt x="9169" y="4744"/>
                  </a:cubicBezTo>
                  <a:cubicBezTo>
                    <a:pt x="8807" y="4213"/>
                    <a:pt x="8316" y="3490"/>
                    <a:pt x="8070" y="2936"/>
                  </a:cubicBezTo>
                  <a:lnTo>
                    <a:pt x="7679" y="2063"/>
                  </a:lnTo>
                  <a:lnTo>
                    <a:pt x="7400" y="1446"/>
                  </a:lnTo>
                  <a:lnTo>
                    <a:pt x="6739" y="1311"/>
                  </a:lnTo>
                  <a:lnTo>
                    <a:pt x="6392" y="1239"/>
                  </a:lnTo>
                  <a:lnTo>
                    <a:pt x="5954" y="0"/>
                  </a:lnTo>
                  <a:lnTo>
                    <a:pt x="4710" y="448"/>
                  </a:lnTo>
                  <a:lnTo>
                    <a:pt x="1244" y="1692"/>
                  </a:lnTo>
                  <a:lnTo>
                    <a:pt x="0" y="2140"/>
                  </a:lnTo>
                  <a:lnTo>
                    <a:pt x="453" y="3379"/>
                  </a:lnTo>
                  <a:lnTo>
                    <a:pt x="1056" y="5047"/>
                  </a:lnTo>
                  <a:cubicBezTo>
                    <a:pt x="1046" y="5023"/>
                    <a:pt x="1374" y="5992"/>
                    <a:pt x="1374" y="5992"/>
                  </a:cubicBezTo>
                  <a:lnTo>
                    <a:pt x="1615" y="6696"/>
                  </a:lnTo>
                  <a:lnTo>
                    <a:pt x="2343" y="6855"/>
                  </a:lnTo>
                  <a:lnTo>
                    <a:pt x="3172" y="7024"/>
                  </a:lnTo>
                  <a:cubicBezTo>
                    <a:pt x="3418" y="7462"/>
                    <a:pt x="3664" y="7906"/>
                    <a:pt x="3939" y="8296"/>
                  </a:cubicBezTo>
                  <a:cubicBezTo>
                    <a:pt x="3919" y="8267"/>
                    <a:pt x="4006" y="8398"/>
                    <a:pt x="4006" y="8398"/>
                  </a:cubicBezTo>
                  <a:cubicBezTo>
                    <a:pt x="4252" y="8769"/>
                    <a:pt x="4811" y="9617"/>
                    <a:pt x="4912" y="9926"/>
                  </a:cubicBezTo>
                  <a:cubicBezTo>
                    <a:pt x="4739" y="12404"/>
                    <a:pt x="5756" y="13777"/>
                    <a:pt x="6691" y="14472"/>
                  </a:cubicBezTo>
                  <a:cubicBezTo>
                    <a:pt x="8904" y="16212"/>
                    <a:pt x="11888" y="15209"/>
                    <a:pt x="13648" y="14554"/>
                  </a:cubicBezTo>
                  <a:cubicBezTo>
                    <a:pt x="15031" y="19071"/>
                    <a:pt x="18222" y="20392"/>
                    <a:pt x="20073" y="20739"/>
                  </a:cubicBezTo>
                  <a:cubicBezTo>
                    <a:pt x="23549" y="21539"/>
                    <a:pt x="28360" y="20637"/>
                    <a:pt x="30264" y="20208"/>
                  </a:cubicBezTo>
                  <a:lnTo>
                    <a:pt x="34878" y="22088"/>
                  </a:lnTo>
                  <a:lnTo>
                    <a:pt x="36816" y="26326"/>
                  </a:lnTo>
                  <a:lnTo>
                    <a:pt x="33788" y="36218"/>
                  </a:lnTo>
                  <a:lnTo>
                    <a:pt x="28413" y="39732"/>
                  </a:lnTo>
                  <a:lnTo>
                    <a:pt x="27435" y="40369"/>
                  </a:lnTo>
                  <a:lnTo>
                    <a:pt x="26736" y="40822"/>
                  </a:lnTo>
                  <a:lnTo>
                    <a:pt x="26851" y="41646"/>
                  </a:lnTo>
                  <a:lnTo>
                    <a:pt x="27010" y="42813"/>
                  </a:lnTo>
                  <a:lnTo>
                    <a:pt x="27893" y="49239"/>
                  </a:lnTo>
                  <a:lnTo>
                    <a:pt x="28023" y="50188"/>
                  </a:lnTo>
                  <a:lnTo>
                    <a:pt x="28119" y="50873"/>
                  </a:lnTo>
                  <a:lnTo>
                    <a:pt x="28736" y="51181"/>
                  </a:lnTo>
                  <a:lnTo>
                    <a:pt x="29594" y="51615"/>
                  </a:lnTo>
                  <a:cubicBezTo>
                    <a:pt x="29594" y="51610"/>
                    <a:pt x="36319" y="55014"/>
                    <a:pt x="36319" y="55014"/>
                  </a:cubicBezTo>
                  <a:cubicBezTo>
                    <a:pt x="36319" y="55019"/>
                    <a:pt x="37963" y="55843"/>
                    <a:pt x="37963" y="55843"/>
                  </a:cubicBezTo>
                  <a:lnTo>
                    <a:pt x="39139" y="56431"/>
                  </a:lnTo>
                  <a:lnTo>
                    <a:pt x="39732" y="55260"/>
                  </a:lnTo>
                  <a:lnTo>
                    <a:pt x="40557" y="53616"/>
                  </a:lnTo>
                  <a:cubicBezTo>
                    <a:pt x="40552" y="53626"/>
                    <a:pt x="42837" y="49162"/>
                    <a:pt x="43459" y="47961"/>
                  </a:cubicBezTo>
                  <a:cubicBezTo>
                    <a:pt x="43724" y="47793"/>
                    <a:pt x="44249" y="47474"/>
                    <a:pt x="45136" y="46987"/>
                  </a:cubicBezTo>
                  <a:lnTo>
                    <a:pt x="44688" y="48371"/>
                  </a:lnTo>
                  <a:cubicBezTo>
                    <a:pt x="44688" y="48366"/>
                    <a:pt x="44211" y="49817"/>
                    <a:pt x="44211" y="49817"/>
                  </a:cubicBezTo>
                  <a:lnTo>
                    <a:pt x="43868" y="50854"/>
                  </a:lnTo>
                  <a:lnTo>
                    <a:pt x="44828" y="51384"/>
                  </a:lnTo>
                  <a:lnTo>
                    <a:pt x="46192" y="52126"/>
                  </a:lnTo>
                  <a:cubicBezTo>
                    <a:pt x="46202" y="52131"/>
                    <a:pt x="68483" y="64096"/>
                    <a:pt x="70300" y="65080"/>
                  </a:cubicBezTo>
                  <a:lnTo>
                    <a:pt x="76148" y="71221"/>
                  </a:lnTo>
                  <a:cubicBezTo>
                    <a:pt x="76119" y="71197"/>
                    <a:pt x="76505" y="71631"/>
                    <a:pt x="76505" y="71631"/>
                  </a:cubicBezTo>
                  <a:lnTo>
                    <a:pt x="76794" y="71949"/>
                  </a:lnTo>
                  <a:lnTo>
                    <a:pt x="77218" y="72041"/>
                  </a:lnTo>
                  <a:lnTo>
                    <a:pt x="77758" y="72151"/>
                  </a:lnTo>
                  <a:cubicBezTo>
                    <a:pt x="77739" y="72147"/>
                    <a:pt x="89887" y="74885"/>
                    <a:pt x="89887" y="74885"/>
                  </a:cubicBezTo>
                  <a:cubicBezTo>
                    <a:pt x="89868" y="74875"/>
                    <a:pt x="90273" y="74976"/>
                    <a:pt x="90273" y="74976"/>
                  </a:cubicBezTo>
                  <a:lnTo>
                    <a:pt x="90581" y="75053"/>
                  </a:lnTo>
                  <a:lnTo>
                    <a:pt x="90890" y="74976"/>
                  </a:lnTo>
                  <a:lnTo>
                    <a:pt x="91295" y="74875"/>
                  </a:lnTo>
                  <a:cubicBezTo>
                    <a:pt x="91309" y="74875"/>
                    <a:pt x="91695" y="74779"/>
                    <a:pt x="91695" y="74779"/>
                  </a:cubicBezTo>
                  <a:lnTo>
                    <a:pt x="94298" y="74162"/>
                  </a:lnTo>
                  <a:cubicBezTo>
                    <a:pt x="95064" y="77078"/>
                    <a:pt x="96472" y="79595"/>
                    <a:pt x="98665" y="81774"/>
                  </a:cubicBezTo>
                  <a:cubicBezTo>
                    <a:pt x="103187" y="86276"/>
                    <a:pt x="106369" y="89964"/>
                    <a:pt x="107396" y="91907"/>
                  </a:cubicBezTo>
                  <a:cubicBezTo>
                    <a:pt x="107762" y="92562"/>
                    <a:pt x="108071" y="93179"/>
                    <a:pt x="108413" y="93859"/>
                  </a:cubicBezTo>
                  <a:cubicBezTo>
                    <a:pt x="109729" y="96419"/>
                    <a:pt x="110838" y="98579"/>
                    <a:pt x="112834" y="100232"/>
                  </a:cubicBezTo>
                  <a:cubicBezTo>
                    <a:pt x="114015" y="101138"/>
                    <a:pt x="115379" y="101428"/>
                    <a:pt x="116714" y="101071"/>
                  </a:cubicBezTo>
                  <a:cubicBezTo>
                    <a:pt x="118093" y="100719"/>
                    <a:pt x="119375" y="99605"/>
                    <a:pt x="120532" y="97865"/>
                  </a:cubicBezTo>
                  <a:lnTo>
                    <a:pt x="129345" y="100396"/>
                  </a:lnTo>
                  <a:cubicBezTo>
                    <a:pt x="129340" y="100396"/>
                    <a:pt x="129880" y="100555"/>
                    <a:pt x="129880" y="100555"/>
                  </a:cubicBezTo>
                  <a:lnTo>
                    <a:pt x="130265" y="100656"/>
                  </a:lnTo>
                  <a:lnTo>
                    <a:pt x="130646" y="100541"/>
                  </a:lnTo>
                  <a:lnTo>
                    <a:pt x="131167" y="100377"/>
                  </a:lnTo>
                  <a:cubicBezTo>
                    <a:pt x="131996" y="100107"/>
                    <a:pt x="135867" y="98714"/>
                    <a:pt x="138914" y="96120"/>
                  </a:cubicBezTo>
                  <a:cubicBezTo>
                    <a:pt x="141599" y="97108"/>
                    <a:pt x="151997" y="107449"/>
                    <a:pt x="153429" y="110664"/>
                  </a:cubicBezTo>
                  <a:cubicBezTo>
                    <a:pt x="155391" y="115099"/>
                    <a:pt x="160920" y="119828"/>
                    <a:pt x="165760" y="121207"/>
                  </a:cubicBezTo>
                  <a:cubicBezTo>
                    <a:pt x="165722" y="121197"/>
                    <a:pt x="166652" y="121491"/>
                    <a:pt x="166652" y="121491"/>
                  </a:cubicBezTo>
                  <a:lnTo>
                    <a:pt x="167332" y="121708"/>
                  </a:lnTo>
                  <a:lnTo>
                    <a:pt x="167881" y="121255"/>
                  </a:lnTo>
                  <a:lnTo>
                    <a:pt x="168633" y="120638"/>
                  </a:lnTo>
                  <a:cubicBezTo>
                    <a:pt x="169207" y="120334"/>
                    <a:pt x="173632" y="119650"/>
                    <a:pt x="178737" y="119486"/>
                  </a:cubicBezTo>
                  <a:cubicBezTo>
                    <a:pt x="178699" y="119486"/>
                    <a:pt x="179070" y="119486"/>
                    <a:pt x="179070" y="119486"/>
                  </a:cubicBezTo>
                  <a:lnTo>
                    <a:pt x="179364" y="119486"/>
                  </a:lnTo>
                  <a:lnTo>
                    <a:pt x="179634" y="119361"/>
                  </a:lnTo>
                  <a:lnTo>
                    <a:pt x="179981" y="119197"/>
                  </a:lnTo>
                  <a:cubicBezTo>
                    <a:pt x="179986" y="119197"/>
                    <a:pt x="183269" y="117640"/>
                    <a:pt x="184590" y="117013"/>
                  </a:cubicBezTo>
                  <a:lnTo>
                    <a:pt x="189420" y="119317"/>
                  </a:lnTo>
                  <a:lnTo>
                    <a:pt x="192298" y="124485"/>
                  </a:lnTo>
                  <a:cubicBezTo>
                    <a:pt x="192293" y="124485"/>
                    <a:pt x="193368" y="126428"/>
                    <a:pt x="193368" y="126428"/>
                  </a:cubicBezTo>
                  <a:lnTo>
                    <a:pt x="194135" y="127807"/>
                  </a:lnTo>
                  <a:lnTo>
                    <a:pt x="195354" y="126809"/>
                  </a:lnTo>
                  <a:lnTo>
                    <a:pt x="197061" y="125401"/>
                  </a:lnTo>
                  <a:cubicBezTo>
                    <a:pt x="197061" y="125401"/>
                    <a:pt x="199958" y="123000"/>
                    <a:pt x="201443" y="121771"/>
                  </a:cubicBezTo>
                  <a:lnTo>
                    <a:pt x="205121" y="124953"/>
                  </a:lnTo>
                  <a:cubicBezTo>
                    <a:pt x="205131" y="124958"/>
                    <a:pt x="205676" y="125420"/>
                    <a:pt x="205676" y="125420"/>
                  </a:cubicBezTo>
                  <a:lnTo>
                    <a:pt x="206052" y="125739"/>
                  </a:lnTo>
                  <a:lnTo>
                    <a:pt x="206543" y="125729"/>
                  </a:lnTo>
                  <a:lnTo>
                    <a:pt x="207262" y="125724"/>
                  </a:lnTo>
                  <a:cubicBezTo>
                    <a:pt x="207372" y="125719"/>
                    <a:pt x="207536" y="125709"/>
                    <a:pt x="207710" y="125700"/>
                  </a:cubicBezTo>
                  <a:cubicBezTo>
                    <a:pt x="208906" y="125652"/>
                    <a:pt x="212535" y="125512"/>
                    <a:pt x="216117" y="125199"/>
                  </a:cubicBezTo>
                  <a:cubicBezTo>
                    <a:pt x="222278" y="124982"/>
                    <a:pt x="229919" y="128915"/>
                    <a:pt x="229996" y="128959"/>
                  </a:cubicBezTo>
                  <a:cubicBezTo>
                    <a:pt x="230030" y="128978"/>
                    <a:pt x="232108" y="130048"/>
                    <a:pt x="232108" y="130048"/>
                  </a:cubicBezTo>
                  <a:lnTo>
                    <a:pt x="233583" y="130800"/>
                  </a:lnTo>
                  <a:lnTo>
                    <a:pt x="233983" y="129195"/>
                  </a:lnTo>
                  <a:lnTo>
                    <a:pt x="234547" y="126929"/>
                  </a:lnTo>
                  <a:cubicBezTo>
                    <a:pt x="234547" y="126924"/>
                    <a:pt x="236340" y="119592"/>
                    <a:pt x="236340" y="119592"/>
                  </a:cubicBezTo>
                  <a:cubicBezTo>
                    <a:pt x="236345" y="119568"/>
                    <a:pt x="236441" y="119139"/>
                    <a:pt x="236441" y="119139"/>
                  </a:cubicBezTo>
                  <a:lnTo>
                    <a:pt x="236504" y="118859"/>
                  </a:lnTo>
                  <a:lnTo>
                    <a:pt x="236451" y="118585"/>
                  </a:lnTo>
                  <a:lnTo>
                    <a:pt x="236369" y="118184"/>
                  </a:lnTo>
                  <a:cubicBezTo>
                    <a:pt x="236364" y="118175"/>
                    <a:pt x="235405" y="113663"/>
                    <a:pt x="235135" y="112400"/>
                  </a:cubicBezTo>
                  <a:lnTo>
                    <a:pt x="236321" y="108803"/>
                  </a:lnTo>
                  <a:cubicBezTo>
                    <a:pt x="236967" y="108567"/>
                    <a:pt x="238114" y="108162"/>
                    <a:pt x="239830" y="107613"/>
                  </a:cubicBezTo>
                  <a:cubicBezTo>
                    <a:pt x="242371" y="109382"/>
                    <a:pt x="246464" y="110794"/>
                    <a:pt x="248937" y="111527"/>
                  </a:cubicBezTo>
                  <a:lnTo>
                    <a:pt x="255734" y="115374"/>
                  </a:lnTo>
                  <a:cubicBezTo>
                    <a:pt x="255715" y="115355"/>
                    <a:pt x="256028" y="115543"/>
                    <a:pt x="256028" y="115543"/>
                  </a:cubicBezTo>
                  <a:lnTo>
                    <a:pt x="256293" y="115702"/>
                  </a:lnTo>
                  <a:lnTo>
                    <a:pt x="256597" y="115726"/>
                  </a:lnTo>
                  <a:lnTo>
                    <a:pt x="256953" y="115750"/>
                  </a:lnTo>
                  <a:cubicBezTo>
                    <a:pt x="256886" y="115745"/>
                    <a:pt x="261316" y="116314"/>
                    <a:pt x="262309" y="116444"/>
                  </a:cubicBezTo>
                  <a:lnTo>
                    <a:pt x="273546" y="121949"/>
                  </a:lnTo>
                  <a:lnTo>
                    <a:pt x="276285" y="127479"/>
                  </a:lnTo>
                  <a:lnTo>
                    <a:pt x="276694" y="128303"/>
                  </a:lnTo>
                  <a:lnTo>
                    <a:pt x="276993" y="128901"/>
                  </a:lnTo>
                  <a:lnTo>
                    <a:pt x="277649" y="129012"/>
                  </a:lnTo>
                  <a:lnTo>
                    <a:pt x="278570" y="129171"/>
                  </a:lnTo>
                  <a:lnTo>
                    <a:pt x="296093" y="132189"/>
                  </a:lnTo>
                  <a:lnTo>
                    <a:pt x="300137" y="138287"/>
                  </a:lnTo>
                  <a:cubicBezTo>
                    <a:pt x="303194" y="148435"/>
                    <a:pt x="305382" y="150233"/>
                    <a:pt x="308116" y="149847"/>
                  </a:cubicBezTo>
                  <a:cubicBezTo>
                    <a:pt x="322650" y="148864"/>
                    <a:pt x="331245" y="164926"/>
                    <a:pt x="331332" y="165085"/>
                  </a:cubicBezTo>
                  <a:lnTo>
                    <a:pt x="331679" y="165765"/>
                  </a:lnTo>
                  <a:lnTo>
                    <a:pt x="331930" y="166252"/>
                  </a:lnTo>
                  <a:lnTo>
                    <a:pt x="332451" y="166416"/>
                  </a:lnTo>
                  <a:lnTo>
                    <a:pt x="333164" y="166647"/>
                  </a:lnTo>
                  <a:cubicBezTo>
                    <a:pt x="333159" y="166647"/>
                    <a:pt x="339065" y="168551"/>
                    <a:pt x="339961" y="168845"/>
                  </a:cubicBezTo>
                  <a:lnTo>
                    <a:pt x="350952" y="176312"/>
                  </a:lnTo>
                  <a:lnTo>
                    <a:pt x="351680" y="181601"/>
                  </a:lnTo>
                  <a:cubicBezTo>
                    <a:pt x="351676" y="181591"/>
                    <a:pt x="351782" y="182401"/>
                    <a:pt x="351782" y="182401"/>
                  </a:cubicBezTo>
                  <a:lnTo>
                    <a:pt x="351859" y="182989"/>
                  </a:lnTo>
                  <a:lnTo>
                    <a:pt x="352355" y="183322"/>
                  </a:lnTo>
                  <a:lnTo>
                    <a:pt x="353011" y="183765"/>
                  </a:lnTo>
                  <a:cubicBezTo>
                    <a:pt x="352987" y="183746"/>
                    <a:pt x="359562" y="188413"/>
                    <a:pt x="359562" y="188413"/>
                  </a:cubicBezTo>
                  <a:cubicBezTo>
                    <a:pt x="359577" y="188427"/>
                    <a:pt x="360252" y="188890"/>
                    <a:pt x="360252" y="188890"/>
                  </a:cubicBezTo>
                  <a:lnTo>
                    <a:pt x="360724" y="189208"/>
                  </a:lnTo>
                  <a:lnTo>
                    <a:pt x="361283" y="189087"/>
                  </a:lnTo>
                  <a:lnTo>
                    <a:pt x="362074" y="188914"/>
                  </a:lnTo>
                  <a:cubicBezTo>
                    <a:pt x="362074" y="188914"/>
                    <a:pt x="367873" y="187641"/>
                    <a:pt x="367873" y="187641"/>
                  </a:cubicBezTo>
                  <a:cubicBezTo>
                    <a:pt x="367854" y="187646"/>
                    <a:pt x="368543" y="187511"/>
                    <a:pt x="368543" y="187511"/>
                  </a:cubicBezTo>
                  <a:lnTo>
                    <a:pt x="369064" y="187410"/>
                  </a:lnTo>
                  <a:lnTo>
                    <a:pt x="369368" y="186966"/>
                  </a:lnTo>
                  <a:lnTo>
                    <a:pt x="369773" y="186378"/>
                  </a:lnTo>
                  <a:cubicBezTo>
                    <a:pt x="369763" y="186393"/>
                    <a:pt x="372332" y="182849"/>
                    <a:pt x="373369" y="181418"/>
                  </a:cubicBezTo>
                  <a:lnTo>
                    <a:pt x="378011" y="181900"/>
                  </a:lnTo>
                  <a:cubicBezTo>
                    <a:pt x="378006" y="181900"/>
                    <a:pt x="378339" y="181934"/>
                    <a:pt x="378339" y="181934"/>
                  </a:cubicBezTo>
                  <a:lnTo>
                    <a:pt x="378604" y="181962"/>
                  </a:lnTo>
                  <a:lnTo>
                    <a:pt x="378864" y="181881"/>
                  </a:lnTo>
                  <a:lnTo>
                    <a:pt x="379183" y="181784"/>
                  </a:lnTo>
                  <a:cubicBezTo>
                    <a:pt x="379163" y="181789"/>
                    <a:pt x="379351" y="181736"/>
                    <a:pt x="379351" y="181736"/>
                  </a:cubicBezTo>
                  <a:cubicBezTo>
                    <a:pt x="381516" y="181138"/>
                    <a:pt x="383468" y="180589"/>
                    <a:pt x="385146" y="180092"/>
                  </a:cubicBezTo>
                  <a:cubicBezTo>
                    <a:pt x="388144" y="179152"/>
                    <a:pt x="398923" y="186455"/>
                    <a:pt x="408247" y="195716"/>
                  </a:cubicBezTo>
                  <a:cubicBezTo>
                    <a:pt x="408237" y="195711"/>
                    <a:pt x="409114" y="196598"/>
                    <a:pt x="409114" y="196598"/>
                  </a:cubicBezTo>
                  <a:lnTo>
                    <a:pt x="409741" y="197239"/>
                  </a:lnTo>
                  <a:lnTo>
                    <a:pt x="410565" y="196883"/>
                  </a:lnTo>
                  <a:lnTo>
                    <a:pt x="411698" y="196400"/>
                  </a:lnTo>
                  <a:cubicBezTo>
                    <a:pt x="411693" y="196405"/>
                    <a:pt x="415179" y="194940"/>
                    <a:pt x="416326" y="194453"/>
                  </a:cubicBezTo>
                  <a:lnTo>
                    <a:pt x="421523" y="195649"/>
                  </a:lnTo>
                  <a:cubicBezTo>
                    <a:pt x="421523" y="195649"/>
                    <a:pt x="422921" y="195957"/>
                    <a:pt x="422921" y="195957"/>
                  </a:cubicBezTo>
                  <a:lnTo>
                    <a:pt x="423914" y="196179"/>
                  </a:lnTo>
                  <a:lnTo>
                    <a:pt x="424377" y="195273"/>
                  </a:lnTo>
                  <a:lnTo>
                    <a:pt x="425032" y="193995"/>
                  </a:lnTo>
                  <a:cubicBezTo>
                    <a:pt x="425032" y="194005"/>
                    <a:pt x="427163" y="189917"/>
                    <a:pt x="427804" y="188697"/>
                  </a:cubicBezTo>
                  <a:lnTo>
                    <a:pt x="432548" y="186248"/>
                  </a:lnTo>
                  <a:lnTo>
                    <a:pt x="437928" y="187718"/>
                  </a:lnTo>
                  <a:cubicBezTo>
                    <a:pt x="437918" y="187713"/>
                    <a:pt x="438776" y="187955"/>
                    <a:pt x="438776" y="187955"/>
                  </a:cubicBezTo>
                  <a:lnTo>
                    <a:pt x="439393" y="188128"/>
                  </a:lnTo>
                  <a:lnTo>
                    <a:pt x="439904" y="187752"/>
                  </a:lnTo>
                  <a:lnTo>
                    <a:pt x="440622" y="187231"/>
                  </a:lnTo>
                  <a:cubicBezTo>
                    <a:pt x="440618" y="187241"/>
                    <a:pt x="447073" y="182594"/>
                    <a:pt x="448022" y="181909"/>
                  </a:cubicBezTo>
                  <a:lnTo>
                    <a:pt x="453176" y="180526"/>
                  </a:lnTo>
                  <a:lnTo>
                    <a:pt x="457770" y="181124"/>
                  </a:lnTo>
                  <a:lnTo>
                    <a:pt x="463155" y="185351"/>
                  </a:lnTo>
                  <a:cubicBezTo>
                    <a:pt x="463198" y="185385"/>
                    <a:pt x="463439" y="185554"/>
                    <a:pt x="463439" y="185554"/>
                  </a:cubicBezTo>
                  <a:lnTo>
                    <a:pt x="463579" y="185665"/>
                  </a:lnTo>
                  <a:lnTo>
                    <a:pt x="463743" y="185727"/>
                  </a:lnTo>
                  <a:lnTo>
                    <a:pt x="464046" y="185838"/>
                  </a:lnTo>
                  <a:cubicBezTo>
                    <a:pt x="464075" y="185848"/>
                    <a:pt x="470535" y="188089"/>
                    <a:pt x="470535" y="188089"/>
                  </a:cubicBezTo>
                  <a:cubicBezTo>
                    <a:pt x="470607" y="188109"/>
                    <a:pt x="470935" y="188196"/>
                    <a:pt x="470935" y="188196"/>
                  </a:cubicBezTo>
                  <a:lnTo>
                    <a:pt x="471137" y="188258"/>
                  </a:lnTo>
                  <a:lnTo>
                    <a:pt x="471350" y="188253"/>
                  </a:lnTo>
                  <a:lnTo>
                    <a:pt x="471687" y="188234"/>
                  </a:lnTo>
                  <a:cubicBezTo>
                    <a:pt x="471668" y="188234"/>
                    <a:pt x="473370" y="188186"/>
                    <a:pt x="473370" y="188186"/>
                  </a:cubicBezTo>
                  <a:cubicBezTo>
                    <a:pt x="473365" y="188186"/>
                    <a:pt x="474420" y="188157"/>
                    <a:pt x="474420" y="188157"/>
                  </a:cubicBezTo>
                  <a:lnTo>
                    <a:pt x="475187" y="188138"/>
                  </a:lnTo>
                  <a:lnTo>
                    <a:pt x="475548" y="187453"/>
                  </a:lnTo>
                  <a:lnTo>
                    <a:pt x="476011" y="186586"/>
                  </a:lnTo>
                  <a:lnTo>
                    <a:pt x="477115" y="185612"/>
                  </a:lnTo>
                  <a:cubicBezTo>
                    <a:pt x="477178" y="185578"/>
                    <a:pt x="476069" y="184836"/>
                    <a:pt x="475847" y="184681"/>
                  </a:cubicBezTo>
                  <a:close/>
                  <a:moveTo>
                    <a:pt x="474290" y="184884"/>
                  </a:moveTo>
                  <a:lnTo>
                    <a:pt x="475804" y="184787"/>
                  </a:lnTo>
                  <a:lnTo>
                    <a:pt x="476127" y="185954"/>
                  </a:lnTo>
                  <a:lnTo>
                    <a:pt x="474290" y="184884"/>
                  </a:lnTo>
                  <a:close/>
                  <a:moveTo>
                    <a:pt x="14293" y="14351"/>
                  </a:moveTo>
                  <a:cubicBezTo>
                    <a:pt x="14366" y="14332"/>
                    <a:pt x="14395" y="14327"/>
                    <a:pt x="14399" y="14327"/>
                  </a:cubicBezTo>
                  <a:cubicBezTo>
                    <a:pt x="14399" y="14332"/>
                    <a:pt x="14308" y="14327"/>
                    <a:pt x="14197" y="14298"/>
                  </a:cubicBezTo>
                  <a:lnTo>
                    <a:pt x="14115" y="14250"/>
                  </a:lnTo>
                  <a:lnTo>
                    <a:pt x="13590" y="13840"/>
                  </a:lnTo>
                  <a:lnTo>
                    <a:pt x="14727" y="13585"/>
                  </a:lnTo>
                  <a:cubicBezTo>
                    <a:pt x="14829" y="13995"/>
                    <a:pt x="15007" y="14274"/>
                    <a:pt x="15137" y="14631"/>
                  </a:cubicBezTo>
                  <a:lnTo>
                    <a:pt x="15050" y="14770"/>
                  </a:lnTo>
                  <a:lnTo>
                    <a:pt x="14293" y="1435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71" name="Freihandform: Form 670">
              <a:extLst>
                <a:ext uri="{FF2B5EF4-FFF2-40B4-BE49-F238E27FC236}">
                  <a16:creationId xmlns:a16="http://schemas.microsoft.com/office/drawing/2014/main" id="{BA0424B1-ED78-08B0-117A-B610A90EB4E5}"/>
                </a:ext>
              </a:extLst>
            </p:cNvPr>
            <p:cNvSpPr/>
            <p:nvPr/>
          </p:nvSpPr>
          <p:spPr>
            <a:xfrm>
              <a:off x="2983301" y="5370579"/>
              <a:ext cx="336512" cy="857282"/>
            </a:xfrm>
            <a:custGeom>
              <a:avLst/>
              <a:gdLst>
                <a:gd name="connsiteX0" fmla="*/ 263103 w 263565"/>
                <a:gd name="connsiteY0" fmla="*/ 126115 h 671143"/>
                <a:gd name="connsiteX1" fmla="*/ 249967 w 263565"/>
                <a:gd name="connsiteY1" fmla="*/ 106629 h 671143"/>
                <a:gd name="connsiteX2" fmla="*/ 234666 w 263565"/>
                <a:gd name="connsiteY2" fmla="*/ 104388 h 671143"/>
                <a:gd name="connsiteX3" fmla="*/ 232309 w 263565"/>
                <a:gd name="connsiteY3" fmla="*/ 101915 h 671143"/>
                <a:gd name="connsiteX4" fmla="*/ 232309 w 263565"/>
                <a:gd name="connsiteY4" fmla="*/ 95648 h 671143"/>
                <a:gd name="connsiteX5" fmla="*/ 237100 w 263565"/>
                <a:gd name="connsiteY5" fmla="*/ 87708 h 671143"/>
                <a:gd name="connsiteX6" fmla="*/ 236512 w 263565"/>
                <a:gd name="connsiteY6" fmla="*/ 75540 h 671143"/>
                <a:gd name="connsiteX7" fmla="*/ 236657 w 263565"/>
                <a:gd name="connsiteY7" fmla="*/ 72855 h 671143"/>
                <a:gd name="connsiteX8" fmla="*/ 237978 w 263565"/>
                <a:gd name="connsiteY8" fmla="*/ 68560 h 671143"/>
                <a:gd name="connsiteX9" fmla="*/ 224692 w 263565"/>
                <a:gd name="connsiteY9" fmla="*/ 63735 h 671143"/>
                <a:gd name="connsiteX10" fmla="*/ 212418 w 263565"/>
                <a:gd name="connsiteY10" fmla="*/ 58962 h 671143"/>
                <a:gd name="connsiteX11" fmla="*/ 211922 w 263565"/>
                <a:gd name="connsiteY11" fmla="*/ 58615 h 671143"/>
                <a:gd name="connsiteX12" fmla="*/ 211512 w 263565"/>
                <a:gd name="connsiteY12" fmla="*/ 58335 h 671143"/>
                <a:gd name="connsiteX13" fmla="*/ 211020 w 263565"/>
                <a:gd name="connsiteY13" fmla="*/ 58388 h 671143"/>
                <a:gd name="connsiteX14" fmla="*/ 210374 w 263565"/>
                <a:gd name="connsiteY14" fmla="*/ 58461 h 671143"/>
                <a:gd name="connsiteX15" fmla="*/ 204638 w 263565"/>
                <a:gd name="connsiteY15" fmla="*/ 58962 h 671143"/>
                <a:gd name="connsiteX16" fmla="*/ 199282 w 263565"/>
                <a:gd name="connsiteY16" fmla="*/ 57892 h 671143"/>
                <a:gd name="connsiteX17" fmla="*/ 197170 w 263565"/>
                <a:gd name="connsiteY17" fmla="*/ 54132 h 671143"/>
                <a:gd name="connsiteX18" fmla="*/ 196201 w 263565"/>
                <a:gd name="connsiteY18" fmla="*/ 52440 h 671143"/>
                <a:gd name="connsiteX19" fmla="*/ 195512 w 263565"/>
                <a:gd name="connsiteY19" fmla="*/ 51249 h 671143"/>
                <a:gd name="connsiteX20" fmla="*/ 194355 w 263565"/>
                <a:gd name="connsiteY20" fmla="*/ 51987 h 671143"/>
                <a:gd name="connsiteX21" fmla="*/ 192716 w 263565"/>
                <a:gd name="connsiteY21" fmla="*/ 53033 h 671143"/>
                <a:gd name="connsiteX22" fmla="*/ 190715 w 263565"/>
                <a:gd name="connsiteY22" fmla="*/ 54286 h 671143"/>
                <a:gd name="connsiteX23" fmla="*/ 180693 w 263565"/>
                <a:gd name="connsiteY23" fmla="*/ 46689 h 671143"/>
                <a:gd name="connsiteX24" fmla="*/ 179131 w 263565"/>
                <a:gd name="connsiteY24" fmla="*/ 45527 h 671143"/>
                <a:gd name="connsiteX25" fmla="*/ 178032 w 263565"/>
                <a:gd name="connsiteY25" fmla="*/ 44717 h 671143"/>
                <a:gd name="connsiteX26" fmla="*/ 177261 w 263565"/>
                <a:gd name="connsiteY26" fmla="*/ 45845 h 671143"/>
                <a:gd name="connsiteX27" fmla="*/ 176167 w 263565"/>
                <a:gd name="connsiteY27" fmla="*/ 47445 h 671143"/>
                <a:gd name="connsiteX28" fmla="*/ 168217 w 263565"/>
                <a:gd name="connsiteY28" fmla="*/ 59343 h 671143"/>
                <a:gd name="connsiteX29" fmla="*/ 159863 w 263565"/>
                <a:gd name="connsiteY29" fmla="*/ 61228 h 671143"/>
                <a:gd name="connsiteX30" fmla="*/ 154020 w 263565"/>
                <a:gd name="connsiteY30" fmla="*/ 59724 h 671143"/>
                <a:gd name="connsiteX31" fmla="*/ 153220 w 263565"/>
                <a:gd name="connsiteY31" fmla="*/ 59492 h 671143"/>
                <a:gd name="connsiteX32" fmla="*/ 152579 w 263565"/>
                <a:gd name="connsiteY32" fmla="*/ 59309 h 671143"/>
                <a:gd name="connsiteX33" fmla="*/ 152053 w 263565"/>
                <a:gd name="connsiteY33" fmla="*/ 59714 h 671143"/>
                <a:gd name="connsiteX34" fmla="*/ 151359 w 263565"/>
                <a:gd name="connsiteY34" fmla="*/ 60244 h 671143"/>
                <a:gd name="connsiteX35" fmla="*/ 148153 w 263565"/>
                <a:gd name="connsiteY35" fmla="*/ 62510 h 671143"/>
                <a:gd name="connsiteX36" fmla="*/ 148086 w 263565"/>
                <a:gd name="connsiteY36" fmla="*/ 62298 h 671143"/>
                <a:gd name="connsiteX37" fmla="*/ 148033 w 263565"/>
                <a:gd name="connsiteY37" fmla="*/ 62115 h 671143"/>
                <a:gd name="connsiteX38" fmla="*/ 147975 w 263565"/>
                <a:gd name="connsiteY38" fmla="*/ 61932 h 671143"/>
                <a:gd name="connsiteX39" fmla="*/ 147874 w 263565"/>
                <a:gd name="connsiteY39" fmla="*/ 61768 h 671143"/>
                <a:gd name="connsiteX40" fmla="*/ 147744 w 263565"/>
                <a:gd name="connsiteY40" fmla="*/ 61575 h 671143"/>
                <a:gd name="connsiteX41" fmla="*/ 144114 w 263565"/>
                <a:gd name="connsiteY41" fmla="*/ 55940 h 671143"/>
                <a:gd name="connsiteX42" fmla="*/ 142981 w 263565"/>
                <a:gd name="connsiteY42" fmla="*/ 54161 h 671143"/>
                <a:gd name="connsiteX43" fmla="*/ 142171 w 263565"/>
                <a:gd name="connsiteY43" fmla="*/ 52893 h 671143"/>
                <a:gd name="connsiteX44" fmla="*/ 141024 w 263565"/>
                <a:gd name="connsiteY44" fmla="*/ 53867 h 671143"/>
                <a:gd name="connsiteX45" fmla="*/ 139418 w 263565"/>
                <a:gd name="connsiteY45" fmla="*/ 55226 h 671143"/>
                <a:gd name="connsiteX46" fmla="*/ 135706 w 263565"/>
                <a:gd name="connsiteY46" fmla="*/ 58369 h 671143"/>
                <a:gd name="connsiteX47" fmla="*/ 131787 w 263565"/>
                <a:gd name="connsiteY47" fmla="*/ 57535 h 671143"/>
                <a:gd name="connsiteX48" fmla="*/ 131295 w 263565"/>
                <a:gd name="connsiteY48" fmla="*/ 53843 h 671143"/>
                <a:gd name="connsiteX49" fmla="*/ 131257 w 263565"/>
                <a:gd name="connsiteY49" fmla="*/ 53539 h 671143"/>
                <a:gd name="connsiteX50" fmla="*/ 131228 w 263565"/>
                <a:gd name="connsiteY50" fmla="*/ 53356 h 671143"/>
                <a:gd name="connsiteX51" fmla="*/ 131146 w 263565"/>
                <a:gd name="connsiteY51" fmla="*/ 53172 h 671143"/>
                <a:gd name="connsiteX52" fmla="*/ 131021 w 263565"/>
                <a:gd name="connsiteY52" fmla="*/ 52893 h 671143"/>
                <a:gd name="connsiteX53" fmla="*/ 125824 w 263565"/>
                <a:gd name="connsiteY53" fmla="*/ 46756 h 671143"/>
                <a:gd name="connsiteX54" fmla="*/ 108951 w 263565"/>
                <a:gd name="connsiteY54" fmla="*/ 45049 h 671143"/>
                <a:gd name="connsiteX55" fmla="*/ 107505 w 263565"/>
                <a:gd name="connsiteY55" fmla="*/ 45049 h 671143"/>
                <a:gd name="connsiteX56" fmla="*/ 105760 w 263565"/>
                <a:gd name="connsiteY56" fmla="*/ 41048 h 671143"/>
                <a:gd name="connsiteX57" fmla="*/ 105726 w 263565"/>
                <a:gd name="connsiteY57" fmla="*/ 35437 h 671143"/>
                <a:gd name="connsiteX58" fmla="*/ 105722 w 263565"/>
                <a:gd name="connsiteY58" fmla="*/ 34492 h 671143"/>
                <a:gd name="connsiteX59" fmla="*/ 104815 w 263565"/>
                <a:gd name="connsiteY59" fmla="*/ 34193 h 671143"/>
                <a:gd name="connsiteX60" fmla="*/ 100048 w 263565"/>
                <a:gd name="connsiteY60" fmla="*/ 39212 h 671143"/>
                <a:gd name="connsiteX61" fmla="*/ 96090 w 263565"/>
                <a:gd name="connsiteY61" fmla="*/ 43922 h 671143"/>
                <a:gd name="connsiteX62" fmla="*/ 90883 w 263565"/>
                <a:gd name="connsiteY62" fmla="*/ 45801 h 671143"/>
                <a:gd name="connsiteX63" fmla="*/ 83021 w 263565"/>
                <a:gd name="connsiteY63" fmla="*/ 48641 h 671143"/>
                <a:gd name="connsiteX64" fmla="*/ 77308 w 263565"/>
                <a:gd name="connsiteY64" fmla="*/ 47638 h 671143"/>
                <a:gd name="connsiteX65" fmla="*/ 77115 w 263565"/>
                <a:gd name="connsiteY65" fmla="*/ 45194 h 671143"/>
                <a:gd name="connsiteX66" fmla="*/ 75221 w 263565"/>
                <a:gd name="connsiteY66" fmla="*/ 38199 h 671143"/>
                <a:gd name="connsiteX67" fmla="*/ 75129 w 263565"/>
                <a:gd name="connsiteY67" fmla="*/ 38098 h 671143"/>
                <a:gd name="connsiteX68" fmla="*/ 88989 w 263565"/>
                <a:gd name="connsiteY68" fmla="*/ 25256 h 671143"/>
                <a:gd name="connsiteX69" fmla="*/ 89640 w 263565"/>
                <a:gd name="connsiteY69" fmla="*/ 24971 h 671143"/>
                <a:gd name="connsiteX70" fmla="*/ 91929 w 263565"/>
                <a:gd name="connsiteY70" fmla="*/ 22344 h 671143"/>
                <a:gd name="connsiteX71" fmla="*/ 89201 w 263565"/>
                <a:gd name="connsiteY71" fmla="*/ 13869 h 671143"/>
                <a:gd name="connsiteX72" fmla="*/ 88579 w 263565"/>
                <a:gd name="connsiteY72" fmla="*/ 12944 h 671143"/>
                <a:gd name="connsiteX73" fmla="*/ 88136 w 263565"/>
                <a:gd name="connsiteY73" fmla="*/ 12283 h 671143"/>
                <a:gd name="connsiteX74" fmla="*/ 87345 w 263565"/>
                <a:gd name="connsiteY74" fmla="*/ 12370 h 671143"/>
                <a:gd name="connsiteX75" fmla="*/ 86241 w 263565"/>
                <a:gd name="connsiteY75" fmla="*/ 12486 h 671143"/>
                <a:gd name="connsiteX76" fmla="*/ 84356 w 263565"/>
                <a:gd name="connsiteY76" fmla="*/ 12693 h 671143"/>
                <a:gd name="connsiteX77" fmla="*/ 85209 w 263565"/>
                <a:gd name="connsiteY77" fmla="*/ 5279 h 671143"/>
                <a:gd name="connsiteX78" fmla="*/ 85557 w 263565"/>
                <a:gd name="connsiteY78" fmla="*/ 2189 h 671143"/>
                <a:gd name="connsiteX79" fmla="*/ 85802 w 263565"/>
                <a:gd name="connsiteY79" fmla="*/ 0 h 671143"/>
                <a:gd name="connsiteX80" fmla="*/ 83758 w 263565"/>
                <a:gd name="connsiteY80" fmla="*/ 824 h 671143"/>
                <a:gd name="connsiteX81" fmla="*/ 80885 w 263565"/>
                <a:gd name="connsiteY81" fmla="*/ 1981 h 671143"/>
                <a:gd name="connsiteX82" fmla="*/ 75481 w 263565"/>
                <a:gd name="connsiteY82" fmla="*/ 3080 h 671143"/>
                <a:gd name="connsiteX83" fmla="*/ 66158 w 263565"/>
                <a:gd name="connsiteY83" fmla="*/ 6913 h 671143"/>
                <a:gd name="connsiteX84" fmla="*/ 65705 w 263565"/>
                <a:gd name="connsiteY84" fmla="*/ 7260 h 671143"/>
                <a:gd name="connsiteX85" fmla="*/ 55437 w 263565"/>
                <a:gd name="connsiteY85" fmla="*/ 3909 h 671143"/>
                <a:gd name="connsiteX86" fmla="*/ 42512 w 263565"/>
                <a:gd name="connsiteY86" fmla="*/ 3895 h 671143"/>
                <a:gd name="connsiteX87" fmla="*/ 36202 w 263565"/>
                <a:gd name="connsiteY87" fmla="*/ 5062 h 671143"/>
                <a:gd name="connsiteX88" fmla="*/ 34105 w 263565"/>
                <a:gd name="connsiteY88" fmla="*/ 5240 h 671143"/>
                <a:gd name="connsiteX89" fmla="*/ 33170 w 263565"/>
                <a:gd name="connsiteY89" fmla="*/ 5327 h 671143"/>
                <a:gd name="connsiteX90" fmla="*/ 32500 w 263565"/>
                <a:gd name="connsiteY90" fmla="*/ 5385 h 671143"/>
                <a:gd name="connsiteX91" fmla="*/ 32153 w 263565"/>
                <a:gd name="connsiteY91" fmla="*/ 5963 h 671143"/>
                <a:gd name="connsiteX92" fmla="*/ 31666 w 263565"/>
                <a:gd name="connsiteY92" fmla="*/ 6783 h 671143"/>
                <a:gd name="connsiteX93" fmla="*/ 22526 w 263565"/>
                <a:gd name="connsiteY93" fmla="*/ 13512 h 671143"/>
                <a:gd name="connsiteX94" fmla="*/ 21316 w 263565"/>
                <a:gd name="connsiteY94" fmla="*/ 14028 h 671143"/>
                <a:gd name="connsiteX95" fmla="*/ 21832 w 263565"/>
                <a:gd name="connsiteY95" fmla="*/ 15238 h 671143"/>
                <a:gd name="connsiteX96" fmla="*/ 23273 w 263565"/>
                <a:gd name="connsiteY96" fmla="*/ 18632 h 671143"/>
                <a:gd name="connsiteX97" fmla="*/ 23784 w 263565"/>
                <a:gd name="connsiteY97" fmla="*/ 19842 h 671143"/>
                <a:gd name="connsiteX98" fmla="*/ 24994 w 263565"/>
                <a:gd name="connsiteY98" fmla="*/ 19326 h 671143"/>
                <a:gd name="connsiteX99" fmla="*/ 36019 w 263565"/>
                <a:gd name="connsiteY99" fmla="*/ 11425 h 671143"/>
                <a:gd name="connsiteX100" fmla="*/ 36723 w 263565"/>
                <a:gd name="connsiteY100" fmla="*/ 11362 h 671143"/>
                <a:gd name="connsiteX101" fmla="*/ 46220 w 263565"/>
                <a:gd name="connsiteY101" fmla="*/ 9015 h 671143"/>
                <a:gd name="connsiteX102" fmla="*/ 52139 w 263565"/>
                <a:gd name="connsiteY102" fmla="*/ 9299 h 671143"/>
                <a:gd name="connsiteX103" fmla="*/ 69552 w 263565"/>
                <a:gd name="connsiteY103" fmla="*/ 12274 h 671143"/>
                <a:gd name="connsiteX104" fmla="*/ 69542 w 263565"/>
                <a:gd name="connsiteY104" fmla="*/ 12264 h 671143"/>
                <a:gd name="connsiteX105" fmla="*/ 70048 w 263565"/>
                <a:gd name="connsiteY105" fmla="*/ 11888 h 671143"/>
                <a:gd name="connsiteX106" fmla="*/ 74956 w 263565"/>
                <a:gd name="connsiteY106" fmla="*/ 9362 h 671143"/>
                <a:gd name="connsiteX107" fmla="*/ 78403 w 263565"/>
                <a:gd name="connsiteY107" fmla="*/ 9135 h 671143"/>
                <a:gd name="connsiteX108" fmla="*/ 77626 w 263565"/>
                <a:gd name="connsiteY108" fmla="*/ 15928 h 671143"/>
                <a:gd name="connsiteX109" fmla="*/ 77371 w 263565"/>
                <a:gd name="connsiteY109" fmla="*/ 18217 h 671143"/>
                <a:gd name="connsiteX110" fmla="*/ 77188 w 263565"/>
                <a:gd name="connsiteY110" fmla="*/ 19861 h 671143"/>
                <a:gd name="connsiteX111" fmla="*/ 78827 w 263565"/>
                <a:gd name="connsiteY111" fmla="*/ 19673 h 671143"/>
                <a:gd name="connsiteX112" fmla="*/ 81126 w 263565"/>
                <a:gd name="connsiteY112" fmla="*/ 19413 h 671143"/>
                <a:gd name="connsiteX113" fmla="*/ 84882 w 263565"/>
                <a:gd name="connsiteY113" fmla="*/ 18989 h 671143"/>
                <a:gd name="connsiteX114" fmla="*/ 85383 w 263565"/>
                <a:gd name="connsiteY114" fmla="*/ 19967 h 671143"/>
                <a:gd name="connsiteX115" fmla="*/ 69079 w 263565"/>
                <a:gd name="connsiteY115" fmla="*/ 36093 h 671143"/>
                <a:gd name="connsiteX116" fmla="*/ 70477 w 263565"/>
                <a:gd name="connsiteY116" fmla="*/ 42374 h 671143"/>
                <a:gd name="connsiteX117" fmla="*/ 70998 w 263565"/>
                <a:gd name="connsiteY117" fmla="*/ 43642 h 671143"/>
                <a:gd name="connsiteX118" fmla="*/ 72483 w 263565"/>
                <a:gd name="connsiteY118" fmla="*/ 51765 h 671143"/>
                <a:gd name="connsiteX119" fmla="*/ 83768 w 263565"/>
                <a:gd name="connsiteY119" fmla="*/ 54946 h 671143"/>
                <a:gd name="connsiteX120" fmla="*/ 83802 w 263565"/>
                <a:gd name="connsiteY120" fmla="*/ 54946 h 671143"/>
                <a:gd name="connsiteX121" fmla="*/ 83946 w 263565"/>
                <a:gd name="connsiteY121" fmla="*/ 54922 h 671143"/>
                <a:gd name="connsiteX122" fmla="*/ 84067 w 263565"/>
                <a:gd name="connsiteY122" fmla="*/ 54903 h 671143"/>
                <a:gd name="connsiteX123" fmla="*/ 92643 w 263565"/>
                <a:gd name="connsiteY123" fmla="*/ 51938 h 671143"/>
                <a:gd name="connsiteX124" fmla="*/ 93226 w 263565"/>
                <a:gd name="connsiteY124" fmla="*/ 51707 h 671143"/>
                <a:gd name="connsiteX125" fmla="*/ 97546 w 263565"/>
                <a:gd name="connsiteY125" fmla="*/ 50049 h 671143"/>
                <a:gd name="connsiteX126" fmla="*/ 97319 w 263565"/>
                <a:gd name="connsiteY126" fmla="*/ 50073 h 671143"/>
                <a:gd name="connsiteX127" fmla="*/ 101253 w 263565"/>
                <a:gd name="connsiteY127" fmla="*/ 47691 h 671143"/>
                <a:gd name="connsiteX128" fmla="*/ 107510 w 263565"/>
                <a:gd name="connsiteY128" fmla="*/ 51384 h 671143"/>
                <a:gd name="connsiteX129" fmla="*/ 108961 w 263565"/>
                <a:gd name="connsiteY129" fmla="*/ 51384 h 671143"/>
                <a:gd name="connsiteX130" fmla="*/ 109520 w 263565"/>
                <a:gd name="connsiteY130" fmla="*/ 51384 h 671143"/>
                <a:gd name="connsiteX131" fmla="*/ 122522 w 263565"/>
                <a:gd name="connsiteY131" fmla="*/ 52170 h 671143"/>
                <a:gd name="connsiteX132" fmla="*/ 125115 w 263565"/>
                <a:gd name="connsiteY132" fmla="*/ 55308 h 671143"/>
                <a:gd name="connsiteX133" fmla="*/ 125819 w 263565"/>
                <a:gd name="connsiteY133" fmla="*/ 60601 h 671143"/>
                <a:gd name="connsiteX134" fmla="*/ 125988 w 263565"/>
                <a:gd name="connsiteY134" fmla="*/ 61903 h 671143"/>
                <a:gd name="connsiteX135" fmla="*/ 126108 w 263565"/>
                <a:gd name="connsiteY135" fmla="*/ 62843 h 671143"/>
                <a:gd name="connsiteX136" fmla="*/ 127034 w 263565"/>
                <a:gd name="connsiteY136" fmla="*/ 63026 h 671143"/>
                <a:gd name="connsiteX137" fmla="*/ 128316 w 263565"/>
                <a:gd name="connsiteY137" fmla="*/ 63286 h 671143"/>
                <a:gd name="connsiteX138" fmla="*/ 135933 w 263565"/>
                <a:gd name="connsiteY138" fmla="*/ 64872 h 671143"/>
                <a:gd name="connsiteX139" fmla="*/ 136805 w 263565"/>
                <a:gd name="connsiteY139" fmla="*/ 65060 h 671143"/>
                <a:gd name="connsiteX140" fmla="*/ 137442 w 263565"/>
                <a:gd name="connsiteY140" fmla="*/ 65190 h 671143"/>
                <a:gd name="connsiteX141" fmla="*/ 137933 w 263565"/>
                <a:gd name="connsiteY141" fmla="*/ 64762 h 671143"/>
                <a:gd name="connsiteX142" fmla="*/ 138628 w 263565"/>
                <a:gd name="connsiteY142" fmla="*/ 64164 h 671143"/>
                <a:gd name="connsiteX143" fmla="*/ 140749 w 263565"/>
                <a:gd name="connsiteY143" fmla="*/ 62385 h 671143"/>
                <a:gd name="connsiteX144" fmla="*/ 142229 w 263565"/>
                <a:gd name="connsiteY144" fmla="*/ 64684 h 671143"/>
                <a:gd name="connsiteX145" fmla="*/ 143521 w 263565"/>
                <a:gd name="connsiteY145" fmla="*/ 68579 h 671143"/>
                <a:gd name="connsiteX146" fmla="*/ 144307 w 263565"/>
                <a:gd name="connsiteY146" fmla="*/ 70942 h 671143"/>
                <a:gd name="connsiteX147" fmla="*/ 144866 w 263565"/>
                <a:gd name="connsiteY147" fmla="*/ 72619 h 671143"/>
                <a:gd name="connsiteX148" fmla="*/ 146312 w 263565"/>
                <a:gd name="connsiteY148" fmla="*/ 71597 h 671143"/>
                <a:gd name="connsiteX149" fmla="*/ 148351 w 263565"/>
                <a:gd name="connsiteY149" fmla="*/ 70165 h 671143"/>
                <a:gd name="connsiteX150" fmla="*/ 153876 w 263565"/>
                <a:gd name="connsiteY150" fmla="*/ 66222 h 671143"/>
                <a:gd name="connsiteX151" fmla="*/ 159043 w 263565"/>
                <a:gd name="connsiteY151" fmla="*/ 67543 h 671143"/>
                <a:gd name="connsiteX152" fmla="*/ 159487 w 263565"/>
                <a:gd name="connsiteY152" fmla="*/ 67649 h 671143"/>
                <a:gd name="connsiteX153" fmla="*/ 159786 w 263565"/>
                <a:gd name="connsiteY153" fmla="*/ 67726 h 671143"/>
                <a:gd name="connsiteX154" fmla="*/ 160085 w 263565"/>
                <a:gd name="connsiteY154" fmla="*/ 67659 h 671143"/>
                <a:gd name="connsiteX155" fmla="*/ 160514 w 263565"/>
                <a:gd name="connsiteY155" fmla="*/ 67567 h 671143"/>
                <a:gd name="connsiteX156" fmla="*/ 170849 w 263565"/>
                <a:gd name="connsiteY156" fmla="*/ 65258 h 671143"/>
                <a:gd name="connsiteX157" fmla="*/ 171572 w 263565"/>
                <a:gd name="connsiteY157" fmla="*/ 65084 h 671143"/>
                <a:gd name="connsiteX158" fmla="*/ 172093 w 263565"/>
                <a:gd name="connsiteY158" fmla="*/ 64969 h 671143"/>
                <a:gd name="connsiteX159" fmla="*/ 172382 w 263565"/>
                <a:gd name="connsiteY159" fmla="*/ 64520 h 671143"/>
                <a:gd name="connsiteX160" fmla="*/ 172787 w 263565"/>
                <a:gd name="connsiteY160" fmla="*/ 63879 h 671143"/>
                <a:gd name="connsiteX161" fmla="*/ 179565 w 263565"/>
                <a:gd name="connsiteY161" fmla="*/ 53741 h 671143"/>
                <a:gd name="connsiteX162" fmla="*/ 188662 w 263565"/>
                <a:gd name="connsiteY162" fmla="*/ 60664 h 671143"/>
                <a:gd name="connsiteX163" fmla="*/ 189698 w 263565"/>
                <a:gd name="connsiteY163" fmla="*/ 61421 h 671143"/>
                <a:gd name="connsiteX164" fmla="*/ 190412 w 263565"/>
                <a:gd name="connsiteY164" fmla="*/ 61941 h 671143"/>
                <a:gd name="connsiteX165" fmla="*/ 191169 w 263565"/>
                <a:gd name="connsiteY165" fmla="*/ 61469 h 671143"/>
                <a:gd name="connsiteX166" fmla="*/ 192244 w 263565"/>
                <a:gd name="connsiteY166" fmla="*/ 60803 h 671143"/>
                <a:gd name="connsiteX167" fmla="*/ 193314 w 263565"/>
                <a:gd name="connsiteY167" fmla="*/ 60129 h 671143"/>
                <a:gd name="connsiteX168" fmla="*/ 194524 w 263565"/>
                <a:gd name="connsiteY168" fmla="*/ 62259 h 671143"/>
                <a:gd name="connsiteX169" fmla="*/ 194924 w 263565"/>
                <a:gd name="connsiteY169" fmla="*/ 62983 h 671143"/>
                <a:gd name="connsiteX170" fmla="*/ 195223 w 263565"/>
                <a:gd name="connsiteY170" fmla="*/ 63513 h 671143"/>
                <a:gd name="connsiteX171" fmla="*/ 195821 w 263565"/>
                <a:gd name="connsiteY171" fmla="*/ 63628 h 671143"/>
                <a:gd name="connsiteX172" fmla="*/ 196650 w 263565"/>
                <a:gd name="connsiteY172" fmla="*/ 63792 h 671143"/>
                <a:gd name="connsiteX173" fmla="*/ 203876 w 263565"/>
                <a:gd name="connsiteY173" fmla="*/ 65248 h 671143"/>
                <a:gd name="connsiteX174" fmla="*/ 204107 w 263565"/>
                <a:gd name="connsiteY174" fmla="*/ 65301 h 671143"/>
                <a:gd name="connsiteX175" fmla="*/ 204344 w 263565"/>
                <a:gd name="connsiteY175" fmla="*/ 65359 h 671143"/>
                <a:gd name="connsiteX176" fmla="*/ 204585 w 263565"/>
                <a:gd name="connsiteY176" fmla="*/ 65326 h 671143"/>
                <a:gd name="connsiteX177" fmla="*/ 204840 w 263565"/>
                <a:gd name="connsiteY177" fmla="*/ 65287 h 671143"/>
                <a:gd name="connsiteX178" fmla="*/ 209945 w 263565"/>
                <a:gd name="connsiteY178" fmla="*/ 64819 h 671143"/>
                <a:gd name="connsiteX179" fmla="*/ 224846 w 263565"/>
                <a:gd name="connsiteY179" fmla="*/ 70050 h 671143"/>
                <a:gd name="connsiteX180" fmla="*/ 230621 w 263565"/>
                <a:gd name="connsiteY180" fmla="*/ 70763 h 671143"/>
                <a:gd name="connsiteX181" fmla="*/ 231590 w 263565"/>
                <a:gd name="connsiteY181" fmla="*/ 79440 h 671143"/>
                <a:gd name="connsiteX182" fmla="*/ 232323 w 263565"/>
                <a:gd name="connsiteY182" fmla="*/ 83625 h 671143"/>
                <a:gd name="connsiteX183" fmla="*/ 226331 w 263565"/>
                <a:gd name="connsiteY183" fmla="*/ 93541 h 671143"/>
                <a:gd name="connsiteX184" fmla="*/ 226124 w 263565"/>
                <a:gd name="connsiteY184" fmla="*/ 94018 h 671143"/>
                <a:gd name="connsiteX185" fmla="*/ 226017 w 263565"/>
                <a:gd name="connsiteY185" fmla="*/ 94264 h 671143"/>
                <a:gd name="connsiteX186" fmla="*/ 226017 w 263565"/>
                <a:gd name="connsiteY186" fmla="*/ 94534 h 671143"/>
                <a:gd name="connsiteX187" fmla="*/ 226017 w 263565"/>
                <a:gd name="connsiteY187" fmla="*/ 94929 h 671143"/>
                <a:gd name="connsiteX188" fmla="*/ 226017 w 263565"/>
                <a:gd name="connsiteY188" fmla="*/ 102937 h 671143"/>
                <a:gd name="connsiteX189" fmla="*/ 226017 w 263565"/>
                <a:gd name="connsiteY189" fmla="*/ 103438 h 671143"/>
                <a:gd name="connsiteX190" fmla="*/ 226017 w 263565"/>
                <a:gd name="connsiteY190" fmla="*/ 103804 h 671143"/>
                <a:gd name="connsiteX191" fmla="*/ 226206 w 263565"/>
                <a:gd name="connsiteY191" fmla="*/ 104113 h 671143"/>
                <a:gd name="connsiteX192" fmla="*/ 226471 w 263565"/>
                <a:gd name="connsiteY192" fmla="*/ 104551 h 671143"/>
                <a:gd name="connsiteX193" fmla="*/ 236430 w 263565"/>
                <a:gd name="connsiteY193" fmla="*/ 110452 h 671143"/>
                <a:gd name="connsiteX194" fmla="*/ 246963 w 263565"/>
                <a:gd name="connsiteY194" fmla="*/ 112149 h 671143"/>
                <a:gd name="connsiteX195" fmla="*/ 256431 w 263565"/>
                <a:gd name="connsiteY195" fmla="*/ 125830 h 671143"/>
                <a:gd name="connsiteX196" fmla="*/ 247667 w 263565"/>
                <a:gd name="connsiteY196" fmla="*/ 133847 h 671143"/>
                <a:gd name="connsiteX197" fmla="*/ 247431 w 263565"/>
                <a:gd name="connsiteY197" fmla="*/ 134088 h 671143"/>
                <a:gd name="connsiteX198" fmla="*/ 247315 w 263565"/>
                <a:gd name="connsiteY198" fmla="*/ 134204 h 671143"/>
                <a:gd name="connsiteX199" fmla="*/ 247233 w 263565"/>
                <a:gd name="connsiteY199" fmla="*/ 134343 h 671143"/>
                <a:gd name="connsiteX200" fmla="*/ 247108 w 263565"/>
                <a:gd name="connsiteY200" fmla="*/ 134556 h 671143"/>
                <a:gd name="connsiteX201" fmla="*/ 241376 w 263565"/>
                <a:gd name="connsiteY201" fmla="*/ 144727 h 671143"/>
                <a:gd name="connsiteX202" fmla="*/ 236387 w 263565"/>
                <a:gd name="connsiteY202" fmla="*/ 143749 h 671143"/>
                <a:gd name="connsiteX203" fmla="*/ 235254 w 263565"/>
                <a:gd name="connsiteY203" fmla="*/ 143532 h 671143"/>
                <a:gd name="connsiteX204" fmla="*/ 234473 w 263565"/>
                <a:gd name="connsiteY204" fmla="*/ 143392 h 671143"/>
                <a:gd name="connsiteX205" fmla="*/ 233976 w 263565"/>
                <a:gd name="connsiteY205" fmla="*/ 144014 h 671143"/>
                <a:gd name="connsiteX206" fmla="*/ 233282 w 263565"/>
                <a:gd name="connsiteY206" fmla="*/ 144901 h 671143"/>
                <a:gd name="connsiteX207" fmla="*/ 228471 w 263565"/>
                <a:gd name="connsiteY207" fmla="*/ 151033 h 671143"/>
                <a:gd name="connsiteX208" fmla="*/ 206296 w 263565"/>
                <a:gd name="connsiteY208" fmla="*/ 157189 h 671143"/>
                <a:gd name="connsiteX209" fmla="*/ 205539 w 263565"/>
                <a:gd name="connsiteY209" fmla="*/ 157068 h 671143"/>
                <a:gd name="connsiteX210" fmla="*/ 204985 w 263565"/>
                <a:gd name="connsiteY210" fmla="*/ 156967 h 671143"/>
                <a:gd name="connsiteX211" fmla="*/ 204536 w 263565"/>
                <a:gd name="connsiteY211" fmla="*/ 157304 h 671143"/>
                <a:gd name="connsiteX212" fmla="*/ 203915 w 263565"/>
                <a:gd name="connsiteY212" fmla="*/ 157767 h 671143"/>
                <a:gd name="connsiteX213" fmla="*/ 191251 w 263565"/>
                <a:gd name="connsiteY213" fmla="*/ 167679 h 671143"/>
                <a:gd name="connsiteX214" fmla="*/ 191058 w 263565"/>
                <a:gd name="connsiteY214" fmla="*/ 167833 h 671143"/>
                <a:gd name="connsiteX215" fmla="*/ 190846 w 263565"/>
                <a:gd name="connsiteY215" fmla="*/ 168016 h 671143"/>
                <a:gd name="connsiteX216" fmla="*/ 190725 w 263565"/>
                <a:gd name="connsiteY216" fmla="*/ 168267 h 671143"/>
                <a:gd name="connsiteX217" fmla="*/ 190585 w 263565"/>
                <a:gd name="connsiteY217" fmla="*/ 168556 h 671143"/>
                <a:gd name="connsiteX218" fmla="*/ 187900 w 263565"/>
                <a:gd name="connsiteY218" fmla="*/ 173907 h 671143"/>
                <a:gd name="connsiteX219" fmla="*/ 182940 w 263565"/>
                <a:gd name="connsiteY219" fmla="*/ 179798 h 671143"/>
                <a:gd name="connsiteX220" fmla="*/ 171192 w 263565"/>
                <a:gd name="connsiteY220" fmla="*/ 178308 h 671143"/>
                <a:gd name="connsiteX221" fmla="*/ 167629 w 263565"/>
                <a:gd name="connsiteY221" fmla="*/ 177860 h 671143"/>
                <a:gd name="connsiteX222" fmla="*/ 165084 w 263565"/>
                <a:gd name="connsiteY222" fmla="*/ 177547 h 671143"/>
                <a:gd name="connsiteX223" fmla="*/ 166308 w 263565"/>
                <a:gd name="connsiteY223" fmla="*/ 179798 h 671143"/>
                <a:gd name="connsiteX224" fmla="*/ 168029 w 263565"/>
                <a:gd name="connsiteY224" fmla="*/ 182956 h 671143"/>
                <a:gd name="connsiteX225" fmla="*/ 172546 w 263565"/>
                <a:gd name="connsiteY225" fmla="*/ 194781 h 671143"/>
                <a:gd name="connsiteX226" fmla="*/ 174330 w 263565"/>
                <a:gd name="connsiteY226" fmla="*/ 201255 h 671143"/>
                <a:gd name="connsiteX227" fmla="*/ 175381 w 263565"/>
                <a:gd name="connsiteY227" fmla="*/ 206577 h 671143"/>
                <a:gd name="connsiteX228" fmla="*/ 170473 w 263565"/>
                <a:gd name="connsiteY228" fmla="*/ 219419 h 671143"/>
                <a:gd name="connsiteX229" fmla="*/ 170324 w 263565"/>
                <a:gd name="connsiteY229" fmla="*/ 219959 h 671143"/>
                <a:gd name="connsiteX230" fmla="*/ 170223 w 263565"/>
                <a:gd name="connsiteY230" fmla="*/ 220321 h 671143"/>
                <a:gd name="connsiteX231" fmla="*/ 170324 w 263565"/>
                <a:gd name="connsiteY231" fmla="*/ 220673 h 671143"/>
                <a:gd name="connsiteX232" fmla="*/ 170454 w 263565"/>
                <a:gd name="connsiteY232" fmla="*/ 221136 h 671143"/>
                <a:gd name="connsiteX233" fmla="*/ 165966 w 263565"/>
                <a:gd name="connsiteY233" fmla="*/ 239300 h 671143"/>
                <a:gd name="connsiteX234" fmla="*/ 165339 w 263565"/>
                <a:gd name="connsiteY234" fmla="*/ 240018 h 671143"/>
                <a:gd name="connsiteX235" fmla="*/ 164901 w 263565"/>
                <a:gd name="connsiteY235" fmla="*/ 240524 h 671143"/>
                <a:gd name="connsiteX236" fmla="*/ 165055 w 263565"/>
                <a:gd name="connsiteY236" fmla="*/ 241185 h 671143"/>
                <a:gd name="connsiteX237" fmla="*/ 165277 w 263565"/>
                <a:gd name="connsiteY237" fmla="*/ 242115 h 671143"/>
                <a:gd name="connsiteX238" fmla="*/ 166597 w 263565"/>
                <a:gd name="connsiteY238" fmla="*/ 247775 h 671143"/>
                <a:gd name="connsiteX239" fmla="*/ 161714 w 263565"/>
                <a:gd name="connsiteY239" fmla="*/ 255613 h 671143"/>
                <a:gd name="connsiteX240" fmla="*/ 158672 w 263565"/>
                <a:gd name="connsiteY240" fmla="*/ 261875 h 671143"/>
                <a:gd name="connsiteX241" fmla="*/ 162061 w 263565"/>
                <a:gd name="connsiteY241" fmla="*/ 272249 h 671143"/>
                <a:gd name="connsiteX242" fmla="*/ 157091 w 263565"/>
                <a:gd name="connsiteY242" fmla="*/ 275089 h 671143"/>
                <a:gd name="connsiteX243" fmla="*/ 156701 w 263565"/>
                <a:gd name="connsiteY243" fmla="*/ 275301 h 671143"/>
                <a:gd name="connsiteX244" fmla="*/ 152121 w 263565"/>
                <a:gd name="connsiteY244" fmla="*/ 277769 h 671143"/>
                <a:gd name="connsiteX245" fmla="*/ 155013 w 263565"/>
                <a:gd name="connsiteY245" fmla="*/ 277769 h 671143"/>
                <a:gd name="connsiteX246" fmla="*/ 153567 w 263565"/>
                <a:gd name="connsiteY246" fmla="*/ 280213 h 671143"/>
                <a:gd name="connsiteX247" fmla="*/ 148968 w 263565"/>
                <a:gd name="connsiteY247" fmla="*/ 280175 h 671143"/>
                <a:gd name="connsiteX248" fmla="*/ 148525 w 263565"/>
                <a:gd name="connsiteY248" fmla="*/ 279731 h 671143"/>
                <a:gd name="connsiteX249" fmla="*/ 147994 w 263565"/>
                <a:gd name="connsiteY249" fmla="*/ 279211 h 671143"/>
                <a:gd name="connsiteX250" fmla="*/ 147271 w 263565"/>
                <a:gd name="connsiteY250" fmla="*/ 279394 h 671143"/>
                <a:gd name="connsiteX251" fmla="*/ 146273 w 263565"/>
                <a:gd name="connsiteY251" fmla="*/ 279654 h 671143"/>
                <a:gd name="connsiteX252" fmla="*/ 138724 w 263565"/>
                <a:gd name="connsiteY252" fmla="*/ 281713 h 671143"/>
                <a:gd name="connsiteX253" fmla="*/ 138536 w 263565"/>
                <a:gd name="connsiteY253" fmla="*/ 281775 h 671143"/>
                <a:gd name="connsiteX254" fmla="*/ 137721 w 263565"/>
                <a:gd name="connsiteY254" fmla="*/ 282011 h 671143"/>
                <a:gd name="connsiteX255" fmla="*/ 137143 w 263565"/>
                <a:gd name="connsiteY255" fmla="*/ 282185 h 671143"/>
                <a:gd name="connsiteX256" fmla="*/ 136897 w 263565"/>
                <a:gd name="connsiteY256" fmla="*/ 282739 h 671143"/>
                <a:gd name="connsiteX257" fmla="*/ 136564 w 263565"/>
                <a:gd name="connsiteY257" fmla="*/ 283486 h 671143"/>
                <a:gd name="connsiteX258" fmla="*/ 133879 w 263565"/>
                <a:gd name="connsiteY258" fmla="*/ 298315 h 671143"/>
                <a:gd name="connsiteX259" fmla="*/ 136892 w 263565"/>
                <a:gd name="connsiteY259" fmla="*/ 301516 h 671143"/>
                <a:gd name="connsiteX260" fmla="*/ 139558 w 263565"/>
                <a:gd name="connsiteY260" fmla="*/ 303309 h 671143"/>
                <a:gd name="connsiteX261" fmla="*/ 139568 w 263565"/>
                <a:gd name="connsiteY261" fmla="*/ 303382 h 671143"/>
                <a:gd name="connsiteX262" fmla="*/ 139601 w 263565"/>
                <a:gd name="connsiteY262" fmla="*/ 303377 h 671143"/>
                <a:gd name="connsiteX263" fmla="*/ 139606 w 263565"/>
                <a:gd name="connsiteY263" fmla="*/ 303391 h 671143"/>
                <a:gd name="connsiteX264" fmla="*/ 139621 w 263565"/>
                <a:gd name="connsiteY264" fmla="*/ 303420 h 671143"/>
                <a:gd name="connsiteX265" fmla="*/ 139664 w 263565"/>
                <a:gd name="connsiteY265" fmla="*/ 303521 h 671143"/>
                <a:gd name="connsiteX266" fmla="*/ 139626 w 263565"/>
                <a:gd name="connsiteY266" fmla="*/ 303377 h 671143"/>
                <a:gd name="connsiteX267" fmla="*/ 140918 w 263565"/>
                <a:gd name="connsiteY267" fmla="*/ 303232 h 671143"/>
                <a:gd name="connsiteX268" fmla="*/ 140975 w 263565"/>
                <a:gd name="connsiteY268" fmla="*/ 303343 h 671143"/>
                <a:gd name="connsiteX269" fmla="*/ 141371 w 263565"/>
                <a:gd name="connsiteY269" fmla="*/ 304269 h 671143"/>
                <a:gd name="connsiteX270" fmla="*/ 141269 w 263565"/>
                <a:gd name="connsiteY270" fmla="*/ 304423 h 671143"/>
                <a:gd name="connsiteX271" fmla="*/ 139770 w 263565"/>
                <a:gd name="connsiteY271" fmla="*/ 303864 h 671143"/>
                <a:gd name="connsiteX272" fmla="*/ 139780 w 263565"/>
                <a:gd name="connsiteY272" fmla="*/ 303883 h 671143"/>
                <a:gd name="connsiteX273" fmla="*/ 142981 w 263565"/>
                <a:gd name="connsiteY273" fmla="*/ 317410 h 671143"/>
                <a:gd name="connsiteX274" fmla="*/ 131609 w 263565"/>
                <a:gd name="connsiteY274" fmla="*/ 335599 h 671143"/>
                <a:gd name="connsiteX275" fmla="*/ 126099 w 263565"/>
                <a:gd name="connsiteY275" fmla="*/ 342208 h 671143"/>
                <a:gd name="connsiteX276" fmla="*/ 126070 w 263565"/>
                <a:gd name="connsiteY276" fmla="*/ 343268 h 671143"/>
                <a:gd name="connsiteX277" fmla="*/ 119171 w 263565"/>
                <a:gd name="connsiteY277" fmla="*/ 356409 h 671143"/>
                <a:gd name="connsiteX278" fmla="*/ 115517 w 263565"/>
                <a:gd name="connsiteY278" fmla="*/ 355320 h 671143"/>
                <a:gd name="connsiteX279" fmla="*/ 115324 w 263565"/>
                <a:gd name="connsiteY279" fmla="*/ 355238 h 671143"/>
                <a:gd name="connsiteX280" fmla="*/ 106049 w 263565"/>
                <a:gd name="connsiteY280" fmla="*/ 352765 h 671143"/>
                <a:gd name="connsiteX281" fmla="*/ 103355 w 263565"/>
                <a:gd name="connsiteY281" fmla="*/ 352664 h 671143"/>
                <a:gd name="connsiteX282" fmla="*/ 72367 w 263565"/>
                <a:gd name="connsiteY282" fmla="*/ 344469 h 671143"/>
                <a:gd name="connsiteX283" fmla="*/ 70116 w 263565"/>
                <a:gd name="connsiteY283" fmla="*/ 341783 h 671143"/>
                <a:gd name="connsiteX284" fmla="*/ 68496 w 263565"/>
                <a:gd name="connsiteY284" fmla="*/ 339865 h 671143"/>
                <a:gd name="connsiteX285" fmla="*/ 67840 w 263565"/>
                <a:gd name="connsiteY285" fmla="*/ 342294 h 671143"/>
                <a:gd name="connsiteX286" fmla="*/ 66920 w 263565"/>
                <a:gd name="connsiteY286" fmla="*/ 345683 h 671143"/>
                <a:gd name="connsiteX287" fmla="*/ 66712 w 263565"/>
                <a:gd name="connsiteY287" fmla="*/ 356159 h 671143"/>
                <a:gd name="connsiteX288" fmla="*/ 66809 w 263565"/>
                <a:gd name="connsiteY288" fmla="*/ 356414 h 671143"/>
                <a:gd name="connsiteX289" fmla="*/ 66852 w 263565"/>
                <a:gd name="connsiteY289" fmla="*/ 356520 h 671143"/>
                <a:gd name="connsiteX290" fmla="*/ 66915 w 263565"/>
                <a:gd name="connsiteY290" fmla="*/ 356622 h 671143"/>
                <a:gd name="connsiteX291" fmla="*/ 67031 w 263565"/>
                <a:gd name="connsiteY291" fmla="*/ 356819 h 671143"/>
                <a:gd name="connsiteX292" fmla="*/ 72073 w 263565"/>
                <a:gd name="connsiteY292" fmla="*/ 367391 h 671143"/>
                <a:gd name="connsiteX293" fmla="*/ 83026 w 263565"/>
                <a:gd name="connsiteY293" fmla="*/ 380007 h 671143"/>
                <a:gd name="connsiteX294" fmla="*/ 79237 w 263565"/>
                <a:gd name="connsiteY294" fmla="*/ 391774 h 671143"/>
                <a:gd name="connsiteX295" fmla="*/ 79102 w 263565"/>
                <a:gd name="connsiteY295" fmla="*/ 392305 h 671143"/>
                <a:gd name="connsiteX296" fmla="*/ 79000 w 263565"/>
                <a:gd name="connsiteY296" fmla="*/ 392700 h 671143"/>
                <a:gd name="connsiteX297" fmla="*/ 79140 w 263565"/>
                <a:gd name="connsiteY297" fmla="*/ 393085 h 671143"/>
                <a:gd name="connsiteX298" fmla="*/ 79343 w 263565"/>
                <a:gd name="connsiteY298" fmla="*/ 393630 h 671143"/>
                <a:gd name="connsiteX299" fmla="*/ 83638 w 263565"/>
                <a:gd name="connsiteY299" fmla="*/ 405248 h 671143"/>
                <a:gd name="connsiteX300" fmla="*/ 81473 w 263565"/>
                <a:gd name="connsiteY300" fmla="*/ 411009 h 671143"/>
                <a:gd name="connsiteX301" fmla="*/ 81093 w 263565"/>
                <a:gd name="connsiteY301" fmla="*/ 412021 h 671143"/>
                <a:gd name="connsiteX302" fmla="*/ 80813 w 263565"/>
                <a:gd name="connsiteY302" fmla="*/ 412740 h 671143"/>
                <a:gd name="connsiteX303" fmla="*/ 81314 w 263565"/>
                <a:gd name="connsiteY303" fmla="*/ 413337 h 671143"/>
                <a:gd name="connsiteX304" fmla="*/ 82018 w 263565"/>
                <a:gd name="connsiteY304" fmla="*/ 414171 h 671143"/>
                <a:gd name="connsiteX305" fmla="*/ 87702 w 263565"/>
                <a:gd name="connsiteY305" fmla="*/ 420809 h 671143"/>
                <a:gd name="connsiteX306" fmla="*/ 90397 w 263565"/>
                <a:gd name="connsiteY306" fmla="*/ 432779 h 671143"/>
                <a:gd name="connsiteX307" fmla="*/ 90792 w 263565"/>
                <a:gd name="connsiteY307" fmla="*/ 434558 h 671143"/>
                <a:gd name="connsiteX308" fmla="*/ 91076 w 263565"/>
                <a:gd name="connsiteY308" fmla="*/ 435836 h 671143"/>
                <a:gd name="connsiteX309" fmla="*/ 92354 w 263565"/>
                <a:gd name="connsiteY309" fmla="*/ 435561 h 671143"/>
                <a:gd name="connsiteX310" fmla="*/ 94137 w 263565"/>
                <a:gd name="connsiteY310" fmla="*/ 435175 h 671143"/>
                <a:gd name="connsiteX311" fmla="*/ 100086 w 263565"/>
                <a:gd name="connsiteY311" fmla="*/ 433946 h 671143"/>
                <a:gd name="connsiteX312" fmla="*/ 103504 w 263565"/>
                <a:gd name="connsiteY312" fmla="*/ 438265 h 671143"/>
                <a:gd name="connsiteX313" fmla="*/ 103605 w 263565"/>
                <a:gd name="connsiteY313" fmla="*/ 443279 h 671143"/>
                <a:gd name="connsiteX314" fmla="*/ 103620 w 263565"/>
                <a:gd name="connsiteY314" fmla="*/ 443852 h 671143"/>
                <a:gd name="connsiteX315" fmla="*/ 103634 w 263565"/>
                <a:gd name="connsiteY315" fmla="*/ 444248 h 671143"/>
                <a:gd name="connsiteX316" fmla="*/ 103861 w 263565"/>
                <a:gd name="connsiteY316" fmla="*/ 444570 h 671143"/>
                <a:gd name="connsiteX317" fmla="*/ 104164 w 263565"/>
                <a:gd name="connsiteY317" fmla="*/ 445000 h 671143"/>
                <a:gd name="connsiteX318" fmla="*/ 104304 w 263565"/>
                <a:gd name="connsiteY318" fmla="*/ 445207 h 671143"/>
                <a:gd name="connsiteX319" fmla="*/ 92923 w 263565"/>
                <a:gd name="connsiteY319" fmla="*/ 460459 h 671143"/>
                <a:gd name="connsiteX320" fmla="*/ 67479 w 263565"/>
                <a:gd name="connsiteY320" fmla="*/ 474912 h 671143"/>
                <a:gd name="connsiteX321" fmla="*/ 61487 w 263565"/>
                <a:gd name="connsiteY321" fmla="*/ 485277 h 671143"/>
                <a:gd name="connsiteX322" fmla="*/ 61395 w 263565"/>
                <a:gd name="connsiteY322" fmla="*/ 485614 h 671143"/>
                <a:gd name="connsiteX323" fmla="*/ 61328 w 263565"/>
                <a:gd name="connsiteY323" fmla="*/ 485860 h 671143"/>
                <a:gd name="connsiteX324" fmla="*/ 61361 w 263565"/>
                <a:gd name="connsiteY324" fmla="*/ 486106 h 671143"/>
                <a:gd name="connsiteX325" fmla="*/ 61395 w 263565"/>
                <a:gd name="connsiteY325" fmla="*/ 486424 h 671143"/>
                <a:gd name="connsiteX326" fmla="*/ 61887 w 263565"/>
                <a:gd name="connsiteY326" fmla="*/ 491124 h 671143"/>
                <a:gd name="connsiteX327" fmla="*/ 56618 w 263565"/>
                <a:gd name="connsiteY327" fmla="*/ 496355 h 671143"/>
                <a:gd name="connsiteX328" fmla="*/ 56382 w 263565"/>
                <a:gd name="connsiteY328" fmla="*/ 496634 h 671143"/>
                <a:gd name="connsiteX329" fmla="*/ 56304 w 263565"/>
                <a:gd name="connsiteY329" fmla="*/ 496731 h 671143"/>
                <a:gd name="connsiteX330" fmla="*/ 56247 w 263565"/>
                <a:gd name="connsiteY330" fmla="*/ 496832 h 671143"/>
                <a:gd name="connsiteX331" fmla="*/ 56136 w 263565"/>
                <a:gd name="connsiteY331" fmla="*/ 497030 h 671143"/>
                <a:gd name="connsiteX332" fmla="*/ 51436 w 263565"/>
                <a:gd name="connsiteY332" fmla="*/ 510204 h 671143"/>
                <a:gd name="connsiteX333" fmla="*/ 51363 w 263565"/>
                <a:gd name="connsiteY333" fmla="*/ 510277 h 671143"/>
                <a:gd name="connsiteX334" fmla="*/ 51132 w 263565"/>
                <a:gd name="connsiteY334" fmla="*/ 510527 h 671143"/>
                <a:gd name="connsiteX335" fmla="*/ 52838 w 263565"/>
                <a:gd name="connsiteY335" fmla="*/ 521600 h 671143"/>
                <a:gd name="connsiteX336" fmla="*/ 57592 w 263565"/>
                <a:gd name="connsiteY336" fmla="*/ 531960 h 671143"/>
                <a:gd name="connsiteX337" fmla="*/ 61125 w 263565"/>
                <a:gd name="connsiteY337" fmla="*/ 541766 h 671143"/>
                <a:gd name="connsiteX338" fmla="*/ 62933 w 263565"/>
                <a:gd name="connsiteY338" fmla="*/ 546683 h 671143"/>
                <a:gd name="connsiteX339" fmla="*/ 71138 w 263565"/>
                <a:gd name="connsiteY339" fmla="*/ 557954 h 671143"/>
                <a:gd name="connsiteX340" fmla="*/ 75240 w 263565"/>
                <a:gd name="connsiteY340" fmla="*/ 557308 h 671143"/>
                <a:gd name="connsiteX341" fmla="*/ 80774 w 263565"/>
                <a:gd name="connsiteY341" fmla="*/ 556748 h 671143"/>
                <a:gd name="connsiteX342" fmla="*/ 79555 w 263565"/>
                <a:gd name="connsiteY342" fmla="*/ 561092 h 671143"/>
                <a:gd name="connsiteX343" fmla="*/ 74541 w 263565"/>
                <a:gd name="connsiteY343" fmla="*/ 564790 h 671143"/>
                <a:gd name="connsiteX344" fmla="*/ 74107 w 263565"/>
                <a:gd name="connsiteY344" fmla="*/ 565103 h 671143"/>
                <a:gd name="connsiteX345" fmla="*/ 73794 w 263565"/>
                <a:gd name="connsiteY345" fmla="*/ 565334 h 671143"/>
                <a:gd name="connsiteX346" fmla="*/ 73654 w 263565"/>
                <a:gd name="connsiteY346" fmla="*/ 565691 h 671143"/>
                <a:gd name="connsiteX347" fmla="*/ 73452 w 263565"/>
                <a:gd name="connsiteY347" fmla="*/ 566202 h 671143"/>
                <a:gd name="connsiteX348" fmla="*/ 71417 w 263565"/>
                <a:gd name="connsiteY348" fmla="*/ 571813 h 671143"/>
                <a:gd name="connsiteX349" fmla="*/ 68028 w 263565"/>
                <a:gd name="connsiteY349" fmla="*/ 572811 h 671143"/>
                <a:gd name="connsiteX350" fmla="*/ 62084 w 263565"/>
                <a:gd name="connsiteY350" fmla="*/ 571037 h 671143"/>
                <a:gd name="connsiteX351" fmla="*/ 61313 w 263565"/>
                <a:gd name="connsiteY351" fmla="*/ 570806 h 671143"/>
                <a:gd name="connsiteX352" fmla="*/ 60759 w 263565"/>
                <a:gd name="connsiteY352" fmla="*/ 570642 h 671143"/>
                <a:gd name="connsiteX353" fmla="*/ 60267 w 263565"/>
                <a:gd name="connsiteY353" fmla="*/ 570936 h 671143"/>
                <a:gd name="connsiteX354" fmla="*/ 59568 w 263565"/>
                <a:gd name="connsiteY354" fmla="*/ 571351 h 671143"/>
                <a:gd name="connsiteX355" fmla="*/ 53325 w 263565"/>
                <a:gd name="connsiteY355" fmla="*/ 575063 h 671143"/>
                <a:gd name="connsiteX356" fmla="*/ 48153 w 263565"/>
                <a:gd name="connsiteY356" fmla="*/ 573708 h 671143"/>
                <a:gd name="connsiteX357" fmla="*/ 47367 w 263565"/>
                <a:gd name="connsiteY357" fmla="*/ 573491 h 671143"/>
                <a:gd name="connsiteX358" fmla="*/ 46779 w 263565"/>
                <a:gd name="connsiteY358" fmla="*/ 573327 h 671143"/>
                <a:gd name="connsiteX359" fmla="*/ 46273 w 263565"/>
                <a:gd name="connsiteY359" fmla="*/ 573674 h 671143"/>
                <a:gd name="connsiteX360" fmla="*/ 45583 w 263565"/>
                <a:gd name="connsiteY360" fmla="*/ 574151 h 671143"/>
                <a:gd name="connsiteX361" fmla="*/ 40579 w 263565"/>
                <a:gd name="connsiteY361" fmla="*/ 582361 h 671143"/>
                <a:gd name="connsiteX362" fmla="*/ 33223 w 263565"/>
                <a:gd name="connsiteY362" fmla="*/ 593415 h 671143"/>
                <a:gd name="connsiteX363" fmla="*/ 30287 w 263565"/>
                <a:gd name="connsiteY363" fmla="*/ 594750 h 671143"/>
                <a:gd name="connsiteX364" fmla="*/ 18370 w 263565"/>
                <a:gd name="connsiteY364" fmla="*/ 601456 h 671143"/>
                <a:gd name="connsiteX365" fmla="*/ 13868 w 263565"/>
                <a:gd name="connsiteY365" fmla="*/ 608320 h 671143"/>
                <a:gd name="connsiteX366" fmla="*/ 13791 w 263565"/>
                <a:gd name="connsiteY366" fmla="*/ 608450 h 671143"/>
                <a:gd name="connsiteX367" fmla="*/ 13627 w 263565"/>
                <a:gd name="connsiteY367" fmla="*/ 608740 h 671143"/>
                <a:gd name="connsiteX368" fmla="*/ 13545 w 263565"/>
                <a:gd name="connsiteY368" fmla="*/ 608885 h 671143"/>
                <a:gd name="connsiteX369" fmla="*/ 13501 w 263565"/>
                <a:gd name="connsiteY369" fmla="*/ 609048 h 671143"/>
                <a:gd name="connsiteX370" fmla="*/ 13444 w 263565"/>
                <a:gd name="connsiteY370" fmla="*/ 609279 h 671143"/>
                <a:gd name="connsiteX371" fmla="*/ 12108 w 263565"/>
                <a:gd name="connsiteY371" fmla="*/ 614100 h 671143"/>
                <a:gd name="connsiteX372" fmla="*/ 1233 w 263565"/>
                <a:gd name="connsiteY372" fmla="*/ 624764 h 671143"/>
                <a:gd name="connsiteX373" fmla="*/ 982 w 263565"/>
                <a:gd name="connsiteY373" fmla="*/ 625005 h 671143"/>
                <a:gd name="connsiteX374" fmla="*/ 784 w 263565"/>
                <a:gd name="connsiteY374" fmla="*/ 625193 h 671143"/>
                <a:gd name="connsiteX375" fmla="*/ 683 w 263565"/>
                <a:gd name="connsiteY375" fmla="*/ 625453 h 671143"/>
                <a:gd name="connsiteX376" fmla="*/ 539 w 263565"/>
                <a:gd name="connsiteY376" fmla="*/ 625800 h 671143"/>
                <a:gd name="connsiteX377" fmla="*/ 1835 w 263565"/>
                <a:gd name="connsiteY377" fmla="*/ 634242 h 671143"/>
                <a:gd name="connsiteX378" fmla="*/ 2346 w 263565"/>
                <a:gd name="connsiteY378" fmla="*/ 635008 h 671143"/>
                <a:gd name="connsiteX379" fmla="*/ 4053 w 263565"/>
                <a:gd name="connsiteY379" fmla="*/ 640017 h 671143"/>
                <a:gd name="connsiteX380" fmla="*/ 3735 w 263565"/>
                <a:gd name="connsiteY380" fmla="*/ 645599 h 671143"/>
                <a:gd name="connsiteX381" fmla="*/ 3706 w 263565"/>
                <a:gd name="connsiteY381" fmla="*/ 646496 h 671143"/>
                <a:gd name="connsiteX382" fmla="*/ 2766 w 263565"/>
                <a:gd name="connsiteY382" fmla="*/ 657342 h 671143"/>
                <a:gd name="connsiteX383" fmla="*/ 1985 w 263565"/>
                <a:gd name="connsiteY383" fmla="*/ 666743 h 671143"/>
                <a:gd name="connsiteX384" fmla="*/ 2033 w 263565"/>
                <a:gd name="connsiteY384" fmla="*/ 669168 h 671143"/>
                <a:gd name="connsiteX385" fmla="*/ 1888 w 263565"/>
                <a:gd name="connsiteY385" fmla="*/ 670474 h 671143"/>
                <a:gd name="connsiteX386" fmla="*/ 3200 w 263565"/>
                <a:gd name="connsiteY386" fmla="*/ 670613 h 671143"/>
                <a:gd name="connsiteX387" fmla="*/ 6868 w 263565"/>
                <a:gd name="connsiteY387" fmla="*/ 671004 h 671143"/>
                <a:gd name="connsiteX388" fmla="*/ 8170 w 263565"/>
                <a:gd name="connsiteY388" fmla="*/ 671144 h 671143"/>
                <a:gd name="connsiteX389" fmla="*/ 8314 w 263565"/>
                <a:gd name="connsiteY389" fmla="*/ 669837 h 671143"/>
                <a:gd name="connsiteX390" fmla="*/ 7760 w 263565"/>
                <a:gd name="connsiteY390" fmla="*/ 664212 h 671143"/>
                <a:gd name="connsiteX391" fmla="*/ 8261 w 263565"/>
                <a:gd name="connsiteY391" fmla="*/ 660466 h 671143"/>
                <a:gd name="connsiteX392" fmla="*/ 10026 w 263565"/>
                <a:gd name="connsiteY392" fmla="*/ 646694 h 671143"/>
                <a:gd name="connsiteX393" fmla="*/ 10325 w 263565"/>
                <a:gd name="connsiteY393" fmla="*/ 640836 h 671143"/>
                <a:gd name="connsiteX394" fmla="*/ 7350 w 263565"/>
                <a:gd name="connsiteY394" fmla="*/ 631117 h 671143"/>
                <a:gd name="connsiteX395" fmla="*/ 6955 w 263565"/>
                <a:gd name="connsiteY395" fmla="*/ 630621 h 671143"/>
                <a:gd name="connsiteX396" fmla="*/ 6314 w 263565"/>
                <a:gd name="connsiteY396" fmla="*/ 628611 h 671143"/>
                <a:gd name="connsiteX397" fmla="*/ 17141 w 263565"/>
                <a:gd name="connsiteY397" fmla="*/ 618005 h 671143"/>
                <a:gd name="connsiteX398" fmla="*/ 17464 w 263565"/>
                <a:gd name="connsiteY398" fmla="*/ 617711 h 671143"/>
                <a:gd name="connsiteX399" fmla="*/ 17753 w 263565"/>
                <a:gd name="connsiteY399" fmla="*/ 617441 h 671143"/>
                <a:gd name="connsiteX400" fmla="*/ 17850 w 263565"/>
                <a:gd name="connsiteY400" fmla="*/ 617060 h 671143"/>
                <a:gd name="connsiteX401" fmla="*/ 17975 w 263565"/>
                <a:gd name="connsiteY401" fmla="*/ 616569 h 671143"/>
                <a:gd name="connsiteX402" fmla="*/ 19431 w 263565"/>
                <a:gd name="connsiteY402" fmla="*/ 611362 h 671143"/>
                <a:gd name="connsiteX403" fmla="*/ 23379 w 263565"/>
                <a:gd name="connsiteY403" fmla="*/ 605298 h 671143"/>
                <a:gd name="connsiteX404" fmla="*/ 32828 w 263565"/>
                <a:gd name="connsiteY404" fmla="*/ 600535 h 671143"/>
                <a:gd name="connsiteX405" fmla="*/ 33835 w 263565"/>
                <a:gd name="connsiteY405" fmla="*/ 600072 h 671143"/>
                <a:gd name="connsiteX406" fmla="*/ 36390 w 263565"/>
                <a:gd name="connsiteY406" fmla="*/ 598867 h 671143"/>
                <a:gd name="connsiteX407" fmla="*/ 46890 w 263565"/>
                <a:gd name="connsiteY407" fmla="*/ 582804 h 671143"/>
                <a:gd name="connsiteX408" fmla="*/ 48186 w 263565"/>
                <a:gd name="connsiteY408" fmla="*/ 580230 h 671143"/>
                <a:gd name="connsiteX409" fmla="*/ 53007 w 263565"/>
                <a:gd name="connsiteY409" fmla="*/ 581513 h 671143"/>
                <a:gd name="connsiteX410" fmla="*/ 53783 w 263565"/>
                <a:gd name="connsiteY410" fmla="*/ 581696 h 671143"/>
                <a:gd name="connsiteX411" fmla="*/ 54299 w 263565"/>
                <a:gd name="connsiteY411" fmla="*/ 581821 h 671143"/>
                <a:gd name="connsiteX412" fmla="*/ 54752 w 263565"/>
                <a:gd name="connsiteY412" fmla="*/ 581556 h 671143"/>
                <a:gd name="connsiteX413" fmla="*/ 55422 w 263565"/>
                <a:gd name="connsiteY413" fmla="*/ 581161 h 671143"/>
                <a:gd name="connsiteX414" fmla="*/ 61607 w 263565"/>
                <a:gd name="connsiteY414" fmla="*/ 577468 h 671143"/>
                <a:gd name="connsiteX415" fmla="*/ 67117 w 263565"/>
                <a:gd name="connsiteY415" fmla="*/ 579121 h 671143"/>
                <a:gd name="connsiteX416" fmla="*/ 67657 w 263565"/>
                <a:gd name="connsiteY416" fmla="*/ 579275 h 671143"/>
                <a:gd name="connsiteX417" fmla="*/ 67995 w 263565"/>
                <a:gd name="connsiteY417" fmla="*/ 579377 h 671143"/>
                <a:gd name="connsiteX418" fmla="*/ 68337 w 263565"/>
                <a:gd name="connsiteY418" fmla="*/ 579285 h 671143"/>
                <a:gd name="connsiteX419" fmla="*/ 68862 w 263565"/>
                <a:gd name="connsiteY419" fmla="*/ 579155 h 671143"/>
                <a:gd name="connsiteX420" fmla="*/ 74705 w 263565"/>
                <a:gd name="connsiteY420" fmla="*/ 577453 h 671143"/>
                <a:gd name="connsiteX421" fmla="*/ 75597 w 263565"/>
                <a:gd name="connsiteY421" fmla="*/ 577198 h 671143"/>
                <a:gd name="connsiteX422" fmla="*/ 76238 w 263565"/>
                <a:gd name="connsiteY422" fmla="*/ 577014 h 671143"/>
                <a:gd name="connsiteX423" fmla="*/ 76469 w 263565"/>
                <a:gd name="connsiteY423" fmla="*/ 576388 h 671143"/>
                <a:gd name="connsiteX424" fmla="*/ 76792 w 263565"/>
                <a:gd name="connsiteY424" fmla="*/ 575492 h 671143"/>
                <a:gd name="connsiteX425" fmla="*/ 79044 w 263565"/>
                <a:gd name="connsiteY425" fmla="*/ 569258 h 671143"/>
                <a:gd name="connsiteX426" fmla="*/ 84216 w 263565"/>
                <a:gd name="connsiteY426" fmla="*/ 565488 h 671143"/>
                <a:gd name="connsiteX427" fmla="*/ 84780 w 263565"/>
                <a:gd name="connsiteY427" fmla="*/ 565069 h 671143"/>
                <a:gd name="connsiteX428" fmla="*/ 85161 w 263565"/>
                <a:gd name="connsiteY428" fmla="*/ 564780 h 671143"/>
                <a:gd name="connsiteX429" fmla="*/ 85272 w 263565"/>
                <a:gd name="connsiteY429" fmla="*/ 564317 h 671143"/>
                <a:gd name="connsiteX430" fmla="*/ 85436 w 263565"/>
                <a:gd name="connsiteY430" fmla="*/ 563632 h 671143"/>
                <a:gd name="connsiteX431" fmla="*/ 87335 w 263565"/>
                <a:gd name="connsiteY431" fmla="*/ 557201 h 671143"/>
                <a:gd name="connsiteX432" fmla="*/ 88271 w 263565"/>
                <a:gd name="connsiteY432" fmla="*/ 555929 h 671143"/>
                <a:gd name="connsiteX433" fmla="*/ 87008 w 263565"/>
                <a:gd name="connsiteY433" fmla="*/ 553036 h 671143"/>
                <a:gd name="connsiteX434" fmla="*/ 73664 w 263565"/>
                <a:gd name="connsiteY434" fmla="*/ 551171 h 671143"/>
                <a:gd name="connsiteX435" fmla="*/ 73457 w 263565"/>
                <a:gd name="connsiteY435" fmla="*/ 551224 h 671143"/>
                <a:gd name="connsiteX436" fmla="*/ 71509 w 263565"/>
                <a:gd name="connsiteY436" fmla="*/ 551634 h 671143"/>
                <a:gd name="connsiteX437" fmla="*/ 69248 w 263565"/>
                <a:gd name="connsiteY437" fmla="*/ 546664 h 671143"/>
                <a:gd name="connsiteX438" fmla="*/ 66635 w 263565"/>
                <a:gd name="connsiteY438" fmla="*/ 538632 h 671143"/>
                <a:gd name="connsiteX439" fmla="*/ 63555 w 263565"/>
                <a:gd name="connsiteY439" fmla="*/ 529849 h 671143"/>
                <a:gd name="connsiteX440" fmla="*/ 57654 w 263565"/>
                <a:gd name="connsiteY440" fmla="*/ 517474 h 671143"/>
                <a:gd name="connsiteX441" fmla="*/ 56131 w 263565"/>
                <a:gd name="connsiteY441" fmla="*/ 514399 h 671143"/>
                <a:gd name="connsiteX442" fmla="*/ 56179 w 263565"/>
                <a:gd name="connsiteY442" fmla="*/ 514351 h 671143"/>
                <a:gd name="connsiteX443" fmla="*/ 57539 w 263565"/>
                <a:gd name="connsiteY443" fmla="*/ 508575 h 671143"/>
                <a:gd name="connsiteX444" fmla="*/ 61385 w 263565"/>
                <a:gd name="connsiteY444" fmla="*/ 500549 h 671143"/>
                <a:gd name="connsiteX445" fmla="*/ 67416 w 263565"/>
                <a:gd name="connsiteY445" fmla="*/ 494542 h 671143"/>
                <a:gd name="connsiteX446" fmla="*/ 68057 w 263565"/>
                <a:gd name="connsiteY446" fmla="*/ 493877 h 671143"/>
                <a:gd name="connsiteX447" fmla="*/ 68482 w 263565"/>
                <a:gd name="connsiteY447" fmla="*/ 493438 h 671143"/>
                <a:gd name="connsiteX448" fmla="*/ 68419 w 263565"/>
                <a:gd name="connsiteY448" fmla="*/ 492826 h 671143"/>
                <a:gd name="connsiteX449" fmla="*/ 68332 w 263565"/>
                <a:gd name="connsiteY449" fmla="*/ 491963 h 671143"/>
                <a:gd name="connsiteX450" fmla="*/ 67734 w 263565"/>
                <a:gd name="connsiteY450" fmla="*/ 486381 h 671143"/>
                <a:gd name="connsiteX451" fmla="*/ 70130 w 263565"/>
                <a:gd name="connsiteY451" fmla="*/ 480610 h 671143"/>
                <a:gd name="connsiteX452" fmla="*/ 97984 w 263565"/>
                <a:gd name="connsiteY452" fmla="*/ 464355 h 671143"/>
                <a:gd name="connsiteX453" fmla="*/ 98428 w 263565"/>
                <a:gd name="connsiteY453" fmla="*/ 463858 h 671143"/>
                <a:gd name="connsiteX454" fmla="*/ 98732 w 263565"/>
                <a:gd name="connsiteY454" fmla="*/ 463525 h 671143"/>
                <a:gd name="connsiteX455" fmla="*/ 98760 w 263565"/>
                <a:gd name="connsiteY455" fmla="*/ 463072 h 671143"/>
                <a:gd name="connsiteX456" fmla="*/ 98804 w 263565"/>
                <a:gd name="connsiteY456" fmla="*/ 462436 h 671143"/>
                <a:gd name="connsiteX457" fmla="*/ 110547 w 263565"/>
                <a:gd name="connsiteY457" fmla="*/ 447993 h 671143"/>
                <a:gd name="connsiteX458" fmla="*/ 111747 w 263565"/>
                <a:gd name="connsiteY458" fmla="*/ 446932 h 671143"/>
                <a:gd name="connsiteX459" fmla="*/ 112625 w 263565"/>
                <a:gd name="connsiteY459" fmla="*/ 446166 h 671143"/>
                <a:gd name="connsiteX460" fmla="*/ 111960 w 263565"/>
                <a:gd name="connsiteY460" fmla="*/ 445207 h 671143"/>
                <a:gd name="connsiteX461" fmla="*/ 111039 w 263565"/>
                <a:gd name="connsiteY461" fmla="*/ 443872 h 671143"/>
                <a:gd name="connsiteX462" fmla="*/ 109901 w 263565"/>
                <a:gd name="connsiteY462" fmla="*/ 442184 h 671143"/>
                <a:gd name="connsiteX463" fmla="*/ 109790 w 263565"/>
                <a:gd name="connsiteY463" fmla="*/ 437084 h 671143"/>
                <a:gd name="connsiteX464" fmla="*/ 109776 w 263565"/>
                <a:gd name="connsiteY464" fmla="*/ 436457 h 671143"/>
                <a:gd name="connsiteX465" fmla="*/ 109761 w 263565"/>
                <a:gd name="connsiteY465" fmla="*/ 436004 h 671143"/>
                <a:gd name="connsiteX466" fmla="*/ 109472 w 263565"/>
                <a:gd name="connsiteY466" fmla="*/ 435657 h 671143"/>
                <a:gd name="connsiteX467" fmla="*/ 109086 w 263565"/>
                <a:gd name="connsiteY467" fmla="*/ 435180 h 671143"/>
                <a:gd name="connsiteX468" fmla="*/ 103817 w 263565"/>
                <a:gd name="connsiteY468" fmla="*/ 428479 h 671143"/>
                <a:gd name="connsiteX469" fmla="*/ 103118 w 263565"/>
                <a:gd name="connsiteY469" fmla="*/ 427573 h 671143"/>
                <a:gd name="connsiteX470" fmla="*/ 102617 w 263565"/>
                <a:gd name="connsiteY470" fmla="*/ 426917 h 671143"/>
                <a:gd name="connsiteX471" fmla="*/ 101812 w 263565"/>
                <a:gd name="connsiteY471" fmla="*/ 427081 h 671143"/>
                <a:gd name="connsiteX472" fmla="*/ 100698 w 263565"/>
                <a:gd name="connsiteY472" fmla="*/ 427312 h 671143"/>
                <a:gd name="connsiteX473" fmla="*/ 95858 w 263565"/>
                <a:gd name="connsiteY473" fmla="*/ 428339 h 671143"/>
                <a:gd name="connsiteX474" fmla="*/ 93689 w 263565"/>
                <a:gd name="connsiteY474" fmla="*/ 418611 h 671143"/>
                <a:gd name="connsiteX475" fmla="*/ 93583 w 263565"/>
                <a:gd name="connsiteY475" fmla="*/ 418153 h 671143"/>
                <a:gd name="connsiteX476" fmla="*/ 93511 w 263565"/>
                <a:gd name="connsiteY476" fmla="*/ 417835 h 671143"/>
                <a:gd name="connsiteX477" fmla="*/ 93294 w 263565"/>
                <a:gd name="connsiteY477" fmla="*/ 417589 h 671143"/>
                <a:gd name="connsiteX478" fmla="*/ 92990 w 263565"/>
                <a:gd name="connsiteY478" fmla="*/ 417247 h 671143"/>
                <a:gd name="connsiteX479" fmla="*/ 88025 w 263565"/>
                <a:gd name="connsiteY479" fmla="*/ 411457 h 671143"/>
                <a:gd name="connsiteX480" fmla="*/ 89943 w 263565"/>
                <a:gd name="connsiteY480" fmla="*/ 406323 h 671143"/>
                <a:gd name="connsiteX481" fmla="*/ 90180 w 263565"/>
                <a:gd name="connsiteY481" fmla="*/ 405725 h 671143"/>
                <a:gd name="connsiteX482" fmla="*/ 90363 w 263565"/>
                <a:gd name="connsiteY482" fmla="*/ 405263 h 671143"/>
                <a:gd name="connsiteX483" fmla="*/ 90189 w 263565"/>
                <a:gd name="connsiteY483" fmla="*/ 404795 h 671143"/>
                <a:gd name="connsiteX484" fmla="*/ 89958 w 263565"/>
                <a:gd name="connsiteY484" fmla="*/ 404149 h 671143"/>
                <a:gd name="connsiteX485" fmla="*/ 85605 w 263565"/>
                <a:gd name="connsiteY485" fmla="*/ 392367 h 671143"/>
                <a:gd name="connsiteX486" fmla="*/ 89996 w 263565"/>
                <a:gd name="connsiteY486" fmla="*/ 379925 h 671143"/>
                <a:gd name="connsiteX487" fmla="*/ 91139 w 263565"/>
                <a:gd name="connsiteY487" fmla="*/ 377939 h 671143"/>
                <a:gd name="connsiteX488" fmla="*/ 91968 w 263565"/>
                <a:gd name="connsiteY488" fmla="*/ 376507 h 671143"/>
                <a:gd name="connsiteX489" fmla="*/ 90387 w 263565"/>
                <a:gd name="connsiteY489" fmla="*/ 376020 h 671143"/>
                <a:gd name="connsiteX490" fmla="*/ 88169 w 263565"/>
                <a:gd name="connsiteY490" fmla="*/ 375340 h 671143"/>
                <a:gd name="connsiteX491" fmla="*/ 78195 w 263565"/>
                <a:gd name="connsiteY491" fmla="*/ 365882 h 671143"/>
                <a:gd name="connsiteX492" fmla="*/ 72642 w 263565"/>
                <a:gd name="connsiteY492" fmla="*/ 353888 h 671143"/>
                <a:gd name="connsiteX493" fmla="*/ 72449 w 263565"/>
                <a:gd name="connsiteY493" fmla="*/ 352394 h 671143"/>
                <a:gd name="connsiteX494" fmla="*/ 103118 w 263565"/>
                <a:gd name="connsiteY494" fmla="*/ 358926 h 671143"/>
                <a:gd name="connsiteX495" fmla="*/ 104025 w 263565"/>
                <a:gd name="connsiteY495" fmla="*/ 358965 h 671143"/>
                <a:gd name="connsiteX496" fmla="*/ 105664 w 263565"/>
                <a:gd name="connsiteY496" fmla="*/ 359037 h 671143"/>
                <a:gd name="connsiteX497" fmla="*/ 112837 w 263565"/>
                <a:gd name="connsiteY497" fmla="*/ 360994 h 671143"/>
                <a:gd name="connsiteX498" fmla="*/ 119167 w 263565"/>
                <a:gd name="connsiteY498" fmla="*/ 362667 h 671143"/>
                <a:gd name="connsiteX499" fmla="*/ 132375 w 263565"/>
                <a:gd name="connsiteY499" fmla="*/ 343485 h 671143"/>
                <a:gd name="connsiteX500" fmla="*/ 132419 w 263565"/>
                <a:gd name="connsiteY500" fmla="*/ 342333 h 671143"/>
                <a:gd name="connsiteX501" fmla="*/ 132438 w 263565"/>
                <a:gd name="connsiteY501" fmla="*/ 341779 h 671143"/>
                <a:gd name="connsiteX502" fmla="*/ 148833 w 263565"/>
                <a:gd name="connsiteY502" fmla="*/ 319734 h 671143"/>
                <a:gd name="connsiteX503" fmla="*/ 145623 w 263565"/>
                <a:gd name="connsiteY503" fmla="*/ 301482 h 671143"/>
                <a:gd name="connsiteX504" fmla="*/ 139770 w 263565"/>
                <a:gd name="connsiteY504" fmla="*/ 295861 h 671143"/>
                <a:gd name="connsiteX505" fmla="*/ 141780 w 263565"/>
                <a:gd name="connsiteY505" fmla="*/ 287353 h 671143"/>
                <a:gd name="connsiteX506" fmla="*/ 146847 w 263565"/>
                <a:gd name="connsiteY506" fmla="*/ 285993 h 671143"/>
                <a:gd name="connsiteX507" fmla="*/ 155857 w 263565"/>
                <a:gd name="connsiteY507" fmla="*/ 286331 h 671143"/>
                <a:gd name="connsiteX508" fmla="*/ 156754 w 263565"/>
                <a:gd name="connsiteY508" fmla="*/ 286215 h 671143"/>
                <a:gd name="connsiteX509" fmla="*/ 157380 w 263565"/>
                <a:gd name="connsiteY509" fmla="*/ 286133 h 671143"/>
                <a:gd name="connsiteX510" fmla="*/ 157703 w 263565"/>
                <a:gd name="connsiteY510" fmla="*/ 285584 h 671143"/>
                <a:gd name="connsiteX511" fmla="*/ 158166 w 263565"/>
                <a:gd name="connsiteY511" fmla="*/ 284817 h 671143"/>
                <a:gd name="connsiteX512" fmla="*/ 160972 w 263565"/>
                <a:gd name="connsiteY512" fmla="*/ 280098 h 671143"/>
                <a:gd name="connsiteX513" fmla="*/ 168381 w 263565"/>
                <a:gd name="connsiteY513" fmla="*/ 275875 h 671143"/>
                <a:gd name="connsiteX514" fmla="*/ 170184 w 263565"/>
                <a:gd name="connsiteY514" fmla="*/ 274824 h 671143"/>
                <a:gd name="connsiteX515" fmla="*/ 170719 w 263565"/>
                <a:gd name="connsiteY515" fmla="*/ 274824 h 671143"/>
                <a:gd name="connsiteX516" fmla="*/ 171052 w 263565"/>
                <a:gd name="connsiteY516" fmla="*/ 274004 h 671143"/>
                <a:gd name="connsiteX517" fmla="*/ 169022 w 263565"/>
                <a:gd name="connsiteY517" fmla="*/ 270871 h 671143"/>
                <a:gd name="connsiteX518" fmla="*/ 164983 w 263565"/>
                <a:gd name="connsiteY518" fmla="*/ 262309 h 671143"/>
                <a:gd name="connsiteX519" fmla="*/ 165479 w 263565"/>
                <a:gd name="connsiteY519" fmla="*/ 260675 h 671143"/>
                <a:gd name="connsiteX520" fmla="*/ 165431 w 263565"/>
                <a:gd name="connsiteY520" fmla="*/ 260713 h 671143"/>
                <a:gd name="connsiteX521" fmla="*/ 172758 w 263565"/>
                <a:gd name="connsiteY521" fmla="*/ 249602 h 671143"/>
                <a:gd name="connsiteX522" fmla="*/ 173028 w 263565"/>
                <a:gd name="connsiteY522" fmla="*/ 249038 h 671143"/>
                <a:gd name="connsiteX523" fmla="*/ 173216 w 263565"/>
                <a:gd name="connsiteY523" fmla="*/ 248647 h 671143"/>
                <a:gd name="connsiteX524" fmla="*/ 173134 w 263565"/>
                <a:gd name="connsiteY524" fmla="*/ 248223 h 671143"/>
                <a:gd name="connsiteX525" fmla="*/ 173033 w 263565"/>
                <a:gd name="connsiteY525" fmla="*/ 247683 h 671143"/>
                <a:gd name="connsiteX526" fmla="*/ 171775 w 263565"/>
                <a:gd name="connsiteY526" fmla="*/ 241956 h 671143"/>
                <a:gd name="connsiteX527" fmla="*/ 176769 w 263565"/>
                <a:gd name="connsiteY527" fmla="*/ 220451 h 671143"/>
                <a:gd name="connsiteX528" fmla="*/ 180954 w 263565"/>
                <a:gd name="connsiteY528" fmla="*/ 209542 h 671143"/>
                <a:gd name="connsiteX529" fmla="*/ 180115 w 263565"/>
                <a:gd name="connsiteY529" fmla="*/ 198623 h 671143"/>
                <a:gd name="connsiteX530" fmla="*/ 178885 w 263565"/>
                <a:gd name="connsiteY530" fmla="*/ 194954 h 671143"/>
                <a:gd name="connsiteX531" fmla="*/ 176181 w 263565"/>
                <a:gd name="connsiteY531" fmla="*/ 185260 h 671143"/>
                <a:gd name="connsiteX532" fmla="*/ 183865 w 263565"/>
                <a:gd name="connsiteY532" fmla="*/ 186224 h 671143"/>
                <a:gd name="connsiteX533" fmla="*/ 184844 w 263565"/>
                <a:gd name="connsiteY533" fmla="*/ 186349 h 671143"/>
                <a:gd name="connsiteX534" fmla="*/ 185552 w 263565"/>
                <a:gd name="connsiteY534" fmla="*/ 186446 h 671143"/>
                <a:gd name="connsiteX535" fmla="*/ 186015 w 263565"/>
                <a:gd name="connsiteY535" fmla="*/ 185896 h 671143"/>
                <a:gd name="connsiteX536" fmla="*/ 186661 w 263565"/>
                <a:gd name="connsiteY536" fmla="*/ 185130 h 671143"/>
                <a:gd name="connsiteX537" fmla="*/ 192996 w 263565"/>
                <a:gd name="connsiteY537" fmla="*/ 177638 h 671143"/>
                <a:gd name="connsiteX538" fmla="*/ 193140 w 263565"/>
                <a:gd name="connsiteY538" fmla="*/ 177465 h 671143"/>
                <a:gd name="connsiteX539" fmla="*/ 193242 w 263565"/>
                <a:gd name="connsiteY539" fmla="*/ 177349 h 671143"/>
                <a:gd name="connsiteX540" fmla="*/ 193309 w 263565"/>
                <a:gd name="connsiteY540" fmla="*/ 177214 h 671143"/>
                <a:gd name="connsiteX541" fmla="*/ 193410 w 263565"/>
                <a:gd name="connsiteY541" fmla="*/ 177016 h 671143"/>
                <a:gd name="connsiteX542" fmla="*/ 195965 w 263565"/>
                <a:gd name="connsiteY542" fmla="*/ 171916 h 671143"/>
                <a:gd name="connsiteX543" fmla="*/ 206797 w 263565"/>
                <a:gd name="connsiteY543" fmla="*/ 163485 h 671143"/>
                <a:gd name="connsiteX544" fmla="*/ 232733 w 263565"/>
                <a:gd name="connsiteY544" fmla="*/ 155714 h 671143"/>
                <a:gd name="connsiteX545" fmla="*/ 232892 w 263565"/>
                <a:gd name="connsiteY545" fmla="*/ 155579 h 671143"/>
                <a:gd name="connsiteX546" fmla="*/ 233027 w 263565"/>
                <a:gd name="connsiteY546" fmla="*/ 155468 h 671143"/>
                <a:gd name="connsiteX547" fmla="*/ 233128 w 263565"/>
                <a:gd name="connsiteY547" fmla="*/ 155323 h 671143"/>
                <a:gd name="connsiteX548" fmla="*/ 233249 w 263565"/>
                <a:gd name="connsiteY548" fmla="*/ 155164 h 671143"/>
                <a:gd name="connsiteX549" fmla="*/ 237067 w 263565"/>
                <a:gd name="connsiteY549" fmla="*/ 150305 h 671143"/>
                <a:gd name="connsiteX550" fmla="*/ 242403 w 263565"/>
                <a:gd name="connsiteY550" fmla="*/ 151337 h 671143"/>
                <a:gd name="connsiteX551" fmla="*/ 243709 w 263565"/>
                <a:gd name="connsiteY551" fmla="*/ 151592 h 671143"/>
                <a:gd name="connsiteX552" fmla="*/ 244645 w 263565"/>
                <a:gd name="connsiteY552" fmla="*/ 151780 h 671143"/>
                <a:gd name="connsiteX553" fmla="*/ 245108 w 263565"/>
                <a:gd name="connsiteY553" fmla="*/ 150946 h 671143"/>
                <a:gd name="connsiteX554" fmla="*/ 245758 w 263565"/>
                <a:gd name="connsiteY554" fmla="*/ 149784 h 671143"/>
                <a:gd name="connsiteX555" fmla="*/ 252382 w 263565"/>
                <a:gd name="connsiteY555" fmla="*/ 138051 h 671143"/>
                <a:gd name="connsiteX556" fmla="*/ 262129 w 263565"/>
                <a:gd name="connsiteY556" fmla="*/ 129185 h 671143"/>
                <a:gd name="connsiteX557" fmla="*/ 262978 w 263565"/>
                <a:gd name="connsiteY557" fmla="*/ 128438 h 671143"/>
                <a:gd name="connsiteX558" fmla="*/ 263566 w 263565"/>
                <a:gd name="connsiteY558" fmla="*/ 127917 h 671143"/>
                <a:gd name="connsiteX559" fmla="*/ 263383 w 263565"/>
                <a:gd name="connsiteY559" fmla="*/ 127151 h 671143"/>
                <a:gd name="connsiteX560" fmla="*/ 263103 w 263565"/>
                <a:gd name="connsiteY560" fmla="*/ 126115 h 671143"/>
                <a:gd name="connsiteX561" fmla="*/ 68867 w 263565"/>
                <a:gd name="connsiteY561" fmla="*/ 11146 h 671143"/>
                <a:gd name="connsiteX562" fmla="*/ 69219 w 263565"/>
                <a:gd name="connsiteY562" fmla="*/ 10866 h 671143"/>
                <a:gd name="connsiteX563" fmla="*/ 69677 w 263565"/>
                <a:gd name="connsiteY563" fmla="*/ 10514 h 671143"/>
                <a:gd name="connsiteX564" fmla="*/ 69783 w 263565"/>
                <a:gd name="connsiteY564" fmla="*/ 12032 h 671143"/>
                <a:gd name="connsiteX565" fmla="*/ 68867 w 263565"/>
                <a:gd name="connsiteY565" fmla="*/ 11146 h 671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Lst>
              <a:rect l="l" t="t" r="r" b="b"/>
              <a:pathLst>
                <a:path w="263565" h="671143">
                  <a:moveTo>
                    <a:pt x="263103" y="126115"/>
                  </a:moveTo>
                  <a:cubicBezTo>
                    <a:pt x="260987" y="116772"/>
                    <a:pt x="256562" y="110206"/>
                    <a:pt x="249967" y="106629"/>
                  </a:cubicBezTo>
                  <a:cubicBezTo>
                    <a:pt x="243951" y="103327"/>
                    <a:pt x="237597" y="103486"/>
                    <a:pt x="234666" y="104388"/>
                  </a:cubicBezTo>
                  <a:cubicBezTo>
                    <a:pt x="234246" y="104166"/>
                    <a:pt x="233249" y="103255"/>
                    <a:pt x="232309" y="101915"/>
                  </a:cubicBezTo>
                  <a:lnTo>
                    <a:pt x="232309" y="95648"/>
                  </a:lnTo>
                  <a:cubicBezTo>
                    <a:pt x="232930" y="94351"/>
                    <a:pt x="235042" y="90113"/>
                    <a:pt x="237100" y="87708"/>
                  </a:cubicBezTo>
                  <a:cubicBezTo>
                    <a:pt x="241810" y="82106"/>
                    <a:pt x="238103" y="77507"/>
                    <a:pt x="236512" y="75540"/>
                  </a:cubicBezTo>
                  <a:cubicBezTo>
                    <a:pt x="235649" y="74427"/>
                    <a:pt x="236266" y="73164"/>
                    <a:pt x="236657" y="72855"/>
                  </a:cubicBezTo>
                  <a:cubicBezTo>
                    <a:pt x="238011" y="71795"/>
                    <a:pt x="238527" y="70112"/>
                    <a:pt x="237978" y="68560"/>
                  </a:cubicBezTo>
                  <a:cubicBezTo>
                    <a:pt x="236507" y="64429"/>
                    <a:pt x="227883" y="63677"/>
                    <a:pt x="224692" y="63735"/>
                  </a:cubicBezTo>
                  <a:cubicBezTo>
                    <a:pt x="220797" y="63846"/>
                    <a:pt x="214510" y="60326"/>
                    <a:pt x="212418" y="58962"/>
                  </a:cubicBezTo>
                  <a:cubicBezTo>
                    <a:pt x="212452" y="58986"/>
                    <a:pt x="211922" y="58615"/>
                    <a:pt x="211922" y="58615"/>
                  </a:cubicBezTo>
                  <a:lnTo>
                    <a:pt x="211512" y="58335"/>
                  </a:lnTo>
                  <a:lnTo>
                    <a:pt x="211020" y="58388"/>
                  </a:lnTo>
                  <a:lnTo>
                    <a:pt x="210374" y="58461"/>
                  </a:lnTo>
                  <a:cubicBezTo>
                    <a:pt x="210403" y="58456"/>
                    <a:pt x="205534" y="58885"/>
                    <a:pt x="204638" y="58962"/>
                  </a:cubicBezTo>
                  <a:lnTo>
                    <a:pt x="199282" y="57892"/>
                  </a:lnTo>
                  <a:lnTo>
                    <a:pt x="197170" y="54132"/>
                  </a:lnTo>
                  <a:cubicBezTo>
                    <a:pt x="197166" y="54117"/>
                    <a:pt x="196201" y="52440"/>
                    <a:pt x="196201" y="52440"/>
                  </a:cubicBezTo>
                  <a:lnTo>
                    <a:pt x="195512" y="51249"/>
                  </a:lnTo>
                  <a:lnTo>
                    <a:pt x="194355" y="51987"/>
                  </a:lnTo>
                  <a:lnTo>
                    <a:pt x="192716" y="53033"/>
                  </a:lnTo>
                  <a:cubicBezTo>
                    <a:pt x="192721" y="53023"/>
                    <a:pt x="191535" y="53770"/>
                    <a:pt x="190715" y="54286"/>
                  </a:cubicBezTo>
                  <a:lnTo>
                    <a:pt x="180693" y="46689"/>
                  </a:lnTo>
                  <a:cubicBezTo>
                    <a:pt x="180684" y="46674"/>
                    <a:pt x="179131" y="45527"/>
                    <a:pt x="179131" y="45527"/>
                  </a:cubicBezTo>
                  <a:lnTo>
                    <a:pt x="178032" y="44717"/>
                  </a:lnTo>
                  <a:lnTo>
                    <a:pt x="177261" y="45845"/>
                  </a:lnTo>
                  <a:lnTo>
                    <a:pt x="176167" y="47445"/>
                  </a:lnTo>
                  <a:cubicBezTo>
                    <a:pt x="176157" y="47455"/>
                    <a:pt x="169586" y="57289"/>
                    <a:pt x="168217" y="59343"/>
                  </a:cubicBezTo>
                  <a:lnTo>
                    <a:pt x="159863" y="61228"/>
                  </a:lnTo>
                  <a:lnTo>
                    <a:pt x="154020" y="59724"/>
                  </a:lnTo>
                  <a:cubicBezTo>
                    <a:pt x="154059" y="59733"/>
                    <a:pt x="153220" y="59492"/>
                    <a:pt x="153220" y="59492"/>
                  </a:cubicBezTo>
                  <a:lnTo>
                    <a:pt x="152579" y="59309"/>
                  </a:lnTo>
                  <a:lnTo>
                    <a:pt x="152053" y="59714"/>
                  </a:lnTo>
                  <a:lnTo>
                    <a:pt x="151359" y="60244"/>
                  </a:lnTo>
                  <a:cubicBezTo>
                    <a:pt x="151388" y="60225"/>
                    <a:pt x="149532" y="61541"/>
                    <a:pt x="148153" y="62510"/>
                  </a:cubicBezTo>
                  <a:lnTo>
                    <a:pt x="148086" y="62298"/>
                  </a:lnTo>
                  <a:cubicBezTo>
                    <a:pt x="148100" y="62341"/>
                    <a:pt x="148033" y="62115"/>
                    <a:pt x="148033" y="62115"/>
                  </a:cubicBezTo>
                  <a:lnTo>
                    <a:pt x="147975" y="61932"/>
                  </a:lnTo>
                  <a:lnTo>
                    <a:pt x="147874" y="61768"/>
                  </a:lnTo>
                  <a:lnTo>
                    <a:pt x="147744" y="61575"/>
                  </a:lnTo>
                  <a:cubicBezTo>
                    <a:pt x="147749" y="61585"/>
                    <a:pt x="144114" y="55940"/>
                    <a:pt x="144114" y="55940"/>
                  </a:cubicBezTo>
                  <a:cubicBezTo>
                    <a:pt x="144118" y="55944"/>
                    <a:pt x="142981" y="54161"/>
                    <a:pt x="142981" y="54161"/>
                  </a:cubicBezTo>
                  <a:lnTo>
                    <a:pt x="142171" y="52893"/>
                  </a:lnTo>
                  <a:lnTo>
                    <a:pt x="141024" y="53867"/>
                  </a:lnTo>
                  <a:lnTo>
                    <a:pt x="139418" y="55226"/>
                  </a:lnTo>
                  <a:lnTo>
                    <a:pt x="135706" y="58369"/>
                  </a:lnTo>
                  <a:lnTo>
                    <a:pt x="131787" y="57535"/>
                  </a:lnTo>
                  <a:lnTo>
                    <a:pt x="131295" y="53843"/>
                  </a:lnTo>
                  <a:cubicBezTo>
                    <a:pt x="131295" y="53833"/>
                    <a:pt x="131257" y="53539"/>
                    <a:pt x="131257" y="53539"/>
                  </a:cubicBezTo>
                  <a:lnTo>
                    <a:pt x="131228" y="53356"/>
                  </a:lnTo>
                  <a:lnTo>
                    <a:pt x="131146" y="53172"/>
                  </a:lnTo>
                  <a:lnTo>
                    <a:pt x="131021" y="52893"/>
                  </a:lnTo>
                  <a:cubicBezTo>
                    <a:pt x="130794" y="52435"/>
                    <a:pt x="128851" y="48631"/>
                    <a:pt x="125824" y="46756"/>
                  </a:cubicBezTo>
                  <a:cubicBezTo>
                    <a:pt x="123148" y="45136"/>
                    <a:pt x="117142" y="45035"/>
                    <a:pt x="108951" y="45049"/>
                  </a:cubicBezTo>
                  <a:cubicBezTo>
                    <a:pt x="108951" y="45049"/>
                    <a:pt x="107505" y="45049"/>
                    <a:pt x="107505" y="45049"/>
                  </a:cubicBezTo>
                  <a:cubicBezTo>
                    <a:pt x="106102" y="45049"/>
                    <a:pt x="105765" y="41844"/>
                    <a:pt x="105760" y="41048"/>
                  </a:cubicBezTo>
                  <a:lnTo>
                    <a:pt x="105726" y="35437"/>
                  </a:lnTo>
                  <a:lnTo>
                    <a:pt x="105722" y="34492"/>
                  </a:lnTo>
                  <a:lnTo>
                    <a:pt x="104815" y="34193"/>
                  </a:lnTo>
                  <a:cubicBezTo>
                    <a:pt x="103899" y="33894"/>
                    <a:pt x="103899" y="33894"/>
                    <a:pt x="100048" y="39212"/>
                  </a:cubicBezTo>
                  <a:cubicBezTo>
                    <a:pt x="98249" y="41656"/>
                    <a:pt x="96610" y="43512"/>
                    <a:pt x="96090" y="43922"/>
                  </a:cubicBezTo>
                  <a:cubicBezTo>
                    <a:pt x="95198" y="44124"/>
                    <a:pt x="93911" y="44606"/>
                    <a:pt x="90883" y="45801"/>
                  </a:cubicBezTo>
                  <a:cubicBezTo>
                    <a:pt x="88772" y="46655"/>
                    <a:pt x="84882" y="48217"/>
                    <a:pt x="83021" y="48641"/>
                  </a:cubicBezTo>
                  <a:cubicBezTo>
                    <a:pt x="78798" y="48964"/>
                    <a:pt x="77578" y="47961"/>
                    <a:pt x="77308" y="47638"/>
                  </a:cubicBezTo>
                  <a:cubicBezTo>
                    <a:pt x="76797" y="47031"/>
                    <a:pt x="76923" y="45975"/>
                    <a:pt x="77115" y="45194"/>
                  </a:cubicBezTo>
                  <a:cubicBezTo>
                    <a:pt x="78080" y="41502"/>
                    <a:pt x="76146" y="39269"/>
                    <a:pt x="75221" y="38199"/>
                  </a:cubicBezTo>
                  <a:cubicBezTo>
                    <a:pt x="75197" y="38170"/>
                    <a:pt x="75163" y="38132"/>
                    <a:pt x="75129" y="38098"/>
                  </a:cubicBezTo>
                  <a:cubicBezTo>
                    <a:pt x="79039" y="29604"/>
                    <a:pt x="86497" y="26331"/>
                    <a:pt x="88989" y="25256"/>
                  </a:cubicBezTo>
                  <a:cubicBezTo>
                    <a:pt x="89240" y="25155"/>
                    <a:pt x="89466" y="25058"/>
                    <a:pt x="89640" y="24971"/>
                  </a:cubicBezTo>
                  <a:cubicBezTo>
                    <a:pt x="90777" y="24451"/>
                    <a:pt x="91578" y="23501"/>
                    <a:pt x="91929" y="22344"/>
                  </a:cubicBezTo>
                  <a:cubicBezTo>
                    <a:pt x="92696" y="19596"/>
                    <a:pt x="90546" y="15855"/>
                    <a:pt x="89201" y="13869"/>
                  </a:cubicBezTo>
                  <a:cubicBezTo>
                    <a:pt x="89206" y="13874"/>
                    <a:pt x="88579" y="12944"/>
                    <a:pt x="88579" y="12944"/>
                  </a:cubicBezTo>
                  <a:lnTo>
                    <a:pt x="88136" y="12283"/>
                  </a:lnTo>
                  <a:lnTo>
                    <a:pt x="87345" y="12370"/>
                  </a:lnTo>
                  <a:lnTo>
                    <a:pt x="86241" y="12486"/>
                  </a:lnTo>
                  <a:cubicBezTo>
                    <a:pt x="86241" y="12490"/>
                    <a:pt x="85277" y="12592"/>
                    <a:pt x="84356" y="12693"/>
                  </a:cubicBezTo>
                  <a:lnTo>
                    <a:pt x="85209" y="5279"/>
                  </a:lnTo>
                  <a:lnTo>
                    <a:pt x="85557" y="2189"/>
                  </a:lnTo>
                  <a:lnTo>
                    <a:pt x="85802" y="0"/>
                  </a:lnTo>
                  <a:lnTo>
                    <a:pt x="83758" y="824"/>
                  </a:lnTo>
                  <a:lnTo>
                    <a:pt x="80885" y="1981"/>
                  </a:lnTo>
                  <a:cubicBezTo>
                    <a:pt x="79849" y="2401"/>
                    <a:pt x="77168" y="3230"/>
                    <a:pt x="75481" y="3080"/>
                  </a:cubicBezTo>
                  <a:cubicBezTo>
                    <a:pt x="71499" y="2733"/>
                    <a:pt x="68660" y="4951"/>
                    <a:pt x="66158" y="6913"/>
                  </a:cubicBezTo>
                  <a:cubicBezTo>
                    <a:pt x="66148" y="6927"/>
                    <a:pt x="65816" y="7178"/>
                    <a:pt x="65705" y="7260"/>
                  </a:cubicBezTo>
                  <a:cubicBezTo>
                    <a:pt x="64736" y="7569"/>
                    <a:pt x="59573" y="6469"/>
                    <a:pt x="55437" y="3909"/>
                  </a:cubicBezTo>
                  <a:cubicBezTo>
                    <a:pt x="50602" y="988"/>
                    <a:pt x="45352" y="1856"/>
                    <a:pt x="42512" y="3895"/>
                  </a:cubicBezTo>
                  <a:cubicBezTo>
                    <a:pt x="41558" y="4599"/>
                    <a:pt x="40145" y="4748"/>
                    <a:pt x="36202" y="5062"/>
                  </a:cubicBezTo>
                  <a:cubicBezTo>
                    <a:pt x="36197" y="5062"/>
                    <a:pt x="34105" y="5240"/>
                    <a:pt x="34105" y="5240"/>
                  </a:cubicBezTo>
                  <a:cubicBezTo>
                    <a:pt x="34105" y="5240"/>
                    <a:pt x="33170" y="5327"/>
                    <a:pt x="33170" y="5327"/>
                  </a:cubicBezTo>
                  <a:lnTo>
                    <a:pt x="32500" y="5385"/>
                  </a:lnTo>
                  <a:lnTo>
                    <a:pt x="32153" y="5963"/>
                  </a:lnTo>
                  <a:lnTo>
                    <a:pt x="31666" y="6783"/>
                  </a:lnTo>
                  <a:cubicBezTo>
                    <a:pt x="31651" y="6802"/>
                    <a:pt x="29101" y="10712"/>
                    <a:pt x="22526" y="13512"/>
                  </a:cubicBezTo>
                  <a:lnTo>
                    <a:pt x="21316" y="14028"/>
                  </a:lnTo>
                  <a:lnTo>
                    <a:pt x="21832" y="15238"/>
                  </a:lnTo>
                  <a:lnTo>
                    <a:pt x="23273" y="18632"/>
                  </a:lnTo>
                  <a:lnTo>
                    <a:pt x="23784" y="19842"/>
                  </a:lnTo>
                  <a:lnTo>
                    <a:pt x="24994" y="19326"/>
                  </a:lnTo>
                  <a:cubicBezTo>
                    <a:pt x="31063" y="16733"/>
                    <a:pt x="34390" y="13435"/>
                    <a:pt x="36019" y="11425"/>
                  </a:cubicBezTo>
                  <a:lnTo>
                    <a:pt x="36723" y="11362"/>
                  </a:lnTo>
                  <a:cubicBezTo>
                    <a:pt x="41298" y="10986"/>
                    <a:pt x="43809" y="10774"/>
                    <a:pt x="46220" y="9015"/>
                  </a:cubicBezTo>
                  <a:cubicBezTo>
                    <a:pt x="47174" y="8325"/>
                    <a:pt x="49642" y="7790"/>
                    <a:pt x="52139" y="9299"/>
                  </a:cubicBezTo>
                  <a:cubicBezTo>
                    <a:pt x="52241" y="9367"/>
                    <a:pt x="64350" y="16453"/>
                    <a:pt x="69552" y="12274"/>
                  </a:cubicBezTo>
                  <a:lnTo>
                    <a:pt x="69542" y="12264"/>
                  </a:lnTo>
                  <a:cubicBezTo>
                    <a:pt x="69725" y="12143"/>
                    <a:pt x="69899" y="12009"/>
                    <a:pt x="70048" y="11888"/>
                  </a:cubicBezTo>
                  <a:cubicBezTo>
                    <a:pt x="72020" y="10350"/>
                    <a:pt x="73442" y="9232"/>
                    <a:pt x="74956" y="9362"/>
                  </a:cubicBezTo>
                  <a:cubicBezTo>
                    <a:pt x="75959" y="9453"/>
                    <a:pt x="77135" y="9338"/>
                    <a:pt x="78403" y="9135"/>
                  </a:cubicBezTo>
                  <a:lnTo>
                    <a:pt x="77626" y="15928"/>
                  </a:lnTo>
                  <a:lnTo>
                    <a:pt x="77371" y="18217"/>
                  </a:lnTo>
                  <a:lnTo>
                    <a:pt x="77188" y="19861"/>
                  </a:lnTo>
                  <a:lnTo>
                    <a:pt x="78827" y="19673"/>
                  </a:lnTo>
                  <a:lnTo>
                    <a:pt x="81126" y="19413"/>
                  </a:lnTo>
                  <a:cubicBezTo>
                    <a:pt x="81126" y="19413"/>
                    <a:pt x="83537" y="19143"/>
                    <a:pt x="84882" y="18989"/>
                  </a:cubicBezTo>
                  <a:cubicBezTo>
                    <a:pt x="85065" y="19331"/>
                    <a:pt x="85262" y="19693"/>
                    <a:pt x="85383" y="19967"/>
                  </a:cubicBezTo>
                  <a:cubicBezTo>
                    <a:pt x="81531" y="21722"/>
                    <a:pt x="73471" y="26022"/>
                    <a:pt x="69079" y="36093"/>
                  </a:cubicBezTo>
                  <a:cubicBezTo>
                    <a:pt x="67763" y="39356"/>
                    <a:pt x="69667" y="41468"/>
                    <a:pt x="70477" y="42374"/>
                  </a:cubicBezTo>
                  <a:cubicBezTo>
                    <a:pt x="71128" y="43140"/>
                    <a:pt x="71128" y="43140"/>
                    <a:pt x="70998" y="43642"/>
                  </a:cubicBezTo>
                  <a:cubicBezTo>
                    <a:pt x="70188" y="46794"/>
                    <a:pt x="70714" y="49682"/>
                    <a:pt x="72483" y="51765"/>
                  </a:cubicBezTo>
                  <a:cubicBezTo>
                    <a:pt x="74691" y="54334"/>
                    <a:pt x="78489" y="55414"/>
                    <a:pt x="83768" y="54946"/>
                  </a:cubicBezTo>
                  <a:lnTo>
                    <a:pt x="83802" y="54946"/>
                  </a:lnTo>
                  <a:cubicBezTo>
                    <a:pt x="83913" y="54922"/>
                    <a:pt x="83946" y="54922"/>
                    <a:pt x="83946" y="54922"/>
                  </a:cubicBezTo>
                  <a:cubicBezTo>
                    <a:pt x="83966" y="54922"/>
                    <a:pt x="84067" y="54903"/>
                    <a:pt x="84067" y="54903"/>
                  </a:cubicBezTo>
                  <a:cubicBezTo>
                    <a:pt x="86255" y="54435"/>
                    <a:pt x="89500" y="53163"/>
                    <a:pt x="92643" y="51938"/>
                  </a:cubicBezTo>
                  <a:lnTo>
                    <a:pt x="93226" y="51707"/>
                  </a:lnTo>
                  <a:cubicBezTo>
                    <a:pt x="96774" y="50246"/>
                    <a:pt x="97444" y="50073"/>
                    <a:pt x="97546" y="50049"/>
                  </a:cubicBezTo>
                  <a:lnTo>
                    <a:pt x="97319" y="50073"/>
                  </a:lnTo>
                  <a:cubicBezTo>
                    <a:pt x="98312" y="50073"/>
                    <a:pt x="99440" y="49557"/>
                    <a:pt x="101253" y="47691"/>
                  </a:cubicBezTo>
                  <a:cubicBezTo>
                    <a:pt x="102689" y="50049"/>
                    <a:pt x="104830" y="51384"/>
                    <a:pt x="107510" y="51384"/>
                  </a:cubicBezTo>
                  <a:lnTo>
                    <a:pt x="108961" y="51384"/>
                  </a:lnTo>
                  <a:lnTo>
                    <a:pt x="109520" y="51384"/>
                  </a:lnTo>
                  <a:cubicBezTo>
                    <a:pt x="117267" y="51379"/>
                    <a:pt x="121644" y="51639"/>
                    <a:pt x="122522" y="52170"/>
                  </a:cubicBezTo>
                  <a:cubicBezTo>
                    <a:pt x="123414" y="52705"/>
                    <a:pt x="124431" y="54093"/>
                    <a:pt x="125115" y="55308"/>
                  </a:cubicBezTo>
                  <a:lnTo>
                    <a:pt x="125819" y="60601"/>
                  </a:lnTo>
                  <a:cubicBezTo>
                    <a:pt x="125819" y="60591"/>
                    <a:pt x="125988" y="61903"/>
                    <a:pt x="125988" y="61903"/>
                  </a:cubicBezTo>
                  <a:lnTo>
                    <a:pt x="126108" y="62843"/>
                  </a:lnTo>
                  <a:lnTo>
                    <a:pt x="127034" y="63026"/>
                  </a:lnTo>
                  <a:lnTo>
                    <a:pt x="128316" y="63286"/>
                  </a:lnTo>
                  <a:cubicBezTo>
                    <a:pt x="128307" y="63286"/>
                    <a:pt x="135933" y="64872"/>
                    <a:pt x="135933" y="64872"/>
                  </a:cubicBezTo>
                  <a:cubicBezTo>
                    <a:pt x="135928" y="64872"/>
                    <a:pt x="136805" y="65060"/>
                    <a:pt x="136805" y="65060"/>
                  </a:cubicBezTo>
                  <a:lnTo>
                    <a:pt x="137442" y="65190"/>
                  </a:lnTo>
                  <a:lnTo>
                    <a:pt x="137933" y="64762"/>
                  </a:lnTo>
                  <a:lnTo>
                    <a:pt x="138628" y="64164"/>
                  </a:lnTo>
                  <a:cubicBezTo>
                    <a:pt x="138623" y="64173"/>
                    <a:pt x="139804" y="63180"/>
                    <a:pt x="140749" y="62385"/>
                  </a:cubicBezTo>
                  <a:lnTo>
                    <a:pt x="142229" y="64684"/>
                  </a:lnTo>
                  <a:lnTo>
                    <a:pt x="143521" y="68579"/>
                  </a:lnTo>
                  <a:lnTo>
                    <a:pt x="144307" y="70942"/>
                  </a:lnTo>
                  <a:lnTo>
                    <a:pt x="144866" y="72619"/>
                  </a:lnTo>
                  <a:lnTo>
                    <a:pt x="146312" y="71597"/>
                  </a:lnTo>
                  <a:lnTo>
                    <a:pt x="148351" y="70165"/>
                  </a:lnTo>
                  <a:cubicBezTo>
                    <a:pt x="148356" y="70156"/>
                    <a:pt x="152468" y="67220"/>
                    <a:pt x="153876" y="66222"/>
                  </a:cubicBezTo>
                  <a:lnTo>
                    <a:pt x="159043" y="67543"/>
                  </a:lnTo>
                  <a:cubicBezTo>
                    <a:pt x="159053" y="67543"/>
                    <a:pt x="159487" y="67649"/>
                    <a:pt x="159487" y="67649"/>
                  </a:cubicBezTo>
                  <a:lnTo>
                    <a:pt x="159786" y="67726"/>
                  </a:lnTo>
                  <a:lnTo>
                    <a:pt x="160085" y="67659"/>
                  </a:lnTo>
                  <a:lnTo>
                    <a:pt x="160514" y="67567"/>
                  </a:lnTo>
                  <a:cubicBezTo>
                    <a:pt x="160523" y="67567"/>
                    <a:pt x="170849" y="65258"/>
                    <a:pt x="170849" y="65258"/>
                  </a:cubicBezTo>
                  <a:cubicBezTo>
                    <a:pt x="170854" y="65248"/>
                    <a:pt x="171572" y="65084"/>
                    <a:pt x="171572" y="65084"/>
                  </a:cubicBezTo>
                  <a:lnTo>
                    <a:pt x="172093" y="64969"/>
                  </a:lnTo>
                  <a:lnTo>
                    <a:pt x="172382" y="64520"/>
                  </a:lnTo>
                  <a:lnTo>
                    <a:pt x="172787" y="63879"/>
                  </a:lnTo>
                  <a:cubicBezTo>
                    <a:pt x="172773" y="63899"/>
                    <a:pt x="177671" y="56576"/>
                    <a:pt x="179565" y="53741"/>
                  </a:cubicBezTo>
                  <a:lnTo>
                    <a:pt x="188662" y="60664"/>
                  </a:lnTo>
                  <a:cubicBezTo>
                    <a:pt x="188681" y="60678"/>
                    <a:pt x="189698" y="61421"/>
                    <a:pt x="189698" y="61421"/>
                  </a:cubicBezTo>
                  <a:lnTo>
                    <a:pt x="190412" y="61941"/>
                  </a:lnTo>
                  <a:lnTo>
                    <a:pt x="191169" y="61469"/>
                  </a:lnTo>
                  <a:lnTo>
                    <a:pt x="192244" y="60803"/>
                  </a:lnTo>
                  <a:cubicBezTo>
                    <a:pt x="192244" y="60794"/>
                    <a:pt x="192774" y="60471"/>
                    <a:pt x="193314" y="60129"/>
                  </a:cubicBezTo>
                  <a:lnTo>
                    <a:pt x="194524" y="62259"/>
                  </a:lnTo>
                  <a:cubicBezTo>
                    <a:pt x="194514" y="62245"/>
                    <a:pt x="194924" y="62983"/>
                    <a:pt x="194924" y="62983"/>
                  </a:cubicBezTo>
                  <a:lnTo>
                    <a:pt x="195223" y="63513"/>
                  </a:lnTo>
                  <a:lnTo>
                    <a:pt x="195821" y="63628"/>
                  </a:lnTo>
                  <a:lnTo>
                    <a:pt x="196650" y="63792"/>
                  </a:lnTo>
                  <a:lnTo>
                    <a:pt x="203876" y="65248"/>
                  </a:lnTo>
                  <a:cubicBezTo>
                    <a:pt x="203842" y="65234"/>
                    <a:pt x="204107" y="65301"/>
                    <a:pt x="204107" y="65301"/>
                  </a:cubicBezTo>
                  <a:lnTo>
                    <a:pt x="204344" y="65359"/>
                  </a:lnTo>
                  <a:lnTo>
                    <a:pt x="204585" y="65326"/>
                  </a:lnTo>
                  <a:lnTo>
                    <a:pt x="204840" y="65287"/>
                  </a:lnTo>
                  <a:cubicBezTo>
                    <a:pt x="204792" y="65296"/>
                    <a:pt x="208668" y="64940"/>
                    <a:pt x="209945" y="64819"/>
                  </a:cubicBezTo>
                  <a:cubicBezTo>
                    <a:pt x="212409" y="66328"/>
                    <a:pt x="219254" y="70175"/>
                    <a:pt x="224846" y="70050"/>
                  </a:cubicBezTo>
                  <a:cubicBezTo>
                    <a:pt x="227107" y="70011"/>
                    <a:pt x="229141" y="70353"/>
                    <a:pt x="230621" y="70763"/>
                  </a:cubicBezTo>
                  <a:cubicBezTo>
                    <a:pt x="229498" y="73227"/>
                    <a:pt x="229373" y="76567"/>
                    <a:pt x="231590" y="79440"/>
                  </a:cubicBezTo>
                  <a:cubicBezTo>
                    <a:pt x="233543" y="81889"/>
                    <a:pt x="233509" y="82212"/>
                    <a:pt x="232323" y="83625"/>
                  </a:cubicBezTo>
                  <a:cubicBezTo>
                    <a:pt x="229585" y="86802"/>
                    <a:pt x="227044" y="92018"/>
                    <a:pt x="226331" y="93541"/>
                  </a:cubicBezTo>
                  <a:cubicBezTo>
                    <a:pt x="226283" y="93642"/>
                    <a:pt x="226124" y="94018"/>
                    <a:pt x="226124" y="94018"/>
                  </a:cubicBezTo>
                  <a:lnTo>
                    <a:pt x="226017" y="94264"/>
                  </a:lnTo>
                  <a:lnTo>
                    <a:pt x="226017" y="94534"/>
                  </a:lnTo>
                  <a:lnTo>
                    <a:pt x="226017" y="94929"/>
                  </a:lnTo>
                  <a:lnTo>
                    <a:pt x="226017" y="102937"/>
                  </a:lnTo>
                  <a:lnTo>
                    <a:pt x="226017" y="103438"/>
                  </a:lnTo>
                  <a:lnTo>
                    <a:pt x="226017" y="103804"/>
                  </a:lnTo>
                  <a:lnTo>
                    <a:pt x="226206" y="104113"/>
                  </a:lnTo>
                  <a:lnTo>
                    <a:pt x="226471" y="104551"/>
                  </a:lnTo>
                  <a:cubicBezTo>
                    <a:pt x="227247" y="105843"/>
                    <a:pt x="231397" y="112202"/>
                    <a:pt x="236430" y="110452"/>
                  </a:cubicBezTo>
                  <a:cubicBezTo>
                    <a:pt x="237158" y="110177"/>
                    <a:pt x="241984" y="109420"/>
                    <a:pt x="246963" y="112149"/>
                  </a:cubicBezTo>
                  <a:cubicBezTo>
                    <a:pt x="251447" y="114603"/>
                    <a:pt x="254604" y="119235"/>
                    <a:pt x="256431" y="125830"/>
                  </a:cubicBezTo>
                  <a:cubicBezTo>
                    <a:pt x="251408" y="130260"/>
                    <a:pt x="248627" y="132912"/>
                    <a:pt x="247667" y="133847"/>
                  </a:cubicBezTo>
                  <a:cubicBezTo>
                    <a:pt x="247600" y="133910"/>
                    <a:pt x="247431" y="134088"/>
                    <a:pt x="247431" y="134088"/>
                  </a:cubicBezTo>
                  <a:lnTo>
                    <a:pt x="247315" y="134204"/>
                  </a:lnTo>
                  <a:lnTo>
                    <a:pt x="247233" y="134343"/>
                  </a:lnTo>
                  <a:lnTo>
                    <a:pt x="247108" y="134556"/>
                  </a:lnTo>
                  <a:cubicBezTo>
                    <a:pt x="247103" y="134565"/>
                    <a:pt x="242779" y="142245"/>
                    <a:pt x="241376" y="144727"/>
                  </a:cubicBezTo>
                  <a:lnTo>
                    <a:pt x="236387" y="143749"/>
                  </a:lnTo>
                  <a:cubicBezTo>
                    <a:pt x="236377" y="143739"/>
                    <a:pt x="235254" y="143532"/>
                    <a:pt x="235254" y="143532"/>
                  </a:cubicBezTo>
                  <a:lnTo>
                    <a:pt x="234473" y="143392"/>
                  </a:lnTo>
                  <a:lnTo>
                    <a:pt x="233976" y="144014"/>
                  </a:lnTo>
                  <a:lnTo>
                    <a:pt x="233282" y="144901"/>
                  </a:lnTo>
                  <a:lnTo>
                    <a:pt x="228471" y="151033"/>
                  </a:lnTo>
                  <a:cubicBezTo>
                    <a:pt x="227869" y="151510"/>
                    <a:pt x="218097" y="159055"/>
                    <a:pt x="206296" y="157189"/>
                  </a:cubicBezTo>
                  <a:cubicBezTo>
                    <a:pt x="206306" y="157194"/>
                    <a:pt x="205539" y="157068"/>
                    <a:pt x="205539" y="157068"/>
                  </a:cubicBezTo>
                  <a:lnTo>
                    <a:pt x="204985" y="156967"/>
                  </a:lnTo>
                  <a:lnTo>
                    <a:pt x="204536" y="157304"/>
                  </a:lnTo>
                  <a:lnTo>
                    <a:pt x="203915" y="157767"/>
                  </a:lnTo>
                  <a:cubicBezTo>
                    <a:pt x="194109" y="164984"/>
                    <a:pt x="191270" y="167650"/>
                    <a:pt x="191251" y="167679"/>
                  </a:cubicBezTo>
                  <a:cubicBezTo>
                    <a:pt x="191318" y="167616"/>
                    <a:pt x="191058" y="167833"/>
                    <a:pt x="191058" y="167833"/>
                  </a:cubicBezTo>
                  <a:lnTo>
                    <a:pt x="190846" y="168016"/>
                  </a:lnTo>
                  <a:lnTo>
                    <a:pt x="190725" y="168267"/>
                  </a:lnTo>
                  <a:lnTo>
                    <a:pt x="190585" y="168556"/>
                  </a:lnTo>
                  <a:cubicBezTo>
                    <a:pt x="190595" y="168537"/>
                    <a:pt x="188233" y="173252"/>
                    <a:pt x="187900" y="173907"/>
                  </a:cubicBezTo>
                  <a:lnTo>
                    <a:pt x="182940" y="179798"/>
                  </a:lnTo>
                  <a:lnTo>
                    <a:pt x="171192" y="178308"/>
                  </a:lnTo>
                  <a:lnTo>
                    <a:pt x="167629" y="177860"/>
                  </a:lnTo>
                  <a:lnTo>
                    <a:pt x="165084" y="177547"/>
                  </a:lnTo>
                  <a:lnTo>
                    <a:pt x="166308" y="179798"/>
                  </a:lnTo>
                  <a:lnTo>
                    <a:pt x="168029" y="182956"/>
                  </a:lnTo>
                  <a:cubicBezTo>
                    <a:pt x="170256" y="187053"/>
                    <a:pt x="172614" y="192732"/>
                    <a:pt x="172546" y="194781"/>
                  </a:cubicBezTo>
                  <a:cubicBezTo>
                    <a:pt x="172474" y="197167"/>
                    <a:pt x="173457" y="199331"/>
                    <a:pt x="174330" y="201255"/>
                  </a:cubicBezTo>
                  <a:cubicBezTo>
                    <a:pt x="175651" y="204191"/>
                    <a:pt x="176003" y="205425"/>
                    <a:pt x="175381" y="206577"/>
                  </a:cubicBezTo>
                  <a:cubicBezTo>
                    <a:pt x="172970" y="211017"/>
                    <a:pt x="170873" y="218055"/>
                    <a:pt x="170473" y="219419"/>
                  </a:cubicBezTo>
                  <a:cubicBezTo>
                    <a:pt x="170464" y="219468"/>
                    <a:pt x="170324" y="219959"/>
                    <a:pt x="170324" y="219959"/>
                  </a:cubicBezTo>
                  <a:lnTo>
                    <a:pt x="170223" y="220321"/>
                  </a:lnTo>
                  <a:lnTo>
                    <a:pt x="170324" y="220673"/>
                  </a:lnTo>
                  <a:lnTo>
                    <a:pt x="170454" y="221136"/>
                  </a:lnTo>
                  <a:cubicBezTo>
                    <a:pt x="170468" y="221203"/>
                    <a:pt x="172860" y="231312"/>
                    <a:pt x="165966" y="239300"/>
                  </a:cubicBezTo>
                  <a:lnTo>
                    <a:pt x="165339" y="240018"/>
                  </a:lnTo>
                  <a:lnTo>
                    <a:pt x="164901" y="240524"/>
                  </a:lnTo>
                  <a:lnTo>
                    <a:pt x="165055" y="241185"/>
                  </a:lnTo>
                  <a:lnTo>
                    <a:pt x="165277" y="242115"/>
                  </a:lnTo>
                  <a:cubicBezTo>
                    <a:pt x="166033" y="245148"/>
                    <a:pt x="166409" y="246844"/>
                    <a:pt x="166597" y="247775"/>
                  </a:cubicBezTo>
                  <a:cubicBezTo>
                    <a:pt x="164688" y="251540"/>
                    <a:pt x="162529" y="255016"/>
                    <a:pt x="161714" y="255613"/>
                  </a:cubicBezTo>
                  <a:cubicBezTo>
                    <a:pt x="159998" y="256876"/>
                    <a:pt x="158889" y="259152"/>
                    <a:pt x="158672" y="261875"/>
                  </a:cubicBezTo>
                  <a:cubicBezTo>
                    <a:pt x="158407" y="265221"/>
                    <a:pt x="159651" y="268851"/>
                    <a:pt x="162061" y="272249"/>
                  </a:cubicBezTo>
                  <a:lnTo>
                    <a:pt x="157091" y="275089"/>
                  </a:lnTo>
                  <a:cubicBezTo>
                    <a:pt x="157120" y="275074"/>
                    <a:pt x="156701" y="275301"/>
                    <a:pt x="156701" y="275301"/>
                  </a:cubicBezTo>
                  <a:lnTo>
                    <a:pt x="152121" y="277769"/>
                  </a:lnTo>
                  <a:lnTo>
                    <a:pt x="155013" y="277769"/>
                  </a:lnTo>
                  <a:cubicBezTo>
                    <a:pt x="154507" y="278627"/>
                    <a:pt x="153929" y="279601"/>
                    <a:pt x="153567" y="280213"/>
                  </a:cubicBezTo>
                  <a:cubicBezTo>
                    <a:pt x="151282" y="280382"/>
                    <a:pt x="149508" y="280315"/>
                    <a:pt x="148968" y="280175"/>
                  </a:cubicBezTo>
                  <a:lnTo>
                    <a:pt x="148525" y="279731"/>
                  </a:lnTo>
                  <a:lnTo>
                    <a:pt x="147994" y="279211"/>
                  </a:lnTo>
                  <a:lnTo>
                    <a:pt x="147271" y="279394"/>
                  </a:lnTo>
                  <a:lnTo>
                    <a:pt x="146273" y="279654"/>
                  </a:lnTo>
                  <a:cubicBezTo>
                    <a:pt x="143386" y="280377"/>
                    <a:pt x="140845" y="281071"/>
                    <a:pt x="138724" y="281713"/>
                  </a:cubicBezTo>
                  <a:cubicBezTo>
                    <a:pt x="138642" y="281732"/>
                    <a:pt x="138560" y="281761"/>
                    <a:pt x="138536" y="281775"/>
                  </a:cubicBezTo>
                  <a:cubicBezTo>
                    <a:pt x="138493" y="281780"/>
                    <a:pt x="137721" y="282011"/>
                    <a:pt x="137721" y="282011"/>
                  </a:cubicBezTo>
                  <a:lnTo>
                    <a:pt x="137143" y="282185"/>
                  </a:lnTo>
                  <a:lnTo>
                    <a:pt x="136897" y="282739"/>
                  </a:lnTo>
                  <a:lnTo>
                    <a:pt x="136564" y="283486"/>
                  </a:lnTo>
                  <a:cubicBezTo>
                    <a:pt x="135808" y="285097"/>
                    <a:pt x="132038" y="293514"/>
                    <a:pt x="133879" y="298315"/>
                  </a:cubicBezTo>
                  <a:cubicBezTo>
                    <a:pt x="134448" y="299805"/>
                    <a:pt x="135489" y="300914"/>
                    <a:pt x="136892" y="301516"/>
                  </a:cubicBezTo>
                  <a:cubicBezTo>
                    <a:pt x="138893" y="302355"/>
                    <a:pt x="139442" y="303112"/>
                    <a:pt x="139558" y="303309"/>
                  </a:cubicBezTo>
                  <a:cubicBezTo>
                    <a:pt x="139563" y="303329"/>
                    <a:pt x="139568" y="303382"/>
                    <a:pt x="139568" y="303382"/>
                  </a:cubicBezTo>
                  <a:lnTo>
                    <a:pt x="139601" y="303377"/>
                  </a:lnTo>
                  <a:lnTo>
                    <a:pt x="139606" y="303391"/>
                  </a:lnTo>
                  <a:lnTo>
                    <a:pt x="139621" y="303420"/>
                  </a:lnTo>
                  <a:cubicBezTo>
                    <a:pt x="139650" y="303497"/>
                    <a:pt x="139664" y="303521"/>
                    <a:pt x="139664" y="303521"/>
                  </a:cubicBezTo>
                  <a:lnTo>
                    <a:pt x="139626" y="303377"/>
                  </a:lnTo>
                  <a:lnTo>
                    <a:pt x="140918" y="303232"/>
                  </a:lnTo>
                  <a:cubicBezTo>
                    <a:pt x="140946" y="303280"/>
                    <a:pt x="140975" y="303343"/>
                    <a:pt x="140975" y="303343"/>
                  </a:cubicBezTo>
                  <a:cubicBezTo>
                    <a:pt x="141101" y="303623"/>
                    <a:pt x="141241" y="303955"/>
                    <a:pt x="141371" y="304269"/>
                  </a:cubicBezTo>
                  <a:lnTo>
                    <a:pt x="141269" y="304423"/>
                  </a:lnTo>
                  <a:lnTo>
                    <a:pt x="139770" y="303864"/>
                  </a:lnTo>
                  <a:cubicBezTo>
                    <a:pt x="139770" y="303869"/>
                    <a:pt x="139775" y="303878"/>
                    <a:pt x="139780" y="303883"/>
                  </a:cubicBezTo>
                  <a:cubicBezTo>
                    <a:pt x="141997" y="308795"/>
                    <a:pt x="143810" y="315400"/>
                    <a:pt x="142981" y="317410"/>
                  </a:cubicBezTo>
                  <a:cubicBezTo>
                    <a:pt x="139457" y="325880"/>
                    <a:pt x="133228" y="335063"/>
                    <a:pt x="131609" y="335599"/>
                  </a:cubicBezTo>
                  <a:cubicBezTo>
                    <a:pt x="126272" y="335917"/>
                    <a:pt x="126157" y="340004"/>
                    <a:pt x="126099" y="342208"/>
                  </a:cubicBezTo>
                  <a:cubicBezTo>
                    <a:pt x="126099" y="342550"/>
                    <a:pt x="126089" y="342863"/>
                    <a:pt x="126070" y="343268"/>
                  </a:cubicBezTo>
                  <a:cubicBezTo>
                    <a:pt x="125954" y="346652"/>
                    <a:pt x="122338" y="356409"/>
                    <a:pt x="119171" y="356409"/>
                  </a:cubicBezTo>
                  <a:cubicBezTo>
                    <a:pt x="118111" y="356409"/>
                    <a:pt x="116963" y="355927"/>
                    <a:pt x="115517" y="355320"/>
                  </a:cubicBezTo>
                  <a:lnTo>
                    <a:pt x="115324" y="355238"/>
                  </a:lnTo>
                  <a:cubicBezTo>
                    <a:pt x="113189" y="354308"/>
                    <a:pt x="110243" y="353030"/>
                    <a:pt x="106049" y="352765"/>
                  </a:cubicBezTo>
                  <a:cubicBezTo>
                    <a:pt x="105389" y="352721"/>
                    <a:pt x="104579" y="352688"/>
                    <a:pt x="103355" y="352664"/>
                  </a:cubicBezTo>
                  <a:cubicBezTo>
                    <a:pt x="95309" y="352360"/>
                    <a:pt x="78528" y="351724"/>
                    <a:pt x="72367" y="344469"/>
                  </a:cubicBezTo>
                  <a:cubicBezTo>
                    <a:pt x="72372" y="344473"/>
                    <a:pt x="70116" y="341783"/>
                    <a:pt x="70116" y="341783"/>
                  </a:cubicBezTo>
                  <a:lnTo>
                    <a:pt x="68496" y="339865"/>
                  </a:lnTo>
                  <a:lnTo>
                    <a:pt x="67840" y="342294"/>
                  </a:lnTo>
                  <a:lnTo>
                    <a:pt x="66920" y="345683"/>
                  </a:lnTo>
                  <a:cubicBezTo>
                    <a:pt x="65261" y="351748"/>
                    <a:pt x="66650" y="355980"/>
                    <a:pt x="66712" y="356159"/>
                  </a:cubicBezTo>
                  <a:cubicBezTo>
                    <a:pt x="66732" y="356212"/>
                    <a:pt x="66809" y="356414"/>
                    <a:pt x="66809" y="356414"/>
                  </a:cubicBezTo>
                  <a:lnTo>
                    <a:pt x="66852" y="356520"/>
                  </a:lnTo>
                  <a:lnTo>
                    <a:pt x="66915" y="356622"/>
                  </a:lnTo>
                  <a:lnTo>
                    <a:pt x="67031" y="356819"/>
                  </a:lnTo>
                  <a:cubicBezTo>
                    <a:pt x="67889" y="358150"/>
                    <a:pt x="71186" y="363751"/>
                    <a:pt x="72073" y="367391"/>
                  </a:cubicBezTo>
                  <a:cubicBezTo>
                    <a:pt x="73249" y="372246"/>
                    <a:pt x="77675" y="377269"/>
                    <a:pt x="83026" y="380007"/>
                  </a:cubicBezTo>
                  <a:cubicBezTo>
                    <a:pt x="80958" y="385030"/>
                    <a:pt x="79256" y="391711"/>
                    <a:pt x="79237" y="391774"/>
                  </a:cubicBezTo>
                  <a:cubicBezTo>
                    <a:pt x="79241" y="391755"/>
                    <a:pt x="79102" y="392305"/>
                    <a:pt x="79102" y="392305"/>
                  </a:cubicBezTo>
                  <a:lnTo>
                    <a:pt x="79000" y="392700"/>
                  </a:lnTo>
                  <a:lnTo>
                    <a:pt x="79140" y="393085"/>
                  </a:lnTo>
                  <a:lnTo>
                    <a:pt x="79343" y="393630"/>
                  </a:lnTo>
                  <a:cubicBezTo>
                    <a:pt x="79343" y="393640"/>
                    <a:pt x="82852" y="403136"/>
                    <a:pt x="83638" y="405248"/>
                  </a:cubicBezTo>
                  <a:lnTo>
                    <a:pt x="81473" y="411009"/>
                  </a:lnTo>
                  <a:cubicBezTo>
                    <a:pt x="81478" y="411004"/>
                    <a:pt x="81093" y="412021"/>
                    <a:pt x="81093" y="412021"/>
                  </a:cubicBezTo>
                  <a:lnTo>
                    <a:pt x="80813" y="412740"/>
                  </a:lnTo>
                  <a:lnTo>
                    <a:pt x="81314" y="413337"/>
                  </a:lnTo>
                  <a:lnTo>
                    <a:pt x="82018" y="414171"/>
                  </a:lnTo>
                  <a:cubicBezTo>
                    <a:pt x="82018" y="414176"/>
                    <a:pt x="86713" y="419652"/>
                    <a:pt x="87702" y="420809"/>
                  </a:cubicBezTo>
                  <a:lnTo>
                    <a:pt x="90397" y="432779"/>
                  </a:lnTo>
                  <a:cubicBezTo>
                    <a:pt x="90397" y="432775"/>
                    <a:pt x="90792" y="434558"/>
                    <a:pt x="90792" y="434558"/>
                  </a:cubicBezTo>
                  <a:lnTo>
                    <a:pt x="91076" y="435836"/>
                  </a:lnTo>
                  <a:lnTo>
                    <a:pt x="92354" y="435561"/>
                  </a:lnTo>
                  <a:lnTo>
                    <a:pt x="94137" y="435175"/>
                  </a:lnTo>
                  <a:cubicBezTo>
                    <a:pt x="94133" y="435180"/>
                    <a:pt x="98331" y="434307"/>
                    <a:pt x="100086" y="433946"/>
                  </a:cubicBezTo>
                  <a:lnTo>
                    <a:pt x="103504" y="438265"/>
                  </a:lnTo>
                  <a:lnTo>
                    <a:pt x="103605" y="443279"/>
                  </a:lnTo>
                  <a:cubicBezTo>
                    <a:pt x="103605" y="443293"/>
                    <a:pt x="103620" y="443852"/>
                    <a:pt x="103620" y="443852"/>
                  </a:cubicBezTo>
                  <a:lnTo>
                    <a:pt x="103634" y="444248"/>
                  </a:lnTo>
                  <a:lnTo>
                    <a:pt x="103861" y="444570"/>
                  </a:lnTo>
                  <a:lnTo>
                    <a:pt x="104164" y="445000"/>
                  </a:lnTo>
                  <a:cubicBezTo>
                    <a:pt x="104164" y="445000"/>
                    <a:pt x="104222" y="445086"/>
                    <a:pt x="104304" y="445207"/>
                  </a:cubicBezTo>
                  <a:cubicBezTo>
                    <a:pt x="100780" y="448562"/>
                    <a:pt x="94321" y="455267"/>
                    <a:pt x="92923" y="460459"/>
                  </a:cubicBezTo>
                  <a:cubicBezTo>
                    <a:pt x="87904" y="465401"/>
                    <a:pt x="70670" y="473596"/>
                    <a:pt x="67479" y="474912"/>
                  </a:cubicBezTo>
                  <a:cubicBezTo>
                    <a:pt x="64283" y="476228"/>
                    <a:pt x="62354" y="481974"/>
                    <a:pt x="61487" y="485277"/>
                  </a:cubicBezTo>
                  <a:cubicBezTo>
                    <a:pt x="61487" y="485272"/>
                    <a:pt x="61395" y="485614"/>
                    <a:pt x="61395" y="485614"/>
                  </a:cubicBezTo>
                  <a:lnTo>
                    <a:pt x="61328" y="485860"/>
                  </a:lnTo>
                  <a:lnTo>
                    <a:pt x="61361" y="486106"/>
                  </a:lnTo>
                  <a:lnTo>
                    <a:pt x="61395" y="486424"/>
                  </a:lnTo>
                  <a:cubicBezTo>
                    <a:pt x="61395" y="486419"/>
                    <a:pt x="61742" y="489736"/>
                    <a:pt x="61887" y="491124"/>
                  </a:cubicBezTo>
                  <a:lnTo>
                    <a:pt x="56618" y="496355"/>
                  </a:lnTo>
                  <a:cubicBezTo>
                    <a:pt x="56545" y="496441"/>
                    <a:pt x="56382" y="496634"/>
                    <a:pt x="56382" y="496634"/>
                  </a:cubicBezTo>
                  <a:lnTo>
                    <a:pt x="56304" y="496731"/>
                  </a:lnTo>
                  <a:lnTo>
                    <a:pt x="56247" y="496832"/>
                  </a:lnTo>
                  <a:lnTo>
                    <a:pt x="56136" y="497030"/>
                  </a:lnTo>
                  <a:cubicBezTo>
                    <a:pt x="50655" y="506126"/>
                    <a:pt x="50968" y="508980"/>
                    <a:pt x="51436" y="510204"/>
                  </a:cubicBezTo>
                  <a:cubicBezTo>
                    <a:pt x="51411" y="510228"/>
                    <a:pt x="51392" y="510248"/>
                    <a:pt x="51363" y="510277"/>
                  </a:cubicBezTo>
                  <a:cubicBezTo>
                    <a:pt x="51281" y="510368"/>
                    <a:pt x="51204" y="510455"/>
                    <a:pt x="51132" y="510527"/>
                  </a:cubicBezTo>
                  <a:cubicBezTo>
                    <a:pt x="48365" y="513584"/>
                    <a:pt x="50476" y="518838"/>
                    <a:pt x="52838" y="521600"/>
                  </a:cubicBezTo>
                  <a:cubicBezTo>
                    <a:pt x="53475" y="522348"/>
                    <a:pt x="55702" y="527193"/>
                    <a:pt x="57592" y="531960"/>
                  </a:cubicBezTo>
                  <a:cubicBezTo>
                    <a:pt x="57572" y="531912"/>
                    <a:pt x="59761" y="539312"/>
                    <a:pt x="61125" y="541766"/>
                  </a:cubicBezTo>
                  <a:cubicBezTo>
                    <a:pt x="62620" y="544388"/>
                    <a:pt x="62933" y="545888"/>
                    <a:pt x="62933" y="546683"/>
                  </a:cubicBezTo>
                  <a:cubicBezTo>
                    <a:pt x="62933" y="553234"/>
                    <a:pt x="66076" y="557559"/>
                    <a:pt x="71138" y="557954"/>
                  </a:cubicBezTo>
                  <a:cubicBezTo>
                    <a:pt x="72488" y="558002"/>
                    <a:pt x="73760" y="557679"/>
                    <a:pt x="75240" y="557308"/>
                  </a:cubicBezTo>
                  <a:cubicBezTo>
                    <a:pt x="77626" y="556700"/>
                    <a:pt x="79386" y="556421"/>
                    <a:pt x="80774" y="556748"/>
                  </a:cubicBezTo>
                  <a:cubicBezTo>
                    <a:pt x="80259" y="558296"/>
                    <a:pt x="79830" y="559935"/>
                    <a:pt x="79555" y="561092"/>
                  </a:cubicBezTo>
                  <a:lnTo>
                    <a:pt x="74541" y="564790"/>
                  </a:lnTo>
                  <a:cubicBezTo>
                    <a:pt x="74546" y="564784"/>
                    <a:pt x="74107" y="565103"/>
                    <a:pt x="74107" y="565103"/>
                  </a:cubicBezTo>
                  <a:lnTo>
                    <a:pt x="73794" y="565334"/>
                  </a:lnTo>
                  <a:lnTo>
                    <a:pt x="73654" y="565691"/>
                  </a:lnTo>
                  <a:lnTo>
                    <a:pt x="73452" y="566202"/>
                  </a:lnTo>
                  <a:cubicBezTo>
                    <a:pt x="73442" y="566231"/>
                    <a:pt x="71977" y="570271"/>
                    <a:pt x="71417" y="571813"/>
                  </a:cubicBezTo>
                  <a:lnTo>
                    <a:pt x="68028" y="572811"/>
                  </a:lnTo>
                  <a:lnTo>
                    <a:pt x="62084" y="571037"/>
                  </a:lnTo>
                  <a:lnTo>
                    <a:pt x="61313" y="570806"/>
                  </a:lnTo>
                  <a:lnTo>
                    <a:pt x="60759" y="570642"/>
                  </a:lnTo>
                  <a:lnTo>
                    <a:pt x="60267" y="570936"/>
                  </a:lnTo>
                  <a:lnTo>
                    <a:pt x="59568" y="571351"/>
                  </a:lnTo>
                  <a:cubicBezTo>
                    <a:pt x="59563" y="571351"/>
                    <a:pt x="54820" y="574175"/>
                    <a:pt x="53325" y="575063"/>
                  </a:cubicBezTo>
                  <a:lnTo>
                    <a:pt x="48153" y="573708"/>
                  </a:lnTo>
                  <a:cubicBezTo>
                    <a:pt x="48167" y="573717"/>
                    <a:pt x="47367" y="573491"/>
                    <a:pt x="47367" y="573491"/>
                  </a:cubicBezTo>
                  <a:lnTo>
                    <a:pt x="46779" y="573327"/>
                  </a:lnTo>
                  <a:lnTo>
                    <a:pt x="46273" y="573674"/>
                  </a:lnTo>
                  <a:lnTo>
                    <a:pt x="45583" y="574151"/>
                  </a:lnTo>
                  <a:cubicBezTo>
                    <a:pt x="45120" y="574455"/>
                    <a:pt x="40931" y="577396"/>
                    <a:pt x="40579" y="582361"/>
                  </a:cubicBezTo>
                  <a:cubicBezTo>
                    <a:pt x="40420" y="584670"/>
                    <a:pt x="34515" y="592600"/>
                    <a:pt x="33223" y="593415"/>
                  </a:cubicBezTo>
                  <a:cubicBezTo>
                    <a:pt x="32813" y="593636"/>
                    <a:pt x="30976" y="594442"/>
                    <a:pt x="30287" y="594750"/>
                  </a:cubicBezTo>
                  <a:cubicBezTo>
                    <a:pt x="23519" y="597715"/>
                    <a:pt x="19821" y="599571"/>
                    <a:pt x="18370" y="601456"/>
                  </a:cubicBezTo>
                  <a:cubicBezTo>
                    <a:pt x="17324" y="602806"/>
                    <a:pt x="15729" y="605245"/>
                    <a:pt x="13868" y="608320"/>
                  </a:cubicBezTo>
                  <a:lnTo>
                    <a:pt x="13791" y="608450"/>
                  </a:lnTo>
                  <a:cubicBezTo>
                    <a:pt x="13757" y="608504"/>
                    <a:pt x="13627" y="608740"/>
                    <a:pt x="13627" y="608740"/>
                  </a:cubicBezTo>
                  <a:lnTo>
                    <a:pt x="13545" y="608885"/>
                  </a:lnTo>
                  <a:lnTo>
                    <a:pt x="13501" y="609048"/>
                  </a:lnTo>
                  <a:lnTo>
                    <a:pt x="13444" y="609279"/>
                  </a:lnTo>
                  <a:cubicBezTo>
                    <a:pt x="13453" y="609256"/>
                    <a:pt x="12417" y="612982"/>
                    <a:pt x="12108" y="614100"/>
                  </a:cubicBezTo>
                  <a:lnTo>
                    <a:pt x="1233" y="624764"/>
                  </a:lnTo>
                  <a:cubicBezTo>
                    <a:pt x="1238" y="624754"/>
                    <a:pt x="982" y="625005"/>
                    <a:pt x="982" y="625005"/>
                  </a:cubicBezTo>
                  <a:lnTo>
                    <a:pt x="784" y="625193"/>
                  </a:lnTo>
                  <a:lnTo>
                    <a:pt x="683" y="625453"/>
                  </a:lnTo>
                  <a:lnTo>
                    <a:pt x="539" y="625800"/>
                  </a:lnTo>
                  <a:cubicBezTo>
                    <a:pt x="-141" y="627367"/>
                    <a:pt x="-590" y="630910"/>
                    <a:pt x="1835" y="634242"/>
                  </a:cubicBezTo>
                  <a:cubicBezTo>
                    <a:pt x="1922" y="634405"/>
                    <a:pt x="2043" y="634598"/>
                    <a:pt x="2346" y="635008"/>
                  </a:cubicBezTo>
                  <a:cubicBezTo>
                    <a:pt x="4154" y="637279"/>
                    <a:pt x="4381" y="637568"/>
                    <a:pt x="4053" y="640017"/>
                  </a:cubicBezTo>
                  <a:cubicBezTo>
                    <a:pt x="3879" y="641381"/>
                    <a:pt x="3812" y="643333"/>
                    <a:pt x="3735" y="645599"/>
                  </a:cubicBezTo>
                  <a:lnTo>
                    <a:pt x="3706" y="646496"/>
                  </a:lnTo>
                  <a:cubicBezTo>
                    <a:pt x="3619" y="649214"/>
                    <a:pt x="3392" y="656234"/>
                    <a:pt x="2766" y="657342"/>
                  </a:cubicBezTo>
                  <a:cubicBezTo>
                    <a:pt x="1040" y="660369"/>
                    <a:pt x="81" y="662447"/>
                    <a:pt x="1985" y="666743"/>
                  </a:cubicBezTo>
                  <a:cubicBezTo>
                    <a:pt x="2235" y="667316"/>
                    <a:pt x="2091" y="668613"/>
                    <a:pt x="2033" y="669168"/>
                  </a:cubicBezTo>
                  <a:lnTo>
                    <a:pt x="1888" y="670474"/>
                  </a:lnTo>
                  <a:lnTo>
                    <a:pt x="3200" y="670613"/>
                  </a:lnTo>
                  <a:lnTo>
                    <a:pt x="6868" y="671004"/>
                  </a:lnTo>
                  <a:lnTo>
                    <a:pt x="8170" y="671144"/>
                  </a:lnTo>
                  <a:lnTo>
                    <a:pt x="8314" y="669837"/>
                  </a:lnTo>
                  <a:cubicBezTo>
                    <a:pt x="8517" y="668020"/>
                    <a:pt x="8589" y="666082"/>
                    <a:pt x="7760" y="664212"/>
                  </a:cubicBezTo>
                  <a:cubicBezTo>
                    <a:pt x="7046" y="662582"/>
                    <a:pt x="7046" y="662582"/>
                    <a:pt x="8261" y="660466"/>
                  </a:cubicBezTo>
                  <a:cubicBezTo>
                    <a:pt x="9572" y="658152"/>
                    <a:pt x="9804" y="653722"/>
                    <a:pt x="10026" y="646694"/>
                  </a:cubicBezTo>
                  <a:cubicBezTo>
                    <a:pt x="10103" y="644196"/>
                    <a:pt x="10175" y="642036"/>
                    <a:pt x="10325" y="640836"/>
                  </a:cubicBezTo>
                  <a:cubicBezTo>
                    <a:pt x="10990" y="635784"/>
                    <a:pt x="9384" y="633725"/>
                    <a:pt x="7350" y="631117"/>
                  </a:cubicBezTo>
                  <a:cubicBezTo>
                    <a:pt x="7345" y="631108"/>
                    <a:pt x="6955" y="630621"/>
                    <a:pt x="6955" y="630621"/>
                  </a:cubicBezTo>
                  <a:cubicBezTo>
                    <a:pt x="6347" y="629806"/>
                    <a:pt x="6266" y="629098"/>
                    <a:pt x="6314" y="628611"/>
                  </a:cubicBezTo>
                  <a:lnTo>
                    <a:pt x="17141" y="618005"/>
                  </a:lnTo>
                  <a:cubicBezTo>
                    <a:pt x="17107" y="618039"/>
                    <a:pt x="17464" y="617711"/>
                    <a:pt x="17464" y="617711"/>
                  </a:cubicBezTo>
                  <a:lnTo>
                    <a:pt x="17753" y="617441"/>
                  </a:lnTo>
                  <a:lnTo>
                    <a:pt x="17850" y="617060"/>
                  </a:lnTo>
                  <a:lnTo>
                    <a:pt x="17975" y="616569"/>
                  </a:lnTo>
                  <a:cubicBezTo>
                    <a:pt x="17970" y="616593"/>
                    <a:pt x="19195" y="612206"/>
                    <a:pt x="19431" y="611362"/>
                  </a:cubicBezTo>
                  <a:cubicBezTo>
                    <a:pt x="19990" y="610413"/>
                    <a:pt x="22068" y="606994"/>
                    <a:pt x="23379" y="605298"/>
                  </a:cubicBezTo>
                  <a:cubicBezTo>
                    <a:pt x="23654" y="604980"/>
                    <a:pt x="25100" y="603890"/>
                    <a:pt x="32828" y="600535"/>
                  </a:cubicBezTo>
                  <a:cubicBezTo>
                    <a:pt x="32847" y="600521"/>
                    <a:pt x="33835" y="600072"/>
                    <a:pt x="33835" y="600072"/>
                  </a:cubicBezTo>
                  <a:cubicBezTo>
                    <a:pt x="35016" y="599547"/>
                    <a:pt x="35865" y="599166"/>
                    <a:pt x="36390" y="598867"/>
                  </a:cubicBezTo>
                  <a:cubicBezTo>
                    <a:pt x="38767" y="597532"/>
                    <a:pt x="46543" y="587755"/>
                    <a:pt x="46890" y="582804"/>
                  </a:cubicBezTo>
                  <a:cubicBezTo>
                    <a:pt x="46962" y="581788"/>
                    <a:pt x="47560" y="580895"/>
                    <a:pt x="48186" y="580230"/>
                  </a:cubicBezTo>
                  <a:lnTo>
                    <a:pt x="53007" y="581513"/>
                  </a:lnTo>
                  <a:cubicBezTo>
                    <a:pt x="53036" y="581517"/>
                    <a:pt x="53783" y="581696"/>
                    <a:pt x="53783" y="581696"/>
                  </a:cubicBezTo>
                  <a:lnTo>
                    <a:pt x="54299" y="581821"/>
                  </a:lnTo>
                  <a:lnTo>
                    <a:pt x="54752" y="581556"/>
                  </a:lnTo>
                  <a:lnTo>
                    <a:pt x="55422" y="581161"/>
                  </a:lnTo>
                  <a:cubicBezTo>
                    <a:pt x="55427" y="581161"/>
                    <a:pt x="60108" y="578369"/>
                    <a:pt x="61607" y="577468"/>
                  </a:cubicBezTo>
                  <a:lnTo>
                    <a:pt x="67117" y="579121"/>
                  </a:lnTo>
                  <a:cubicBezTo>
                    <a:pt x="67132" y="579126"/>
                    <a:pt x="67657" y="579275"/>
                    <a:pt x="67657" y="579275"/>
                  </a:cubicBezTo>
                  <a:lnTo>
                    <a:pt x="67995" y="579377"/>
                  </a:lnTo>
                  <a:lnTo>
                    <a:pt x="68337" y="579285"/>
                  </a:lnTo>
                  <a:lnTo>
                    <a:pt x="68862" y="579155"/>
                  </a:lnTo>
                  <a:cubicBezTo>
                    <a:pt x="68906" y="579145"/>
                    <a:pt x="74705" y="577453"/>
                    <a:pt x="74705" y="577453"/>
                  </a:cubicBezTo>
                  <a:cubicBezTo>
                    <a:pt x="74705" y="577453"/>
                    <a:pt x="75597" y="577198"/>
                    <a:pt x="75597" y="577198"/>
                  </a:cubicBezTo>
                  <a:lnTo>
                    <a:pt x="76238" y="577014"/>
                  </a:lnTo>
                  <a:lnTo>
                    <a:pt x="76469" y="576388"/>
                  </a:lnTo>
                  <a:lnTo>
                    <a:pt x="76792" y="575492"/>
                  </a:lnTo>
                  <a:cubicBezTo>
                    <a:pt x="76792" y="575482"/>
                    <a:pt x="78547" y="570623"/>
                    <a:pt x="79044" y="569258"/>
                  </a:cubicBezTo>
                  <a:lnTo>
                    <a:pt x="84216" y="565488"/>
                  </a:lnTo>
                  <a:cubicBezTo>
                    <a:pt x="84231" y="565484"/>
                    <a:pt x="84780" y="565069"/>
                    <a:pt x="84780" y="565069"/>
                  </a:cubicBezTo>
                  <a:lnTo>
                    <a:pt x="85161" y="564780"/>
                  </a:lnTo>
                  <a:lnTo>
                    <a:pt x="85272" y="564317"/>
                  </a:lnTo>
                  <a:lnTo>
                    <a:pt x="85436" y="563632"/>
                  </a:lnTo>
                  <a:cubicBezTo>
                    <a:pt x="86130" y="560456"/>
                    <a:pt x="87036" y="557665"/>
                    <a:pt x="87335" y="557201"/>
                  </a:cubicBezTo>
                  <a:cubicBezTo>
                    <a:pt x="87326" y="557216"/>
                    <a:pt x="88271" y="555929"/>
                    <a:pt x="88271" y="555929"/>
                  </a:cubicBezTo>
                  <a:cubicBezTo>
                    <a:pt x="89052" y="554984"/>
                    <a:pt x="88237" y="554213"/>
                    <a:pt x="87008" y="553036"/>
                  </a:cubicBezTo>
                  <a:cubicBezTo>
                    <a:pt x="82669" y="548828"/>
                    <a:pt x="77029" y="550293"/>
                    <a:pt x="73664" y="551171"/>
                  </a:cubicBezTo>
                  <a:cubicBezTo>
                    <a:pt x="73678" y="551166"/>
                    <a:pt x="73457" y="551224"/>
                    <a:pt x="73457" y="551224"/>
                  </a:cubicBezTo>
                  <a:cubicBezTo>
                    <a:pt x="72796" y="551388"/>
                    <a:pt x="71798" y="551634"/>
                    <a:pt x="71509" y="551634"/>
                  </a:cubicBezTo>
                  <a:cubicBezTo>
                    <a:pt x="69547" y="551479"/>
                    <a:pt x="69248" y="548452"/>
                    <a:pt x="69248" y="546664"/>
                  </a:cubicBezTo>
                  <a:cubicBezTo>
                    <a:pt x="69248" y="544369"/>
                    <a:pt x="68395" y="541742"/>
                    <a:pt x="66635" y="538632"/>
                  </a:cubicBezTo>
                  <a:cubicBezTo>
                    <a:pt x="65907" y="537326"/>
                    <a:pt x="64268" y="532269"/>
                    <a:pt x="63555" y="529849"/>
                  </a:cubicBezTo>
                  <a:cubicBezTo>
                    <a:pt x="62861" y="528079"/>
                    <a:pt x="59491" y="519667"/>
                    <a:pt x="57654" y="517474"/>
                  </a:cubicBezTo>
                  <a:cubicBezTo>
                    <a:pt x="56748" y="516433"/>
                    <a:pt x="56227" y="515020"/>
                    <a:pt x="56131" y="514399"/>
                  </a:cubicBezTo>
                  <a:cubicBezTo>
                    <a:pt x="56145" y="514384"/>
                    <a:pt x="56165" y="514369"/>
                    <a:pt x="56179" y="514351"/>
                  </a:cubicBezTo>
                  <a:cubicBezTo>
                    <a:pt x="57529" y="512962"/>
                    <a:pt x="58556" y="511261"/>
                    <a:pt x="57539" y="508575"/>
                  </a:cubicBezTo>
                  <a:cubicBezTo>
                    <a:pt x="57611" y="507833"/>
                    <a:pt x="59120" y="504371"/>
                    <a:pt x="61385" y="500549"/>
                  </a:cubicBezTo>
                  <a:lnTo>
                    <a:pt x="67416" y="494542"/>
                  </a:lnTo>
                  <a:cubicBezTo>
                    <a:pt x="67435" y="494523"/>
                    <a:pt x="68057" y="493877"/>
                    <a:pt x="68057" y="493877"/>
                  </a:cubicBezTo>
                  <a:lnTo>
                    <a:pt x="68482" y="493438"/>
                  </a:lnTo>
                  <a:lnTo>
                    <a:pt x="68419" y="492826"/>
                  </a:lnTo>
                  <a:lnTo>
                    <a:pt x="68332" y="491963"/>
                  </a:lnTo>
                  <a:cubicBezTo>
                    <a:pt x="68332" y="491958"/>
                    <a:pt x="67855" y="487528"/>
                    <a:pt x="67734" y="486381"/>
                  </a:cubicBezTo>
                  <a:cubicBezTo>
                    <a:pt x="68612" y="483300"/>
                    <a:pt x="69725" y="481035"/>
                    <a:pt x="70130" y="480610"/>
                  </a:cubicBezTo>
                  <a:cubicBezTo>
                    <a:pt x="72116" y="479728"/>
                    <a:pt x="92127" y="470752"/>
                    <a:pt x="97984" y="464355"/>
                  </a:cubicBezTo>
                  <a:cubicBezTo>
                    <a:pt x="97994" y="464345"/>
                    <a:pt x="98428" y="463858"/>
                    <a:pt x="98428" y="463858"/>
                  </a:cubicBezTo>
                  <a:lnTo>
                    <a:pt x="98732" y="463525"/>
                  </a:lnTo>
                  <a:lnTo>
                    <a:pt x="98760" y="463072"/>
                  </a:lnTo>
                  <a:lnTo>
                    <a:pt x="98804" y="462436"/>
                  </a:lnTo>
                  <a:cubicBezTo>
                    <a:pt x="98987" y="459881"/>
                    <a:pt x="105042" y="452944"/>
                    <a:pt x="110547" y="447993"/>
                  </a:cubicBezTo>
                  <a:cubicBezTo>
                    <a:pt x="110533" y="448003"/>
                    <a:pt x="111747" y="446932"/>
                    <a:pt x="111747" y="446932"/>
                  </a:cubicBezTo>
                  <a:lnTo>
                    <a:pt x="112625" y="446166"/>
                  </a:lnTo>
                  <a:lnTo>
                    <a:pt x="111960" y="445207"/>
                  </a:lnTo>
                  <a:lnTo>
                    <a:pt x="111039" y="443872"/>
                  </a:lnTo>
                  <a:cubicBezTo>
                    <a:pt x="111044" y="443877"/>
                    <a:pt x="110287" y="442753"/>
                    <a:pt x="109901" y="442184"/>
                  </a:cubicBezTo>
                  <a:lnTo>
                    <a:pt x="109790" y="437084"/>
                  </a:lnTo>
                  <a:cubicBezTo>
                    <a:pt x="109790" y="437079"/>
                    <a:pt x="109776" y="436457"/>
                    <a:pt x="109776" y="436457"/>
                  </a:cubicBezTo>
                  <a:lnTo>
                    <a:pt x="109761" y="436004"/>
                  </a:lnTo>
                  <a:lnTo>
                    <a:pt x="109472" y="435657"/>
                  </a:lnTo>
                  <a:lnTo>
                    <a:pt x="109086" y="435180"/>
                  </a:lnTo>
                  <a:cubicBezTo>
                    <a:pt x="109101" y="435199"/>
                    <a:pt x="103817" y="428479"/>
                    <a:pt x="103817" y="428479"/>
                  </a:cubicBezTo>
                  <a:cubicBezTo>
                    <a:pt x="103827" y="428493"/>
                    <a:pt x="103118" y="427573"/>
                    <a:pt x="103118" y="427573"/>
                  </a:cubicBezTo>
                  <a:lnTo>
                    <a:pt x="102617" y="426917"/>
                  </a:lnTo>
                  <a:lnTo>
                    <a:pt x="101812" y="427081"/>
                  </a:lnTo>
                  <a:lnTo>
                    <a:pt x="100698" y="427312"/>
                  </a:lnTo>
                  <a:cubicBezTo>
                    <a:pt x="100694" y="427317"/>
                    <a:pt x="97647" y="427968"/>
                    <a:pt x="95858" y="428339"/>
                  </a:cubicBezTo>
                  <a:lnTo>
                    <a:pt x="93689" y="418611"/>
                  </a:lnTo>
                  <a:cubicBezTo>
                    <a:pt x="93689" y="418611"/>
                    <a:pt x="93583" y="418153"/>
                    <a:pt x="93583" y="418153"/>
                  </a:cubicBezTo>
                  <a:lnTo>
                    <a:pt x="93511" y="417835"/>
                  </a:lnTo>
                  <a:lnTo>
                    <a:pt x="93294" y="417589"/>
                  </a:lnTo>
                  <a:lnTo>
                    <a:pt x="92990" y="417247"/>
                  </a:lnTo>
                  <a:cubicBezTo>
                    <a:pt x="93000" y="417247"/>
                    <a:pt x="89355" y="412995"/>
                    <a:pt x="88025" y="411457"/>
                  </a:cubicBezTo>
                  <a:lnTo>
                    <a:pt x="89943" y="406323"/>
                  </a:lnTo>
                  <a:cubicBezTo>
                    <a:pt x="89943" y="406338"/>
                    <a:pt x="90180" y="405725"/>
                    <a:pt x="90180" y="405725"/>
                  </a:cubicBezTo>
                  <a:lnTo>
                    <a:pt x="90363" y="405263"/>
                  </a:lnTo>
                  <a:lnTo>
                    <a:pt x="90189" y="404795"/>
                  </a:lnTo>
                  <a:lnTo>
                    <a:pt x="89958" y="404149"/>
                  </a:lnTo>
                  <a:cubicBezTo>
                    <a:pt x="89958" y="404144"/>
                    <a:pt x="86299" y="394237"/>
                    <a:pt x="85605" y="392367"/>
                  </a:cubicBezTo>
                  <a:cubicBezTo>
                    <a:pt x="86463" y="389104"/>
                    <a:pt x="88343" y="382803"/>
                    <a:pt x="89996" y="379925"/>
                  </a:cubicBezTo>
                  <a:cubicBezTo>
                    <a:pt x="89992" y="379930"/>
                    <a:pt x="91139" y="377939"/>
                    <a:pt x="91139" y="377939"/>
                  </a:cubicBezTo>
                  <a:lnTo>
                    <a:pt x="91968" y="376507"/>
                  </a:lnTo>
                  <a:lnTo>
                    <a:pt x="90387" y="376020"/>
                  </a:lnTo>
                  <a:lnTo>
                    <a:pt x="88169" y="375340"/>
                  </a:lnTo>
                  <a:cubicBezTo>
                    <a:pt x="83758" y="374020"/>
                    <a:pt x="79106" y="369604"/>
                    <a:pt x="78195" y="365882"/>
                  </a:cubicBezTo>
                  <a:cubicBezTo>
                    <a:pt x="77458" y="362816"/>
                    <a:pt x="75481" y="358560"/>
                    <a:pt x="72642" y="353888"/>
                  </a:cubicBezTo>
                  <a:cubicBezTo>
                    <a:pt x="72594" y="353691"/>
                    <a:pt x="72502" y="353184"/>
                    <a:pt x="72449" y="352394"/>
                  </a:cubicBezTo>
                  <a:cubicBezTo>
                    <a:pt x="81517" y="357971"/>
                    <a:pt x="95376" y="358613"/>
                    <a:pt x="103118" y="358926"/>
                  </a:cubicBezTo>
                  <a:lnTo>
                    <a:pt x="104025" y="358965"/>
                  </a:lnTo>
                  <a:cubicBezTo>
                    <a:pt x="104656" y="358989"/>
                    <a:pt x="105201" y="359008"/>
                    <a:pt x="105664" y="359037"/>
                  </a:cubicBezTo>
                  <a:cubicBezTo>
                    <a:pt x="108768" y="359234"/>
                    <a:pt x="110928" y="360170"/>
                    <a:pt x="112837" y="360994"/>
                  </a:cubicBezTo>
                  <a:cubicBezTo>
                    <a:pt x="114640" y="361780"/>
                    <a:pt x="116684" y="362667"/>
                    <a:pt x="119167" y="362667"/>
                  </a:cubicBezTo>
                  <a:cubicBezTo>
                    <a:pt x="128451" y="362667"/>
                    <a:pt x="132260" y="346869"/>
                    <a:pt x="132375" y="343485"/>
                  </a:cubicBezTo>
                  <a:cubicBezTo>
                    <a:pt x="132375" y="343500"/>
                    <a:pt x="132419" y="342333"/>
                    <a:pt x="132419" y="342333"/>
                  </a:cubicBezTo>
                  <a:cubicBezTo>
                    <a:pt x="132423" y="342222"/>
                    <a:pt x="132423" y="341996"/>
                    <a:pt x="132438" y="341779"/>
                  </a:cubicBezTo>
                  <a:cubicBezTo>
                    <a:pt x="139949" y="340689"/>
                    <a:pt x="148756" y="319941"/>
                    <a:pt x="148833" y="319734"/>
                  </a:cubicBezTo>
                  <a:cubicBezTo>
                    <a:pt x="151128" y="314209"/>
                    <a:pt x="146620" y="303681"/>
                    <a:pt x="145623" y="301482"/>
                  </a:cubicBezTo>
                  <a:cubicBezTo>
                    <a:pt x="145304" y="300335"/>
                    <a:pt x="144099" y="297823"/>
                    <a:pt x="139770" y="295861"/>
                  </a:cubicBezTo>
                  <a:cubicBezTo>
                    <a:pt x="139418" y="294608"/>
                    <a:pt x="140286" y="290964"/>
                    <a:pt x="141780" y="287353"/>
                  </a:cubicBezTo>
                  <a:cubicBezTo>
                    <a:pt x="142923" y="287025"/>
                    <a:pt x="144591" y="286567"/>
                    <a:pt x="146847" y="285993"/>
                  </a:cubicBezTo>
                  <a:cubicBezTo>
                    <a:pt x="149551" y="286909"/>
                    <a:pt x="153582" y="286625"/>
                    <a:pt x="155857" y="286331"/>
                  </a:cubicBezTo>
                  <a:lnTo>
                    <a:pt x="156754" y="286215"/>
                  </a:lnTo>
                  <a:lnTo>
                    <a:pt x="157380" y="286133"/>
                  </a:lnTo>
                  <a:lnTo>
                    <a:pt x="157703" y="285584"/>
                  </a:lnTo>
                  <a:lnTo>
                    <a:pt x="158166" y="284817"/>
                  </a:lnTo>
                  <a:cubicBezTo>
                    <a:pt x="158166" y="284812"/>
                    <a:pt x="160345" y="281153"/>
                    <a:pt x="160972" y="280098"/>
                  </a:cubicBezTo>
                  <a:lnTo>
                    <a:pt x="168381" y="275875"/>
                  </a:lnTo>
                  <a:cubicBezTo>
                    <a:pt x="168386" y="275865"/>
                    <a:pt x="169601" y="275166"/>
                    <a:pt x="170184" y="274824"/>
                  </a:cubicBezTo>
                  <a:lnTo>
                    <a:pt x="170719" y="274824"/>
                  </a:lnTo>
                  <a:lnTo>
                    <a:pt x="171052" y="274004"/>
                  </a:lnTo>
                  <a:cubicBezTo>
                    <a:pt x="171389" y="273180"/>
                    <a:pt x="171389" y="273180"/>
                    <a:pt x="169022" y="270871"/>
                  </a:cubicBezTo>
                  <a:cubicBezTo>
                    <a:pt x="165108" y="267000"/>
                    <a:pt x="164891" y="263587"/>
                    <a:pt x="164983" y="262309"/>
                  </a:cubicBezTo>
                  <a:cubicBezTo>
                    <a:pt x="165074" y="261302"/>
                    <a:pt x="165397" y="260767"/>
                    <a:pt x="165479" y="260675"/>
                  </a:cubicBezTo>
                  <a:cubicBezTo>
                    <a:pt x="165479" y="260675"/>
                    <a:pt x="165465" y="260694"/>
                    <a:pt x="165431" y="260713"/>
                  </a:cubicBezTo>
                  <a:cubicBezTo>
                    <a:pt x="168077" y="258790"/>
                    <a:pt x="171437" y="252297"/>
                    <a:pt x="172758" y="249602"/>
                  </a:cubicBezTo>
                  <a:cubicBezTo>
                    <a:pt x="172758" y="249587"/>
                    <a:pt x="173028" y="249038"/>
                    <a:pt x="173028" y="249038"/>
                  </a:cubicBezTo>
                  <a:lnTo>
                    <a:pt x="173216" y="248647"/>
                  </a:lnTo>
                  <a:lnTo>
                    <a:pt x="173134" y="248223"/>
                  </a:lnTo>
                  <a:lnTo>
                    <a:pt x="173033" y="247683"/>
                  </a:lnTo>
                  <a:cubicBezTo>
                    <a:pt x="173038" y="247727"/>
                    <a:pt x="172821" y="246266"/>
                    <a:pt x="171775" y="241956"/>
                  </a:cubicBezTo>
                  <a:cubicBezTo>
                    <a:pt x="178538" y="232932"/>
                    <a:pt x="177266" y="223025"/>
                    <a:pt x="176769" y="220451"/>
                  </a:cubicBezTo>
                  <a:cubicBezTo>
                    <a:pt x="177637" y="217602"/>
                    <a:pt x="179252" y="212680"/>
                    <a:pt x="180954" y="209542"/>
                  </a:cubicBezTo>
                  <a:cubicBezTo>
                    <a:pt x="183176" y="205434"/>
                    <a:pt x="181407" y="201506"/>
                    <a:pt x="180115" y="198623"/>
                  </a:cubicBezTo>
                  <a:cubicBezTo>
                    <a:pt x="179551" y="197408"/>
                    <a:pt x="178852" y="195904"/>
                    <a:pt x="178885" y="194954"/>
                  </a:cubicBezTo>
                  <a:cubicBezTo>
                    <a:pt x="178963" y="192303"/>
                    <a:pt x="177618" y="188533"/>
                    <a:pt x="176181" y="185260"/>
                  </a:cubicBezTo>
                  <a:lnTo>
                    <a:pt x="183865" y="186224"/>
                  </a:lnTo>
                  <a:cubicBezTo>
                    <a:pt x="183860" y="186224"/>
                    <a:pt x="184844" y="186349"/>
                    <a:pt x="184844" y="186349"/>
                  </a:cubicBezTo>
                  <a:lnTo>
                    <a:pt x="185552" y="186446"/>
                  </a:lnTo>
                  <a:lnTo>
                    <a:pt x="186015" y="185896"/>
                  </a:lnTo>
                  <a:lnTo>
                    <a:pt x="186661" y="185130"/>
                  </a:lnTo>
                  <a:lnTo>
                    <a:pt x="192996" y="177638"/>
                  </a:lnTo>
                  <a:cubicBezTo>
                    <a:pt x="193000" y="177629"/>
                    <a:pt x="193140" y="177465"/>
                    <a:pt x="193140" y="177465"/>
                  </a:cubicBezTo>
                  <a:lnTo>
                    <a:pt x="193242" y="177349"/>
                  </a:lnTo>
                  <a:lnTo>
                    <a:pt x="193309" y="177214"/>
                  </a:lnTo>
                  <a:lnTo>
                    <a:pt x="193410" y="177016"/>
                  </a:lnTo>
                  <a:cubicBezTo>
                    <a:pt x="193410" y="177021"/>
                    <a:pt x="195454" y="172933"/>
                    <a:pt x="195965" y="171916"/>
                  </a:cubicBezTo>
                  <a:cubicBezTo>
                    <a:pt x="196790" y="171203"/>
                    <a:pt x="199793" y="168672"/>
                    <a:pt x="206797" y="163485"/>
                  </a:cubicBezTo>
                  <a:cubicBezTo>
                    <a:pt x="221052" y="164994"/>
                    <a:pt x="232260" y="156095"/>
                    <a:pt x="232733" y="155714"/>
                  </a:cubicBezTo>
                  <a:cubicBezTo>
                    <a:pt x="232733" y="155704"/>
                    <a:pt x="232892" y="155579"/>
                    <a:pt x="232892" y="155579"/>
                  </a:cubicBezTo>
                  <a:lnTo>
                    <a:pt x="233027" y="155468"/>
                  </a:lnTo>
                  <a:lnTo>
                    <a:pt x="233128" y="155323"/>
                  </a:lnTo>
                  <a:lnTo>
                    <a:pt x="233249" y="155164"/>
                  </a:lnTo>
                  <a:cubicBezTo>
                    <a:pt x="233215" y="155198"/>
                    <a:pt x="235948" y="151732"/>
                    <a:pt x="237067" y="150305"/>
                  </a:cubicBezTo>
                  <a:lnTo>
                    <a:pt x="242403" y="151337"/>
                  </a:lnTo>
                  <a:cubicBezTo>
                    <a:pt x="242398" y="151337"/>
                    <a:pt x="243709" y="151592"/>
                    <a:pt x="243709" y="151592"/>
                  </a:cubicBezTo>
                  <a:lnTo>
                    <a:pt x="244645" y="151780"/>
                  </a:lnTo>
                  <a:lnTo>
                    <a:pt x="245108" y="150946"/>
                  </a:lnTo>
                  <a:lnTo>
                    <a:pt x="245758" y="149784"/>
                  </a:lnTo>
                  <a:cubicBezTo>
                    <a:pt x="245754" y="149789"/>
                    <a:pt x="251866" y="138976"/>
                    <a:pt x="252382" y="138051"/>
                  </a:cubicBezTo>
                  <a:cubicBezTo>
                    <a:pt x="253549" y="136918"/>
                    <a:pt x="256639" y="133987"/>
                    <a:pt x="262129" y="129185"/>
                  </a:cubicBezTo>
                  <a:cubicBezTo>
                    <a:pt x="262134" y="129181"/>
                    <a:pt x="262978" y="128438"/>
                    <a:pt x="262978" y="128438"/>
                  </a:cubicBezTo>
                  <a:lnTo>
                    <a:pt x="263566" y="127917"/>
                  </a:lnTo>
                  <a:lnTo>
                    <a:pt x="263383" y="127151"/>
                  </a:lnTo>
                  <a:lnTo>
                    <a:pt x="263103" y="126115"/>
                  </a:lnTo>
                  <a:close/>
                  <a:moveTo>
                    <a:pt x="68867" y="11146"/>
                  </a:moveTo>
                  <a:cubicBezTo>
                    <a:pt x="69002" y="11039"/>
                    <a:pt x="69219" y="10866"/>
                    <a:pt x="69219" y="10866"/>
                  </a:cubicBezTo>
                  <a:cubicBezTo>
                    <a:pt x="69378" y="10741"/>
                    <a:pt x="69523" y="10630"/>
                    <a:pt x="69677" y="10514"/>
                  </a:cubicBezTo>
                  <a:lnTo>
                    <a:pt x="69783" y="12032"/>
                  </a:lnTo>
                  <a:lnTo>
                    <a:pt x="68867" y="1114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72" name="Freihandform: Form 671">
              <a:extLst>
                <a:ext uri="{FF2B5EF4-FFF2-40B4-BE49-F238E27FC236}">
                  <a16:creationId xmlns:a16="http://schemas.microsoft.com/office/drawing/2014/main" id="{D091A0CB-78DF-8D89-5573-FBA1C2567D43}"/>
                </a:ext>
              </a:extLst>
            </p:cNvPr>
            <p:cNvSpPr/>
            <p:nvPr/>
          </p:nvSpPr>
          <p:spPr>
            <a:xfrm>
              <a:off x="5337297" y="4716504"/>
              <a:ext cx="0" cy="0"/>
            </a:xfrm>
            <a:custGeom>
              <a:avLst/>
              <a:gdLst>
                <a:gd name="connsiteX0" fmla="*/ 53 w 52"/>
                <a:gd name="connsiteY0" fmla="*/ 0 h 52"/>
                <a:gd name="connsiteX1" fmla="*/ 0 w 52"/>
                <a:gd name="connsiteY1" fmla="*/ 34 h 52"/>
                <a:gd name="connsiteX2" fmla="*/ 39 w 52"/>
                <a:gd name="connsiteY2" fmla="*/ 53 h 52"/>
              </a:gdLst>
              <a:ahLst/>
              <a:cxnLst>
                <a:cxn ang="0">
                  <a:pos x="connsiteX0" y="connsiteY0"/>
                </a:cxn>
                <a:cxn ang="0">
                  <a:pos x="connsiteX1" y="connsiteY1"/>
                </a:cxn>
                <a:cxn ang="0">
                  <a:pos x="connsiteX2" y="connsiteY2"/>
                </a:cxn>
              </a:cxnLst>
              <a:rect l="l" t="t" r="r" b="b"/>
              <a:pathLst>
                <a:path w="52" h="52">
                  <a:moveTo>
                    <a:pt x="53" y="0"/>
                  </a:moveTo>
                  <a:lnTo>
                    <a:pt x="0" y="34"/>
                  </a:lnTo>
                  <a:lnTo>
                    <a:pt x="39" y="5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73" name="Freihandform: Form 672">
              <a:extLst>
                <a:ext uri="{FF2B5EF4-FFF2-40B4-BE49-F238E27FC236}">
                  <a16:creationId xmlns:a16="http://schemas.microsoft.com/office/drawing/2014/main" id="{502B8F7B-9032-2D70-5899-EE529C8EB62C}"/>
                </a:ext>
              </a:extLst>
            </p:cNvPr>
            <p:cNvSpPr/>
            <p:nvPr/>
          </p:nvSpPr>
          <p:spPr>
            <a:xfrm>
              <a:off x="5078564" y="3830646"/>
              <a:ext cx="0" cy="0"/>
            </a:xfrm>
            <a:custGeom>
              <a:avLst/>
              <a:gdLst>
                <a:gd name="connsiteX0" fmla="*/ 96 w 96"/>
                <a:gd name="connsiteY0" fmla="*/ 101 h 101"/>
                <a:gd name="connsiteX1" fmla="*/ 29 w 96"/>
                <a:gd name="connsiteY1" fmla="*/ 0 h 101"/>
                <a:gd name="connsiteX2" fmla="*/ 0 w 96"/>
                <a:gd name="connsiteY2" fmla="*/ 87 h 101"/>
                <a:gd name="connsiteX3" fmla="*/ 96 w 96"/>
                <a:gd name="connsiteY3" fmla="*/ 101 h 101"/>
              </a:gdLst>
              <a:ahLst/>
              <a:cxnLst>
                <a:cxn ang="0">
                  <a:pos x="connsiteX0" y="connsiteY0"/>
                </a:cxn>
                <a:cxn ang="0">
                  <a:pos x="connsiteX1" y="connsiteY1"/>
                </a:cxn>
                <a:cxn ang="0">
                  <a:pos x="connsiteX2" y="connsiteY2"/>
                </a:cxn>
                <a:cxn ang="0">
                  <a:pos x="connsiteX3" y="connsiteY3"/>
                </a:cxn>
              </a:cxnLst>
              <a:rect l="l" t="t" r="r" b="b"/>
              <a:pathLst>
                <a:path w="96" h="101">
                  <a:moveTo>
                    <a:pt x="96" y="101"/>
                  </a:moveTo>
                  <a:lnTo>
                    <a:pt x="29" y="0"/>
                  </a:lnTo>
                  <a:cubicBezTo>
                    <a:pt x="19" y="24"/>
                    <a:pt x="5" y="58"/>
                    <a:pt x="0" y="87"/>
                  </a:cubicBezTo>
                  <a:lnTo>
                    <a:pt x="96" y="10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74" name="Freihandform: Form 673">
              <a:extLst>
                <a:ext uri="{FF2B5EF4-FFF2-40B4-BE49-F238E27FC236}">
                  <a16:creationId xmlns:a16="http://schemas.microsoft.com/office/drawing/2014/main" id="{B50F3FB7-D4A5-BDEE-B0BD-33C4DE976121}"/>
                </a:ext>
              </a:extLst>
            </p:cNvPr>
            <p:cNvSpPr/>
            <p:nvPr/>
          </p:nvSpPr>
          <p:spPr>
            <a:xfrm>
              <a:off x="4764275" y="4068780"/>
              <a:ext cx="0" cy="0"/>
            </a:xfrm>
            <a:custGeom>
              <a:avLst/>
              <a:gdLst>
                <a:gd name="connsiteX0" fmla="*/ 0 w 62"/>
                <a:gd name="connsiteY0" fmla="*/ 14 h 33"/>
                <a:gd name="connsiteX1" fmla="*/ 63 w 62"/>
                <a:gd name="connsiteY1" fmla="*/ 34 h 33"/>
                <a:gd name="connsiteX2" fmla="*/ 48 w 62"/>
                <a:gd name="connsiteY2" fmla="*/ 0 h 33"/>
              </a:gdLst>
              <a:ahLst/>
              <a:cxnLst>
                <a:cxn ang="0">
                  <a:pos x="connsiteX0" y="connsiteY0"/>
                </a:cxn>
                <a:cxn ang="0">
                  <a:pos x="connsiteX1" y="connsiteY1"/>
                </a:cxn>
                <a:cxn ang="0">
                  <a:pos x="connsiteX2" y="connsiteY2"/>
                </a:cxn>
              </a:cxnLst>
              <a:rect l="l" t="t" r="r" b="b"/>
              <a:pathLst>
                <a:path w="62" h="33">
                  <a:moveTo>
                    <a:pt x="0" y="14"/>
                  </a:moveTo>
                  <a:lnTo>
                    <a:pt x="63" y="34"/>
                  </a:lnTo>
                  <a:lnTo>
                    <a:pt x="48"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75" name="Freihandform: Form 674">
              <a:extLst>
                <a:ext uri="{FF2B5EF4-FFF2-40B4-BE49-F238E27FC236}">
                  <a16:creationId xmlns:a16="http://schemas.microsoft.com/office/drawing/2014/main" id="{776F78D2-E543-22C0-5A0C-353131D654AE}"/>
                </a:ext>
              </a:extLst>
            </p:cNvPr>
            <p:cNvSpPr/>
            <p:nvPr/>
          </p:nvSpPr>
          <p:spPr>
            <a:xfrm>
              <a:off x="6372230" y="4329140"/>
              <a:ext cx="0" cy="0"/>
            </a:xfrm>
            <a:custGeom>
              <a:avLst/>
              <a:gdLst>
                <a:gd name="connsiteX0" fmla="*/ 15 w 14"/>
                <a:gd name="connsiteY0" fmla="*/ 14 h 14"/>
                <a:gd name="connsiteX1" fmla="*/ 5 w 14"/>
                <a:gd name="connsiteY1" fmla="*/ 0 h 14"/>
                <a:gd name="connsiteX2" fmla="*/ 0 w 14"/>
                <a:gd name="connsiteY2" fmla="*/ 14 h 14"/>
              </a:gdLst>
              <a:ahLst/>
              <a:cxnLst>
                <a:cxn ang="0">
                  <a:pos x="connsiteX0" y="connsiteY0"/>
                </a:cxn>
                <a:cxn ang="0">
                  <a:pos x="connsiteX1" y="connsiteY1"/>
                </a:cxn>
                <a:cxn ang="0">
                  <a:pos x="connsiteX2" y="connsiteY2"/>
                </a:cxn>
              </a:cxnLst>
              <a:rect l="l" t="t" r="r" b="b"/>
              <a:pathLst>
                <a:path w="14" h="14">
                  <a:moveTo>
                    <a:pt x="15" y="14"/>
                  </a:moveTo>
                  <a:lnTo>
                    <a:pt x="5" y="0"/>
                  </a:lnTo>
                  <a:lnTo>
                    <a:pt x="0" y="1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76" name="Freihandform: Form 675">
              <a:extLst>
                <a:ext uri="{FF2B5EF4-FFF2-40B4-BE49-F238E27FC236}">
                  <a16:creationId xmlns:a16="http://schemas.microsoft.com/office/drawing/2014/main" id="{E0C6BE0D-DE55-6291-31CF-7C8ED7C8D0CD}"/>
                </a:ext>
              </a:extLst>
            </p:cNvPr>
            <p:cNvSpPr/>
            <p:nvPr/>
          </p:nvSpPr>
          <p:spPr>
            <a:xfrm>
              <a:off x="5805557" y="3805245"/>
              <a:ext cx="0" cy="0"/>
            </a:xfrm>
            <a:custGeom>
              <a:avLst/>
              <a:gdLst>
                <a:gd name="connsiteX0" fmla="*/ 24 w 24"/>
                <a:gd name="connsiteY0" fmla="*/ 34 h 33"/>
                <a:gd name="connsiteX1" fmla="*/ 15 w 24"/>
                <a:gd name="connsiteY1" fmla="*/ 0 h 33"/>
                <a:gd name="connsiteX2" fmla="*/ 0 w 24"/>
                <a:gd name="connsiteY2" fmla="*/ 24 h 33"/>
              </a:gdLst>
              <a:ahLst/>
              <a:cxnLst>
                <a:cxn ang="0">
                  <a:pos x="connsiteX0" y="connsiteY0"/>
                </a:cxn>
                <a:cxn ang="0">
                  <a:pos x="connsiteX1" y="connsiteY1"/>
                </a:cxn>
                <a:cxn ang="0">
                  <a:pos x="connsiteX2" y="connsiteY2"/>
                </a:cxn>
              </a:cxnLst>
              <a:rect l="l" t="t" r="r" b="b"/>
              <a:pathLst>
                <a:path w="24" h="33">
                  <a:moveTo>
                    <a:pt x="24" y="34"/>
                  </a:moveTo>
                  <a:lnTo>
                    <a:pt x="15" y="0"/>
                  </a:lnTo>
                  <a:lnTo>
                    <a:pt x="0" y="2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77" name="Freihandform: Form 676">
              <a:extLst>
                <a:ext uri="{FF2B5EF4-FFF2-40B4-BE49-F238E27FC236}">
                  <a16:creationId xmlns:a16="http://schemas.microsoft.com/office/drawing/2014/main" id="{DDF4DBB3-8D5C-1D5F-54D4-6FE0ECF6414F}"/>
                </a:ext>
              </a:extLst>
            </p:cNvPr>
            <p:cNvSpPr/>
            <p:nvPr/>
          </p:nvSpPr>
          <p:spPr>
            <a:xfrm>
              <a:off x="6372230" y="4329140"/>
              <a:ext cx="0" cy="0"/>
            </a:xfrm>
            <a:custGeom>
              <a:avLst/>
              <a:gdLst>
                <a:gd name="connsiteX0" fmla="*/ 19 w 23"/>
                <a:gd name="connsiteY0" fmla="*/ 0 h 19"/>
                <a:gd name="connsiteX1" fmla="*/ 0 w 23"/>
                <a:gd name="connsiteY1" fmla="*/ 5 h 19"/>
                <a:gd name="connsiteX2" fmla="*/ 24 w 23"/>
                <a:gd name="connsiteY2" fmla="*/ 19 h 19"/>
              </a:gdLst>
              <a:ahLst/>
              <a:cxnLst>
                <a:cxn ang="0">
                  <a:pos x="connsiteX0" y="connsiteY0"/>
                </a:cxn>
                <a:cxn ang="0">
                  <a:pos x="connsiteX1" y="connsiteY1"/>
                </a:cxn>
                <a:cxn ang="0">
                  <a:pos x="connsiteX2" y="connsiteY2"/>
                </a:cxn>
              </a:cxnLst>
              <a:rect l="l" t="t" r="r" b="b"/>
              <a:pathLst>
                <a:path w="23" h="19">
                  <a:moveTo>
                    <a:pt x="19" y="0"/>
                  </a:moveTo>
                  <a:lnTo>
                    <a:pt x="0" y="5"/>
                  </a:lnTo>
                  <a:lnTo>
                    <a:pt x="24" y="1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78" name="Freihandform: Form 677">
              <a:extLst>
                <a:ext uri="{FF2B5EF4-FFF2-40B4-BE49-F238E27FC236}">
                  <a16:creationId xmlns:a16="http://schemas.microsoft.com/office/drawing/2014/main" id="{A817B536-80E3-DDA9-64D3-7EE894462D65}"/>
                </a:ext>
              </a:extLst>
            </p:cNvPr>
            <p:cNvSpPr/>
            <p:nvPr/>
          </p:nvSpPr>
          <p:spPr>
            <a:xfrm>
              <a:off x="6483343" y="3135294"/>
              <a:ext cx="0" cy="0"/>
            </a:xfrm>
            <a:custGeom>
              <a:avLst/>
              <a:gdLst>
                <a:gd name="connsiteX0" fmla="*/ 29 w 43"/>
                <a:gd name="connsiteY0" fmla="*/ 68 h 67"/>
                <a:gd name="connsiteX1" fmla="*/ 43 w 43"/>
                <a:gd name="connsiteY1" fmla="*/ 0 h 67"/>
                <a:gd name="connsiteX2" fmla="*/ 0 w 43"/>
                <a:gd name="connsiteY2" fmla="*/ 24 h 67"/>
              </a:gdLst>
              <a:ahLst/>
              <a:cxnLst>
                <a:cxn ang="0">
                  <a:pos x="connsiteX0" y="connsiteY0"/>
                </a:cxn>
                <a:cxn ang="0">
                  <a:pos x="connsiteX1" y="connsiteY1"/>
                </a:cxn>
                <a:cxn ang="0">
                  <a:pos x="connsiteX2" y="connsiteY2"/>
                </a:cxn>
              </a:cxnLst>
              <a:rect l="l" t="t" r="r" b="b"/>
              <a:pathLst>
                <a:path w="43" h="67">
                  <a:moveTo>
                    <a:pt x="29" y="68"/>
                  </a:moveTo>
                  <a:lnTo>
                    <a:pt x="43" y="0"/>
                  </a:lnTo>
                  <a:lnTo>
                    <a:pt x="0" y="2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79" name="Freihandform: Form 678">
              <a:extLst>
                <a:ext uri="{FF2B5EF4-FFF2-40B4-BE49-F238E27FC236}">
                  <a16:creationId xmlns:a16="http://schemas.microsoft.com/office/drawing/2014/main" id="{E03CDAB2-1B22-892D-7F7C-7EA6D3FA94B8}"/>
                </a:ext>
              </a:extLst>
            </p:cNvPr>
            <p:cNvSpPr/>
            <p:nvPr/>
          </p:nvSpPr>
          <p:spPr>
            <a:xfrm>
              <a:off x="6372230" y="4329140"/>
              <a:ext cx="6349" cy="6350"/>
            </a:xfrm>
            <a:custGeom>
              <a:avLst/>
              <a:gdLst>
                <a:gd name="connsiteX0" fmla="*/ 0 w 4820"/>
                <a:gd name="connsiteY0" fmla="*/ 0 h 4820"/>
                <a:gd name="connsiteX1" fmla="*/ 0 w 4820"/>
                <a:gd name="connsiteY1" fmla="*/ 0 h 4820"/>
                <a:gd name="connsiteX2" fmla="*/ 0 w 4820"/>
                <a:gd name="connsiteY2" fmla="*/ 0 h 4820"/>
              </a:gdLst>
              <a:ahLst/>
              <a:cxnLst>
                <a:cxn ang="0">
                  <a:pos x="connsiteX0" y="connsiteY0"/>
                </a:cxn>
                <a:cxn ang="0">
                  <a:pos x="connsiteX1" y="connsiteY1"/>
                </a:cxn>
                <a:cxn ang="0">
                  <a:pos x="connsiteX2" y="connsiteY2"/>
                </a:cxn>
              </a:cxnLst>
              <a:rect l="l" t="t" r="r" b="b"/>
              <a:pathLst>
                <a:path w="4820" h="4820">
                  <a:moveTo>
                    <a:pt x="0" y="0"/>
                  </a:moveTo>
                  <a:lnTo>
                    <a:pt x="0" y="0"/>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80" name="Freihandform: Form 679">
              <a:extLst>
                <a:ext uri="{FF2B5EF4-FFF2-40B4-BE49-F238E27FC236}">
                  <a16:creationId xmlns:a16="http://schemas.microsoft.com/office/drawing/2014/main" id="{4DAD0ADD-35E3-0D4C-AA01-4DCD20CCFDDA}"/>
                </a:ext>
              </a:extLst>
            </p:cNvPr>
            <p:cNvSpPr/>
            <p:nvPr/>
          </p:nvSpPr>
          <p:spPr>
            <a:xfrm>
              <a:off x="5153168" y="4984801"/>
              <a:ext cx="0" cy="0"/>
            </a:xfrm>
            <a:custGeom>
              <a:avLst/>
              <a:gdLst>
                <a:gd name="connsiteX0" fmla="*/ 19 w 19"/>
                <a:gd name="connsiteY0" fmla="*/ 14 h 14"/>
                <a:gd name="connsiteX1" fmla="*/ 5 w 19"/>
                <a:gd name="connsiteY1" fmla="*/ 0 h 14"/>
                <a:gd name="connsiteX2" fmla="*/ 0 w 19"/>
                <a:gd name="connsiteY2" fmla="*/ 14 h 14"/>
              </a:gdLst>
              <a:ahLst/>
              <a:cxnLst>
                <a:cxn ang="0">
                  <a:pos x="connsiteX0" y="connsiteY0"/>
                </a:cxn>
                <a:cxn ang="0">
                  <a:pos x="connsiteX1" y="connsiteY1"/>
                </a:cxn>
                <a:cxn ang="0">
                  <a:pos x="connsiteX2" y="connsiteY2"/>
                </a:cxn>
              </a:cxnLst>
              <a:rect l="l" t="t" r="r" b="b"/>
              <a:pathLst>
                <a:path w="19" h="14">
                  <a:moveTo>
                    <a:pt x="19" y="14"/>
                  </a:moveTo>
                  <a:lnTo>
                    <a:pt x="5" y="0"/>
                  </a:lnTo>
                  <a:lnTo>
                    <a:pt x="0" y="1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81" name="Freihandform: Form 680">
              <a:extLst>
                <a:ext uri="{FF2B5EF4-FFF2-40B4-BE49-F238E27FC236}">
                  <a16:creationId xmlns:a16="http://schemas.microsoft.com/office/drawing/2014/main" id="{8A706FC6-8DAF-61A3-DDA0-76A2540E8B58}"/>
                </a:ext>
              </a:extLst>
            </p:cNvPr>
            <p:cNvSpPr/>
            <p:nvPr/>
          </p:nvSpPr>
          <p:spPr>
            <a:xfrm>
              <a:off x="6121434" y="4830809"/>
              <a:ext cx="0" cy="0"/>
            </a:xfrm>
            <a:custGeom>
              <a:avLst/>
              <a:gdLst>
                <a:gd name="connsiteX0" fmla="*/ 0 w 52"/>
                <a:gd name="connsiteY0" fmla="*/ 29 h 33"/>
                <a:gd name="connsiteX1" fmla="*/ 53 w 52"/>
                <a:gd name="connsiteY1" fmla="*/ 34 h 33"/>
                <a:gd name="connsiteX2" fmla="*/ 34 w 52"/>
                <a:gd name="connsiteY2" fmla="*/ 0 h 33"/>
              </a:gdLst>
              <a:ahLst/>
              <a:cxnLst>
                <a:cxn ang="0">
                  <a:pos x="connsiteX0" y="connsiteY0"/>
                </a:cxn>
                <a:cxn ang="0">
                  <a:pos x="connsiteX1" y="connsiteY1"/>
                </a:cxn>
                <a:cxn ang="0">
                  <a:pos x="connsiteX2" y="connsiteY2"/>
                </a:cxn>
              </a:cxnLst>
              <a:rect l="l" t="t" r="r" b="b"/>
              <a:pathLst>
                <a:path w="52" h="33">
                  <a:moveTo>
                    <a:pt x="0" y="29"/>
                  </a:moveTo>
                  <a:lnTo>
                    <a:pt x="53" y="34"/>
                  </a:lnTo>
                  <a:lnTo>
                    <a:pt x="34"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82" name="Freihandform: Form 681">
              <a:extLst>
                <a:ext uri="{FF2B5EF4-FFF2-40B4-BE49-F238E27FC236}">
                  <a16:creationId xmlns:a16="http://schemas.microsoft.com/office/drawing/2014/main" id="{8F57F31D-40B3-BB69-A19C-35822863AD10}"/>
                </a:ext>
              </a:extLst>
            </p:cNvPr>
            <p:cNvSpPr/>
            <p:nvPr/>
          </p:nvSpPr>
          <p:spPr>
            <a:xfrm>
              <a:off x="6742076" y="5691266"/>
              <a:ext cx="0" cy="0"/>
            </a:xfrm>
            <a:custGeom>
              <a:avLst/>
              <a:gdLst>
                <a:gd name="connsiteX0" fmla="*/ 0 w 96"/>
                <a:gd name="connsiteY0" fmla="*/ 34 h 72"/>
                <a:gd name="connsiteX1" fmla="*/ 97 w 96"/>
                <a:gd name="connsiteY1" fmla="*/ 72 h 72"/>
                <a:gd name="connsiteX2" fmla="*/ 77 w 96"/>
                <a:gd name="connsiteY2" fmla="*/ 0 h 72"/>
              </a:gdLst>
              <a:ahLst/>
              <a:cxnLst>
                <a:cxn ang="0">
                  <a:pos x="connsiteX0" y="connsiteY0"/>
                </a:cxn>
                <a:cxn ang="0">
                  <a:pos x="connsiteX1" y="connsiteY1"/>
                </a:cxn>
                <a:cxn ang="0">
                  <a:pos x="connsiteX2" y="connsiteY2"/>
                </a:cxn>
              </a:cxnLst>
              <a:rect l="l" t="t" r="r" b="b"/>
              <a:pathLst>
                <a:path w="96" h="72">
                  <a:moveTo>
                    <a:pt x="0" y="34"/>
                  </a:moveTo>
                  <a:lnTo>
                    <a:pt x="97" y="72"/>
                  </a:lnTo>
                  <a:lnTo>
                    <a:pt x="77"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83" name="Freihandform: Form 682">
              <a:extLst>
                <a:ext uri="{FF2B5EF4-FFF2-40B4-BE49-F238E27FC236}">
                  <a16:creationId xmlns:a16="http://schemas.microsoft.com/office/drawing/2014/main" id="{16B71779-4BD6-3106-ADA3-FA443BEB4531}"/>
                </a:ext>
              </a:extLst>
            </p:cNvPr>
            <p:cNvSpPr/>
            <p:nvPr/>
          </p:nvSpPr>
          <p:spPr>
            <a:xfrm>
              <a:off x="6575407" y="5559498"/>
              <a:ext cx="0" cy="0"/>
            </a:xfrm>
            <a:custGeom>
              <a:avLst/>
              <a:gdLst>
                <a:gd name="connsiteX0" fmla="*/ 58 w 57"/>
                <a:gd name="connsiteY0" fmla="*/ 44 h 43"/>
                <a:gd name="connsiteX1" fmla="*/ 14 w 57"/>
                <a:gd name="connsiteY1" fmla="*/ 0 h 43"/>
                <a:gd name="connsiteX2" fmla="*/ 0 w 57"/>
                <a:gd name="connsiteY2" fmla="*/ 44 h 43"/>
              </a:gdLst>
              <a:ahLst/>
              <a:cxnLst>
                <a:cxn ang="0">
                  <a:pos x="connsiteX0" y="connsiteY0"/>
                </a:cxn>
                <a:cxn ang="0">
                  <a:pos x="connsiteX1" y="connsiteY1"/>
                </a:cxn>
                <a:cxn ang="0">
                  <a:pos x="connsiteX2" y="connsiteY2"/>
                </a:cxn>
              </a:cxnLst>
              <a:rect l="l" t="t" r="r" b="b"/>
              <a:pathLst>
                <a:path w="57" h="43">
                  <a:moveTo>
                    <a:pt x="58" y="44"/>
                  </a:moveTo>
                  <a:lnTo>
                    <a:pt x="14" y="0"/>
                  </a:lnTo>
                  <a:lnTo>
                    <a:pt x="0" y="4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84" name="Freihandform: Form 683">
              <a:extLst>
                <a:ext uri="{FF2B5EF4-FFF2-40B4-BE49-F238E27FC236}">
                  <a16:creationId xmlns:a16="http://schemas.microsoft.com/office/drawing/2014/main" id="{960D9571-AAF8-5316-43CF-0B4BA1618E78}"/>
                </a:ext>
              </a:extLst>
            </p:cNvPr>
            <p:cNvSpPr/>
            <p:nvPr/>
          </p:nvSpPr>
          <p:spPr>
            <a:xfrm>
              <a:off x="6462708" y="5495996"/>
              <a:ext cx="0" cy="0"/>
            </a:xfrm>
            <a:custGeom>
              <a:avLst/>
              <a:gdLst>
                <a:gd name="connsiteX0" fmla="*/ 0 w 47"/>
                <a:gd name="connsiteY0" fmla="*/ 0 h 48"/>
                <a:gd name="connsiteX1" fmla="*/ 24 w 47"/>
                <a:gd name="connsiteY1" fmla="*/ 48 h 48"/>
                <a:gd name="connsiteX2" fmla="*/ 48 w 47"/>
                <a:gd name="connsiteY2" fmla="*/ 19 h 48"/>
              </a:gdLst>
              <a:ahLst/>
              <a:cxnLst>
                <a:cxn ang="0">
                  <a:pos x="connsiteX0" y="connsiteY0"/>
                </a:cxn>
                <a:cxn ang="0">
                  <a:pos x="connsiteX1" y="connsiteY1"/>
                </a:cxn>
                <a:cxn ang="0">
                  <a:pos x="connsiteX2" y="connsiteY2"/>
                </a:cxn>
              </a:cxnLst>
              <a:rect l="l" t="t" r="r" b="b"/>
              <a:pathLst>
                <a:path w="47" h="48">
                  <a:moveTo>
                    <a:pt x="0" y="0"/>
                  </a:moveTo>
                  <a:lnTo>
                    <a:pt x="24" y="48"/>
                  </a:lnTo>
                  <a:lnTo>
                    <a:pt x="48" y="1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86" name="Freihandform: Form 685">
              <a:extLst>
                <a:ext uri="{FF2B5EF4-FFF2-40B4-BE49-F238E27FC236}">
                  <a16:creationId xmlns:a16="http://schemas.microsoft.com/office/drawing/2014/main" id="{4D3FEFB8-CD08-EB65-6757-B99AF06F707B}"/>
                </a:ext>
              </a:extLst>
            </p:cNvPr>
            <p:cNvSpPr/>
            <p:nvPr/>
          </p:nvSpPr>
          <p:spPr>
            <a:xfrm>
              <a:off x="5924606" y="4900661"/>
              <a:ext cx="6349" cy="6350"/>
            </a:xfrm>
            <a:custGeom>
              <a:avLst/>
              <a:gdLst>
                <a:gd name="connsiteX0" fmla="*/ 0 w 4820"/>
                <a:gd name="connsiteY0" fmla="*/ 0 h 4820"/>
                <a:gd name="connsiteX1" fmla="*/ 0 w 4820"/>
                <a:gd name="connsiteY1" fmla="*/ 0 h 4820"/>
                <a:gd name="connsiteX2" fmla="*/ 0 w 4820"/>
                <a:gd name="connsiteY2" fmla="*/ 0 h 4820"/>
              </a:gdLst>
              <a:ahLst/>
              <a:cxnLst>
                <a:cxn ang="0">
                  <a:pos x="connsiteX0" y="connsiteY0"/>
                </a:cxn>
                <a:cxn ang="0">
                  <a:pos x="connsiteX1" y="connsiteY1"/>
                </a:cxn>
                <a:cxn ang="0">
                  <a:pos x="connsiteX2" y="connsiteY2"/>
                </a:cxn>
              </a:cxnLst>
              <a:rect l="l" t="t" r="r" b="b"/>
              <a:pathLst>
                <a:path w="4820" h="4820">
                  <a:moveTo>
                    <a:pt x="0" y="0"/>
                  </a:moveTo>
                  <a:lnTo>
                    <a:pt x="0" y="0"/>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87" name="Freihandform: Form 686">
              <a:extLst>
                <a:ext uri="{FF2B5EF4-FFF2-40B4-BE49-F238E27FC236}">
                  <a16:creationId xmlns:a16="http://schemas.microsoft.com/office/drawing/2014/main" id="{1AB9E886-3175-0C07-C5B1-551A8EE6200A}"/>
                </a:ext>
              </a:extLst>
            </p:cNvPr>
            <p:cNvSpPr/>
            <p:nvPr/>
          </p:nvSpPr>
          <p:spPr>
            <a:xfrm>
              <a:off x="7550022" y="4360891"/>
              <a:ext cx="0" cy="0"/>
            </a:xfrm>
            <a:custGeom>
              <a:avLst/>
              <a:gdLst>
                <a:gd name="connsiteX0" fmla="*/ 5 w 5"/>
                <a:gd name="connsiteY0" fmla="*/ 0 h 5"/>
                <a:gd name="connsiteX1" fmla="*/ 0 w 5"/>
                <a:gd name="connsiteY1" fmla="*/ 0 h 5"/>
                <a:gd name="connsiteX2" fmla="*/ 5 w 5"/>
                <a:gd name="connsiteY2" fmla="*/ 5 h 5"/>
              </a:gdLst>
              <a:ahLst/>
              <a:cxnLst>
                <a:cxn ang="0">
                  <a:pos x="connsiteX0" y="connsiteY0"/>
                </a:cxn>
                <a:cxn ang="0">
                  <a:pos x="connsiteX1" y="connsiteY1"/>
                </a:cxn>
                <a:cxn ang="0">
                  <a:pos x="connsiteX2" y="connsiteY2"/>
                </a:cxn>
              </a:cxnLst>
              <a:rect l="l" t="t" r="r" b="b"/>
              <a:pathLst>
                <a:path w="5" h="5">
                  <a:moveTo>
                    <a:pt x="5" y="0"/>
                  </a:moveTo>
                  <a:lnTo>
                    <a:pt x="0" y="0"/>
                  </a:lnTo>
                  <a:lnTo>
                    <a:pt x="5" y="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88" name="Freihandform: Form 687">
              <a:extLst>
                <a:ext uri="{FF2B5EF4-FFF2-40B4-BE49-F238E27FC236}">
                  <a16:creationId xmlns:a16="http://schemas.microsoft.com/office/drawing/2014/main" id="{BE450419-53E0-8AD8-1DD8-158091519FB6}"/>
                </a:ext>
              </a:extLst>
            </p:cNvPr>
            <p:cNvSpPr/>
            <p:nvPr/>
          </p:nvSpPr>
          <p:spPr>
            <a:xfrm>
              <a:off x="7511926" y="5491234"/>
              <a:ext cx="0" cy="0"/>
            </a:xfrm>
            <a:custGeom>
              <a:avLst/>
              <a:gdLst>
                <a:gd name="connsiteX0" fmla="*/ 14 w 14"/>
                <a:gd name="connsiteY0" fmla="*/ 5 h 14"/>
                <a:gd name="connsiteX1" fmla="*/ 0 w 14"/>
                <a:gd name="connsiteY1" fmla="*/ 0 h 14"/>
                <a:gd name="connsiteX2" fmla="*/ 0 w 14"/>
                <a:gd name="connsiteY2" fmla="*/ 14 h 14"/>
              </a:gdLst>
              <a:ahLst/>
              <a:cxnLst>
                <a:cxn ang="0">
                  <a:pos x="connsiteX0" y="connsiteY0"/>
                </a:cxn>
                <a:cxn ang="0">
                  <a:pos x="connsiteX1" y="connsiteY1"/>
                </a:cxn>
                <a:cxn ang="0">
                  <a:pos x="connsiteX2" y="connsiteY2"/>
                </a:cxn>
              </a:cxnLst>
              <a:rect l="l" t="t" r="r" b="b"/>
              <a:pathLst>
                <a:path w="14" h="14">
                  <a:moveTo>
                    <a:pt x="14" y="5"/>
                  </a:moveTo>
                  <a:lnTo>
                    <a:pt x="0" y="0"/>
                  </a:lnTo>
                  <a:lnTo>
                    <a:pt x="0" y="1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89" name="Freihandform: Form 688">
              <a:extLst>
                <a:ext uri="{FF2B5EF4-FFF2-40B4-BE49-F238E27FC236}">
                  <a16:creationId xmlns:a16="http://schemas.microsoft.com/office/drawing/2014/main" id="{F394980C-9227-71DE-F43E-97DD9665BB5B}"/>
                </a:ext>
              </a:extLst>
            </p:cNvPr>
            <p:cNvSpPr/>
            <p:nvPr/>
          </p:nvSpPr>
          <p:spPr>
            <a:xfrm>
              <a:off x="5924606" y="4900661"/>
              <a:ext cx="0" cy="1587"/>
            </a:xfrm>
            <a:custGeom>
              <a:avLst/>
              <a:gdLst>
                <a:gd name="connsiteX0" fmla="*/ 116 w 115"/>
                <a:gd name="connsiteY0" fmla="*/ 0 h 342"/>
                <a:gd name="connsiteX1" fmla="*/ 0 w 115"/>
                <a:gd name="connsiteY1" fmla="*/ 342 h 342"/>
                <a:gd name="connsiteX2" fmla="*/ 116 w 115"/>
                <a:gd name="connsiteY2" fmla="*/ 0 h 342"/>
              </a:gdLst>
              <a:ahLst/>
              <a:cxnLst>
                <a:cxn ang="0">
                  <a:pos x="connsiteX0" y="connsiteY0"/>
                </a:cxn>
                <a:cxn ang="0">
                  <a:pos x="connsiteX1" y="connsiteY1"/>
                </a:cxn>
                <a:cxn ang="0">
                  <a:pos x="connsiteX2" y="connsiteY2"/>
                </a:cxn>
              </a:cxnLst>
              <a:rect l="l" t="t" r="r" b="b"/>
              <a:pathLst>
                <a:path w="115" h="342">
                  <a:moveTo>
                    <a:pt x="116" y="0"/>
                  </a:moveTo>
                  <a:lnTo>
                    <a:pt x="0" y="342"/>
                  </a:lnTo>
                  <a:cubicBezTo>
                    <a:pt x="48" y="241"/>
                    <a:pt x="82" y="140"/>
                    <a:pt x="116"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90" name="Freihandform: Form 689">
              <a:extLst>
                <a:ext uri="{FF2B5EF4-FFF2-40B4-BE49-F238E27FC236}">
                  <a16:creationId xmlns:a16="http://schemas.microsoft.com/office/drawing/2014/main" id="{A0E636C0-6249-AA46-5C64-ACF57F42353A}"/>
                </a:ext>
              </a:extLst>
            </p:cNvPr>
            <p:cNvSpPr/>
            <p:nvPr/>
          </p:nvSpPr>
          <p:spPr>
            <a:xfrm>
              <a:off x="6097624" y="4475195"/>
              <a:ext cx="0" cy="0"/>
            </a:xfrm>
            <a:custGeom>
              <a:avLst/>
              <a:gdLst>
                <a:gd name="connsiteX0" fmla="*/ 0 w 5"/>
                <a:gd name="connsiteY0" fmla="*/ 14 h 14"/>
                <a:gd name="connsiteX1" fmla="*/ 5 w 5"/>
                <a:gd name="connsiteY1" fmla="*/ 9 h 14"/>
                <a:gd name="connsiteX2" fmla="*/ 0 w 5"/>
                <a:gd name="connsiteY2" fmla="*/ 0 h 14"/>
              </a:gdLst>
              <a:ahLst/>
              <a:cxnLst>
                <a:cxn ang="0">
                  <a:pos x="connsiteX0" y="connsiteY0"/>
                </a:cxn>
                <a:cxn ang="0">
                  <a:pos x="connsiteX1" y="connsiteY1"/>
                </a:cxn>
                <a:cxn ang="0">
                  <a:pos x="connsiteX2" y="connsiteY2"/>
                </a:cxn>
              </a:cxnLst>
              <a:rect l="l" t="t" r="r" b="b"/>
              <a:pathLst>
                <a:path w="5" h="14">
                  <a:moveTo>
                    <a:pt x="0" y="14"/>
                  </a:moveTo>
                  <a:lnTo>
                    <a:pt x="5" y="9"/>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91" name="Freihandform: Form 690">
              <a:extLst>
                <a:ext uri="{FF2B5EF4-FFF2-40B4-BE49-F238E27FC236}">
                  <a16:creationId xmlns:a16="http://schemas.microsoft.com/office/drawing/2014/main" id="{F1E93138-E080-0D8A-B6C8-7D254EBA0864}"/>
                </a:ext>
              </a:extLst>
            </p:cNvPr>
            <p:cNvSpPr/>
            <p:nvPr/>
          </p:nvSpPr>
          <p:spPr>
            <a:xfrm>
              <a:off x="5096025" y="4984801"/>
              <a:ext cx="0" cy="0"/>
            </a:xfrm>
            <a:custGeom>
              <a:avLst/>
              <a:gdLst>
                <a:gd name="connsiteX0" fmla="*/ 24 w 33"/>
                <a:gd name="connsiteY0" fmla="*/ 34 h 33"/>
                <a:gd name="connsiteX1" fmla="*/ 34 w 33"/>
                <a:gd name="connsiteY1" fmla="*/ 0 h 33"/>
                <a:gd name="connsiteX2" fmla="*/ 0 w 33"/>
                <a:gd name="connsiteY2" fmla="*/ 19 h 33"/>
              </a:gdLst>
              <a:ahLst/>
              <a:cxnLst>
                <a:cxn ang="0">
                  <a:pos x="connsiteX0" y="connsiteY0"/>
                </a:cxn>
                <a:cxn ang="0">
                  <a:pos x="connsiteX1" y="connsiteY1"/>
                </a:cxn>
                <a:cxn ang="0">
                  <a:pos x="connsiteX2" y="connsiteY2"/>
                </a:cxn>
              </a:cxnLst>
              <a:rect l="l" t="t" r="r" b="b"/>
              <a:pathLst>
                <a:path w="33" h="33">
                  <a:moveTo>
                    <a:pt x="24" y="34"/>
                  </a:moveTo>
                  <a:lnTo>
                    <a:pt x="34" y="0"/>
                  </a:lnTo>
                  <a:lnTo>
                    <a:pt x="0" y="1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92" name="Freihandform: Form 691">
              <a:extLst>
                <a:ext uri="{FF2B5EF4-FFF2-40B4-BE49-F238E27FC236}">
                  <a16:creationId xmlns:a16="http://schemas.microsoft.com/office/drawing/2014/main" id="{8474687E-5812-F47A-EDC7-4625B8BB21D9}"/>
                </a:ext>
              </a:extLst>
            </p:cNvPr>
            <p:cNvSpPr/>
            <p:nvPr/>
          </p:nvSpPr>
          <p:spPr>
            <a:xfrm>
              <a:off x="6723029" y="5357878"/>
              <a:ext cx="0" cy="6350"/>
            </a:xfrm>
            <a:custGeom>
              <a:avLst/>
              <a:gdLst>
                <a:gd name="connsiteX0" fmla="*/ 0 w 9"/>
                <a:gd name="connsiteY0" fmla="*/ 0 h 4820"/>
                <a:gd name="connsiteX1" fmla="*/ 0 w 9"/>
                <a:gd name="connsiteY1" fmla="*/ 0 h 4820"/>
                <a:gd name="connsiteX2" fmla="*/ 9 w 9"/>
                <a:gd name="connsiteY2" fmla="*/ 0 h 4820"/>
              </a:gdLst>
              <a:ahLst/>
              <a:cxnLst>
                <a:cxn ang="0">
                  <a:pos x="connsiteX0" y="connsiteY0"/>
                </a:cxn>
                <a:cxn ang="0">
                  <a:pos x="connsiteX1" y="connsiteY1"/>
                </a:cxn>
                <a:cxn ang="0">
                  <a:pos x="connsiteX2" y="connsiteY2"/>
                </a:cxn>
              </a:cxnLst>
              <a:rect l="l" t="t" r="r" b="b"/>
              <a:pathLst>
                <a:path w="9" h="4820">
                  <a:moveTo>
                    <a:pt x="0" y="0"/>
                  </a:moveTo>
                  <a:lnTo>
                    <a:pt x="0" y="0"/>
                  </a:lnTo>
                  <a:lnTo>
                    <a:pt x="9"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93" name="Freihandform: Form 692">
              <a:extLst>
                <a:ext uri="{FF2B5EF4-FFF2-40B4-BE49-F238E27FC236}">
                  <a16:creationId xmlns:a16="http://schemas.microsoft.com/office/drawing/2014/main" id="{A0090C35-0106-45CC-2397-CAC5573B441C}"/>
                </a:ext>
              </a:extLst>
            </p:cNvPr>
            <p:cNvSpPr/>
            <p:nvPr/>
          </p:nvSpPr>
          <p:spPr>
            <a:xfrm>
              <a:off x="7553197" y="4432330"/>
              <a:ext cx="1588" cy="0"/>
            </a:xfrm>
            <a:custGeom>
              <a:avLst/>
              <a:gdLst>
                <a:gd name="connsiteX0" fmla="*/ 0 w 48"/>
                <a:gd name="connsiteY0" fmla="*/ 19 h 19"/>
                <a:gd name="connsiteX1" fmla="*/ 48 w 48"/>
                <a:gd name="connsiteY1" fmla="*/ 19 h 19"/>
                <a:gd name="connsiteX2" fmla="*/ 29 w 48"/>
                <a:gd name="connsiteY2" fmla="*/ 0 h 19"/>
              </a:gdLst>
              <a:ahLst/>
              <a:cxnLst>
                <a:cxn ang="0">
                  <a:pos x="connsiteX0" y="connsiteY0"/>
                </a:cxn>
                <a:cxn ang="0">
                  <a:pos x="connsiteX1" y="connsiteY1"/>
                </a:cxn>
                <a:cxn ang="0">
                  <a:pos x="connsiteX2" y="connsiteY2"/>
                </a:cxn>
              </a:cxnLst>
              <a:rect l="l" t="t" r="r" b="b"/>
              <a:pathLst>
                <a:path w="48" h="19">
                  <a:moveTo>
                    <a:pt x="0" y="19"/>
                  </a:moveTo>
                  <a:lnTo>
                    <a:pt x="48" y="19"/>
                  </a:lnTo>
                  <a:lnTo>
                    <a:pt x="29"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gr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9026" name="think-cell data - do not delete" hidden="1">
            <a:extLst>
              <a:ext uri="{FF2B5EF4-FFF2-40B4-BE49-F238E27FC236}">
                <a16:creationId xmlns:a16="http://schemas.microsoft.com/office/drawing/2014/main" id="{1FA91F9E-6760-503D-D19E-F391C75BD23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29026" name="think-cell data - do not delete" hidden="1">
                        <a:extLst>
                          <a:ext uri="{FF2B5EF4-FFF2-40B4-BE49-F238E27FC236}">
                            <a16:creationId xmlns:a16="http://schemas.microsoft.com/office/drawing/2014/main" id="{1FA91F9E-6760-503D-D19E-F391C75BD23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9027" name="Titel 5">
            <a:extLst>
              <a:ext uri="{FF2B5EF4-FFF2-40B4-BE49-F238E27FC236}">
                <a16:creationId xmlns:a16="http://schemas.microsoft.com/office/drawing/2014/main" id="{AADEB44F-0C13-F20F-F118-CF4E5A628712}"/>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Weltkarte </a:t>
            </a:r>
            <a:br>
              <a:rPr lang="de-CH" altLang="de-DE" b="0" dirty="0"/>
            </a:br>
            <a:endParaRPr lang="de-CH" altLang="de-DE" sz="2000" b="0" dirty="0"/>
          </a:p>
        </p:txBody>
      </p:sp>
      <p:sp>
        <p:nvSpPr>
          <p:cNvPr id="129028" name="Foliennummernplatzhalter 357">
            <a:extLst>
              <a:ext uri="{FF2B5EF4-FFF2-40B4-BE49-F238E27FC236}">
                <a16:creationId xmlns:a16="http://schemas.microsoft.com/office/drawing/2014/main" id="{DF75AEFB-D842-E941-08E9-210E9B27B65F}"/>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7C21BB53-A171-4793-A4D1-F756C7D15A9B}" type="slidenum">
              <a:rPr lang="de-CH" altLang="de-DE" sz="1100" smtClean="0">
                <a:solidFill>
                  <a:srgbClr val="003CB4"/>
                </a:solidFill>
                <a:latin typeface="Frutiger for ZKB Light" panose="020B0303030504020204" pitchFamily="34" charset="0"/>
              </a:rPr>
              <a:pPr>
                <a:spcBef>
                  <a:spcPct val="0"/>
                </a:spcBef>
                <a:spcAft>
                  <a:spcPct val="0"/>
                </a:spcAft>
              </a:pPr>
              <a:t>97</a:t>
            </a:fld>
            <a:endParaRPr lang="de-CH" altLang="de-DE" sz="1100" dirty="0">
              <a:solidFill>
                <a:srgbClr val="003CB4"/>
              </a:solidFill>
              <a:latin typeface="Frutiger for ZKB Light" panose="020B0303030504020204" pitchFamily="34" charset="0"/>
            </a:endParaRPr>
          </a:p>
        </p:txBody>
      </p:sp>
      <p:sp>
        <p:nvSpPr>
          <p:cNvPr id="129029" name="Fußzeilenplatzhalter 356">
            <a:extLst>
              <a:ext uri="{FF2B5EF4-FFF2-40B4-BE49-F238E27FC236}">
                <a16:creationId xmlns:a16="http://schemas.microsoft.com/office/drawing/2014/main" id="{C4C8C3C7-BF0D-7C67-50C4-101432DFA9B5}"/>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grpSp>
        <p:nvGrpSpPr>
          <p:cNvPr id="9" name="Gruppieren 8">
            <a:extLst>
              <a:ext uri="{FF2B5EF4-FFF2-40B4-BE49-F238E27FC236}">
                <a16:creationId xmlns:a16="http://schemas.microsoft.com/office/drawing/2014/main" id="{6C98D64F-7A2B-7607-B03F-41B3FC0215E5}"/>
              </a:ext>
            </a:extLst>
          </p:cNvPr>
          <p:cNvGrpSpPr/>
          <p:nvPr/>
        </p:nvGrpSpPr>
        <p:grpSpPr>
          <a:xfrm>
            <a:off x="739155" y="1222476"/>
            <a:ext cx="11272345" cy="5705423"/>
            <a:chOff x="140247" y="545895"/>
            <a:chExt cx="8198776" cy="4149756"/>
          </a:xfrm>
          <a:solidFill>
            <a:schemeClr val="accent2"/>
          </a:solidFill>
        </p:grpSpPr>
        <p:grpSp>
          <p:nvGrpSpPr>
            <p:cNvPr id="10" name="Group 4">
              <a:extLst>
                <a:ext uri="{FF2B5EF4-FFF2-40B4-BE49-F238E27FC236}">
                  <a16:creationId xmlns:a16="http://schemas.microsoft.com/office/drawing/2014/main" id="{43E06D0D-32EF-67C8-CF95-DDE69CFA439A}"/>
                </a:ext>
              </a:extLst>
            </p:cNvPr>
            <p:cNvGrpSpPr>
              <a:grpSpLocks/>
            </p:cNvGrpSpPr>
            <p:nvPr/>
          </p:nvGrpSpPr>
          <p:grpSpPr bwMode="auto">
            <a:xfrm>
              <a:off x="1384403" y="941530"/>
              <a:ext cx="655135" cy="739951"/>
              <a:chOff x="1916" y="1640"/>
              <a:chExt cx="320" cy="360"/>
            </a:xfrm>
            <a:grpFill/>
          </p:grpSpPr>
          <p:sp>
            <p:nvSpPr>
              <p:cNvPr id="346" name="Freeform 5">
                <a:extLst>
                  <a:ext uri="{FF2B5EF4-FFF2-40B4-BE49-F238E27FC236}">
                    <a16:creationId xmlns:a16="http://schemas.microsoft.com/office/drawing/2014/main" id="{D55A4660-83C5-4835-A5F4-9ACE7770C4A9}"/>
                  </a:ext>
                </a:extLst>
              </p:cNvPr>
              <p:cNvSpPr>
                <a:spLocks/>
              </p:cNvSpPr>
              <p:nvPr/>
            </p:nvSpPr>
            <p:spPr bwMode="auto">
              <a:xfrm>
                <a:off x="1916" y="1640"/>
                <a:ext cx="80" cy="24"/>
              </a:xfrm>
              <a:custGeom>
                <a:avLst/>
                <a:gdLst>
                  <a:gd name="T0" fmla="*/ 0 w 80"/>
                  <a:gd name="T1" fmla="*/ 8 h 24"/>
                  <a:gd name="T2" fmla="*/ 32 w 80"/>
                  <a:gd name="T3" fmla="*/ 8 h 24"/>
                  <a:gd name="T4" fmla="*/ 40 w 80"/>
                  <a:gd name="T5" fmla="*/ 16 h 24"/>
                  <a:gd name="T6" fmla="*/ 0 w 80"/>
                  <a:gd name="T7" fmla="*/ 24 h 24"/>
                  <a:gd name="T8" fmla="*/ 16 w 80"/>
                  <a:gd name="T9" fmla="*/ 24 h 24"/>
                  <a:gd name="T10" fmla="*/ 40 w 80"/>
                  <a:gd name="T11" fmla="*/ 16 h 24"/>
                  <a:gd name="T12" fmla="*/ 24 w 80"/>
                  <a:gd name="T13" fmla="*/ 24 h 24"/>
                  <a:gd name="T14" fmla="*/ 48 w 80"/>
                  <a:gd name="T15" fmla="*/ 24 h 24"/>
                  <a:gd name="T16" fmla="*/ 48 w 80"/>
                  <a:gd name="T17" fmla="*/ 16 h 24"/>
                  <a:gd name="T18" fmla="*/ 64 w 80"/>
                  <a:gd name="T19" fmla="*/ 16 h 24"/>
                  <a:gd name="T20" fmla="*/ 80 w 80"/>
                  <a:gd name="T21" fmla="*/ 8 h 24"/>
                  <a:gd name="T22" fmla="*/ 48 w 80"/>
                  <a:gd name="T23" fmla="*/ 8 h 24"/>
                  <a:gd name="T24" fmla="*/ 72 w 80"/>
                  <a:gd name="T25" fmla="*/ 0 h 24"/>
                  <a:gd name="T26" fmla="*/ 64 w 80"/>
                  <a:gd name="T27" fmla="*/ 0 h 24"/>
                  <a:gd name="T28" fmla="*/ 0 w 80"/>
                  <a:gd name="T2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24">
                    <a:moveTo>
                      <a:pt x="0" y="8"/>
                    </a:moveTo>
                    <a:lnTo>
                      <a:pt x="32" y="8"/>
                    </a:lnTo>
                    <a:lnTo>
                      <a:pt x="40" y="16"/>
                    </a:lnTo>
                    <a:lnTo>
                      <a:pt x="0" y="24"/>
                    </a:lnTo>
                    <a:lnTo>
                      <a:pt x="16" y="24"/>
                    </a:lnTo>
                    <a:lnTo>
                      <a:pt x="40" y="16"/>
                    </a:lnTo>
                    <a:lnTo>
                      <a:pt x="24" y="24"/>
                    </a:lnTo>
                    <a:lnTo>
                      <a:pt x="48" y="24"/>
                    </a:lnTo>
                    <a:lnTo>
                      <a:pt x="48" y="16"/>
                    </a:lnTo>
                    <a:lnTo>
                      <a:pt x="64" y="16"/>
                    </a:lnTo>
                    <a:lnTo>
                      <a:pt x="80" y="8"/>
                    </a:lnTo>
                    <a:lnTo>
                      <a:pt x="48" y="8"/>
                    </a:lnTo>
                    <a:lnTo>
                      <a:pt x="72" y="0"/>
                    </a:lnTo>
                    <a:lnTo>
                      <a:pt x="64" y="0"/>
                    </a:lnTo>
                    <a:lnTo>
                      <a:pt x="0" y="8"/>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47" name="Freeform 6">
                <a:extLst>
                  <a:ext uri="{FF2B5EF4-FFF2-40B4-BE49-F238E27FC236}">
                    <a16:creationId xmlns:a16="http://schemas.microsoft.com/office/drawing/2014/main" id="{85A7A4FD-6265-AA9E-33D6-B6A97B8C117D}"/>
                  </a:ext>
                </a:extLst>
              </p:cNvPr>
              <p:cNvSpPr>
                <a:spLocks/>
              </p:cNvSpPr>
              <p:nvPr/>
            </p:nvSpPr>
            <p:spPr bwMode="auto">
              <a:xfrm>
                <a:off x="1932" y="1696"/>
                <a:ext cx="88" cy="24"/>
              </a:xfrm>
              <a:custGeom>
                <a:avLst/>
                <a:gdLst>
                  <a:gd name="T0" fmla="*/ 88 w 88"/>
                  <a:gd name="T1" fmla="*/ 0 h 24"/>
                  <a:gd name="T2" fmla="*/ 48 w 88"/>
                  <a:gd name="T3" fmla="*/ 8 h 24"/>
                  <a:gd name="T4" fmla="*/ 32 w 88"/>
                  <a:gd name="T5" fmla="*/ 8 h 24"/>
                  <a:gd name="T6" fmla="*/ 32 w 88"/>
                  <a:gd name="T7" fmla="*/ 16 h 24"/>
                  <a:gd name="T8" fmla="*/ 8 w 88"/>
                  <a:gd name="T9" fmla="*/ 24 h 24"/>
                  <a:gd name="T10" fmla="*/ 0 w 88"/>
                  <a:gd name="T11" fmla="*/ 24 h 24"/>
                  <a:gd name="T12" fmla="*/ 8 w 88"/>
                  <a:gd name="T13" fmla="*/ 24 h 24"/>
                  <a:gd name="T14" fmla="*/ 32 w 88"/>
                  <a:gd name="T15" fmla="*/ 24 h 24"/>
                  <a:gd name="T16" fmla="*/ 64 w 88"/>
                  <a:gd name="T17" fmla="*/ 8 h 24"/>
                  <a:gd name="T18" fmla="*/ 88 w 88"/>
                  <a:gd name="T19" fmla="*/ 8 h 24"/>
                  <a:gd name="T20" fmla="*/ 88 w 88"/>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24">
                    <a:moveTo>
                      <a:pt x="88" y="0"/>
                    </a:moveTo>
                    <a:lnTo>
                      <a:pt x="48" y="8"/>
                    </a:lnTo>
                    <a:lnTo>
                      <a:pt x="32" y="8"/>
                    </a:lnTo>
                    <a:lnTo>
                      <a:pt x="32" y="16"/>
                    </a:lnTo>
                    <a:lnTo>
                      <a:pt x="8" y="24"/>
                    </a:lnTo>
                    <a:lnTo>
                      <a:pt x="0" y="24"/>
                    </a:lnTo>
                    <a:lnTo>
                      <a:pt x="8" y="24"/>
                    </a:lnTo>
                    <a:lnTo>
                      <a:pt x="32" y="24"/>
                    </a:lnTo>
                    <a:lnTo>
                      <a:pt x="64" y="8"/>
                    </a:lnTo>
                    <a:lnTo>
                      <a:pt x="88" y="8"/>
                    </a:lnTo>
                    <a:lnTo>
                      <a:pt x="88" y="0"/>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48" name="Freeform 7">
                <a:extLst>
                  <a:ext uri="{FF2B5EF4-FFF2-40B4-BE49-F238E27FC236}">
                    <a16:creationId xmlns:a16="http://schemas.microsoft.com/office/drawing/2014/main" id="{53A114BA-C2C8-F048-5FD2-32CCDE064C8B}"/>
                  </a:ext>
                </a:extLst>
              </p:cNvPr>
              <p:cNvSpPr>
                <a:spLocks/>
              </p:cNvSpPr>
              <p:nvPr/>
            </p:nvSpPr>
            <p:spPr bwMode="auto">
              <a:xfrm>
                <a:off x="1964" y="1736"/>
                <a:ext cx="48" cy="16"/>
              </a:xfrm>
              <a:custGeom>
                <a:avLst/>
                <a:gdLst>
                  <a:gd name="T0" fmla="*/ 0 w 48"/>
                  <a:gd name="T1" fmla="*/ 16 h 16"/>
                  <a:gd name="T2" fmla="*/ 48 w 48"/>
                  <a:gd name="T3" fmla="*/ 8 h 16"/>
                  <a:gd name="T4" fmla="*/ 24 w 48"/>
                  <a:gd name="T5" fmla="*/ 0 h 16"/>
                  <a:gd name="T6" fmla="*/ 0 w 48"/>
                  <a:gd name="T7" fmla="*/ 16 h 16"/>
                </a:gdLst>
                <a:ahLst/>
                <a:cxnLst>
                  <a:cxn ang="0">
                    <a:pos x="T0" y="T1"/>
                  </a:cxn>
                  <a:cxn ang="0">
                    <a:pos x="T2" y="T3"/>
                  </a:cxn>
                  <a:cxn ang="0">
                    <a:pos x="T4" y="T5"/>
                  </a:cxn>
                  <a:cxn ang="0">
                    <a:pos x="T6" y="T7"/>
                  </a:cxn>
                </a:cxnLst>
                <a:rect l="0" t="0" r="r" b="b"/>
                <a:pathLst>
                  <a:path w="48" h="16">
                    <a:moveTo>
                      <a:pt x="0" y="16"/>
                    </a:moveTo>
                    <a:lnTo>
                      <a:pt x="48" y="8"/>
                    </a:lnTo>
                    <a:lnTo>
                      <a:pt x="24" y="0"/>
                    </a:lnTo>
                    <a:lnTo>
                      <a:pt x="0" y="16"/>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49" name="Freeform 8">
                <a:extLst>
                  <a:ext uri="{FF2B5EF4-FFF2-40B4-BE49-F238E27FC236}">
                    <a16:creationId xmlns:a16="http://schemas.microsoft.com/office/drawing/2014/main" id="{EF763465-B884-CF13-AEA8-22C9E23C35A1}"/>
                  </a:ext>
                </a:extLst>
              </p:cNvPr>
              <p:cNvSpPr>
                <a:spLocks/>
              </p:cNvSpPr>
              <p:nvPr/>
            </p:nvSpPr>
            <p:spPr bwMode="auto">
              <a:xfrm>
                <a:off x="2020" y="1760"/>
                <a:ext cx="32" cy="24"/>
              </a:xfrm>
              <a:custGeom>
                <a:avLst/>
                <a:gdLst>
                  <a:gd name="T0" fmla="*/ 0 w 32"/>
                  <a:gd name="T1" fmla="*/ 24 h 24"/>
                  <a:gd name="T2" fmla="*/ 16 w 32"/>
                  <a:gd name="T3" fmla="*/ 24 h 24"/>
                  <a:gd name="T4" fmla="*/ 24 w 32"/>
                  <a:gd name="T5" fmla="*/ 8 h 24"/>
                  <a:gd name="T6" fmla="*/ 32 w 32"/>
                  <a:gd name="T7" fmla="*/ 8 h 24"/>
                  <a:gd name="T8" fmla="*/ 32 w 32"/>
                  <a:gd name="T9" fmla="*/ 0 h 24"/>
                  <a:gd name="T10" fmla="*/ 0 w 32"/>
                  <a:gd name="T11" fmla="*/ 24 h 24"/>
                </a:gdLst>
                <a:ahLst/>
                <a:cxnLst>
                  <a:cxn ang="0">
                    <a:pos x="T0" y="T1"/>
                  </a:cxn>
                  <a:cxn ang="0">
                    <a:pos x="T2" y="T3"/>
                  </a:cxn>
                  <a:cxn ang="0">
                    <a:pos x="T4" y="T5"/>
                  </a:cxn>
                  <a:cxn ang="0">
                    <a:pos x="T6" y="T7"/>
                  </a:cxn>
                  <a:cxn ang="0">
                    <a:pos x="T8" y="T9"/>
                  </a:cxn>
                  <a:cxn ang="0">
                    <a:pos x="T10" y="T11"/>
                  </a:cxn>
                </a:cxnLst>
                <a:rect l="0" t="0" r="r" b="b"/>
                <a:pathLst>
                  <a:path w="32" h="24">
                    <a:moveTo>
                      <a:pt x="0" y="24"/>
                    </a:moveTo>
                    <a:lnTo>
                      <a:pt x="16" y="24"/>
                    </a:lnTo>
                    <a:lnTo>
                      <a:pt x="24" y="8"/>
                    </a:lnTo>
                    <a:lnTo>
                      <a:pt x="32" y="8"/>
                    </a:lnTo>
                    <a:lnTo>
                      <a:pt x="32" y="0"/>
                    </a:lnTo>
                    <a:lnTo>
                      <a:pt x="0" y="24"/>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50" name="Freeform 9">
                <a:extLst>
                  <a:ext uri="{FF2B5EF4-FFF2-40B4-BE49-F238E27FC236}">
                    <a16:creationId xmlns:a16="http://schemas.microsoft.com/office/drawing/2014/main" id="{9364A811-D662-E26F-186A-EFB5BB83B43E}"/>
                  </a:ext>
                </a:extLst>
              </p:cNvPr>
              <p:cNvSpPr>
                <a:spLocks/>
              </p:cNvSpPr>
              <p:nvPr/>
            </p:nvSpPr>
            <p:spPr bwMode="auto">
              <a:xfrm>
                <a:off x="2036" y="1824"/>
                <a:ext cx="16" cy="48"/>
              </a:xfrm>
              <a:custGeom>
                <a:avLst/>
                <a:gdLst>
                  <a:gd name="T0" fmla="*/ 0 w 16"/>
                  <a:gd name="T1" fmla="*/ 8 h 48"/>
                  <a:gd name="T2" fmla="*/ 0 w 16"/>
                  <a:gd name="T3" fmla="*/ 24 h 48"/>
                  <a:gd name="T4" fmla="*/ 8 w 16"/>
                  <a:gd name="T5" fmla="*/ 24 h 48"/>
                  <a:gd name="T6" fmla="*/ 0 w 16"/>
                  <a:gd name="T7" fmla="*/ 32 h 48"/>
                  <a:gd name="T8" fmla="*/ 8 w 16"/>
                  <a:gd name="T9" fmla="*/ 32 h 48"/>
                  <a:gd name="T10" fmla="*/ 0 w 16"/>
                  <a:gd name="T11" fmla="*/ 48 h 48"/>
                  <a:gd name="T12" fmla="*/ 16 w 16"/>
                  <a:gd name="T13" fmla="*/ 32 h 48"/>
                  <a:gd name="T14" fmla="*/ 16 w 16"/>
                  <a:gd name="T15" fmla="*/ 0 h 48"/>
                  <a:gd name="T16" fmla="*/ 8 w 16"/>
                  <a:gd name="T17" fmla="*/ 0 h 48"/>
                  <a:gd name="T18" fmla="*/ 0 w 16"/>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48">
                    <a:moveTo>
                      <a:pt x="0" y="8"/>
                    </a:moveTo>
                    <a:lnTo>
                      <a:pt x="0" y="24"/>
                    </a:lnTo>
                    <a:lnTo>
                      <a:pt x="8" y="24"/>
                    </a:lnTo>
                    <a:lnTo>
                      <a:pt x="0" y="32"/>
                    </a:lnTo>
                    <a:lnTo>
                      <a:pt x="8" y="32"/>
                    </a:lnTo>
                    <a:lnTo>
                      <a:pt x="0" y="48"/>
                    </a:lnTo>
                    <a:lnTo>
                      <a:pt x="16" y="32"/>
                    </a:lnTo>
                    <a:lnTo>
                      <a:pt x="16" y="0"/>
                    </a:lnTo>
                    <a:lnTo>
                      <a:pt x="8" y="0"/>
                    </a:lnTo>
                    <a:lnTo>
                      <a:pt x="0" y="8"/>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grpSp>
            <p:nvGrpSpPr>
              <p:cNvPr id="351" name="Group 10">
                <a:extLst>
                  <a:ext uri="{FF2B5EF4-FFF2-40B4-BE49-F238E27FC236}">
                    <a16:creationId xmlns:a16="http://schemas.microsoft.com/office/drawing/2014/main" id="{54289644-C638-DB92-A3D6-91478E025238}"/>
                  </a:ext>
                </a:extLst>
              </p:cNvPr>
              <p:cNvGrpSpPr>
                <a:grpSpLocks/>
              </p:cNvGrpSpPr>
              <p:nvPr/>
            </p:nvGrpSpPr>
            <p:grpSpPr bwMode="auto">
              <a:xfrm>
                <a:off x="2060" y="1888"/>
                <a:ext cx="176" cy="112"/>
                <a:chOff x="2060" y="1888"/>
                <a:chExt cx="176" cy="112"/>
              </a:xfrm>
              <a:grpFill/>
            </p:grpSpPr>
            <p:sp>
              <p:nvSpPr>
                <p:cNvPr id="353" name="Freeform 11">
                  <a:extLst>
                    <a:ext uri="{FF2B5EF4-FFF2-40B4-BE49-F238E27FC236}">
                      <a16:creationId xmlns:a16="http://schemas.microsoft.com/office/drawing/2014/main" id="{C9D24F73-8F6F-CAB1-B24D-0E66EB398411}"/>
                    </a:ext>
                  </a:extLst>
                </p:cNvPr>
                <p:cNvSpPr>
                  <a:spLocks/>
                </p:cNvSpPr>
                <p:nvPr/>
              </p:nvSpPr>
              <p:spPr bwMode="auto">
                <a:xfrm>
                  <a:off x="2180" y="1960"/>
                  <a:ext cx="56" cy="16"/>
                </a:xfrm>
                <a:custGeom>
                  <a:avLst/>
                  <a:gdLst>
                    <a:gd name="T0" fmla="*/ 8 w 56"/>
                    <a:gd name="T1" fmla="*/ 16 h 16"/>
                    <a:gd name="T2" fmla="*/ 48 w 56"/>
                    <a:gd name="T3" fmla="*/ 16 h 16"/>
                    <a:gd name="T4" fmla="*/ 56 w 56"/>
                    <a:gd name="T5" fmla="*/ 0 h 16"/>
                    <a:gd name="T6" fmla="*/ 40 w 56"/>
                    <a:gd name="T7" fmla="*/ 8 h 16"/>
                    <a:gd name="T8" fmla="*/ 8 w 56"/>
                    <a:gd name="T9" fmla="*/ 8 h 16"/>
                    <a:gd name="T10" fmla="*/ 0 w 56"/>
                    <a:gd name="T11" fmla="*/ 16 h 16"/>
                    <a:gd name="T12" fmla="*/ 8 w 5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56" h="16">
                      <a:moveTo>
                        <a:pt x="8" y="16"/>
                      </a:moveTo>
                      <a:lnTo>
                        <a:pt x="48" y="16"/>
                      </a:lnTo>
                      <a:lnTo>
                        <a:pt x="56" y="0"/>
                      </a:lnTo>
                      <a:lnTo>
                        <a:pt x="40" y="8"/>
                      </a:lnTo>
                      <a:lnTo>
                        <a:pt x="8" y="8"/>
                      </a:lnTo>
                      <a:lnTo>
                        <a:pt x="0" y="16"/>
                      </a:lnTo>
                      <a:lnTo>
                        <a:pt x="8" y="16"/>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54" name="Freeform 12">
                  <a:extLst>
                    <a:ext uri="{FF2B5EF4-FFF2-40B4-BE49-F238E27FC236}">
                      <a16:creationId xmlns:a16="http://schemas.microsoft.com/office/drawing/2014/main" id="{681515AB-DF4F-7881-1298-BA88A3F60F47}"/>
                    </a:ext>
                  </a:extLst>
                </p:cNvPr>
                <p:cNvSpPr>
                  <a:spLocks/>
                </p:cNvSpPr>
                <p:nvPr/>
              </p:nvSpPr>
              <p:spPr bwMode="auto">
                <a:xfrm>
                  <a:off x="2132" y="1984"/>
                  <a:ext cx="64" cy="16"/>
                </a:xfrm>
                <a:custGeom>
                  <a:avLst/>
                  <a:gdLst>
                    <a:gd name="T0" fmla="*/ 0 w 64"/>
                    <a:gd name="T1" fmla="*/ 16 h 16"/>
                    <a:gd name="T2" fmla="*/ 16 w 64"/>
                    <a:gd name="T3" fmla="*/ 16 h 16"/>
                    <a:gd name="T4" fmla="*/ 64 w 64"/>
                    <a:gd name="T5" fmla="*/ 0 h 16"/>
                    <a:gd name="T6" fmla="*/ 24 w 64"/>
                    <a:gd name="T7" fmla="*/ 0 h 16"/>
                    <a:gd name="T8" fmla="*/ 0 w 64"/>
                    <a:gd name="T9" fmla="*/ 16 h 16"/>
                  </a:gdLst>
                  <a:ahLst/>
                  <a:cxnLst>
                    <a:cxn ang="0">
                      <a:pos x="T0" y="T1"/>
                    </a:cxn>
                    <a:cxn ang="0">
                      <a:pos x="T2" y="T3"/>
                    </a:cxn>
                    <a:cxn ang="0">
                      <a:pos x="T4" y="T5"/>
                    </a:cxn>
                    <a:cxn ang="0">
                      <a:pos x="T6" y="T7"/>
                    </a:cxn>
                    <a:cxn ang="0">
                      <a:pos x="T8" y="T9"/>
                    </a:cxn>
                  </a:cxnLst>
                  <a:rect l="0" t="0" r="r" b="b"/>
                  <a:pathLst>
                    <a:path w="64" h="16">
                      <a:moveTo>
                        <a:pt x="0" y="16"/>
                      </a:moveTo>
                      <a:lnTo>
                        <a:pt x="16" y="16"/>
                      </a:lnTo>
                      <a:lnTo>
                        <a:pt x="64" y="0"/>
                      </a:lnTo>
                      <a:lnTo>
                        <a:pt x="24" y="0"/>
                      </a:lnTo>
                      <a:lnTo>
                        <a:pt x="0" y="16"/>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55" name="Freeform 13">
                  <a:extLst>
                    <a:ext uri="{FF2B5EF4-FFF2-40B4-BE49-F238E27FC236}">
                      <a16:creationId xmlns:a16="http://schemas.microsoft.com/office/drawing/2014/main" id="{A68ED31B-214F-BA97-96E1-03A4B7AFE6DD}"/>
                    </a:ext>
                  </a:extLst>
                </p:cNvPr>
                <p:cNvSpPr>
                  <a:spLocks/>
                </p:cNvSpPr>
                <p:nvPr/>
              </p:nvSpPr>
              <p:spPr bwMode="auto">
                <a:xfrm>
                  <a:off x="2076" y="1928"/>
                  <a:ext cx="120" cy="72"/>
                </a:xfrm>
                <a:custGeom>
                  <a:avLst/>
                  <a:gdLst>
                    <a:gd name="T0" fmla="*/ 72 w 120"/>
                    <a:gd name="T1" fmla="*/ 0 h 72"/>
                    <a:gd name="T2" fmla="*/ 72 w 120"/>
                    <a:gd name="T3" fmla="*/ 8 h 72"/>
                    <a:gd name="T4" fmla="*/ 40 w 120"/>
                    <a:gd name="T5" fmla="*/ 8 h 72"/>
                    <a:gd name="T6" fmla="*/ 16 w 120"/>
                    <a:gd name="T7" fmla="*/ 32 h 72"/>
                    <a:gd name="T8" fmla="*/ 32 w 120"/>
                    <a:gd name="T9" fmla="*/ 24 h 72"/>
                    <a:gd name="T10" fmla="*/ 8 w 120"/>
                    <a:gd name="T11" fmla="*/ 48 h 72"/>
                    <a:gd name="T12" fmla="*/ 0 w 120"/>
                    <a:gd name="T13" fmla="*/ 64 h 72"/>
                    <a:gd name="T14" fmla="*/ 0 w 120"/>
                    <a:gd name="T15" fmla="*/ 72 h 72"/>
                    <a:gd name="T16" fmla="*/ 8 w 120"/>
                    <a:gd name="T17" fmla="*/ 72 h 72"/>
                    <a:gd name="T18" fmla="*/ 16 w 120"/>
                    <a:gd name="T19" fmla="*/ 64 h 72"/>
                    <a:gd name="T20" fmla="*/ 32 w 120"/>
                    <a:gd name="T21" fmla="*/ 40 h 72"/>
                    <a:gd name="T22" fmla="*/ 40 w 120"/>
                    <a:gd name="T23" fmla="*/ 24 h 72"/>
                    <a:gd name="T24" fmla="*/ 64 w 120"/>
                    <a:gd name="T25" fmla="*/ 16 h 72"/>
                    <a:gd name="T26" fmla="*/ 72 w 120"/>
                    <a:gd name="T27" fmla="*/ 16 h 72"/>
                    <a:gd name="T28" fmla="*/ 72 w 120"/>
                    <a:gd name="T29" fmla="*/ 32 h 72"/>
                    <a:gd name="T30" fmla="*/ 64 w 120"/>
                    <a:gd name="T31" fmla="*/ 40 h 72"/>
                    <a:gd name="T32" fmla="*/ 72 w 120"/>
                    <a:gd name="T33" fmla="*/ 40 h 72"/>
                    <a:gd name="T34" fmla="*/ 72 w 120"/>
                    <a:gd name="T35" fmla="*/ 48 h 72"/>
                    <a:gd name="T36" fmla="*/ 80 w 120"/>
                    <a:gd name="T37" fmla="*/ 48 h 72"/>
                    <a:gd name="T38" fmla="*/ 96 w 120"/>
                    <a:gd name="T39" fmla="*/ 16 h 72"/>
                    <a:gd name="T40" fmla="*/ 112 w 120"/>
                    <a:gd name="T41" fmla="*/ 32 h 72"/>
                    <a:gd name="T42" fmla="*/ 120 w 120"/>
                    <a:gd name="T43" fmla="*/ 24 h 72"/>
                    <a:gd name="T44" fmla="*/ 112 w 120"/>
                    <a:gd name="T45" fmla="*/ 8 h 72"/>
                    <a:gd name="T46" fmla="*/ 72 w 120"/>
                    <a:gd name="T4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72">
                      <a:moveTo>
                        <a:pt x="72" y="0"/>
                      </a:moveTo>
                      <a:lnTo>
                        <a:pt x="72" y="8"/>
                      </a:lnTo>
                      <a:lnTo>
                        <a:pt x="40" y="8"/>
                      </a:lnTo>
                      <a:lnTo>
                        <a:pt x="16" y="32"/>
                      </a:lnTo>
                      <a:lnTo>
                        <a:pt x="32" y="24"/>
                      </a:lnTo>
                      <a:lnTo>
                        <a:pt x="8" y="48"/>
                      </a:lnTo>
                      <a:lnTo>
                        <a:pt x="0" y="64"/>
                      </a:lnTo>
                      <a:lnTo>
                        <a:pt x="0" y="72"/>
                      </a:lnTo>
                      <a:lnTo>
                        <a:pt x="8" y="72"/>
                      </a:lnTo>
                      <a:lnTo>
                        <a:pt x="16" y="64"/>
                      </a:lnTo>
                      <a:lnTo>
                        <a:pt x="32" y="40"/>
                      </a:lnTo>
                      <a:lnTo>
                        <a:pt x="40" y="24"/>
                      </a:lnTo>
                      <a:lnTo>
                        <a:pt x="64" y="16"/>
                      </a:lnTo>
                      <a:lnTo>
                        <a:pt x="72" y="16"/>
                      </a:lnTo>
                      <a:lnTo>
                        <a:pt x="72" y="32"/>
                      </a:lnTo>
                      <a:lnTo>
                        <a:pt x="64" y="40"/>
                      </a:lnTo>
                      <a:lnTo>
                        <a:pt x="72" y="40"/>
                      </a:lnTo>
                      <a:lnTo>
                        <a:pt x="72" y="48"/>
                      </a:lnTo>
                      <a:lnTo>
                        <a:pt x="80" y="48"/>
                      </a:lnTo>
                      <a:lnTo>
                        <a:pt x="96" y="16"/>
                      </a:lnTo>
                      <a:lnTo>
                        <a:pt x="112" y="32"/>
                      </a:lnTo>
                      <a:lnTo>
                        <a:pt x="120" y="24"/>
                      </a:lnTo>
                      <a:lnTo>
                        <a:pt x="112" y="8"/>
                      </a:lnTo>
                      <a:lnTo>
                        <a:pt x="72" y="0"/>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56" name="Freeform 14">
                  <a:extLst>
                    <a:ext uri="{FF2B5EF4-FFF2-40B4-BE49-F238E27FC236}">
                      <a16:creationId xmlns:a16="http://schemas.microsoft.com/office/drawing/2014/main" id="{C505D82A-0EE8-D8E0-DEBE-BE400FFA85A7}"/>
                    </a:ext>
                  </a:extLst>
                </p:cNvPr>
                <p:cNvSpPr>
                  <a:spLocks/>
                </p:cNvSpPr>
                <p:nvPr/>
              </p:nvSpPr>
              <p:spPr bwMode="auto">
                <a:xfrm>
                  <a:off x="2060" y="1888"/>
                  <a:ext cx="96" cy="40"/>
                </a:xfrm>
                <a:custGeom>
                  <a:avLst/>
                  <a:gdLst>
                    <a:gd name="T0" fmla="*/ 88 w 96"/>
                    <a:gd name="T1" fmla="*/ 40 h 40"/>
                    <a:gd name="T2" fmla="*/ 96 w 96"/>
                    <a:gd name="T3" fmla="*/ 16 h 40"/>
                    <a:gd name="T4" fmla="*/ 80 w 96"/>
                    <a:gd name="T5" fmla="*/ 16 h 40"/>
                    <a:gd name="T6" fmla="*/ 80 w 96"/>
                    <a:gd name="T7" fmla="*/ 8 h 40"/>
                    <a:gd name="T8" fmla="*/ 64 w 96"/>
                    <a:gd name="T9" fmla="*/ 0 h 40"/>
                    <a:gd name="T10" fmla="*/ 32 w 96"/>
                    <a:gd name="T11" fmla="*/ 16 h 40"/>
                    <a:gd name="T12" fmla="*/ 40 w 96"/>
                    <a:gd name="T13" fmla="*/ 16 h 40"/>
                    <a:gd name="T14" fmla="*/ 32 w 96"/>
                    <a:gd name="T15" fmla="*/ 16 h 40"/>
                    <a:gd name="T16" fmla="*/ 0 w 96"/>
                    <a:gd name="T17" fmla="*/ 40 h 40"/>
                    <a:gd name="T18" fmla="*/ 16 w 96"/>
                    <a:gd name="T19" fmla="*/ 32 h 40"/>
                    <a:gd name="T20" fmla="*/ 16 w 96"/>
                    <a:gd name="T21" fmla="*/ 40 h 40"/>
                    <a:gd name="T22" fmla="*/ 56 w 96"/>
                    <a:gd name="T23" fmla="*/ 24 h 40"/>
                    <a:gd name="T24" fmla="*/ 40 w 96"/>
                    <a:gd name="T25" fmla="*/ 40 h 40"/>
                    <a:gd name="T26" fmla="*/ 56 w 96"/>
                    <a:gd name="T27" fmla="*/ 32 h 40"/>
                    <a:gd name="T28" fmla="*/ 56 w 96"/>
                    <a:gd name="T29" fmla="*/ 40 h 40"/>
                    <a:gd name="T30" fmla="*/ 88 w 96"/>
                    <a:gd name="T31" fmla="*/ 40 h 40"/>
                    <a:gd name="T32" fmla="*/ 80 w 96"/>
                    <a:gd name="T33" fmla="*/ 40 h 40"/>
                    <a:gd name="T34" fmla="*/ 88 w 96"/>
                    <a:gd name="T3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40">
                      <a:moveTo>
                        <a:pt x="88" y="40"/>
                      </a:moveTo>
                      <a:lnTo>
                        <a:pt x="96" y="16"/>
                      </a:lnTo>
                      <a:lnTo>
                        <a:pt x="80" y="16"/>
                      </a:lnTo>
                      <a:lnTo>
                        <a:pt x="80" y="8"/>
                      </a:lnTo>
                      <a:lnTo>
                        <a:pt x="64" y="0"/>
                      </a:lnTo>
                      <a:lnTo>
                        <a:pt x="32" y="16"/>
                      </a:lnTo>
                      <a:lnTo>
                        <a:pt x="40" y="16"/>
                      </a:lnTo>
                      <a:lnTo>
                        <a:pt x="32" y="16"/>
                      </a:lnTo>
                      <a:lnTo>
                        <a:pt x="0" y="40"/>
                      </a:lnTo>
                      <a:lnTo>
                        <a:pt x="16" y="32"/>
                      </a:lnTo>
                      <a:lnTo>
                        <a:pt x="16" y="40"/>
                      </a:lnTo>
                      <a:lnTo>
                        <a:pt x="56" y="24"/>
                      </a:lnTo>
                      <a:lnTo>
                        <a:pt x="40" y="40"/>
                      </a:lnTo>
                      <a:lnTo>
                        <a:pt x="56" y="32"/>
                      </a:lnTo>
                      <a:lnTo>
                        <a:pt x="56" y="40"/>
                      </a:lnTo>
                      <a:lnTo>
                        <a:pt x="88" y="40"/>
                      </a:lnTo>
                      <a:lnTo>
                        <a:pt x="80" y="40"/>
                      </a:lnTo>
                      <a:lnTo>
                        <a:pt x="88" y="40"/>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grpSp>
          <p:sp>
            <p:nvSpPr>
              <p:cNvPr id="352" name="Freeform 15">
                <a:extLst>
                  <a:ext uri="{FF2B5EF4-FFF2-40B4-BE49-F238E27FC236}">
                    <a16:creationId xmlns:a16="http://schemas.microsoft.com/office/drawing/2014/main" id="{D6FFA3B8-3604-CD57-D40A-675F5777DCEA}"/>
                  </a:ext>
                </a:extLst>
              </p:cNvPr>
              <p:cNvSpPr>
                <a:spLocks/>
              </p:cNvSpPr>
              <p:nvPr/>
            </p:nvSpPr>
            <p:spPr bwMode="auto">
              <a:xfrm>
                <a:off x="2012" y="1832"/>
                <a:ext cx="16" cy="40"/>
              </a:xfrm>
              <a:custGeom>
                <a:avLst/>
                <a:gdLst>
                  <a:gd name="T0" fmla="*/ 0 w 16"/>
                  <a:gd name="T1" fmla="*/ 0 h 40"/>
                  <a:gd name="T2" fmla="*/ 0 w 16"/>
                  <a:gd name="T3" fmla="*/ 8 h 40"/>
                  <a:gd name="T4" fmla="*/ 8 w 16"/>
                  <a:gd name="T5" fmla="*/ 0 h 40"/>
                  <a:gd name="T6" fmla="*/ 8 w 16"/>
                  <a:gd name="T7" fmla="*/ 8 h 40"/>
                  <a:gd name="T8" fmla="*/ 0 w 16"/>
                  <a:gd name="T9" fmla="*/ 16 h 40"/>
                  <a:gd name="T10" fmla="*/ 8 w 16"/>
                  <a:gd name="T11" fmla="*/ 24 h 40"/>
                  <a:gd name="T12" fmla="*/ 0 w 16"/>
                  <a:gd name="T13" fmla="*/ 40 h 40"/>
                  <a:gd name="T14" fmla="*/ 8 w 16"/>
                  <a:gd name="T15" fmla="*/ 40 h 40"/>
                  <a:gd name="T16" fmla="*/ 8 w 16"/>
                  <a:gd name="T17" fmla="*/ 24 h 40"/>
                  <a:gd name="T18" fmla="*/ 16 w 16"/>
                  <a:gd name="T19" fmla="*/ 24 h 40"/>
                  <a:gd name="T20" fmla="*/ 0 w 16"/>
                  <a:gd name="T21" fmla="*/ 24 h 40"/>
                  <a:gd name="T22" fmla="*/ 16 w 16"/>
                  <a:gd name="T23" fmla="*/ 8 h 40"/>
                  <a:gd name="T24" fmla="*/ 8 w 16"/>
                  <a:gd name="T25" fmla="*/ 0 h 40"/>
                  <a:gd name="T26" fmla="*/ 0 w 16"/>
                  <a:gd name="T2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0" y="0"/>
                    </a:moveTo>
                    <a:lnTo>
                      <a:pt x="0" y="8"/>
                    </a:lnTo>
                    <a:lnTo>
                      <a:pt x="8" y="0"/>
                    </a:lnTo>
                    <a:lnTo>
                      <a:pt x="8" y="8"/>
                    </a:lnTo>
                    <a:lnTo>
                      <a:pt x="0" y="16"/>
                    </a:lnTo>
                    <a:lnTo>
                      <a:pt x="8" y="24"/>
                    </a:lnTo>
                    <a:lnTo>
                      <a:pt x="0" y="40"/>
                    </a:lnTo>
                    <a:lnTo>
                      <a:pt x="8" y="40"/>
                    </a:lnTo>
                    <a:lnTo>
                      <a:pt x="8" y="24"/>
                    </a:lnTo>
                    <a:lnTo>
                      <a:pt x="16" y="24"/>
                    </a:lnTo>
                    <a:lnTo>
                      <a:pt x="0" y="24"/>
                    </a:lnTo>
                    <a:lnTo>
                      <a:pt x="16" y="8"/>
                    </a:lnTo>
                    <a:lnTo>
                      <a:pt x="8" y="0"/>
                    </a:lnTo>
                    <a:lnTo>
                      <a:pt x="0" y="0"/>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grpSp>
        <p:grpSp>
          <p:nvGrpSpPr>
            <p:cNvPr id="11" name="Group 16">
              <a:extLst>
                <a:ext uri="{FF2B5EF4-FFF2-40B4-BE49-F238E27FC236}">
                  <a16:creationId xmlns:a16="http://schemas.microsoft.com/office/drawing/2014/main" id="{0D3CB75F-9921-B958-18EA-8C5FA772959D}"/>
                </a:ext>
              </a:extLst>
            </p:cNvPr>
            <p:cNvGrpSpPr>
              <a:grpSpLocks/>
            </p:cNvGrpSpPr>
            <p:nvPr/>
          </p:nvGrpSpPr>
          <p:grpSpPr bwMode="auto">
            <a:xfrm>
              <a:off x="4593963" y="1056296"/>
              <a:ext cx="1849705" cy="560247"/>
              <a:chOff x="3484" y="1696"/>
              <a:chExt cx="904" cy="272"/>
            </a:xfrm>
            <a:grpFill/>
          </p:grpSpPr>
          <p:sp>
            <p:nvSpPr>
              <p:cNvPr id="341" name="Freeform 17">
                <a:extLst>
                  <a:ext uri="{FF2B5EF4-FFF2-40B4-BE49-F238E27FC236}">
                    <a16:creationId xmlns:a16="http://schemas.microsoft.com/office/drawing/2014/main" id="{50949CA8-6135-1B94-B1DF-5B6F1289EAF9}"/>
                  </a:ext>
                </a:extLst>
              </p:cNvPr>
              <p:cNvSpPr>
                <a:spLocks/>
              </p:cNvSpPr>
              <p:nvPr/>
            </p:nvSpPr>
            <p:spPr bwMode="auto">
              <a:xfrm>
                <a:off x="3852" y="1928"/>
                <a:ext cx="40" cy="40"/>
              </a:xfrm>
              <a:custGeom>
                <a:avLst/>
                <a:gdLst>
                  <a:gd name="T0" fmla="*/ 0 w 40"/>
                  <a:gd name="T1" fmla="*/ 24 h 40"/>
                  <a:gd name="T2" fmla="*/ 0 w 40"/>
                  <a:gd name="T3" fmla="*/ 40 h 40"/>
                  <a:gd name="T4" fmla="*/ 32 w 40"/>
                  <a:gd name="T5" fmla="*/ 40 h 40"/>
                  <a:gd name="T6" fmla="*/ 32 w 40"/>
                  <a:gd name="T7" fmla="*/ 32 h 40"/>
                  <a:gd name="T8" fmla="*/ 32 w 40"/>
                  <a:gd name="T9" fmla="*/ 24 h 40"/>
                  <a:gd name="T10" fmla="*/ 40 w 40"/>
                  <a:gd name="T11" fmla="*/ 24 h 40"/>
                  <a:gd name="T12" fmla="*/ 24 w 40"/>
                  <a:gd name="T13" fmla="*/ 8 h 40"/>
                  <a:gd name="T14" fmla="*/ 32 w 40"/>
                  <a:gd name="T15" fmla="*/ 0 h 40"/>
                  <a:gd name="T16" fmla="*/ 16 w 40"/>
                  <a:gd name="T17" fmla="*/ 0 h 40"/>
                  <a:gd name="T18" fmla="*/ 16 w 40"/>
                  <a:gd name="T19" fmla="*/ 8 h 40"/>
                  <a:gd name="T20" fmla="*/ 8 w 40"/>
                  <a:gd name="T21" fmla="*/ 0 h 40"/>
                  <a:gd name="T22" fmla="*/ 8 w 40"/>
                  <a:gd name="T23" fmla="*/ 8 h 40"/>
                  <a:gd name="T24" fmla="*/ 0 w 40"/>
                  <a:gd name="T25" fmla="*/ 8 h 40"/>
                  <a:gd name="T26" fmla="*/ 0 w 40"/>
                  <a:gd name="T27"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0" y="24"/>
                    </a:moveTo>
                    <a:lnTo>
                      <a:pt x="0" y="40"/>
                    </a:lnTo>
                    <a:lnTo>
                      <a:pt x="32" y="40"/>
                    </a:lnTo>
                    <a:lnTo>
                      <a:pt x="32" y="32"/>
                    </a:lnTo>
                    <a:lnTo>
                      <a:pt x="32" y="24"/>
                    </a:lnTo>
                    <a:lnTo>
                      <a:pt x="40" y="24"/>
                    </a:lnTo>
                    <a:lnTo>
                      <a:pt x="24" y="8"/>
                    </a:lnTo>
                    <a:lnTo>
                      <a:pt x="32" y="0"/>
                    </a:lnTo>
                    <a:lnTo>
                      <a:pt x="16" y="0"/>
                    </a:lnTo>
                    <a:lnTo>
                      <a:pt x="16" y="8"/>
                    </a:lnTo>
                    <a:lnTo>
                      <a:pt x="8" y="0"/>
                    </a:lnTo>
                    <a:lnTo>
                      <a:pt x="8" y="8"/>
                    </a:lnTo>
                    <a:lnTo>
                      <a:pt x="0" y="8"/>
                    </a:lnTo>
                    <a:lnTo>
                      <a:pt x="0" y="24"/>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42" name="Freeform 18">
                <a:extLst>
                  <a:ext uri="{FF2B5EF4-FFF2-40B4-BE49-F238E27FC236}">
                    <a16:creationId xmlns:a16="http://schemas.microsoft.com/office/drawing/2014/main" id="{228BF9E0-5824-A92C-CFB9-B6922D86DCBB}"/>
                  </a:ext>
                </a:extLst>
              </p:cNvPr>
              <p:cNvSpPr>
                <a:spLocks/>
              </p:cNvSpPr>
              <p:nvPr/>
            </p:nvSpPr>
            <p:spPr bwMode="auto">
              <a:xfrm>
                <a:off x="4028" y="1928"/>
                <a:ext cx="64" cy="24"/>
              </a:xfrm>
              <a:custGeom>
                <a:avLst/>
                <a:gdLst>
                  <a:gd name="T0" fmla="*/ 0 w 64"/>
                  <a:gd name="T1" fmla="*/ 16 h 24"/>
                  <a:gd name="T2" fmla="*/ 8 w 64"/>
                  <a:gd name="T3" fmla="*/ 24 h 24"/>
                  <a:gd name="T4" fmla="*/ 8 w 64"/>
                  <a:gd name="T5" fmla="*/ 8 h 24"/>
                  <a:gd name="T6" fmla="*/ 16 w 64"/>
                  <a:gd name="T7" fmla="*/ 0 h 24"/>
                  <a:gd name="T8" fmla="*/ 40 w 64"/>
                  <a:gd name="T9" fmla="*/ 0 h 24"/>
                  <a:gd name="T10" fmla="*/ 48 w 64"/>
                  <a:gd name="T11" fmla="*/ 0 h 24"/>
                  <a:gd name="T12" fmla="*/ 64 w 64"/>
                  <a:gd name="T13" fmla="*/ 0 h 24"/>
                  <a:gd name="T14" fmla="*/ 8 w 64"/>
                  <a:gd name="T15" fmla="*/ 0 h 24"/>
                  <a:gd name="T16" fmla="*/ 0 w 64"/>
                  <a:gd name="T17" fmla="*/ 8 h 24"/>
                  <a:gd name="T18" fmla="*/ 0 w 64"/>
                  <a:gd name="T19"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24">
                    <a:moveTo>
                      <a:pt x="0" y="16"/>
                    </a:moveTo>
                    <a:lnTo>
                      <a:pt x="8" y="24"/>
                    </a:lnTo>
                    <a:lnTo>
                      <a:pt x="8" y="8"/>
                    </a:lnTo>
                    <a:lnTo>
                      <a:pt x="16" y="0"/>
                    </a:lnTo>
                    <a:lnTo>
                      <a:pt x="40" y="0"/>
                    </a:lnTo>
                    <a:lnTo>
                      <a:pt x="48" y="0"/>
                    </a:lnTo>
                    <a:lnTo>
                      <a:pt x="64" y="0"/>
                    </a:lnTo>
                    <a:lnTo>
                      <a:pt x="8" y="0"/>
                    </a:lnTo>
                    <a:lnTo>
                      <a:pt x="0" y="8"/>
                    </a:lnTo>
                    <a:lnTo>
                      <a:pt x="0" y="16"/>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43" name="Freeform 19">
                <a:extLst>
                  <a:ext uri="{FF2B5EF4-FFF2-40B4-BE49-F238E27FC236}">
                    <a16:creationId xmlns:a16="http://schemas.microsoft.com/office/drawing/2014/main" id="{46BEAFB8-A52F-52EA-971E-4B2BEE52304E}"/>
                  </a:ext>
                </a:extLst>
              </p:cNvPr>
              <p:cNvSpPr>
                <a:spLocks/>
              </p:cNvSpPr>
              <p:nvPr/>
            </p:nvSpPr>
            <p:spPr bwMode="auto">
              <a:xfrm>
                <a:off x="4348" y="1792"/>
                <a:ext cx="40" cy="64"/>
              </a:xfrm>
              <a:custGeom>
                <a:avLst/>
                <a:gdLst>
                  <a:gd name="T0" fmla="*/ 0 w 40"/>
                  <a:gd name="T1" fmla="*/ 64 h 64"/>
                  <a:gd name="T2" fmla="*/ 8 w 40"/>
                  <a:gd name="T3" fmla="*/ 64 h 64"/>
                  <a:gd name="T4" fmla="*/ 24 w 40"/>
                  <a:gd name="T5" fmla="*/ 64 h 64"/>
                  <a:gd name="T6" fmla="*/ 24 w 40"/>
                  <a:gd name="T7" fmla="*/ 56 h 64"/>
                  <a:gd name="T8" fmla="*/ 40 w 40"/>
                  <a:gd name="T9" fmla="*/ 48 h 64"/>
                  <a:gd name="T10" fmla="*/ 40 w 40"/>
                  <a:gd name="T11" fmla="*/ 24 h 64"/>
                  <a:gd name="T12" fmla="*/ 32 w 40"/>
                  <a:gd name="T13" fmla="*/ 0 h 64"/>
                  <a:gd name="T14" fmla="*/ 24 w 40"/>
                  <a:gd name="T15" fmla="*/ 0 h 64"/>
                  <a:gd name="T16" fmla="*/ 32 w 40"/>
                  <a:gd name="T17" fmla="*/ 24 h 64"/>
                  <a:gd name="T18" fmla="*/ 16 w 40"/>
                  <a:gd name="T19" fmla="*/ 56 h 64"/>
                  <a:gd name="T20" fmla="*/ 0 w 40"/>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64">
                    <a:moveTo>
                      <a:pt x="0" y="64"/>
                    </a:moveTo>
                    <a:lnTo>
                      <a:pt x="8" y="64"/>
                    </a:lnTo>
                    <a:lnTo>
                      <a:pt x="24" y="64"/>
                    </a:lnTo>
                    <a:lnTo>
                      <a:pt x="24" y="56"/>
                    </a:lnTo>
                    <a:lnTo>
                      <a:pt x="40" y="48"/>
                    </a:lnTo>
                    <a:lnTo>
                      <a:pt x="40" y="24"/>
                    </a:lnTo>
                    <a:lnTo>
                      <a:pt x="32" y="0"/>
                    </a:lnTo>
                    <a:lnTo>
                      <a:pt x="24" y="0"/>
                    </a:lnTo>
                    <a:lnTo>
                      <a:pt x="32" y="24"/>
                    </a:lnTo>
                    <a:lnTo>
                      <a:pt x="16" y="56"/>
                    </a:lnTo>
                    <a:lnTo>
                      <a:pt x="0" y="64"/>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44" name="Freeform 20">
                <a:extLst>
                  <a:ext uri="{FF2B5EF4-FFF2-40B4-BE49-F238E27FC236}">
                    <a16:creationId xmlns:a16="http://schemas.microsoft.com/office/drawing/2014/main" id="{90AC4E6E-2018-5E90-E408-A048356D9183}"/>
                  </a:ext>
                </a:extLst>
              </p:cNvPr>
              <p:cNvSpPr>
                <a:spLocks/>
              </p:cNvSpPr>
              <p:nvPr/>
            </p:nvSpPr>
            <p:spPr bwMode="auto">
              <a:xfrm>
                <a:off x="3484" y="1712"/>
                <a:ext cx="32" cy="24"/>
              </a:xfrm>
              <a:custGeom>
                <a:avLst/>
                <a:gdLst>
                  <a:gd name="T0" fmla="*/ 0 w 32"/>
                  <a:gd name="T1" fmla="*/ 8 h 24"/>
                  <a:gd name="T2" fmla="*/ 16 w 32"/>
                  <a:gd name="T3" fmla="*/ 24 h 24"/>
                  <a:gd name="T4" fmla="*/ 32 w 32"/>
                  <a:gd name="T5" fmla="*/ 16 h 24"/>
                  <a:gd name="T6" fmla="*/ 24 w 32"/>
                  <a:gd name="T7" fmla="*/ 8 h 24"/>
                  <a:gd name="T8" fmla="*/ 16 w 32"/>
                  <a:gd name="T9" fmla="*/ 0 h 24"/>
                  <a:gd name="T10" fmla="*/ 8 w 32"/>
                  <a:gd name="T11" fmla="*/ 0 h 24"/>
                  <a:gd name="T12" fmla="*/ 0 w 32"/>
                  <a:gd name="T13" fmla="*/ 8 h 24"/>
                </a:gdLst>
                <a:ahLst/>
                <a:cxnLst>
                  <a:cxn ang="0">
                    <a:pos x="T0" y="T1"/>
                  </a:cxn>
                  <a:cxn ang="0">
                    <a:pos x="T2" y="T3"/>
                  </a:cxn>
                  <a:cxn ang="0">
                    <a:pos x="T4" y="T5"/>
                  </a:cxn>
                  <a:cxn ang="0">
                    <a:pos x="T6" y="T7"/>
                  </a:cxn>
                  <a:cxn ang="0">
                    <a:pos x="T8" y="T9"/>
                  </a:cxn>
                  <a:cxn ang="0">
                    <a:pos x="T10" y="T11"/>
                  </a:cxn>
                  <a:cxn ang="0">
                    <a:pos x="T12" y="T13"/>
                  </a:cxn>
                </a:cxnLst>
                <a:rect l="0" t="0" r="r" b="b"/>
                <a:pathLst>
                  <a:path w="32" h="24">
                    <a:moveTo>
                      <a:pt x="0" y="8"/>
                    </a:moveTo>
                    <a:lnTo>
                      <a:pt x="16" y="24"/>
                    </a:lnTo>
                    <a:lnTo>
                      <a:pt x="32" y="16"/>
                    </a:lnTo>
                    <a:lnTo>
                      <a:pt x="24" y="8"/>
                    </a:lnTo>
                    <a:lnTo>
                      <a:pt x="16" y="0"/>
                    </a:lnTo>
                    <a:lnTo>
                      <a:pt x="8" y="0"/>
                    </a:lnTo>
                    <a:lnTo>
                      <a:pt x="0" y="8"/>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45" name="Freeform 21">
                <a:extLst>
                  <a:ext uri="{FF2B5EF4-FFF2-40B4-BE49-F238E27FC236}">
                    <a16:creationId xmlns:a16="http://schemas.microsoft.com/office/drawing/2014/main" id="{697E1E7B-5E7B-F32A-FF09-9C671924728F}"/>
                  </a:ext>
                </a:extLst>
              </p:cNvPr>
              <p:cNvSpPr>
                <a:spLocks/>
              </p:cNvSpPr>
              <p:nvPr/>
            </p:nvSpPr>
            <p:spPr bwMode="auto">
              <a:xfrm>
                <a:off x="3524" y="1696"/>
                <a:ext cx="24" cy="24"/>
              </a:xfrm>
              <a:custGeom>
                <a:avLst/>
                <a:gdLst>
                  <a:gd name="T0" fmla="*/ 8 w 24"/>
                  <a:gd name="T1" fmla="*/ 16 h 24"/>
                  <a:gd name="T2" fmla="*/ 16 w 24"/>
                  <a:gd name="T3" fmla="*/ 16 h 24"/>
                  <a:gd name="T4" fmla="*/ 16 w 24"/>
                  <a:gd name="T5" fmla="*/ 24 h 24"/>
                  <a:gd name="T6" fmla="*/ 24 w 24"/>
                  <a:gd name="T7" fmla="*/ 24 h 24"/>
                  <a:gd name="T8" fmla="*/ 16 w 24"/>
                  <a:gd name="T9" fmla="*/ 8 h 24"/>
                  <a:gd name="T10" fmla="*/ 8 w 24"/>
                  <a:gd name="T11" fmla="*/ 0 h 24"/>
                  <a:gd name="T12" fmla="*/ 0 w 24"/>
                  <a:gd name="T13" fmla="*/ 0 h 24"/>
                  <a:gd name="T14" fmla="*/ 16 w 24"/>
                  <a:gd name="T15" fmla="*/ 8 h 24"/>
                  <a:gd name="T16" fmla="*/ 8 w 24"/>
                  <a:gd name="T17" fmla="*/ 8 h 24"/>
                  <a:gd name="T18" fmla="*/ 8 w 24"/>
                  <a:gd name="T19"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8" y="16"/>
                    </a:moveTo>
                    <a:lnTo>
                      <a:pt x="16" y="16"/>
                    </a:lnTo>
                    <a:lnTo>
                      <a:pt x="16" y="24"/>
                    </a:lnTo>
                    <a:lnTo>
                      <a:pt x="24" y="24"/>
                    </a:lnTo>
                    <a:lnTo>
                      <a:pt x="16" y="8"/>
                    </a:lnTo>
                    <a:lnTo>
                      <a:pt x="8" y="0"/>
                    </a:lnTo>
                    <a:lnTo>
                      <a:pt x="0" y="0"/>
                    </a:lnTo>
                    <a:lnTo>
                      <a:pt x="16" y="8"/>
                    </a:lnTo>
                    <a:lnTo>
                      <a:pt x="8" y="8"/>
                    </a:lnTo>
                    <a:lnTo>
                      <a:pt x="8" y="16"/>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grpSp>
        <p:grpSp>
          <p:nvGrpSpPr>
            <p:cNvPr id="12" name="Group 22">
              <a:extLst>
                <a:ext uri="{FF2B5EF4-FFF2-40B4-BE49-F238E27FC236}">
                  <a16:creationId xmlns:a16="http://schemas.microsoft.com/office/drawing/2014/main" id="{17C535DA-D65F-2051-1526-79CDCC875AC5}"/>
                </a:ext>
              </a:extLst>
            </p:cNvPr>
            <p:cNvGrpSpPr>
              <a:grpSpLocks/>
            </p:cNvGrpSpPr>
            <p:nvPr/>
          </p:nvGrpSpPr>
          <p:grpSpPr bwMode="auto">
            <a:xfrm>
              <a:off x="4233353" y="2537718"/>
              <a:ext cx="605551" cy="889451"/>
              <a:chOff x="3308" y="2416"/>
              <a:chExt cx="296" cy="432"/>
            </a:xfrm>
            <a:grpFill/>
          </p:grpSpPr>
          <p:sp>
            <p:nvSpPr>
              <p:cNvPr id="337" name="Freeform 23">
                <a:extLst>
                  <a:ext uri="{FF2B5EF4-FFF2-40B4-BE49-F238E27FC236}">
                    <a16:creationId xmlns:a16="http://schemas.microsoft.com/office/drawing/2014/main" id="{B3BD88FC-1A58-4BB4-C797-9D8CBAD4AB67}"/>
                  </a:ext>
                </a:extLst>
              </p:cNvPr>
              <p:cNvSpPr>
                <a:spLocks/>
              </p:cNvSpPr>
              <p:nvPr/>
            </p:nvSpPr>
            <p:spPr bwMode="auto">
              <a:xfrm>
                <a:off x="3308" y="2416"/>
                <a:ext cx="32" cy="24"/>
              </a:xfrm>
              <a:custGeom>
                <a:avLst/>
                <a:gdLst>
                  <a:gd name="T0" fmla="*/ 0 w 32"/>
                  <a:gd name="T1" fmla="*/ 0 h 24"/>
                  <a:gd name="T2" fmla="*/ 16 w 32"/>
                  <a:gd name="T3" fmla="*/ 24 h 24"/>
                  <a:gd name="T4" fmla="*/ 32 w 32"/>
                  <a:gd name="T5" fmla="*/ 16 h 24"/>
                  <a:gd name="T6" fmla="*/ 32 w 32"/>
                  <a:gd name="T7" fmla="*/ 8 h 24"/>
                  <a:gd name="T8" fmla="*/ 16 w 32"/>
                  <a:gd name="T9" fmla="*/ 8 h 24"/>
                  <a:gd name="T10" fmla="*/ 16 w 32"/>
                  <a:gd name="T11" fmla="*/ 0 h 24"/>
                  <a:gd name="T12" fmla="*/ 0 w 32"/>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32" h="24">
                    <a:moveTo>
                      <a:pt x="0" y="0"/>
                    </a:moveTo>
                    <a:lnTo>
                      <a:pt x="16" y="24"/>
                    </a:lnTo>
                    <a:lnTo>
                      <a:pt x="32" y="16"/>
                    </a:lnTo>
                    <a:lnTo>
                      <a:pt x="32" y="8"/>
                    </a:lnTo>
                    <a:lnTo>
                      <a:pt x="16" y="8"/>
                    </a:lnTo>
                    <a:lnTo>
                      <a:pt x="16" y="0"/>
                    </a:lnTo>
                    <a:lnTo>
                      <a:pt x="0" y="0"/>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38" name="Freeform 24">
                <a:extLst>
                  <a:ext uri="{FF2B5EF4-FFF2-40B4-BE49-F238E27FC236}">
                    <a16:creationId xmlns:a16="http://schemas.microsoft.com/office/drawing/2014/main" id="{39524B9E-BCFE-CC68-7A89-25C6FACE7327}"/>
                  </a:ext>
                </a:extLst>
              </p:cNvPr>
              <p:cNvSpPr>
                <a:spLocks/>
              </p:cNvSpPr>
              <p:nvPr/>
            </p:nvSpPr>
            <p:spPr bwMode="auto">
              <a:xfrm>
                <a:off x="3556" y="2624"/>
                <a:ext cx="40" cy="48"/>
              </a:xfrm>
              <a:custGeom>
                <a:avLst/>
                <a:gdLst>
                  <a:gd name="T0" fmla="*/ 0 w 40"/>
                  <a:gd name="T1" fmla="*/ 40 h 48"/>
                  <a:gd name="T2" fmla="*/ 8 w 40"/>
                  <a:gd name="T3" fmla="*/ 48 h 48"/>
                  <a:gd name="T4" fmla="*/ 8 w 40"/>
                  <a:gd name="T5" fmla="*/ 40 h 48"/>
                  <a:gd name="T6" fmla="*/ 24 w 40"/>
                  <a:gd name="T7" fmla="*/ 48 h 48"/>
                  <a:gd name="T8" fmla="*/ 32 w 40"/>
                  <a:gd name="T9" fmla="*/ 40 h 48"/>
                  <a:gd name="T10" fmla="*/ 24 w 40"/>
                  <a:gd name="T11" fmla="*/ 40 h 48"/>
                  <a:gd name="T12" fmla="*/ 40 w 40"/>
                  <a:gd name="T13" fmla="*/ 16 h 48"/>
                  <a:gd name="T14" fmla="*/ 32 w 40"/>
                  <a:gd name="T15" fmla="*/ 8 h 48"/>
                  <a:gd name="T16" fmla="*/ 24 w 40"/>
                  <a:gd name="T17" fmla="*/ 0 h 48"/>
                  <a:gd name="T18" fmla="*/ 8 w 40"/>
                  <a:gd name="T19" fmla="*/ 8 h 48"/>
                  <a:gd name="T20" fmla="*/ 0 w 40"/>
                  <a:gd name="T21"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48">
                    <a:moveTo>
                      <a:pt x="0" y="40"/>
                    </a:moveTo>
                    <a:lnTo>
                      <a:pt x="8" y="48"/>
                    </a:lnTo>
                    <a:lnTo>
                      <a:pt x="8" y="40"/>
                    </a:lnTo>
                    <a:lnTo>
                      <a:pt x="24" y="48"/>
                    </a:lnTo>
                    <a:lnTo>
                      <a:pt x="32" y="40"/>
                    </a:lnTo>
                    <a:lnTo>
                      <a:pt x="24" y="40"/>
                    </a:lnTo>
                    <a:lnTo>
                      <a:pt x="40" y="16"/>
                    </a:lnTo>
                    <a:lnTo>
                      <a:pt x="32" y="8"/>
                    </a:lnTo>
                    <a:lnTo>
                      <a:pt x="24" y="0"/>
                    </a:lnTo>
                    <a:lnTo>
                      <a:pt x="8" y="8"/>
                    </a:lnTo>
                    <a:lnTo>
                      <a:pt x="0" y="40"/>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39" name="Freeform 25">
                <a:extLst>
                  <a:ext uri="{FF2B5EF4-FFF2-40B4-BE49-F238E27FC236}">
                    <a16:creationId xmlns:a16="http://schemas.microsoft.com/office/drawing/2014/main" id="{E1C65FD9-9E94-2D89-FF4E-2FDF6E5B1BAD}"/>
                  </a:ext>
                </a:extLst>
              </p:cNvPr>
              <p:cNvSpPr>
                <a:spLocks/>
              </p:cNvSpPr>
              <p:nvPr/>
            </p:nvSpPr>
            <p:spPr bwMode="auto">
              <a:xfrm>
                <a:off x="3524" y="2680"/>
                <a:ext cx="24" cy="80"/>
              </a:xfrm>
              <a:custGeom>
                <a:avLst/>
                <a:gdLst>
                  <a:gd name="T0" fmla="*/ 0 w 24"/>
                  <a:gd name="T1" fmla="*/ 40 h 80"/>
                  <a:gd name="T2" fmla="*/ 16 w 24"/>
                  <a:gd name="T3" fmla="*/ 64 h 80"/>
                  <a:gd name="T4" fmla="*/ 16 w 24"/>
                  <a:gd name="T5" fmla="*/ 80 h 80"/>
                  <a:gd name="T6" fmla="*/ 24 w 24"/>
                  <a:gd name="T7" fmla="*/ 80 h 80"/>
                  <a:gd name="T8" fmla="*/ 24 w 24"/>
                  <a:gd name="T9" fmla="*/ 56 h 80"/>
                  <a:gd name="T10" fmla="*/ 8 w 24"/>
                  <a:gd name="T11" fmla="*/ 48 h 80"/>
                  <a:gd name="T12" fmla="*/ 16 w 24"/>
                  <a:gd name="T13" fmla="*/ 40 h 80"/>
                  <a:gd name="T14" fmla="*/ 0 w 24"/>
                  <a:gd name="T15" fmla="*/ 0 h 80"/>
                  <a:gd name="T16" fmla="*/ 0 w 24"/>
                  <a:gd name="T17" fmla="*/ 8 h 80"/>
                  <a:gd name="T18" fmla="*/ 0 w 24"/>
                  <a:gd name="T19" fmla="*/ 4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80">
                    <a:moveTo>
                      <a:pt x="0" y="40"/>
                    </a:moveTo>
                    <a:lnTo>
                      <a:pt x="16" y="64"/>
                    </a:lnTo>
                    <a:lnTo>
                      <a:pt x="16" y="80"/>
                    </a:lnTo>
                    <a:lnTo>
                      <a:pt x="24" y="80"/>
                    </a:lnTo>
                    <a:lnTo>
                      <a:pt x="24" y="56"/>
                    </a:lnTo>
                    <a:lnTo>
                      <a:pt x="8" y="48"/>
                    </a:lnTo>
                    <a:lnTo>
                      <a:pt x="16" y="40"/>
                    </a:lnTo>
                    <a:lnTo>
                      <a:pt x="0" y="0"/>
                    </a:lnTo>
                    <a:lnTo>
                      <a:pt x="0" y="8"/>
                    </a:lnTo>
                    <a:lnTo>
                      <a:pt x="0" y="40"/>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40" name="Freeform 26">
                <a:extLst>
                  <a:ext uri="{FF2B5EF4-FFF2-40B4-BE49-F238E27FC236}">
                    <a16:creationId xmlns:a16="http://schemas.microsoft.com/office/drawing/2014/main" id="{12BB015E-A51D-CD8B-B000-F90FA53023ED}"/>
                  </a:ext>
                </a:extLst>
              </p:cNvPr>
              <p:cNvSpPr>
                <a:spLocks/>
              </p:cNvSpPr>
              <p:nvPr/>
            </p:nvSpPr>
            <p:spPr bwMode="auto">
              <a:xfrm>
                <a:off x="3588" y="2776"/>
                <a:ext cx="16" cy="72"/>
              </a:xfrm>
              <a:custGeom>
                <a:avLst/>
                <a:gdLst>
                  <a:gd name="T0" fmla="*/ 0 w 16"/>
                  <a:gd name="T1" fmla="*/ 40 h 72"/>
                  <a:gd name="T2" fmla="*/ 8 w 16"/>
                  <a:gd name="T3" fmla="*/ 56 h 72"/>
                  <a:gd name="T4" fmla="*/ 16 w 16"/>
                  <a:gd name="T5" fmla="*/ 72 h 72"/>
                  <a:gd name="T6" fmla="*/ 8 w 16"/>
                  <a:gd name="T7" fmla="*/ 48 h 72"/>
                  <a:gd name="T8" fmla="*/ 16 w 16"/>
                  <a:gd name="T9" fmla="*/ 32 h 72"/>
                  <a:gd name="T10" fmla="*/ 8 w 16"/>
                  <a:gd name="T11" fmla="*/ 8 h 72"/>
                  <a:gd name="T12" fmla="*/ 0 w 16"/>
                  <a:gd name="T13" fmla="*/ 0 h 72"/>
                  <a:gd name="T14" fmla="*/ 8 w 16"/>
                  <a:gd name="T15" fmla="*/ 32 h 72"/>
                  <a:gd name="T16" fmla="*/ 0 w 16"/>
                  <a:gd name="T17"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72">
                    <a:moveTo>
                      <a:pt x="0" y="40"/>
                    </a:moveTo>
                    <a:lnTo>
                      <a:pt x="8" y="56"/>
                    </a:lnTo>
                    <a:lnTo>
                      <a:pt x="16" y="72"/>
                    </a:lnTo>
                    <a:lnTo>
                      <a:pt x="8" y="48"/>
                    </a:lnTo>
                    <a:lnTo>
                      <a:pt x="16" y="32"/>
                    </a:lnTo>
                    <a:lnTo>
                      <a:pt x="8" y="8"/>
                    </a:lnTo>
                    <a:lnTo>
                      <a:pt x="0" y="0"/>
                    </a:lnTo>
                    <a:lnTo>
                      <a:pt x="8" y="32"/>
                    </a:lnTo>
                    <a:lnTo>
                      <a:pt x="0" y="40"/>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grpSp>
        <p:sp>
          <p:nvSpPr>
            <p:cNvPr id="13" name="Freeform 27">
              <a:extLst>
                <a:ext uri="{FF2B5EF4-FFF2-40B4-BE49-F238E27FC236}">
                  <a16:creationId xmlns:a16="http://schemas.microsoft.com/office/drawing/2014/main" id="{311CCBEB-2129-93ED-EEE1-D7E4C6DED7D1}"/>
                </a:ext>
              </a:extLst>
            </p:cNvPr>
            <p:cNvSpPr>
              <a:spLocks/>
            </p:cNvSpPr>
            <p:nvPr/>
          </p:nvSpPr>
          <p:spPr bwMode="auto">
            <a:xfrm>
              <a:off x="3480533" y="2587550"/>
              <a:ext cx="196841" cy="164600"/>
            </a:xfrm>
            <a:custGeom>
              <a:avLst/>
              <a:gdLst>
                <a:gd name="T0" fmla="*/ 80 w 96"/>
                <a:gd name="T1" fmla="*/ 80 h 80"/>
                <a:gd name="T2" fmla="*/ 88 w 96"/>
                <a:gd name="T3" fmla="*/ 72 h 80"/>
                <a:gd name="T4" fmla="*/ 88 w 96"/>
                <a:gd name="T5" fmla="*/ 64 h 80"/>
                <a:gd name="T6" fmla="*/ 96 w 96"/>
                <a:gd name="T7" fmla="*/ 64 h 80"/>
                <a:gd name="T8" fmla="*/ 88 w 96"/>
                <a:gd name="T9" fmla="*/ 48 h 80"/>
                <a:gd name="T10" fmla="*/ 88 w 96"/>
                <a:gd name="T11" fmla="*/ 32 h 80"/>
                <a:gd name="T12" fmla="*/ 72 w 96"/>
                <a:gd name="T13" fmla="*/ 0 h 80"/>
                <a:gd name="T14" fmla="*/ 56 w 96"/>
                <a:gd name="T15" fmla="*/ 8 h 80"/>
                <a:gd name="T16" fmla="*/ 48 w 96"/>
                <a:gd name="T17" fmla="*/ 0 h 80"/>
                <a:gd name="T18" fmla="*/ 16 w 96"/>
                <a:gd name="T19" fmla="*/ 0 h 80"/>
                <a:gd name="T20" fmla="*/ 16 w 96"/>
                <a:gd name="T21" fmla="*/ 16 h 80"/>
                <a:gd name="T22" fmla="*/ 0 w 96"/>
                <a:gd name="T23" fmla="*/ 16 h 80"/>
                <a:gd name="T24" fmla="*/ 0 w 96"/>
                <a:gd name="T25" fmla="*/ 24 h 80"/>
                <a:gd name="T26" fmla="*/ 16 w 96"/>
                <a:gd name="T27" fmla="*/ 48 h 80"/>
                <a:gd name="T28" fmla="*/ 32 w 96"/>
                <a:gd name="T29" fmla="*/ 40 h 80"/>
                <a:gd name="T30" fmla="*/ 48 w 96"/>
                <a:gd name="T31" fmla="*/ 40 h 80"/>
                <a:gd name="T32" fmla="*/ 56 w 96"/>
                <a:gd name="T33" fmla="*/ 56 h 80"/>
                <a:gd name="T34" fmla="*/ 56 w 96"/>
                <a:gd name="T35" fmla="*/ 64 h 80"/>
                <a:gd name="T36" fmla="*/ 64 w 96"/>
                <a:gd name="T37" fmla="*/ 64 h 80"/>
                <a:gd name="T38" fmla="*/ 72 w 96"/>
                <a:gd name="T39" fmla="*/ 80 h 80"/>
                <a:gd name="T40" fmla="*/ 80 w 96"/>
                <a:gd name="T4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80">
                  <a:moveTo>
                    <a:pt x="80" y="80"/>
                  </a:moveTo>
                  <a:lnTo>
                    <a:pt x="88" y="72"/>
                  </a:lnTo>
                  <a:lnTo>
                    <a:pt x="88" y="64"/>
                  </a:lnTo>
                  <a:lnTo>
                    <a:pt x="96" y="64"/>
                  </a:lnTo>
                  <a:lnTo>
                    <a:pt x="88" y="48"/>
                  </a:lnTo>
                  <a:lnTo>
                    <a:pt x="88" y="32"/>
                  </a:lnTo>
                  <a:lnTo>
                    <a:pt x="72" y="0"/>
                  </a:lnTo>
                  <a:lnTo>
                    <a:pt x="56" y="8"/>
                  </a:lnTo>
                  <a:lnTo>
                    <a:pt x="48" y="0"/>
                  </a:lnTo>
                  <a:lnTo>
                    <a:pt x="16" y="0"/>
                  </a:lnTo>
                  <a:lnTo>
                    <a:pt x="16" y="16"/>
                  </a:lnTo>
                  <a:lnTo>
                    <a:pt x="0" y="16"/>
                  </a:lnTo>
                  <a:lnTo>
                    <a:pt x="0" y="24"/>
                  </a:lnTo>
                  <a:lnTo>
                    <a:pt x="16" y="48"/>
                  </a:lnTo>
                  <a:lnTo>
                    <a:pt x="32" y="40"/>
                  </a:lnTo>
                  <a:lnTo>
                    <a:pt x="48" y="40"/>
                  </a:lnTo>
                  <a:lnTo>
                    <a:pt x="56" y="56"/>
                  </a:lnTo>
                  <a:lnTo>
                    <a:pt x="56" y="64"/>
                  </a:lnTo>
                  <a:lnTo>
                    <a:pt x="64" y="64"/>
                  </a:lnTo>
                  <a:lnTo>
                    <a:pt x="72" y="80"/>
                  </a:lnTo>
                  <a:lnTo>
                    <a:pt x="80" y="8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4" name="Freeform 28">
              <a:extLst>
                <a:ext uri="{FF2B5EF4-FFF2-40B4-BE49-F238E27FC236}">
                  <a16:creationId xmlns:a16="http://schemas.microsoft.com/office/drawing/2014/main" id="{2A6AE411-A7D9-11D9-3BB2-F932A152D479}"/>
                </a:ext>
              </a:extLst>
            </p:cNvPr>
            <p:cNvSpPr>
              <a:spLocks/>
            </p:cNvSpPr>
            <p:nvPr/>
          </p:nvSpPr>
          <p:spPr bwMode="auto">
            <a:xfrm>
              <a:off x="4216810" y="2818587"/>
              <a:ext cx="524407" cy="576860"/>
            </a:xfrm>
            <a:custGeom>
              <a:avLst/>
              <a:gdLst>
                <a:gd name="T0" fmla="*/ 144 w 256"/>
                <a:gd name="T1" fmla="*/ 8 h 280"/>
                <a:gd name="T2" fmla="*/ 136 w 256"/>
                <a:gd name="T3" fmla="*/ 16 h 280"/>
                <a:gd name="T4" fmla="*/ 112 w 256"/>
                <a:gd name="T5" fmla="*/ 8 h 280"/>
                <a:gd name="T6" fmla="*/ 104 w 256"/>
                <a:gd name="T7" fmla="*/ 0 h 280"/>
                <a:gd name="T8" fmla="*/ 96 w 256"/>
                <a:gd name="T9" fmla="*/ 0 h 280"/>
                <a:gd name="T10" fmla="*/ 88 w 256"/>
                <a:gd name="T11" fmla="*/ 24 h 280"/>
                <a:gd name="T12" fmla="*/ 80 w 256"/>
                <a:gd name="T13" fmla="*/ 48 h 280"/>
                <a:gd name="T14" fmla="*/ 72 w 256"/>
                <a:gd name="T15" fmla="*/ 88 h 280"/>
                <a:gd name="T16" fmla="*/ 56 w 256"/>
                <a:gd name="T17" fmla="*/ 112 h 280"/>
                <a:gd name="T18" fmla="*/ 48 w 256"/>
                <a:gd name="T19" fmla="*/ 136 h 280"/>
                <a:gd name="T20" fmla="*/ 32 w 256"/>
                <a:gd name="T21" fmla="*/ 152 h 280"/>
                <a:gd name="T22" fmla="*/ 24 w 256"/>
                <a:gd name="T23" fmla="*/ 144 h 280"/>
                <a:gd name="T24" fmla="*/ 16 w 256"/>
                <a:gd name="T25" fmla="*/ 152 h 280"/>
                <a:gd name="T26" fmla="*/ 8 w 256"/>
                <a:gd name="T27" fmla="*/ 152 h 280"/>
                <a:gd name="T28" fmla="*/ 0 w 256"/>
                <a:gd name="T29" fmla="*/ 152 h 280"/>
                <a:gd name="T30" fmla="*/ 0 w 256"/>
                <a:gd name="T31" fmla="*/ 168 h 280"/>
                <a:gd name="T32" fmla="*/ 0 w 256"/>
                <a:gd name="T33" fmla="*/ 176 h 280"/>
                <a:gd name="T34" fmla="*/ 16 w 256"/>
                <a:gd name="T35" fmla="*/ 168 h 280"/>
                <a:gd name="T36" fmla="*/ 48 w 256"/>
                <a:gd name="T37" fmla="*/ 168 h 280"/>
                <a:gd name="T38" fmla="*/ 56 w 256"/>
                <a:gd name="T39" fmla="*/ 168 h 280"/>
                <a:gd name="T40" fmla="*/ 64 w 256"/>
                <a:gd name="T41" fmla="*/ 192 h 280"/>
                <a:gd name="T42" fmla="*/ 72 w 256"/>
                <a:gd name="T43" fmla="*/ 200 h 280"/>
                <a:gd name="T44" fmla="*/ 96 w 256"/>
                <a:gd name="T45" fmla="*/ 200 h 280"/>
                <a:gd name="T46" fmla="*/ 96 w 256"/>
                <a:gd name="T47" fmla="*/ 184 h 280"/>
                <a:gd name="T48" fmla="*/ 112 w 256"/>
                <a:gd name="T49" fmla="*/ 184 h 280"/>
                <a:gd name="T50" fmla="*/ 128 w 256"/>
                <a:gd name="T51" fmla="*/ 192 h 280"/>
                <a:gd name="T52" fmla="*/ 128 w 256"/>
                <a:gd name="T53" fmla="*/ 224 h 280"/>
                <a:gd name="T54" fmla="*/ 136 w 256"/>
                <a:gd name="T55" fmla="*/ 240 h 280"/>
                <a:gd name="T56" fmla="*/ 128 w 256"/>
                <a:gd name="T57" fmla="*/ 248 h 280"/>
                <a:gd name="T58" fmla="*/ 160 w 256"/>
                <a:gd name="T59" fmla="*/ 240 h 280"/>
                <a:gd name="T60" fmla="*/ 184 w 256"/>
                <a:gd name="T61" fmla="*/ 256 h 280"/>
                <a:gd name="T62" fmla="*/ 192 w 256"/>
                <a:gd name="T63" fmla="*/ 256 h 280"/>
                <a:gd name="T64" fmla="*/ 216 w 256"/>
                <a:gd name="T65" fmla="*/ 272 h 280"/>
                <a:gd name="T66" fmla="*/ 232 w 256"/>
                <a:gd name="T67" fmla="*/ 280 h 280"/>
                <a:gd name="T68" fmla="*/ 232 w 256"/>
                <a:gd name="T69" fmla="*/ 264 h 280"/>
                <a:gd name="T70" fmla="*/ 224 w 256"/>
                <a:gd name="T71" fmla="*/ 264 h 280"/>
                <a:gd name="T72" fmla="*/ 216 w 256"/>
                <a:gd name="T73" fmla="*/ 256 h 280"/>
                <a:gd name="T74" fmla="*/ 224 w 256"/>
                <a:gd name="T75" fmla="*/ 216 h 280"/>
                <a:gd name="T76" fmla="*/ 224 w 256"/>
                <a:gd name="T77" fmla="*/ 208 h 280"/>
                <a:gd name="T78" fmla="*/ 240 w 256"/>
                <a:gd name="T79" fmla="*/ 200 h 280"/>
                <a:gd name="T80" fmla="*/ 248 w 256"/>
                <a:gd name="T81" fmla="*/ 200 h 280"/>
                <a:gd name="T82" fmla="*/ 232 w 256"/>
                <a:gd name="T83" fmla="*/ 176 h 280"/>
                <a:gd name="T84" fmla="*/ 232 w 256"/>
                <a:gd name="T85" fmla="*/ 144 h 280"/>
                <a:gd name="T86" fmla="*/ 232 w 256"/>
                <a:gd name="T87" fmla="*/ 128 h 280"/>
                <a:gd name="T88" fmla="*/ 224 w 256"/>
                <a:gd name="T89" fmla="*/ 120 h 280"/>
                <a:gd name="T90" fmla="*/ 224 w 256"/>
                <a:gd name="T91" fmla="*/ 112 h 280"/>
                <a:gd name="T92" fmla="*/ 232 w 256"/>
                <a:gd name="T93" fmla="*/ 96 h 280"/>
                <a:gd name="T94" fmla="*/ 240 w 256"/>
                <a:gd name="T95" fmla="*/ 72 h 280"/>
                <a:gd name="T96" fmla="*/ 248 w 256"/>
                <a:gd name="T97" fmla="*/ 56 h 280"/>
                <a:gd name="T98" fmla="*/ 256 w 256"/>
                <a:gd name="T99" fmla="*/ 48 h 280"/>
                <a:gd name="T100" fmla="*/ 248 w 256"/>
                <a:gd name="T101" fmla="*/ 40 h 280"/>
                <a:gd name="T102" fmla="*/ 248 w 256"/>
                <a:gd name="T103" fmla="*/ 24 h 280"/>
                <a:gd name="T104" fmla="*/ 232 w 256"/>
                <a:gd name="T105" fmla="*/ 8 h 280"/>
                <a:gd name="T106" fmla="*/ 216 w 256"/>
                <a:gd name="T107" fmla="*/ 8 h 280"/>
                <a:gd name="T108" fmla="*/ 208 w 256"/>
                <a:gd name="T109" fmla="*/ 0 h 280"/>
                <a:gd name="T110" fmla="*/ 144 w 256"/>
                <a:gd name="T111" fmla="*/ 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280">
                  <a:moveTo>
                    <a:pt x="144" y="8"/>
                  </a:moveTo>
                  <a:lnTo>
                    <a:pt x="136" y="16"/>
                  </a:lnTo>
                  <a:lnTo>
                    <a:pt x="112" y="8"/>
                  </a:lnTo>
                  <a:lnTo>
                    <a:pt x="104" y="0"/>
                  </a:lnTo>
                  <a:lnTo>
                    <a:pt x="96" y="0"/>
                  </a:lnTo>
                  <a:lnTo>
                    <a:pt x="88" y="24"/>
                  </a:lnTo>
                  <a:lnTo>
                    <a:pt x="80" y="48"/>
                  </a:lnTo>
                  <a:lnTo>
                    <a:pt x="72" y="88"/>
                  </a:lnTo>
                  <a:lnTo>
                    <a:pt x="56" y="112"/>
                  </a:lnTo>
                  <a:lnTo>
                    <a:pt x="48" y="136"/>
                  </a:lnTo>
                  <a:lnTo>
                    <a:pt x="32" y="152"/>
                  </a:lnTo>
                  <a:lnTo>
                    <a:pt x="24" y="144"/>
                  </a:lnTo>
                  <a:lnTo>
                    <a:pt x="16" y="152"/>
                  </a:lnTo>
                  <a:lnTo>
                    <a:pt x="8" y="152"/>
                  </a:lnTo>
                  <a:lnTo>
                    <a:pt x="0" y="152"/>
                  </a:lnTo>
                  <a:lnTo>
                    <a:pt x="0" y="168"/>
                  </a:lnTo>
                  <a:lnTo>
                    <a:pt x="0" y="176"/>
                  </a:lnTo>
                  <a:lnTo>
                    <a:pt x="16" y="168"/>
                  </a:lnTo>
                  <a:lnTo>
                    <a:pt x="48" y="168"/>
                  </a:lnTo>
                  <a:lnTo>
                    <a:pt x="56" y="168"/>
                  </a:lnTo>
                  <a:lnTo>
                    <a:pt x="64" y="192"/>
                  </a:lnTo>
                  <a:lnTo>
                    <a:pt x="72" y="200"/>
                  </a:lnTo>
                  <a:lnTo>
                    <a:pt x="96" y="200"/>
                  </a:lnTo>
                  <a:lnTo>
                    <a:pt x="96" y="184"/>
                  </a:lnTo>
                  <a:lnTo>
                    <a:pt x="112" y="184"/>
                  </a:lnTo>
                  <a:lnTo>
                    <a:pt x="128" y="192"/>
                  </a:lnTo>
                  <a:lnTo>
                    <a:pt x="128" y="224"/>
                  </a:lnTo>
                  <a:lnTo>
                    <a:pt x="136" y="240"/>
                  </a:lnTo>
                  <a:lnTo>
                    <a:pt x="128" y="248"/>
                  </a:lnTo>
                  <a:lnTo>
                    <a:pt x="160" y="240"/>
                  </a:lnTo>
                  <a:lnTo>
                    <a:pt x="184" y="256"/>
                  </a:lnTo>
                  <a:lnTo>
                    <a:pt x="192" y="256"/>
                  </a:lnTo>
                  <a:lnTo>
                    <a:pt x="216" y="272"/>
                  </a:lnTo>
                  <a:lnTo>
                    <a:pt x="232" y="280"/>
                  </a:lnTo>
                  <a:lnTo>
                    <a:pt x="232" y="264"/>
                  </a:lnTo>
                  <a:lnTo>
                    <a:pt x="224" y="264"/>
                  </a:lnTo>
                  <a:lnTo>
                    <a:pt x="216" y="256"/>
                  </a:lnTo>
                  <a:lnTo>
                    <a:pt x="224" y="216"/>
                  </a:lnTo>
                  <a:lnTo>
                    <a:pt x="224" y="208"/>
                  </a:lnTo>
                  <a:lnTo>
                    <a:pt x="240" y="200"/>
                  </a:lnTo>
                  <a:lnTo>
                    <a:pt x="248" y="200"/>
                  </a:lnTo>
                  <a:lnTo>
                    <a:pt x="232" y="176"/>
                  </a:lnTo>
                  <a:lnTo>
                    <a:pt x="232" y="144"/>
                  </a:lnTo>
                  <a:lnTo>
                    <a:pt x="232" y="128"/>
                  </a:lnTo>
                  <a:lnTo>
                    <a:pt x="224" y="120"/>
                  </a:lnTo>
                  <a:lnTo>
                    <a:pt x="224" y="112"/>
                  </a:lnTo>
                  <a:lnTo>
                    <a:pt x="232" y="96"/>
                  </a:lnTo>
                  <a:lnTo>
                    <a:pt x="240" y="72"/>
                  </a:lnTo>
                  <a:lnTo>
                    <a:pt x="248" y="56"/>
                  </a:lnTo>
                  <a:lnTo>
                    <a:pt x="256" y="48"/>
                  </a:lnTo>
                  <a:lnTo>
                    <a:pt x="248" y="40"/>
                  </a:lnTo>
                  <a:lnTo>
                    <a:pt x="248" y="24"/>
                  </a:lnTo>
                  <a:lnTo>
                    <a:pt x="232" y="8"/>
                  </a:lnTo>
                  <a:lnTo>
                    <a:pt x="216" y="8"/>
                  </a:lnTo>
                  <a:lnTo>
                    <a:pt x="208" y="0"/>
                  </a:lnTo>
                  <a:lnTo>
                    <a:pt x="144"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5" name="Freeform 29">
              <a:extLst>
                <a:ext uri="{FF2B5EF4-FFF2-40B4-BE49-F238E27FC236}">
                  <a16:creationId xmlns:a16="http://schemas.microsoft.com/office/drawing/2014/main" id="{1C247BED-8DF5-128A-BFD3-DFF6D1F0CBE0}"/>
                </a:ext>
              </a:extLst>
            </p:cNvPr>
            <p:cNvSpPr>
              <a:spLocks/>
            </p:cNvSpPr>
            <p:nvPr/>
          </p:nvSpPr>
          <p:spPr bwMode="auto">
            <a:xfrm>
              <a:off x="4282923" y="2637377"/>
              <a:ext cx="359122" cy="246149"/>
            </a:xfrm>
            <a:custGeom>
              <a:avLst/>
              <a:gdLst>
                <a:gd name="T0" fmla="*/ 0 w 176"/>
                <a:gd name="T1" fmla="*/ 96 h 120"/>
                <a:gd name="T2" fmla="*/ 0 w 176"/>
                <a:gd name="T3" fmla="*/ 80 h 120"/>
                <a:gd name="T4" fmla="*/ 8 w 176"/>
                <a:gd name="T5" fmla="*/ 56 h 120"/>
                <a:gd name="T6" fmla="*/ 48 w 176"/>
                <a:gd name="T7" fmla="*/ 48 h 120"/>
                <a:gd name="T8" fmla="*/ 56 w 176"/>
                <a:gd name="T9" fmla="*/ 40 h 120"/>
                <a:gd name="T10" fmla="*/ 56 w 176"/>
                <a:gd name="T11" fmla="*/ 32 h 120"/>
                <a:gd name="T12" fmla="*/ 80 w 176"/>
                <a:gd name="T13" fmla="*/ 24 h 120"/>
                <a:gd name="T14" fmla="*/ 96 w 176"/>
                <a:gd name="T15" fmla="*/ 8 h 120"/>
                <a:gd name="T16" fmla="*/ 104 w 176"/>
                <a:gd name="T17" fmla="*/ 0 h 120"/>
                <a:gd name="T18" fmla="*/ 120 w 176"/>
                <a:gd name="T19" fmla="*/ 16 h 120"/>
                <a:gd name="T20" fmla="*/ 120 w 176"/>
                <a:gd name="T21" fmla="*/ 32 h 120"/>
                <a:gd name="T22" fmla="*/ 136 w 176"/>
                <a:gd name="T23" fmla="*/ 40 h 120"/>
                <a:gd name="T24" fmla="*/ 176 w 176"/>
                <a:gd name="T25" fmla="*/ 88 h 120"/>
                <a:gd name="T26" fmla="*/ 112 w 176"/>
                <a:gd name="T27" fmla="*/ 96 h 120"/>
                <a:gd name="T28" fmla="*/ 104 w 176"/>
                <a:gd name="T29" fmla="*/ 104 h 120"/>
                <a:gd name="T30" fmla="*/ 80 w 176"/>
                <a:gd name="T31" fmla="*/ 96 h 120"/>
                <a:gd name="T32" fmla="*/ 72 w 176"/>
                <a:gd name="T33" fmla="*/ 88 h 120"/>
                <a:gd name="T34" fmla="*/ 64 w 176"/>
                <a:gd name="T35" fmla="*/ 88 h 120"/>
                <a:gd name="T36" fmla="*/ 56 w 176"/>
                <a:gd name="T37" fmla="*/ 112 h 120"/>
                <a:gd name="T38" fmla="*/ 40 w 176"/>
                <a:gd name="T39" fmla="*/ 112 h 120"/>
                <a:gd name="T40" fmla="*/ 32 w 176"/>
                <a:gd name="T41" fmla="*/ 112 h 120"/>
                <a:gd name="T42" fmla="*/ 24 w 176"/>
                <a:gd name="T43" fmla="*/ 112 h 120"/>
                <a:gd name="T44" fmla="*/ 16 w 176"/>
                <a:gd name="T45" fmla="*/ 120 h 120"/>
                <a:gd name="T46" fmla="*/ 0 w 176"/>
                <a:gd name="T47" fmla="*/ 9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6" h="120">
                  <a:moveTo>
                    <a:pt x="0" y="96"/>
                  </a:moveTo>
                  <a:lnTo>
                    <a:pt x="0" y="80"/>
                  </a:lnTo>
                  <a:lnTo>
                    <a:pt x="8" y="56"/>
                  </a:lnTo>
                  <a:lnTo>
                    <a:pt x="48" y="48"/>
                  </a:lnTo>
                  <a:lnTo>
                    <a:pt x="56" y="40"/>
                  </a:lnTo>
                  <a:lnTo>
                    <a:pt x="56" y="32"/>
                  </a:lnTo>
                  <a:lnTo>
                    <a:pt x="80" y="24"/>
                  </a:lnTo>
                  <a:lnTo>
                    <a:pt x="96" y="8"/>
                  </a:lnTo>
                  <a:lnTo>
                    <a:pt x="104" y="0"/>
                  </a:lnTo>
                  <a:lnTo>
                    <a:pt x="120" y="16"/>
                  </a:lnTo>
                  <a:lnTo>
                    <a:pt x="120" y="32"/>
                  </a:lnTo>
                  <a:lnTo>
                    <a:pt x="136" y="40"/>
                  </a:lnTo>
                  <a:lnTo>
                    <a:pt x="176" y="88"/>
                  </a:lnTo>
                  <a:lnTo>
                    <a:pt x="112" y="96"/>
                  </a:lnTo>
                  <a:lnTo>
                    <a:pt x="104" y="104"/>
                  </a:lnTo>
                  <a:lnTo>
                    <a:pt x="80" y="96"/>
                  </a:lnTo>
                  <a:lnTo>
                    <a:pt x="72" y="88"/>
                  </a:lnTo>
                  <a:lnTo>
                    <a:pt x="64" y="88"/>
                  </a:lnTo>
                  <a:lnTo>
                    <a:pt x="56" y="112"/>
                  </a:lnTo>
                  <a:lnTo>
                    <a:pt x="40" y="112"/>
                  </a:lnTo>
                  <a:lnTo>
                    <a:pt x="32" y="112"/>
                  </a:lnTo>
                  <a:lnTo>
                    <a:pt x="24" y="112"/>
                  </a:lnTo>
                  <a:lnTo>
                    <a:pt x="16" y="120"/>
                  </a:lnTo>
                  <a:lnTo>
                    <a:pt x="0" y="9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6" name="Freeform 30">
              <a:extLst>
                <a:ext uri="{FF2B5EF4-FFF2-40B4-BE49-F238E27FC236}">
                  <a16:creationId xmlns:a16="http://schemas.microsoft.com/office/drawing/2014/main" id="{D152BC4C-2627-ABB7-1F48-48C9DDB4F99D}"/>
                </a:ext>
              </a:extLst>
            </p:cNvPr>
            <p:cNvSpPr>
              <a:spLocks/>
            </p:cNvSpPr>
            <p:nvPr/>
          </p:nvSpPr>
          <p:spPr bwMode="auto">
            <a:xfrm>
              <a:off x="4789315" y="2522606"/>
              <a:ext cx="393682" cy="345814"/>
            </a:xfrm>
            <a:custGeom>
              <a:avLst/>
              <a:gdLst>
                <a:gd name="T0" fmla="*/ 120 w 192"/>
                <a:gd name="T1" fmla="*/ 40 h 168"/>
                <a:gd name="T2" fmla="*/ 112 w 192"/>
                <a:gd name="T3" fmla="*/ 56 h 168"/>
                <a:gd name="T4" fmla="*/ 128 w 192"/>
                <a:gd name="T5" fmla="*/ 56 h 168"/>
                <a:gd name="T6" fmla="*/ 128 w 192"/>
                <a:gd name="T7" fmla="*/ 64 h 168"/>
                <a:gd name="T8" fmla="*/ 144 w 192"/>
                <a:gd name="T9" fmla="*/ 88 h 168"/>
                <a:gd name="T10" fmla="*/ 184 w 192"/>
                <a:gd name="T11" fmla="*/ 104 h 168"/>
                <a:gd name="T12" fmla="*/ 192 w 192"/>
                <a:gd name="T13" fmla="*/ 104 h 168"/>
                <a:gd name="T14" fmla="*/ 160 w 192"/>
                <a:gd name="T15" fmla="*/ 144 h 168"/>
                <a:gd name="T16" fmla="*/ 136 w 192"/>
                <a:gd name="T17" fmla="*/ 152 h 168"/>
                <a:gd name="T18" fmla="*/ 112 w 192"/>
                <a:gd name="T19" fmla="*/ 160 h 168"/>
                <a:gd name="T20" fmla="*/ 104 w 192"/>
                <a:gd name="T21" fmla="*/ 160 h 168"/>
                <a:gd name="T22" fmla="*/ 80 w 192"/>
                <a:gd name="T23" fmla="*/ 168 h 168"/>
                <a:gd name="T24" fmla="*/ 64 w 192"/>
                <a:gd name="T25" fmla="*/ 168 h 168"/>
                <a:gd name="T26" fmla="*/ 48 w 192"/>
                <a:gd name="T27" fmla="*/ 152 h 168"/>
                <a:gd name="T28" fmla="*/ 32 w 192"/>
                <a:gd name="T29" fmla="*/ 152 h 168"/>
                <a:gd name="T30" fmla="*/ 32 w 192"/>
                <a:gd name="T31" fmla="*/ 144 h 168"/>
                <a:gd name="T32" fmla="*/ 24 w 192"/>
                <a:gd name="T33" fmla="*/ 136 h 168"/>
                <a:gd name="T34" fmla="*/ 8 w 192"/>
                <a:gd name="T35" fmla="*/ 112 h 168"/>
                <a:gd name="T36" fmla="*/ 0 w 192"/>
                <a:gd name="T37" fmla="*/ 104 h 168"/>
                <a:gd name="T38" fmla="*/ 0 w 192"/>
                <a:gd name="T39" fmla="*/ 96 h 168"/>
                <a:gd name="T40" fmla="*/ 8 w 192"/>
                <a:gd name="T41" fmla="*/ 96 h 168"/>
                <a:gd name="T42" fmla="*/ 16 w 192"/>
                <a:gd name="T43" fmla="*/ 64 h 168"/>
                <a:gd name="T44" fmla="*/ 40 w 192"/>
                <a:gd name="T45" fmla="*/ 24 h 168"/>
                <a:gd name="T46" fmla="*/ 40 w 192"/>
                <a:gd name="T47" fmla="*/ 8 h 168"/>
                <a:gd name="T48" fmla="*/ 48 w 192"/>
                <a:gd name="T49" fmla="*/ 8 h 168"/>
                <a:gd name="T50" fmla="*/ 56 w 192"/>
                <a:gd name="T51" fmla="*/ 8 h 168"/>
                <a:gd name="T52" fmla="*/ 56 w 192"/>
                <a:gd name="T53" fmla="*/ 0 h 168"/>
                <a:gd name="T54" fmla="*/ 64 w 192"/>
                <a:gd name="T55" fmla="*/ 8 h 168"/>
                <a:gd name="T56" fmla="*/ 72 w 192"/>
                <a:gd name="T57" fmla="*/ 0 h 168"/>
                <a:gd name="T58" fmla="*/ 88 w 192"/>
                <a:gd name="T59" fmla="*/ 8 h 168"/>
                <a:gd name="T60" fmla="*/ 120 w 192"/>
                <a:gd name="T61" fmla="*/ 4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2" h="168">
                  <a:moveTo>
                    <a:pt x="120" y="40"/>
                  </a:moveTo>
                  <a:lnTo>
                    <a:pt x="112" y="56"/>
                  </a:lnTo>
                  <a:lnTo>
                    <a:pt x="128" y="56"/>
                  </a:lnTo>
                  <a:lnTo>
                    <a:pt x="128" y="64"/>
                  </a:lnTo>
                  <a:lnTo>
                    <a:pt x="144" y="88"/>
                  </a:lnTo>
                  <a:lnTo>
                    <a:pt x="184" y="104"/>
                  </a:lnTo>
                  <a:lnTo>
                    <a:pt x="192" y="104"/>
                  </a:lnTo>
                  <a:lnTo>
                    <a:pt x="160" y="144"/>
                  </a:lnTo>
                  <a:lnTo>
                    <a:pt x="136" y="152"/>
                  </a:lnTo>
                  <a:lnTo>
                    <a:pt x="112" y="160"/>
                  </a:lnTo>
                  <a:lnTo>
                    <a:pt x="104" y="160"/>
                  </a:lnTo>
                  <a:lnTo>
                    <a:pt x="80" y="168"/>
                  </a:lnTo>
                  <a:lnTo>
                    <a:pt x="64" y="168"/>
                  </a:lnTo>
                  <a:lnTo>
                    <a:pt x="48" y="152"/>
                  </a:lnTo>
                  <a:lnTo>
                    <a:pt x="32" y="152"/>
                  </a:lnTo>
                  <a:lnTo>
                    <a:pt x="32" y="144"/>
                  </a:lnTo>
                  <a:lnTo>
                    <a:pt x="24" y="136"/>
                  </a:lnTo>
                  <a:lnTo>
                    <a:pt x="8" y="112"/>
                  </a:lnTo>
                  <a:lnTo>
                    <a:pt x="0" y="104"/>
                  </a:lnTo>
                  <a:lnTo>
                    <a:pt x="0" y="96"/>
                  </a:lnTo>
                  <a:lnTo>
                    <a:pt x="8" y="96"/>
                  </a:lnTo>
                  <a:lnTo>
                    <a:pt x="16" y="64"/>
                  </a:lnTo>
                  <a:lnTo>
                    <a:pt x="40" y="24"/>
                  </a:lnTo>
                  <a:lnTo>
                    <a:pt x="40" y="8"/>
                  </a:lnTo>
                  <a:lnTo>
                    <a:pt x="48" y="8"/>
                  </a:lnTo>
                  <a:lnTo>
                    <a:pt x="56" y="8"/>
                  </a:lnTo>
                  <a:lnTo>
                    <a:pt x="56" y="0"/>
                  </a:lnTo>
                  <a:lnTo>
                    <a:pt x="64" y="8"/>
                  </a:lnTo>
                  <a:lnTo>
                    <a:pt x="72" y="0"/>
                  </a:lnTo>
                  <a:lnTo>
                    <a:pt x="88" y="8"/>
                  </a:lnTo>
                  <a:lnTo>
                    <a:pt x="120" y="4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7" name="Freeform 31">
              <a:extLst>
                <a:ext uri="{FF2B5EF4-FFF2-40B4-BE49-F238E27FC236}">
                  <a16:creationId xmlns:a16="http://schemas.microsoft.com/office/drawing/2014/main" id="{E0C7DB78-A13E-69DB-B0CB-424A0EF15F46}"/>
                </a:ext>
              </a:extLst>
            </p:cNvPr>
            <p:cNvSpPr>
              <a:spLocks/>
            </p:cNvSpPr>
            <p:nvPr/>
          </p:nvSpPr>
          <p:spPr bwMode="auto">
            <a:xfrm>
              <a:off x="4871946" y="2422939"/>
              <a:ext cx="180312" cy="181212"/>
            </a:xfrm>
            <a:custGeom>
              <a:avLst/>
              <a:gdLst>
                <a:gd name="T0" fmla="*/ 80 w 88"/>
                <a:gd name="T1" fmla="*/ 88 h 88"/>
                <a:gd name="T2" fmla="*/ 88 w 88"/>
                <a:gd name="T3" fmla="*/ 80 h 88"/>
                <a:gd name="T4" fmla="*/ 64 w 88"/>
                <a:gd name="T5" fmla="*/ 48 h 88"/>
                <a:gd name="T6" fmla="*/ 40 w 88"/>
                <a:gd name="T7" fmla="*/ 32 h 88"/>
                <a:gd name="T8" fmla="*/ 24 w 88"/>
                <a:gd name="T9" fmla="*/ 0 h 88"/>
                <a:gd name="T10" fmla="*/ 24 w 88"/>
                <a:gd name="T11" fmla="*/ 8 h 88"/>
                <a:gd name="T12" fmla="*/ 8 w 88"/>
                <a:gd name="T13" fmla="*/ 16 h 88"/>
                <a:gd name="T14" fmla="*/ 0 w 88"/>
                <a:gd name="T15" fmla="*/ 56 h 88"/>
                <a:gd name="T16" fmla="*/ 8 w 88"/>
                <a:gd name="T17" fmla="*/ 56 h 88"/>
                <a:gd name="T18" fmla="*/ 16 w 88"/>
                <a:gd name="T19" fmla="*/ 56 h 88"/>
                <a:gd name="T20" fmla="*/ 16 w 88"/>
                <a:gd name="T21" fmla="*/ 48 h 88"/>
                <a:gd name="T22" fmla="*/ 24 w 88"/>
                <a:gd name="T23" fmla="*/ 56 h 88"/>
                <a:gd name="T24" fmla="*/ 32 w 88"/>
                <a:gd name="T25" fmla="*/ 48 h 88"/>
                <a:gd name="T26" fmla="*/ 48 w 88"/>
                <a:gd name="T27" fmla="*/ 56 h 88"/>
                <a:gd name="T28" fmla="*/ 80 w 88"/>
                <a:gd name="T2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88">
                  <a:moveTo>
                    <a:pt x="80" y="88"/>
                  </a:moveTo>
                  <a:lnTo>
                    <a:pt x="88" y="80"/>
                  </a:lnTo>
                  <a:lnTo>
                    <a:pt x="64" y="48"/>
                  </a:lnTo>
                  <a:lnTo>
                    <a:pt x="40" y="32"/>
                  </a:lnTo>
                  <a:lnTo>
                    <a:pt x="24" y="0"/>
                  </a:lnTo>
                  <a:lnTo>
                    <a:pt x="24" y="8"/>
                  </a:lnTo>
                  <a:lnTo>
                    <a:pt x="8" y="16"/>
                  </a:lnTo>
                  <a:lnTo>
                    <a:pt x="0" y="56"/>
                  </a:lnTo>
                  <a:lnTo>
                    <a:pt x="8" y="56"/>
                  </a:lnTo>
                  <a:lnTo>
                    <a:pt x="16" y="56"/>
                  </a:lnTo>
                  <a:lnTo>
                    <a:pt x="16" y="48"/>
                  </a:lnTo>
                  <a:lnTo>
                    <a:pt x="24" y="56"/>
                  </a:lnTo>
                  <a:lnTo>
                    <a:pt x="32" y="48"/>
                  </a:lnTo>
                  <a:lnTo>
                    <a:pt x="48" y="56"/>
                  </a:lnTo>
                  <a:lnTo>
                    <a:pt x="80" y="8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8" name="Freeform 32">
              <a:extLst>
                <a:ext uri="{FF2B5EF4-FFF2-40B4-BE49-F238E27FC236}">
                  <a16:creationId xmlns:a16="http://schemas.microsoft.com/office/drawing/2014/main" id="{B6A6BD54-F455-4131-3F6F-84D2748F19CF}"/>
                </a:ext>
              </a:extLst>
            </p:cNvPr>
            <p:cNvSpPr>
              <a:spLocks/>
            </p:cNvSpPr>
            <p:nvPr/>
          </p:nvSpPr>
          <p:spPr bwMode="auto">
            <a:xfrm>
              <a:off x="4478268" y="2258346"/>
              <a:ext cx="443266" cy="610082"/>
            </a:xfrm>
            <a:custGeom>
              <a:avLst/>
              <a:gdLst>
                <a:gd name="T0" fmla="*/ 192 w 216"/>
                <a:gd name="T1" fmla="*/ 136 h 296"/>
                <a:gd name="T2" fmla="*/ 200 w 216"/>
                <a:gd name="T3" fmla="*/ 96 h 296"/>
                <a:gd name="T4" fmla="*/ 216 w 216"/>
                <a:gd name="T5" fmla="*/ 88 h 296"/>
                <a:gd name="T6" fmla="*/ 216 w 216"/>
                <a:gd name="T7" fmla="*/ 80 h 296"/>
                <a:gd name="T8" fmla="*/ 208 w 216"/>
                <a:gd name="T9" fmla="*/ 72 h 296"/>
                <a:gd name="T10" fmla="*/ 192 w 216"/>
                <a:gd name="T11" fmla="*/ 16 h 296"/>
                <a:gd name="T12" fmla="*/ 176 w 216"/>
                <a:gd name="T13" fmla="*/ 8 h 296"/>
                <a:gd name="T14" fmla="*/ 176 w 216"/>
                <a:gd name="T15" fmla="*/ 0 h 296"/>
                <a:gd name="T16" fmla="*/ 160 w 216"/>
                <a:gd name="T17" fmla="*/ 16 h 296"/>
                <a:gd name="T18" fmla="*/ 144 w 216"/>
                <a:gd name="T19" fmla="*/ 16 h 296"/>
                <a:gd name="T20" fmla="*/ 40 w 216"/>
                <a:gd name="T21" fmla="*/ 16 h 296"/>
                <a:gd name="T22" fmla="*/ 40 w 216"/>
                <a:gd name="T23" fmla="*/ 48 h 296"/>
                <a:gd name="T24" fmla="*/ 24 w 216"/>
                <a:gd name="T25" fmla="*/ 48 h 296"/>
                <a:gd name="T26" fmla="*/ 24 w 216"/>
                <a:gd name="T27" fmla="*/ 56 h 296"/>
                <a:gd name="T28" fmla="*/ 24 w 216"/>
                <a:gd name="T29" fmla="*/ 104 h 296"/>
                <a:gd name="T30" fmla="*/ 24 w 216"/>
                <a:gd name="T31" fmla="*/ 112 h 296"/>
                <a:gd name="T32" fmla="*/ 16 w 216"/>
                <a:gd name="T33" fmla="*/ 112 h 296"/>
                <a:gd name="T34" fmla="*/ 0 w 216"/>
                <a:gd name="T35" fmla="*/ 152 h 296"/>
                <a:gd name="T36" fmla="*/ 16 w 216"/>
                <a:gd name="T37" fmla="*/ 176 h 296"/>
                <a:gd name="T38" fmla="*/ 8 w 216"/>
                <a:gd name="T39" fmla="*/ 184 h 296"/>
                <a:gd name="T40" fmla="*/ 24 w 216"/>
                <a:gd name="T41" fmla="*/ 200 h 296"/>
                <a:gd name="T42" fmla="*/ 24 w 216"/>
                <a:gd name="T43" fmla="*/ 216 h 296"/>
                <a:gd name="T44" fmla="*/ 40 w 216"/>
                <a:gd name="T45" fmla="*/ 224 h 296"/>
                <a:gd name="T46" fmla="*/ 80 w 216"/>
                <a:gd name="T47" fmla="*/ 272 h 296"/>
                <a:gd name="T48" fmla="*/ 88 w 216"/>
                <a:gd name="T49" fmla="*/ 280 h 296"/>
                <a:gd name="T50" fmla="*/ 104 w 216"/>
                <a:gd name="T51" fmla="*/ 280 h 296"/>
                <a:gd name="T52" fmla="*/ 120 w 216"/>
                <a:gd name="T53" fmla="*/ 296 h 296"/>
                <a:gd name="T54" fmla="*/ 136 w 216"/>
                <a:gd name="T55" fmla="*/ 296 h 296"/>
                <a:gd name="T56" fmla="*/ 160 w 216"/>
                <a:gd name="T57" fmla="*/ 288 h 296"/>
                <a:gd name="T58" fmla="*/ 168 w 216"/>
                <a:gd name="T59" fmla="*/ 280 h 296"/>
                <a:gd name="T60" fmla="*/ 184 w 216"/>
                <a:gd name="T61" fmla="*/ 280 h 296"/>
                <a:gd name="T62" fmla="*/ 184 w 216"/>
                <a:gd name="T63" fmla="*/ 272 h 296"/>
                <a:gd name="T64" fmla="*/ 176 w 216"/>
                <a:gd name="T65" fmla="*/ 264 h 296"/>
                <a:gd name="T66" fmla="*/ 160 w 216"/>
                <a:gd name="T67" fmla="*/ 240 h 296"/>
                <a:gd name="T68" fmla="*/ 152 w 216"/>
                <a:gd name="T69" fmla="*/ 232 h 296"/>
                <a:gd name="T70" fmla="*/ 152 w 216"/>
                <a:gd name="T71" fmla="*/ 224 h 296"/>
                <a:gd name="T72" fmla="*/ 160 w 216"/>
                <a:gd name="T73" fmla="*/ 224 h 296"/>
                <a:gd name="T74" fmla="*/ 168 w 216"/>
                <a:gd name="T75" fmla="*/ 192 h 296"/>
                <a:gd name="T76" fmla="*/ 192 w 216"/>
                <a:gd name="T77" fmla="*/ 152 h 296"/>
                <a:gd name="T78" fmla="*/ 192 w 216"/>
                <a:gd name="T79"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6" h="296">
                  <a:moveTo>
                    <a:pt x="192" y="136"/>
                  </a:moveTo>
                  <a:lnTo>
                    <a:pt x="200" y="96"/>
                  </a:lnTo>
                  <a:lnTo>
                    <a:pt x="216" y="88"/>
                  </a:lnTo>
                  <a:lnTo>
                    <a:pt x="216" y="80"/>
                  </a:lnTo>
                  <a:lnTo>
                    <a:pt x="208" y="72"/>
                  </a:lnTo>
                  <a:lnTo>
                    <a:pt x="192" y="16"/>
                  </a:lnTo>
                  <a:lnTo>
                    <a:pt x="176" y="8"/>
                  </a:lnTo>
                  <a:lnTo>
                    <a:pt x="176" y="0"/>
                  </a:lnTo>
                  <a:lnTo>
                    <a:pt x="160" y="16"/>
                  </a:lnTo>
                  <a:lnTo>
                    <a:pt x="144" y="16"/>
                  </a:lnTo>
                  <a:lnTo>
                    <a:pt x="40" y="16"/>
                  </a:lnTo>
                  <a:lnTo>
                    <a:pt x="40" y="48"/>
                  </a:lnTo>
                  <a:lnTo>
                    <a:pt x="24" y="48"/>
                  </a:lnTo>
                  <a:lnTo>
                    <a:pt x="24" y="56"/>
                  </a:lnTo>
                  <a:lnTo>
                    <a:pt x="24" y="104"/>
                  </a:lnTo>
                  <a:lnTo>
                    <a:pt x="24" y="112"/>
                  </a:lnTo>
                  <a:lnTo>
                    <a:pt x="16" y="112"/>
                  </a:lnTo>
                  <a:lnTo>
                    <a:pt x="0" y="152"/>
                  </a:lnTo>
                  <a:lnTo>
                    <a:pt x="16" y="176"/>
                  </a:lnTo>
                  <a:lnTo>
                    <a:pt x="8" y="184"/>
                  </a:lnTo>
                  <a:lnTo>
                    <a:pt x="24" y="200"/>
                  </a:lnTo>
                  <a:lnTo>
                    <a:pt x="24" y="216"/>
                  </a:lnTo>
                  <a:lnTo>
                    <a:pt x="40" y="224"/>
                  </a:lnTo>
                  <a:lnTo>
                    <a:pt x="80" y="272"/>
                  </a:lnTo>
                  <a:lnTo>
                    <a:pt x="88" y="280"/>
                  </a:lnTo>
                  <a:lnTo>
                    <a:pt x="104" y="280"/>
                  </a:lnTo>
                  <a:lnTo>
                    <a:pt x="120" y="296"/>
                  </a:lnTo>
                  <a:lnTo>
                    <a:pt x="136" y="296"/>
                  </a:lnTo>
                  <a:lnTo>
                    <a:pt x="160" y="288"/>
                  </a:lnTo>
                  <a:lnTo>
                    <a:pt x="168" y="280"/>
                  </a:lnTo>
                  <a:lnTo>
                    <a:pt x="184" y="280"/>
                  </a:lnTo>
                  <a:lnTo>
                    <a:pt x="184" y="272"/>
                  </a:lnTo>
                  <a:lnTo>
                    <a:pt x="176" y="264"/>
                  </a:lnTo>
                  <a:lnTo>
                    <a:pt x="160" y="240"/>
                  </a:lnTo>
                  <a:lnTo>
                    <a:pt x="152" y="232"/>
                  </a:lnTo>
                  <a:lnTo>
                    <a:pt x="152" y="224"/>
                  </a:lnTo>
                  <a:lnTo>
                    <a:pt x="160" y="224"/>
                  </a:lnTo>
                  <a:lnTo>
                    <a:pt x="168" y="192"/>
                  </a:lnTo>
                  <a:lnTo>
                    <a:pt x="192" y="152"/>
                  </a:lnTo>
                  <a:lnTo>
                    <a:pt x="192" y="13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9" name="Freeform 33">
              <a:extLst>
                <a:ext uri="{FF2B5EF4-FFF2-40B4-BE49-F238E27FC236}">
                  <a16:creationId xmlns:a16="http://schemas.microsoft.com/office/drawing/2014/main" id="{ACF21EEE-A17D-C24B-DB24-2CE99B30507E}"/>
                </a:ext>
              </a:extLst>
            </p:cNvPr>
            <p:cNvSpPr>
              <a:spLocks/>
            </p:cNvSpPr>
            <p:nvPr/>
          </p:nvSpPr>
          <p:spPr bwMode="auto">
            <a:xfrm>
              <a:off x="3741987" y="2505995"/>
              <a:ext cx="213369" cy="181212"/>
            </a:xfrm>
            <a:custGeom>
              <a:avLst/>
              <a:gdLst>
                <a:gd name="T0" fmla="*/ 96 w 104"/>
                <a:gd name="T1" fmla="*/ 40 h 88"/>
                <a:gd name="T2" fmla="*/ 88 w 104"/>
                <a:gd name="T3" fmla="*/ 40 h 88"/>
                <a:gd name="T4" fmla="*/ 72 w 104"/>
                <a:gd name="T5" fmla="*/ 16 h 88"/>
                <a:gd name="T6" fmla="*/ 72 w 104"/>
                <a:gd name="T7" fmla="*/ 0 h 88"/>
                <a:gd name="T8" fmla="*/ 56 w 104"/>
                <a:gd name="T9" fmla="*/ 8 h 88"/>
                <a:gd name="T10" fmla="*/ 32 w 104"/>
                <a:gd name="T11" fmla="*/ 24 h 88"/>
                <a:gd name="T12" fmla="*/ 16 w 104"/>
                <a:gd name="T13" fmla="*/ 32 h 88"/>
                <a:gd name="T14" fmla="*/ 0 w 104"/>
                <a:gd name="T15" fmla="*/ 56 h 88"/>
                <a:gd name="T16" fmla="*/ 0 w 104"/>
                <a:gd name="T17" fmla="*/ 72 h 88"/>
                <a:gd name="T18" fmla="*/ 8 w 104"/>
                <a:gd name="T19" fmla="*/ 80 h 88"/>
                <a:gd name="T20" fmla="*/ 24 w 104"/>
                <a:gd name="T21" fmla="*/ 80 h 88"/>
                <a:gd name="T22" fmla="*/ 32 w 104"/>
                <a:gd name="T23" fmla="*/ 88 h 88"/>
                <a:gd name="T24" fmla="*/ 32 w 104"/>
                <a:gd name="T25" fmla="*/ 64 h 88"/>
                <a:gd name="T26" fmla="*/ 64 w 104"/>
                <a:gd name="T27" fmla="*/ 64 h 88"/>
                <a:gd name="T28" fmla="*/ 80 w 104"/>
                <a:gd name="T29" fmla="*/ 64 h 88"/>
                <a:gd name="T30" fmla="*/ 88 w 104"/>
                <a:gd name="T31" fmla="*/ 56 h 88"/>
                <a:gd name="T32" fmla="*/ 96 w 104"/>
                <a:gd name="T33" fmla="*/ 56 h 88"/>
                <a:gd name="T34" fmla="*/ 104 w 104"/>
                <a:gd name="T35" fmla="*/ 48 h 88"/>
                <a:gd name="T36" fmla="*/ 96 w 104"/>
                <a:gd name="T37"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4" h="88">
                  <a:moveTo>
                    <a:pt x="96" y="40"/>
                  </a:moveTo>
                  <a:lnTo>
                    <a:pt x="88" y="40"/>
                  </a:lnTo>
                  <a:lnTo>
                    <a:pt x="72" y="16"/>
                  </a:lnTo>
                  <a:lnTo>
                    <a:pt x="72" y="0"/>
                  </a:lnTo>
                  <a:lnTo>
                    <a:pt x="56" y="8"/>
                  </a:lnTo>
                  <a:lnTo>
                    <a:pt x="32" y="24"/>
                  </a:lnTo>
                  <a:lnTo>
                    <a:pt x="16" y="32"/>
                  </a:lnTo>
                  <a:lnTo>
                    <a:pt x="0" y="56"/>
                  </a:lnTo>
                  <a:lnTo>
                    <a:pt x="0" y="72"/>
                  </a:lnTo>
                  <a:lnTo>
                    <a:pt x="8" y="80"/>
                  </a:lnTo>
                  <a:lnTo>
                    <a:pt x="24" y="80"/>
                  </a:lnTo>
                  <a:lnTo>
                    <a:pt x="32" y="88"/>
                  </a:lnTo>
                  <a:lnTo>
                    <a:pt x="32" y="64"/>
                  </a:lnTo>
                  <a:lnTo>
                    <a:pt x="64" y="64"/>
                  </a:lnTo>
                  <a:lnTo>
                    <a:pt x="80" y="64"/>
                  </a:lnTo>
                  <a:lnTo>
                    <a:pt x="88" y="56"/>
                  </a:lnTo>
                  <a:lnTo>
                    <a:pt x="96" y="56"/>
                  </a:lnTo>
                  <a:lnTo>
                    <a:pt x="104" y="48"/>
                  </a:lnTo>
                  <a:lnTo>
                    <a:pt x="96" y="4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0" name="Freeform 34">
              <a:extLst>
                <a:ext uri="{FF2B5EF4-FFF2-40B4-BE49-F238E27FC236}">
                  <a16:creationId xmlns:a16="http://schemas.microsoft.com/office/drawing/2014/main" id="{C330D2F5-B97A-FE8A-A10C-F55C5A9BA313}"/>
                </a:ext>
              </a:extLst>
            </p:cNvPr>
            <p:cNvSpPr>
              <a:spLocks/>
            </p:cNvSpPr>
            <p:nvPr/>
          </p:nvSpPr>
          <p:spPr bwMode="auto">
            <a:xfrm>
              <a:off x="3889243" y="2241741"/>
              <a:ext cx="425237" cy="379036"/>
            </a:xfrm>
            <a:custGeom>
              <a:avLst/>
              <a:gdLst>
                <a:gd name="T0" fmla="*/ 176 w 208"/>
                <a:gd name="T1" fmla="*/ 152 h 184"/>
                <a:gd name="T2" fmla="*/ 176 w 208"/>
                <a:gd name="T3" fmla="*/ 144 h 184"/>
                <a:gd name="T4" fmla="*/ 200 w 208"/>
                <a:gd name="T5" fmla="*/ 96 h 184"/>
                <a:gd name="T6" fmla="*/ 208 w 208"/>
                <a:gd name="T7" fmla="*/ 48 h 184"/>
                <a:gd name="T8" fmla="*/ 200 w 208"/>
                <a:gd name="T9" fmla="*/ 48 h 184"/>
                <a:gd name="T10" fmla="*/ 192 w 208"/>
                <a:gd name="T11" fmla="*/ 32 h 184"/>
                <a:gd name="T12" fmla="*/ 192 w 208"/>
                <a:gd name="T13" fmla="*/ 8 h 184"/>
                <a:gd name="T14" fmla="*/ 184 w 208"/>
                <a:gd name="T15" fmla="*/ 0 h 184"/>
                <a:gd name="T16" fmla="*/ 152 w 208"/>
                <a:gd name="T17" fmla="*/ 0 h 184"/>
                <a:gd name="T18" fmla="*/ 72 w 208"/>
                <a:gd name="T19" fmla="*/ 64 h 184"/>
                <a:gd name="T20" fmla="*/ 56 w 208"/>
                <a:gd name="T21" fmla="*/ 72 h 184"/>
                <a:gd name="T22" fmla="*/ 56 w 208"/>
                <a:gd name="T23" fmla="*/ 112 h 184"/>
                <a:gd name="T24" fmla="*/ 48 w 208"/>
                <a:gd name="T25" fmla="*/ 120 h 184"/>
                <a:gd name="T26" fmla="*/ 0 w 208"/>
                <a:gd name="T27" fmla="*/ 128 h 184"/>
                <a:gd name="T28" fmla="*/ 0 w 208"/>
                <a:gd name="T29" fmla="*/ 144 h 184"/>
                <a:gd name="T30" fmla="*/ 16 w 208"/>
                <a:gd name="T31" fmla="*/ 168 h 184"/>
                <a:gd name="T32" fmla="*/ 24 w 208"/>
                <a:gd name="T33" fmla="*/ 168 h 184"/>
                <a:gd name="T34" fmla="*/ 32 w 208"/>
                <a:gd name="T35" fmla="*/ 176 h 184"/>
                <a:gd name="T36" fmla="*/ 40 w 208"/>
                <a:gd name="T37" fmla="*/ 168 h 184"/>
                <a:gd name="T38" fmla="*/ 48 w 208"/>
                <a:gd name="T39" fmla="*/ 184 h 184"/>
                <a:gd name="T40" fmla="*/ 48 w 208"/>
                <a:gd name="T41" fmla="*/ 168 h 184"/>
                <a:gd name="T42" fmla="*/ 56 w 208"/>
                <a:gd name="T43" fmla="*/ 152 h 184"/>
                <a:gd name="T44" fmla="*/ 72 w 208"/>
                <a:gd name="T45" fmla="*/ 152 h 184"/>
                <a:gd name="T46" fmla="*/ 88 w 208"/>
                <a:gd name="T47" fmla="*/ 160 h 184"/>
                <a:gd name="T48" fmla="*/ 104 w 208"/>
                <a:gd name="T49" fmla="*/ 160 h 184"/>
                <a:gd name="T50" fmla="*/ 120 w 208"/>
                <a:gd name="T51" fmla="*/ 168 h 184"/>
                <a:gd name="T52" fmla="*/ 136 w 208"/>
                <a:gd name="T53" fmla="*/ 160 h 184"/>
                <a:gd name="T54" fmla="*/ 160 w 208"/>
                <a:gd name="T55" fmla="*/ 160 h 184"/>
                <a:gd name="T56" fmla="*/ 168 w 208"/>
                <a:gd name="T57" fmla="*/ 152 h 184"/>
                <a:gd name="T58" fmla="*/ 176 w 208"/>
                <a:gd name="T59" fmla="*/ 15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8" h="184">
                  <a:moveTo>
                    <a:pt x="176" y="152"/>
                  </a:moveTo>
                  <a:lnTo>
                    <a:pt x="176" y="144"/>
                  </a:lnTo>
                  <a:lnTo>
                    <a:pt x="200" y="96"/>
                  </a:lnTo>
                  <a:lnTo>
                    <a:pt x="208" y="48"/>
                  </a:lnTo>
                  <a:lnTo>
                    <a:pt x="200" y="48"/>
                  </a:lnTo>
                  <a:lnTo>
                    <a:pt x="192" y="32"/>
                  </a:lnTo>
                  <a:lnTo>
                    <a:pt x="192" y="8"/>
                  </a:lnTo>
                  <a:lnTo>
                    <a:pt x="184" y="0"/>
                  </a:lnTo>
                  <a:lnTo>
                    <a:pt x="152" y="0"/>
                  </a:lnTo>
                  <a:lnTo>
                    <a:pt x="72" y="64"/>
                  </a:lnTo>
                  <a:lnTo>
                    <a:pt x="56" y="72"/>
                  </a:lnTo>
                  <a:lnTo>
                    <a:pt x="56" y="112"/>
                  </a:lnTo>
                  <a:lnTo>
                    <a:pt x="48" y="120"/>
                  </a:lnTo>
                  <a:lnTo>
                    <a:pt x="0" y="128"/>
                  </a:lnTo>
                  <a:lnTo>
                    <a:pt x="0" y="144"/>
                  </a:lnTo>
                  <a:lnTo>
                    <a:pt x="16" y="168"/>
                  </a:lnTo>
                  <a:lnTo>
                    <a:pt x="24" y="168"/>
                  </a:lnTo>
                  <a:lnTo>
                    <a:pt x="32" y="176"/>
                  </a:lnTo>
                  <a:lnTo>
                    <a:pt x="40" y="168"/>
                  </a:lnTo>
                  <a:lnTo>
                    <a:pt x="48" y="184"/>
                  </a:lnTo>
                  <a:lnTo>
                    <a:pt x="48" y="168"/>
                  </a:lnTo>
                  <a:lnTo>
                    <a:pt x="56" y="152"/>
                  </a:lnTo>
                  <a:lnTo>
                    <a:pt x="72" y="152"/>
                  </a:lnTo>
                  <a:lnTo>
                    <a:pt x="88" y="160"/>
                  </a:lnTo>
                  <a:lnTo>
                    <a:pt x="104" y="160"/>
                  </a:lnTo>
                  <a:lnTo>
                    <a:pt x="120" y="168"/>
                  </a:lnTo>
                  <a:lnTo>
                    <a:pt x="136" y="160"/>
                  </a:lnTo>
                  <a:lnTo>
                    <a:pt x="160" y="160"/>
                  </a:lnTo>
                  <a:lnTo>
                    <a:pt x="168" y="152"/>
                  </a:lnTo>
                  <a:lnTo>
                    <a:pt x="176" y="15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1" name="Freeform 35">
              <a:extLst>
                <a:ext uri="{FF2B5EF4-FFF2-40B4-BE49-F238E27FC236}">
                  <a16:creationId xmlns:a16="http://schemas.microsoft.com/office/drawing/2014/main" id="{F99C18C5-D2CC-FF18-C720-97733D004657}"/>
                </a:ext>
              </a:extLst>
            </p:cNvPr>
            <p:cNvSpPr>
              <a:spLocks/>
            </p:cNvSpPr>
            <p:nvPr/>
          </p:nvSpPr>
          <p:spPr bwMode="auto">
            <a:xfrm>
              <a:off x="3561677" y="2191899"/>
              <a:ext cx="441766" cy="462092"/>
            </a:xfrm>
            <a:custGeom>
              <a:avLst/>
              <a:gdLst>
                <a:gd name="T0" fmla="*/ 160 w 216"/>
                <a:gd name="T1" fmla="*/ 152 h 224"/>
                <a:gd name="T2" fmla="*/ 208 w 216"/>
                <a:gd name="T3" fmla="*/ 144 h 224"/>
                <a:gd name="T4" fmla="*/ 216 w 216"/>
                <a:gd name="T5" fmla="*/ 136 h 224"/>
                <a:gd name="T6" fmla="*/ 216 w 216"/>
                <a:gd name="T7" fmla="*/ 96 h 224"/>
                <a:gd name="T8" fmla="*/ 200 w 216"/>
                <a:gd name="T9" fmla="*/ 96 h 224"/>
                <a:gd name="T10" fmla="*/ 200 w 216"/>
                <a:gd name="T11" fmla="*/ 80 h 224"/>
                <a:gd name="T12" fmla="*/ 184 w 216"/>
                <a:gd name="T13" fmla="*/ 72 h 224"/>
                <a:gd name="T14" fmla="*/ 168 w 216"/>
                <a:gd name="T15" fmla="*/ 64 h 224"/>
                <a:gd name="T16" fmla="*/ 96 w 216"/>
                <a:gd name="T17" fmla="*/ 0 h 224"/>
                <a:gd name="T18" fmla="*/ 72 w 216"/>
                <a:gd name="T19" fmla="*/ 0 h 224"/>
                <a:gd name="T20" fmla="*/ 88 w 216"/>
                <a:gd name="T21" fmla="*/ 144 h 224"/>
                <a:gd name="T22" fmla="*/ 24 w 216"/>
                <a:gd name="T23" fmla="*/ 144 h 224"/>
                <a:gd name="T24" fmla="*/ 16 w 216"/>
                <a:gd name="T25" fmla="*/ 152 h 224"/>
                <a:gd name="T26" fmla="*/ 8 w 216"/>
                <a:gd name="T27" fmla="*/ 144 h 224"/>
                <a:gd name="T28" fmla="*/ 0 w 216"/>
                <a:gd name="T29" fmla="*/ 160 h 224"/>
                <a:gd name="T30" fmla="*/ 8 w 216"/>
                <a:gd name="T31" fmla="*/ 192 h 224"/>
                <a:gd name="T32" fmla="*/ 16 w 216"/>
                <a:gd name="T33" fmla="*/ 200 h 224"/>
                <a:gd name="T34" fmla="*/ 32 w 216"/>
                <a:gd name="T35" fmla="*/ 192 h 224"/>
                <a:gd name="T36" fmla="*/ 48 w 216"/>
                <a:gd name="T37" fmla="*/ 224 h 224"/>
                <a:gd name="T38" fmla="*/ 56 w 216"/>
                <a:gd name="T39" fmla="*/ 224 h 224"/>
                <a:gd name="T40" fmla="*/ 64 w 216"/>
                <a:gd name="T41" fmla="*/ 224 h 224"/>
                <a:gd name="T42" fmla="*/ 72 w 216"/>
                <a:gd name="T43" fmla="*/ 224 h 224"/>
                <a:gd name="T44" fmla="*/ 80 w 216"/>
                <a:gd name="T45" fmla="*/ 224 h 224"/>
                <a:gd name="T46" fmla="*/ 88 w 216"/>
                <a:gd name="T47" fmla="*/ 224 h 224"/>
                <a:gd name="T48" fmla="*/ 88 w 216"/>
                <a:gd name="T49" fmla="*/ 208 h 224"/>
                <a:gd name="T50" fmla="*/ 104 w 216"/>
                <a:gd name="T51" fmla="*/ 184 h 224"/>
                <a:gd name="T52" fmla="*/ 120 w 216"/>
                <a:gd name="T53" fmla="*/ 176 h 224"/>
                <a:gd name="T54" fmla="*/ 144 w 216"/>
                <a:gd name="T55" fmla="*/ 160 h 224"/>
                <a:gd name="T56" fmla="*/ 160 w 216"/>
                <a:gd name="T57" fmla="*/ 15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6" h="224">
                  <a:moveTo>
                    <a:pt x="160" y="152"/>
                  </a:moveTo>
                  <a:lnTo>
                    <a:pt x="208" y="144"/>
                  </a:lnTo>
                  <a:lnTo>
                    <a:pt x="216" y="136"/>
                  </a:lnTo>
                  <a:lnTo>
                    <a:pt x="216" y="96"/>
                  </a:lnTo>
                  <a:lnTo>
                    <a:pt x="200" y="96"/>
                  </a:lnTo>
                  <a:lnTo>
                    <a:pt x="200" y="80"/>
                  </a:lnTo>
                  <a:lnTo>
                    <a:pt x="184" y="72"/>
                  </a:lnTo>
                  <a:lnTo>
                    <a:pt x="168" y="64"/>
                  </a:lnTo>
                  <a:lnTo>
                    <a:pt x="96" y="0"/>
                  </a:lnTo>
                  <a:lnTo>
                    <a:pt x="72" y="0"/>
                  </a:lnTo>
                  <a:lnTo>
                    <a:pt x="88" y="144"/>
                  </a:lnTo>
                  <a:lnTo>
                    <a:pt x="24" y="144"/>
                  </a:lnTo>
                  <a:lnTo>
                    <a:pt x="16" y="152"/>
                  </a:lnTo>
                  <a:lnTo>
                    <a:pt x="8" y="144"/>
                  </a:lnTo>
                  <a:lnTo>
                    <a:pt x="0" y="160"/>
                  </a:lnTo>
                  <a:lnTo>
                    <a:pt x="8" y="192"/>
                  </a:lnTo>
                  <a:lnTo>
                    <a:pt x="16" y="200"/>
                  </a:lnTo>
                  <a:lnTo>
                    <a:pt x="32" y="192"/>
                  </a:lnTo>
                  <a:lnTo>
                    <a:pt x="48" y="224"/>
                  </a:lnTo>
                  <a:lnTo>
                    <a:pt x="56" y="224"/>
                  </a:lnTo>
                  <a:lnTo>
                    <a:pt x="64" y="224"/>
                  </a:lnTo>
                  <a:lnTo>
                    <a:pt x="72" y="224"/>
                  </a:lnTo>
                  <a:lnTo>
                    <a:pt x="80" y="224"/>
                  </a:lnTo>
                  <a:lnTo>
                    <a:pt x="88" y="224"/>
                  </a:lnTo>
                  <a:lnTo>
                    <a:pt x="88" y="208"/>
                  </a:lnTo>
                  <a:lnTo>
                    <a:pt x="104" y="184"/>
                  </a:lnTo>
                  <a:lnTo>
                    <a:pt x="120" y="176"/>
                  </a:lnTo>
                  <a:lnTo>
                    <a:pt x="144" y="160"/>
                  </a:lnTo>
                  <a:lnTo>
                    <a:pt x="160" y="15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2" name="Freeform 36">
              <a:extLst>
                <a:ext uri="{FF2B5EF4-FFF2-40B4-BE49-F238E27FC236}">
                  <a16:creationId xmlns:a16="http://schemas.microsoft.com/office/drawing/2014/main" id="{E042B681-15CB-8044-1790-CF6E29D5B1E6}"/>
                </a:ext>
              </a:extLst>
            </p:cNvPr>
            <p:cNvSpPr>
              <a:spLocks/>
            </p:cNvSpPr>
            <p:nvPr/>
          </p:nvSpPr>
          <p:spPr bwMode="auto">
            <a:xfrm>
              <a:off x="4135668" y="1945749"/>
              <a:ext cx="425237" cy="427361"/>
            </a:xfrm>
            <a:custGeom>
              <a:avLst/>
              <a:gdLst>
                <a:gd name="T0" fmla="*/ 208 w 208"/>
                <a:gd name="T1" fmla="*/ 168 h 208"/>
                <a:gd name="T2" fmla="*/ 200 w 208"/>
                <a:gd name="T3" fmla="*/ 72 h 208"/>
                <a:gd name="T4" fmla="*/ 200 w 208"/>
                <a:gd name="T5" fmla="*/ 48 h 208"/>
                <a:gd name="T6" fmla="*/ 200 w 208"/>
                <a:gd name="T7" fmla="*/ 24 h 208"/>
                <a:gd name="T8" fmla="*/ 176 w 208"/>
                <a:gd name="T9" fmla="*/ 16 h 208"/>
                <a:gd name="T10" fmla="*/ 176 w 208"/>
                <a:gd name="T11" fmla="*/ 8 h 208"/>
                <a:gd name="T12" fmla="*/ 160 w 208"/>
                <a:gd name="T13" fmla="*/ 8 h 208"/>
                <a:gd name="T14" fmla="*/ 136 w 208"/>
                <a:gd name="T15" fmla="*/ 16 h 208"/>
                <a:gd name="T16" fmla="*/ 136 w 208"/>
                <a:gd name="T17" fmla="*/ 40 h 208"/>
                <a:gd name="T18" fmla="*/ 128 w 208"/>
                <a:gd name="T19" fmla="*/ 48 h 208"/>
                <a:gd name="T20" fmla="*/ 120 w 208"/>
                <a:gd name="T21" fmla="*/ 40 h 208"/>
                <a:gd name="T22" fmla="*/ 104 w 208"/>
                <a:gd name="T23" fmla="*/ 32 h 208"/>
                <a:gd name="T24" fmla="*/ 80 w 208"/>
                <a:gd name="T25" fmla="*/ 24 h 208"/>
                <a:gd name="T26" fmla="*/ 80 w 208"/>
                <a:gd name="T27" fmla="*/ 16 h 208"/>
                <a:gd name="T28" fmla="*/ 64 w 208"/>
                <a:gd name="T29" fmla="*/ 8 h 208"/>
                <a:gd name="T30" fmla="*/ 40 w 208"/>
                <a:gd name="T31" fmla="*/ 8 h 208"/>
                <a:gd name="T32" fmla="*/ 24 w 208"/>
                <a:gd name="T33" fmla="*/ 0 h 208"/>
                <a:gd name="T34" fmla="*/ 24 w 208"/>
                <a:gd name="T35" fmla="*/ 16 h 208"/>
                <a:gd name="T36" fmla="*/ 8 w 208"/>
                <a:gd name="T37" fmla="*/ 24 h 208"/>
                <a:gd name="T38" fmla="*/ 8 w 208"/>
                <a:gd name="T39" fmla="*/ 40 h 208"/>
                <a:gd name="T40" fmla="*/ 0 w 208"/>
                <a:gd name="T41" fmla="*/ 40 h 208"/>
                <a:gd name="T42" fmla="*/ 0 w 208"/>
                <a:gd name="T43" fmla="*/ 48 h 208"/>
                <a:gd name="T44" fmla="*/ 8 w 208"/>
                <a:gd name="T45" fmla="*/ 56 h 208"/>
                <a:gd name="T46" fmla="*/ 8 w 208"/>
                <a:gd name="T47" fmla="*/ 80 h 208"/>
                <a:gd name="T48" fmla="*/ 8 w 208"/>
                <a:gd name="T49" fmla="*/ 96 h 208"/>
                <a:gd name="T50" fmla="*/ 0 w 208"/>
                <a:gd name="T51" fmla="*/ 104 h 208"/>
                <a:gd name="T52" fmla="*/ 16 w 208"/>
                <a:gd name="T53" fmla="*/ 128 h 208"/>
                <a:gd name="T54" fmla="*/ 24 w 208"/>
                <a:gd name="T55" fmla="*/ 128 h 208"/>
                <a:gd name="T56" fmla="*/ 32 w 208"/>
                <a:gd name="T57" fmla="*/ 144 h 208"/>
                <a:gd name="T58" fmla="*/ 64 w 208"/>
                <a:gd name="T59" fmla="*/ 144 h 208"/>
                <a:gd name="T60" fmla="*/ 72 w 208"/>
                <a:gd name="T61" fmla="*/ 152 h 208"/>
                <a:gd name="T62" fmla="*/ 96 w 208"/>
                <a:gd name="T63" fmla="*/ 152 h 208"/>
                <a:gd name="T64" fmla="*/ 192 w 208"/>
                <a:gd name="T65" fmla="*/ 208 h 208"/>
                <a:gd name="T66" fmla="*/ 192 w 208"/>
                <a:gd name="T67" fmla="*/ 200 h 208"/>
                <a:gd name="T68" fmla="*/ 208 w 208"/>
                <a:gd name="T69" fmla="*/ 200 h 208"/>
                <a:gd name="T70" fmla="*/ 208 w 208"/>
                <a:gd name="T71" fmla="*/ 16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8" h="208">
                  <a:moveTo>
                    <a:pt x="208" y="168"/>
                  </a:moveTo>
                  <a:lnTo>
                    <a:pt x="200" y="72"/>
                  </a:lnTo>
                  <a:lnTo>
                    <a:pt x="200" y="48"/>
                  </a:lnTo>
                  <a:lnTo>
                    <a:pt x="200" y="24"/>
                  </a:lnTo>
                  <a:lnTo>
                    <a:pt x="176" y="16"/>
                  </a:lnTo>
                  <a:lnTo>
                    <a:pt x="176" y="8"/>
                  </a:lnTo>
                  <a:lnTo>
                    <a:pt x="160" y="8"/>
                  </a:lnTo>
                  <a:lnTo>
                    <a:pt x="136" y="16"/>
                  </a:lnTo>
                  <a:lnTo>
                    <a:pt x="136" y="40"/>
                  </a:lnTo>
                  <a:lnTo>
                    <a:pt x="128" y="48"/>
                  </a:lnTo>
                  <a:lnTo>
                    <a:pt x="120" y="40"/>
                  </a:lnTo>
                  <a:lnTo>
                    <a:pt x="104" y="32"/>
                  </a:lnTo>
                  <a:lnTo>
                    <a:pt x="80" y="24"/>
                  </a:lnTo>
                  <a:lnTo>
                    <a:pt x="80" y="16"/>
                  </a:lnTo>
                  <a:lnTo>
                    <a:pt x="64" y="8"/>
                  </a:lnTo>
                  <a:lnTo>
                    <a:pt x="40" y="8"/>
                  </a:lnTo>
                  <a:lnTo>
                    <a:pt x="24" y="0"/>
                  </a:lnTo>
                  <a:lnTo>
                    <a:pt x="24" y="16"/>
                  </a:lnTo>
                  <a:lnTo>
                    <a:pt x="8" y="24"/>
                  </a:lnTo>
                  <a:lnTo>
                    <a:pt x="8" y="40"/>
                  </a:lnTo>
                  <a:lnTo>
                    <a:pt x="0" y="40"/>
                  </a:lnTo>
                  <a:lnTo>
                    <a:pt x="0" y="48"/>
                  </a:lnTo>
                  <a:lnTo>
                    <a:pt x="8" y="56"/>
                  </a:lnTo>
                  <a:lnTo>
                    <a:pt x="8" y="80"/>
                  </a:lnTo>
                  <a:lnTo>
                    <a:pt x="8" y="96"/>
                  </a:lnTo>
                  <a:lnTo>
                    <a:pt x="0" y="104"/>
                  </a:lnTo>
                  <a:lnTo>
                    <a:pt x="16" y="128"/>
                  </a:lnTo>
                  <a:lnTo>
                    <a:pt x="24" y="128"/>
                  </a:lnTo>
                  <a:lnTo>
                    <a:pt x="32" y="144"/>
                  </a:lnTo>
                  <a:lnTo>
                    <a:pt x="64" y="144"/>
                  </a:lnTo>
                  <a:lnTo>
                    <a:pt x="72" y="152"/>
                  </a:lnTo>
                  <a:lnTo>
                    <a:pt x="96" y="152"/>
                  </a:lnTo>
                  <a:lnTo>
                    <a:pt x="192" y="208"/>
                  </a:lnTo>
                  <a:lnTo>
                    <a:pt x="192" y="200"/>
                  </a:lnTo>
                  <a:lnTo>
                    <a:pt x="208" y="200"/>
                  </a:lnTo>
                  <a:lnTo>
                    <a:pt x="208" y="16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3" name="Freeform 37">
              <a:extLst>
                <a:ext uri="{FF2B5EF4-FFF2-40B4-BE49-F238E27FC236}">
                  <a16:creationId xmlns:a16="http://schemas.microsoft.com/office/drawing/2014/main" id="{E4E8DC7F-241F-2C3B-5E8B-271E486623CF}"/>
                </a:ext>
              </a:extLst>
            </p:cNvPr>
            <p:cNvSpPr>
              <a:spLocks/>
            </p:cNvSpPr>
            <p:nvPr/>
          </p:nvSpPr>
          <p:spPr bwMode="auto">
            <a:xfrm>
              <a:off x="3660846" y="1830984"/>
              <a:ext cx="539436" cy="558738"/>
            </a:xfrm>
            <a:custGeom>
              <a:avLst/>
              <a:gdLst>
                <a:gd name="T0" fmla="*/ 216 w 264"/>
                <a:gd name="T1" fmla="*/ 0 h 272"/>
                <a:gd name="T2" fmla="*/ 192 w 264"/>
                <a:gd name="T3" fmla="*/ 0 h 272"/>
                <a:gd name="T4" fmla="*/ 184 w 264"/>
                <a:gd name="T5" fmla="*/ 0 h 272"/>
                <a:gd name="T6" fmla="*/ 168 w 264"/>
                <a:gd name="T7" fmla="*/ 0 h 272"/>
                <a:gd name="T8" fmla="*/ 128 w 264"/>
                <a:gd name="T9" fmla="*/ 8 h 272"/>
                <a:gd name="T10" fmla="*/ 88 w 264"/>
                <a:gd name="T11" fmla="*/ 24 h 272"/>
                <a:gd name="T12" fmla="*/ 96 w 264"/>
                <a:gd name="T13" fmla="*/ 32 h 272"/>
                <a:gd name="T14" fmla="*/ 96 w 264"/>
                <a:gd name="T15" fmla="*/ 72 h 272"/>
                <a:gd name="T16" fmla="*/ 64 w 264"/>
                <a:gd name="T17" fmla="*/ 80 h 272"/>
                <a:gd name="T18" fmla="*/ 64 w 264"/>
                <a:gd name="T19" fmla="*/ 88 h 272"/>
                <a:gd name="T20" fmla="*/ 48 w 264"/>
                <a:gd name="T21" fmla="*/ 104 h 272"/>
                <a:gd name="T22" fmla="*/ 8 w 264"/>
                <a:gd name="T23" fmla="*/ 112 h 272"/>
                <a:gd name="T24" fmla="*/ 0 w 264"/>
                <a:gd name="T25" fmla="*/ 120 h 272"/>
                <a:gd name="T26" fmla="*/ 0 w 264"/>
                <a:gd name="T27" fmla="*/ 136 h 272"/>
                <a:gd name="T28" fmla="*/ 0 w 264"/>
                <a:gd name="T29" fmla="*/ 144 h 272"/>
                <a:gd name="T30" fmla="*/ 48 w 264"/>
                <a:gd name="T31" fmla="*/ 176 h 272"/>
                <a:gd name="T32" fmla="*/ 120 w 264"/>
                <a:gd name="T33" fmla="*/ 240 h 272"/>
                <a:gd name="T34" fmla="*/ 136 w 264"/>
                <a:gd name="T35" fmla="*/ 248 h 272"/>
                <a:gd name="T36" fmla="*/ 152 w 264"/>
                <a:gd name="T37" fmla="*/ 256 h 272"/>
                <a:gd name="T38" fmla="*/ 152 w 264"/>
                <a:gd name="T39" fmla="*/ 272 h 272"/>
                <a:gd name="T40" fmla="*/ 168 w 264"/>
                <a:gd name="T41" fmla="*/ 272 h 272"/>
                <a:gd name="T42" fmla="*/ 184 w 264"/>
                <a:gd name="T43" fmla="*/ 264 h 272"/>
                <a:gd name="T44" fmla="*/ 264 w 264"/>
                <a:gd name="T45" fmla="*/ 200 h 272"/>
                <a:gd name="T46" fmla="*/ 256 w 264"/>
                <a:gd name="T47" fmla="*/ 184 h 272"/>
                <a:gd name="T48" fmla="*/ 248 w 264"/>
                <a:gd name="T49" fmla="*/ 184 h 272"/>
                <a:gd name="T50" fmla="*/ 232 w 264"/>
                <a:gd name="T51" fmla="*/ 160 h 272"/>
                <a:gd name="T52" fmla="*/ 240 w 264"/>
                <a:gd name="T53" fmla="*/ 152 h 272"/>
                <a:gd name="T54" fmla="*/ 240 w 264"/>
                <a:gd name="T55" fmla="*/ 136 h 272"/>
                <a:gd name="T56" fmla="*/ 240 w 264"/>
                <a:gd name="T57" fmla="*/ 112 h 272"/>
                <a:gd name="T58" fmla="*/ 232 w 264"/>
                <a:gd name="T59" fmla="*/ 104 h 272"/>
                <a:gd name="T60" fmla="*/ 232 w 264"/>
                <a:gd name="T61" fmla="*/ 96 h 272"/>
                <a:gd name="T62" fmla="*/ 232 w 264"/>
                <a:gd name="T63" fmla="*/ 72 h 272"/>
                <a:gd name="T64" fmla="*/ 216 w 264"/>
                <a:gd name="T65" fmla="*/ 64 h 272"/>
                <a:gd name="T66" fmla="*/ 208 w 264"/>
                <a:gd name="T67" fmla="*/ 48 h 272"/>
                <a:gd name="T68" fmla="*/ 224 w 264"/>
                <a:gd name="T69" fmla="*/ 32 h 272"/>
                <a:gd name="T70" fmla="*/ 224 w 264"/>
                <a:gd name="T71" fmla="*/ 8 h 272"/>
                <a:gd name="T72" fmla="*/ 224 w 264"/>
                <a:gd name="T73" fmla="*/ 0 h 272"/>
                <a:gd name="T74" fmla="*/ 216 w 264"/>
                <a:gd name="T75"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4" h="272">
                  <a:moveTo>
                    <a:pt x="216" y="0"/>
                  </a:moveTo>
                  <a:lnTo>
                    <a:pt x="192" y="0"/>
                  </a:lnTo>
                  <a:lnTo>
                    <a:pt x="184" y="0"/>
                  </a:lnTo>
                  <a:lnTo>
                    <a:pt x="168" y="0"/>
                  </a:lnTo>
                  <a:lnTo>
                    <a:pt x="128" y="8"/>
                  </a:lnTo>
                  <a:lnTo>
                    <a:pt x="88" y="24"/>
                  </a:lnTo>
                  <a:lnTo>
                    <a:pt x="96" y="32"/>
                  </a:lnTo>
                  <a:lnTo>
                    <a:pt x="96" y="72"/>
                  </a:lnTo>
                  <a:lnTo>
                    <a:pt x="64" y="80"/>
                  </a:lnTo>
                  <a:lnTo>
                    <a:pt x="64" y="88"/>
                  </a:lnTo>
                  <a:lnTo>
                    <a:pt x="48" y="104"/>
                  </a:lnTo>
                  <a:lnTo>
                    <a:pt x="8" y="112"/>
                  </a:lnTo>
                  <a:lnTo>
                    <a:pt x="0" y="120"/>
                  </a:lnTo>
                  <a:lnTo>
                    <a:pt x="0" y="136"/>
                  </a:lnTo>
                  <a:lnTo>
                    <a:pt x="0" y="144"/>
                  </a:lnTo>
                  <a:lnTo>
                    <a:pt x="48" y="176"/>
                  </a:lnTo>
                  <a:lnTo>
                    <a:pt x="120" y="240"/>
                  </a:lnTo>
                  <a:lnTo>
                    <a:pt x="136" y="248"/>
                  </a:lnTo>
                  <a:lnTo>
                    <a:pt x="152" y="256"/>
                  </a:lnTo>
                  <a:lnTo>
                    <a:pt x="152" y="272"/>
                  </a:lnTo>
                  <a:lnTo>
                    <a:pt x="168" y="272"/>
                  </a:lnTo>
                  <a:lnTo>
                    <a:pt x="184" y="264"/>
                  </a:lnTo>
                  <a:lnTo>
                    <a:pt x="264" y="200"/>
                  </a:lnTo>
                  <a:lnTo>
                    <a:pt x="256" y="184"/>
                  </a:lnTo>
                  <a:lnTo>
                    <a:pt x="248" y="184"/>
                  </a:lnTo>
                  <a:lnTo>
                    <a:pt x="232" y="160"/>
                  </a:lnTo>
                  <a:lnTo>
                    <a:pt x="240" y="152"/>
                  </a:lnTo>
                  <a:lnTo>
                    <a:pt x="240" y="136"/>
                  </a:lnTo>
                  <a:lnTo>
                    <a:pt x="240" y="112"/>
                  </a:lnTo>
                  <a:lnTo>
                    <a:pt x="232" y="104"/>
                  </a:lnTo>
                  <a:lnTo>
                    <a:pt x="232" y="96"/>
                  </a:lnTo>
                  <a:lnTo>
                    <a:pt x="232" y="72"/>
                  </a:lnTo>
                  <a:lnTo>
                    <a:pt x="216" y="64"/>
                  </a:lnTo>
                  <a:lnTo>
                    <a:pt x="208" y="48"/>
                  </a:lnTo>
                  <a:lnTo>
                    <a:pt x="224" y="32"/>
                  </a:lnTo>
                  <a:lnTo>
                    <a:pt x="224" y="8"/>
                  </a:lnTo>
                  <a:lnTo>
                    <a:pt x="224" y="0"/>
                  </a:lnTo>
                  <a:lnTo>
                    <a:pt x="216" y="0"/>
                  </a:lnTo>
                  <a:close/>
                </a:path>
              </a:pathLst>
            </a:custGeom>
            <a:solidFill>
              <a:srgbClr val="D2E6FE"/>
            </a:solid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4" name="Freeform 38">
              <a:extLst>
                <a:ext uri="{FF2B5EF4-FFF2-40B4-BE49-F238E27FC236}">
                  <a16:creationId xmlns:a16="http://schemas.microsoft.com/office/drawing/2014/main" id="{21AC3528-4244-F7FD-1F81-37887DCC0064}"/>
                </a:ext>
              </a:extLst>
            </p:cNvPr>
            <p:cNvSpPr>
              <a:spLocks/>
            </p:cNvSpPr>
            <p:nvPr/>
          </p:nvSpPr>
          <p:spPr bwMode="auto">
            <a:xfrm>
              <a:off x="4249867" y="2258339"/>
              <a:ext cx="277982" cy="493803"/>
            </a:xfrm>
            <a:custGeom>
              <a:avLst/>
              <a:gdLst>
                <a:gd name="T0" fmla="*/ 16 w 136"/>
                <a:gd name="T1" fmla="*/ 24 h 240"/>
                <a:gd name="T2" fmla="*/ 24 w 136"/>
                <a:gd name="T3" fmla="*/ 40 h 240"/>
                <a:gd name="T4" fmla="*/ 32 w 136"/>
                <a:gd name="T5" fmla="*/ 40 h 240"/>
                <a:gd name="T6" fmla="*/ 24 w 136"/>
                <a:gd name="T7" fmla="*/ 88 h 240"/>
                <a:gd name="T8" fmla="*/ 0 w 136"/>
                <a:gd name="T9" fmla="*/ 136 h 240"/>
                <a:gd name="T10" fmla="*/ 0 w 136"/>
                <a:gd name="T11" fmla="*/ 144 h 240"/>
                <a:gd name="T12" fmla="*/ 8 w 136"/>
                <a:gd name="T13" fmla="*/ 152 h 240"/>
                <a:gd name="T14" fmla="*/ 16 w 136"/>
                <a:gd name="T15" fmla="*/ 160 h 240"/>
                <a:gd name="T16" fmla="*/ 16 w 136"/>
                <a:gd name="T17" fmla="*/ 184 h 240"/>
                <a:gd name="T18" fmla="*/ 24 w 136"/>
                <a:gd name="T19" fmla="*/ 200 h 240"/>
                <a:gd name="T20" fmla="*/ 8 w 136"/>
                <a:gd name="T21" fmla="*/ 200 h 240"/>
                <a:gd name="T22" fmla="*/ 8 w 136"/>
                <a:gd name="T23" fmla="*/ 208 h 240"/>
                <a:gd name="T24" fmla="*/ 16 w 136"/>
                <a:gd name="T25" fmla="*/ 216 h 240"/>
                <a:gd name="T26" fmla="*/ 24 w 136"/>
                <a:gd name="T27" fmla="*/ 240 h 240"/>
                <a:gd name="T28" fmla="*/ 64 w 136"/>
                <a:gd name="T29" fmla="*/ 232 h 240"/>
                <a:gd name="T30" fmla="*/ 72 w 136"/>
                <a:gd name="T31" fmla="*/ 224 h 240"/>
                <a:gd name="T32" fmla="*/ 72 w 136"/>
                <a:gd name="T33" fmla="*/ 216 h 240"/>
                <a:gd name="T34" fmla="*/ 96 w 136"/>
                <a:gd name="T35" fmla="*/ 208 h 240"/>
                <a:gd name="T36" fmla="*/ 112 w 136"/>
                <a:gd name="T37" fmla="*/ 192 h 240"/>
                <a:gd name="T38" fmla="*/ 120 w 136"/>
                <a:gd name="T39" fmla="*/ 184 h 240"/>
                <a:gd name="T40" fmla="*/ 128 w 136"/>
                <a:gd name="T41" fmla="*/ 176 h 240"/>
                <a:gd name="T42" fmla="*/ 112 w 136"/>
                <a:gd name="T43" fmla="*/ 152 h 240"/>
                <a:gd name="T44" fmla="*/ 128 w 136"/>
                <a:gd name="T45" fmla="*/ 112 h 240"/>
                <a:gd name="T46" fmla="*/ 136 w 136"/>
                <a:gd name="T47" fmla="*/ 112 h 240"/>
                <a:gd name="T48" fmla="*/ 136 w 136"/>
                <a:gd name="T49" fmla="*/ 104 h 240"/>
                <a:gd name="T50" fmla="*/ 136 w 136"/>
                <a:gd name="T51" fmla="*/ 56 h 240"/>
                <a:gd name="T52" fmla="*/ 40 w 136"/>
                <a:gd name="T53" fmla="*/ 0 h 240"/>
                <a:gd name="T54" fmla="*/ 16 w 136"/>
                <a:gd name="T55" fmla="*/ 0 h 240"/>
                <a:gd name="T56" fmla="*/ 16 w 136"/>
                <a:gd name="T57" fmla="*/ 2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6" h="240">
                  <a:moveTo>
                    <a:pt x="16" y="24"/>
                  </a:moveTo>
                  <a:lnTo>
                    <a:pt x="24" y="40"/>
                  </a:lnTo>
                  <a:lnTo>
                    <a:pt x="32" y="40"/>
                  </a:lnTo>
                  <a:lnTo>
                    <a:pt x="24" y="88"/>
                  </a:lnTo>
                  <a:lnTo>
                    <a:pt x="0" y="136"/>
                  </a:lnTo>
                  <a:lnTo>
                    <a:pt x="0" y="144"/>
                  </a:lnTo>
                  <a:lnTo>
                    <a:pt x="8" y="152"/>
                  </a:lnTo>
                  <a:lnTo>
                    <a:pt x="16" y="160"/>
                  </a:lnTo>
                  <a:lnTo>
                    <a:pt x="16" y="184"/>
                  </a:lnTo>
                  <a:lnTo>
                    <a:pt x="24" y="200"/>
                  </a:lnTo>
                  <a:lnTo>
                    <a:pt x="8" y="200"/>
                  </a:lnTo>
                  <a:lnTo>
                    <a:pt x="8" y="208"/>
                  </a:lnTo>
                  <a:lnTo>
                    <a:pt x="16" y="216"/>
                  </a:lnTo>
                  <a:lnTo>
                    <a:pt x="24" y="240"/>
                  </a:lnTo>
                  <a:lnTo>
                    <a:pt x="64" y="232"/>
                  </a:lnTo>
                  <a:lnTo>
                    <a:pt x="72" y="224"/>
                  </a:lnTo>
                  <a:lnTo>
                    <a:pt x="72" y="216"/>
                  </a:lnTo>
                  <a:lnTo>
                    <a:pt x="96" y="208"/>
                  </a:lnTo>
                  <a:lnTo>
                    <a:pt x="112" y="192"/>
                  </a:lnTo>
                  <a:lnTo>
                    <a:pt x="120" y="184"/>
                  </a:lnTo>
                  <a:lnTo>
                    <a:pt x="128" y="176"/>
                  </a:lnTo>
                  <a:lnTo>
                    <a:pt x="112" y="152"/>
                  </a:lnTo>
                  <a:lnTo>
                    <a:pt x="128" y="112"/>
                  </a:lnTo>
                  <a:lnTo>
                    <a:pt x="136" y="112"/>
                  </a:lnTo>
                  <a:lnTo>
                    <a:pt x="136" y="104"/>
                  </a:lnTo>
                  <a:lnTo>
                    <a:pt x="136" y="56"/>
                  </a:lnTo>
                  <a:lnTo>
                    <a:pt x="40" y="0"/>
                  </a:lnTo>
                  <a:lnTo>
                    <a:pt x="16" y="0"/>
                  </a:lnTo>
                  <a:lnTo>
                    <a:pt x="16"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5" name="Freeform 39">
              <a:extLst>
                <a:ext uri="{FF2B5EF4-FFF2-40B4-BE49-F238E27FC236}">
                  <a16:creationId xmlns:a16="http://schemas.microsoft.com/office/drawing/2014/main" id="{78771AE2-BD51-8AB2-AD37-114E213ABC7F}"/>
                </a:ext>
              </a:extLst>
            </p:cNvPr>
            <p:cNvSpPr>
              <a:spLocks/>
            </p:cNvSpPr>
            <p:nvPr/>
          </p:nvSpPr>
          <p:spPr bwMode="auto">
            <a:xfrm>
              <a:off x="5035728" y="2422942"/>
              <a:ext cx="277982" cy="164601"/>
            </a:xfrm>
            <a:custGeom>
              <a:avLst/>
              <a:gdLst>
                <a:gd name="T0" fmla="*/ 0 w 136"/>
                <a:gd name="T1" fmla="*/ 24 h 80"/>
                <a:gd name="T2" fmla="*/ 16 w 136"/>
                <a:gd name="T3" fmla="*/ 16 h 80"/>
                <a:gd name="T4" fmla="*/ 40 w 136"/>
                <a:gd name="T5" fmla="*/ 48 h 80"/>
                <a:gd name="T6" fmla="*/ 88 w 136"/>
                <a:gd name="T7" fmla="*/ 8 h 80"/>
                <a:gd name="T8" fmla="*/ 128 w 136"/>
                <a:gd name="T9" fmla="*/ 0 h 80"/>
                <a:gd name="T10" fmla="*/ 136 w 136"/>
                <a:gd name="T11" fmla="*/ 16 h 80"/>
                <a:gd name="T12" fmla="*/ 136 w 136"/>
                <a:gd name="T13" fmla="*/ 24 h 80"/>
                <a:gd name="T14" fmla="*/ 128 w 136"/>
                <a:gd name="T15" fmla="*/ 24 h 80"/>
                <a:gd name="T16" fmla="*/ 128 w 136"/>
                <a:gd name="T17" fmla="*/ 32 h 80"/>
                <a:gd name="T18" fmla="*/ 96 w 136"/>
                <a:gd name="T19" fmla="*/ 48 h 80"/>
                <a:gd name="T20" fmla="*/ 64 w 136"/>
                <a:gd name="T21" fmla="*/ 72 h 80"/>
                <a:gd name="T22" fmla="*/ 40 w 136"/>
                <a:gd name="T23" fmla="*/ 72 h 80"/>
                <a:gd name="T24" fmla="*/ 32 w 136"/>
                <a:gd name="T25" fmla="*/ 80 h 80"/>
                <a:gd name="T26" fmla="*/ 16 w 136"/>
                <a:gd name="T27" fmla="*/ 80 h 80"/>
                <a:gd name="T28" fmla="*/ 0 w 136"/>
                <a:gd name="T29"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 h="80">
                  <a:moveTo>
                    <a:pt x="0" y="24"/>
                  </a:moveTo>
                  <a:lnTo>
                    <a:pt x="16" y="16"/>
                  </a:lnTo>
                  <a:lnTo>
                    <a:pt x="40" y="48"/>
                  </a:lnTo>
                  <a:lnTo>
                    <a:pt x="88" y="8"/>
                  </a:lnTo>
                  <a:lnTo>
                    <a:pt x="128" y="0"/>
                  </a:lnTo>
                  <a:lnTo>
                    <a:pt x="136" y="16"/>
                  </a:lnTo>
                  <a:lnTo>
                    <a:pt x="136" y="24"/>
                  </a:lnTo>
                  <a:lnTo>
                    <a:pt x="128" y="24"/>
                  </a:lnTo>
                  <a:lnTo>
                    <a:pt x="128" y="32"/>
                  </a:lnTo>
                  <a:lnTo>
                    <a:pt x="96" y="48"/>
                  </a:lnTo>
                  <a:lnTo>
                    <a:pt x="64" y="72"/>
                  </a:lnTo>
                  <a:lnTo>
                    <a:pt x="40" y="72"/>
                  </a:lnTo>
                  <a:lnTo>
                    <a:pt x="32" y="80"/>
                  </a:lnTo>
                  <a:lnTo>
                    <a:pt x="16" y="80"/>
                  </a:lnTo>
                  <a:lnTo>
                    <a:pt x="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6" name="Freeform 40">
              <a:extLst>
                <a:ext uri="{FF2B5EF4-FFF2-40B4-BE49-F238E27FC236}">
                  <a16:creationId xmlns:a16="http://schemas.microsoft.com/office/drawing/2014/main" id="{C5988141-71D1-B61E-BD36-D74CE3FC6BB3}"/>
                </a:ext>
              </a:extLst>
            </p:cNvPr>
            <p:cNvSpPr>
              <a:spLocks/>
            </p:cNvSpPr>
            <p:nvPr/>
          </p:nvSpPr>
          <p:spPr bwMode="auto">
            <a:xfrm>
              <a:off x="5297195" y="2208506"/>
              <a:ext cx="196841" cy="247657"/>
            </a:xfrm>
            <a:custGeom>
              <a:avLst/>
              <a:gdLst>
                <a:gd name="T0" fmla="*/ 24 w 96"/>
                <a:gd name="T1" fmla="*/ 120 h 120"/>
                <a:gd name="T2" fmla="*/ 32 w 96"/>
                <a:gd name="T3" fmla="*/ 120 h 120"/>
                <a:gd name="T4" fmla="*/ 40 w 96"/>
                <a:gd name="T5" fmla="*/ 104 h 120"/>
                <a:gd name="T6" fmla="*/ 56 w 96"/>
                <a:gd name="T7" fmla="*/ 104 h 120"/>
                <a:gd name="T8" fmla="*/ 64 w 96"/>
                <a:gd name="T9" fmla="*/ 88 h 120"/>
                <a:gd name="T10" fmla="*/ 72 w 96"/>
                <a:gd name="T11" fmla="*/ 88 h 120"/>
                <a:gd name="T12" fmla="*/ 72 w 96"/>
                <a:gd name="T13" fmla="*/ 72 h 120"/>
                <a:gd name="T14" fmla="*/ 88 w 96"/>
                <a:gd name="T15" fmla="*/ 48 h 120"/>
                <a:gd name="T16" fmla="*/ 96 w 96"/>
                <a:gd name="T17" fmla="*/ 32 h 120"/>
                <a:gd name="T18" fmla="*/ 80 w 96"/>
                <a:gd name="T19" fmla="*/ 16 h 120"/>
                <a:gd name="T20" fmla="*/ 56 w 96"/>
                <a:gd name="T21" fmla="*/ 8 h 120"/>
                <a:gd name="T22" fmla="*/ 48 w 96"/>
                <a:gd name="T23" fmla="*/ 0 h 120"/>
                <a:gd name="T24" fmla="*/ 40 w 96"/>
                <a:gd name="T25" fmla="*/ 8 h 120"/>
                <a:gd name="T26" fmla="*/ 40 w 96"/>
                <a:gd name="T27" fmla="*/ 16 h 120"/>
                <a:gd name="T28" fmla="*/ 32 w 96"/>
                <a:gd name="T29" fmla="*/ 16 h 120"/>
                <a:gd name="T30" fmla="*/ 40 w 96"/>
                <a:gd name="T31" fmla="*/ 24 h 120"/>
                <a:gd name="T32" fmla="*/ 48 w 96"/>
                <a:gd name="T33" fmla="*/ 32 h 120"/>
                <a:gd name="T34" fmla="*/ 48 w 96"/>
                <a:gd name="T35" fmla="*/ 48 h 120"/>
                <a:gd name="T36" fmla="*/ 32 w 96"/>
                <a:gd name="T37" fmla="*/ 80 h 120"/>
                <a:gd name="T38" fmla="*/ 0 w 96"/>
                <a:gd name="T39" fmla="*/ 104 h 120"/>
                <a:gd name="T40" fmla="*/ 8 w 96"/>
                <a:gd name="T41" fmla="*/ 120 h 120"/>
                <a:gd name="T42" fmla="*/ 24 w 96"/>
                <a:gd name="T4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20">
                  <a:moveTo>
                    <a:pt x="24" y="120"/>
                  </a:moveTo>
                  <a:lnTo>
                    <a:pt x="32" y="120"/>
                  </a:lnTo>
                  <a:lnTo>
                    <a:pt x="40" y="104"/>
                  </a:lnTo>
                  <a:lnTo>
                    <a:pt x="56" y="104"/>
                  </a:lnTo>
                  <a:lnTo>
                    <a:pt x="64" y="88"/>
                  </a:lnTo>
                  <a:lnTo>
                    <a:pt x="72" y="88"/>
                  </a:lnTo>
                  <a:lnTo>
                    <a:pt x="72" y="72"/>
                  </a:lnTo>
                  <a:lnTo>
                    <a:pt x="88" y="48"/>
                  </a:lnTo>
                  <a:lnTo>
                    <a:pt x="96" y="32"/>
                  </a:lnTo>
                  <a:lnTo>
                    <a:pt x="80" y="16"/>
                  </a:lnTo>
                  <a:lnTo>
                    <a:pt x="56" y="8"/>
                  </a:lnTo>
                  <a:lnTo>
                    <a:pt x="48" y="0"/>
                  </a:lnTo>
                  <a:lnTo>
                    <a:pt x="40" y="8"/>
                  </a:lnTo>
                  <a:lnTo>
                    <a:pt x="40" y="16"/>
                  </a:lnTo>
                  <a:lnTo>
                    <a:pt x="32" y="16"/>
                  </a:lnTo>
                  <a:lnTo>
                    <a:pt x="40" y="24"/>
                  </a:lnTo>
                  <a:lnTo>
                    <a:pt x="48" y="32"/>
                  </a:lnTo>
                  <a:lnTo>
                    <a:pt x="48" y="48"/>
                  </a:lnTo>
                  <a:lnTo>
                    <a:pt x="32" y="80"/>
                  </a:lnTo>
                  <a:lnTo>
                    <a:pt x="0" y="104"/>
                  </a:lnTo>
                  <a:lnTo>
                    <a:pt x="8" y="120"/>
                  </a:lnTo>
                  <a:lnTo>
                    <a:pt x="24" y="12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7" name="Freeform 41">
              <a:extLst>
                <a:ext uri="{FF2B5EF4-FFF2-40B4-BE49-F238E27FC236}">
                  <a16:creationId xmlns:a16="http://schemas.microsoft.com/office/drawing/2014/main" id="{E25A00C6-7E3B-27C2-188A-CA7677530C82}"/>
                </a:ext>
              </a:extLst>
            </p:cNvPr>
            <p:cNvSpPr>
              <a:spLocks/>
            </p:cNvSpPr>
            <p:nvPr/>
          </p:nvSpPr>
          <p:spPr bwMode="auto">
            <a:xfrm>
              <a:off x="4805830" y="1978969"/>
              <a:ext cx="590523" cy="543636"/>
            </a:xfrm>
            <a:custGeom>
              <a:avLst/>
              <a:gdLst>
                <a:gd name="T0" fmla="*/ 128 w 288"/>
                <a:gd name="T1" fmla="*/ 48 h 264"/>
                <a:gd name="T2" fmla="*/ 136 w 288"/>
                <a:gd name="T3" fmla="*/ 48 h 264"/>
                <a:gd name="T4" fmla="*/ 152 w 288"/>
                <a:gd name="T5" fmla="*/ 48 h 264"/>
                <a:gd name="T6" fmla="*/ 176 w 288"/>
                <a:gd name="T7" fmla="*/ 56 h 264"/>
                <a:gd name="T8" fmla="*/ 200 w 288"/>
                <a:gd name="T9" fmla="*/ 80 h 264"/>
                <a:gd name="T10" fmla="*/ 208 w 288"/>
                <a:gd name="T11" fmla="*/ 104 h 264"/>
                <a:gd name="T12" fmla="*/ 216 w 288"/>
                <a:gd name="T13" fmla="*/ 120 h 264"/>
                <a:gd name="T14" fmla="*/ 216 w 288"/>
                <a:gd name="T15" fmla="*/ 128 h 264"/>
                <a:gd name="T16" fmla="*/ 216 w 288"/>
                <a:gd name="T17" fmla="*/ 136 h 264"/>
                <a:gd name="T18" fmla="*/ 224 w 288"/>
                <a:gd name="T19" fmla="*/ 136 h 264"/>
                <a:gd name="T20" fmla="*/ 232 w 288"/>
                <a:gd name="T21" fmla="*/ 136 h 264"/>
                <a:gd name="T22" fmla="*/ 240 w 288"/>
                <a:gd name="T23" fmla="*/ 136 h 264"/>
                <a:gd name="T24" fmla="*/ 248 w 288"/>
                <a:gd name="T25" fmla="*/ 136 h 264"/>
                <a:gd name="T26" fmla="*/ 256 w 288"/>
                <a:gd name="T27" fmla="*/ 136 h 264"/>
                <a:gd name="T28" fmla="*/ 264 w 288"/>
                <a:gd name="T29" fmla="*/ 136 h 264"/>
                <a:gd name="T30" fmla="*/ 264 w 288"/>
                <a:gd name="T31" fmla="*/ 128 h 264"/>
                <a:gd name="T32" fmla="*/ 272 w 288"/>
                <a:gd name="T33" fmla="*/ 128 h 264"/>
                <a:gd name="T34" fmla="*/ 280 w 288"/>
                <a:gd name="T35" fmla="*/ 136 h 264"/>
                <a:gd name="T36" fmla="*/ 288 w 288"/>
                <a:gd name="T37" fmla="*/ 144 h 264"/>
                <a:gd name="T38" fmla="*/ 288 w 288"/>
                <a:gd name="T39" fmla="*/ 160 h 264"/>
                <a:gd name="T40" fmla="*/ 272 w 288"/>
                <a:gd name="T41" fmla="*/ 192 h 264"/>
                <a:gd name="T42" fmla="*/ 240 w 288"/>
                <a:gd name="T43" fmla="*/ 216 h 264"/>
                <a:gd name="T44" fmla="*/ 200 w 288"/>
                <a:gd name="T45" fmla="*/ 224 h 264"/>
                <a:gd name="T46" fmla="*/ 152 w 288"/>
                <a:gd name="T47" fmla="*/ 264 h 264"/>
                <a:gd name="T48" fmla="*/ 128 w 288"/>
                <a:gd name="T49" fmla="*/ 232 h 264"/>
                <a:gd name="T50" fmla="*/ 112 w 288"/>
                <a:gd name="T51" fmla="*/ 240 h 264"/>
                <a:gd name="T52" fmla="*/ 112 w 288"/>
                <a:gd name="T53" fmla="*/ 232 h 264"/>
                <a:gd name="T54" fmla="*/ 88 w 288"/>
                <a:gd name="T55" fmla="*/ 192 h 264"/>
                <a:gd name="T56" fmla="*/ 72 w 288"/>
                <a:gd name="T57" fmla="*/ 184 h 264"/>
                <a:gd name="T58" fmla="*/ 64 w 288"/>
                <a:gd name="T59" fmla="*/ 168 h 264"/>
                <a:gd name="T60" fmla="*/ 64 w 288"/>
                <a:gd name="T61" fmla="*/ 144 h 264"/>
                <a:gd name="T62" fmla="*/ 56 w 288"/>
                <a:gd name="T63" fmla="*/ 128 h 264"/>
                <a:gd name="T64" fmla="*/ 40 w 288"/>
                <a:gd name="T65" fmla="*/ 120 h 264"/>
                <a:gd name="T66" fmla="*/ 8 w 288"/>
                <a:gd name="T67" fmla="*/ 64 h 264"/>
                <a:gd name="T68" fmla="*/ 0 w 288"/>
                <a:gd name="T69" fmla="*/ 64 h 264"/>
                <a:gd name="T70" fmla="*/ 0 w 288"/>
                <a:gd name="T71" fmla="*/ 40 h 264"/>
                <a:gd name="T72" fmla="*/ 16 w 288"/>
                <a:gd name="T73" fmla="*/ 40 h 264"/>
                <a:gd name="T74" fmla="*/ 24 w 288"/>
                <a:gd name="T75" fmla="*/ 32 h 264"/>
                <a:gd name="T76" fmla="*/ 32 w 288"/>
                <a:gd name="T77" fmla="*/ 32 h 264"/>
                <a:gd name="T78" fmla="*/ 40 w 288"/>
                <a:gd name="T79" fmla="*/ 24 h 264"/>
                <a:gd name="T80" fmla="*/ 24 w 288"/>
                <a:gd name="T81" fmla="*/ 8 h 264"/>
                <a:gd name="T82" fmla="*/ 56 w 288"/>
                <a:gd name="T83" fmla="*/ 0 h 264"/>
                <a:gd name="T84" fmla="*/ 72 w 288"/>
                <a:gd name="T85" fmla="*/ 8 h 264"/>
                <a:gd name="T86" fmla="*/ 104 w 288"/>
                <a:gd name="T87" fmla="*/ 24 h 264"/>
                <a:gd name="T88" fmla="*/ 112 w 288"/>
                <a:gd name="T89" fmla="*/ 24 h 264"/>
                <a:gd name="T90" fmla="*/ 112 w 288"/>
                <a:gd name="T91" fmla="*/ 40 h 264"/>
                <a:gd name="T92" fmla="*/ 128 w 288"/>
                <a:gd name="T93" fmla="*/ 4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8" h="264">
                  <a:moveTo>
                    <a:pt x="128" y="48"/>
                  </a:moveTo>
                  <a:lnTo>
                    <a:pt x="136" y="48"/>
                  </a:lnTo>
                  <a:lnTo>
                    <a:pt x="152" y="48"/>
                  </a:lnTo>
                  <a:lnTo>
                    <a:pt x="176" y="56"/>
                  </a:lnTo>
                  <a:lnTo>
                    <a:pt x="200" y="80"/>
                  </a:lnTo>
                  <a:lnTo>
                    <a:pt x="208" y="104"/>
                  </a:lnTo>
                  <a:lnTo>
                    <a:pt x="216" y="120"/>
                  </a:lnTo>
                  <a:lnTo>
                    <a:pt x="216" y="128"/>
                  </a:lnTo>
                  <a:lnTo>
                    <a:pt x="216" y="136"/>
                  </a:lnTo>
                  <a:lnTo>
                    <a:pt x="224" y="136"/>
                  </a:lnTo>
                  <a:lnTo>
                    <a:pt x="232" y="136"/>
                  </a:lnTo>
                  <a:lnTo>
                    <a:pt x="240" y="136"/>
                  </a:lnTo>
                  <a:lnTo>
                    <a:pt x="248" y="136"/>
                  </a:lnTo>
                  <a:lnTo>
                    <a:pt x="256" y="136"/>
                  </a:lnTo>
                  <a:lnTo>
                    <a:pt x="264" y="136"/>
                  </a:lnTo>
                  <a:lnTo>
                    <a:pt x="264" y="128"/>
                  </a:lnTo>
                  <a:lnTo>
                    <a:pt x="272" y="128"/>
                  </a:lnTo>
                  <a:lnTo>
                    <a:pt x="280" y="136"/>
                  </a:lnTo>
                  <a:lnTo>
                    <a:pt x="288" y="144"/>
                  </a:lnTo>
                  <a:lnTo>
                    <a:pt x="288" y="160"/>
                  </a:lnTo>
                  <a:lnTo>
                    <a:pt x="272" y="192"/>
                  </a:lnTo>
                  <a:lnTo>
                    <a:pt x="240" y="216"/>
                  </a:lnTo>
                  <a:lnTo>
                    <a:pt x="200" y="224"/>
                  </a:lnTo>
                  <a:lnTo>
                    <a:pt x="152" y="264"/>
                  </a:lnTo>
                  <a:lnTo>
                    <a:pt x="128" y="232"/>
                  </a:lnTo>
                  <a:lnTo>
                    <a:pt x="112" y="240"/>
                  </a:lnTo>
                  <a:lnTo>
                    <a:pt x="112" y="232"/>
                  </a:lnTo>
                  <a:lnTo>
                    <a:pt x="88" y="192"/>
                  </a:lnTo>
                  <a:lnTo>
                    <a:pt x="72" y="184"/>
                  </a:lnTo>
                  <a:lnTo>
                    <a:pt x="64" y="168"/>
                  </a:lnTo>
                  <a:lnTo>
                    <a:pt x="64" y="144"/>
                  </a:lnTo>
                  <a:lnTo>
                    <a:pt x="56" y="128"/>
                  </a:lnTo>
                  <a:lnTo>
                    <a:pt x="40" y="120"/>
                  </a:lnTo>
                  <a:lnTo>
                    <a:pt x="8" y="64"/>
                  </a:lnTo>
                  <a:lnTo>
                    <a:pt x="0" y="64"/>
                  </a:lnTo>
                  <a:lnTo>
                    <a:pt x="0" y="40"/>
                  </a:lnTo>
                  <a:lnTo>
                    <a:pt x="16" y="40"/>
                  </a:lnTo>
                  <a:lnTo>
                    <a:pt x="24" y="32"/>
                  </a:lnTo>
                  <a:lnTo>
                    <a:pt x="32" y="32"/>
                  </a:lnTo>
                  <a:lnTo>
                    <a:pt x="40" y="24"/>
                  </a:lnTo>
                  <a:lnTo>
                    <a:pt x="24" y="8"/>
                  </a:lnTo>
                  <a:lnTo>
                    <a:pt x="56" y="0"/>
                  </a:lnTo>
                  <a:lnTo>
                    <a:pt x="72" y="8"/>
                  </a:lnTo>
                  <a:lnTo>
                    <a:pt x="104" y="24"/>
                  </a:lnTo>
                  <a:lnTo>
                    <a:pt x="112" y="24"/>
                  </a:lnTo>
                  <a:lnTo>
                    <a:pt x="112" y="40"/>
                  </a:lnTo>
                  <a:lnTo>
                    <a:pt x="128" y="4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8" name="Freeform 42">
              <a:extLst>
                <a:ext uri="{FF2B5EF4-FFF2-40B4-BE49-F238E27FC236}">
                  <a16:creationId xmlns:a16="http://schemas.microsoft.com/office/drawing/2014/main" id="{F281A99A-FE0F-B366-D00A-C433DC6A88EE}"/>
                </a:ext>
              </a:extLst>
            </p:cNvPr>
            <p:cNvSpPr>
              <a:spLocks/>
            </p:cNvSpPr>
            <p:nvPr/>
          </p:nvSpPr>
          <p:spPr bwMode="auto">
            <a:xfrm>
              <a:off x="5232584" y="2176793"/>
              <a:ext cx="31555" cy="48322"/>
            </a:xfrm>
            <a:custGeom>
              <a:avLst/>
              <a:gdLst>
                <a:gd name="T0" fmla="*/ 0 w 16"/>
                <a:gd name="T1" fmla="*/ 8 h 24"/>
                <a:gd name="T2" fmla="*/ 8 w 16"/>
                <a:gd name="T3" fmla="*/ 0 h 24"/>
                <a:gd name="T4" fmla="*/ 16 w 16"/>
                <a:gd name="T5" fmla="*/ 0 h 24"/>
                <a:gd name="T6" fmla="*/ 16 w 16"/>
                <a:gd name="T7" fmla="*/ 16 h 24"/>
                <a:gd name="T8" fmla="*/ 8 w 16"/>
                <a:gd name="T9" fmla="*/ 24 h 24"/>
                <a:gd name="T10" fmla="*/ 0 w 16"/>
                <a:gd name="T11" fmla="*/ 8 h 24"/>
              </a:gdLst>
              <a:ahLst/>
              <a:cxnLst>
                <a:cxn ang="0">
                  <a:pos x="T0" y="T1"/>
                </a:cxn>
                <a:cxn ang="0">
                  <a:pos x="T2" y="T3"/>
                </a:cxn>
                <a:cxn ang="0">
                  <a:pos x="T4" y="T5"/>
                </a:cxn>
                <a:cxn ang="0">
                  <a:pos x="T6" y="T7"/>
                </a:cxn>
                <a:cxn ang="0">
                  <a:pos x="T8" y="T9"/>
                </a:cxn>
                <a:cxn ang="0">
                  <a:pos x="T10" y="T11"/>
                </a:cxn>
              </a:cxnLst>
              <a:rect l="0" t="0" r="r" b="b"/>
              <a:pathLst>
                <a:path w="16" h="24">
                  <a:moveTo>
                    <a:pt x="0" y="8"/>
                  </a:moveTo>
                  <a:lnTo>
                    <a:pt x="8" y="0"/>
                  </a:lnTo>
                  <a:lnTo>
                    <a:pt x="16" y="0"/>
                  </a:lnTo>
                  <a:lnTo>
                    <a:pt x="16" y="16"/>
                  </a:lnTo>
                  <a:lnTo>
                    <a:pt x="8" y="24"/>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9" name="Freeform 43">
              <a:extLst>
                <a:ext uri="{FF2B5EF4-FFF2-40B4-BE49-F238E27FC236}">
                  <a16:creationId xmlns:a16="http://schemas.microsoft.com/office/drawing/2014/main" id="{7161CB06-141D-130F-1DA1-F340A4A970F9}"/>
                </a:ext>
              </a:extLst>
            </p:cNvPr>
            <p:cNvSpPr>
              <a:spLocks/>
            </p:cNvSpPr>
            <p:nvPr/>
          </p:nvSpPr>
          <p:spPr bwMode="auto">
            <a:xfrm>
              <a:off x="5247595" y="2176805"/>
              <a:ext cx="148757" cy="81547"/>
            </a:xfrm>
            <a:custGeom>
              <a:avLst/>
              <a:gdLst>
                <a:gd name="T0" fmla="*/ 72 w 72"/>
                <a:gd name="T1" fmla="*/ 8 h 40"/>
                <a:gd name="T2" fmla="*/ 72 w 72"/>
                <a:gd name="T3" fmla="*/ 16 h 40"/>
                <a:gd name="T4" fmla="*/ 64 w 72"/>
                <a:gd name="T5" fmla="*/ 24 h 40"/>
                <a:gd name="T6" fmla="*/ 64 w 72"/>
                <a:gd name="T7" fmla="*/ 32 h 40"/>
                <a:gd name="T8" fmla="*/ 56 w 72"/>
                <a:gd name="T9" fmla="*/ 32 h 40"/>
                <a:gd name="T10" fmla="*/ 48 w 72"/>
                <a:gd name="T11" fmla="*/ 32 h 40"/>
                <a:gd name="T12" fmla="*/ 48 w 72"/>
                <a:gd name="T13" fmla="*/ 40 h 40"/>
                <a:gd name="T14" fmla="*/ 40 w 72"/>
                <a:gd name="T15" fmla="*/ 40 h 40"/>
                <a:gd name="T16" fmla="*/ 32 w 72"/>
                <a:gd name="T17" fmla="*/ 40 h 40"/>
                <a:gd name="T18" fmla="*/ 24 w 72"/>
                <a:gd name="T19" fmla="*/ 40 h 40"/>
                <a:gd name="T20" fmla="*/ 16 w 72"/>
                <a:gd name="T21" fmla="*/ 40 h 40"/>
                <a:gd name="T22" fmla="*/ 8 w 72"/>
                <a:gd name="T23" fmla="*/ 40 h 40"/>
                <a:gd name="T24" fmla="*/ 0 w 72"/>
                <a:gd name="T25" fmla="*/ 40 h 40"/>
                <a:gd name="T26" fmla="*/ 0 w 72"/>
                <a:gd name="T27" fmla="*/ 32 h 40"/>
                <a:gd name="T28" fmla="*/ 0 w 72"/>
                <a:gd name="T29" fmla="*/ 24 h 40"/>
                <a:gd name="T30" fmla="*/ 16 w 72"/>
                <a:gd name="T31" fmla="*/ 32 h 40"/>
                <a:gd name="T32" fmla="*/ 24 w 72"/>
                <a:gd name="T33" fmla="*/ 24 h 40"/>
                <a:gd name="T34" fmla="*/ 40 w 72"/>
                <a:gd name="T35" fmla="*/ 24 h 40"/>
                <a:gd name="T36" fmla="*/ 64 w 72"/>
                <a:gd name="T37" fmla="*/ 0 h 40"/>
                <a:gd name="T38" fmla="*/ 72 w 72"/>
                <a:gd name="T3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40">
                  <a:moveTo>
                    <a:pt x="72" y="8"/>
                  </a:moveTo>
                  <a:lnTo>
                    <a:pt x="72" y="16"/>
                  </a:lnTo>
                  <a:lnTo>
                    <a:pt x="64" y="24"/>
                  </a:lnTo>
                  <a:lnTo>
                    <a:pt x="64" y="32"/>
                  </a:lnTo>
                  <a:lnTo>
                    <a:pt x="56" y="32"/>
                  </a:lnTo>
                  <a:lnTo>
                    <a:pt x="48" y="32"/>
                  </a:lnTo>
                  <a:lnTo>
                    <a:pt x="48" y="40"/>
                  </a:lnTo>
                  <a:lnTo>
                    <a:pt x="40" y="40"/>
                  </a:lnTo>
                  <a:lnTo>
                    <a:pt x="32" y="40"/>
                  </a:lnTo>
                  <a:lnTo>
                    <a:pt x="24" y="40"/>
                  </a:lnTo>
                  <a:lnTo>
                    <a:pt x="16" y="40"/>
                  </a:lnTo>
                  <a:lnTo>
                    <a:pt x="8" y="40"/>
                  </a:lnTo>
                  <a:lnTo>
                    <a:pt x="0" y="40"/>
                  </a:lnTo>
                  <a:lnTo>
                    <a:pt x="0" y="32"/>
                  </a:lnTo>
                  <a:lnTo>
                    <a:pt x="0" y="24"/>
                  </a:lnTo>
                  <a:lnTo>
                    <a:pt x="16" y="32"/>
                  </a:lnTo>
                  <a:lnTo>
                    <a:pt x="24" y="24"/>
                  </a:lnTo>
                  <a:lnTo>
                    <a:pt x="40" y="24"/>
                  </a:lnTo>
                  <a:lnTo>
                    <a:pt x="64" y="0"/>
                  </a:lnTo>
                  <a:lnTo>
                    <a:pt x="72"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0" name="Freeform 44">
              <a:extLst>
                <a:ext uri="{FF2B5EF4-FFF2-40B4-BE49-F238E27FC236}">
                  <a16:creationId xmlns:a16="http://schemas.microsoft.com/office/drawing/2014/main" id="{2DCF44B8-212D-6503-1E6E-95C70511179A}"/>
                </a:ext>
              </a:extLst>
            </p:cNvPr>
            <p:cNvSpPr>
              <a:spLocks/>
            </p:cNvSpPr>
            <p:nvPr/>
          </p:nvSpPr>
          <p:spPr bwMode="auto">
            <a:xfrm>
              <a:off x="5379823" y="2160181"/>
              <a:ext cx="16528" cy="31713"/>
            </a:xfrm>
            <a:custGeom>
              <a:avLst/>
              <a:gdLst>
                <a:gd name="T0" fmla="*/ 8 w 8"/>
                <a:gd name="T1" fmla="*/ 16 h 16"/>
                <a:gd name="T2" fmla="*/ 8 w 8"/>
                <a:gd name="T3" fmla="*/ 0 h 16"/>
                <a:gd name="T4" fmla="*/ 0 w 8"/>
                <a:gd name="T5" fmla="*/ 0 h 16"/>
                <a:gd name="T6" fmla="*/ 0 w 8"/>
                <a:gd name="T7" fmla="*/ 8 h 16"/>
                <a:gd name="T8" fmla="*/ 8 w 8"/>
                <a:gd name="T9" fmla="*/ 16 h 16"/>
              </a:gdLst>
              <a:ahLst/>
              <a:cxnLst>
                <a:cxn ang="0">
                  <a:pos x="T0" y="T1"/>
                </a:cxn>
                <a:cxn ang="0">
                  <a:pos x="T2" y="T3"/>
                </a:cxn>
                <a:cxn ang="0">
                  <a:pos x="T4" y="T5"/>
                </a:cxn>
                <a:cxn ang="0">
                  <a:pos x="T6" y="T7"/>
                </a:cxn>
                <a:cxn ang="0">
                  <a:pos x="T8" y="T9"/>
                </a:cxn>
              </a:cxnLst>
              <a:rect l="0" t="0" r="r" b="b"/>
              <a:pathLst>
                <a:path w="8" h="16">
                  <a:moveTo>
                    <a:pt x="8" y="16"/>
                  </a:moveTo>
                  <a:lnTo>
                    <a:pt x="8" y="0"/>
                  </a:lnTo>
                  <a:lnTo>
                    <a:pt x="0" y="0"/>
                  </a:lnTo>
                  <a:lnTo>
                    <a:pt x="0" y="8"/>
                  </a:lnTo>
                  <a:lnTo>
                    <a:pt x="8"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1" name="Freeform 45">
              <a:extLst>
                <a:ext uri="{FF2B5EF4-FFF2-40B4-BE49-F238E27FC236}">
                  <a16:creationId xmlns:a16="http://schemas.microsoft.com/office/drawing/2014/main" id="{961934E3-3A19-90FC-4222-A2243537BE75}"/>
                </a:ext>
              </a:extLst>
            </p:cNvPr>
            <p:cNvSpPr>
              <a:spLocks/>
            </p:cNvSpPr>
            <p:nvPr/>
          </p:nvSpPr>
          <p:spPr bwMode="auto">
            <a:xfrm>
              <a:off x="7457939" y="2983189"/>
              <a:ext cx="279483" cy="279368"/>
            </a:xfrm>
            <a:custGeom>
              <a:avLst/>
              <a:gdLst>
                <a:gd name="T0" fmla="*/ 136 w 136"/>
                <a:gd name="T1" fmla="*/ 136 h 136"/>
                <a:gd name="T2" fmla="*/ 120 w 136"/>
                <a:gd name="T3" fmla="*/ 120 h 136"/>
                <a:gd name="T4" fmla="*/ 88 w 136"/>
                <a:gd name="T5" fmla="*/ 128 h 136"/>
                <a:gd name="T6" fmla="*/ 96 w 136"/>
                <a:gd name="T7" fmla="*/ 112 h 136"/>
                <a:gd name="T8" fmla="*/ 104 w 136"/>
                <a:gd name="T9" fmla="*/ 112 h 136"/>
                <a:gd name="T10" fmla="*/ 96 w 136"/>
                <a:gd name="T11" fmla="*/ 80 h 136"/>
                <a:gd name="T12" fmla="*/ 88 w 136"/>
                <a:gd name="T13" fmla="*/ 72 h 136"/>
                <a:gd name="T14" fmla="*/ 56 w 136"/>
                <a:gd name="T15" fmla="*/ 64 h 136"/>
                <a:gd name="T16" fmla="*/ 40 w 136"/>
                <a:gd name="T17" fmla="*/ 48 h 136"/>
                <a:gd name="T18" fmla="*/ 32 w 136"/>
                <a:gd name="T19" fmla="*/ 56 h 136"/>
                <a:gd name="T20" fmla="*/ 24 w 136"/>
                <a:gd name="T21" fmla="*/ 56 h 136"/>
                <a:gd name="T22" fmla="*/ 24 w 136"/>
                <a:gd name="T23" fmla="*/ 48 h 136"/>
                <a:gd name="T24" fmla="*/ 16 w 136"/>
                <a:gd name="T25" fmla="*/ 40 h 136"/>
                <a:gd name="T26" fmla="*/ 40 w 136"/>
                <a:gd name="T27" fmla="*/ 40 h 136"/>
                <a:gd name="T28" fmla="*/ 40 w 136"/>
                <a:gd name="T29" fmla="*/ 32 h 136"/>
                <a:gd name="T30" fmla="*/ 16 w 136"/>
                <a:gd name="T31" fmla="*/ 32 h 136"/>
                <a:gd name="T32" fmla="*/ 16 w 136"/>
                <a:gd name="T33" fmla="*/ 24 h 136"/>
                <a:gd name="T34" fmla="*/ 0 w 136"/>
                <a:gd name="T35" fmla="*/ 16 h 136"/>
                <a:gd name="T36" fmla="*/ 16 w 136"/>
                <a:gd name="T37" fmla="*/ 0 h 136"/>
                <a:gd name="T38" fmla="*/ 32 w 136"/>
                <a:gd name="T39" fmla="*/ 0 h 136"/>
                <a:gd name="T40" fmla="*/ 32 w 136"/>
                <a:gd name="T41" fmla="*/ 8 h 136"/>
                <a:gd name="T42" fmla="*/ 40 w 136"/>
                <a:gd name="T43" fmla="*/ 8 h 136"/>
                <a:gd name="T44" fmla="*/ 48 w 136"/>
                <a:gd name="T45" fmla="*/ 32 h 136"/>
                <a:gd name="T46" fmla="*/ 56 w 136"/>
                <a:gd name="T47" fmla="*/ 48 h 136"/>
                <a:gd name="T48" fmla="*/ 64 w 136"/>
                <a:gd name="T49" fmla="*/ 48 h 136"/>
                <a:gd name="T50" fmla="*/ 80 w 136"/>
                <a:gd name="T51" fmla="*/ 32 h 136"/>
                <a:gd name="T52" fmla="*/ 96 w 136"/>
                <a:gd name="T53" fmla="*/ 24 h 136"/>
                <a:gd name="T54" fmla="*/ 136 w 136"/>
                <a:gd name="T55" fmla="*/ 40 h 136"/>
                <a:gd name="T56" fmla="*/ 136 w 136"/>
                <a:gd name="T5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6" h="136">
                  <a:moveTo>
                    <a:pt x="136" y="136"/>
                  </a:moveTo>
                  <a:lnTo>
                    <a:pt x="120" y="120"/>
                  </a:lnTo>
                  <a:lnTo>
                    <a:pt x="88" y="128"/>
                  </a:lnTo>
                  <a:lnTo>
                    <a:pt x="96" y="112"/>
                  </a:lnTo>
                  <a:lnTo>
                    <a:pt x="104" y="112"/>
                  </a:lnTo>
                  <a:lnTo>
                    <a:pt x="96" y="80"/>
                  </a:lnTo>
                  <a:lnTo>
                    <a:pt x="88" y="72"/>
                  </a:lnTo>
                  <a:lnTo>
                    <a:pt x="56" y="64"/>
                  </a:lnTo>
                  <a:lnTo>
                    <a:pt x="40" y="48"/>
                  </a:lnTo>
                  <a:lnTo>
                    <a:pt x="32" y="56"/>
                  </a:lnTo>
                  <a:lnTo>
                    <a:pt x="24" y="56"/>
                  </a:lnTo>
                  <a:lnTo>
                    <a:pt x="24" y="48"/>
                  </a:lnTo>
                  <a:lnTo>
                    <a:pt x="16" y="40"/>
                  </a:lnTo>
                  <a:lnTo>
                    <a:pt x="40" y="40"/>
                  </a:lnTo>
                  <a:lnTo>
                    <a:pt x="40" y="32"/>
                  </a:lnTo>
                  <a:lnTo>
                    <a:pt x="16" y="32"/>
                  </a:lnTo>
                  <a:lnTo>
                    <a:pt x="16" y="24"/>
                  </a:lnTo>
                  <a:lnTo>
                    <a:pt x="0" y="16"/>
                  </a:lnTo>
                  <a:lnTo>
                    <a:pt x="16" y="0"/>
                  </a:lnTo>
                  <a:lnTo>
                    <a:pt x="32" y="0"/>
                  </a:lnTo>
                  <a:lnTo>
                    <a:pt x="32" y="8"/>
                  </a:lnTo>
                  <a:lnTo>
                    <a:pt x="40" y="8"/>
                  </a:lnTo>
                  <a:lnTo>
                    <a:pt x="48" y="32"/>
                  </a:lnTo>
                  <a:lnTo>
                    <a:pt x="56" y="48"/>
                  </a:lnTo>
                  <a:lnTo>
                    <a:pt x="64" y="48"/>
                  </a:lnTo>
                  <a:lnTo>
                    <a:pt x="80" y="32"/>
                  </a:lnTo>
                  <a:lnTo>
                    <a:pt x="96" y="24"/>
                  </a:lnTo>
                  <a:lnTo>
                    <a:pt x="136" y="40"/>
                  </a:lnTo>
                  <a:lnTo>
                    <a:pt x="136" y="13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2" name="Freeform 46">
              <a:extLst>
                <a:ext uri="{FF2B5EF4-FFF2-40B4-BE49-F238E27FC236}">
                  <a16:creationId xmlns:a16="http://schemas.microsoft.com/office/drawing/2014/main" id="{0EA7FD8C-0203-0B1C-9900-4BFF049EC0D6}"/>
                </a:ext>
              </a:extLst>
            </p:cNvPr>
            <p:cNvSpPr>
              <a:spLocks/>
            </p:cNvSpPr>
            <p:nvPr/>
          </p:nvSpPr>
          <p:spPr bwMode="auto">
            <a:xfrm>
              <a:off x="7737411" y="3064734"/>
              <a:ext cx="244924" cy="247657"/>
            </a:xfrm>
            <a:custGeom>
              <a:avLst/>
              <a:gdLst>
                <a:gd name="T0" fmla="*/ 0 w 120"/>
                <a:gd name="T1" fmla="*/ 0 h 120"/>
                <a:gd name="T2" fmla="*/ 32 w 120"/>
                <a:gd name="T3" fmla="*/ 8 h 120"/>
                <a:gd name="T4" fmla="*/ 56 w 120"/>
                <a:gd name="T5" fmla="*/ 24 h 120"/>
                <a:gd name="T6" fmla="*/ 64 w 120"/>
                <a:gd name="T7" fmla="*/ 40 h 120"/>
                <a:gd name="T8" fmla="*/ 80 w 120"/>
                <a:gd name="T9" fmla="*/ 48 h 120"/>
                <a:gd name="T10" fmla="*/ 88 w 120"/>
                <a:gd name="T11" fmla="*/ 48 h 120"/>
                <a:gd name="T12" fmla="*/ 88 w 120"/>
                <a:gd name="T13" fmla="*/ 56 h 120"/>
                <a:gd name="T14" fmla="*/ 80 w 120"/>
                <a:gd name="T15" fmla="*/ 64 h 120"/>
                <a:gd name="T16" fmla="*/ 80 w 120"/>
                <a:gd name="T17" fmla="*/ 72 h 120"/>
                <a:gd name="T18" fmla="*/ 88 w 120"/>
                <a:gd name="T19" fmla="*/ 80 h 120"/>
                <a:gd name="T20" fmla="*/ 96 w 120"/>
                <a:gd name="T21" fmla="*/ 96 h 120"/>
                <a:gd name="T22" fmla="*/ 104 w 120"/>
                <a:gd name="T23" fmla="*/ 96 h 120"/>
                <a:gd name="T24" fmla="*/ 104 w 120"/>
                <a:gd name="T25" fmla="*/ 104 h 120"/>
                <a:gd name="T26" fmla="*/ 112 w 120"/>
                <a:gd name="T27" fmla="*/ 104 h 120"/>
                <a:gd name="T28" fmla="*/ 112 w 120"/>
                <a:gd name="T29" fmla="*/ 112 h 120"/>
                <a:gd name="T30" fmla="*/ 120 w 120"/>
                <a:gd name="T31" fmla="*/ 112 h 120"/>
                <a:gd name="T32" fmla="*/ 120 w 120"/>
                <a:gd name="T33" fmla="*/ 120 h 120"/>
                <a:gd name="T34" fmla="*/ 112 w 120"/>
                <a:gd name="T35" fmla="*/ 120 h 120"/>
                <a:gd name="T36" fmla="*/ 112 w 120"/>
                <a:gd name="T37" fmla="*/ 112 h 120"/>
                <a:gd name="T38" fmla="*/ 80 w 120"/>
                <a:gd name="T39" fmla="*/ 112 h 120"/>
                <a:gd name="T40" fmla="*/ 64 w 120"/>
                <a:gd name="T41" fmla="*/ 80 h 120"/>
                <a:gd name="T42" fmla="*/ 48 w 120"/>
                <a:gd name="T43" fmla="*/ 72 h 120"/>
                <a:gd name="T44" fmla="*/ 40 w 120"/>
                <a:gd name="T45" fmla="*/ 72 h 120"/>
                <a:gd name="T46" fmla="*/ 24 w 120"/>
                <a:gd name="T47" fmla="*/ 88 h 120"/>
                <a:gd name="T48" fmla="*/ 16 w 120"/>
                <a:gd name="T49" fmla="*/ 96 h 120"/>
                <a:gd name="T50" fmla="*/ 0 w 120"/>
                <a:gd name="T51" fmla="*/ 96 h 120"/>
                <a:gd name="T52" fmla="*/ 0 w 120"/>
                <a:gd name="T5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0" y="0"/>
                  </a:moveTo>
                  <a:lnTo>
                    <a:pt x="32" y="8"/>
                  </a:lnTo>
                  <a:lnTo>
                    <a:pt x="56" y="24"/>
                  </a:lnTo>
                  <a:lnTo>
                    <a:pt x="64" y="40"/>
                  </a:lnTo>
                  <a:lnTo>
                    <a:pt x="80" y="48"/>
                  </a:lnTo>
                  <a:lnTo>
                    <a:pt x="88" y="48"/>
                  </a:lnTo>
                  <a:lnTo>
                    <a:pt x="88" y="56"/>
                  </a:lnTo>
                  <a:lnTo>
                    <a:pt x="80" y="64"/>
                  </a:lnTo>
                  <a:lnTo>
                    <a:pt x="80" y="72"/>
                  </a:lnTo>
                  <a:lnTo>
                    <a:pt x="88" y="80"/>
                  </a:lnTo>
                  <a:lnTo>
                    <a:pt x="96" y="96"/>
                  </a:lnTo>
                  <a:lnTo>
                    <a:pt x="104" y="96"/>
                  </a:lnTo>
                  <a:lnTo>
                    <a:pt x="104" y="104"/>
                  </a:lnTo>
                  <a:lnTo>
                    <a:pt x="112" y="104"/>
                  </a:lnTo>
                  <a:lnTo>
                    <a:pt x="112" y="112"/>
                  </a:lnTo>
                  <a:lnTo>
                    <a:pt x="120" y="112"/>
                  </a:lnTo>
                  <a:lnTo>
                    <a:pt x="120" y="120"/>
                  </a:lnTo>
                  <a:lnTo>
                    <a:pt x="112" y="120"/>
                  </a:lnTo>
                  <a:lnTo>
                    <a:pt x="112" y="112"/>
                  </a:lnTo>
                  <a:lnTo>
                    <a:pt x="80" y="112"/>
                  </a:lnTo>
                  <a:lnTo>
                    <a:pt x="64" y="80"/>
                  </a:lnTo>
                  <a:lnTo>
                    <a:pt x="48" y="72"/>
                  </a:lnTo>
                  <a:lnTo>
                    <a:pt x="40" y="72"/>
                  </a:lnTo>
                  <a:lnTo>
                    <a:pt x="24" y="88"/>
                  </a:lnTo>
                  <a:lnTo>
                    <a:pt x="16" y="96"/>
                  </a:lnTo>
                  <a:lnTo>
                    <a:pt x="0" y="96"/>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3" name="Freeform 47">
              <a:extLst>
                <a:ext uri="{FF2B5EF4-FFF2-40B4-BE49-F238E27FC236}">
                  <a16:creationId xmlns:a16="http://schemas.microsoft.com/office/drawing/2014/main" id="{5EDEF5F6-8469-89FE-0636-CB65F959EA77}"/>
                </a:ext>
              </a:extLst>
            </p:cNvPr>
            <p:cNvSpPr>
              <a:spLocks/>
            </p:cNvSpPr>
            <p:nvPr/>
          </p:nvSpPr>
          <p:spPr bwMode="auto">
            <a:xfrm>
              <a:off x="6868905" y="2851821"/>
              <a:ext cx="261453" cy="262760"/>
            </a:xfrm>
            <a:custGeom>
              <a:avLst/>
              <a:gdLst>
                <a:gd name="T0" fmla="*/ 96 w 128"/>
                <a:gd name="T1" fmla="*/ 0 h 128"/>
                <a:gd name="T2" fmla="*/ 88 w 128"/>
                <a:gd name="T3" fmla="*/ 0 h 128"/>
                <a:gd name="T4" fmla="*/ 72 w 128"/>
                <a:gd name="T5" fmla="*/ 40 h 128"/>
                <a:gd name="T6" fmla="*/ 56 w 128"/>
                <a:gd name="T7" fmla="*/ 48 h 128"/>
                <a:gd name="T8" fmla="*/ 40 w 128"/>
                <a:gd name="T9" fmla="*/ 40 h 128"/>
                <a:gd name="T10" fmla="*/ 32 w 128"/>
                <a:gd name="T11" fmla="*/ 48 h 128"/>
                <a:gd name="T12" fmla="*/ 16 w 128"/>
                <a:gd name="T13" fmla="*/ 48 h 128"/>
                <a:gd name="T14" fmla="*/ 8 w 128"/>
                <a:gd name="T15" fmla="*/ 32 h 128"/>
                <a:gd name="T16" fmla="*/ 0 w 128"/>
                <a:gd name="T17" fmla="*/ 48 h 128"/>
                <a:gd name="T18" fmla="*/ 0 w 128"/>
                <a:gd name="T19" fmla="*/ 72 h 128"/>
                <a:gd name="T20" fmla="*/ 8 w 128"/>
                <a:gd name="T21" fmla="*/ 80 h 128"/>
                <a:gd name="T22" fmla="*/ 16 w 128"/>
                <a:gd name="T23" fmla="*/ 104 h 128"/>
                <a:gd name="T24" fmla="*/ 32 w 128"/>
                <a:gd name="T25" fmla="*/ 104 h 128"/>
                <a:gd name="T26" fmla="*/ 32 w 128"/>
                <a:gd name="T27" fmla="*/ 112 h 128"/>
                <a:gd name="T28" fmla="*/ 56 w 128"/>
                <a:gd name="T29" fmla="*/ 112 h 128"/>
                <a:gd name="T30" fmla="*/ 64 w 128"/>
                <a:gd name="T31" fmla="*/ 112 h 128"/>
                <a:gd name="T32" fmla="*/ 72 w 128"/>
                <a:gd name="T33" fmla="*/ 128 h 128"/>
                <a:gd name="T34" fmla="*/ 80 w 128"/>
                <a:gd name="T35" fmla="*/ 120 h 128"/>
                <a:gd name="T36" fmla="*/ 96 w 128"/>
                <a:gd name="T37" fmla="*/ 112 h 128"/>
                <a:gd name="T38" fmla="*/ 96 w 128"/>
                <a:gd name="T39" fmla="*/ 96 h 128"/>
                <a:gd name="T40" fmla="*/ 96 w 128"/>
                <a:gd name="T41" fmla="*/ 88 h 128"/>
                <a:gd name="T42" fmla="*/ 104 w 128"/>
                <a:gd name="T43" fmla="*/ 80 h 128"/>
                <a:gd name="T44" fmla="*/ 120 w 128"/>
                <a:gd name="T45" fmla="*/ 48 h 128"/>
                <a:gd name="T46" fmla="*/ 128 w 128"/>
                <a:gd name="T47" fmla="*/ 48 h 128"/>
                <a:gd name="T48" fmla="*/ 112 w 128"/>
                <a:gd name="T49" fmla="*/ 32 h 128"/>
                <a:gd name="T50" fmla="*/ 120 w 128"/>
                <a:gd name="T51" fmla="*/ 24 h 128"/>
                <a:gd name="T52" fmla="*/ 112 w 128"/>
                <a:gd name="T53" fmla="*/ 16 h 128"/>
                <a:gd name="T54" fmla="*/ 112 w 128"/>
                <a:gd name="T55" fmla="*/ 0 h 128"/>
                <a:gd name="T56" fmla="*/ 96 w 128"/>
                <a:gd name="T5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 h="128">
                  <a:moveTo>
                    <a:pt x="96" y="0"/>
                  </a:moveTo>
                  <a:lnTo>
                    <a:pt x="88" y="0"/>
                  </a:lnTo>
                  <a:lnTo>
                    <a:pt x="72" y="40"/>
                  </a:lnTo>
                  <a:lnTo>
                    <a:pt x="56" y="48"/>
                  </a:lnTo>
                  <a:lnTo>
                    <a:pt x="40" y="40"/>
                  </a:lnTo>
                  <a:lnTo>
                    <a:pt x="32" y="48"/>
                  </a:lnTo>
                  <a:lnTo>
                    <a:pt x="16" y="48"/>
                  </a:lnTo>
                  <a:lnTo>
                    <a:pt x="8" y="32"/>
                  </a:lnTo>
                  <a:lnTo>
                    <a:pt x="0" y="48"/>
                  </a:lnTo>
                  <a:lnTo>
                    <a:pt x="0" y="72"/>
                  </a:lnTo>
                  <a:lnTo>
                    <a:pt x="8" y="80"/>
                  </a:lnTo>
                  <a:lnTo>
                    <a:pt x="16" y="104"/>
                  </a:lnTo>
                  <a:lnTo>
                    <a:pt x="32" y="104"/>
                  </a:lnTo>
                  <a:lnTo>
                    <a:pt x="32" y="112"/>
                  </a:lnTo>
                  <a:lnTo>
                    <a:pt x="56" y="112"/>
                  </a:lnTo>
                  <a:lnTo>
                    <a:pt x="64" y="112"/>
                  </a:lnTo>
                  <a:lnTo>
                    <a:pt x="72" y="128"/>
                  </a:lnTo>
                  <a:lnTo>
                    <a:pt x="80" y="120"/>
                  </a:lnTo>
                  <a:lnTo>
                    <a:pt x="96" y="112"/>
                  </a:lnTo>
                  <a:lnTo>
                    <a:pt x="96" y="96"/>
                  </a:lnTo>
                  <a:lnTo>
                    <a:pt x="96" y="88"/>
                  </a:lnTo>
                  <a:lnTo>
                    <a:pt x="104" y="80"/>
                  </a:lnTo>
                  <a:lnTo>
                    <a:pt x="120" y="48"/>
                  </a:lnTo>
                  <a:lnTo>
                    <a:pt x="128" y="48"/>
                  </a:lnTo>
                  <a:lnTo>
                    <a:pt x="112" y="32"/>
                  </a:lnTo>
                  <a:lnTo>
                    <a:pt x="120" y="24"/>
                  </a:lnTo>
                  <a:lnTo>
                    <a:pt x="112" y="16"/>
                  </a:lnTo>
                  <a:lnTo>
                    <a:pt x="112" y="0"/>
                  </a:lnTo>
                  <a:lnTo>
                    <a:pt x="96"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4" name="Freeform 48">
              <a:extLst>
                <a:ext uri="{FF2B5EF4-FFF2-40B4-BE49-F238E27FC236}">
                  <a16:creationId xmlns:a16="http://schemas.microsoft.com/office/drawing/2014/main" id="{1F8EAE5C-777B-6C39-321D-0BD85E148679}"/>
                </a:ext>
              </a:extLst>
            </p:cNvPr>
            <p:cNvSpPr>
              <a:spLocks/>
            </p:cNvSpPr>
            <p:nvPr/>
          </p:nvSpPr>
          <p:spPr bwMode="auto">
            <a:xfrm>
              <a:off x="6885432" y="2768753"/>
              <a:ext cx="261453" cy="181212"/>
            </a:xfrm>
            <a:custGeom>
              <a:avLst/>
              <a:gdLst>
                <a:gd name="T0" fmla="*/ 120 w 128"/>
                <a:gd name="T1" fmla="*/ 32 h 88"/>
                <a:gd name="T2" fmla="*/ 112 w 128"/>
                <a:gd name="T3" fmla="*/ 32 h 88"/>
                <a:gd name="T4" fmla="*/ 128 w 128"/>
                <a:gd name="T5" fmla="*/ 24 h 88"/>
                <a:gd name="T6" fmla="*/ 104 w 128"/>
                <a:gd name="T7" fmla="*/ 16 h 88"/>
                <a:gd name="T8" fmla="*/ 104 w 128"/>
                <a:gd name="T9" fmla="*/ 8 h 88"/>
                <a:gd name="T10" fmla="*/ 96 w 128"/>
                <a:gd name="T11" fmla="*/ 0 h 88"/>
                <a:gd name="T12" fmla="*/ 72 w 128"/>
                <a:gd name="T13" fmla="*/ 24 h 88"/>
                <a:gd name="T14" fmla="*/ 72 w 128"/>
                <a:gd name="T15" fmla="*/ 32 h 88"/>
                <a:gd name="T16" fmla="*/ 64 w 128"/>
                <a:gd name="T17" fmla="*/ 32 h 88"/>
                <a:gd name="T18" fmla="*/ 64 w 128"/>
                <a:gd name="T19" fmla="*/ 40 h 88"/>
                <a:gd name="T20" fmla="*/ 56 w 128"/>
                <a:gd name="T21" fmla="*/ 32 h 88"/>
                <a:gd name="T22" fmla="*/ 40 w 128"/>
                <a:gd name="T23" fmla="*/ 56 h 88"/>
                <a:gd name="T24" fmla="*/ 24 w 128"/>
                <a:gd name="T25" fmla="*/ 56 h 88"/>
                <a:gd name="T26" fmla="*/ 16 w 128"/>
                <a:gd name="T27" fmla="*/ 80 h 88"/>
                <a:gd name="T28" fmla="*/ 0 w 128"/>
                <a:gd name="T29" fmla="*/ 72 h 88"/>
                <a:gd name="T30" fmla="*/ 8 w 128"/>
                <a:gd name="T31" fmla="*/ 88 h 88"/>
                <a:gd name="T32" fmla="*/ 24 w 128"/>
                <a:gd name="T33" fmla="*/ 88 h 88"/>
                <a:gd name="T34" fmla="*/ 32 w 128"/>
                <a:gd name="T35" fmla="*/ 80 h 88"/>
                <a:gd name="T36" fmla="*/ 48 w 128"/>
                <a:gd name="T37" fmla="*/ 88 h 88"/>
                <a:gd name="T38" fmla="*/ 64 w 128"/>
                <a:gd name="T39" fmla="*/ 80 h 88"/>
                <a:gd name="T40" fmla="*/ 80 w 128"/>
                <a:gd name="T41" fmla="*/ 40 h 88"/>
                <a:gd name="T42" fmla="*/ 88 w 128"/>
                <a:gd name="T43" fmla="*/ 40 h 88"/>
                <a:gd name="T44" fmla="*/ 104 w 128"/>
                <a:gd name="T45" fmla="*/ 40 h 88"/>
                <a:gd name="T46" fmla="*/ 120 w 128"/>
                <a:gd name="T47" fmla="*/ 3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8" h="88">
                  <a:moveTo>
                    <a:pt x="120" y="32"/>
                  </a:moveTo>
                  <a:lnTo>
                    <a:pt x="112" y="32"/>
                  </a:lnTo>
                  <a:lnTo>
                    <a:pt x="128" y="24"/>
                  </a:lnTo>
                  <a:lnTo>
                    <a:pt x="104" y="16"/>
                  </a:lnTo>
                  <a:lnTo>
                    <a:pt x="104" y="8"/>
                  </a:lnTo>
                  <a:lnTo>
                    <a:pt x="96" y="0"/>
                  </a:lnTo>
                  <a:lnTo>
                    <a:pt x="72" y="24"/>
                  </a:lnTo>
                  <a:lnTo>
                    <a:pt x="72" y="32"/>
                  </a:lnTo>
                  <a:lnTo>
                    <a:pt x="64" y="32"/>
                  </a:lnTo>
                  <a:lnTo>
                    <a:pt x="64" y="40"/>
                  </a:lnTo>
                  <a:lnTo>
                    <a:pt x="56" y="32"/>
                  </a:lnTo>
                  <a:lnTo>
                    <a:pt x="40" y="56"/>
                  </a:lnTo>
                  <a:lnTo>
                    <a:pt x="24" y="56"/>
                  </a:lnTo>
                  <a:lnTo>
                    <a:pt x="16" y="80"/>
                  </a:lnTo>
                  <a:lnTo>
                    <a:pt x="0" y="72"/>
                  </a:lnTo>
                  <a:lnTo>
                    <a:pt x="8" y="88"/>
                  </a:lnTo>
                  <a:lnTo>
                    <a:pt x="24" y="88"/>
                  </a:lnTo>
                  <a:lnTo>
                    <a:pt x="32" y="80"/>
                  </a:lnTo>
                  <a:lnTo>
                    <a:pt x="48" y="88"/>
                  </a:lnTo>
                  <a:lnTo>
                    <a:pt x="64" y="80"/>
                  </a:lnTo>
                  <a:lnTo>
                    <a:pt x="80" y="40"/>
                  </a:lnTo>
                  <a:lnTo>
                    <a:pt x="88" y="40"/>
                  </a:lnTo>
                  <a:lnTo>
                    <a:pt x="104" y="40"/>
                  </a:lnTo>
                  <a:lnTo>
                    <a:pt x="120"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5" name="Freeform 49">
              <a:extLst>
                <a:ext uri="{FF2B5EF4-FFF2-40B4-BE49-F238E27FC236}">
                  <a16:creationId xmlns:a16="http://schemas.microsoft.com/office/drawing/2014/main" id="{4969150F-2123-904A-D17B-9DC25AF5986F}"/>
                </a:ext>
              </a:extLst>
            </p:cNvPr>
            <p:cNvSpPr>
              <a:spLocks/>
            </p:cNvSpPr>
            <p:nvPr/>
          </p:nvSpPr>
          <p:spPr bwMode="auto">
            <a:xfrm>
              <a:off x="6999632" y="2835204"/>
              <a:ext cx="33058" cy="16611"/>
            </a:xfrm>
            <a:custGeom>
              <a:avLst/>
              <a:gdLst>
                <a:gd name="T0" fmla="*/ 16 w 16"/>
                <a:gd name="T1" fmla="*/ 0 h 8"/>
                <a:gd name="T2" fmla="*/ 8 w 16"/>
                <a:gd name="T3" fmla="*/ 0 h 8"/>
                <a:gd name="T4" fmla="*/ 8 w 16"/>
                <a:gd name="T5" fmla="*/ 8 h 8"/>
                <a:gd name="T6" fmla="*/ 0 w 16"/>
                <a:gd name="T7" fmla="*/ 0 h 8"/>
                <a:gd name="T8" fmla="*/ 16 w 16"/>
                <a:gd name="T9" fmla="*/ 0 h 8"/>
              </a:gdLst>
              <a:ahLst/>
              <a:cxnLst>
                <a:cxn ang="0">
                  <a:pos x="T0" y="T1"/>
                </a:cxn>
                <a:cxn ang="0">
                  <a:pos x="T2" y="T3"/>
                </a:cxn>
                <a:cxn ang="0">
                  <a:pos x="T4" y="T5"/>
                </a:cxn>
                <a:cxn ang="0">
                  <a:pos x="T6" y="T7"/>
                </a:cxn>
                <a:cxn ang="0">
                  <a:pos x="T8" y="T9"/>
                </a:cxn>
              </a:cxnLst>
              <a:rect l="0" t="0" r="r" b="b"/>
              <a:pathLst>
                <a:path w="16" h="8">
                  <a:moveTo>
                    <a:pt x="16" y="0"/>
                  </a:moveTo>
                  <a:lnTo>
                    <a:pt x="8" y="0"/>
                  </a:lnTo>
                  <a:lnTo>
                    <a:pt x="8" y="8"/>
                  </a:lnTo>
                  <a:lnTo>
                    <a:pt x="0" y="0"/>
                  </a:lnTo>
                  <a:lnTo>
                    <a:pt x="16"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6" name="Freeform 50">
              <a:extLst>
                <a:ext uri="{FF2B5EF4-FFF2-40B4-BE49-F238E27FC236}">
                  <a16:creationId xmlns:a16="http://schemas.microsoft.com/office/drawing/2014/main" id="{667AC221-F935-1DD3-5BEE-DAB8BB70F5BC}"/>
                </a:ext>
              </a:extLst>
            </p:cNvPr>
            <p:cNvSpPr>
              <a:spLocks/>
            </p:cNvSpPr>
            <p:nvPr/>
          </p:nvSpPr>
          <p:spPr bwMode="auto">
            <a:xfrm>
              <a:off x="6350504" y="2110350"/>
              <a:ext cx="246427" cy="576860"/>
            </a:xfrm>
            <a:custGeom>
              <a:avLst/>
              <a:gdLst>
                <a:gd name="T0" fmla="*/ 112 w 120"/>
                <a:gd name="T1" fmla="*/ 240 h 280"/>
                <a:gd name="T2" fmla="*/ 104 w 120"/>
                <a:gd name="T3" fmla="*/ 208 h 280"/>
                <a:gd name="T4" fmla="*/ 88 w 120"/>
                <a:gd name="T5" fmla="*/ 200 h 280"/>
                <a:gd name="T6" fmla="*/ 96 w 120"/>
                <a:gd name="T7" fmla="*/ 176 h 280"/>
                <a:gd name="T8" fmla="*/ 80 w 120"/>
                <a:gd name="T9" fmla="*/ 144 h 280"/>
                <a:gd name="T10" fmla="*/ 80 w 120"/>
                <a:gd name="T11" fmla="*/ 128 h 280"/>
                <a:gd name="T12" fmla="*/ 104 w 120"/>
                <a:gd name="T13" fmla="*/ 112 h 280"/>
                <a:gd name="T14" fmla="*/ 120 w 120"/>
                <a:gd name="T15" fmla="*/ 96 h 280"/>
                <a:gd name="T16" fmla="*/ 104 w 120"/>
                <a:gd name="T17" fmla="*/ 96 h 280"/>
                <a:gd name="T18" fmla="*/ 88 w 120"/>
                <a:gd name="T19" fmla="*/ 88 h 280"/>
                <a:gd name="T20" fmla="*/ 88 w 120"/>
                <a:gd name="T21" fmla="*/ 72 h 280"/>
                <a:gd name="T22" fmla="*/ 80 w 120"/>
                <a:gd name="T23" fmla="*/ 72 h 280"/>
                <a:gd name="T24" fmla="*/ 80 w 120"/>
                <a:gd name="T25" fmla="*/ 56 h 280"/>
                <a:gd name="T26" fmla="*/ 64 w 120"/>
                <a:gd name="T27" fmla="*/ 64 h 280"/>
                <a:gd name="T28" fmla="*/ 72 w 120"/>
                <a:gd name="T29" fmla="*/ 16 h 280"/>
                <a:gd name="T30" fmla="*/ 64 w 120"/>
                <a:gd name="T31" fmla="*/ 0 h 280"/>
                <a:gd name="T32" fmla="*/ 48 w 120"/>
                <a:gd name="T33" fmla="*/ 0 h 280"/>
                <a:gd name="T34" fmla="*/ 48 w 120"/>
                <a:gd name="T35" fmla="*/ 8 h 280"/>
                <a:gd name="T36" fmla="*/ 40 w 120"/>
                <a:gd name="T37" fmla="*/ 8 h 280"/>
                <a:gd name="T38" fmla="*/ 24 w 120"/>
                <a:gd name="T39" fmla="*/ 24 h 280"/>
                <a:gd name="T40" fmla="*/ 16 w 120"/>
                <a:gd name="T41" fmla="*/ 64 h 280"/>
                <a:gd name="T42" fmla="*/ 8 w 120"/>
                <a:gd name="T43" fmla="*/ 64 h 280"/>
                <a:gd name="T44" fmla="*/ 8 w 120"/>
                <a:gd name="T45" fmla="*/ 88 h 280"/>
                <a:gd name="T46" fmla="*/ 0 w 120"/>
                <a:gd name="T47" fmla="*/ 88 h 280"/>
                <a:gd name="T48" fmla="*/ 0 w 120"/>
                <a:gd name="T49" fmla="*/ 104 h 280"/>
                <a:gd name="T50" fmla="*/ 16 w 120"/>
                <a:gd name="T51" fmla="*/ 120 h 280"/>
                <a:gd name="T52" fmla="*/ 24 w 120"/>
                <a:gd name="T53" fmla="*/ 136 h 280"/>
                <a:gd name="T54" fmla="*/ 32 w 120"/>
                <a:gd name="T55" fmla="*/ 136 h 280"/>
                <a:gd name="T56" fmla="*/ 40 w 120"/>
                <a:gd name="T57" fmla="*/ 160 h 280"/>
                <a:gd name="T58" fmla="*/ 32 w 120"/>
                <a:gd name="T59" fmla="*/ 176 h 280"/>
                <a:gd name="T60" fmla="*/ 56 w 120"/>
                <a:gd name="T61" fmla="*/ 184 h 280"/>
                <a:gd name="T62" fmla="*/ 72 w 120"/>
                <a:gd name="T63" fmla="*/ 168 h 280"/>
                <a:gd name="T64" fmla="*/ 80 w 120"/>
                <a:gd name="T65" fmla="*/ 176 h 280"/>
                <a:gd name="T66" fmla="*/ 104 w 120"/>
                <a:gd name="T67" fmla="*/ 232 h 280"/>
                <a:gd name="T68" fmla="*/ 96 w 120"/>
                <a:gd name="T69" fmla="*/ 240 h 280"/>
                <a:gd name="T70" fmla="*/ 104 w 120"/>
                <a:gd name="T71" fmla="*/ 256 h 280"/>
                <a:gd name="T72" fmla="*/ 96 w 120"/>
                <a:gd name="T73" fmla="*/ 280 h 280"/>
                <a:gd name="T74" fmla="*/ 112 w 120"/>
                <a:gd name="T75" fmla="*/ 24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280">
                  <a:moveTo>
                    <a:pt x="112" y="240"/>
                  </a:moveTo>
                  <a:lnTo>
                    <a:pt x="104" y="208"/>
                  </a:lnTo>
                  <a:lnTo>
                    <a:pt x="88" y="200"/>
                  </a:lnTo>
                  <a:lnTo>
                    <a:pt x="96" y="176"/>
                  </a:lnTo>
                  <a:lnTo>
                    <a:pt x="80" y="144"/>
                  </a:lnTo>
                  <a:lnTo>
                    <a:pt x="80" y="128"/>
                  </a:lnTo>
                  <a:lnTo>
                    <a:pt x="104" y="112"/>
                  </a:lnTo>
                  <a:lnTo>
                    <a:pt x="120" y="96"/>
                  </a:lnTo>
                  <a:lnTo>
                    <a:pt x="104" y="96"/>
                  </a:lnTo>
                  <a:lnTo>
                    <a:pt x="88" y="88"/>
                  </a:lnTo>
                  <a:lnTo>
                    <a:pt x="88" y="72"/>
                  </a:lnTo>
                  <a:lnTo>
                    <a:pt x="80" y="72"/>
                  </a:lnTo>
                  <a:lnTo>
                    <a:pt x="80" y="56"/>
                  </a:lnTo>
                  <a:lnTo>
                    <a:pt x="64" y="64"/>
                  </a:lnTo>
                  <a:lnTo>
                    <a:pt x="72" y="16"/>
                  </a:lnTo>
                  <a:lnTo>
                    <a:pt x="64" y="0"/>
                  </a:lnTo>
                  <a:lnTo>
                    <a:pt x="48" y="0"/>
                  </a:lnTo>
                  <a:lnTo>
                    <a:pt x="48" y="8"/>
                  </a:lnTo>
                  <a:lnTo>
                    <a:pt x="40" y="8"/>
                  </a:lnTo>
                  <a:lnTo>
                    <a:pt x="24" y="24"/>
                  </a:lnTo>
                  <a:lnTo>
                    <a:pt x="16" y="64"/>
                  </a:lnTo>
                  <a:lnTo>
                    <a:pt x="8" y="64"/>
                  </a:lnTo>
                  <a:lnTo>
                    <a:pt x="8" y="88"/>
                  </a:lnTo>
                  <a:lnTo>
                    <a:pt x="0" y="88"/>
                  </a:lnTo>
                  <a:lnTo>
                    <a:pt x="0" y="104"/>
                  </a:lnTo>
                  <a:lnTo>
                    <a:pt x="16" y="120"/>
                  </a:lnTo>
                  <a:lnTo>
                    <a:pt x="24" y="136"/>
                  </a:lnTo>
                  <a:lnTo>
                    <a:pt x="32" y="136"/>
                  </a:lnTo>
                  <a:lnTo>
                    <a:pt x="40" y="160"/>
                  </a:lnTo>
                  <a:lnTo>
                    <a:pt x="32" y="176"/>
                  </a:lnTo>
                  <a:lnTo>
                    <a:pt x="56" y="184"/>
                  </a:lnTo>
                  <a:lnTo>
                    <a:pt x="72" y="168"/>
                  </a:lnTo>
                  <a:lnTo>
                    <a:pt x="80" y="176"/>
                  </a:lnTo>
                  <a:lnTo>
                    <a:pt x="104" y="232"/>
                  </a:lnTo>
                  <a:lnTo>
                    <a:pt x="96" y="240"/>
                  </a:lnTo>
                  <a:lnTo>
                    <a:pt x="104" y="256"/>
                  </a:lnTo>
                  <a:lnTo>
                    <a:pt x="96" y="280"/>
                  </a:lnTo>
                  <a:lnTo>
                    <a:pt x="112" y="24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7" name="Freeform 51">
              <a:extLst>
                <a:ext uri="{FF2B5EF4-FFF2-40B4-BE49-F238E27FC236}">
                  <a16:creationId xmlns:a16="http://schemas.microsoft.com/office/drawing/2014/main" id="{BC348BAB-9895-A7F7-1092-ACE70E1B0F20}"/>
                </a:ext>
              </a:extLst>
            </p:cNvPr>
            <p:cNvSpPr>
              <a:spLocks/>
            </p:cNvSpPr>
            <p:nvPr/>
          </p:nvSpPr>
          <p:spPr bwMode="auto">
            <a:xfrm>
              <a:off x="6524811" y="2341394"/>
              <a:ext cx="213369" cy="460583"/>
            </a:xfrm>
            <a:custGeom>
              <a:avLst/>
              <a:gdLst>
                <a:gd name="T0" fmla="*/ 48 w 104"/>
                <a:gd name="T1" fmla="*/ 208 h 224"/>
                <a:gd name="T2" fmla="*/ 56 w 104"/>
                <a:gd name="T3" fmla="*/ 216 h 224"/>
                <a:gd name="T4" fmla="*/ 56 w 104"/>
                <a:gd name="T5" fmla="*/ 224 h 224"/>
                <a:gd name="T6" fmla="*/ 64 w 104"/>
                <a:gd name="T7" fmla="*/ 224 h 224"/>
                <a:gd name="T8" fmla="*/ 72 w 104"/>
                <a:gd name="T9" fmla="*/ 216 h 224"/>
                <a:gd name="T10" fmla="*/ 64 w 104"/>
                <a:gd name="T11" fmla="*/ 208 h 224"/>
                <a:gd name="T12" fmla="*/ 48 w 104"/>
                <a:gd name="T13" fmla="*/ 200 h 224"/>
                <a:gd name="T14" fmla="*/ 40 w 104"/>
                <a:gd name="T15" fmla="*/ 168 h 224"/>
                <a:gd name="T16" fmla="*/ 32 w 104"/>
                <a:gd name="T17" fmla="*/ 168 h 224"/>
                <a:gd name="T18" fmla="*/ 32 w 104"/>
                <a:gd name="T19" fmla="*/ 152 h 224"/>
                <a:gd name="T20" fmla="*/ 40 w 104"/>
                <a:gd name="T21" fmla="*/ 128 h 224"/>
                <a:gd name="T22" fmla="*/ 32 w 104"/>
                <a:gd name="T23" fmla="*/ 112 h 224"/>
                <a:gd name="T24" fmla="*/ 48 w 104"/>
                <a:gd name="T25" fmla="*/ 112 h 224"/>
                <a:gd name="T26" fmla="*/ 48 w 104"/>
                <a:gd name="T27" fmla="*/ 120 h 224"/>
                <a:gd name="T28" fmla="*/ 64 w 104"/>
                <a:gd name="T29" fmla="*/ 120 h 224"/>
                <a:gd name="T30" fmla="*/ 72 w 104"/>
                <a:gd name="T31" fmla="*/ 128 h 224"/>
                <a:gd name="T32" fmla="*/ 64 w 104"/>
                <a:gd name="T33" fmla="*/ 112 h 224"/>
                <a:gd name="T34" fmla="*/ 72 w 104"/>
                <a:gd name="T35" fmla="*/ 96 h 224"/>
                <a:gd name="T36" fmla="*/ 104 w 104"/>
                <a:gd name="T37" fmla="*/ 96 h 224"/>
                <a:gd name="T38" fmla="*/ 104 w 104"/>
                <a:gd name="T39" fmla="*/ 80 h 224"/>
                <a:gd name="T40" fmla="*/ 96 w 104"/>
                <a:gd name="T41" fmla="*/ 64 h 224"/>
                <a:gd name="T42" fmla="*/ 88 w 104"/>
                <a:gd name="T43" fmla="*/ 48 h 224"/>
                <a:gd name="T44" fmla="*/ 72 w 104"/>
                <a:gd name="T45" fmla="*/ 32 h 224"/>
                <a:gd name="T46" fmla="*/ 64 w 104"/>
                <a:gd name="T47" fmla="*/ 40 h 224"/>
                <a:gd name="T48" fmla="*/ 56 w 104"/>
                <a:gd name="T49" fmla="*/ 32 h 224"/>
                <a:gd name="T50" fmla="*/ 40 w 104"/>
                <a:gd name="T51" fmla="*/ 40 h 224"/>
                <a:gd name="T52" fmla="*/ 40 w 104"/>
                <a:gd name="T53" fmla="*/ 16 h 224"/>
                <a:gd name="T54" fmla="*/ 32 w 104"/>
                <a:gd name="T55" fmla="*/ 8 h 224"/>
                <a:gd name="T56" fmla="*/ 24 w 104"/>
                <a:gd name="T57" fmla="*/ 0 h 224"/>
                <a:gd name="T58" fmla="*/ 0 w 104"/>
                <a:gd name="T59" fmla="*/ 16 h 224"/>
                <a:gd name="T60" fmla="*/ 0 w 104"/>
                <a:gd name="T61" fmla="*/ 32 h 224"/>
                <a:gd name="T62" fmla="*/ 16 w 104"/>
                <a:gd name="T63" fmla="*/ 64 h 224"/>
                <a:gd name="T64" fmla="*/ 8 w 104"/>
                <a:gd name="T65" fmla="*/ 88 h 224"/>
                <a:gd name="T66" fmla="*/ 24 w 104"/>
                <a:gd name="T67" fmla="*/ 96 h 224"/>
                <a:gd name="T68" fmla="*/ 32 w 104"/>
                <a:gd name="T69" fmla="*/ 128 h 224"/>
                <a:gd name="T70" fmla="*/ 16 w 104"/>
                <a:gd name="T71" fmla="*/ 168 h 224"/>
                <a:gd name="T72" fmla="*/ 16 w 104"/>
                <a:gd name="T73" fmla="*/ 176 h 224"/>
                <a:gd name="T74" fmla="*/ 24 w 104"/>
                <a:gd name="T75" fmla="*/ 192 h 224"/>
                <a:gd name="T76" fmla="*/ 24 w 104"/>
                <a:gd name="T77" fmla="*/ 184 h 224"/>
                <a:gd name="T78" fmla="*/ 48 w 104"/>
                <a:gd name="T79" fmla="*/ 216 h 224"/>
                <a:gd name="T80" fmla="*/ 48 w 104"/>
                <a:gd name="T81" fmla="*/ 2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4" h="224">
                  <a:moveTo>
                    <a:pt x="48" y="208"/>
                  </a:moveTo>
                  <a:lnTo>
                    <a:pt x="56" y="216"/>
                  </a:lnTo>
                  <a:lnTo>
                    <a:pt x="56" y="224"/>
                  </a:lnTo>
                  <a:lnTo>
                    <a:pt x="64" y="224"/>
                  </a:lnTo>
                  <a:lnTo>
                    <a:pt x="72" y="216"/>
                  </a:lnTo>
                  <a:lnTo>
                    <a:pt x="64" y="208"/>
                  </a:lnTo>
                  <a:lnTo>
                    <a:pt x="48" y="200"/>
                  </a:lnTo>
                  <a:lnTo>
                    <a:pt x="40" y="168"/>
                  </a:lnTo>
                  <a:lnTo>
                    <a:pt x="32" y="168"/>
                  </a:lnTo>
                  <a:lnTo>
                    <a:pt x="32" y="152"/>
                  </a:lnTo>
                  <a:lnTo>
                    <a:pt x="40" y="128"/>
                  </a:lnTo>
                  <a:lnTo>
                    <a:pt x="32" y="112"/>
                  </a:lnTo>
                  <a:lnTo>
                    <a:pt x="48" y="112"/>
                  </a:lnTo>
                  <a:lnTo>
                    <a:pt x="48" y="120"/>
                  </a:lnTo>
                  <a:lnTo>
                    <a:pt x="64" y="120"/>
                  </a:lnTo>
                  <a:lnTo>
                    <a:pt x="72" y="128"/>
                  </a:lnTo>
                  <a:lnTo>
                    <a:pt x="64" y="112"/>
                  </a:lnTo>
                  <a:lnTo>
                    <a:pt x="72" y="96"/>
                  </a:lnTo>
                  <a:lnTo>
                    <a:pt x="104" y="96"/>
                  </a:lnTo>
                  <a:lnTo>
                    <a:pt x="104" y="80"/>
                  </a:lnTo>
                  <a:lnTo>
                    <a:pt x="96" y="64"/>
                  </a:lnTo>
                  <a:lnTo>
                    <a:pt x="88" y="48"/>
                  </a:lnTo>
                  <a:lnTo>
                    <a:pt x="72" y="32"/>
                  </a:lnTo>
                  <a:lnTo>
                    <a:pt x="64" y="40"/>
                  </a:lnTo>
                  <a:lnTo>
                    <a:pt x="56" y="32"/>
                  </a:lnTo>
                  <a:lnTo>
                    <a:pt x="40" y="40"/>
                  </a:lnTo>
                  <a:lnTo>
                    <a:pt x="40" y="16"/>
                  </a:lnTo>
                  <a:lnTo>
                    <a:pt x="32" y="8"/>
                  </a:lnTo>
                  <a:lnTo>
                    <a:pt x="24" y="0"/>
                  </a:lnTo>
                  <a:lnTo>
                    <a:pt x="0" y="16"/>
                  </a:lnTo>
                  <a:lnTo>
                    <a:pt x="0" y="32"/>
                  </a:lnTo>
                  <a:lnTo>
                    <a:pt x="16" y="64"/>
                  </a:lnTo>
                  <a:lnTo>
                    <a:pt x="8" y="88"/>
                  </a:lnTo>
                  <a:lnTo>
                    <a:pt x="24" y="96"/>
                  </a:lnTo>
                  <a:lnTo>
                    <a:pt x="32" y="128"/>
                  </a:lnTo>
                  <a:lnTo>
                    <a:pt x="16" y="168"/>
                  </a:lnTo>
                  <a:lnTo>
                    <a:pt x="16" y="176"/>
                  </a:lnTo>
                  <a:lnTo>
                    <a:pt x="24" y="192"/>
                  </a:lnTo>
                  <a:lnTo>
                    <a:pt x="24" y="184"/>
                  </a:lnTo>
                  <a:lnTo>
                    <a:pt x="48" y="216"/>
                  </a:lnTo>
                  <a:lnTo>
                    <a:pt x="48" y="20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8" name="Freeform 52">
              <a:extLst>
                <a:ext uri="{FF2B5EF4-FFF2-40B4-BE49-F238E27FC236}">
                  <a16:creationId xmlns:a16="http://schemas.microsoft.com/office/drawing/2014/main" id="{56B71E4A-72D2-EDAF-B856-987EC27DD8AD}"/>
                </a:ext>
              </a:extLst>
            </p:cNvPr>
            <p:cNvSpPr>
              <a:spLocks/>
            </p:cNvSpPr>
            <p:nvPr/>
          </p:nvSpPr>
          <p:spPr bwMode="auto">
            <a:xfrm>
              <a:off x="6623980" y="2768756"/>
              <a:ext cx="114199" cy="164600"/>
            </a:xfrm>
            <a:custGeom>
              <a:avLst/>
              <a:gdLst>
                <a:gd name="T0" fmla="*/ 0 w 56"/>
                <a:gd name="T1" fmla="*/ 8 h 80"/>
                <a:gd name="T2" fmla="*/ 0 w 56"/>
                <a:gd name="T3" fmla="*/ 0 h 80"/>
                <a:gd name="T4" fmla="*/ 8 w 56"/>
                <a:gd name="T5" fmla="*/ 8 h 80"/>
                <a:gd name="T6" fmla="*/ 8 w 56"/>
                <a:gd name="T7" fmla="*/ 16 h 80"/>
                <a:gd name="T8" fmla="*/ 16 w 56"/>
                <a:gd name="T9" fmla="*/ 16 h 80"/>
                <a:gd name="T10" fmla="*/ 24 w 56"/>
                <a:gd name="T11" fmla="*/ 8 h 80"/>
                <a:gd name="T12" fmla="*/ 40 w 56"/>
                <a:gd name="T13" fmla="*/ 32 h 80"/>
                <a:gd name="T14" fmla="*/ 40 w 56"/>
                <a:gd name="T15" fmla="*/ 56 h 80"/>
                <a:gd name="T16" fmla="*/ 56 w 56"/>
                <a:gd name="T17" fmla="*/ 80 h 80"/>
                <a:gd name="T18" fmla="*/ 40 w 56"/>
                <a:gd name="T19" fmla="*/ 80 h 80"/>
                <a:gd name="T20" fmla="*/ 16 w 56"/>
                <a:gd name="T21" fmla="*/ 56 h 80"/>
                <a:gd name="T22" fmla="*/ 0 w 56"/>
                <a:gd name="T23" fmla="*/ 40 h 80"/>
                <a:gd name="T24" fmla="*/ 0 w 56"/>
                <a:gd name="T25"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80">
                  <a:moveTo>
                    <a:pt x="0" y="8"/>
                  </a:moveTo>
                  <a:lnTo>
                    <a:pt x="0" y="0"/>
                  </a:lnTo>
                  <a:lnTo>
                    <a:pt x="8" y="8"/>
                  </a:lnTo>
                  <a:lnTo>
                    <a:pt x="8" y="16"/>
                  </a:lnTo>
                  <a:lnTo>
                    <a:pt x="16" y="16"/>
                  </a:lnTo>
                  <a:lnTo>
                    <a:pt x="24" y="8"/>
                  </a:lnTo>
                  <a:lnTo>
                    <a:pt x="40" y="32"/>
                  </a:lnTo>
                  <a:lnTo>
                    <a:pt x="40" y="56"/>
                  </a:lnTo>
                  <a:lnTo>
                    <a:pt x="56" y="80"/>
                  </a:lnTo>
                  <a:lnTo>
                    <a:pt x="40" y="80"/>
                  </a:lnTo>
                  <a:lnTo>
                    <a:pt x="16" y="56"/>
                  </a:lnTo>
                  <a:lnTo>
                    <a:pt x="0" y="4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9" name="Freeform 53">
              <a:extLst>
                <a:ext uri="{FF2B5EF4-FFF2-40B4-BE49-F238E27FC236}">
                  <a16:creationId xmlns:a16="http://schemas.microsoft.com/office/drawing/2014/main" id="{6370B65D-20E2-5136-132B-8AE62786EF8B}"/>
                </a:ext>
              </a:extLst>
            </p:cNvPr>
            <p:cNvSpPr>
              <a:spLocks/>
            </p:cNvSpPr>
            <p:nvPr/>
          </p:nvSpPr>
          <p:spPr bwMode="auto">
            <a:xfrm>
              <a:off x="6623980" y="2258339"/>
              <a:ext cx="228395" cy="445480"/>
            </a:xfrm>
            <a:custGeom>
              <a:avLst/>
              <a:gdLst>
                <a:gd name="T0" fmla="*/ 0 w 112"/>
                <a:gd name="T1" fmla="*/ 8 h 216"/>
                <a:gd name="T2" fmla="*/ 16 w 112"/>
                <a:gd name="T3" fmla="*/ 32 h 216"/>
                <a:gd name="T4" fmla="*/ 32 w 112"/>
                <a:gd name="T5" fmla="*/ 40 h 216"/>
                <a:gd name="T6" fmla="*/ 40 w 112"/>
                <a:gd name="T7" fmla="*/ 48 h 216"/>
                <a:gd name="T8" fmla="*/ 32 w 112"/>
                <a:gd name="T9" fmla="*/ 56 h 216"/>
                <a:gd name="T10" fmla="*/ 64 w 112"/>
                <a:gd name="T11" fmla="*/ 88 h 216"/>
                <a:gd name="T12" fmla="*/ 64 w 112"/>
                <a:gd name="T13" fmla="*/ 96 h 216"/>
                <a:gd name="T14" fmla="*/ 80 w 112"/>
                <a:gd name="T15" fmla="*/ 112 h 216"/>
                <a:gd name="T16" fmla="*/ 88 w 112"/>
                <a:gd name="T17" fmla="*/ 128 h 216"/>
                <a:gd name="T18" fmla="*/ 88 w 112"/>
                <a:gd name="T19" fmla="*/ 160 h 216"/>
                <a:gd name="T20" fmla="*/ 72 w 112"/>
                <a:gd name="T21" fmla="*/ 176 h 216"/>
                <a:gd name="T22" fmla="*/ 64 w 112"/>
                <a:gd name="T23" fmla="*/ 184 h 216"/>
                <a:gd name="T24" fmla="*/ 48 w 112"/>
                <a:gd name="T25" fmla="*/ 192 h 216"/>
                <a:gd name="T26" fmla="*/ 56 w 112"/>
                <a:gd name="T27" fmla="*/ 200 h 216"/>
                <a:gd name="T28" fmla="*/ 56 w 112"/>
                <a:gd name="T29" fmla="*/ 216 h 216"/>
                <a:gd name="T30" fmla="*/ 80 w 112"/>
                <a:gd name="T31" fmla="*/ 208 h 216"/>
                <a:gd name="T32" fmla="*/ 80 w 112"/>
                <a:gd name="T33" fmla="*/ 192 h 216"/>
                <a:gd name="T34" fmla="*/ 88 w 112"/>
                <a:gd name="T35" fmla="*/ 192 h 216"/>
                <a:gd name="T36" fmla="*/ 112 w 112"/>
                <a:gd name="T37" fmla="*/ 176 h 216"/>
                <a:gd name="T38" fmla="*/ 112 w 112"/>
                <a:gd name="T39" fmla="*/ 144 h 216"/>
                <a:gd name="T40" fmla="*/ 104 w 112"/>
                <a:gd name="T41" fmla="*/ 120 h 216"/>
                <a:gd name="T42" fmla="*/ 56 w 112"/>
                <a:gd name="T43" fmla="*/ 72 h 216"/>
                <a:gd name="T44" fmla="*/ 48 w 112"/>
                <a:gd name="T45" fmla="*/ 64 h 216"/>
                <a:gd name="T46" fmla="*/ 56 w 112"/>
                <a:gd name="T47" fmla="*/ 48 h 216"/>
                <a:gd name="T48" fmla="*/ 64 w 112"/>
                <a:gd name="T49" fmla="*/ 32 h 216"/>
                <a:gd name="T50" fmla="*/ 80 w 112"/>
                <a:gd name="T51" fmla="*/ 24 h 216"/>
                <a:gd name="T52" fmla="*/ 64 w 112"/>
                <a:gd name="T53" fmla="*/ 16 h 216"/>
                <a:gd name="T54" fmla="*/ 56 w 112"/>
                <a:gd name="T55" fmla="*/ 8 h 216"/>
                <a:gd name="T56" fmla="*/ 40 w 112"/>
                <a:gd name="T57" fmla="*/ 0 h 216"/>
                <a:gd name="T58" fmla="*/ 8 w 112"/>
                <a:gd name="T59" fmla="*/ 8 h 216"/>
                <a:gd name="T60" fmla="*/ 0 w 112"/>
                <a:gd name="T61" fmla="*/ 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2" h="216">
                  <a:moveTo>
                    <a:pt x="0" y="8"/>
                  </a:moveTo>
                  <a:lnTo>
                    <a:pt x="16" y="32"/>
                  </a:lnTo>
                  <a:lnTo>
                    <a:pt x="32" y="40"/>
                  </a:lnTo>
                  <a:lnTo>
                    <a:pt x="40" y="48"/>
                  </a:lnTo>
                  <a:lnTo>
                    <a:pt x="32" y="56"/>
                  </a:lnTo>
                  <a:lnTo>
                    <a:pt x="64" y="88"/>
                  </a:lnTo>
                  <a:lnTo>
                    <a:pt x="64" y="96"/>
                  </a:lnTo>
                  <a:lnTo>
                    <a:pt x="80" y="112"/>
                  </a:lnTo>
                  <a:lnTo>
                    <a:pt x="88" y="128"/>
                  </a:lnTo>
                  <a:lnTo>
                    <a:pt x="88" y="160"/>
                  </a:lnTo>
                  <a:lnTo>
                    <a:pt x="72" y="176"/>
                  </a:lnTo>
                  <a:lnTo>
                    <a:pt x="64" y="184"/>
                  </a:lnTo>
                  <a:lnTo>
                    <a:pt x="48" y="192"/>
                  </a:lnTo>
                  <a:lnTo>
                    <a:pt x="56" y="200"/>
                  </a:lnTo>
                  <a:lnTo>
                    <a:pt x="56" y="216"/>
                  </a:lnTo>
                  <a:lnTo>
                    <a:pt x="80" y="208"/>
                  </a:lnTo>
                  <a:lnTo>
                    <a:pt x="80" y="192"/>
                  </a:lnTo>
                  <a:lnTo>
                    <a:pt x="88" y="192"/>
                  </a:lnTo>
                  <a:lnTo>
                    <a:pt x="112" y="176"/>
                  </a:lnTo>
                  <a:lnTo>
                    <a:pt x="112" y="144"/>
                  </a:lnTo>
                  <a:lnTo>
                    <a:pt x="104" y="120"/>
                  </a:lnTo>
                  <a:lnTo>
                    <a:pt x="56" y="72"/>
                  </a:lnTo>
                  <a:lnTo>
                    <a:pt x="48" y="64"/>
                  </a:lnTo>
                  <a:lnTo>
                    <a:pt x="56" y="48"/>
                  </a:lnTo>
                  <a:lnTo>
                    <a:pt x="64" y="32"/>
                  </a:lnTo>
                  <a:lnTo>
                    <a:pt x="80" y="24"/>
                  </a:lnTo>
                  <a:lnTo>
                    <a:pt x="64" y="16"/>
                  </a:lnTo>
                  <a:lnTo>
                    <a:pt x="56" y="8"/>
                  </a:lnTo>
                  <a:lnTo>
                    <a:pt x="40" y="0"/>
                  </a:lnTo>
                  <a:lnTo>
                    <a:pt x="8" y="8"/>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40" name="Freeform 54">
              <a:extLst>
                <a:ext uri="{FF2B5EF4-FFF2-40B4-BE49-F238E27FC236}">
                  <a16:creationId xmlns:a16="http://schemas.microsoft.com/office/drawing/2014/main" id="{8FA2FCB6-44D1-5E43-2F1D-274EBD9878DD}"/>
                </a:ext>
              </a:extLst>
            </p:cNvPr>
            <p:cNvSpPr>
              <a:spLocks/>
            </p:cNvSpPr>
            <p:nvPr/>
          </p:nvSpPr>
          <p:spPr bwMode="auto">
            <a:xfrm>
              <a:off x="6657038" y="2522612"/>
              <a:ext cx="147255" cy="131379"/>
            </a:xfrm>
            <a:custGeom>
              <a:avLst/>
              <a:gdLst>
                <a:gd name="T0" fmla="*/ 0 w 72"/>
                <a:gd name="T1" fmla="*/ 24 h 64"/>
                <a:gd name="T2" fmla="*/ 8 w 72"/>
                <a:gd name="T3" fmla="*/ 8 h 64"/>
                <a:gd name="T4" fmla="*/ 40 w 72"/>
                <a:gd name="T5" fmla="*/ 8 h 64"/>
                <a:gd name="T6" fmla="*/ 48 w 72"/>
                <a:gd name="T7" fmla="*/ 8 h 64"/>
                <a:gd name="T8" fmla="*/ 56 w 72"/>
                <a:gd name="T9" fmla="*/ 8 h 64"/>
                <a:gd name="T10" fmla="*/ 72 w 72"/>
                <a:gd name="T11" fmla="*/ 0 h 64"/>
                <a:gd name="T12" fmla="*/ 72 w 72"/>
                <a:gd name="T13" fmla="*/ 32 h 64"/>
                <a:gd name="T14" fmla="*/ 56 w 72"/>
                <a:gd name="T15" fmla="*/ 48 h 64"/>
                <a:gd name="T16" fmla="*/ 48 w 72"/>
                <a:gd name="T17" fmla="*/ 56 h 64"/>
                <a:gd name="T18" fmla="*/ 32 w 72"/>
                <a:gd name="T19" fmla="*/ 64 h 64"/>
                <a:gd name="T20" fmla="*/ 16 w 72"/>
                <a:gd name="T21" fmla="*/ 56 h 64"/>
                <a:gd name="T22" fmla="*/ 8 w 72"/>
                <a:gd name="T23" fmla="*/ 40 h 64"/>
                <a:gd name="T24" fmla="*/ 0 w 72"/>
                <a:gd name="T25" fmla="*/ 2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64">
                  <a:moveTo>
                    <a:pt x="0" y="24"/>
                  </a:moveTo>
                  <a:lnTo>
                    <a:pt x="8" y="8"/>
                  </a:lnTo>
                  <a:lnTo>
                    <a:pt x="40" y="8"/>
                  </a:lnTo>
                  <a:lnTo>
                    <a:pt x="48" y="8"/>
                  </a:lnTo>
                  <a:lnTo>
                    <a:pt x="56" y="8"/>
                  </a:lnTo>
                  <a:lnTo>
                    <a:pt x="72" y="0"/>
                  </a:lnTo>
                  <a:lnTo>
                    <a:pt x="72" y="32"/>
                  </a:lnTo>
                  <a:lnTo>
                    <a:pt x="56" y="48"/>
                  </a:lnTo>
                  <a:lnTo>
                    <a:pt x="48" y="56"/>
                  </a:lnTo>
                  <a:lnTo>
                    <a:pt x="32" y="64"/>
                  </a:lnTo>
                  <a:lnTo>
                    <a:pt x="16" y="56"/>
                  </a:lnTo>
                  <a:lnTo>
                    <a:pt x="8" y="40"/>
                  </a:lnTo>
                  <a:lnTo>
                    <a:pt x="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41" name="Freeform 55">
              <a:extLst>
                <a:ext uri="{FF2B5EF4-FFF2-40B4-BE49-F238E27FC236}">
                  <a16:creationId xmlns:a16="http://schemas.microsoft.com/office/drawing/2014/main" id="{E530DCA9-3E0A-6C70-D00C-6D9D0532F5B3}"/>
                </a:ext>
              </a:extLst>
            </p:cNvPr>
            <p:cNvSpPr>
              <a:spLocks/>
            </p:cNvSpPr>
            <p:nvPr/>
          </p:nvSpPr>
          <p:spPr bwMode="auto">
            <a:xfrm>
              <a:off x="6574399" y="2274961"/>
              <a:ext cx="229898" cy="262760"/>
            </a:xfrm>
            <a:custGeom>
              <a:avLst/>
              <a:gdLst>
                <a:gd name="T0" fmla="*/ 112 w 112"/>
                <a:gd name="T1" fmla="*/ 120 h 128"/>
                <a:gd name="T2" fmla="*/ 104 w 112"/>
                <a:gd name="T3" fmla="*/ 104 h 128"/>
                <a:gd name="T4" fmla="*/ 88 w 112"/>
                <a:gd name="T5" fmla="*/ 88 h 128"/>
                <a:gd name="T6" fmla="*/ 88 w 112"/>
                <a:gd name="T7" fmla="*/ 80 h 128"/>
                <a:gd name="T8" fmla="*/ 56 w 112"/>
                <a:gd name="T9" fmla="*/ 48 h 128"/>
                <a:gd name="T10" fmla="*/ 64 w 112"/>
                <a:gd name="T11" fmla="*/ 40 h 128"/>
                <a:gd name="T12" fmla="*/ 56 w 112"/>
                <a:gd name="T13" fmla="*/ 32 h 128"/>
                <a:gd name="T14" fmla="*/ 40 w 112"/>
                <a:gd name="T15" fmla="*/ 24 h 128"/>
                <a:gd name="T16" fmla="*/ 24 w 112"/>
                <a:gd name="T17" fmla="*/ 0 h 128"/>
                <a:gd name="T18" fmla="*/ 16 w 112"/>
                <a:gd name="T19" fmla="*/ 0 h 128"/>
                <a:gd name="T20" fmla="*/ 16 w 112"/>
                <a:gd name="T21" fmla="*/ 16 h 128"/>
                <a:gd name="T22" fmla="*/ 16 w 112"/>
                <a:gd name="T23" fmla="*/ 24 h 128"/>
                <a:gd name="T24" fmla="*/ 16 w 112"/>
                <a:gd name="T25" fmla="*/ 16 h 128"/>
                <a:gd name="T26" fmla="*/ 0 w 112"/>
                <a:gd name="T27" fmla="*/ 32 h 128"/>
                <a:gd name="T28" fmla="*/ 8 w 112"/>
                <a:gd name="T29" fmla="*/ 40 h 128"/>
                <a:gd name="T30" fmla="*/ 16 w 112"/>
                <a:gd name="T31" fmla="*/ 48 h 128"/>
                <a:gd name="T32" fmla="*/ 16 w 112"/>
                <a:gd name="T33" fmla="*/ 72 h 128"/>
                <a:gd name="T34" fmla="*/ 32 w 112"/>
                <a:gd name="T35" fmla="*/ 64 h 128"/>
                <a:gd name="T36" fmla="*/ 40 w 112"/>
                <a:gd name="T37" fmla="*/ 72 h 128"/>
                <a:gd name="T38" fmla="*/ 48 w 112"/>
                <a:gd name="T39" fmla="*/ 64 h 128"/>
                <a:gd name="T40" fmla="*/ 64 w 112"/>
                <a:gd name="T41" fmla="*/ 80 h 128"/>
                <a:gd name="T42" fmla="*/ 72 w 112"/>
                <a:gd name="T43" fmla="*/ 96 h 128"/>
                <a:gd name="T44" fmla="*/ 80 w 112"/>
                <a:gd name="T45" fmla="*/ 112 h 128"/>
                <a:gd name="T46" fmla="*/ 80 w 112"/>
                <a:gd name="T47" fmla="*/ 128 h 128"/>
                <a:gd name="T48" fmla="*/ 88 w 112"/>
                <a:gd name="T49" fmla="*/ 128 h 128"/>
                <a:gd name="T50" fmla="*/ 96 w 112"/>
                <a:gd name="T51" fmla="*/ 128 h 128"/>
                <a:gd name="T52" fmla="*/ 112 w 112"/>
                <a:gd name="T53"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2" h="128">
                  <a:moveTo>
                    <a:pt x="112" y="120"/>
                  </a:moveTo>
                  <a:lnTo>
                    <a:pt x="104" y="104"/>
                  </a:lnTo>
                  <a:lnTo>
                    <a:pt x="88" y="88"/>
                  </a:lnTo>
                  <a:lnTo>
                    <a:pt x="88" y="80"/>
                  </a:lnTo>
                  <a:lnTo>
                    <a:pt x="56" y="48"/>
                  </a:lnTo>
                  <a:lnTo>
                    <a:pt x="64" y="40"/>
                  </a:lnTo>
                  <a:lnTo>
                    <a:pt x="56" y="32"/>
                  </a:lnTo>
                  <a:lnTo>
                    <a:pt x="40" y="24"/>
                  </a:lnTo>
                  <a:lnTo>
                    <a:pt x="24" y="0"/>
                  </a:lnTo>
                  <a:lnTo>
                    <a:pt x="16" y="0"/>
                  </a:lnTo>
                  <a:lnTo>
                    <a:pt x="16" y="16"/>
                  </a:lnTo>
                  <a:lnTo>
                    <a:pt x="16" y="24"/>
                  </a:lnTo>
                  <a:lnTo>
                    <a:pt x="16" y="16"/>
                  </a:lnTo>
                  <a:lnTo>
                    <a:pt x="0" y="32"/>
                  </a:lnTo>
                  <a:lnTo>
                    <a:pt x="8" y="40"/>
                  </a:lnTo>
                  <a:lnTo>
                    <a:pt x="16" y="48"/>
                  </a:lnTo>
                  <a:lnTo>
                    <a:pt x="16" y="72"/>
                  </a:lnTo>
                  <a:lnTo>
                    <a:pt x="32" y="64"/>
                  </a:lnTo>
                  <a:lnTo>
                    <a:pt x="40" y="72"/>
                  </a:lnTo>
                  <a:lnTo>
                    <a:pt x="48" y="64"/>
                  </a:lnTo>
                  <a:lnTo>
                    <a:pt x="64" y="80"/>
                  </a:lnTo>
                  <a:lnTo>
                    <a:pt x="72" y="96"/>
                  </a:lnTo>
                  <a:lnTo>
                    <a:pt x="80" y="112"/>
                  </a:lnTo>
                  <a:lnTo>
                    <a:pt x="80" y="128"/>
                  </a:lnTo>
                  <a:lnTo>
                    <a:pt x="88" y="128"/>
                  </a:lnTo>
                  <a:lnTo>
                    <a:pt x="96" y="128"/>
                  </a:lnTo>
                  <a:lnTo>
                    <a:pt x="112" y="12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42" name="Freeform 56">
              <a:extLst>
                <a:ext uri="{FF2B5EF4-FFF2-40B4-BE49-F238E27FC236}">
                  <a16:creationId xmlns:a16="http://schemas.microsoft.com/office/drawing/2014/main" id="{0543882C-B6B7-D33A-DE9F-FF4120F5D014}"/>
                </a:ext>
              </a:extLst>
            </p:cNvPr>
            <p:cNvSpPr>
              <a:spLocks/>
            </p:cNvSpPr>
            <p:nvPr/>
          </p:nvSpPr>
          <p:spPr bwMode="auto">
            <a:xfrm>
              <a:off x="5772005" y="1320565"/>
              <a:ext cx="1407940" cy="1020830"/>
            </a:xfrm>
            <a:custGeom>
              <a:avLst/>
              <a:gdLst>
                <a:gd name="T0" fmla="*/ 136 w 688"/>
                <a:gd name="T1" fmla="*/ 80 h 496"/>
                <a:gd name="T2" fmla="*/ 176 w 688"/>
                <a:gd name="T3" fmla="*/ 120 h 496"/>
                <a:gd name="T4" fmla="*/ 312 w 688"/>
                <a:gd name="T5" fmla="*/ 160 h 496"/>
                <a:gd name="T6" fmla="*/ 424 w 688"/>
                <a:gd name="T7" fmla="*/ 160 h 496"/>
                <a:gd name="T8" fmla="*/ 440 w 688"/>
                <a:gd name="T9" fmla="*/ 128 h 496"/>
                <a:gd name="T10" fmla="*/ 472 w 688"/>
                <a:gd name="T11" fmla="*/ 112 h 496"/>
                <a:gd name="T12" fmla="*/ 496 w 688"/>
                <a:gd name="T13" fmla="*/ 88 h 496"/>
                <a:gd name="T14" fmla="*/ 456 w 688"/>
                <a:gd name="T15" fmla="*/ 88 h 496"/>
                <a:gd name="T16" fmla="*/ 464 w 688"/>
                <a:gd name="T17" fmla="*/ 56 h 496"/>
                <a:gd name="T18" fmla="*/ 480 w 688"/>
                <a:gd name="T19" fmla="*/ 24 h 496"/>
                <a:gd name="T20" fmla="*/ 496 w 688"/>
                <a:gd name="T21" fmla="*/ 0 h 496"/>
                <a:gd name="T22" fmla="*/ 576 w 688"/>
                <a:gd name="T23" fmla="*/ 56 h 496"/>
                <a:gd name="T24" fmla="*/ 640 w 688"/>
                <a:gd name="T25" fmla="*/ 88 h 496"/>
                <a:gd name="T26" fmla="*/ 680 w 688"/>
                <a:gd name="T27" fmla="*/ 88 h 496"/>
                <a:gd name="T28" fmla="*/ 672 w 688"/>
                <a:gd name="T29" fmla="*/ 120 h 496"/>
                <a:gd name="T30" fmla="*/ 680 w 688"/>
                <a:gd name="T31" fmla="*/ 160 h 496"/>
                <a:gd name="T32" fmla="*/ 656 w 688"/>
                <a:gd name="T33" fmla="*/ 176 h 496"/>
                <a:gd name="T34" fmla="*/ 616 w 688"/>
                <a:gd name="T35" fmla="*/ 208 h 496"/>
                <a:gd name="T36" fmla="*/ 592 w 688"/>
                <a:gd name="T37" fmla="*/ 216 h 496"/>
                <a:gd name="T38" fmla="*/ 584 w 688"/>
                <a:gd name="T39" fmla="*/ 192 h 496"/>
                <a:gd name="T40" fmla="*/ 560 w 688"/>
                <a:gd name="T41" fmla="*/ 208 h 496"/>
                <a:gd name="T42" fmla="*/ 544 w 688"/>
                <a:gd name="T43" fmla="*/ 224 h 496"/>
                <a:gd name="T44" fmla="*/ 592 w 688"/>
                <a:gd name="T45" fmla="*/ 232 h 496"/>
                <a:gd name="T46" fmla="*/ 608 w 688"/>
                <a:gd name="T47" fmla="*/ 248 h 496"/>
                <a:gd name="T48" fmla="*/ 608 w 688"/>
                <a:gd name="T49" fmla="*/ 288 h 496"/>
                <a:gd name="T50" fmla="*/ 632 w 688"/>
                <a:gd name="T51" fmla="*/ 328 h 496"/>
                <a:gd name="T52" fmla="*/ 648 w 688"/>
                <a:gd name="T53" fmla="*/ 352 h 496"/>
                <a:gd name="T54" fmla="*/ 632 w 688"/>
                <a:gd name="T55" fmla="*/ 400 h 496"/>
                <a:gd name="T56" fmla="*/ 616 w 688"/>
                <a:gd name="T57" fmla="*/ 432 h 496"/>
                <a:gd name="T58" fmla="*/ 576 w 688"/>
                <a:gd name="T59" fmla="*/ 464 h 496"/>
                <a:gd name="T60" fmla="*/ 568 w 688"/>
                <a:gd name="T61" fmla="*/ 472 h 496"/>
                <a:gd name="T62" fmla="*/ 528 w 688"/>
                <a:gd name="T63" fmla="*/ 488 h 496"/>
                <a:gd name="T64" fmla="*/ 520 w 688"/>
                <a:gd name="T65" fmla="*/ 480 h 496"/>
                <a:gd name="T66" fmla="*/ 472 w 688"/>
                <a:gd name="T67" fmla="*/ 464 h 496"/>
                <a:gd name="T68" fmla="*/ 416 w 688"/>
                <a:gd name="T69" fmla="*/ 464 h 496"/>
                <a:gd name="T70" fmla="*/ 408 w 688"/>
                <a:gd name="T71" fmla="*/ 488 h 496"/>
                <a:gd name="T72" fmla="*/ 376 w 688"/>
                <a:gd name="T73" fmla="*/ 472 h 496"/>
                <a:gd name="T74" fmla="*/ 368 w 688"/>
                <a:gd name="T75" fmla="*/ 440 h 496"/>
                <a:gd name="T76" fmla="*/ 352 w 688"/>
                <a:gd name="T77" fmla="*/ 384 h 496"/>
                <a:gd name="T78" fmla="*/ 296 w 688"/>
                <a:gd name="T79" fmla="*/ 360 h 496"/>
                <a:gd name="T80" fmla="*/ 240 w 688"/>
                <a:gd name="T81" fmla="*/ 376 h 496"/>
                <a:gd name="T82" fmla="*/ 216 w 688"/>
                <a:gd name="T83" fmla="*/ 384 h 496"/>
                <a:gd name="T84" fmla="*/ 152 w 688"/>
                <a:gd name="T85" fmla="*/ 368 h 496"/>
                <a:gd name="T86" fmla="*/ 96 w 688"/>
                <a:gd name="T87" fmla="*/ 336 h 496"/>
                <a:gd name="T88" fmla="*/ 96 w 688"/>
                <a:gd name="T89" fmla="*/ 312 h 496"/>
                <a:gd name="T90" fmla="*/ 96 w 688"/>
                <a:gd name="T91" fmla="*/ 272 h 496"/>
                <a:gd name="T92" fmla="*/ 40 w 688"/>
                <a:gd name="T93" fmla="*/ 264 h 496"/>
                <a:gd name="T94" fmla="*/ 16 w 688"/>
                <a:gd name="T95" fmla="*/ 240 h 496"/>
                <a:gd name="T96" fmla="*/ 0 w 688"/>
                <a:gd name="T97" fmla="*/ 216 h 496"/>
                <a:gd name="T98" fmla="*/ 8 w 688"/>
                <a:gd name="T99" fmla="*/ 192 h 496"/>
                <a:gd name="T100" fmla="*/ 48 w 688"/>
                <a:gd name="T101" fmla="*/ 184 h 496"/>
                <a:gd name="T102" fmla="*/ 64 w 688"/>
                <a:gd name="T103" fmla="*/ 152 h 496"/>
                <a:gd name="T104" fmla="*/ 72 w 688"/>
                <a:gd name="T105" fmla="*/ 96 h 496"/>
                <a:gd name="T106" fmla="*/ 104 w 688"/>
                <a:gd name="T107" fmla="*/ 8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8" h="496">
                  <a:moveTo>
                    <a:pt x="112" y="72"/>
                  </a:moveTo>
                  <a:lnTo>
                    <a:pt x="120" y="64"/>
                  </a:lnTo>
                  <a:lnTo>
                    <a:pt x="136" y="80"/>
                  </a:lnTo>
                  <a:lnTo>
                    <a:pt x="152" y="88"/>
                  </a:lnTo>
                  <a:lnTo>
                    <a:pt x="168" y="96"/>
                  </a:lnTo>
                  <a:lnTo>
                    <a:pt x="176" y="120"/>
                  </a:lnTo>
                  <a:lnTo>
                    <a:pt x="232" y="136"/>
                  </a:lnTo>
                  <a:lnTo>
                    <a:pt x="264" y="160"/>
                  </a:lnTo>
                  <a:lnTo>
                    <a:pt x="312" y="160"/>
                  </a:lnTo>
                  <a:lnTo>
                    <a:pt x="368" y="176"/>
                  </a:lnTo>
                  <a:lnTo>
                    <a:pt x="400" y="168"/>
                  </a:lnTo>
                  <a:lnTo>
                    <a:pt x="424" y="160"/>
                  </a:lnTo>
                  <a:lnTo>
                    <a:pt x="440" y="144"/>
                  </a:lnTo>
                  <a:lnTo>
                    <a:pt x="432" y="136"/>
                  </a:lnTo>
                  <a:lnTo>
                    <a:pt x="440" y="128"/>
                  </a:lnTo>
                  <a:lnTo>
                    <a:pt x="456" y="128"/>
                  </a:lnTo>
                  <a:lnTo>
                    <a:pt x="464" y="120"/>
                  </a:lnTo>
                  <a:lnTo>
                    <a:pt x="472" y="112"/>
                  </a:lnTo>
                  <a:lnTo>
                    <a:pt x="480" y="104"/>
                  </a:lnTo>
                  <a:lnTo>
                    <a:pt x="504" y="104"/>
                  </a:lnTo>
                  <a:lnTo>
                    <a:pt x="496" y="88"/>
                  </a:lnTo>
                  <a:lnTo>
                    <a:pt x="488" y="80"/>
                  </a:lnTo>
                  <a:lnTo>
                    <a:pt x="472" y="88"/>
                  </a:lnTo>
                  <a:lnTo>
                    <a:pt x="456" y="88"/>
                  </a:lnTo>
                  <a:lnTo>
                    <a:pt x="440" y="64"/>
                  </a:lnTo>
                  <a:lnTo>
                    <a:pt x="448" y="56"/>
                  </a:lnTo>
                  <a:lnTo>
                    <a:pt x="464" y="56"/>
                  </a:lnTo>
                  <a:lnTo>
                    <a:pt x="480" y="48"/>
                  </a:lnTo>
                  <a:lnTo>
                    <a:pt x="472" y="32"/>
                  </a:lnTo>
                  <a:lnTo>
                    <a:pt x="480" y="24"/>
                  </a:lnTo>
                  <a:lnTo>
                    <a:pt x="464" y="16"/>
                  </a:lnTo>
                  <a:lnTo>
                    <a:pt x="472" y="8"/>
                  </a:lnTo>
                  <a:lnTo>
                    <a:pt x="496" y="0"/>
                  </a:lnTo>
                  <a:lnTo>
                    <a:pt x="528" y="8"/>
                  </a:lnTo>
                  <a:lnTo>
                    <a:pt x="560" y="40"/>
                  </a:lnTo>
                  <a:lnTo>
                    <a:pt x="576" y="56"/>
                  </a:lnTo>
                  <a:lnTo>
                    <a:pt x="600" y="64"/>
                  </a:lnTo>
                  <a:lnTo>
                    <a:pt x="624" y="72"/>
                  </a:lnTo>
                  <a:lnTo>
                    <a:pt x="640" y="88"/>
                  </a:lnTo>
                  <a:lnTo>
                    <a:pt x="648" y="88"/>
                  </a:lnTo>
                  <a:lnTo>
                    <a:pt x="672" y="72"/>
                  </a:lnTo>
                  <a:lnTo>
                    <a:pt x="680" y="88"/>
                  </a:lnTo>
                  <a:lnTo>
                    <a:pt x="680" y="96"/>
                  </a:lnTo>
                  <a:lnTo>
                    <a:pt x="688" y="128"/>
                  </a:lnTo>
                  <a:lnTo>
                    <a:pt x="672" y="120"/>
                  </a:lnTo>
                  <a:lnTo>
                    <a:pt x="664" y="128"/>
                  </a:lnTo>
                  <a:lnTo>
                    <a:pt x="680" y="152"/>
                  </a:lnTo>
                  <a:lnTo>
                    <a:pt x="680" y="160"/>
                  </a:lnTo>
                  <a:lnTo>
                    <a:pt x="664" y="160"/>
                  </a:lnTo>
                  <a:lnTo>
                    <a:pt x="664" y="168"/>
                  </a:lnTo>
                  <a:lnTo>
                    <a:pt x="656" y="176"/>
                  </a:lnTo>
                  <a:lnTo>
                    <a:pt x="656" y="184"/>
                  </a:lnTo>
                  <a:lnTo>
                    <a:pt x="640" y="176"/>
                  </a:lnTo>
                  <a:lnTo>
                    <a:pt x="616" y="208"/>
                  </a:lnTo>
                  <a:lnTo>
                    <a:pt x="608" y="208"/>
                  </a:lnTo>
                  <a:lnTo>
                    <a:pt x="592" y="224"/>
                  </a:lnTo>
                  <a:lnTo>
                    <a:pt x="592" y="216"/>
                  </a:lnTo>
                  <a:lnTo>
                    <a:pt x="584" y="208"/>
                  </a:lnTo>
                  <a:lnTo>
                    <a:pt x="592" y="192"/>
                  </a:lnTo>
                  <a:lnTo>
                    <a:pt x="584" y="192"/>
                  </a:lnTo>
                  <a:lnTo>
                    <a:pt x="576" y="184"/>
                  </a:lnTo>
                  <a:lnTo>
                    <a:pt x="568" y="200"/>
                  </a:lnTo>
                  <a:lnTo>
                    <a:pt x="560" y="208"/>
                  </a:lnTo>
                  <a:lnTo>
                    <a:pt x="560" y="216"/>
                  </a:lnTo>
                  <a:lnTo>
                    <a:pt x="544" y="216"/>
                  </a:lnTo>
                  <a:lnTo>
                    <a:pt x="544" y="224"/>
                  </a:lnTo>
                  <a:lnTo>
                    <a:pt x="576" y="248"/>
                  </a:lnTo>
                  <a:lnTo>
                    <a:pt x="584" y="248"/>
                  </a:lnTo>
                  <a:lnTo>
                    <a:pt x="592" y="232"/>
                  </a:lnTo>
                  <a:lnTo>
                    <a:pt x="616" y="240"/>
                  </a:lnTo>
                  <a:lnTo>
                    <a:pt x="616" y="248"/>
                  </a:lnTo>
                  <a:lnTo>
                    <a:pt x="608" y="248"/>
                  </a:lnTo>
                  <a:lnTo>
                    <a:pt x="600" y="256"/>
                  </a:lnTo>
                  <a:lnTo>
                    <a:pt x="584" y="280"/>
                  </a:lnTo>
                  <a:lnTo>
                    <a:pt x="608" y="288"/>
                  </a:lnTo>
                  <a:lnTo>
                    <a:pt x="624" y="312"/>
                  </a:lnTo>
                  <a:lnTo>
                    <a:pt x="640" y="328"/>
                  </a:lnTo>
                  <a:lnTo>
                    <a:pt x="632" y="328"/>
                  </a:lnTo>
                  <a:lnTo>
                    <a:pt x="640" y="336"/>
                  </a:lnTo>
                  <a:lnTo>
                    <a:pt x="624" y="344"/>
                  </a:lnTo>
                  <a:lnTo>
                    <a:pt x="648" y="352"/>
                  </a:lnTo>
                  <a:lnTo>
                    <a:pt x="648" y="376"/>
                  </a:lnTo>
                  <a:lnTo>
                    <a:pt x="640" y="384"/>
                  </a:lnTo>
                  <a:lnTo>
                    <a:pt x="632" y="400"/>
                  </a:lnTo>
                  <a:lnTo>
                    <a:pt x="632" y="416"/>
                  </a:lnTo>
                  <a:lnTo>
                    <a:pt x="624" y="432"/>
                  </a:lnTo>
                  <a:lnTo>
                    <a:pt x="616" y="432"/>
                  </a:lnTo>
                  <a:lnTo>
                    <a:pt x="616" y="440"/>
                  </a:lnTo>
                  <a:lnTo>
                    <a:pt x="600" y="456"/>
                  </a:lnTo>
                  <a:lnTo>
                    <a:pt x="576" y="464"/>
                  </a:lnTo>
                  <a:lnTo>
                    <a:pt x="576" y="472"/>
                  </a:lnTo>
                  <a:lnTo>
                    <a:pt x="568" y="464"/>
                  </a:lnTo>
                  <a:lnTo>
                    <a:pt x="568" y="472"/>
                  </a:lnTo>
                  <a:lnTo>
                    <a:pt x="560" y="464"/>
                  </a:lnTo>
                  <a:lnTo>
                    <a:pt x="560" y="472"/>
                  </a:lnTo>
                  <a:lnTo>
                    <a:pt x="528" y="488"/>
                  </a:lnTo>
                  <a:lnTo>
                    <a:pt x="528" y="496"/>
                  </a:lnTo>
                  <a:lnTo>
                    <a:pt x="520" y="496"/>
                  </a:lnTo>
                  <a:lnTo>
                    <a:pt x="520" y="480"/>
                  </a:lnTo>
                  <a:lnTo>
                    <a:pt x="496" y="480"/>
                  </a:lnTo>
                  <a:lnTo>
                    <a:pt x="480" y="472"/>
                  </a:lnTo>
                  <a:lnTo>
                    <a:pt x="472" y="464"/>
                  </a:lnTo>
                  <a:lnTo>
                    <a:pt x="456" y="456"/>
                  </a:lnTo>
                  <a:lnTo>
                    <a:pt x="424" y="464"/>
                  </a:lnTo>
                  <a:lnTo>
                    <a:pt x="416" y="464"/>
                  </a:lnTo>
                  <a:lnTo>
                    <a:pt x="408" y="464"/>
                  </a:lnTo>
                  <a:lnTo>
                    <a:pt x="408" y="480"/>
                  </a:lnTo>
                  <a:lnTo>
                    <a:pt x="408" y="488"/>
                  </a:lnTo>
                  <a:lnTo>
                    <a:pt x="408" y="480"/>
                  </a:lnTo>
                  <a:lnTo>
                    <a:pt x="392" y="480"/>
                  </a:lnTo>
                  <a:lnTo>
                    <a:pt x="376" y="472"/>
                  </a:lnTo>
                  <a:lnTo>
                    <a:pt x="376" y="456"/>
                  </a:lnTo>
                  <a:lnTo>
                    <a:pt x="368" y="456"/>
                  </a:lnTo>
                  <a:lnTo>
                    <a:pt x="368" y="440"/>
                  </a:lnTo>
                  <a:lnTo>
                    <a:pt x="352" y="448"/>
                  </a:lnTo>
                  <a:lnTo>
                    <a:pt x="360" y="400"/>
                  </a:lnTo>
                  <a:lnTo>
                    <a:pt x="352" y="384"/>
                  </a:lnTo>
                  <a:lnTo>
                    <a:pt x="336" y="384"/>
                  </a:lnTo>
                  <a:lnTo>
                    <a:pt x="312" y="360"/>
                  </a:lnTo>
                  <a:lnTo>
                    <a:pt x="296" y="360"/>
                  </a:lnTo>
                  <a:lnTo>
                    <a:pt x="280" y="376"/>
                  </a:lnTo>
                  <a:lnTo>
                    <a:pt x="264" y="384"/>
                  </a:lnTo>
                  <a:lnTo>
                    <a:pt x="240" y="376"/>
                  </a:lnTo>
                  <a:lnTo>
                    <a:pt x="232" y="392"/>
                  </a:lnTo>
                  <a:lnTo>
                    <a:pt x="224" y="384"/>
                  </a:lnTo>
                  <a:lnTo>
                    <a:pt x="216" y="384"/>
                  </a:lnTo>
                  <a:lnTo>
                    <a:pt x="192" y="384"/>
                  </a:lnTo>
                  <a:lnTo>
                    <a:pt x="160" y="360"/>
                  </a:lnTo>
                  <a:lnTo>
                    <a:pt x="152" y="368"/>
                  </a:lnTo>
                  <a:lnTo>
                    <a:pt x="136" y="352"/>
                  </a:lnTo>
                  <a:lnTo>
                    <a:pt x="120" y="352"/>
                  </a:lnTo>
                  <a:lnTo>
                    <a:pt x="96" y="336"/>
                  </a:lnTo>
                  <a:lnTo>
                    <a:pt x="80" y="320"/>
                  </a:lnTo>
                  <a:lnTo>
                    <a:pt x="80" y="312"/>
                  </a:lnTo>
                  <a:lnTo>
                    <a:pt x="96" y="312"/>
                  </a:lnTo>
                  <a:lnTo>
                    <a:pt x="88" y="296"/>
                  </a:lnTo>
                  <a:lnTo>
                    <a:pt x="96" y="280"/>
                  </a:lnTo>
                  <a:lnTo>
                    <a:pt x="96" y="272"/>
                  </a:lnTo>
                  <a:lnTo>
                    <a:pt x="80" y="264"/>
                  </a:lnTo>
                  <a:lnTo>
                    <a:pt x="64" y="272"/>
                  </a:lnTo>
                  <a:lnTo>
                    <a:pt x="40" y="264"/>
                  </a:lnTo>
                  <a:lnTo>
                    <a:pt x="32" y="248"/>
                  </a:lnTo>
                  <a:lnTo>
                    <a:pt x="16" y="248"/>
                  </a:lnTo>
                  <a:lnTo>
                    <a:pt x="16" y="240"/>
                  </a:lnTo>
                  <a:lnTo>
                    <a:pt x="16" y="224"/>
                  </a:lnTo>
                  <a:lnTo>
                    <a:pt x="8" y="224"/>
                  </a:lnTo>
                  <a:lnTo>
                    <a:pt x="0" y="216"/>
                  </a:lnTo>
                  <a:lnTo>
                    <a:pt x="0" y="208"/>
                  </a:lnTo>
                  <a:lnTo>
                    <a:pt x="0" y="200"/>
                  </a:lnTo>
                  <a:lnTo>
                    <a:pt x="8" y="192"/>
                  </a:lnTo>
                  <a:lnTo>
                    <a:pt x="32" y="192"/>
                  </a:lnTo>
                  <a:lnTo>
                    <a:pt x="32" y="184"/>
                  </a:lnTo>
                  <a:lnTo>
                    <a:pt x="48" y="184"/>
                  </a:lnTo>
                  <a:lnTo>
                    <a:pt x="64" y="176"/>
                  </a:lnTo>
                  <a:lnTo>
                    <a:pt x="64" y="168"/>
                  </a:lnTo>
                  <a:lnTo>
                    <a:pt x="64" y="152"/>
                  </a:lnTo>
                  <a:lnTo>
                    <a:pt x="56" y="128"/>
                  </a:lnTo>
                  <a:lnTo>
                    <a:pt x="72" y="120"/>
                  </a:lnTo>
                  <a:lnTo>
                    <a:pt x="72" y="96"/>
                  </a:lnTo>
                  <a:lnTo>
                    <a:pt x="96" y="96"/>
                  </a:lnTo>
                  <a:lnTo>
                    <a:pt x="104" y="96"/>
                  </a:lnTo>
                  <a:lnTo>
                    <a:pt x="104" y="80"/>
                  </a:lnTo>
                  <a:lnTo>
                    <a:pt x="112" y="7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rgbClr val="FFFF00"/>
                </a:solidFill>
                <a:latin typeface="Frutiger for ZKB Light" panose="020B0303030504020204" pitchFamily="34" charset="0"/>
              </a:endParaRPr>
            </a:p>
          </p:txBody>
        </p:sp>
        <p:sp>
          <p:nvSpPr>
            <p:cNvPr id="43" name="Freeform 57">
              <a:extLst>
                <a:ext uri="{FF2B5EF4-FFF2-40B4-BE49-F238E27FC236}">
                  <a16:creationId xmlns:a16="http://schemas.microsoft.com/office/drawing/2014/main" id="{EA34E0B4-4BB5-540C-A125-6FB728B10B7A}"/>
                </a:ext>
              </a:extLst>
            </p:cNvPr>
            <p:cNvSpPr>
              <a:spLocks/>
            </p:cNvSpPr>
            <p:nvPr/>
          </p:nvSpPr>
          <p:spPr bwMode="auto">
            <a:xfrm>
              <a:off x="6230302" y="2160188"/>
              <a:ext cx="130727" cy="164601"/>
            </a:xfrm>
            <a:custGeom>
              <a:avLst/>
              <a:gdLst>
                <a:gd name="T0" fmla="*/ 8 w 64"/>
                <a:gd name="T1" fmla="*/ 32 h 80"/>
                <a:gd name="T2" fmla="*/ 0 w 64"/>
                <a:gd name="T3" fmla="*/ 24 h 80"/>
                <a:gd name="T4" fmla="*/ 8 w 64"/>
                <a:gd name="T5" fmla="*/ 16 h 80"/>
                <a:gd name="T6" fmla="*/ 0 w 64"/>
                <a:gd name="T7" fmla="*/ 8 h 80"/>
                <a:gd name="T8" fmla="*/ 0 w 64"/>
                <a:gd name="T9" fmla="*/ 0 h 80"/>
                <a:gd name="T10" fmla="*/ 8 w 64"/>
                <a:gd name="T11" fmla="*/ 0 h 80"/>
                <a:gd name="T12" fmla="*/ 16 w 64"/>
                <a:gd name="T13" fmla="*/ 0 h 80"/>
                <a:gd name="T14" fmla="*/ 24 w 64"/>
                <a:gd name="T15" fmla="*/ 16 h 80"/>
                <a:gd name="T16" fmla="*/ 56 w 64"/>
                <a:gd name="T17" fmla="*/ 16 h 80"/>
                <a:gd name="T18" fmla="*/ 40 w 64"/>
                <a:gd name="T19" fmla="*/ 32 h 80"/>
                <a:gd name="T20" fmla="*/ 40 w 64"/>
                <a:gd name="T21" fmla="*/ 40 h 80"/>
                <a:gd name="T22" fmla="*/ 56 w 64"/>
                <a:gd name="T23" fmla="*/ 48 h 80"/>
                <a:gd name="T24" fmla="*/ 56 w 64"/>
                <a:gd name="T25" fmla="*/ 40 h 80"/>
                <a:gd name="T26" fmla="*/ 64 w 64"/>
                <a:gd name="T27" fmla="*/ 64 h 80"/>
                <a:gd name="T28" fmla="*/ 64 w 64"/>
                <a:gd name="T29" fmla="*/ 80 h 80"/>
                <a:gd name="T30" fmla="*/ 48 w 64"/>
                <a:gd name="T31" fmla="*/ 56 h 80"/>
                <a:gd name="T32" fmla="*/ 40 w 64"/>
                <a:gd name="T33" fmla="*/ 72 h 80"/>
                <a:gd name="T34" fmla="*/ 16 w 64"/>
                <a:gd name="T35" fmla="*/ 72 h 80"/>
                <a:gd name="T36" fmla="*/ 8 w 64"/>
                <a:gd name="T3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80">
                  <a:moveTo>
                    <a:pt x="8" y="32"/>
                  </a:moveTo>
                  <a:lnTo>
                    <a:pt x="0" y="24"/>
                  </a:lnTo>
                  <a:lnTo>
                    <a:pt x="8" y="16"/>
                  </a:lnTo>
                  <a:lnTo>
                    <a:pt x="0" y="8"/>
                  </a:lnTo>
                  <a:lnTo>
                    <a:pt x="0" y="0"/>
                  </a:lnTo>
                  <a:lnTo>
                    <a:pt x="8" y="0"/>
                  </a:lnTo>
                  <a:lnTo>
                    <a:pt x="16" y="0"/>
                  </a:lnTo>
                  <a:lnTo>
                    <a:pt x="24" y="16"/>
                  </a:lnTo>
                  <a:lnTo>
                    <a:pt x="56" y="16"/>
                  </a:lnTo>
                  <a:lnTo>
                    <a:pt x="40" y="32"/>
                  </a:lnTo>
                  <a:lnTo>
                    <a:pt x="40" y="40"/>
                  </a:lnTo>
                  <a:lnTo>
                    <a:pt x="56" y="48"/>
                  </a:lnTo>
                  <a:lnTo>
                    <a:pt x="56" y="40"/>
                  </a:lnTo>
                  <a:lnTo>
                    <a:pt x="64" y="64"/>
                  </a:lnTo>
                  <a:lnTo>
                    <a:pt x="64" y="80"/>
                  </a:lnTo>
                  <a:lnTo>
                    <a:pt x="48" y="56"/>
                  </a:lnTo>
                  <a:lnTo>
                    <a:pt x="40" y="72"/>
                  </a:lnTo>
                  <a:lnTo>
                    <a:pt x="16" y="72"/>
                  </a:lnTo>
                  <a:lnTo>
                    <a:pt x="8"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44" name="Freeform 58">
              <a:extLst>
                <a:ext uri="{FF2B5EF4-FFF2-40B4-BE49-F238E27FC236}">
                  <a16:creationId xmlns:a16="http://schemas.microsoft.com/office/drawing/2014/main" id="{FD3CD177-CB0D-E0E5-7B7D-0FF6655D4803}"/>
                </a:ext>
              </a:extLst>
            </p:cNvPr>
            <p:cNvSpPr>
              <a:spLocks/>
            </p:cNvSpPr>
            <p:nvPr/>
          </p:nvSpPr>
          <p:spPr bwMode="auto">
            <a:xfrm>
              <a:off x="6286199" y="2100094"/>
              <a:ext cx="43273" cy="43490"/>
            </a:xfrm>
            <a:custGeom>
              <a:avLst/>
              <a:gdLst>
                <a:gd name="T0" fmla="*/ 32 w 40"/>
                <a:gd name="T1" fmla="*/ 8 h 24"/>
                <a:gd name="T2" fmla="*/ 8 w 40"/>
                <a:gd name="T3" fmla="*/ 0 h 24"/>
                <a:gd name="T4" fmla="*/ 0 w 40"/>
                <a:gd name="T5" fmla="*/ 16 h 24"/>
                <a:gd name="T6" fmla="*/ 0 w 40"/>
                <a:gd name="T7" fmla="*/ 24 h 24"/>
                <a:gd name="T8" fmla="*/ 8 w 40"/>
                <a:gd name="T9" fmla="*/ 24 h 24"/>
                <a:gd name="T10" fmla="*/ 40 w 40"/>
                <a:gd name="T11" fmla="*/ 24 h 24"/>
                <a:gd name="T12" fmla="*/ 40 w 40"/>
                <a:gd name="T13" fmla="*/ 16 h 24"/>
                <a:gd name="T14" fmla="*/ 32 w 40"/>
                <a:gd name="T15" fmla="*/ 8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24">
                  <a:moveTo>
                    <a:pt x="32" y="8"/>
                  </a:moveTo>
                  <a:lnTo>
                    <a:pt x="8" y="0"/>
                  </a:lnTo>
                  <a:lnTo>
                    <a:pt x="0" y="16"/>
                  </a:lnTo>
                  <a:lnTo>
                    <a:pt x="0" y="24"/>
                  </a:lnTo>
                  <a:lnTo>
                    <a:pt x="8" y="24"/>
                  </a:lnTo>
                  <a:lnTo>
                    <a:pt x="40" y="24"/>
                  </a:lnTo>
                  <a:lnTo>
                    <a:pt x="40" y="16"/>
                  </a:lnTo>
                  <a:lnTo>
                    <a:pt x="32"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45" name="Freeform 59">
              <a:extLst>
                <a:ext uri="{FF2B5EF4-FFF2-40B4-BE49-F238E27FC236}">
                  <a16:creationId xmlns:a16="http://schemas.microsoft.com/office/drawing/2014/main" id="{42DBEEC6-ACB5-3A93-3595-6A2B9A53D6AC}"/>
                </a:ext>
              </a:extLst>
            </p:cNvPr>
            <p:cNvSpPr>
              <a:spLocks/>
            </p:cNvSpPr>
            <p:nvPr/>
          </p:nvSpPr>
          <p:spPr bwMode="auto">
            <a:xfrm>
              <a:off x="5707394" y="1862692"/>
              <a:ext cx="752805" cy="872839"/>
            </a:xfrm>
            <a:custGeom>
              <a:avLst/>
              <a:gdLst>
                <a:gd name="T0" fmla="*/ 264 w 368"/>
                <a:gd name="T1" fmla="*/ 128 h 424"/>
                <a:gd name="T2" fmla="*/ 272 w 368"/>
                <a:gd name="T3" fmla="*/ 136 h 424"/>
                <a:gd name="T4" fmla="*/ 304 w 368"/>
                <a:gd name="T5" fmla="*/ 128 h 424"/>
                <a:gd name="T6" fmla="*/ 312 w 368"/>
                <a:gd name="T7" fmla="*/ 112 h 424"/>
                <a:gd name="T8" fmla="*/ 344 w 368"/>
                <a:gd name="T9" fmla="*/ 96 h 424"/>
                <a:gd name="T10" fmla="*/ 368 w 368"/>
                <a:gd name="T11" fmla="*/ 128 h 424"/>
                <a:gd name="T12" fmla="*/ 344 w 368"/>
                <a:gd name="T13" fmla="*/ 144 h 424"/>
                <a:gd name="T14" fmla="*/ 328 w 368"/>
                <a:gd name="T15" fmla="*/ 184 h 424"/>
                <a:gd name="T16" fmla="*/ 320 w 368"/>
                <a:gd name="T17" fmla="*/ 208 h 424"/>
                <a:gd name="T18" fmla="*/ 312 w 368"/>
                <a:gd name="T19" fmla="*/ 192 h 424"/>
                <a:gd name="T20" fmla="*/ 296 w 368"/>
                <a:gd name="T21" fmla="*/ 176 h 424"/>
                <a:gd name="T22" fmla="*/ 280 w 368"/>
                <a:gd name="T23" fmla="*/ 160 h 424"/>
                <a:gd name="T24" fmla="*/ 264 w 368"/>
                <a:gd name="T25" fmla="*/ 144 h 424"/>
                <a:gd name="T26" fmla="*/ 256 w 368"/>
                <a:gd name="T27" fmla="*/ 152 h 424"/>
                <a:gd name="T28" fmla="*/ 256 w 368"/>
                <a:gd name="T29" fmla="*/ 168 h 424"/>
                <a:gd name="T30" fmla="*/ 272 w 368"/>
                <a:gd name="T31" fmla="*/ 216 h 424"/>
                <a:gd name="T32" fmla="*/ 264 w 368"/>
                <a:gd name="T33" fmla="*/ 216 h 424"/>
                <a:gd name="T34" fmla="*/ 248 w 368"/>
                <a:gd name="T35" fmla="*/ 240 h 424"/>
                <a:gd name="T36" fmla="*/ 224 w 368"/>
                <a:gd name="T37" fmla="*/ 264 h 424"/>
                <a:gd name="T38" fmla="*/ 192 w 368"/>
                <a:gd name="T39" fmla="*/ 296 h 424"/>
                <a:gd name="T40" fmla="*/ 184 w 368"/>
                <a:gd name="T41" fmla="*/ 304 h 424"/>
                <a:gd name="T42" fmla="*/ 168 w 368"/>
                <a:gd name="T43" fmla="*/ 312 h 424"/>
                <a:gd name="T44" fmla="*/ 168 w 368"/>
                <a:gd name="T45" fmla="*/ 368 h 424"/>
                <a:gd name="T46" fmla="*/ 160 w 368"/>
                <a:gd name="T47" fmla="*/ 400 h 424"/>
                <a:gd name="T48" fmla="*/ 144 w 368"/>
                <a:gd name="T49" fmla="*/ 424 h 424"/>
                <a:gd name="T50" fmla="*/ 96 w 368"/>
                <a:gd name="T51" fmla="*/ 320 h 424"/>
                <a:gd name="T52" fmla="*/ 64 w 368"/>
                <a:gd name="T53" fmla="*/ 208 h 424"/>
                <a:gd name="T54" fmla="*/ 56 w 368"/>
                <a:gd name="T55" fmla="*/ 224 h 424"/>
                <a:gd name="T56" fmla="*/ 40 w 368"/>
                <a:gd name="T57" fmla="*/ 232 h 424"/>
                <a:gd name="T58" fmla="*/ 32 w 368"/>
                <a:gd name="T59" fmla="*/ 200 h 424"/>
                <a:gd name="T60" fmla="*/ 16 w 368"/>
                <a:gd name="T61" fmla="*/ 200 h 424"/>
                <a:gd name="T62" fmla="*/ 8 w 368"/>
                <a:gd name="T63" fmla="*/ 176 h 424"/>
                <a:gd name="T64" fmla="*/ 32 w 368"/>
                <a:gd name="T65" fmla="*/ 168 h 424"/>
                <a:gd name="T66" fmla="*/ 24 w 368"/>
                <a:gd name="T67" fmla="*/ 152 h 424"/>
                <a:gd name="T68" fmla="*/ 16 w 368"/>
                <a:gd name="T69" fmla="*/ 136 h 424"/>
                <a:gd name="T70" fmla="*/ 24 w 368"/>
                <a:gd name="T71" fmla="*/ 120 h 424"/>
                <a:gd name="T72" fmla="*/ 40 w 368"/>
                <a:gd name="T73" fmla="*/ 120 h 424"/>
                <a:gd name="T74" fmla="*/ 64 w 368"/>
                <a:gd name="T75" fmla="*/ 56 h 424"/>
                <a:gd name="T76" fmla="*/ 56 w 368"/>
                <a:gd name="T77" fmla="*/ 40 h 424"/>
                <a:gd name="T78" fmla="*/ 48 w 368"/>
                <a:gd name="T79" fmla="*/ 16 h 424"/>
                <a:gd name="T80" fmla="*/ 88 w 368"/>
                <a:gd name="T81" fmla="*/ 16 h 424"/>
                <a:gd name="T82" fmla="*/ 112 w 368"/>
                <a:gd name="T83" fmla="*/ 0 h 424"/>
                <a:gd name="T84" fmla="*/ 128 w 368"/>
                <a:gd name="T85" fmla="*/ 16 h 424"/>
                <a:gd name="T86" fmla="*/ 128 w 368"/>
                <a:gd name="T87" fmla="*/ 48 h 424"/>
                <a:gd name="T88" fmla="*/ 112 w 368"/>
                <a:gd name="T89" fmla="*/ 56 h 424"/>
                <a:gd name="T90" fmla="*/ 152 w 368"/>
                <a:gd name="T91" fmla="*/ 88 h 424"/>
                <a:gd name="T92" fmla="*/ 184 w 368"/>
                <a:gd name="T93" fmla="*/ 128 h 424"/>
                <a:gd name="T94" fmla="*/ 216 w 368"/>
                <a:gd name="T95" fmla="*/ 136 h 424"/>
                <a:gd name="T96" fmla="*/ 256 w 368"/>
                <a:gd name="T97" fmla="*/ 144 h 424"/>
                <a:gd name="T98" fmla="*/ 248 w 368"/>
                <a:gd name="T99" fmla="*/ 12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8" h="424">
                  <a:moveTo>
                    <a:pt x="256" y="120"/>
                  </a:moveTo>
                  <a:lnTo>
                    <a:pt x="264" y="128"/>
                  </a:lnTo>
                  <a:lnTo>
                    <a:pt x="264" y="136"/>
                  </a:lnTo>
                  <a:lnTo>
                    <a:pt x="272" y="136"/>
                  </a:lnTo>
                  <a:lnTo>
                    <a:pt x="304" y="136"/>
                  </a:lnTo>
                  <a:lnTo>
                    <a:pt x="304" y="128"/>
                  </a:lnTo>
                  <a:lnTo>
                    <a:pt x="296" y="120"/>
                  </a:lnTo>
                  <a:lnTo>
                    <a:pt x="312" y="112"/>
                  </a:lnTo>
                  <a:lnTo>
                    <a:pt x="328" y="96"/>
                  </a:lnTo>
                  <a:lnTo>
                    <a:pt x="344" y="96"/>
                  </a:lnTo>
                  <a:lnTo>
                    <a:pt x="368" y="120"/>
                  </a:lnTo>
                  <a:lnTo>
                    <a:pt x="368" y="128"/>
                  </a:lnTo>
                  <a:lnTo>
                    <a:pt x="360" y="128"/>
                  </a:lnTo>
                  <a:lnTo>
                    <a:pt x="344" y="144"/>
                  </a:lnTo>
                  <a:lnTo>
                    <a:pt x="336" y="184"/>
                  </a:lnTo>
                  <a:lnTo>
                    <a:pt x="328" y="184"/>
                  </a:lnTo>
                  <a:lnTo>
                    <a:pt x="328" y="208"/>
                  </a:lnTo>
                  <a:lnTo>
                    <a:pt x="320" y="208"/>
                  </a:lnTo>
                  <a:lnTo>
                    <a:pt x="312" y="184"/>
                  </a:lnTo>
                  <a:lnTo>
                    <a:pt x="312" y="192"/>
                  </a:lnTo>
                  <a:lnTo>
                    <a:pt x="296" y="184"/>
                  </a:lnTo>
                  <a:lnTo>
                    <a:pt x="296" y="176"/>
                  </a:lnTo>
                  <a:lnTo>
                    <a:pt x="312" y="160"/>
                  </a:lnTo>
                  <a:lnTo>
                    <a:pt x="280" y="160"/>
                  </a:lnTo>
                  <a:lnTo>
                    <a:pt x="272" y="144"/>
                  </a:lnTo>
                  <a:lnTo>
                    <a:pt x="264" y="144"/>
                  </a:lnTo>
                  <a:lnTo>
                    <a:pt x="256" y="144"/>
                  </a:lnTo>
                  <a:lnTo>
                    <a:pt x="256" y="152"/>
                  </a:lnTo>
                  <a:lnTo>
                    <a:pt x="264" y="160"/>
                  </a:lnTo>
                  <a:lnTo>
                    <a:pt x="256" y="168"/>
                  </a:lnTo>
                  <a:lnTo>
                    <a:pt x="264" y="176"/>
                  </a:lnTo>
                  <a:lnTo>
                    <a:pt x="272" y="216"/>
                  </a:lnTo>
                  <a:lnTo>
                    <a:pt x="264" y="208"/>
                  </a:lnTo>
                  <a:lnTo>
                    <a:pt x="264" y="216"/>
                  </a:lnTo>
                  <a:lnTo>
                    <a:pt x="248" y="216"/>
                  </a:lnTo>
                  <a:lnTo>
                    <a:pt x="248" y="240"/>
                  </a:lnTo>
                  <a:lnTo>
                    <a:pt x="232" y="248"/>
                  </a:lnTo>
                  <a:lnTo>
                    <a:pt x="224" y="264"/>
                  </a:lnTo>
                  <a:lnTo>
                    <a:pt x="200" y="288"/>
                  </a:lnTo>
                  <a:lnTo>
                    <a:pt x="192" y="296"/>
                  </a:lnTo>
                  <a:lnTo>
                    <a:pt x="184" y="296"/>
                  </a:lnTo>
                  <a:lnTo>
                    <a:pt x="184" y="304"/>
                  </a:lnTo>
                  <a:lnTo>
                    <a:pt x="176" y="304"/>
                  </a:lnTo>
                  <a:lnTo>
                    <a:pt x="168" y="312"/>
                  </a:lnTo>
                  <a:lnTo>
                    <a:pt x="176" y="344"/>
                  </a:lnTo>
                  <a:lnTo>
                    <a:pt x="168" y="368"/>
                  </a:lnTo>
                  <a:lnTo>
                    <a:pt x="168" y="384"/>
                  </a:lnTo>
                  <a:lnTo>
                    <a:pt x="160" y="400"/>
                  </a:lnTo>
                  <a:lnTo>
                    <a:pt x="152" y="408"/>
                  </a:lnTo>
                  <a:lnTo>
                    <a:pt x="144" y="424"/>
                  </a:lnTo>
                  <a:lnTo>
                    <a:pt x="128" y="408"/>
                  </a:lnTo>
                  <a:lnTo>
                    <a:pt x="96" y="320"/>
                  </a:lnTo>
                  <a:lnTo>
                    <a:pt x="80" y="296"/>
                  </a:lnTo>
                  <a:lnTo>
                    <a:pt x="64" y="208"/>
                  </a:lnTo>
                  <a:lnTo>
                    <a:pt x="56" y="208"/>
                  </a:lnTo>
                  <a:lnTo>
                    <a:pt x="56" y="224"/>
                  </a:lnTo>
                  <a:lnTo>
                    <a:pt x="48" y="224"/>
                  </a:lnTo>
                  <a:lnTo>
                    <a:pt x="40" y="232"/>
                  </a:lnTo>
                  <a:lnTo>
                    <a:pt x="16" y="208"/>
                  </a:lnTo>
                  <a:lnTo>
                    <a:pt x="32" y="200"/>
                  </a:lnTo>
                  <a:lnTo>
                    <a:pt x="32" y="192"/>
                  </a:lnTo>
                  <a:lnTo>
                    <a:pt x="16" y="200"/>
                  </a:lnTo>
                  <a:lnTo>
                    <a:pt x="0" y="184"/>
                  </a:lnTo>
                  <a:lnTo>
                    <a:pt x="8" y="176"/>
                  </a:lnTo>
                  <a:lnTo>
                    <a:pt x="32" y="176"/>
                  </a:lnTo>
                  <a:lnTo>
                    <a:pt x="32" y="168"/>
                  </a:lnTo>
                  <a:lnTo>
                    <a:pt x="32" y="152"/>
                  </a:lnTo>
                  <a:lnTo>
                    <a:pt x="24" y="152"/>
                  </a:lnTo>
                  <a:lnTo>
                    <a:pt x="24" y="144"/>
                  </a:lnTo>
                  <a:lnTo>
                    <a:pt x="16" y="136"/>
                  </a:lnTo>
                  <a:lnTo>
                    <a:pt x="16" y="128"/>
                  </a:lnTo>
                  <a:lnTo>
                    <a:pt x="24" y="120"/>
                  </a:lnTo>
                  <a:lnTo>
                    <a:pt x="32" y="120"/>
                  </a:lnTo>
                  <a:lnTo>
                    <a:pt x="40" y="120"/>
                  </a:lnTo>
                  <a:lnTo>
                    <a:pt x="72" y="72"/>
                  </a:lnTo>
                  <a:lnTo>
                    <a:pt x="64" y="56"/>
                  </a:lnTo>
                  <a:lnTo>
                    <a:pt x="72" y="56"/>
                  </a:lnTo>
                  <a:lnTo>
                    <a:pt x="56" y="40"/>
                  </a:lnTo>
                  <a:lnTo>
                    <a:pt x="56" y="24"/>
                  </a:lnTo>
                  <a:lnTo>
                    <a:pt x="48" y="16"/>
                  </a:lnTo>
                  <a:lnTo>
                    <a:pt x="72" y="16"/>
                  </a:lnTo>
                  <a:lnTo>
                    <a:pt x="88" y="16"/>
                  </a:lnTo>
                  <a:lnTo>
                    <a:pt x="96" y="8"/>
                  </a:lnTo>
                  <a:lnTo>
                    <a:pt x="112" y="0"/>
                  </a:lnTo>
                  <a:lnTo>
                    <a:pt x="128" y="8"/>
                  </a:lnTo>
                  <a:lnTo>
                    <a:pt x="128" y="16"/>
                  </a:lnTo>
                  <a:lnTo>
                    <a:pt x="120" y="32"/>
                  </a:lnTo>
                  <a:lnTo>
                    <a:pt x="128" y="48"/>
                  </a:lnTo>
                  <a:lnTo>
                    <a:pt x="112" y="48"/>
                  </a:lnTo>
                  <a:lnTo>
                    <a:pt x="112" y="56"/>
                  </a:lnTo>
                  <a:lnTo>
                    <a:pt x="128" y="72"/>
                  </a:lnTo>
                  <a:lnTo>
                    <a:pt x="152" y="88"/>
                  </a:lnTo>
                  <a:lnTo>
                    <a:pt x="144" y="104"/>
                  </a:lnTo>
                  <a:lnTo>
                    <a:pt x="184" y="128"/>
                  </a:lnTo>
                  <a:lnTo>
                    <a:pt x="200" y="128"/>
                  </a:lnTo>
                  <a:lnTo>
                    <a:pt x="216" y="136"/>
                  </a:lnTo>
                  <a:lnTo>
                    <a:pt x="240" y="144"/>
                  </a:lnTo>
                  <a:lnTo>
                    <a:pt x="256" y="144"/>
                  </a:lnTo>
                  <a:lnTo>
                    <a:pt x="248" y="136"/>
                  </a:lnTo>
                  <a:lnTo>
                    <a:pt x="248" y="120"/>
                  </a:lnTo>
                  <a:lnTo>
                    <a:pt x="256" y="12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46" name="Freeform 60">
              <a:extLst>
                <a:ext uri="{FF2B5EF4-FFF2-40B4-BE49-F238E27FC236}">
                  <a16:creationId xmlns:a16="http://schemas.microsoft.com/office/drawing/2014/main" id="{510F5444-51ED-456A-191E-5A2FC82E627E}"/>
                </a:ext>
              </a:extLst>
            </p:cNvPr>
            <p:cNvSpPr>
              <a:spLocks/>
            </p:cNvSpPr>
            <p:nvPr/>
          </p:nvSpPr>
          <p:spPr bwMode="auto">
            <a:xfrm>
              <a:off x="6001902" y="2043917"/>
              <a:ext cx="228395" cy="116277"/>
            </a:xfrm>
            <a:custGeom>
              <a:avLst/>
              <a:gdLst>
                <a:gd name="T0" fmla="*/ 104 w 112"/>
                <a:gd name="T1" fmla="*/ 48 h 56"/>
                <a:gd name="T2" fmla="*/ 104 w 112"/>
                <a:gd name="T3" fmla="*/ 32 h 56"/>
                <a:gd name="T4" fmla="*/ 80 w 112"/>
                <a:gd name="T5" fmla="*/ 32 h 56"/>
                <a:gd name="T6" fmla="*/ 48 w 112"/>
                <a:gd name="T7" fmla="*/ 8 h 56"/>
                <a:gd name="T8" fmla="*/ 40 w 112"/>
                <a:gd name="T9" fmla="*/ 16 h 56"/>
                <a:gd name="T10" fmla="*/ 24 w 112"/>
                <a:gd name="T11" fmla="*/ 0 h 56"/>
                <a:gd name="T12" fmla="*/ 8 w 112"/>
                <a:gd name="T13" fmla="*/ 0 h 56"/>
                <a:gd name="T14" fmla="*/ 0 w 112"/>
                <a:gd name="T15" fmla="*/ 16 h 56"/>
                <a:gd name="T16" fmla="*/ 40 w 112"/>
                <a:gd name="T17" fmla="*/ 40 h 56"/>
                <a:gd name="T18" fmla="*/ 56 w 112"/>
                <a:gd name="T19" fmla="*/ 40 h 56"/>
                <a:gd name="T20" fmla="*/ 72 w 112"/>
                <a:gd name="T21" fmla="*/ 48 h 56"/>
                <a:gd name="T22" fmla="*/ 96 w 112"/>
                <a:gd name="T23" fmla="*/ 56 h 56"/>
                <a:gd name="T24" fmla="*/ 112 w 112"/>
                <a:gd name="T25" fmla="*/ 56 h 56"/>
                <a:gd name="T26" fmla="*/ 104 w 112"/>
                <a:gd name="T27"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56">
                  <a:moveTo>
                    <a:pt x="104" y="48"/>
                  </a:moveTo>
                  <a:lnTo>
                    <a:pt x="104" y="32"/>
                  </a:lnTo>
                  <a:lnTo>
                    <a:pt x="80" y="32"/>
                  </a:lnTo>
                  <a:lnTo>
                    <a:pt x="48" y="8"/>
                  </a:lnTo>
                  <a:lnTo>
                    <a:pt x="40" y="16"/>
                  </a:lnTo>
                  <a:lnTo>
                    <a:pt x="24" y="0"/>
                  </a:lnTo>
                  <a:lnTo>
                    <a:pt x="8" y="0"/>
                  </a:lnTo>
                  <a:lnTo>
                    <a:pt x="0" y="16"/>
                  </a:lnTo>
                  <a:lnTo>
                    <a:pt x="40" y="40"/>
                  </a:lnTo>
                  <a:lnTo>
                    <a:pt x="56" y="40"/>
                  </a:lnTo>
                  <a:lnTo>
                    <a:pt x="72" y="48"/>
                  </a:lnTo>
                  <a:lnTo>
                    <a:pt x="96" y="56"/>
                  </a:lnTo>
                  <a:lnTo>
                    <a:pt x="112" y="56"/>
                  </a:lnTo>
                  <a:lnTo>
                    <a:pt x="104" y="4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47" name="Freeform 61">
              <a:extLst>
                <a:ext uri="{FF2B5EF4-FFF2-40B4-BE49-F238E27FC236}">
                  <a16:creationId xmlns:a16="http://schemas.microsoft.com/office/drawing/2014/main" id="{BD02FD8B-ECC0-AC2C-984B-52CF424D9170}"/>
                </a:ext>
              </a:extLst>
            </p:cNvPr>
            <p:cNvSpPr>
              <a:spLocks/>
            </p:cNvSpPr>
            <p:nvPr/>
          </p:nvSpPr>
          <p:spPr bwMode="auto">
            <a:xfrm>
              <a:off x="5019199" y="1731312"/>
              <a:ext cx="539436" cy="460583"/>
            </a:xfrm>
            <a:custGeom>
              <a:avLst/>
              <a:gdLst>
                <a:gd name="T0" fmla="*/ 192 w 264"/>
                <a:gd name="T1" fmla="*/ 216 h 224"/>
                <a:gd name="T2" fmla="*/ 184 w 264"/>
                <a:gd name="T3" fmla="*/ 200 h 224"/>
                <a:gd name="T4" fmla="*/ 160 w 264"/>
                <a:gd name="T5" fmla="*/ 208 h 224"/>
                <a:gd name="T6" fmla="*/ 144 w 264"/>
                <a:gd name="T7" fmla="*/ 208 h 224"/>
                <a:gd name="T8" fmla="*/ 112 w 264"/>
                <a:gd name="T9" fmla="*/ 184 h 224"/>
                <a:gd name="T10" fmla="*/ 96 w 264"/>
                <a:gd name="T11" fmla="*/ 152 h 224"/>
                <a:gd name="T12" fmla="*/ 80 w 264"/>
                <a:gd name="T13" fmla="*/ 144 h 224"/>
                <a:gd name="T14" fmla="*/ 72 w 264"/>
                <a:gd name="T15" fmla="*/ 152 h 224"/>
                <a:gd name="T16" fmla="*/ 56 w 264"/>
                <a:gd name="T17" fmla="*/ 136 h 224"/>
                <a:gd name="T18" fmla="*/ 56 w 264"/>
                <a:gd name="T19" fmla="*/ 112 h 224"/>
                <a:gd name="T20" fmla="*/ 32 w 264"/>
                <a:gd name="T21" fmla="*/ 104 h 224"/>
                <a:gd name="T22" fmla="*/ 24 w 264"/>
                <a:gd name="T23" fmla="*/ 88 h 224"/>
                <a:gd name="T24" fmla="*/ 32 w 264"/>
                <a:gd name="T25" fmla="*/ 72 h 224"/>
                <a:gd name="T26" fmla="*/ 16 w 264"/>
                <a:gd name="T27" fmla="*/ 40 h 224"/>
                <a:gd name="T28" fmla="*/ 0 w 264"/>
                <a:gd name="T29" fmla="*/ 8 h 224"/>
                <a:gd name="T30" fmla="*/ 8 w 264"/>
                <a:gd name="T31" fmla="*/ 0 h 224"/>
                <a:gd name="T32" fmla="*/ 16 w 264"/>
                <a:gd name="T33" fmla="*/ 16 h 224"/>
                <a:gd name="T34" fmla="*/ 24 w 264"/>
                <a:gd name="T35" fmla="*/ 16 h 224"/>
                <a:gd name="T36" fmla="*/ 32 w 264"/>
                <a:gd name="T37" fmla="*/ 16 h 224"/>
                <a:gd name="T38" fmla="*/ 48 w 264"/>
                <a:gd name="T39" fmla="*/ 8 h 224"/>
                <a:gd name="T40" fmla="*/ 48 w 264"/>
                <a:gd name="T41" fmla="*/ 16 h 224"/>
                <a:gd name="T42" fmla="*/ 64 w 264"/>
                <a:gd name="T43" fmla="*/ 24 h 224"/>
                <a:gd name="T44" fmla="*/ 64 w 264"/>
                <a:gd name="T45" fmla="*/ 40 h 224"/>
                <a:gd name="T46" fmla="*/ 96 w 264"/>
                <a:gd name="T47" fmla="*/ 56 h 224"/>
                <a:gd name="T48" fmla="*/ 128 w 264"/>
                <a:gd name="T49" fmla="*/ 48 h 224"/>
                <a:gd name="T50" fmla="*/ 128 w 264"/>
                <a:gd name="T51" fmla="*/ 40 h 224"/>
                <a:gd name="T52" fmla="*/ 144 w 264"/>
                <a:gd name="T53" fmla="*/ 32 h 224"/>
                <a:gd name="T54" fmla="*/ 160 w 264"/>
                <a:gd name="T55" fmla="*/ 24 h 224"/>
                <a:gd name="T56" fmla="*/ 224 w 264"/>
                <a:gd name="T57" fmla="*/ 56 h 224"/>
                <a:gd name="T58" fmla="*/ 224 w 264"/>
                <a:gd name="T59" fmla="*/ 64 h 224"/>
                <a:gd name="T60" fmla="*/ 224 w 264"/>
                <a:gd name="T61" fmla="*/ 80 h 224"/>
                <a:gd name="T62" fmla="*/ 216 w 264"/>
                <a:gd name="T63" fmla="*/ 88 h 224"/>
                <a:gd name="T64" fmla="*/ 216 w 264"/>
                <a:gd name="T65" fmla="*/ 96 h 224"/>
                <a:gd name="T66" fmla="*/ 224 w 264"/>
                <a:gd name="T67" fmla="*/ 128 h 224"/>
                <a:gd name="T68" fmla="*/ 240 w 264"/>
                <a:gd name="T69" fmla="*/ 128 h 224"/>
                <a:gd name="T70" fmla="*/ 240 w 264"/>
                <a:gd name="T71" fmla="*/ 136 h 224"/>
                <a:gd name="T72" fmla="*/ 232 w 264"/>
                <a:gd name="T73" fmla="*/ 152 h 224"/>
                <a:gd name="T74" fmla="*/ 248 w 264"/>
                <a:gd name="T75" fmla="*/ 176 h 224"/>
                <a:gd name="T76" fmla="*/ 256 w 264"/>
                <a:gd name="T77" fmla="*/ 176 h 224"/>
                <a:gd name="T78" fmla="*/ 264 w 264"/>
                <a:gd name="T79" fmla="*/ 192 h 224"/>
                <a:gd name="T80" fmla="*/ 264 w 264"/>
                <a:gd name="T81" fmla="*/ 200 h 224"/>
                <a:gd name="T82" fmla="*/ 248 w 264"/>
                <a:gd name="T83" fmla="*/ 208 h 224"/>
                <a:gd name="T84" fmla="*/ 248 w 264"/>
                <a:gd name="T85" fmla="*/ 224 h 224"/>
                <a:gd name="T86" fmla="*/ 192 w 264"/>
                <a:gd name="T87"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4" h="224">
                  <a:moveTo>
                    <a:pt x="192" y="216"/>
                  </a:moveTo>
                  <a:lnTo>
                    <a:pt x="184" y="200"/>
                  </a:lnTo>
                  <a:lnTo>
                    <a:pt x="160" y="208"/>
                  </a:lnTo>
                  <a:lnTo>
                    <a:pt x="144" y="208"/>
                  </a:lnTo>
                  <a:lnTo>
                    <a:pt x="112" y="184"/>
                  </a:lnTo>
                  <a:lnTo>
                    <a:pt x="96" y="152"/>
                  </a:lnTo>
                  <a:lnTo>
                    <a:pt x="80" y="144"/>
                  </a:lnTo>
                  <a:lnTo>
                    <a:pt x="72" y="152"/>
                  </a:lnTo>
                  <a:lnTo>
                    <a:pt x="56" y="136"/>
                  </a:lnTo>
                  <a:lnTo>
                    <a:pt x="56" y="112"/>
                  </a:lnTo>
                  <a:lnTo>
                    <a:pt x="32" y="104"/>
                  </a:lnTo>
                  <a:lnTo>
                    <a:pt x="24" y="88"/>
                  </a:lnTo>
                  <a:lnTo>
                    <a:pt x="32" y="72"/>
                  </a:lnTo>
                  <a:lnTo>
                    <a:pt x="16" y="40"/>
                  </a:lnTo>
                  <a:lnTo>
                    <a:pt x="0" y="8"/>
                  </a:lnTo>
                  <a:lnTo>
                    <a:pt x="8" y="0"/>
                  </a:lnTo>
                  <a:lnTo>
                    <a:pt x="16" y="16"/>
                  </a:lnTo>
                  <a:lnTo>
                    <a:pt x="24" y="16"/>
                  </a:lnTo>
                  <a:lnTo>
                    <a:pt x="32" y="16"/>
                  </a:lnTo>
                  <a:lnTo>
                    <a:pt x="48" y="8"/>
                  </a:lnTo>
                  <a:lnTo>
                    <a:pt x="48" y="16"/>
                  </a:lnTo>
                  <a:lnTo>
                    <a:pt x="64" y="24"/>
                  </a:lnTo>
                  <a:lnTo>
                    <a:pt x="64" y="40"/>
                  </a:lnTo>
                  <a:lnTo>
                    <a:pt x="96" y="56"/>
                  </a:lnTo>
                  <a:lnTo>
                    <a:pt x="128" y="48"/>
                  </a:lnTo>
                  <a:lnTo>
                    <a:pt x="128" y="40"/>
                  </a:lnTo>
                  <a:lnTo>
                    <a:pt x="144" y="32"/>
                  </a:lnTo>
                  <a:lnTo>
                    <a:pt x="160" y="24"/>
                  </a:lnTo>
                  <a:lnTo>
                    <a:pt x="224" y="56"/>
                  </a:lnTo>
                  <a:lnTo>
                    <a:pt x="224" y="64"/>
                  </a:lnTo>
                  <a:lnTo>
                    <a:pt x="224" y="80"/>
                  </a:lnTo>
                  <a:lnTo>
                    <a:pt x="216" y="88"/>
                  </a:lnTo>
                  <a:lnTo>
                    <a:pt x="216" y="96"/>
                  </a:lnTo>
                  <a:lnTo>
                    <a:pt x="224" y="128"/>
                  </a:lnTo>
                  <a:lnTo>
                    <a:pt x="240" y="128"/>
                  </a:lnTo>
                  <a:lnTo>
                    <a:pt x="240" y="136"/>
                  </a:lnTo>
                  <a:lnTo>
                    <a:pt x="232" y="152"/>
                  </a:lnTo>
                  <a:lnTo>
                    <a:pt x="248" y="176"/>
                  </a:lnTo>
                  <a:lnTo>
                    <a:pt x="256" y="176"/>
                  </a:lnTo>
                  <a:lnTo>
                    <a:pt x="264" y="192"/>
                  </a:lnTo>
                  <a:lnTo>
                    <a:pt x="264" y="200"/>
                  </a:lnTo>
                  <a:lnTo>
                    <a:pt x="248" y="208"/>
                  </a:lnTo>
                  <a:lnTo>
                    <a:pt x="248" y="224"/>
                  </a:lnTo>
                  <a:lnTo>
                    <a:pt x="192" y="2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48" name="Freeform 62">
              <a:extLst>
                <a:ext uri="{FF2B5EF4-FFF2-40B4-BE49-F238E27FC236}">
                  <a16:creationId xmlns:a16="http://schemas.microsoft.com/office/drawing/2014/main" id="{94F49E2F-1FE6-3366-4495-148C7BEAEE30}"/>
                </a:ext>
              </a:extLst>
            </p:cNvPr>
            <p:cNvSpPr>
              <a:spLocks/>
            </p:cNvSpPr>
            <p:nvPr/>
          </p:nvSpPr>
          <p:spPr bwMode="auto">
            <a:xfrm>
              <a:off x="5494022" y="1830979"/>
              <a:ext cx="408708" cy="410749"/>
            </a:xfrm>
            <a:custGeom>
              <a:avLst/>
              <a:gdLst>
                <a:gd name="T0" fmla="*/ 112 w 200"/>
                <a:gd name="T1" fmla="*/ 192 h 200"/>
                <a:gd name="T2" fmla="*/ 136 w 200"/>
                <a:gd name="T3" fmla="*/ 192 h 200"/>
                <a:gd name="T4" fmla="*/ 136 w 200"/>
                <a:gd name="T5" fmla="*/ 184 h 200"/>
                <a:gd name="T6" fmla="*/ 136 w 200"/>
                <a:gd name="T7" fmla="*/ 168 h 200"/>
                <a:gd name="T8" fmla="*/ 128 w 200"/>
                <a:gd name="T9" fmla="*/ 168 h 200"/>
                <a:gd name="T10" fmla="*/ 128 w 200"/>
                <a:gd name="T11" fmla="*/ 160 h 200"/>
                <a:gd name="T12" fmla="*/ 120 w 200"/>
                <a:gd name="T13" fmla="*/ 152 h 200"/>
                <a:gd name="T14" fmla="*/ 120 w 200"/>
                <a:gd name="T15" fmla="*/ 144 h 200"/>
                <a:gd name="T16" fmla="*/ 128 w 200"/>
                <a:gd name="T17" fmla="*/ 136 h 200"/>
                <a:gd name="T18" fmla="*/ 136 w 200"/>
                <a:gd name="T19" fmla="*/ 136 h 200"/>
                <a:gd name="T20" fmla="*/ 144 w 200"/>
                <a:gd name="T21" fmla="*/ 136 h 200"/>
                <a:gd name="T22" fmla="*/ 176 w 200"/>
                <a:gd name="T23" fmla="*/ 88 h 200"/>
                <a:gd name="T24" fmla="*/ 168 w 200"/>
                <a:gd name="T25" fmla="*/ 72 h 200"/>
                <a:gd name="T26" fmla="*/ 176 w 200"/>
                <a:gd name="T27" fmla="*/ 72 h 200"/>
                <a:gd name="T28" fmla="*/ 160 w 200"/>
                <a:gd name="T29" fmla="*/ 56 h 200"/>
                <a:gd name="T30" fmla="*/ 160 w 200"/>
                <a:gd name="T31" fmla="*/ 40 h 200"/>
                <a:gd name="T32" fmla="*/ 152 w 200"/>
                <a:gd name="T33" fmla="*/ 32 h 200"/>
                <a:gd name="T34" fmla="*/ 176 w 200"/>
                <a:gd name="T35" fmla="*/ 32 h 200"/>
                <a:gd name="T36" fmla="*/ 192 w 200"/>
                <a:gd name="T37" fmla="*/ 32 h 200"/>
                <a:gd name="T38" fmla="*/ 200 w 200"/>
                <a:gd name="T39" fmla="*/ 24 h 200"/>
                <a:gd name="T40" fmla="*/ 176 w 200"/>
                <a:gd name="T41" fmla="*/ 16 h 200"/>
                <a:gd name="T42" fmla="*/ 168 w 200"/>
                <a:gd name="T43" fmla="*/ 0 h 200"/>
                <a:gd name="T44" fmla="*/ 152 w 200"/>
                <a:gd name="T45" fmla="*/ 0 h 200"/>
                <a:gd name="T46" fmla="*/ 144 w 200"/>
                <a:gd name="T47" fmla="*/ 0 h 200"/>
                <a:gd name="T48" fmla="*/ 136 w 200"/>
                <a:gd name="T49" fmla="*/ 0 h 200"/>
                <a:gd name="T50" fmla="*/ 120 w 200"/>
                <a:gd name="T51" fmla="*/ 8 h 200"/>
                <a:gd name="T52" fmla="*/ 120 w 200"/>
                <a:gd name="T53" fmla="*/ 32 h 200"/>
                <a:gd name="T54" fmla="*/ 120 w 200"/>
                <a:gd name="T55" fmla="*/ 40 h 200"/>
                <a:gd name="T56" fmla="*/ 104 w 200"/>
                <a:gd name="T57" fmla="*/ 40 h 200"/>
                <a:gd name="T58" fmla="*/ 112 w 200"/>
                <a:gd name="T59" fmla="*/ 48 h 200"/>
                <a:gd name="T60" fmla="*/ 104 w 200"/>
                <a:gd name="T61" fmla="*/ 56 h 200"/>
                <a:gd name="T62" fmla="*/ 104 w 200"/>
                <a:gd name="T63" fmla="*/ 80 h 200"/>
                <a:gd name="T64" fmla="*/ 72 w 200"/>
                <a:gd name="T65" fmla="*/ 88 h 200"/>
                <a:gd name="T66" fmla="*/ 72 w 200"/>
                <a:gd name="T67" fmla="*/ 104 h 200"/>
                <a:gd name="T68" fmla="*/ 16 w 200"/>
                <a:gd name="T69" fmla="*/ 112 h 200"/>
                <a:gd name="T70" fmla="*/ 0 w 200"/>
                <a:gd name="T71" fmla="*/ 104 h 200"/>
                <a:gd name="T72" fmla="*/ 16 w 200"/>
                <a:gd name="T73" fmla="*/ 128 h 200"/>
                <a:gd name="T74" fmla="*/ 24 w 200"/>
                <a:gd name="T75" fmla="*/ 128 h 200"/>
                <a:gd name="T76" fmla="*/ 32 w 200"/>
                <a:gd name="T77" fmla="*/ 144 h 200"/>
                <a:gd name="T78" fmla="*/ 32 w 200"/>
                <a:gd name="T79" fmla="*/ 152 h 200"/>
                <a:gd name="T80" fmla="*/ 16 w 200"/>
                <a:gd name="T81" fmla="*/ 160 h 200"/>
                <a:gd name="T82" fmla="*/ 16 w 200"/>
                <a:gd name="T83" fmla="*/ 176 h 200"/>
                <a:gd name="T84" fmla="*/ 48 w 200"/>
                <a:gd name="T85" fmla="*/ 176 h 200"/>
                <a:gd name="T86" fmla="*/ 56 w 200"/>
                <a:gd name="T87" fmla="*/ 176 h 200"/>
                <a:gd name="T88" fmla="*/ 80 w 200"/>
                <a:gd name="T89" fmla="*/ 176 h 200"/>
                <a:gd name="T90" fmla="*/ 96 w 200"/>
                <a:gd name="T91" fmla="*/ 200 h 200"/>
                <a:gd name="T92" fmla="*/ 104 w 200"/>
                <a:gd name="T93" fmla="*/ 200 h 200"/>
                <a:gd name="T94" fmla="*/ 112 w 200"/>
                <a:gd name="T95" fmla="*/ 19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 h="200">
                  <a:moveTo>
                    <a:pt x="112" y="192"/>
                  </a:moveTo>
                  <a:lnTo>
                    <a:pt x="136" y="192"/>
                  </a:lnTo>
                  <a:lnTo>
                    <a:pt x="136" y="184"/>
                  </a:lnTo>
                  <a:lnTo>
                    <a:pt x="136" y="168"/>
                  </a:lnTo>
                  <a:lnTo>
                    <a:pt x="128" y="168"/>
                  </a:lnTo>
                  <a:lnTo>
                    <a:pt x="128" y="160"/>
                  </a:lnTo>
                  <a:lnTo>
                    <a:pt x="120" y="152"/>
                  </a:lnTo>
                  <a:lnTo>
                    <a:pt x="120" y="144"/>
                  </a:lnTo>
                  <a:lnTo>
                    <a:pt x="128" y="136"/>
                  </a:lnTo>
                  <a:lnTo>
                    <a:pt x="136" y="136"/>
                  </a:lnTo>
                  <a:lnTo>
                    <a:pt x="144" y="136"/>
                  </a:lnTo>
                  <a:lnTo>
                    <a:pt x="176" y="88"/>
                  </a:lnTo>
                  <a:lnTo>
                    <a:pt x="168" y="72"/>
                  </a:lnTo>
                  <a:lnTo>
                    <a:pt x="176" y="72"/>
                  </a:lnTo>
                  <a:lnTo>
                    <a:pt x="160" y="56"/>
                  </a:lnTo>
                  <a:lnTo>
                    <a:pt x="160" y="40"/>
                  </a:lnTo>
                  <a:lnTo>
                    <a:pt x="152" y="32"/>
                  </a:lnTo>
                  <a:lnTo>
                    <a:pt x="176" y="32"/>
                  </a:lnTo>
                  <a:lnTo>
                    <a:pt x="192" y="32"/>
                  </a:lnTo>
                  <a:lnTo>
                    <a:pt x="200" y="24"/>
                  </a:lnTo>
                  <a:lnTo>
                    <a:pt x="176" y="16"/>
                  </a:lnTo>
                  <a:lnTo>
                    <a:pt x="168" y="0"/>
                  </a:lnTo>
                  <a:lnTo>
                    <a:pt x="152" y="0"/>
                  </a:lnTo>
                  <a:lnTo>
                    <a:pt x="144" y="0"/>
                  </a:lnTo>
                  <a:lnTo>
                    <a:pt x="136" y="0"/>
                  </a:lnTo>
                  <a:lnTo>
                    <a:pt x="120" y="8"/>
                  </a:lnTo>
                  <a:lnTo>
                    <a:pt x="120" y="32"/>
                  </a:lnTo>
                  <a:lnTo>
                    <a:pt x="120" y="40"/>
                  </a:lnTo>
                  <a:lnTo>
                    <a:pt x="104" y="40"/>
                  </a:lnTo>
                  <a:lnTo>
                    <a:pt x="112" y="48"/>
                  </a:lnTo>
                  <a:lnTo>
                    <a:pt x="104" y="56"/>
                  </a:lnTo>
                  <a:lnTo>
                    <a:pt x="104" y="80"/>
                  </a:lnTo>
                  <a:lnTo>
                    <a:pt x="72" y="88"/>
                  </a:lnTo>
                  <a:lnTo>
                    <a:pt x="72" y="104"/>
                  </a:lnTo>
                  <a:lnTo>
                    <a:pt x="16" y="112"/>
                  </a:lnTo>
                  <a:lnTo>
                    <a:pt x="0" y="104"/>
                  </a:lnTo>
                  <a:lnTo>
                    <a:pt x="16" y="128"/>
                  </a:lnTo>
                  <a:lnTo>
                    <a:pt x="24" y="128"/>
                  </a:lnTo>
                  <a:lnTo>
                    <a:pt x="32" y="144"/>
                  </a:lnTo>
                  <a:lnTo>
                    <a:pt x="32" y="152"/>
                  </a:lnTo>
                  <a:lnTo>
                    <a:pt x="16" y="160"/>
                  </a:lnTo>
                  <a:lnTo>
                    <a:pt x="16" y="176"/>
                  </a:lnTo>
                  <a:lnTo>
                    <a:pt x="48" y="176"/>
                  </a:lnTo>
                  <a:lnTo>
                    <a:pt x="56" y="176"/>
                  </a:lnTo>
                  <a:lnTo>
                    <a:pt x="80" y="176"/>
                  </a:lnTo>
                  <a:lnTo>
                    <a:pt x="96" y="200"/>
                  </a:lnTo>
                  <a:lnTo>
                    <a:pt x="104" y="200"/>
                  </a:lnTo>
                  <a:lnTo>
                    <a:pt x="112" y="19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49" name="Freeform 63">
              <a:extLst>
                <a:ext uri="{FF2B5EF4-FFF2-40B4-BE49-F238E27FC236}">
                  <a16:creationId xmlns:a16="http://schemas.microsoft.com/office/drawing/2014/main" id="{F153F3B5-3895-519B-01D5-8FB120F2324A}"/>
                </a:ext>
              </a:extLst>
            </p:cNvPr>
            <p:cNvSpPr>
              <a:spLocks/>
            </p:cNvSpPr>
            <p:nvPr/>
          </p:nvSpPr>
          <p:spPr bwMode="auto">
            <a:xfrm>
              <a:off x="5460964" y="1781155"/>
              <a:ext cx="344096" cy="279368"/>
            </a:xfrm>
            <a:custGeom>
              <a:avLst/>
              <a:gdLst>
                <a:gd name="T0" fmla="*/ 64 w 168"/>
                <a:gd name="T1" fmla="*/ 16 h 136"/>
                <a:gd name="T2" fmla="*/ 80 w 168"/>
                <a:gd name="T3" fmla="*/ 24 h 136"/>
                <a:gd name="T4" fmla="*/ 88 w 168"/>
                <a:gd name="T5" fmla="*/ 24 h 136"/>
                <a:gd name="T6" fmla="*/ 104 w 168"/>
                <a:gd name="T7" fmla="*/ 16 h 136"/>
                <a:gd name="T8" fmla="*/ 112 w 168"/>
                <a:gd name="T9" fmla="*/ 16 h 136"/>
                <a:gd name="T10" fmla="*/ 120 w 168"/>
                <a:gd name="T11" fmla="*/ 0 h 136"/>
                <a:gd name="T12" fmla="*/ 128 w 168"/>
                <a:gd name="T13" fmla="*/ 8 h 136"/>
                <a:gd name="T14" fmla="*/ 136 w 168"/>
                <a:gd name="T15" fmla="*/ 24 h 136"/>
                <a:gd name="T16" fmla="*/ 152 w 168"/>
                <a:gd name="T17" fmla="*/ 16 h 136"/>
                <a:gd name="T18" fmla="*/ 168 w 168"/>
                <a:gd name="T19" fmla="*/ 16 h 136"/>
                <a:gd name="T20" fmla="*/ 168 w 168"/>
                <a:gd name="T21" fmla="*/ 24 h 136"/>
                <a:gd name="T22" fmla="*/ 160 w 168"/>
                <a:gd name="T23" fmla="*/ 24 h 136"/>
                <a:gd name="T24" fmla="*/ 152 w 168"/>
                <a:gd name="T25" fmla="*/ 24 h 136"/>
                <a:gd name="T26" fmla="*/ 136 w 168"/>
                <a:gd name="T27" fmla="*/ 32 h 136"/>
                <a:gd name="T28" fmla="*/ 136 w 168"/>
                <a:gd name="T29" fmla="*/ 56 h 136"/>
                <a:gd name="T30" fmla="*/ 136 w 168"/>
                <a:gd name="T31" fmla="*/ 64 h 136"/>
                <a:gd name="T32" fmla="*/ 120 w 168"/>
                <a:gd name="T33" fmla="*/ 64 h 136"/>
                <a:gd name="T34" fmla="*/ 128 w 168"/>
                <a:gd name="T35" fmla="*/ 72 h 136"/>
                <a:gd name="T36" fmla="*/ 120 w 168"/>
                <a:gd name="T37" fmla="*/ 80 h 136"/>
                <a:gd name="T38" fmla="*/ 120 w 168"/>
                <a:gd name="T39" fmla="*/ 104 h 136"/>
                <a:gd name="T40" fmla="*/ 88 w 168"/>
                <a:gd name="T41" fmla="*/ 112 h 136"/>
                <a:gd name="T42" fmla="*/ 88 w 168"/>
                <a:gd name="T43" fmla="*/ 128 h 136"/>
                <a:gd name="T44" fmla="*/ 32 w 168"/>
                <a:gd name="T45" fmla="*/ 136 h 136"/>
                <a:gd name="T46" fmla="*/ 16 w 168"/>
                <a:gd name="T47" fmla="*/ 128 h 136"/>
                <a:gd name="T48" fmla="*/ 24 w 168"/>
                <a:gd name="T49" fmla="*/ 112 h 136"/>
                <a:gd name="T50" fmla="*/ 24 w 168"/>
                <a:gd name="T51" fmla="*/ 104 h 136"/>
                <a:gd name="T52" fmla="*/ 8 w 168"/>
                <a:gd name="T53" fmla="*/ 104 h 136"/>
                <a:gd name="T54" fmla="*/ 0 w 168"/>
                <a:gd name="T55" fmla="*/ 72 h 136"/>
                <a:gd name="T56" fmla="*/ 0 w 168"/>
                <a:gd name="T57" fmla="*/ 64 h 136"/>
                <a:gd name="T58" fmla="*/ 8 w 168"/>
                <a:gd name="T59" fmla="*/ 56 h 136"/>
                <a:gd name="T60" fmla="*/ 8 w 168"/>
                <a:gd name="T61" fmla="*/ 40 h 136"/>
                <a:gd name="T62" fmla="*/ 24 w 168"/>
                <a:gd name="T63" fmla="*/ 48 h 136"/>
                <a:gd name="T64" fmla="*/ 32 w 168"/>
                <a:gd name="T65" fmla="*/ 40 h 136"/>
                <a:gd name="T66" fmla="*/ 48 w 168"/>
                <a:gd name="T67" fmla="*/ 32 h 136"/>
                <a:gd name="T68" fmla="*/ 48 w 168"/>
                <a:gd name="T69" fmla="*/ 16 h 136"/>
                <a:gd name="T70" fmla="*/ 56 w 168"/>
                <a:gd name="T71" fmla="*/ 16 h 136"/>
                <a:gd name="T72" fmla="*/ 64 w 168"/>
                <a:gd name="T73" fmla="*/ 1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8" h="136">
                  <a:moveTo>
                    <a:pt x="64" y="16"/>
                  </a:moveTo>
                  <a:lnTo>
                    <a:pt x="80" y="24"/>
                  </a:lnTo>
                  <a:lnTo>
                    <a:pt x="88" y="24"/>
                  </a:lnTo>
                  <a:lnTo>
                    <a:pt x="104" y="16"/>
                  </a:lnTo>
                  <a:lnTo>
                    <a:pt x="112" y="16"/>
                  </a:lnTo>
                  <a:lnTo>
                    <a:pt x="120" y="0"/>
                  </a:lnTo>
                  <a:lnTo>
                    <a:pt x="128" y="8"/>
                  </a:lnTo>
                  <a:lnTo>
                    <a:pt x="136" y="24"/>
                  </a:lnTo>
                  <a:lnTo>
                    <a:pt x="152" y="16"/>
                  </a:lnTo>
                  <a:lnTo>
                    <a:pt x="168" y="16"/>
                  </a:lnTo>
                  <a:lnTo>
                    <a:pt x="168" y="24"/>
                  </a:lnTo>
                  <a:lnTo>
                    <a:pt x="160" y="24"/>
                  </a:lnTo>
                  <a:lnTo>
                    <a:pt x="152" y="24"/>
                  </a:lnTo>
                  <a:lnTo>
                    <a:pt x="136" y="32"/>
                  </a:lnTo>
                  <a:lnTo>
                    <a:pt x="136" y="56"/>
                  </a:lnTo>
                  <a:lnTo>
                    <a:pt x="136" y="64"/>
                  </a:lnTo>
                  <a:lnTo>
                    <a:pt x="120" y="64"/>
                  </a:lnTo>
                  <a:lnTo>
                    <a:pt x="128" y="72"/>
                  </a:lnTo>
                  <a:lnTo>
                    <a:pt x="120" y="80"/>
                  </a:lnTo>
                  <a:lnTo>
                    <a:pt x="120" y="104"/>
                  </a:lnTo>
                  <a:lnTo>
                    <a:pt x="88" y="112"/>
                  </a:lnTo>
                  <a:lnTo>
                    <a:pt x="88" y="128"/>
                  </a:lnTo>
                  <a:lnTo>
                    <a:pt x="32" y="136"/>
                  </a:lnTo>
                  <a:lnTo>
                    <a:pt x="16" y="128"/>
                  </a:lnTo>
                  <a:lnTo>
                    <a:pt x="24" y="112"/>
                  </a:lnTo>
                  <a:lnTo>
                    <a:pt x="24" y="104"/>
                  </a:lnTo>
                  <a:lnTo>
                    <a:pt x="8" y="104"/>
                  </a:lnTo>
                  <a:lnTo>
                    <a:pt x="0" y="72"/>
                  </a:lnTo>
                  <a:lnTo>
                    <a:pt x="0" y="64"/>
                  </a:lnTo>
                  <a:lnTo>
                    <a:pt x="8" y="56"/>
                  </a:lnTo>
                  <a:lnTo>
                    <a:pt x="8" y="40"/>
                  </a:lnTo>
                  <a:lnTo>
                    <a:pt x="24" y="48"/>
                  </a:lnTo>
                  <a:lnTo>
                    <a:pt x="32" y="40"/>
                  </a:lnTo>
                  <a:lnTo>
                    <a:pt x="48" y="32"/>
                  </a:lnTo>
                  <a:lnTo>
                    <a:pt x="48" y="16"/>
                  </a:lnTo>
                  <a:lnTo>
                    <a:pt x="56" y="16"/>
                  </a:lnTo>
                  <a:lnTo>
                    <a:pt x="64"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50" name="Freeform 64">
              <a:extLst>
                <a:ext uri="{FF2B5EF4-FFF2-40B4-BE49-F238E27FC236}">
                  <a16:creationId xmlns:a16="http://schemas.microsoft.com/office/drawing/2014/main" id="{676840C7-8FB5-E7FB-872B-C37156EB5CC5}"/>
                </a:ext>
              </a:extLst>
            </p:cNvPr>
            <p:cNvSpPr>
              <a:spLocks/>
            </p:cNvSpPr>
            <p:nvPr/>
          </p:nvSpPr>
          <p:spPr bwMode="auto">
            <a:xfrm>
              <a:off x="7032687" y="1649780"/>
              <a:ext cx="130727" cy="147989"/>
            </a:xfrm>
            <a:custGeom>
              <a:avLst/>
              <a:gdLst>
                <a:gd name="T0" fmla="*/ 48 w 64"/>
                <a:gd name="T1" fmla="*/ 0 h 72"/>
                <a:gd name="T2" fmla="*/ 48 w 64"/>
                <a:gd name="T3" fmla="*/ 8 h 72"/>
                <a:gd name="T4" fmla="*/ 40 w 64"/>
                <a:gd name="T5" fmla="*/ 16 h 72"/>
                <a:gd name="T6" fmla="*/ 40 w 64"/>
                <a:gd name="T7" fmla="*/ 24 h 72"/>
                <a:gd name="T8" fmla="*/ 24 w 64"/>
                <a:gd name="T9" fmla="*/ 16 h 72"/>
                <a:gd name="T10" fmla="*/ 0 w 64"/>
                <a:gd name="T11" fmla="*/ 48 h 72"/>
                <a:gd name="T12" fmla="*/ 24 w 64"/>
                <a:gd name="T13" fmla="*/ 48 h 72"/>
                <a:gd name="T14" fmla="*/ 24 w 64"/>
                <a:gd name="T15" fmla="*/ 72 h 72"/>
                <a:gd name="T16" fmla="*/ 48 w 64"/>
                <a:gd name="T17" fmla="*/ 72 h 72"/>
                <a:gd name="T18" fmla="*/ 56 w 64"/>
                <a:gd name="T19" fmla="*/ 72 h 72"/>
                <a:gd name="T20" fmla="*/ 64 w 64"/>
                <a:gd name="T21" fmla="*/ 64 h 72"/>
                <a:gd name="T22" fmla="*/ 48 w 64"/>
                <a:gd name="T23" fmla="*/ 56 h 72"/>
                <a:gd name="T24" fmla="*/ 40 w 64"/>
                <a:gd name="T25" fmla="*/ 40 h 72"/>
                <a:gd name="T26" fmla="*/ 64 w 64"/>
                <a:gd name="T27" fmla="*/ 32 h 72"/>
                <a:gd name="T28" fmla="*/ 56 w 64"/>
                <a:gd name="T29" fmla="*/ 16 h 72"/>
                <a:gd name="T30" fmla="*/ 64 w 64"/>
                <a:gd name="T31" fmla="*/ 0 h 72"/>
                <a:gd name="T32" fmla="*/ 48 w 64"/>
                <a:gd name="T33"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72">
                  <a:moveTo>
                    <a:pt x="48" y="0"/>
                  </a:moveTo>
                  <a:lnTo>
                    <a:pt x="48" y="8"/>
                  </a:lnTo>
                  <a:lnTo>
                    <a:pt x="40" y="16"/>
                  </a:lnTo>
                  <a:lnTo>
                    <a:pt x="40" y="24"/>
                  </a:lnTo>
                  <a:lnTo>
                    <a:pt x="24" y="16"/>
                  </a:lnTo>
                  <a:lnTo>
                    <a:pt x="0" y="48"/>
                  </a:lnTo>
                  <a:lnTo>
                    <a:pt x="24" y="48"/>
                  </a:lnTo>
                  <a:lnTo>
                    <a:pt x="24" y="72"/>
                  </a:lnTo>
                  <a:lnTo>
                    <a:pt x="48" y="72"/>
                  </a:lnTo>
                  <a:lnTo>
                    <a:pt x="56" y="72"/>
                  </a:lnTo>
                  <a:lnTo>
                    <a:pt x="64" y="64"/>
                  </a:lnTo>
                  <a:lnTo>
                    <a:pt x="48" y="56"/>
                  </a:lnTo>
                  <a:lnTo>
                    <a:pt x="40" y="40"/>
                  </a:lnTo>
                  <a:lnTo>
                    <a:pt x="64" y="32"/>
                  </a:lnTo>
                  <a:lnTo>
                    <a:pt x="56" y="16"/>
                  </a:lnTo>
                  <a:lnTo>
                    <a:pt x="64" y="0"/>
                  </a:lnTo>
                  <a:lnTo>
                    <a:pt x="4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51" name="Freeform 65">
              <a:extLst>
                <a:ext uri="{FF2B5EF4-FFF2-40B4-BE49-F238E27FC236}">
                  <a16:creationId xmlns:a16="http://schemas.microsoft.com/office/drawing/2014/main" id="{CF125CB8-B863-9A45-D39B-862A8D9B488D}"/>
                </a:ext>
              </a:extLst>
            </p:cNvPr>
            <p:cNvSpPr>
              <a:spLocks/>
            </p:cNvSpPr>
            <p:nvPr/>
          </p:nvSpPr>
          <p:spPr bwMode="auto">
            <a:xfrm>
              <a:off x="7130357" y="1781147"/>
              <a:ext cx="99173" cy="131379"/>
            </a:xfrm>
            <a:custGeom>
              <a:avLst/>
              <a:gdLst>
                <a:gd name="T0" fmla="*/ 0 w 48"/>
                <a:gd name="T1" fmla="*/ 8 h 64"/>
                <a:gd name="T2" fmla="*/ 8 w 48"/>
                <a:gd name="T3" fmla="*/ 8 h 64"/>
                <a:gd name="T4" fmla="*/ 16 w 48"/>
                <a:gd name="T5" fmla="*/ 0 h 64"/>
                <a:gd name="T6" fmla="*/ 32 w 48"/>
                <a:gd name="T7" fmla="*/ 16 h 64"/>
                <a:gd name="T8" fmla="*/ 48 w 48"/>
                <a:gd name="T9" fmla="*/ 40 h 64"/>
                <a:gd name="T10" fmla="*/ 48 w 48"/>
                <a:gd name="T11" fmla="*/ 48 h 64"/>
                <a:gd name="T12" fmla="*/ 24 w 48"/>
                <a:gd name="T13" fmla="*/ 64 h 64"/>
                <a:gd name="T14" fmla="*/ 8 w 48"/>
                <a:gd name="T15" fmla="*/ 48 h 64"/>
                <a:gd name="T16" fmla="*/ 16 w 48"/>
                <a:gd name="T17" fmla="*/ 40 h 64"/>
                <a:gd name="T18" fmla="*/ 0 w 48"/>
                <a:gd name="T19" fmla="*/ 24 h 64"/>
                <a:gd name="T20" fmla="*/ 8 w 48"/>
                <a:gd name="T21" fmla="*/ 24 h 64"/>
                <a:gd name="T22" fmla="*/ 0 w 48"/>
                <a:gd name="T23" fmla="*/ 16 h 64"/>
                <a:gd name="T24" fmla="*/ 0 w 48"/>
                <a:gd name="T25"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64">
                  <a:moveTo>
                    <a:pt x="0" y="8"/>
                  </a:moveTo>
                  <a:lnTo>
                    <a:pt x="8" y="8"/>
                  </a:lnTo>
                  <a:lnTo>
                    <a:pt x="16" y="0"/>
                  </a:lnTo>
                  <a:lnTo>
                    <a:pt x="32" y="16"/>
                  </a:lnTo>
                  <a:lnTo>
                    <a:pt x="48" y="40"/>
                  </a:lnTo>
                  <a:lnTo>
                    <a:pt x="48" y="48"/>
                  </a:lnTo>
                  <a:lnTo>
                    <a:pt x="24" y="64"/>
                  </a:lnTo>
                  <a:lnTo>
                    <a:pt x="8" y="48"/>
                  </a:lnTo>
                  <a:lnTo>
                    <a:pt x="16" y="40"/>
                  </a:lnTo>
                  <a:lnTo>
                    <a:pt x="0" y="24"/>
                  </a:lnTo>
                  <a:lnTo>
                    <a:pt x="8" y="24"/>
                  </a:lnTo>
                  <a:lnTo>
                    <a:pt x="0" y="16"/>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52" name="Freeform 66">
              <a:extLst>
                <a:ext uri="{FF2B5EF4-FFF2-40B4-BE49-F238E27FC236}">
                  <a16:creationId xmlns:a16="http://schemas.microsoft.com/office/drawing/2014/main" id="{14FB80CC-46A3-01EC-C4FD-1973197EC80E}"/>
                </a:ext>
              </a:extLst>
            </p:cNvPr>
            <p:cNvSpPr>
              <a:spLocks/>
            </p:cNvSpPr>
            <p:nvPr/>
          </p:nvSpPr>
          <p:spPr bwMode="auto">
            <a:xfrm>
              <a:off x="6018445" y="1368894"/>
              <a:ext cx="785860" cy="312593"/>
            </a:xfrm>
            <a:custGeom>
              <a:avLst/>
              <a:gdLst>
                <a:gd name="T0" fmla="*/ 320 w 384"/>
                <a:gd name="T1" fmla="*/ 40 h 152"/>
                <a:gd name="T2" fmla="*/ 336 w 384"/>
                <a:gd name="T3" fmla="*/ 64 h 152"/>
                <a:gd name="T4" fmla="*/ 352 w 384"/>
                <a:gd name="T5" fmla="*/ 64 h 152"/>
                <a:gd name="T6" fmla="*/ 368 w 384"/>
                <a:gd name="T7" fmla="*/ 56 h 152"/>
                <a:gd name="T8" fmla="*/ 376 w 384"/>
                <a:gd name="T9" fmla="*/ 64 h 152"/>
                <a:gd name="T10" fmla="*/ 384 w 384"/>
                <a:gd name="T11" fmla="*/ 80 h 152"/>
                <a:gd name="T12" fmla="*/ 360 w 384"/>
                <a:gd name="T13" fmla="*/ 80 h 152"/>
                <a:gd name="T14" fmla="*/ 352 w 384"/>
                <a:gd name="T15" fmla="*/ 88 h 152"/>
                <a:gd name="T16" fmla="*/ 344 w 384"/>
                <a:gd name="T17" fmla="*/ 96 h 152"/>
                <a:gd name="T18" fmla="*/ 336 w 384"/>
                <a:gd name="T19" fmla="*/ 104 h 152"/>
                <a:gd name="T20" fmla="*/ 320 w 384"/>
                <a:gd name="T21" fmla="*/ 104 h 152"/>
                <a:gd name="T22" fmla="*/ 312 w 384"/>
                <a:gd name="T23" fmla="*/ 112 h 152"/>
                <a:gd name="T24" fmla="*/ 320 w 384"/>
                <a:gd name="T25" fmla="*/ 120 h 152"/>
                <a:gd name="T26" fmla="*/ 304 w 384"/>
                <a:gd name="T27" fmla="*/ 136 h 152"/>
                <a:gd name="T28" fmla="*/ 280 w 384"/>
                <a:gd name="T29" fmla="*/ 144 h 152"/>
                <a:gd name="T30" fmla="*/ 248 w 384"/>
                <a:gd name="T31" fmla="*/ 152 h 152"/>
                <a:gd name="T32" fmla="*/ 192 w 384"/>
                <a:gd name="T33" fmla="*/ 136 h 152"/>
                <a:gd name="T34" fmla="*/ 144 w 384"/>
                <a:gd name="T35" fmla="*/ 136 h 152"/>
                <a:gd name="T36" fmla="*/ 112 w 384"/>
                <a:gd name="T37" fmla="*/ 112 h 152"/>
                <a:gd name="T38" fmla="*/ 56 w 384"/>
                <a:gd name="T39" fmla="*/ 96 h 152"/>
                <a:gd name="T40" fmla="*/ 48 w 384"/>
                <a:gd name="T41" fmla="*/ 72 h 152"/>
                <a:gd name="T42" fmla="*/ 32 w 384"/>
                <a:gd name="T43" fmla="*/ 64 h 152"/>
                <a:gd name="T44" fmla="*/ 16 w 384"/>
                <a:gd name="T45" fmla="*/ 56 h 152"/>
                <a:gd name="T46" fmla="*/ 0 w 384"/>
                <a:gd name="T47" fmla="*/ 40 h 152"/>
                <a:gd name="T48" fmla="*/ 40 w 384"/>
                <a:gd name="T49" fmla="*/ 16 h 152"/>
                <a:gd name="T50" fmla="*/ 64 w 384"/>
                <a:gd name="T51" fmla="*/ 24 h 152"/>
                <a:gd name="T52" fmla="*/ 80 w 384"/>
                <a:gd name="T53" fmla="*/ 32 h 152"/>
                <a:gd name="T54" fmla="*/ 112 w 384"/>
                <a:gd name="T55" fmla="*/ 32 h 152"/>
                <a:gd name="T56" fmla="*/ 112 w 384"/>
                <a:gd name="T57" fmla="*/ 16 h 152"/>
                <a:gd name="T58" fmla="*/ 104 w 384"/>
                <a:gd name="T59" fmla="*/ 8 h 152"/>
                <a:gd name="T60" fmla="*/ 112 w 384"/>
                <a:gd name="T61" fmla="*/ 0 h 152"/>
                <a:gd name="T62" fmla="*/ 144 w 384"/>
                <a:gd name="T63" fmla="*/ 8 h 152"/>
                <a:gd name="T64" fmla="*/ 168 w 384"/>
                <a:gd name="T65" fmla="*/ 24 h 152"/>
                <a:gd name="T66" fmla="*/ 200 w 384"/>
                <a:gd name="T67" fmla="*/ 24 h 152"/>
                <a:gd name="T68" fmla="*/ 256 w 384"/>
                <a:gd name="T69" fmla="*/ 40 h 152"/>
                <a:gd name="T70" fmla="*/ 288 w 384"/>
                <a:gd name="T71" fmla="*/ 32 h 152"/>
                <a:gd name="T72" fmla="*/ 304 w 384"/>
                <a:gd name="T73" fmla="*/ 24 h 152"/>
                <a:gd name="T74" fmla="*/ 328 w 384"/>
                <a:gd name="T75" fmla="*/ 32 h 152"/>
                <a:gd name="T76" fmla="*/ 320 w 384"/>
                <a:gd name="T77" fmla="*/ 4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4" h="152">
                  <a:moveTo>
                    <a:pt x="320" y="40"/>
                  </a:moveTo>
                  <a:lnTo>
                    <a:pt x="336" y="64"/>
                  </a:lnTo>
                  <a:lnTo>
                    <a:pt x="352" y="64"/>
                  </a:lnTo>
                  <a:lnTo>
                    <a:pt x="368" y="56"/>
                  </a:lnTo>
                  <a:lnTo>
                    <a:pt x="376" y="64"/>
                  </a:lnTo>
                  <a:lnTo>
                    <a:pt x="384" y="80"/>
                  </a:lnTo>
                  <a:lnTo>
                    <a:pt x="360" y="80"/>
                  </a:lnTo>
                  <a:lnTo>
                    <a:pt x="352" y="88"/>
                  </a:lnTo>
                  <a:lnTo>
                    <a:pt x="344" y="96"/>
                  </a:lnTo>
                  <a:lnTo>
                    <a:pt x="336" y="104"/>
                  </a:lnTo>
                  <a:lnTo>
                    <a:pt x="320" y="104"/>
                  </a:lnTo>
                  <a:lnTo>
                    <a:pt x="312" y="112"/>
                  </a:lnTo>
                  <a:lnTo>
                    <a:pt x="320" y="120"/>
                  </a:lnTo>
                  <a:lnTo>
                    <a:pt x="304" y="136"/>
                  </a:lnTo>
                  <a:lnTo>
                    <a:pt x="280" y="144"/>
                  </a:lnTo>
                  <a:lnTo>
                    <a:pt x="248" y="152"/>
                  </a:lnTo>
                  <a:lnTo>
                    <a:pt x="192" y="136"/>
                  </a:lnTo>
                  <a:lnTo>
                    <a:pt x="144" y="136"/>
                  </a:lnTo>
                  <a:lnTo>
                    <a:pt x="112" y="112"/>
                  </a:lnTo>
                  <a:lnTo>
                    <a:pt x="56" y="96"/>
                  </a:lnTo>
                  <a:lnTo>
                    <a:pt x="48" y="72"/>
                  </a:lnTo>
                  <a:lnTo>
                    <a:pt x="32" y="64"/>
                  </a:lnTo>
                  <a:lnTo>
                    <a:pt x="16" y="56"/>
                  </a:lnTo>
                  <a:lnTo>
                    <a:pt x="0" y="40"/>
                  </a:lnTo>
                  <a:lnTo>
                    <a:pt x="40" y="16"/>
                  </a:lnTo>
                  <a:lnTo>
                    <a:pt x="64" y="24"/>
                  </a:lnTo>
                  <a:lnTo>
                    <a:pt x="80" y="32"/>
                  </a:lnTo>
                  <a:lnTo>
                    <a:pt x="112" y="32"/>
                  </a:lnTo>
                  <a:lnTo>
                    <a:pt x="112" y="16"/>
                  </a:lnTo>
                  <a:lnTo>
                    <a:pt x="104" y="8"/>
                  </a:lnTo>
                  <a:lnTo>
                    <a:pt x="112" y="0"/>
                  </a:lnTo>
                  <a:lnTo>
                    <a:pt x="144" y="8"/>
                  </a:lnTo>
                  <a:lnTo>
                    <a:pt x="168" y="24"/>
                  </a:lnTo>
                  <a:lnTo>
                    <a:pt x="200" y="24"/>
                  </a:lnTo>
                  <a:lnTo>
                    <a:pt x="256" y="40"/>
                  </a:lnTo>
                  <a:lnTo>
                    <a:pt x="288" y="32"/>
                  </a:lnTo>
                  <a:lnTo>
                    <a:pt x="304" y="24"/>
                  </a:lnTo>
                  <a:lnTo>
                    <a:pt x="328" y="32"/>
                  </a:lnTo>
                  <a:lnTo>
                    <a:pt x="320" y="4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53" name="Freeform 67">
              <a:extLst>
                <a:ext uri="{FF2B5EF4-FFF2-40B4-BE49-F238E27FC236}">
                  <a16:creationId xmlns:a16="http://schemas.microsoft.com/office/drawing/2014/main" id="{BED09238-58D4-9A1B-F9FB-DDFD7175677B}"/>
                </a:ext>
              </a:extLst>
            </p:cNvPr>
            <p:cNvSpPr>
              <a:spLocks/>
            </p:cNvSpPr>
            <p:nvPr/>
          </p:nvSpPr>
          <p:spPr bwMode="auto">
            <a:xfrm>
              <a:off x="4560920" y="1666391"/>
              <a:ext cx="491352" cy="196314"/>
            </a:xfrm>
            <a:custGeom>
              <a:avLst/>
              <a:gdLst>
                <a:gd name="T0" fmla="*/ 208 w 240"/>
                <a:gd name="T1" fmla="*/ 16 h 96"/>
                <a:gd name="T2" fmla="*/ 208 w 240"/>
                <a:gd name="T3" fmla="*/ 8 h 96"/>
                <a:gd name="T4" fmla="*/ 192 w 240"/>
                <a:gd name="T5" fmla="*/ 8 h 96"/>
                <a:gd name="T6" fmla="*/ 168 w 240"/>
                <a:gd name="T7" fmla="*/ 16 h 96"/>
                <a:gd name="T8" fmla="*/ 136 w 240"/>
                <a:gd name="T9" fmla="*/ 16 h 96"/>
                <a:gd name="T10" fmla="*/ 104 w 240"/>
                <a:gd name="T11" fmla="*/ 0 h 96"/>
                <a:gd name="T12" fmla="*/ 88 w 240"/>
                <a:gd name="T13" fmla="*/ 0 h 96"/>
                <a:gd name="T14" fmla="*/ 64 w 240"/>
                <a:gd name="T15" fmla="*/ 16 h 96"/>
                <a:gd name="T16" fmla="*/ 48 w 240"/>
                <a:gd name="T17" fmla="*/ 16 h 96"/>
                <a:gd name="T18" fmla="*/ 32 w 240"/>
                <a:gd name="T19" fmla="*/ 16 h 96"/>
                <a:gd name="T20" fmla="*/ 24 w 240"/>
                <a:gd name="T21" fmla="*/ 8 h 96"/>
                <a:gd name="T22" fmla="*/ 0 w 240"/>
                <a:gd name="T23" fmla="*/ 8 h 96"/>
                <a:gd name="T24" fmla="*/ 0 w 240"/>
                <a:gd name="T25" fmla="*/ 24 h 96"/>
                <a:gd name="T26" fmla="*/ 8 w 240"/>
                <a:gd name="T27" fmla="*/ 24 h 96"/>
                <a:gd name="T28" fmla="*/ 0 w 240"/>
                <a:gd name="T29" fmla="*/ 32 h 96"/>
                <a:gd name="T30" fmla="*/ 16 w 240"/>
                <a:gd name="T31" fmla="*/ 16 h 96"/>
                <a:gd name="T32" fmla="*/ 32 w 240"/>
                <a:gd name="T33" fmla="*/ 16 h 96"/>
                <a:gd name="T34" fmla="*/ 40 w 240"/>
                <a:gd name="T35" fmla="*/ 24 h 96"/>
                <a:gd name="T36" fmla="*/ 32 w 240"/>
                <a:gd name="T37" fmla="*/ 24 h 96"/>
                <a:gd name="T38" fmla="*/ 40 w 240"/>
                <a:gd name="T39" fmla="*/ 32 h 96"/>
                <a:gd name="T40" fmla="*/ 8 w 240"/>
                <a:gd name="T41" fmla="*/ 32 h 96"/>
                <a:gd name="T42" fmla="*/ 0 w 240"/>
                <a:gd name="T43" fmla="*/ 32 h 96"/>
                <a:gd name="T44" fmla="*/ 0 w 240"/>
                <a:gd name="T45" fmla="*/ 40 h 96"/>
                <a:gd name="T46" fmla="*/ 8 w 240"/>
                <a:gd name="T47" fmla="*/ 40 h 96"/>
                <a:gd name="T48" fmla="*/ 16 w 240"/>
                <a:gd name="T49" fmla="*/ 56 h 96"/>
                <a:gd name="T50" fmla="*/ 8 w 240"/>
                <a:gd name="T51" fmla="*/ 56 h 96"/>
                <a:gd name="T52" fmla="*/ 16 w 240"/>
                <a:gd name="T53" fmla="*/ 64 h 96"/>
                <a:gd name="T54" fmla="*/ 16 w 240"/>
                <a:gd name="T55" fmla="*/ 72 h 96"/>
                <a:gd name="T56" fmla="*/ 24 w 240"/>
                <a:gd name="T57" fmla="*/ 72 h 96"/>
                <a:gd name="T58" fmla="*/ 16 w 240"/>
                <a:gd name="T59" fmla="*/ 80 h 96"/>
                <a:gd name="T60" fmla="*/ 32 w 240"/>
                <a:gd name="T61" fmla="*/ 80 h 96"/>
                <a:gd name="T62" fmla="*/ 24 w 240"/>
                <a:gd name="T63" fmla="*/ 80 h 96"/>
                <a:gd name="T64" fmla="*/ 48 w 240"/>
                <a:gd name="T65" fmla="*/ 88 h 96"/>
                <a:gd name="T66" fmla="*/ 56 w 240"/>
                <a:gd name="T67" fmla="*/ 88 h 96"/>
                <a:gd name="T68" fmla="*/ 64 w 240"/>
                <a:gd name="T69" fmla="*/ 80 h 96"/>
                <a:gd name="T70" fmla="*/ 72 w 240"/>
                <a:gd name="T71" fmla="*/ 80 h 96"/>
                <a:gd name="T72" fmla="*/ 88 w 240"/>
                <a:gd name="T73" fmla="*/ 96 h 96"/>
                <a:gd name="T74" fmla="*/ 96 w 240"/>
                <a:gd name="T75" fmla="*/ 88 h 96"/>
                <a:gd name="T76" fmla="*/ 112 w 240"/>
                <a:gd name="T77" fmla="*/ 80 h 96"/>
                <a:gd name="T78" fmla="*/ 120 w 240"/>
                <a:gd name="T79" fmla="*/ 88 h 96"/>
                <a:gd name="T80" fmla="*/ 128 w 240"/>
                <a:gd name="T81" fmla="*/ 80 h 96"/>
                <a:gd name="T82" fmla="*/ 128 w 240"/>
                <a:gd name="T83" fmla="*/ 96 h 96"/>
                <a:gd name="T84" fmla="*/ 136 w 240"/>
                <a:gd name="T85" fmla="*/ 88 h 96"/>
                <a:gd name="T86" fmla="*/ 136 w 240"/>
                <a:gd name="T87" fmla="*/ 80 h 96"/>
                <a:gd name="T88" fmla="*/ 160 w 240"/>
                <a:gd name="T89" fmla="*/ 80 h 96"/>
                <a:gd name="T90" fmla="*/ 168 w 240"/>
                <a:gd name="T91" fmla="*/ 80 h 96"/>
                <a:gd name="T92" fmla="*/ 184 w 240"/>
                <a:gd name="T93" fmla="*/ 80 h 96"/>
                <a:gd name="T94" fmla="*/ 208 w 240"/>
                <a:gd name="T95" fmla="*/ 72 h 96"/>
                <a:gd name="T96" fmla="*/ 216 w 240"/>
                <a:gd name="T97" fmla="*/ 72 h 96"/>
                <a:gd name="T98" fmla="*/ 240 w 240"/>
                <a:gd name="T99" fmla="*/ 72 h 96"/>
                <a:gd name="T100" fmla="*/ 224 w 240"/>
                <a:gd name="T101" fmla="*/ 40 h 96"/>
                <a:gd name="T102" fmla="*/ 232 w 240"/>
                <a:gd name="T103" fmla="*/ 32 h 96"/>
                <a:gd name="T104" fmla="*/ 216 w 240"/>
                <a:gd name="T105" fmla="*/ 32 h 96"/>
                <a:gd name="T106" fmla="*/ 208 w 240"/>
                <a:gd name="T107"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0" h="96">
                  <a:moveTo>
                    <a:pt x="208" y="16"/>
                  </a:moveTo>
                  <a:lnTo>
                    <a:pt x="208" y="8"/>
                  </a:lnTo>
                  <a:lnTo>
                    <a:pt x="192" y="8"/>
                  </a:lnTo>
                  <a:lnTo>
                    <a:pt x="168" y="16"/>
                  </a:lnTo>
                  <a:lnTo>
                    <a:pt x="136" y="16"/>
                  </a:lnTo>
                  <a:lnTo>
                    <a:pt x="104" y="0"/>
                  </a:lnTo>
                  <a:lnTo>
                    <a:pt x="88" y="0"/>
                  </a:lnTo>
                  <a:lnTo>
                    <a:pt x="64" y="16"/>
                  </a:lnTo>
                  <a:lnTo>
                    <a:pt x="48" y="16"/>
                  </a:lnTo>
                  <a:lnTo>
                    <a:pt x="32" y="16"/>
                  </a:lnTo>
                  <a:lnTo>
                    <a:pt x="24" y="8"/>
                  </a:lnTo>
                  <a:lnTo>
                    <a:pt x="0" y="8"/>
                  </a:lnTo>
                  <a:lnTo>
                    <a:pt x="0" y="24"/>
                  </a:lnTo>
                  <a:lnTo>
                    <a:pt x="8" y="24"/>
                  </a:lnTo>
                  <a:lnTo>
                    <a:pt x="0" y="32"/>
                  </a:lnTo>
                  <a:lnTo>
                    <a:pt x="16" y="16"/>
                  </a:lnTo>
                  <a:lnTo>
                    <a:pt x="32" y="16"/>
                  </a:lnTo>
                  <a:lnTo>
                    <a:pt x="40" y="24"/>
                  </a:lnTo>
                  <a:lnTo>
                    <a:pt x="32" y="24"/>
                  </a:lnTo>
                  <a:lnTo>
                    <a:pt x="40" y="32"/>
                  </a:lnTo>
                  <a:lnTo>
                    <a:pt x="8" y="32"/>
                  </a:lnTo>
                  <a:lnTo>
                    <a:pt x="0" y="32"/>
                  </a:lnTo>
                  <a:lnTo>
                    <a:pt x="0" y="40"/>
                  </a:lnTo>
                  <a:lnTo>
                    <a:pt x="8" y="40"/>
                  </a:lnTo>
                  <a:lnTo>
                    <a:pt x="16" y="56"/>
                  </a:lnTo>
                  <a:lnTo>
                    <a:pt x="8" y="56"/>
                  </a:lnTo>
                  <a:lnTo>
                    <a:pt x="16" y="64"/>
                  </a:lnTo>
                  <a:lnTo>
                    <a:pt x="16" y="72"/>
                  </a:lnTo>
                  <a:lnTo>
                    <a:pt x="24" y="72"/>
                  </a:lnTo>
                  <a:lnTo>
                    <a:pt x="16" y="80"/>
                  </a:lnTo>
                  <a:lnTo>
                    <a:pt x="32" y="80"/>
                  </a:lnTo>
                  <a:lnTo>
                    <a:pt x="24" y="80"/>
                  </a:lnTo>
                  <a:lnTo>
                    <a:pt x="48" y="88"/>
                  </a:lnTo>
                  <a:lnTo>
                    <a:pt x="56" y="88"/>
                  </a:lnTo>
                  <a:lnTo>
                    <a:pt x="64" y="80"/>
                  </a:lnTo>
                  <a:lnTo>
                    <a:pt x="72" y="80"/>
                  </a:lnTo>
                  <a:lnTo>
                    <a:pt x="88" y="96"/>
                  </a:lnTo>
                  <a:lnTo>
                    <a:pt x="96" y="88"/>
                  </a:lnTo>
                  <a:lnTo>
                    <a:pt x="112" y="80"/>
                  </a:lnTo>
                  <a:lnTo>
                    <a:pt x="120" y="88"/>
                  </a:lnTo>
                  <a:lnTo>
                    <a:pt x="128" y="80"/>
                  </a:lnTo>
                  <a:lnTo>
                    <a:pt x="128" y="96"/>
                  </a:lnTo>
                  <a:lnTo>
                    <a:pt x="136" y="88"/>
                  </a:lnTo>
                  <a:lnTo>
                    <a:pt x="136" y="80"/>
                  </a:lnTo>
                  <a:lnTo>
                    <a:pt x="160" y="80"/>
                  </a:lnTo>
                  <a:lnTo>
                    <a:pt x="168" y="80"/>
                  </a:lnTo>
                  <a:lnTo>
                    <a:pt x="184" y="80"/>
                  </a:lnTo>
                  <a:lnTo>
                    <a:pt x="208" y="72"/>
                  </a:lnTo>
                  <a:lnTo>
                    <a:pt x="216" y="72"/>
                  </a:lnTo>
                  <a:lnTo>
                    <a:pt x="240" y="72"/>
                  </a:lnTo>
                  <a:lnTo>
                    <a:pt x="224" y="40"/>
                  </a:lnTo>
                  <a:lnTo>
                    <a:pt x="232" y="32"/>
                  </a:lnTo>
                  <a:lnTo>
                    <a:pt x="216" y="32"/>
                  </a:lnTo>
                  <a:lnTo>
                    <a:pt x="208"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54" name="Freeform 68">
              <a:extLst>
                <a:ext uri="{FF2B5EF4-FFF2-40B4-BE49-F238E27FC236}">
                  <a16:creationId xmlns:a16="http://schemas.microsoft.com/office/drawing/2014/main" id="{C322494B-B7C7-00E4-2104-0937BE7492F9}"/>
                </a:ext>
              </a:extLst>
            </p:cNvPr>
            <p:cNvSpPr>
              <a:spLocks/>
            </p:cNvSpPr>
            <p:nvPr/>
          </p:nvSpPr>
          <p:spPr bwMode="auto">
            <a:xfrm>
              <a:off x="4822358" y="1814375"/>
              <a:ext cx="163784" cy="164600"/>
            </a:xfrm>
            <a:custGeom>
              <a:avLst/>
              <a:gdLst>
                <a:gd name="T0" fmla="*/ 80 w 80"/>
                <a:gd name="T1" fmla="*/ 0 h 80"/>
                <a:gd name="T2" fmla="*/ 56 w 80"/>
                <a:gd name="T3" fmla="*/ 8 h 80"/>
                <a:gd name="T4" fmla="*/ 40 w 80"/>
                <a:gd name="T5" fmla="*/ 8 h 80"/>
                <a:gd name="T6" fmla="*/ 32 w 80"/>
                <a:gd name="T7" fmla="*/ 8 h 80"/>
                <a:gd name="T8" fmla="*/ 8 w 80"/>
                <a:gd name="T9" fmla="*/ 8 h 80"/>
                <a:gd name="T10" fmla="*/ 8 w 80"/>
                <a:gd name="T11" fmla="*/ 16 h 80"/>
                <a:gd name="T12" fmla="*/ 0 w 80"/>
                <a:gd name="T13" fmla="*/ 24 h 80"/>
                <a:gd name="T14" fmla="*/ 0 w 80"/>
                <a:gd name="T15" fmla="*/ 48 h 80"/>
                <a:gd name="T16" fmla="*/ 8 w 80"/>
                <a:gd name="T17" fmla="*/ 48 h 80"/>
                <a:gd name="T18" fmla="*/ 0 w 80"/>
                <a:gd name="T19" fmla="*/ 64 h 80"/>
                <a:gd name="T20" fmla="*/ 0 w 80"/>
                <a:gd name="T21" fmla="*/ 72 h 80"/>
                <a:gd name="T22" fmla="*/ 8 w 80"/>
                <a:gd name="T23" fmla="*/ 80 h 80"/>
                <a:gd name="T24" fmla="*/ 40 w 80"/>
                <a:gd name="T25" fmla="*/ 64 h 80"/>
                <a:gd name="T26" fmla="*/ 64 w 80"/>
                <a:gd name="T27" fmla="*/ 48 h 80"/>
                <a:gd name="T28" fmla="*/ 64 w 80"/>
                <a:gd name="T29" fmla="*/ 16 h 80"/>
                <a:gd name="T30" fmla="*/ 80 w 80"/>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80">
                  <a:moveTo>
                    <a:pt x="80" y="0"/>
                  </a:moveTo>
                  <a:lnTo>
                    <a:pt x="56" y="8"/>
                  </a:lnTo>
                  <a:lnTo>
                    <a:pt x="40" y="8"/>
                  </a:lnTo>
                  <a:lnTo>
                    <a:pt x="32" y="8"/>
                  </a:lnTo>
                  <a:lnTo>
                    <a:pt x="8" y="8"/>
                  </a:lnTo>
                  <a:lnTo>
                    <a:pt x="8" y="16"/>
                  </a:lnTo>
                  <a:lnTo>
                    <a:pt x="0" y="24"/>
                  </a:lnTo>
                  <a:lnTo>
                    <a:pt x="0" y="48"/>
                  </a:lnTo>
                  <a:lnTo>
                    <a:pt x="8" y="48"/>
                  </a:lnTo>
                  <a:lnTo>
                    <a:pt x="0" y="64"/>
                  </a:lnTo>
                  <a:lnTo>
                    <a:pt x="0" y="72"/>
                  </a:lnTo>
                  <a:lnTo>
                    <a:pt x="8" y="80"/>
                  </a:lnTo>
                  <a:lnTo>
                    <a:pt x="40" y="64"/>
                  </a:lnTo>
                  <a:lnTo>
                    <a:pt x="64" y="48"/>
                  </a:lnTo>
                  <a:lnTo>
                    <a:pt x="64" y="16"/>
                  </a:lnTo>
                  <a:lnTo>
                    <a:pt x="8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55" name="Freeform 69">
              <a:extLst>
                <a:ext uri="{FF2B5EF4-FFF2-40B4-BE49-F238E27FC236}">
                  <a16:creationId xmlns:a16="http://schemas.microsoft.com/office/drawing/2014/main" id="{4EBBECB1-BF9B-E551-BE04-AFFA6072200A}"/>
                </a:ext>
              </a:extLst>
            </p:cNvPr>
            <p:cNvSpPr>
              <a:spLocks/>
            </p:cNvSpPr>
            <p:nvPr/>
          </p:nvSpPr>
          <p:spPr bwMode="auto">
            <a:xfrm>
              <a:off x="4805832" y="1945746"/>
              <a:ext cx="115699" cy="114767"/>
            </a:xfrm>
            <a:custGeom>
              <a:avLst/>
              <a:gdLst>
                <a:gd name="T0" fmla="*/ 8 w 56"/>
                <a:gd name="T1" fmla="*/ 8 h 56"/>
                <a:gd name="T2" fmla="*/ 16 w 56"/>
                <a:gd name="T3" fmla="*/ 16 h 56"/>
                <a:gd name="T4" fmla="*/ 48 w 56"/>
                <a:gd name="T5" fmla="*/ 0 h 56"/>
                <a:gd name="T6" fmla="*/ 56 w 56"/>
                <a:gd name="T7" fmla="*/ 16 h 56"/>
                <a:gd name="T8" fmla="*/ 24 w 56"/>
                <a:gd name="T9" fmla="*/ 24 h 56"/>
                <a:gd name="T10" fmla="*/ 40 w 56"/>
                <a:gd name="T11" fmla="*/ 40 h 56"/>
                <a:gd name="T12" fmla="*/ 32 w 56"/>
                <a:gd name="T13" fmla="*/ 48 h 56"/>
                <a:gd name="T14" fmla="*/ 24 w 56"/>
                <a:gd name="T15" fmla="*/ 48 h 56"/>
                <a:gd name="T16" fmla="*/ 16 w 56"/>
                <a:gd name="T17" fmla="*/ 56 h 56"/>
                <a:gd name="T18" fmla="*/ 0 w 56"/>
                <a:gd name="T19" fmla="*/ 56 h 56"/>
                <a:gd name="T20" fmla="*/ 8 w 56"/>
                <a:gd name="T21" fmla="*/ 32 h 56"/>
                <a:gd name="T22" fmla="*/ 0 w 56"/>
                <a:gd name="T23" fmla="*/ 16 h 56"/>
                <a:gd name="T24" fmla="*/ 8 w 56"/>
                <a:gd name="T25"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6">
                  <a:moveTo>
                    <a:pt x="8" y="8"/>
                  </a:moveTo>
                  <a:lnTo>
                    <a:pt x="16" y="16"/>
                  </a:lnTo>
                  <a:lnTo>
                    <a:pt x="48" y="0"/>
                  </a:lnTo>
                  <a:lnTo>
                    <a:pt x="56" y="16"/>
                  </a:lnTo>
                  <a:lnTo>
                    <a:pt x="24" y="24"/>
                  </a:lnTo>
                  <a:lnTo>
                    <a:pt x="40" y="40"/>
                  </a:lnTo>
                  <a:lnTo>
                    <a:pt x="32" y="48"/>
                  </a:lnTo>
                  <a:lnTo>
                    <a:pt x="24" y="48"/>
                  </a:lnTo>
                  <a:lnTo>
                    <a:pt x="16" y="56"/>
                  </a:lnTo>
                  <a:lnTo>
                    <a:pt x="0" y="56"/>
                  </a:lnTo>
                  <a:lnTo>
                    <a:pt x="8" y="32"/>
                  </a:lnTo>
                  <a:lnTo>
                    <a:pt x="0" y="16"/>
                  </a:lnTo>
                  <a:lnTo>
                    <a:pt x="8"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56" name="Freeform 70">
              <a:extLst>
                <a:ext uri="{FF2B5EF4-FFF2-40B4-BE49-F238E27FC236}">
                  <a16:creationId xmlns:a16="http://schemas.microsoft.com/office/drawing/2014/main" id="{785E3220-6E5C-F1C0-BB55-D52EEFF73F5A}"/>
                </a:ext>
              </a:extLst>
            </p:cNvPr>
            <p:cNvSpPr>
              <a:spLocks/>
            </p:cNvSpPr>
            <p:nvPr/>
          </p:nvSpPr>
          <p:spPr bwMode="auto">
            <a:xfrm>
              <a:off x="4905006" y="1814381"/>
              <a:ext cx="261453" cy="262760"/>
            </a:xfrm>
            <a:custGeom>
              <a:avLst/>
              <a:gdLst>
                <a:gd name="T0" fmla="*/ 72 w 128"/>
                <a:gd name="T1" fmla="*/ 0 h 128"/>
                <a:gd name="T2" fmla="*/ 88 w 128"/>
                <a:gd name="T3" fmla="*/ 32 h 128"/>
                <a:gd name="T4" fmla="*/ 80 w 128"/>
                <a:gd name="T5" fmla="*/ 48 h 128"/>
                <a:gd name="T6" fmla="*/ 88 w 128"/>
                <a:gd name="T7" fmla="*/ 64 h 128"/>
                <a:gd name="T8" fmla="*/ 112 w 128"/>
                <a:gd name="T9" fmla="*/ 72 h 128"/>
                <a:gd name="T10" fmla="*/ 112 w 128"/>
                <a:gd name="T11" fmla="*/ 96 h 128"/>
                <a:gd name="T12" fmla="*/ 128 w 128"/>
                <a:gd name="T13" fmla="*/ 112 h 128"/>
                <a:gd name="T14" fmla="*/ 112 w 128"/>
                <a:gd name="T15" fmla="*/ 112 h 128"/>
                <a:gd name="T16" fmla="*/ 104 w 128"/>
                <a:gd name="T17" fmla="*/ 128 h 128"/>
                <a:gd name="T18" fmla="*/ 88 w 128"/>
                <a:gd name="T19" fmla="*/ 120 h 128"/>
                <a:gd name="T20" fmla="*/ 80 w 128"/>
                <a:gd name="T21" fmla="*/ 128 h 128"/>
                <a:gd name="T22" fmla="*/ 64 w 128"/>
                <a:gd name="T23" fmla="*/ 120 h 128"/>
                <a:gd name="T24" fmla="*/ 64 w 128"/>
                <a:gd name="T25" fmla="*/ 104 h 128"/>
                <a:gd name="T26" fmla="*/ 56 w 128"/>
                <a:gd name="T27" fmla="*/ 104 h 128"/>
                <a:gd name="T28" fmla="*/ 24 w 128"/>
                <a:gd name="T29" fmla="*/ 88 h 128"/>
                <a:gd name="T30" fmla="*/ 8 w 128"/>
                <a:gd name="T31" fmla="*/ 80 h 128"/>
                <a:gd name="T32" fmla="*/ 0 w 128"/>
                <a:gd name="T33" fmla="*/ 64 h 128"/>
                <a:gd name="T34" fmla="*/ 24 w 128"/>
                <a:gd name="T35" fmla="*/ 48 h 128"/>
                <a:gd name="T36" fmla="*/ 24 w 128"/>
                <a:gd name="T37" fmla="*/ 16 h 128"/>
                <a:gd name="T38" fmla="*/ 40 w 128"/>
                <a:gd name="T39" fmla="*/ 0 h 128"/>
                <a:gd name="T40" fmla="*/ 48 w 128"/>
                <a:gd name="T41" fmla="*/ 0 h 128"/>
                <a:gd name="T42" fmla="*/ 72 w 128"/>
                <a:gd name="T4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128">
                  <a:moveTo>
                    <a:pt x="72" y="0"/>
                  </a:moveTo>
                  <a:lnTo>
                    <a:pt x="88" y="32"/>
                  </a:lnTo>
                  <a:lnTo>
                    <a:pt x="80" y="48"/>
                  </a:lnTo>
                  <a:lnTo>
                    <a:pt x="88" y="64"/>
                  </a:lnTo>
                  <a:lnTo>
                    <a:pt x="112" y="72"/>
                  </a:lnTo>
                  <a:lnTo>
                    <a:pt x="112" y="96"/>
                  </a:lnTo>
                  <a:lnTo>
                    <a:pt x="128" y="112"/>
                  </a:lnTo>
                  <a:lnTo>
                    <a:pt x="112" y="112"/>
                  </a:lnTo>
                  <a:lnTo>
                    <a:pt x="104" y="128"/>
                  </a:lnTo>
                  <a:lnTo>
                    <a:pt x="88" y="120"/>
                  </a:lnTo>
                  <a:lnTo>
                    <a:pt x="80" y="128"/>
                  </a:lnTo>
                  <a:lnTo>
                    <a:pt x="64" y="120"/>
                  </a:lnTo>
                  <a:lnTo>
                    <a:pt x="64" y="104"/>
                  </a:lnTo>
                  <a:lnTo>
                    <a:pt x="56" y="104"/>
                  </a:lnTo>
                  <a:lnTo>
                    <a:pt x="24" y="88"/>
                  </a:lnTo>
                  <a:lnTo>
                    <a:pt x="8" y="80"/>
                  </a:lnTo>
                  <a:lnTo>
                    <a:pt x="0" y="64"/>
                  </a:lnTo>
                  <a:lnTo>
                    <a:pt x="24" y="48"/>
                  </a:lnTo>
                  <a:lnTo>
                    <a:pt x="24" y="16"/>
                  </a:lnTo>
                  <a:lnTo>
                    <a:pt x="40" y="0"/>
                  </a:lnTo>
                  <a:lnTo>
                    <a:pt x="48" y="0"/>
                  </a:lnTo>
                  <a:lnTo>
                    <a:pt x="72"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57" name="Freeform 71">
              <a:extLst>
                <a:ext uri="{FF2B5EF4-FFF2-40B4-BE49-F238E27FC236}">
                  <a16:creationId xmlns:a16="http://schemas.microsoft.com/office/drawing/2014/main" id="{9324819B-4C48-E9D0-55B8-058D161131EB}"/>
                </a:ext>
              </a:extLst>
            </p:cNvPr>
            <p:cNvSpPr>
              <a:spLocks/>
            </p:cNvSpPr>
            <p:nvPr/>
          </p:nvSpPr>
          <p:spPr bwMode="auto">
            <a:xfrm>
              <a:off x="4805832" y="1912538"/>
              <a:ext cx="33058" cy="33223"/>
            </a:xfrm>
            <a:custGeom>
              <a:avLst/>
              <a:gdLst>
                <a:gd name="T0" fmla="*/ 8 w 16"/>
                <a:gd name="T1" fmla="*/ 0 h 16"/>
                <a:gd name="T2" fmla="*/ 16 w 16"/>
                <a:gd name="T3" fmla="*/ 0 h 16"/>
                <a:gd name="T4" fmla="*/ 8 w 16"/>
                <a:gd name="T5" fmla="*/ 16 h 16"/>
                <a:gd name="T6" fmla="*/ 0 w 16"/>
                <a:gd name="T7" fmla="*/ 16 h 16"/>
                <a:gd name="T8" fmla="*/ 8 w 16"/>
                <a:gd name="T9" fmla="*/ 0 h 16"/>
              </a:gdLst>
              <a:ahLst/>
              <a:cxnLst>
                <a:cxn ang="0">
                  <a:pos x="T0" y="T1"/>
                </a:cxn>
                <a:cxn ang="0">
                  <a:pos x="T2" y="T3"/>
                </a:cxn>
                <a:cxn ang="0">
                  <a:pos x="T4" y="T5"/>
                </a:cxn>
                <a:cxn ang="0">
                  <a:pos x="T6" y="T7"/>
                </a:cxn>
                <a:cxn ang="0">
                  <a:pos x="T8" y="T9"/>
                </a:cxn>
              </a:cxnLst>
              <a:rect l="0" t="0" r="r" b="b"/>
              <a:pathLst>
                <a:path w="16" h="16">
                  <a:moveTo>
                    <a:pt x="8" y="0"/>
                  </a:moveTo>
                  <a:lnTo>
                    <a:pt x="16" y="0"/>
                  </a:lnTo>
                  <a:lnTo>
                    <a:pt x="8" y="16"/>
                  </a:lnTo>
                  <a:lnTo>
                    <a:pt x="0" y="16"/>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58" name="Freeform 72">
              <a:extLst>
                <a:ext uri="{FF2B5EF4-FFF2-40B4-BE49-F238E27FC236}">
                  <a16:creationId xmlns:a16="http://schemas.microsoft.com/office/drawing/2014/main" id="{6A2E5C2F-DD16-1B1D-8E51-DFBF67B7C639}"/>
                </a:ext>
              </a:extLst>
            </p:cNvPr>
            <p:cNvSpPr>
              <a:spLocks/>
            </p:cNvSpPr>
            <p:nvPr/>
          </p:nvSpPr>
          <p:spPr bwMode="auto">
            <a:xfrm>
              <a:off x="4789302" y="1945746"/>
              <a:ext cx="33058" cy="114767"/>
            </a:xfrm>
            <a:custGeom>
              <a:avLst/>
              <a:gdLst>
                <a:gd name="T0" fmla="*/ 16 w 16"/>
                <a:gd name="T1" fmla="*/ 8 h 56"/>
                <a:gd name="T2" fmla="*/ 8 w 16"/>
                <a:gd name="T3" fmla="*/ 16 h 56"/>
                <a:gd name="T4" fmla="*/ 16 w 16"/>
                <a:gd name="T5" fmla="*/ 32 h 56"/>
                <a:gd name="T6" fmla="*/ 8 w 16"/>
                <a:gd name="T7" fmla="*/ 56 h 56"/>
                <a:gd name="T8" fmla="*/ 0 w 16"/>
                <a:gd name="T9" fmla="*/ 32 h 56"/>
                <a:gd name="T10" fmla="*/ 0 w 16"/>
                <a:gd name="T11" fmla="*/ 24 h 56"/>
                <a:gd name="T12" fmla="*/ 8 w 16"/>
                <a:gd name="T13" fmla="*/ 0 h 56"/>
                <a:gd name="T14" fmla="*/ 16 w 16"/>
                <a:gd name="T15" fmla="*/ 0 h 56"/>
                <a:gd name="T16" fmla="*/ 16 w 16"/>
                <a:gd name="T17"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56">
                  <a:moveTo>
                    <a:pt x="16" y="8"/>
                  </a:moveTo>
                  <a:lnTo>
                    <a:pt x="8" y="16"/>
                  </a:lnTo>
                  <a:lnTo>
                    <a:pt x="16" y="32"/>
                  </a:lnTo>
                  <a:lnTo>
                    <a:pt x="8" y="56"/>
                  </a:lnTo>
                  <a:lnTo>
                    <a:pt x="0" y="32"/>
                  </a:lnTo>
                  <a:lnTo>
                    <a:pt x="0" y="24"/>
                  </a:lnTo>
                  <a:lnTo>
                    <a:pt x="8" y="0"/>
                  </a:lnTo>
                  <a:lnTo>
                    <a:pt x="16" y="0"/>
                  </a:lnTo>
                  <a:lnTo>
                    <a:pt x="16"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59" name="Freeform 73">
              <a:extLst>
                <a:ext uri="{FF2B5EF4-FFF2-40B4-BE49-F238E27FC236}">
                  <a16:creationId xmlns:a16="http://schemas.microsoft.com/office/drawing/2014/main" id="{69580889-5EA2-A54D-5F75-AF10306A6119}"/>
                </a:ext>
              </a:extLst>
            </p:cNvPr>
            <p:cNvSpPr>
              <a:spLocks/>
            </p:cNvSpPr>
            <p:nvPr/>
          </p:nvSpPr>
          <p:spPr bwMode="auto">
            <a:xfrm>
              <a:off x="4544377" y="1995580"/>
              <a:ext cx="294509" cy="295981"/>
            </a:xfrm>
            <a:custGeom>
              <a:avLst/>
              <a:gdLst>
                <a:gd name="T0" fmla="*/ 120 w 144"/>
                <a:gd name="T1" fmla="*/ 8 h 144"/>
                <a:gd name="T2" fmla="*/ 104 w 144"/>
                <a:gd name="T3" fmla="*/ 8 h 144"/>
                <a:gd name="T4" fmla="*/ 96 w 144"/>
                <a:gd name="T5" fmla="*/ 8 h 144"/>
                <a:gd name="T6" fmla="*/ 88 w 144"/>
                <a:gd name="T7" fmla="*/ 8 h 144"/>
                <a:gd name="T8" fmla="*/ 88 w 144"/>
                <a:gd name="T9" fmla="*/ 0 h 144"/>
                <a:gd name="T10" fmla="*/ 80 w 144"/>
                <a:gd name="T11" fmla="*/ 0 h 144"/>
                <a:gd name="T12" fmla="*/ 56 w 144"/>
                <a:gd name="T13" fmla="*/ 8 h 144"/>
                <a:gd name="T14" fmla="*/ 24 w 144"/>
                <a:gd name="T15" fmla="*/ 0 h 144"/>
                <a:gd name="T16" fmla="*/ 0 w 144"/>
                <a:gd name="T17" fmla="*/ 0 h 144"/>
                <a:gd name="T18" fmla="*/ 0 w 144"/>
                <a:gd name="T19" fmla="*/ 24 h 144"/>
                <a:gd name="T20" fmla="*/ 0 w 144"/>
                <a:gd name="T21" fmla="*/ 48 h 144"/>
                <a:gd name="T22" fmla="*/ 8 w 144"/>
                <a:gd name="T23" fmla="*/ 144 h 144"/>
                <a:gd name="T24" fmla="*/ 112 w 144"/>
                <a:gd name="T25" fmla="*/ 144 h 144"/>
                <a:gd name="T26" fmla="*/ 128 w 144"/>
                <a:gd name="T27" fmla="*/ 144 h 144"/>
                <a:gd name="T28" fmla="*/ 144 w 144"/>
                <a:gd name="T29" fmla="*/ 128 h 144"/>
                <a:gd name="T30" fmla="*/ 144 w 144"/>
                <a:gd name="T31" fmla="*/ 112 h 144"/>
                <a:gd name="T32" fmla="*/ 104 w 144"/>
                <a:gd name="T33" fmla="*/ 40 h 144"/>
                <a:gd name="T34" fmla="*/ 96 w 144"/>
                <a:gd name="T35" fmla="*/ 24 h 144"/>
                <a:gd name="T36" fmla="*/ 112 w 144"/>
                <a:gd name="T37" fmla="*/ 48 h 144"/>
                <a:gd name="T38" fmla="*/ 120 w 144"/>
                <a:gd name="T39" fmla="*/ 56 h 144"/>
                <a:gd name="T40" fmla="*/ 128 w 144"/>
                <a:gd name="T41" fmla="*/ 32 h 144"/>
                <a:gd name="T42" fmla="*/ 120 w 144"/>
                <a:gd name="T43"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4" h="144">
                  <a:moveTo>
                    <a:pt x="120" y="8"/>
                  </a:moveTo>
                  <a:lnTo>
                    <a:pt x="104" y="8"/>
                  </a:lnTo>
                  <a:lnTo>
                    <a:pt x="96" y="8"/>
                  </a:lnTo>
                  <a:lnTo>
                    <a:pt x="88" y="8"/>
                  </a:lnTo>
                  <a:lnTo>
                    <a:pt x="88" y="0"/>
                  </a:lnTo>
                  <a:lnTo>
                    <a:pt x="80" y="0"/>
                  </a:lnTo>
                  <a:lnTo>
                    <a:pt x="56" y="8"/>
                  </a:lnTo>
                  <a:lnTo>
                    <a:pt x="24" y="0"/>
                  </a:lnTo>
                  <a:lnTo>
                    <a:pt x="0" y="0"/>
                  </a:lnTo>
                  <a:lnTo>
                    <a:pt x="0" y="24"/>
                  </a:lnTo>
                  <a:lnTo>
                    <a:pt x="0" y="48"/>
                  </a:lnTo>
                  <a:lnTo>
                    <a:pt x="8" y="144"/>
                  </a:lnTo>
                  <a:lnTo>
                    <a:pt x="112" y="144"/>
                  </a:lnTo>
                  <a:lnTo>
                    <a:pt x="128" y="144"/>
                  </a:lnTo>
                  <a:lnTo>
                    <a:pt x="144" y="128"/>
                  </a:lnTo>
                  <a:lnTo>
                    <a:pt x="144" y="112"/>
                  </a:lnTo>
                  <a:lnTo>
                    <a:pt x="104" y="40"/>
                  </a:lnTo>
                  <a:lnTo>
                    <a:pt x="96" y="24"/>
                  </a:lnTo>
                  <a:lnTo>
                    <a:pt x="112" y="48"/>
                  </a:lnTo>
                  <a:lnTo>
                    <a:pt x="120" y="56"/>
                  </a:lnTo>
                  <a:lnTo>
                    <a:pt x="128" y="32"/>
                  </a:lnTo>
                  <a:lnTo>
                    <a:pt x="12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60" name="Freeform 74">
              <a:extLst>
                <a:ext uri="{FF2B5EF4-FFF2-40B4-BE49-F238E27FC236}">
                  <a16:creationId xmlns:a16="http://schemas.microsoft.com/office/drawing/2014/main" id="{6A392E42-5629-683C-360C-C887EC11BD39}"/>
                </a:ext>
              </a:extLst>
            </p:cNvPr>
            <p:cNvSpPr>
              <a:spLocks/>
            </p:cNvSpPr>
            <p:nvPr/>
          </p:nvSpPr>
          <p:spPr bwMode="auto">
            <a:xfrm>
              <a:off x="4691633" y="2851813"/>
              <a:ext cx="147255" cy="164601"/>
            </a:xfrm>
            <a:custGeom>
              <a:avLst/>
              <a:gdLst>
                <a:gd name="T0" fmla="*/ 56 w 72"/>
                <a:gd name="T1" fmla="*/ 0 h 80"/>
                <a:gd name="T2" fmla="*/ 32 w 72"/>
                <a:gd name="T3" fmla="*/ 8 h 80"/>
                <a:gd name="T4" fmla="*/ 16 w 72"/>
                <a:gd name="T5" fmla="*/ 8 h 80"/>
                <a:gd name="T6" fmla="*/ 16 w 72"/>
                <a:gd name="T7" fmla="*/ 24 h 80"/>
                <a:gd name="T8" fmla="*/ 24 w 72"/>
                <a:gd name="T9" fmla="*/ 32 h 80"/>
                <a:gd name="T10" fmla="*/ 16 w 72"/>
                <a:gd name="T11" fmla="*/ 40 h 80"/>
                <a:gd name="T12" fmla="*/ 8 w 72"/>
                <a:gd name="T13" fmla="*/ 56 h 80"/>
                <a:gd name="T14" fmla="*/ 0 w 72"/>
                <a:gd name="T15" fmla="*/ 80 h 80"/>
                <a:gd name="T16" fmla="*/ 8 w 72"/>
                <a:gd name="T17" fmla="*/ 80 h 80"/>
                <a:gd name="T18" fmla="*/ 32 w 72"/>
                <a:gd name="T19" fmla="*/ 80 h 80"/>
                <a:gd name="T20" fmla="*/ 56 w 72"/>
                <a:gd name="T21" fmla="*/ 80 h 80"/>
                <a:gd name="T22" fmla="*/ 56 w 72"/>
                <a:gd name="T23" fmla="*/ 56 h 80"/>
                <a:gd name="T24" fmla="*/ 72 w 72"/>
                <a:gd name="T25" fmla="*/ 32 h 80"/>
                <a:gd name="T26" fmla="*/ 64 w 72"/>
                <a:gd name="T27" fmla="*/ 0 h 80"/>
                <a:gd name="T28" fmla="*/ 56 w 72"/>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80">
                  <a:moveTo>
                    <a:pt x="56" y="0"/>
                  </a:moveTo>
                  <a:lnTo>
                    <a:pt x="32" y="8"/>
                  </a:lnTo>
                  <a:lnTo>
                    <a:pt x="16" y="8"/>
                  </a:lnTo>
                  <a:lnTo>
                    <a:pt x="16" y="24"/>
                  </a:lnTo>
                  <a:lnTo>
                    <a:pt x="24" y="32"/>
                  </a:lnTo>
                  <a:lnTo>
                    <a:pt x="16" y="40"/>
                  </a:lnTo>
                  <a:lnTo>
                    <a:pt x="8" y="56"/>
                  </a:lnTo>
                  <a:lnTo>
                    <a:pt x="0" y="80"/>
                  </a:lnTo>
                  <a:lnTo>
                    <a:pt x="8" y="80"/>
                  </a:lnTo>
                  <a:lnTo>
                    <a:pt x="32" y="80"/>
                  </a:lnTo>
                  <a:lnTo>
                    <a:pt x="56" y="80"/>
                  </a:lnTo>
                  <a:lnTo>
                    <a:pt x="56" y="56"/>
                  </a:lnTo>
                  <a:lnTo>
                    <a:pt x="72" y="32"/>
                  </a:lnTo>
                  <a:lnTo>
                    <a:pt x="64" y="0"/>
                  </a:lnTo>
                  <a:lnTo>
                    <a:pt x="56"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61" name="Freeform 75">
              <a:extLst>
                <a:ext uri="{FF2B5EF4-FFF2-40B4-BE49-F238E27FC236}">
                  <a16:creationId xmlns:a16="http://schemas.microsoft.com/office/drawing/2014/main" id="{F79AB1EF-4875-9425-392C-4A755507D822}"/>
                </a:ext>
              </a:extLst>
            </p:cNvPr>
            <p:cNvSpPr>
              <a:spLocks/>
            </p:cNvSpPr>
            <p:nvPr/>
          </p:nvSpPr>
          <p:spPr bwMode="auto">
            <a:xfrm>
              <a:off x="4805833" y="2835198"/>
              <a:ext cx="213369" cy="295981"/>
            </a:xfrm>
            <a:custGeom>
              <a:avLst/>
              <a:gdLst>
                <a:gd name="T0" fmla="*/ 56 w 104"/>
                <a:gd name="T1" fmla="*/ 128 h 144"/>
                <a:gd name="T2" fmla="*/ 48 w 104"/>
                <a:gd name="T3" fmla="*/ 112 h 144"/>
                <a:gd name="T4" fmla="*/ 8 w 104"/>
                <a:gd name="T5" fmla="*/ 88 h 144"/>
                <a:gd name="T6" fmla="*/ 0 w 104"/>
                <a:gd name="T7" fmla="*/ 88 h 144"/>
                <a:gd name="T8" fmla="*/ 0 w 104"/>
                <a:gd name="T9" fmla="*/ 64 h 144"/>
                <a:gd name="T10" fmla="*/ 16 w 104"/>
                <a:gd name="T11" fmla="*/ 40 h 144"/>
                <a:gd name="T12" fmla="*/ 8 w 104"/>
                <a:gd name="T13" fmla="*/ 8 h 144"/>
                <a:gd name="T14" fmla="*/ 0 w 104"/>
                <a:gd name="T15" fmla="*/ 8 h 144"/>
                <a:gd name="T16" fmla="*/ 8 w 104"/>
                <a:gd name="T17" fmla="*/ 0 h 144"/>
                <a:gd name="T18" fmla="*/ 24 w 104"/>
                <a:gd name="T19" fmla="*/ 0 h 144"/>
                <a:gd name="T20" fmla="*/ 40 w 104"/>
                <a:gd name="T21" fmla="*/ 0 h 144"/>
                <a:gd name="T22" fmla="*/ 56 w 104"/>
                <a:gd name="T23" fmla="*/ 16 h 144"/>
                <a:gd name="T24" fmla="*/ 72 w 104"/>
                <a:gd name="T25" fmla="*/ 16 h 144"/>
                <a:gd name="T26" fmla="*/ 96 w 104"/>
                <a:gd name="T27" fmla="*/ 8 h 144"/>
                <a:gd name="T28" fmla="*/ 104 w 104"/>
                <a:gd name="T29" fmla="*/ 8 h 144"/>
                <a:gd name="T30" fmla="*/ 96 w 104"/>
                <a:gd name="T31" fmla="*/ 32 h 144"/>
                <a:gd name="T32" fmla="*/ 96 w 104"/>
                <a:gd name="T33" fmla="*/ 80 h 144"/>
                <a:gd name="T34" fmla="*/ 104 w 104"/>
                <a:gd name="T35" fmla="*/ 96 h 144"/>
                <a:gd name="T36" fmla="*/ 88 w 104"/>
                <a:gd name="T37" fmla="*/ 112 h 144"/>
                <a:gd name="T38" fmla="*/ 88 w 104"/>
                <a:gd name="T39" fmla="*/ 104 h 144"/>
                <a:gd name="T40" fmla="*/ 88 w 104"/>
                <a:gd name="T41" fmla="*/ 120 h 144"/>
                <a:gd name="T42" fmla="*/ 72 w 104"/>
                <a:gd name="T43" fmla="*/ 144 h 144"/>
                <a:gd name="T44" fmla="*/ 56 w 104"/>
                <a:gd name="T45" fmla="*/ 12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4" h="144">
                  <a:moveTo>
                    <a:pt x="56" y="128"/>
                  </a:moveTo>
                  <a:lnTo>
                    <a:pt x="48" y="112"/>
                  </a:lnTo>
                  <a:lnTo>
                    <a:pt x="8" y="88"/>
                  </a:lnTo>
                  <a:lnTo>
                    <a:pt x="0" y="88"/>
                  </a:lnTo>
                  <a:lnTo>
                    <a:pt x="0" y="64"/>
                  </a:lnTo>
                  <a:lnTo>
                    <a:pt x="16" y="40"/>
                  </a:lnTo>
                  <a:lnTo>
                    <a:pt x="8" y="8"/>
                  </a:lnTo>
                  <a:lnTo>
                    <a:pt x="0" y="8"/>
                  </a:lnTo>
                  <a:lnTo>
                    <a:pt x="8" y="0"/>
                  </a:lnTo>
                  <a:lnTo>
                    <a:pt x="24" y="0"/>
                  </a:lnTo>
                  <a:lnTo>
                    <a:pt x="40" y="0"/>
                  </a:lnTo>
                  <a:lnTo>
                    <a:pt x="56" y="16"/>
                  </a:lnTo>
                  <a:lnTo>
                    <a:pt x="72" y="16"/>
                  </a:lnTo>
                  <a:lnTo>
                    <a:pt x="96" y="8"/>
                  </a:lnTo>
                  <a:lnTo>
                    <a:pt x="104" y="8"/>
                  </a:lnTo>
                  <a:lnTo>
                    <a:pt x="96" y="32"/>
                  </a:lnTo>
                  <a:lnTo>
                    <a:pt x="96" y="80"/>
                  </a:lnTo>
                  <a:lnTo>
                    <a:pt x="104" y="96"/>
                  </a:lnTo>
                  <a:lnTo>
                    <a:pt x="88" y="112"/>
                  </a:lnTo>
                  <a:lnTo>
                    <a:pt x="88" y="104"/>
                  </a:lnTo>
                  <a:lnTo>
                    <a:pt x="88" y="120"/>
                  </a:lnTo>
                  <a:lnTo>
                    <a:pt x="72" y="144"/>
                  </a:lnTo>
                  <a:lnTo>
                    <a:pt x="56" y="12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62" name="Freeform 76">
              <a:extLst>
                <a:ext uri="{FF2B5EF4-FFF2-40B4-BE49-F238E27FC236}">
                  <a16:creationId xmlns:a16="http://schemas.microsoft.com/office/drawing/2014/main" id="{E71D85F8-6A98-5A39-6B5F-53641B3722AC}"/>
                </a:ext>
              </a:extLst>
            </p:cNvPr>
            <p:cNvSpPr>
              <a:spLocks/>
            </p:cNvSpPr>
            <p:nvPr/>
          </p:nvSpPr>
          <p:spPr bwMode="auto">
            <a:xfrm>
              <a:off x="4691633" y="3016417"/>
              <a:ext cx="294509" cy="329205"/>
            </a:xfrm>
            <a:custGeom>
              <a:avLst/>
              <a:gdLst>
                <a:gd name="T0" fmla="*/ 8 w 144"/>
                <a:gd name="T1" fmla="*/ 0 h 160"/>
                <a:gd name="T2" fmla="*/ 16 w 144"/>
                <a:gd name="T3" fmla="*/ 8 h 160"/>
                <a:gd name="T4" fmla="*/ 16 w 144"/>
                <a:gd name="T5" fmla="*/ 16 h 160"/>
                <a:gd name="T6" fmla="*/ 16 w 144"/>
                <a:gd name="T7" fmla="*/ 32 h 160"/>
                <a:gd name="T8" fmla="*/ 0 w 144"/>
                <a:gd name="T9" fmla="*/ 48 h 160"/>
                <a:gd name="T10" fmla="*/ 0 w 144"/>
                <a:gd name="T11" fmla="*/ 80 h 160"/>
                <a:gd name="T12" fmla="*/ 16 w 144"/>
                <a:gd name="T13" fmla="*/ 104 h 160"/>
                <a:gd name="T14" fmla="*/ 16 w 144"/>
                <a:gd name="T15" fmla="*/ 112 h 160"/>
                <a:gd name="T16" fmla="*/ 24 w 144"/>
                <a:gd name="T17" fmla="*/ 112 h 160"/>
                <a:gd name="T18" fmla="*/ 48 w 144"/>
                <a:gd name="T19" fmla="*/ 128 h 160"/>
                <a:gd name="T20" fmla="*/ 56 w 144"/>
                <a:gd name="T21" fmla="*/ 128 h 160"/>
                <a:gd name="T22" fmla="*/ 64 w 144"/>
                <a:gd name="T23" fmla="*/ 136 h 160"/>
                <a:gd name="T24" fmla="*/ 72 w 144"/>
                <a:gd name="T25" fmla="*/ 160 h 160"/>
                <a:gd name="T26" fmla="*/ 88 w 144"/>
                <a:gd name="T27" fmla="*/ 160 h 160"/>
                <a:gd name="T28" fmla="*/ 128 w 144"/>
                <a:gd name="T29" fmla="*/ 152 h 160"/>
                <a:gd name="T30" fmla="*/ 144 w 144"/>
                <a:gd name="T31" fmla="*/ 144 h 160"/>
                <a:gd name="T32" fmla="*/ 136 w 144"/>
                <a:gd name="T33" fmla="*/ 136 h 160"/>
                <a:gd name="T34" fmla="*/ 128 w 144"/>
                <a:gd name="T35" fmla="*/ 120 h 160"/>
                <a:gd name="T36" fmla="*/ 136 w 144"/>
                <a:gd name="T37" fmla="*/ 88 h 160"/>
                <a:gd name="T38" fmla="*/ 120 w 144"/>
                <a:gd name="T39" fmla="*/ 72 h 160"/>
                <a:gd name="T40" fmla="*/ 128 w 144"/>
                <a:gd name="T41" fmla="*/ 56 h 160"/>
                <a:gd name="T42" fmla="*/ 112 w 144"/>
                <a:gd name="T43" fmla="*/ 40 h 160"/>
                <a:gd name="T44" fmla="*/ 104 w 144"/>
                <a:gd name="T45" fmla="*/ 24 h 160"/>
                <a:gd name="T46" fmla="*/ 64 w 144"/>
                <a:gd name="T47" fmla="*/ 0 h 160"/>
                <a:gd name="T48" fmla="*/ 56 w 144"/>
                <a:gd name="T49" fmla="*/ 0 h 160"/>
                <a:gd name="T50" fmla="*/ 32 w 144"/>
                <a:gd name="T51" fmla="*/ 0 h 160"/>
                <a:gd name="T52" fmla="*/ 8 w 144"/>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4" h="160">
                  <a:moveTo>
                    <a:pt x="8" y="0"/>
                  </a:moveTo>
                  <a:lnTo>
                    <a:pt x="16" y="8"/>
                  </a:lnTo>
                  <a:lnTo>
                    <a:pt x="16" y="16"/>
                  </a:lnTo>
                  <a:lnTo>
                    <a:pt x="16" y="32"/>
                  </a:lnTo>
                  <a:lnTo>
                    <a:pt x="0" y="48"/>
                  </a:lnTo>
                  <a:lnTo>
                    <a:pt x="0" y="80"/>
                  </a:lnTo>
                  <a:lnTo>
                    <a:pt x="16" y="104"/>
                  </a:lnTo>
                  <a:lnTo>
                    <a:pt x="16" y="112"/>
                  </a:lnTo>
                  <a:lnTo>
                    <a:pt x="24" y="112"/>
                  </a:lnTo>
                  <a:lnTo>
                    <a:pt x="48" y="128"/>
                  </a:lnTo>
                  <a:lnTo>
                    <a:pt x="56" y="128"/>
                  </a:lnTo>
                  <a:lnTo>
                    <a:pt x="64" y="136"/>
                  </a:lnTo>
                  <a:lnTo>
                    <a:pt x="72" y="160"/>
                  </a:lnTo>
                  <a:lnTo>
                    <a:pt x="88" y="160"/>
                  </a:lnTo>
                  <a:lnTo>
                    <a:pt x="128" y="152"/>
                  </a:lnTo>
                  <a:lnTo>
                    <a:pt x="144" y="144"/>
                  </a:lnTo>
                  <a:lnTo>
                    <a:pt x="136" y="136"/>
                  </a:lnTo>
                  <a:lnTo>
                    <a:pt x="128" y="120"/>
                  </a:lnTo>
                  <a:lnTo>
                    <a:pt x="136" y="88"/>
                  </a:lnTo>
                  <a:lnTo>
                    <a:pt x="120" y="72"/>
                  </a:lnTo>
                  <a:lnTo>
                    <a:pt x="128" y="56"/>
                  </a:lnTo>
                  <a:lnTo>
                    <a:pt x="112" y="40"/>
                  </a:lnTo>
                  <a:lnTo>
                    <a:pt x="104" y="24"/>
                  </a:lnTo>
                  <a:lnTo>
                    <a:pt x="64" y="0"/>
                  </a:lnTo>
                  <a:lnTo>
                    <a:pt x="56" y="0"/>
                  </a:lnTo>
                  <a:lnTo>
                    <a:pt x="32" y="0"/>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63" name="Freeform 77">
              <a:extLst>
                <a:ext uri="{FF2B5EF4-FFF2-40B4-BE49-F238E27FC236}">
                  <a16:creationId xmlns:a16="http://schemas.microsoft.com/office/drawing/2014/main" id="{626ED3F8-BEDD-7157-FDAF-1C7A68D94FB1}"/>
                </a:ext>
              </a:extLst>
            </p:cNvPr>
            <p:cNvSpPr>
              <a:spLocks/>
            </p:cNvSpPr>
            <p:nvPr/>
          </p:nvSpPr>
          <p:spPr bwMode="auto">
            <a:xfrm>
              <a:off x="4478262" y="3229338"/>
              <a:ext cx="327567" cy="314103"/>
            </a:xfrm>
            <a:custGeom>
              <a:avLst/>
              <a:gdLst>
                <a:gd name="T0" fmla="*/ 96 w 160"/>
                <a:gd name="T1" fmla="*/ 120 h 152"/>
                <a:gd name="T2" fmla="*/ 88 w 160"/>
                <a:gd name="T3" fmla="*/ 128 h 152"/>
                <a:gd name="T4" fmla="*/ 64 w 160"/>
                <a:gd name="T5" fmla="*/ 152 h 152"/>
                <a:gd name="T6" fmla="*/ 40 w 160"/>
                <a:gd name="T7" fmla="*/ 152 h 152"/>
                <a:gd name="T8" fmla="*/ 24 w 160"/>
                <a:gd name="T9" fmla="*/ 144 h 152"/>
                <a:gd name="T10" fmla="*/ 16 w 160"/>
                <a:gd name="T11" fmla="*/ 144 h 152"/>
                <a:gd name="T12" fmla="*/ 0 w 160"/>
                <a:gd name="T13" fmla="*/ 128 h 152"/>
                <a:gd name="T14" fmla="*/ 0 w 160"/>
                <a:gd name="T15" fmla="*/ 80 h 152"/>
                <a:gd name="T16" fmla="*/ 32 w 160"/>
                <a:gd name="T17" fmla="*/ 72 h 152"/>
                <a:gd name="T18" fmla="*/ 24 w 160"/>
                <a:gd name="T19" fmla="*/ 72 h 152"/>
                <a:gd name="T20" fmla="*/ 32 w 160"/>
                <a:gd name="T21" fmla="*/ 40 h 152"/>
                <a:gd name="T22" fmla="*/ 56 w 160"/>
                <a:gd name="T23" fmla="*/ 56 h 152"/>
                <a:gd name="T24" fmla="*/ 64 w 160"/>
                <a:gd name="T25" fmla="*/ 56 h 152"/>
                <a:gd name="T26" fmla="*/ 88 w 160"/>
                <a:gd name="T27" fmla="*/ 72 h 152"/>
                <a:gd name="T28" fmla="*/ 104 w 160"/>
                <a:gd name="T29" fmla="*/ 80 h 152"/>
                <a:gd name="T30" fmla="*/ 104 w 160"/>
                <a:gd name="T31" fmla="*/ 64 h 152"/>
                <a:gd name="T32" fmla="*/ 96 w 160"/>
                <a:gd name="T33" fmla="*/ 64 h 152"/>
                <a:gd name="T34" fmla="*/ 88 w 160"/>
                <a:gd name="T35" fmla="*/ 56 h 152"/>
                <a:gd name="T36" fmla="*/ 96 w 160"/>
                <a:gd name="T37" fmla="*/ 16 h 152"/>
                <a:gd name="T38" fmla="*/ 96 w 160"/>
                <a:gd name="T39" fmla="*/ 8 h 152"/>
                <a:gd name="T40" fmla="*/ 112 w 160"/>
                <a:gd name="T41" fmla="*/ 0 h 152"/>
                <a:gd name="T42" fmla="*/ 120 w 160"/>
                <a:gd name="T43" fmla="*/ 0 h 152"/>
                <a:gd name="T44" fmla="*/ 120 w 160"/>
                <a:gd name="T45" fmla="*/ 8 h 152"/>
                <a:gd name="T46" fmla="*/ 128 w 160"/>
                <a:gd name="T47" fmla="*/ 8 h 152"/>
                <a:gd name="T48" fmla="*/ 152 w 160"/>
                <a:gd name="T49" fmla="*/ 24 h 152"/>
                <a:gd name="T50" fmla="*/ 160 w 160"/>
                <a:gd name="T51" fmla="*/ 40 h 152"/>
                <a:gd name="T52" fmla="*/ 152 w 160"/>
                <a:gd name="T53" fmla="*/ 56 h 152"/>
                <a:gd name="T54" fmla="*/ 152 w 160"/>
                <a:gd name="T55" fmla="*/ 64 h 152"/>
                <a:gd name="T56" fmla="*/ 144 w 160"/>
                <a:gd name="T57" fmla="*/ 88 h 152"/>
                <a:gd name="T58" fmla="*/ 152 w 160"/>
                <a:gd name="T59" fmla="*/ 88 h 152"/>
                <a:gd name="T60" fmla="*/ 112 w 160"/>
                <a:gd name="T61" fmla="*/ 104 h 152"/>
                <a:gd name="T62" fmla="*/ 112 w 160"/>
                <a:gd name="T63" fmla="*/ 112 h 152"/>
                <a:gd name="T64" fmla="*/ 96 w 160"/>
                <a:gd name="T65" fmla="*/ 12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52">
                  <a:moveTo>
                    <a:pt x="96" y="120"/>
                  </a:moveTo>
                  <a:lnTo>
                    <a:pt x="88" y="128"/>
                  </a:lnTo>
                  <a:lnTo>
                    <a:pt x="64" y="152"/>
                  </a:lnTo>
                  <a:lnTo>
                    <a:pt x="40" y="152"/>
                  </a:lnTo>
                  <a:lnTo>
                    <a:pt x="24" y="144"/>
                  </a:lnTo>
                  <a:lnTo>
                    <a:pt x="16" y="144"/>
                  </a:lnTo>
                  <a:lnTo>
                    <a:pt x="0" y="128"/>
                  </a:lnTo>
                  <a:lnTo>
                    <a:pt x="0" y="80"/>
                  </a:lnTo>
                  <a:lnTo>
                    <a:pt x="32" y="72"/>
                  </a:lnTo>
                  <a:lnTo>
                    <a:pt x="24" y="72"/>
                  </a:lnTo>
                  <a:lnTo>
                    <a:pt x="32" y="40"/>
                  </a:lnTo>
                  <a:lnTo>
                    <a:pt x="56" y="56"/>
                  </a:lnTo>
                  <a:lnTo>
                    <a:pt x="64" y="56"/>
                  </a:lnTo>
                  <a:lnTo>
                    <a:pt x="88" y="72"/>
                  </a:lnTo>
                  <a:lnTo>
                    <a:pt x="104" y="80"/>
                  </a:lnTo>
                  <a:lnTo>
                    <a:pt x="104" y="64"/>
                  </a:lnTo>
                  <a:lnTo>
                    <a:pt x="96" y="64"/>
                  </a:lnTo>
                  <a:lnTo>
                    <a:pt x="88" y="56"/>
                  </a:lnTo>
                  <a:lnTo>
                    <a:pt x="96" y="16"/>
                  </a:lnTo>
                  <a:lnTo>
                    <a:pt x="96" y="8"/>
                  </a:lnTo>
                  <a:lnTo>
                    <a:pt x="112" y="0"/>
                  </a:lnTo>
                  <a:lnTo>
                    <a:pt x="120" y="0"/>
                  </a:lnTo>
                  <a:lnTo>
                    <a:pt x="120" y="8"/>
                  </a:lnTo>
                  <a:lnTo>
                    <a:pt x="128" y="8"/>
                  </a:lnTo>
                  <a:lnTo>
                    <a:pt x="152" y="24"/>
                  </a:lnTo>
                  <a:lnTo>
                    <a:pt x="160" y="40"/>
                  </a:lnTo>
                  <a:lnTo>
                    <a:pt x="152" y="56"/>
                  </a:lnTo>
                  <a:lnTo>
                    <a:pt x="152" y="64"/>
                  </a:lnTo>
                  <a:lnTo>
                    <a:pt x="144" y="88"/>
                  </a:lnTo>
                  <a:lnTo>
                    <a:pt x="152" y="88"/>
                  </a:lnTo>
                  <a:lnTo>
                    <a:pt x="112" y="104"/>
                  </a:lnTo>
                  <a:lnTo>
                    <a:pt x="112" y="112"/>
                  </a:lnTo>
                  <a:lnTo>
                    <a:pt x="96" y="12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64" name="Freeform 78">
              <a:extLst>
                <a:ext uri="{FF2B5EF4-FFF2-40B4-BE49-F238E27FC236}">
                  <a16:creationId xmlns:a16="http://schemas.microsoft.com/office/drawing/2014/main" id="{3C0A2713-5C86-CE5F-D43C-FAD81180748C}"/>
                </a:ext>
              </a:extLst>
            </p:cNvPr>
            <p:cNvSpPr>
              <a:spLocks/>
            </p:cNvSpPr>
            <p:nvPr/>
          </p:nvSpPr>
          <p:spPr bwMode="auto">
            <a:xfrm>
              <a:off x="4708161" y="3312390"/>
              <a:ext cx="277982" cy="493803"/>
            </a:xfrm>
            <a:custGeom>
              <a:avLst/>
              <a:gdLst>
                <a:gd name="T0" fmla="*/ 16 w 136"/>
                <a:gd name="T1" fmla="*/ 240 h 240"/>
                <a:gd name="T2" fmla="*/ 24 w 136"/>
                <a:gd name="T3" fmla="*/ 240 h 240"/>
                <a:gd name="T4" fmla="*/ 24 w 136"/>
                <a:gd name="T5" fmla="*/ 232 h 240"/>
                <a:gd name="T6" fmla="*/ 24 w 136"/>
                <a:gd name="T7" fmla="*/ 224 h 240"/>
                <a:gd name="T8" fmla="*/ 56 w 136"/>
                <a:gd name="T9" fmla="*/ 208 h 240"/>
                <a:gd name="T10" fmla="*/ 64 w 136"/>
                <a:gd name="T11" fmla="*/ 176 h 240"/>
                <a:gd name="T12" fmla="*/ 56 w 136"/>
                <a:gd name="T13" fmla="*/ 152 h 240"/>
                <a:gd name="T14" fmla="*/ 56 w 136"/>
                <a:gd name="T15" fmla="*/ 144 h 240"/>
                <a:gd name="T16" fmla="*/ 88 w 136"/>
                <a:gd name="T17" fmla="*/ 104 h 240"/>
                <a:gd name="T18" fmla="*/ 112 w 136"/>
                <a:gd name="T19" fmla="*/ 96 h 240"/>
                <a:gd name="T20" fmla="*/ 136 w 136"/>
                <a:gd name="T21" fmla="*/ 72 h 240"/>
                <a:gd name="T22" fmla="*/ 136 w 136"/>
                <a:gd name="T23" fmla="*/ 0 h 240"/>
                <a:gd name="T24" fmla="*/ 120 w 136"/>
                <a:gd name="T25" fmla="*/ 8 h 240"/>
                <a:gd name="T26" fmla="*/ 80 w 136"/>
                <a:gd name="T27" fmla="*/ 16 h 240"/>
                <a:gd name="T28" fmla="*/ 64 w 136"/>
                <a:gd name="T29" fmla="*/ 16 h 240"/>
                <a:gd name="T30" fmla="*/ 56 w 136"/>
                <a:gd name="T31" fmla="*/ 24 h 240"/>
                <a:gd name="T32" fmla="*/ 56 w 136"/>
                <a:gd name="T33" fmla="*/ 40 h 240"/>
                <a:gd name="T34" fmla="*/ 72 w 136"/>
                <a:gd name="T35" fmla="*/ 64 h 240"/>
                <a:gd name="T36" fmla="*/ 72 w 136"/>
                <a:gd name="T37" fmla="*/ 80 h 240"/>
                <a:gd name="T38" fmla="*/ 64 w 136"/>
                <a:gd name="T39" fmla="*/ 96 h 240"/>
                <a:gd name="T40" fmla="*/ 48 w 136"/>
                <a:gd name="T41" fmla="*/ 80 h 240"/>
                <a:gd name="T42" fmla="*/ 56 w 136"/>
                <a:gd name="T43" fmla="*/ 56 h 240"/>
                <a:gd name="T44" fmla="*/ 40 w 136"/>
                <a:gd name="T45" fmla="*/ 56 h 240"/>
                <a:gd name="T46" fmla="*/ 40 w 136"/>
                <a:gd name="T47" fmla="*/ 48 h 240"/>
                <a:gd name="T48" fmla="*/ 0 w 136"/>
                <a:gd name="T49" fmla="*/ 64 h 240"/>
                <a:gd name="T50" fmla="*/ 0 w 136"/>
                <a:gd name="T51" fmla="*/ 72 h 240"/>
                <a:gd name="T52" fmla="*/ 0 w 136"/>
                <a:gd name="T53" fmla="*/ 80 h 240"/>
                <a:gd name="T54" fmla="*/ 8 w 136"/>
                <a:gd name="T55" fmla="*/ 80 h 240"/>
                <a:gd name="T56" fmla="*/ 32 w 136"/>
                <a:gd name="T57" fmla="*/ 88 h 240"/>
                <a:gd name="T58" fmla="*/ 32 w 136"/>
                <a:gd name="T59" fmla="*/ 104 h 240"/>
                <a:gd name="T60" fmla="*/ 32 w 136"/>
                <a:gd name="T61" fmla="*/ 144 h 240"/>
                <a:gd name="T62" fmla="*/ 8 w 136"/>
                <a:gd name="T63" fmla="*/ 184 h 240"/>
                <a:gd name="T64" fmla="*/ 16 w 136"/>
                <a:gd name="T65" fmla="*/ 232 h 240"/>
                <a:gd name="T66" fmla="*/ 16 w 136"/>
                <a:gd name="T67"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 h="240">
                  <a:moveTo>
                    <a:pt x="16" y="240"/>
                  </a:moveTo>
                  <a:lnTo>
                    <a:pt x="24" y="240"/>
                  </a:lnTo>
                  <a:lnTo>
                    <a:pt x="24" y="232"/>
                  </a:lnTo>
                  <a:lnTo>
                    <a:pt x="24" y="224"/>
                  </a:lnTo>
                  <a:lnTo>
                    <a:pt x="56" y="208"/>
                  </a:lnTo>
                  <a:lnTo>
                    <a:pt x="64" y="176"/>
                  </a:lnTo>
                  <a:lnTo>
                    <a:pt x="56" y="152"/>
                  </a:lnTo>
                  <a:lnTo>
                    <a:pt x="56" y="144"/>
                  </a:lnTo>
                  <a:lnTo>
                    <a:pt x="88" y="104"/>
                  </a:lnTo>
                  <a:lnTo>
                    <a:pt x="112" y="96"/>
                  </a:lnTo>
                  <a:lnTo>
                    <a:pt x="136" y="72"/>
                  </a:lnTo>
                  <a:lnTo>
                    <a:pt x="136" y="0"/>
                  </a:lnTo>
                  <a:lnTo>
                    <a:pt x="120" y="8"/>
                  </a:lnTo>
                  <a:lnTo>
                    <a:pt x="80" y="16"/>
                  </a:lnTo>
                  <a:lnTo>
                    <a:pt x="64" y="16"/>
                  </a:lnTo>
                  <a:lnTo>
                    <a:pt x="56" y="24"/>
                  </a:lnTo>
                  <a:lnTo>
                    <a:pt x="56" y="40"/>
                  </a:lnTo>
                  <a:lnTo>
                    <a:pt x="72" y="64"/>
                  </a:lnTo>
                  <a:lnTo>
                    <a:pt x="72" y="80"/>
                  </a:lnTo>
                  <a:lnTo>
                    <a:pt x="64" y="96"/>
                  </a:lnTo>
                  <a:lnTo>
                    <a:pt x="48" y="80"/>
                  </a:lnTo>
                  <a:lnTo>
                    <a:pt x="56" y="56"/>
                  </a:lnTo>
                  <a:lnTo>
                    <a:pt x="40" y="56"/>
                  </a:lnTo>
                  <a:lnTo>
                    <a:pt x="40" y="48"/>
                  </a:lnTo>
                  <a:lnTo>
                    <a:pt x="0" y="64"/>
                  </a:lnTo>
                  <a:lnTo>
                    <a:pt x="0" y="72"/>
                  </a:lnTo>
                  <a:lnTo>
                    <a:pt x="0" y="80"/>
                  </a:lnTo>
                  <a:lnTo>
                    <a:pt x="8" y="80"/>
                  </a:lnTo>
                  <a:lnTo>
                    <a:pt x="32" y="88"/>
                  </a:lnTo>
                  <a:lnTo>
                    <a:pt x="32" y="104"/>
                  </a:lnTo>
                  <a:lnTo>
                    <a:pt x="32" y="144"/>
                  </a:lnTo>
                  <a:lnTo>
                    <a:pt x="8" y="184"/>
                  </a:lnTo>
                  <a:lnTo>
                    <a:pt x="16" y="232"/>
                  </a:lnTo>
                  <a:lnTo>
                    <a:pt x="16" y="24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65" name="Freeform 79">
              <a:extLst>
                <a:ext uri="{FF2B5EF4-FFF2-40B4-BE49-F238E27FC236}">
                  <a16:creationId xmlns:a16="http://schemas.microsoft.com/office/drawing/2014/main" id="{C7D00C80-CA78-BA6D-951B-94401635D60B}"/>
                </a:ext>
              </a:extLst>
            </p:cNvPr>
            <p:cNvSpPr>
              <a:spLocks/>
            </p:cNvSpPr>
            <p:nvPr/>
          </p:nvSpPr>
          <p:spPr bwMode="auto">
            <a:xfrm>
              <a:off x="4774275" y="3279183"/>
              <a:ext cx="81140" cy="231045"/>
            </a:xfrm>
            <a:custGeom>
              <a:avLst/>
              <a:gdLst>
                <a:gd name="T0" fmla="*/ 8 w 40"/>
                <a:gd name="T1" fmla="*/ 0 h 112"/>
                <a:gd name="T2" fmla="*/ 16 w 40"/>
                <a:gd name="T3" fmla="*/ 16 h 112"/>
                <a:gd name="T4" fmla="*/ 8 w 40"/>
                <a:gd name="T5" fmla="*/ 32 h 112"/>
                <a:gd name="T6" fmla="*/ 8 w 40"/>
                <a:gd name="T7" fmla="*/ 40 h 112"/>
                <a:gd name="T8" fmla="*/ 0 w 40"/>
                <a:gd name="T9" fmla="*/ 64 h 112"/>
                <a:gd name="T10" fmla="*/ 8 w 40"/>
                <a:gd name="T11" fmla="*/ 64 h 112"/>
                <a:gd name="T12" fmla="*/ 8 w 40"/>
                <a:gd name="T13" fmla="*/ 72 h 112"/>
                <a:gd name="T14" fmla="*/ 24 w 40"/>
                <a:gd name="T15" fmla="*/ 72 h 112"/>
                <a:gd name="T16" fmla="*/ 16 w 40"/>
                <a:gd name="T17" fmla="*/ 96 h 112"/>
                <a:gd name="T18" fmla="*/ 32 w 40"/>
                <a:gd name="T19" fmla="*/ 112 h 112"/>
                <a:gd name="T20" fmla="*/ 40 w 40"/>
                <a:gd name="T21" fmla="*/ 96 h 112"/>
                <a:gd name="T22" fmla="*/ 40 w 40"/>
                <a:gd name="T23" fmla="*/ 80 h 112"/>
                <a:gd name="T24" fmla="*/ 24 w 40"/>
                <a:gd name="T25" fmla="*/ 56 h 112"/>
                <a:gd name="T26" fmla="*/ 24 w 40"/>
                <a:gd name="T27" fmla="*/ 40 h 112"/>
                <a:gd name="T28" fmla="*/ 32 w 40"/>
                <a:gd name="T29" fmla="*/ 32 h 112"/>
                <a:gd name="T30" fmla="*/ 24 w 40"/>
                <a:gd name="T31" fmla="*/ 8 h 112"/>
                <a:gd name="T32" fmla="*/ 16 w 40"/>
                <a:gd name="T33" fmla="*/ 0 h 112"/>
                <a:gd name="T34" fmla="*/ 8 w 40"/>
                <a:gd name="T35"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112">
                  <a:moveTo>
                    <a:pt x="8" y="0"/>
                  </a:moveTo>
                  <a:lnTo>
                    <a:pt x="16" y="16"/>
                  </a:lnTo>
                  <a:lnTo>
                    <a:pt x="8" y="32"/>
                  </a:lnTo>
                  <a:lnTo>
                    <a:pt x="8" y="40"/>
                  </a:lnTo>
                  <a:lnTo>
                    <a:pt x="0" y="64"/>
                  </a:lnTo>
                  <a:lnTo>
                    <a:pt x="8" y="64"/>
                  </a:lnTo>
                  <a:lnTo>
                    <a:pt x="8" y="72"/>
                  </a:lnTo>
                  <a:lnTo>
                    <a:pt x="24" y="72"/>
                  </a:lnTo>
                  <a:lnTo>
                    <a:pt x="16" y="96"/>
                  </a:lnTo>
                  <a:lnTo>
                    <a:pt x="32" y="112"/>
                  </a:lnTo>
                  <a:lnTo>
                    <a:pt x="40" y="96"/>
                  </a:lnTo>
                  <a:lnTo>
                    <a:pt x="40" y="80"/>
                  </a:lnTo>
                  <a:lnTo>
                    <a:pt x="24" y="56"/>
                  </a:lnTo>
                  <a:lnTo>
                    <a:pt x="24" y="40"/>
                  </a:lnTo>
                  <a:lnTo>
                    <a:pt x="32" y="32"/>
                  </a:lnTo>
                  <a:lnTo>
                    <a:pt x="24" y="8"/>
                  </a:lnTo>
                  <a:lnTo>
                    <a:pt x="16" y="0"/>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66" name="Freeform 80">
              <a:extLst>
                <a:ext uri="{FF2B5EF4-FFF2-40B4-BE49-F238E27FC236}">
                  <a16:creationId xmlns:a16="http://schemas.microsoft.com/office/drawing/2014/main" id="{895DE697-F851-757E-CF97-C4EAB9F21F1F}"/>
                </a:ext>
              </a:extLst>
            </p:cNvPr>
            <p:cNvSpPr>
              <a:spLocks/>
            </p:cNvSpPr>
            <p:nvPr/>
          </p:nvSpPr>
          <p:spPr bwMode="auto">
            <a:xfrm>
              <a:off x="4560907" y="3460394"/>
              <a:ext cx="213369" cy="231045"/>
            </a:xfrm>
            <a:custGeom>
              <a:avLst/>
              <a:gdLst>
                <a:gd name="T0" fmla="*/ 56 w 104"/>
                <a:gd name="T1" fmla="*/ 104 h 112"/>
                <a:gd name="T2" fmla="*/ 40 w 104"/>
                <a:gd name="T3" fmla="*/ 96 h 112"/>
                <a:gd name="T4" fmla="*/ 32 w 104"/>
                <a:gd name="T5" fmla="*/ 80 h 112"/>
                <a:gd name="T6" fmla="*/ 16 w 104"/>
                <a:gd name="T7" fmla="*/ 64 h 112"/>
                <a:gd name="T8" fmla="*/ 0 w 104"/>
                <a:gd name="T9" fmla="*/ 40 h 112"/>
                <a:gd name="T10" fmla="*/ 24 w 104"/>
                <a:gd name="T11" fmla="*/ 40 h 112"/>
                <a:gd name="T12" fmla="*/ 48 w 104"/>
                <a:gd name="T13" fmla="*/ 16 h 112"/>
                <a:gd name="T14" fmla="*/ 56 w 104"/>
                <a:gd name="T15" fmla="*/ 8 h 112"/>
                <a:gd name="T16" fmla="*/ 72 w 104"/>
                <a:gd name="T17" fmla="*/ 0 h 112"/>
                <a:gd name="T18" fmla="*/ 72 w 104"/>
                <a:gd name="T19" fmla="*/ 8 h 112"/>
                <a:gd name="T20" fmla="*/ 80 w 104"/>
                <a:gd name="T21" fmla="*/ 8 h 112"/>
                <a:gd name="T22" fmla="*/ 104 w 104"/>
                <a:gd name="T23" fmla="*/ 16 h 112"/>
                <a:gd name="T24" fmla="*/ 104 w 104"/>
                <a:gd name="T25" fmla="*/ 32 h 112"/>
                <a:gd name="T26" fmla="*/ 104 w 104"/>
                <a:gd name="T27" fmla="*/ 72 h 112"/>
                <a:gd name="T28" fmla="*/ 80 w 104"/>
                <a:gd name="T29" fmla="*/ 112 h 112"/>
                <a:gd name="T30" fmla="*/ 72 w 104"/>
                <a:gd name="T31" fmla="*/ 104 h 112"/>
                <a:gd name="T32" fmla="*/ 56 w 104"/>
                <a:gd name="T33"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112">
                  <a:moveTo>
                    <a:pt x="56" y="104"/>
                  </a:moveTo>
                  <a:lnTo>
                    <a:pt x="40" y="96"/>
                  </a:lnTo>
                  <a:lnTo>
                    <a:pt x="32" y="80"/>
                  </a:lnTo>
                  <a:lnTo>
                    <a:pt x="16" y="64"/>
                  </a:lnTo>
                  <a:lnTo>
                    <a:pt x="0" y="40"/>
                  </a:lnTo>
                  <a:lnTo>
                    <a:pt x="24" y="40"/>
                  </a:lnTo>
                  <a:lnTo>
                    <a:pt x="48" y="16"/>
                  </a:lnTo>
                  <a:lnTo>
                    <a:pt x="56" y="8"/>
                  </a:lnTo>
                  <a:lnTo>
                    <a:pt x="72" y="0"/>
                  </a:lnTo>
                  <a:lnTo>
                    <a:pt x="72" y="8"/>
                  </a:lnTo>
                  <a:lnTo>
                    <a:pt x="80" y="8"/>
                  </a:lnTo>
                  <a:lnTo>
                    <a:pt x="104" y="16"/>
                  </a:lnTo>
                  <a:lnTo>
                    <a:pt x="104" y="32"/>
                  </a:lnTo>
                  <a:lnTo>
                    <a:pt x="104" y="72"/>
                  </a:lnTo>
                  <a:lnTo>
                    <a:pt x="80" y="112"/>
                  </a:lnTo>
                  <a:lnTo>
                    <a:pt x="72" y="104"/>
                  </a:lnTo>
                  <a:lnTo>
                    <a:pt x="56" y="10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67" name="Freeform 81">
              <a:extLst>
                <a:ext uri="{FF2B5EF4-FFF2-40B4-BE49-F238E27FC236}">
                  <a16:creationId xmlns:a16="http://schemas.microsoft.com/office/drawing/2014/main" id="{4D9021C2-882A-8F3E-6F69-011C578096ED}"/>
                </a:ext>
              </a:extLst>
            </p:cNvPr>
            <p:cNvSpPr>
              <a:spLocks/>
            </p:cNvSpPr>
            <p:nvPr/>
          </p:nvSpPr>
          <p:spPr bwMode="auto">
            <a:xfrm>
              <a:off x="4331008" y="3674817"/>
              <a:ext cx="426739" cy="395647"/>
            </a:xfrm>
            <a:custGeom>
              <a:avLst/>
              <a:gdLst>
                <a:gd name="T0" fmla="*/ 168 w 208"/>
                <a:gd name="T1" fmla="*/ 0 h 192"/>
                <a:gd name="T2" fmla="*/ 184 w 208"/>
                <a:gd name="T3" fmla="*/ 0 h 192"/>
                <a:gd name="T4" fmla="*/ 192 w 208"/>
                <a:gd name="T5" fmla="*/ 8 h 192"/>
                <a:gd name="T6" fmla="*/ 200 w 208"/>
                <a:gd name="T7" fmla="*/ 56 h 192"/>
                <a:gd name="T8" fmla="*/ 192 w 208"/>
                <a:gd name="T9" fmla="*/ 56 h 192"/>
                <a:gd name="T10" fmla="*/ 184 w 208"/>
                <a:gd name="T11" fmla="*/ 72 h 192"/>
                <a:gd name="T12" fmla="*/ 192 w 208"/>
                <a:gd name="T13" fmla="*/ 72 h 192"/>
                <a:gd name="T14" fmla="*/ 200 w 208"/>
                <a:gd name="T15" fmla="*/ 64 h 192"/>
                <a:gd name="T16" fmla="*/ 208 w 208"/>
                <a:gd name="T17" fmla="*/ 64 h 192"/>
                <a:gd name="T18" fmla="*/ 208 w 208"/>
                <a:gd name="T19" fmla="*/ 72 h 192"/>
                <a:gd name="T20" fmla="*/ 200 w 208"/>
                <a:gd name="T21" fmla="*/ 96 h 192"/>
                <a:gd name="T22" fmla="*/ 192 w 208"/>
                <a:gd name="T23" fmla="*/ 104 h 192"/>
                <a:gd name="T24" fmla="*/ 176 w 208"/>
                <a:gd name="T25" fmla="*/ 128 h 192"/>
                <a:gd name="T26" fmla="*/ 152 w 208"/>
                <a:gd name="T27" fmla="*/ 160 h 192"/>
                <a:gd name="T28" fmla="*/ 128 w 208"/>
                <a:gd name="T29" fmla="*/ 176 h 192"/>
                <a:gd name="T30" fmla="*/ 104 w 208"/>
                <a:gd name="T31" fmla="*/ 184 h 192"/>
                <a:gd name="T32" fmla="*/ 72 w 208"/>
                <a:gd name="T33" fmla="*/ 176 h 192"/>
                <a:gd name="T34" fmla="*/ 40 w 208"/>
                <a:gd name="T35" fmla="*/ 192 h 192"/>
                <a:gd name="T36" fmla="*/ 32 w 208"/>
                <a:gd name="T37" fmla="*/ 192 h 192"/>
                <a:gd name="T38" fmla="*/ 24 w 208"/>
                <a:gd name="T39" fmla="*/ 176 h 192"/>
                <a:gd name="T40" fmla="*/ 24 w 208"/>
                <a:gd name="T41" fmla="*/ 184 h 192"/>
                <a:gd name="T42" fmla="*/ 16 w 208"/>
                <a:gd name="T43" fmla="*/ 160 h 192"/>
                <a:gd name="T44" fmla="*/ 24 w 208"/>
                <a:gd name="T45" fmla="*/ 160 h 192"/>
                <a:gd name="T46" fmla="*/ 16 w 208"/>
                <a:gd name="T47" fmla="*/ 144 h 192"/>
                <a:gd name="T48" fmla="*/ 0 w 208"/>
                <a:gd name="T49" fmla="*/ 104 h 192"/>
                <a:gd name="T50" fmla="*/ 0 w 208"/>
                <a:gd name="T51" fmla="*/ 96 h 192"/>
                <a:gd name="T52" fmla="*/ 0 w 208"/>
                <a:gd name="T53" fmla="*/ 88 h 192"/>
                <a:gd name="T54" fmla="*/ 8 w 208"/>
                <a:gd name="T55" fmla="*/ 96 h 192"/>
                <a:gd name="T56" fmla="*/ 16 w 208"/>
                <a:gd name="T57" fmla="*/ 104 h 192"/>
                <a:gd name="T58" fmla="*/ 32 w 208"/>
                <a:gd name="T59" fmla="*/ 104 h 192"/>
                <a:gd name="T60" fmla="*/ 40 w 208"/>
                <a:gd name="T61" fmla="*/ 96 h 192"/>
                <a:gd name="T62" fmla="*/ 40 w 208"/>
                <a:gd name="T63" fmla="*/ 40 h 192"/>
                <a:gd name="T64" fmla="*/ 56 w 208"/>
                <a:gd name="T65" fmla="*/ 48 h 192"/>
                <a:gd name="T66" fmla="*/ 48 w 208"/>
                <a:gd name="T67" fmla="*/ 64 h 192"/>
                <a:gd name="T68" fmla="*/ 56 w 208"/>
                <a:gd name="T69" fmla="*/ 72 h 192"/>
                <a:gd name="T70" fmla="*/ 72 w 208"/>
                <a:gd name="T71" fmla="*/ 64 h 192"/>
                <a:gd name="T72" fmla="*/ 88 w 208"/>
                <a:gd name="T73" fmla="*/ 48 h 192"/>
                <a:gd name="T74" fmla="*/ 104 w 208"/>
                <a:gd name="T75" fmla="*/ 48 h 192"/>
                <a:gd name="T76" fmla="*/ 112 w 208"/>
                <a:gd name="T77" fmla="*/ 48 h 192"/>
                <a:gd name="T78" fmla="*/ 144 w 208"/>
                <a:gd name="T79" fmla="*/ 16 h 192"/>
                <a:gd name="T80" fmla="*/ 168 w 208"/>
                <a:gd name="T8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 h="192">
                  <a:moveTo>
                    <a:pt x="168" y="0"/>
                  </a:moveTo>
                  <a:lnTo>
                    <a:pt x="184" y="0"/>
                  </a:lnTo>
                  <a:lnTo>
                    <a:pt x="192" y="8"/>
                  </a:lnTo>
                  <a:lnTo>
                    <a:pt x="200" y="56"/>
                  </a:lnTo>
                  <a:lnTo>
                    <a:pt x="192" y="56"/>
                  </a:lnTo>
                  <a:lnTo>
                    <a:pt x="184" y="72"/>
                  </a:lnTo>
                  <a:lnTo>
                    <a:pt x="192" y="72"/>
                  </a:lnTo>
                  <a:lnTo>
                    <a:pt x="200" y="64"/>
                  </a:lnTo>
                  <a:lnTo>
                    <a:pt x="208" y="64"/>
                  </a:lnTo>
                  <a:lnTo>
                    <a:pt x="208" y="72"/>
                  </a:lnTo>
                  <a:lnTo>
                    <a:pt x="200" y="96"/>
                  </a:lnTo>
                  <a:lnTo>
                    <a:pt x="192" y="104"/>
                  </a:lnTo>
                  <a:lnTo>
                    <a:pt x="176" y="128"/>
                  </a:lnTo>
                  <a:lnTo>
                    <a:pt x="152" y="160"/>
                  </a:lnTo>
                  <a:lnTo>
                    <a:pt x="128" y="176"/>
                  </a:lnTo>
                  <a:lnTo>
                    <a:pt x="104" y="184"/>
                  </a:lnTo>
                  <a:lnTo>
                    <a:pt x="72" y="176"/>
                  </a:lnTo>
                  <a:lnTo>
                    <a:pt x="40" y="192"/>
                  </a:lnTo>
                  <a:lnTo>
                    <a:pt x="32" y="192"/>
                  </a:lnTo>
                  <a:lnTo>
                    <a:pt x="24" y="176"/>
                  </a:lnTo>
                  <a:lnTo>
                    <a:pt x="24" y="184"/>
                  </a:lnTo>
                  <a:lnTo>
                    <a:pt x="16" y="160"/>
                  </a:lnTo>
                  <a:lnTo>
                    <a:pt x="24" y="160"/>
                  </a:lnTo>
                  <a:lnTo>
                    <a:pt x="16" y="144"/>
                  </a:lnTo>
                  <a:lnTo>
                    <a:pt x="0" y="104"/>
                  </a:lnTo>
                  <a:lnTo>
                    <a:pt x="0" y="96"/>
                  </a:lnTo>
                  <a:lnTo>
                    <a:pt x="0" y="88"/>
                  </a:lnTo>
                  <a:lnTo>
                    <a:pt x="8" y="96"/>
                  </a:lnTo>
                  <a:lnTo>
                    <a:pt x="16" y="104"/>
                  </a:lnTo>
                  <a:lnTo>
                    <a:pt x="32" y="104"/>
                  </a:lnTo>
                  <a:lnTo>
                    <a:pt x="40" y="96"/>
                  </a:lnTo>
                  <a:lnTo>
                    <a:pt x="40" y="40"/>
                  </a:lnTo>
                  <a:lnTo>
                    <a:pt x="56" y="48"/>
                  </a:lnTo>
                  <a:lnTo>
                    <a:pt x="48" y="64"/>
                  </a:lnTo>
                  <a:lnTo>
                    <a:pt x="56" y="72"/>
                  </a:lnTo>
                  <a:lnTo>
                    <a:pt x="72" y="64"/>
                  </a:lnTo>
                  <a:lnTo>
                    <a:pt x="88" y="48"/>
                  </a:lnTo>
                  <a:lnTo>
                    <a:pt x="104" y="48"/>
                  </a:lnTo>
                  <a:lnTo>
                    <a:pt x="112" y="48"/>
                  </a:lnTo>
                  <a:lnTo>
                    <a:pt x="144" y="16"/>
                  </a:lnTo>
                  <a:lnTo>
                    <a:pt x="16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68" name="Freeform 82">
              <a:extLst>
                <a:ext uri="{FF2B5EF4-FFF2-40B4-BE49-F238E27FC236}">
                  <a16:creationId xmlns:a16="http://schemas.microsoft.com/office/drawing/2014/main" id="{EAEF37C5-0C76-6964-30EC-0B5342C15595}"/>
                </a:ext>
              </a:extLst>
            </p:cNvPr>
            <p:cNvSpPr>
              <a:spLocks/>
            </p:cNvSpPr>
            <p:nvPr/>
          </p:nvSpPr>
          <p:spPr bwMode="auto">
            <a:xfrm>
              <a:off x="4200282" y="3510228"/>
              <a:ext cx="360623" cy="379036"/>
            </a:xfrm>
            <a:custGeom>
              <a:avLst/>
              <a:gdLst>
                <a:gd name="T0" fmla="*/ 104 w 176"/>
                <a:gd name="T1" fmla="*/ 120 h 184"/>
                <a:gd name="T2" fmla="*/ 104 w 176"/>
                <a:gd name="T3" fmla="*/ 80 h 184"/>
                <a:gd name="T4" fmla="*/ 120 w 176"/>
                <a:gd name="T5" fmla="*/ 72 h 184"/>
                <a:gd name="T6" fmla="*/ 120 w 176"/>
                <a:gd name="T7" fmla="*/ 24 h 184"/>
                <a:gd name="T8" fmla="*/ 152 w 176"/>
                <a:gd name="T9" fmla="*/ 16 h 184"/>
                <a:gd name="T10" fmla="*/ 152 w 176"/>
                <a:gd name="T11" fmla="*/ 24 h 184"/>
                <a:gd name="T12" fmla="*/ 160 w 176"/>
                <a:gd name="T13" fmla="*/ 16 h 184"/>
                <a:gd name="T14" fmla="*/ 176 w 176"/>
                <a:gd name="T15" fmla="*/ 16 h 184"/>
                <a:gd name="T16" fmla="*/ 160 w 176"/>
                <a:gd name="T17" fmla="*/ 8 h 184"/>
                <a:gd name="T18" fmla="*/ 152 w 176"/>
                <a:gd name="T19" fmla="*/ 8 h 184"/>
                <a:gd name="T20" fmla="*/ 128 w 176"/>
                <a:gd name="T21" fmla="*/ 16 h 184"/>
                <a:gd name="T22" fmla="*/ 96 w 176"/>
                <a:gd name="T23" fmla="*/ 16 h 184"/>
                <a:gd name="T24" fmla="*/ 88 w 176"/>
                <a:gd name="T25" fmla="*/ 8 h 184"/>
                <a:gd name="T26" fmla="*/ 32 w 176"/>
                <a:gd name="T27" fmla="*/ 8 h 184"/>
                <a:gd name="T28" fmla="*/ 24 w 176"/>
                <a:gd name="T29" fmla="*/ 0 h 184"/>
                <a:gd name="T30" fmla="*/ 0 w 176"/>
                <a:gd name="T31" fmla="*/ 8 h 184"/>
                <a:gd name="T32" fmla="*/ 0 w 176"/>
                <a:gd name="T33" fmla="*/ 16 h 184"/>
                <a:gd name="T34" fmla="*/ 40 w 176"/>
                <a:gd name="T35" fmla="*/ 80 h 184"/>
                <a:gd name="T36" fmla="*/ 40 w 176"/>
                <a:gd name="T37" fmla="*/ 104 h 184"/>
                <a:gd name="T38" fmla="*/ 48 w 176"/>
                <a:gd name="T39" fmla="*/ 160 h 184"/>
                <a:gd name="T40" fmla="*/ 64 w 176"/>
                <a:gd name="T41" fmla="*/ 176 h 184"/>
                <a:gd name="T42" fmla="*/ 64 w 176"/>
                <a:gd name="T43" fmla="*/ 168 h 184"/>
                <a:gd name="T44" fmla="*/ 72 w 176"/>
                <a:gd name="T45" fmla="*/ 176 h 184"/>
                <a:gd name="T46" fmla="*/ 80 w 176"/>
                <a:gd name="T47" fmla="*/ 184 h 184"/>
                <a:gd name="T48" fmla="*/ 96 w 176"/>
                <a:gd name="T49" fmla="*/ 184 h 184"/>
                <a:gd name="T50" fmla="*/ 104 w 176"/>
                <a:gd name="T51" fmla="*/ 176 h 184"/>
                <a:gd name="T52" fmla="*/ 104 w 176"/>
                <a:gd name="T53" fmla="*/ 12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6" h="184">
                  <a:moveTo>
                    <a:pt x="104" y="120"/>
                  </a:moveTo>
                  <a:lnTo>
                    <a:pt x="104" y="80"/>
                  </a:lnTo>
                  <a:lnTo>
                    <a:pt x="120" y="72"/>
                  </a:lnTo>
                  <a:lnTo>
                    <a:pt x="120" y="24"/>
                  </a:lnTo>
                  <a:lnTo>
                    <a:pt x="152" y="16"/>
                  </a:lnTo>
                  <a:lnTo>
                    <a:pt x="152" y="24"/>
                  </a:lnTo>
                  <a:lnTo>
                    <a:pt x="160" y="16"/>
                  </a:lnTo>
                  <a:lnTo>
                    <a:pt x="176" y="16"/>
                  </a:lnTo>
                  <a:lnTo>
                    <a:pt x="160" y="8"/>
                  </a:lnTo>
                  <a:lnTo>
                    <a:pt x="152" y="8"/>
                  </a:lnTo>
                  <a:lnTo>
                    <a:pt x="128" y="16"/>
                  </a:lnTo>
                  <a:lnTo>
                    <a:pt x="96" y="16"/>
                  </a:lnTo>
                  <a:lnTo>
                    <a:pt x="88" y="8"/>
                  </a:lnTo>
                  <a:lnTo>
                    <a:pt x="32" y="8"/>
                  </a:lnTo>
                  <a:lnTo>
                    <a:pt x="24" y="0"/>
                  </a:lnTo>
                  <a:lnTo>
                    <a:pt x="0" y="8"/>
                  </a:lnTo>
                  <a:lnTo>
                    <a:pt x="0" y="16"/>
                  </a:lnTo>
                  <a:lnTo>
                    <a:pt x="40" y="80"/>
                  </a:lnTo>
                  <a:lnTo>
                    <a:pt x="40" y="104"/>
                  </a:lnTo>
                  <a:lnTo>
                    <a:pt x="48" y="160"/>
                  </a:lnTo>
                  <a:lnTo>
                    <a:pt x="64" y="176"/>
                  </a:lnTo>
                  <a:lnTo>
                    <a:pt x="64" y="168"/>
                  </a:lnTo>
                  <a:lnTo>
                    <a:pt x="72" y="176"/>
                  </a:lnTo>
                  <a:lnTo>
                    <a:pt x="80" y="184"/>
                  </a:lnTo>
                  <a:lnTo>
                    <a:pt x="96" y="184"/>
                  </a:lnTo>
                  <a:lnTo>
                    <a:pt x="104" y="176"/>
                  </a:lnTo>
                  <a:lnTo>
                    <a:pt x="104" y="12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69" name="Freeform 83">
              <a:extLst>
                <a:ext uri="{FF2B5EF4-FFF2-40B4-BE49-F238E27FC236}">
                  <a16:creationId xmlns:a16="http://schemas.microsoft.com/office/drawing/2014/main" id="{7F6C1041-2E5E-447C-7B80-8A93E997236D}"/>
                </a:ext>
              </a:extLst>
            </p:cNvPr>
            <p:cNvSpPr>
              <a:spLocks/>
            </p:cNvSpPr>
            <p:nvPr/>
          </p:nvSpPr>
          <p:spPr bwMode="auto">
            <a:xfrm>
              <a:off x="4200281" y="3164400"/>
              <a:ext cx="344096" cy="379035"/>
            </a:xfrm>
            <a:custGeom>
              <a:avLst/>
              <a:gdLst>
                <a:gd name="T0" fmla="*/ 24 w 168"/>
                <a:gd name="T1" fmla="*/ 0 h 184"/>
                <a:gd name="T2" fmla="*/ 56 w 168"/>
                <a:gd name="T3" fmla="*/ 0 h 184"/>
                <a:gd name="T4" fmla="*/ 64 w 168"/>
                <a:gd name="T5" fmla="*/ 0 h 184"/>
                <a:gd name="T6" fmla="*/ 72 w 168"/>
                <a:gd name="T7" fmla="*/ 24 h 184"/>
                <a:gd name="T8" fmla="*/ 80 w 168"/>
                <a:gd name="T9" fmla="*/ 32 h 184"/>
                <a:gd name="T10" fmla="*/ 104 w 168"/>
                <a:gd name="T11" fmla="*/ 32 h 184"/>
                <a:gd name="T12" fmla="*/ 104 w 168"/>
                <a:gd name="T13" fmla="*/ 16 h 184"/>
                <a:gd name="T14" fmla="*/ 120 w 168"/>
                <a:gd name="T15" fmla="*/ 16 h 184"/>
                <a:gd name="T16" fmla="*/ 136 w 168"/>
                <a:gd name="T17" fmla="*/ 24 h 184"/>
                <a:gd name="T18" fmla="*/ 136 w 168"/>
                <a:gd name="T19" fmla="*/ 56 h 184"/>
                <a:gd name="T20" fmla="*/ 144 w 168"/>
                <a:gd name="T21" fmla="*/ 72 h 184"/>
                <a:gd name="T22" fmla="*/ 136 w 168"/>
                <a:gd name="T23" fmla="*/ 80 h 184"/>
                <a:gd name="T24" fmla="*/ 168 w 168"/>
                <a:gd name="T25" fmla="*/ 72 h 184"/>
                <a:gd name="T26" fmla="*/ 160 w 168"/>
                <a:gd name="T27" fmla="*/ 104 h 184"/>
                <a:gd name="T28" fmla="*/ 168 w 168"/>
                <a:gd name="T29" fmla="*/ 104 h 184"/>
                <a:gd name="T30" fmla="*/ 136 w 168"/>
                <a:gd name="T31" fmla="*/ 112 h 184"/>
                <a:gd name="T32" fmla="*/ 136 w 168"/>
                <a:gd name="T33" fmla="*/ 160 h 184"/>
                <a:gd name="T34" fmla="*/ 152 w 168"/>
                <a:gd name="T35" fmla="*/ 176 h 184"/>
                <a:gd name="T36" fmla="*/ 128 w 168"/>
                <a:gd name="T37" fmla="*/ 184 h 184"/>
                <a:gd name="T38" fmla="*/ 96 w 168"/>
                <a:gd name="T39" fmla="*/ 184 h 184"/>
                <a:gd name="T40" fmla="*/ 88 w 168"/>
                <a:gd name="T41" fmla="*/ 176 h 184"/>
                <a:gd name="T42" fmla="*/ 32 w 168"/>
                <a:gd name="T43" fmla="*/ 176 h 184"/>
                <a:gd name="T44" fmla="*/ 24 w 168"/>
                <a:gd name="T45" fmla="*/ 168 h 184"/>
                <a:gd name="T46" fmla="*/ 0 w 168"/>
                <a:gd name="T47" fmla="*/ 176 h 184"/>
                <a:gd name="T48" fmla="*/ 0 w 168"/>
                <a:gd name="T49" fmla="*/ 152 h 184"/>
                <a:gd name="T50" fmla="*/ 16 w 168"/>
                <a:gd name="T51" fmla="*/ 112 h 184"/>
                <a:gd name="T52" fmla="*/ 24 w 168"/>
                <a:gd name="T53" fmla="*/ 96 h 184"/>
                <a:gd name="T54" fmla="*/ 32 w 168"/>
                <a:gd name="T55" fmla="*/ 80 h 184"/>
                <a:gd name="T56" fmla="*/ 16 w 168"/>
                <a:gd name="T57" fmla="*/ 48 h 184"/>
                <a:gd name="T58" fmla="*/ 24 w 168"/>
                <a:gd name="T59" fmla="*/ 40 h 184"/>
                <a:gd name="T60" fmla="*/ 8 w 168"/>
                <a:gd name="T61" fmla="*/ 8 h 184"/>
                <a:gd name="T62" fmla="*/ 24 w 168"/>
                <a:gd name="T6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84">
                  <a:moveTo>
                    <a:pt x="24" y="0"/>
                  </a:moveTo>
                  <a:lnTo>
                    <a:pt x="56" y="0"/>
                  </a:lnTo>
                  <a:lnTo>
                    <a:pt x="64" y="0"/>
                  </a:lnTo>
                  <a:lnTo>
                    <a:pt x="72" y="24"/>
                  </a:lnTo>
                  <a:lnTo>
                    <a:pt x="80" y="32"/>
                  </a:lnTo>
                  <a:lnTo>
                    <a:pt x="104" y="32"/>
                  </a:lnTo>
                  <a:lnTo>
                    <a:pt x="104" y="16"/>
                  </a:lnTo>
                  <a:lnTo>
                    <a:pt x="120" y="16"/>
                  </a:lnTo>
                  <a:lnTo>
                    <a:pt x="136" y="24"/>
                  </a:lnTo>
                  <a:lnTo>
                    <a:pt x="136" y="56"/>
                  </a:lnTo>
                  <a:lnTo>
                    <a:pt x="144" y="72"/>
                  </a:lnTo>
                  <a:lnTo>
                    <a:pt x="136" y="80"/>
                  </a:lnTo>
                  <a:lnTo>
                    <a:pt x="168" y="72"/>
                  </a:lnTo>
                  <a:lnTo>
                    <a:pt x="160" y="104"/>
                  </a:lnTo>
                  <a:lnTo>
                    <a:pt x="168" y="104"/>
                  </a:lnTo>
                  <a:lnTo>
                    <a:pt x="136" y="112"/>
                  </a:lnTo>
                  <a:lnTo>
                    <a:pt x="136" y="160"/>
                  </a:lnTo>
                  <a:lnTo>
                    <a:pt x="152" y="176"/>
                  </a:lnTo>
                  <a:lnTo>
                    <a:pt x="128" y="184"/>
                  </a:lnTo>
                  <a:lnTo>
                    <a:pt x="96" y="184"/>
                  </a:lnTo>
                  <a:lnTo>
                    <a:pt x="88" y="176"/>
                  </a:lnTo>
                  <a:lnTo>
                    <a:pt x="32" y="176"/>
                  </a:lnTo>
                  <a:lnTo>
                    <a:pt x="24" y="168"/>
                  </a:lnTo>
                  <a:lnTo>
                    <a:pt x="0" y="176"/>
                  </a:lnTo>
                  <a:lnTo>
                    <a:pt x="0" y="152"/>
                  </a:lnTo>
                  <a:lnTo>
                    <a:pt x="16" y="112"/>
                  </a:lnTo>
                  <a:lnTo>
                    <a:pt x="24" y="96"/>
                  </a:lnTo>
                  <a:lnTo>
                    <a:pt x="32" y="80"/>
                  </a:lnTo>
                  <a:lnTo>
                    <a:pt x="16" y="48"/>
                  </a:lnTo>
                  <a:lnTo>
                    <a:pt x="24" y="40"/>
                  </a:lnTo>
                  <a:lnTo>
                    <a:pt x="8" y="8"/>
                  </a:lnTo>
                  <a:lnTo>
                    <a:pt x="24"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70" name="Freeform 84">
              <a:extLst>
                <a:ext uri="{FF2B5EF4-FFF2-40B4-BE49-F238E27FC236}">
                  <a16:creationId xmlns:a16="http://schemas.microsoft.com/office/drawing/2014/main" id="{2C915332-D082-A720-442D-E04A9C5A7F35}"/>
                </a:ext>
              </a:extLst>
            </p:cNvPr>
            <p:cNvSpPr>
              <a:spLocks/>
            </p:cNvSpPr>
            <p:nvPr/>
          </p:nvSpPr>
          <p:spPr bwMode="auto">
            <a:xfrm>
              <a:off x="4216809" y="3114568"/>
              <a:ext cx="16528" cy="49834"/>
            </a:xfrm>
            <a:custGeom>
              <a:avLst/>
              <a:gdLst>
                <a:gd name="T0" fmla="*/ 8 w 8"/>
                <a:gd name="T1" fmla="*/ 8 h 24"/>
                <a:gd name="T2" fmla="*/ 0 w 8"/>
                <a:gd name="T3" fmla="*/ 8 h 24"/>
                <a:gd name="T4" fmla="*/ 0 w 8"/>
                <a:gd name="T5" fmla="*/ 24 h 24"/>
                <a:gd name="T6" fmla="*/ 0 w 8"/>
                <a:gd name="T7" fmla="*/ 16 h 24"/>
                <a:gd name="T8" fmla="*/ 0 w 8"/>
                <a:gd name="T9" fmla="*/ 8 h 24"/>
                <a:gd name="T10" fmla="*/ 8 w 8"/>
                <a:gd name="T11" fmla="*/ 0 h 24"/>
                <a:gd name="T12" fmla="*/ 8 w 8"/>
                <a:gd name="T13" fmla="*/ 8 h 24"/>
              </a:gdLst>
              <a:ahLst/>
              <a:cxnLst>
                <a:cxn ang="0">
                  <a:pos x="T0" y="T1"/>
                </a:cxn>
                <a:cxn ang="0">
                  <a:pos x="T2" y="T3"/>
                </a:cxn>
                <a:cxn ang="0">
                  <a:pos x="T4" y="T5"/>
                </a:cxn>
                <a:cxn ang="0">
                  <a:pos x="T6" y="T7"/>
                </a:cxn>
                <a:cxn ang="0">
                  <a:pos x="T8" y="T9"/>
                </a:cxn>
                <a:cxn ang="0">
                  <a:pos x="T10" y="T11"/>
                </a:cxn>
                <a:cxn ang="0">
                  <a:pos x="T12" y="T13"/>
                </a:cxn>
              </a:cxnLst>
              <a:rect l="0" t="0" r="r" b="b"/>
              <a:pathLst>
                <a:path w="8" h="24">
                  <a:moveTo>
                    <a:pt x="8" y="8"/>
                  </a:moveTo>
                  <a:lnTo>
                    <a:pt x="0" y="8"/>
                  </a:lnTo>
                  <a:lnTo>
                    <a:pt x="0" y="24"/>
                  </a:lnTo>
                  <a:lnTo>
                    <a:pt x="0" y="16"/>
                  </a:lnTo>
                  <a:lnTo>
                    <a:pt x="0" y="8"/>
                  </a:lnTo>
                  <a:lnTo>
                    <a:pt x="8" y="0"/>
                  </a:lnTo>
                  <a:lnTo>
                    <a:pt x="8"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71" name="Freeform 85">
              <a:extLst>
                <a:ext uri="{FF2B5EF4-FFF2-40B4-BE49-F238E27FC236}">
                  <a16:creationId xmlns:a16="http://schemas.microsoft.com/office/drawing/2014/main" id="{51DD9B29-9713-3E96-077F-C602922ACF09}"/>
                </a:ext>
              </a:extLst>
            </p:cNvPr>
            <p:cNvSpPr>
              <a:spLocks/>
            </p:cNvSpPr>
            <p:nvPr/>
          </p:nvSpPr>
          <p:spPr bwMode="auto">
            <a:xfrm>
              <a:off x="4119142" y="2570935"/>
              <a:ext cx="195338" cy="362426"/>
            </a:xfrm>
            <a:custGeom>
              <a:avLst/>
              <a:gdLst>
                <a:gd name="T0" fmla="*/ 72 w 96"/>
                <a:gd name="T1" fmla="*/ 0 h 176"/>
                <a:gd name="T2" fmla="*/ 72 w 96"/>
                <a:gd name="T3" fmla="*/ 8 h 176"/>
                <a:gd name="T4" fmla="*/ 72 w 96"/>
                <a:gd name="T5" fmla="*/ 24 h 176"/>
                <a:gd name="T6" fmla="*/ 64 w 96"/>
                <a:gd name="T7" fmla="*/ 32 h 176"/>
                <a:gd name="T8" fmla="*/ 56 w 96"/>
                <a:gd name="T9" fmla="*/ 64 h 176"/>
                <a:gd name="T10" fmla="*/ 48 w 96"/>
                <a:gd name="T11" fmla="*/ 72 h 176"/>
                <a:gd name="T12" fmla="*/ 40 w 96"/>
                <a:gd name="T13" fmla="*/ 96 h 176"/>
                <a:gd name="T14" fmla="*/ 32 w 96"/>
                <a:gd name="T15" fmla="*/ 104 h 176"/>
                <a:gd name="T16" fmla="*/ 24 w 96"/>
                <a:gd name="T17" fmla="*/ 96 h 176"/>
                <a:gd name="T18" fmla="*/ 16 w 96"/>
                <a:gd name="T19" fmla="*/ 96 h 176"/>
                <a:gd name="T20" fmla="*/ 0 w 96"/>
                <a:gd name="T21" fmla="*/ 128 h 176"/>
                <a:gd name="T22" fmla="*/ 0 w 96"/>
                <a:gd name="T23" fmla="*/ 136 h 176"/>
                <a:gd name="T24" fmla="*/ 8 w 96"/>
                <a:gd name="T25" fmla="*/ 136 h 176"/>
                <a:gd name="T26" fmla="*/ 16 w 96"/>
                <a:gd name="T27" fmla="*/ 152 h 176"/>
                <a:gd name="T28" fmla="*/ 16 w 96"/>
                <a:gd name="T29" fmla="*/ 168 h 176"/>
                <a:gd name="T30" fmla="*/ 32 w 96"/>
                <a:gd name="T31" fmla="*/ 168 h 176"/>
                <a:gd name="T32" fmla="*/ 64 w 96"/>
                <a:gd name="T33" fmla="*/ 168 h 176"/>
                <a:gd name="T34" fmla="*/ 96 w 96"/>
                <a:gd name="T35" fmla="*/ 176 h 176"/>
                <a:gd name="T36" fmla="*/ 96 w 96"/>
                <a:gd name="T37" fmla="*/ 152 h 176"/>
                <a:gd name="T38" fmla="*/ 80 w 96"/>
                <a:gd name="T39" fmla="*/ 128 h 176"/>
                <a:gd name="T40" fmla="*/ 80 w 96"/>
                <a:gd name="T41" fmla="*/ 112 h 176"/>
                <a:gd name="T42" fmla="*/ 88 w 96"/>
                <a:gd name="T43" fmla="*/ 88 h 176"/>
                <a:gd name="T44" fmla="*/ 80 w 96"/>
                <a:gd name="T45" fmla="*/ 64 h 176"/>
                <a:gd name="T46" fmla="*/ 72 w 96"/>
                <a:gd name="T47" fmla="*/ 56 h 176"/>
                <a:gd name="T48" fmla="*/ 72 w 96"/>
                <a:gd name="T49" fmla="*/ 48 h 176"/>
                <a:gd name="T50" fmla="*/ 88 w 96"/>
                <a:gd name="T51" fmla="*/ 48 h 176"/>
                <a:gd name="T52" fmla="*/ 80 w 96"/>
                <a:gd name="T53" fmla="*/ 32 h 176"/>
                <a:gd name="T54" fmla="*/ 80 w 96"/>
                <a:gd name="T55" fmla="*/ 8 h 176"/>
                <a:gd name="T56" fmla="*/ 72 w 96"/>
                <a:gd name="T5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176">
                  <a:moveTo>
                    <a:pt x="72" y="0"/>
                  </a:moveTo>
                  <a:lnTo>
                    <a:pt x="72" y="8"/>
                  </a:lnTo>
                  <a:lnTo>
                    <a:pt x="72" y="24"/>
                  </a:lnTo>
                  <a:lnTo>
                    <a:pt x="64" y="32"/>
                  </a:lnTo>
                  <a:lnTo>
                    <a:pt x="56" y="64"/>
                  </a:lnTo>
                  <a:lnTo>
                    <a:pt x="48" y="72"/>
                  </a:lnTo>
                  <a:lnTo>
                    <a:pt x="40" y="96"/>
                  </a:lnTo>
                  <a:lnTo>
                    <a:pt x="32" y="104"/>
                  </a:lnTo>
                  <a:lnTo>
                    <a:pt x="24" y="96"/>
                  </a:lnTo>
                  <a:lnTo>
                    <a:pt x="16" y="96"/>
                  </a:lnTo>
                  <a:lnTo>
                    <a:pt x="0" y="128"/>
                  </a:lnTo>
                  <a:lnTo>
                    <a:pt x="0" y="136"/>
                  </a:lnTo>
                  <a:lnTo>
                    <a:pt x="8" y="136"/>
                  </a:lnTo>
                  <a:lnTo>
                    <a:pt x="16" y="152"/>
                  </a:lnTo>
                  <a:lnTo>
                    <a:pt x="16" y="168"/>
                  </a:lnTo>
                  <a:lnTo>
                    <a:pt x="32" y="168"/>
                  </a:lnTo>
                  <a:lnTo>
                    <a:pt x="64" y="168"/>
                  </a:lnTo>
                  <a:lnTo>
                    <a:pt x="96" y="176"/>
                  </a:lnTo>
                  <a:lnTo>
                    <a:pt x="96" y="152"/>
                  </a:lnTo>
                  <a:lnTo>
                    <a:pt x="80" y="128"/>
                  </a:lnTo>
                  <a:lnTo>
                    <a:pt x="80" y="112"/>
                  </a:lnTo>
                  <a:lnTo>
                    <a:pt x="88" y="88"/>
                  </a:lnTo>
                  <a:lnTo>
                    <a:pt x="80" y="64"/>
                  </a:lnTo>
                  <a:lnTo>
                    <a:pt x="72" y="56"/>
                  </a:lnTo>
                  <a:lnTo>
                    <a:pt x="72" y="48"/>
                  </a:lnTo>
                  <a:lnTo>
                    <a:pt x="88" y="48"/>
                  </a:lnTo>
                  <a:lnTo>
                    <a:pt x="80" y="32"/>
                  </a:lnTo>
                  <a:lnTo>
                    <a:pt x="80" y="8"/>
                  </a:lnTo>
                  <a:lnTo>
                    <a:pt x="72"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72" name="Freeform 86">
              <a:extLst>
                <a:ext uri="{FF2B5EF4-FFF2-40B4-BE49-F238E27FC236}">
                  <a16:creationId xmlns:a16="http://schemas.microsoft.com/office/drawing/2014/main" id="{C6E50F3C-3D2B-1319-A6B3-27973447F4C1}"/>
                </a:ext>
              </a:extLst>
            </p:cNvPr>
            <p:cNvSpPr>
              <a:spLocks/>
            </p:cNvSpPr>
            <p:nvPr/>
          </p:nvSpPr>
          <p:spPr bwMode="auto">
            <a:xfrm>
              <a:off x="4183753" y="2868434"/>
              <a:ext cx="213369" cy="262760"/>
            </a:xfrm>
            <a:custGeom>
              <a:avLst/>
              <a:gdLst>
                <a:gd name="T0" fmla="*/ 24 w 104"/>
                <a:gd name="T1" fmla="*/ 120 h 128"/>
                <a:gd name="T2" fmla="*/ 24 w 104"/>
                <a:gd name="T3" fmla="*/ 128 h 128"/>
                <a:gd name="T4" fmla="*/ 32 w 104"/>
                <a:gd name="T5" fmla="*/ 128 h 128"/>
                <a:gd name="T6" fmla="*/ 40 w 104"/>
                <a:gd name="T7" fmla="*/ 120 h 128"/>
                <a:gd name="T8" fmla="*/ 48 w 104"/>
                <a:gd name="T9" fmla="*/ 128 h 128"/>
                <a:gd name="T10" fmla="*/ 64 w 104"/>
                <a:gd name="T11" fmla="*/ 112 h 128"/>
                <a:gd name="T12" fmla="*/ 72 w 104"/>
                <a:gd name="T13" fmla="*/ 88 h 128"/>
                <a:gd name="T14" fmla="*/ 88 w 104"/>
                <a:gd name="T15" fmla="*/ 64 h 128"/>
                <a:gd name="T16" fmla="*/ 96 w 104"/>
                <a:gd name="T17" fmla="*/ 24 h 128"/>
                <a:gd name="T18" fmla="*/ 104 w 104"/>
                <a:gd name="T19" fmla="*/ 0 h 128"/>
                <a:gd name="T20" fmla="*/ 88 w 104"/>
                <a:gd name="T21" fmla="*/ 0 h 128"/>
                <a:gd name="T22" fmla="*/ 80 w 104"/>
                <a:gd name="T23" fmla="*/ 0 h 128"/>
                <a:gd name="T24" fmla="*/ 72 w 104"/>
                <a:gd name="T25" fmla="*/ 0 h 128"/>
                <a:gd name="T26" fmla="*/ 64 w 104"/>
                <a:gd name="T27" fmla="*/ 8 h 128"/>
                <a:gd name="T28" fmla="*/ 64 w 104"/>
                <a:gd name="T29" fmla="*/ 32 h 128"/>
                <a:gd name="T30" fmla="*/ 32 w 104"/>
                <a:gd name="T31" fmla="*/ 24 h 128"/>
                <a:gd name="T32" fmla="*/ 40 w 104"/>
                <a:gd name="T33" fmla="*/ 24 h 128"/>
                <a:gd name="T34" fmla="*/ 40 w 104"/>
                <a:gd name="T35" fmla="*/ 32 h 128"/>
                <a:gd name="T36" fmla="*/ 40 w 104"/>
                <a:gd name="T37" fmla="*/ 40 h 128"/>
                <a:gd name="T38" fmla="*/ 40 w 104"/>
                <a:gd name="T39" fmla="*/ 48 h 128"/>
                <a:gd name="T40" fmla="*/ 40 w 104"/>
                <a:gd name="T41" fmla="*/ 72 h 128"/>
                <a:gd name="T42" fmla="*/ 40 w 104"/>
                <a:gd name="T43" fmla="*/ 88 h 128"/>
                <a:gd name="T44" fmla="*/ 24 w 104"/>
                <a:gd name="T45" fmla="*/ 80 h 128"/>
                <a:gd name="T46" fmla="*/ 8 w 104"/>
                <a:gd name="T47" fmla="*/ 96 h 128"/>
                <a:gd name="T48" fmla="*/ 8 w 104"/>
                <a:gd name="T49" fmla="*/ 104 h 128"/>
                <a:gd name="T50" fmla="*/ 0 w 104"/>
                <a:gd name="T51" fmla="*/ 120 h 128"/>
                <a:gd name="T52" fmla="*/ 16 w 104"/>
                <a:gd name="T53" fmla="*/ 128 h 128"/>
                <a:gd name="T54" fmla="*/ 24 w 104"/>
                <a:gd name="T55"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4" h="128">
                  <a:moveTo>
                    <a:pt x="24" y="120"/>
                  </a:moveTo>
                  <a:lnTo>
                    <a:pt x="24" y="128"/>
                  </a:lnTo>
                  <a:lnTo>
                    <a:pt x="32" y="128"/>
                  </a:lnTo>
                  <a:lnTo>
                    <a:pt x="40" y="120"/>
                  </a:lnTo>
                  <a:lnTo>
                    <a:pt x="48" y="128"/>
                  </a:lnTo>
                  <a:lnTo>
                    <a:pt x="64" y="112"/>
                  </a:lnTo>
                  <a:lnTo>
                    <a:pt x="72" y="88"/>
                  </a:lnTo>
                  <a:lnTo>
                    <a:pt x="88" y="64"/>
                  </a:lnTo>
                  <a:lnTo>
                    <a:pt x="96" y="24"/>
                  </a:lnTo>
                  <a:lnTo>
                    <a:pt x="104" y="0"/>
                  </a:lnTo>
                  <a:lnTo>
                    <a:pt x="88" y="0"/>
                  </a:lnTo>
                  <a:lnTo>
                    <a:pt x="80" y="0"/>
                  </a:lnTo>
                  <a:lnTo>
                    <a:pt x="72" y="0"/>
                  </a:lnTo>
                  <a:lnTo>
                    <a:pt x="64" y="8"/>
                  </a:lnTo>
                  <a:lnTo>
                    <a:pt x="64" y="32"/>
                  </a:lnTo>
                  <a:lnTo>
                    <a:pt x="32" y="24"/>
                  </a:lnTo>
                  <a:lnTo>
                    <a:pt x="40" y="24"/>
                  </a:lnTo>
                  <a:lnTo>
                    <a:pt x="40" y="32"/>
                  </a:lnTo>
                  <a:lnTo>
                    <a:pt x="40" y="40"/>
                  </a:lnTo>
                  <a:lnTo>
                    <a:pt x="40" y="48"/>
                  </a:lnTo>
                  <a:lnTo>
                    <a:pt x="40" y="72"/>
                  </a:lnTo>
                  <a:lnTo>
                    <a:pt x="40" y="88"/>
                  </a:lnTo>
                  <a:lnTo>
                    <a:pt x="24" y="80"/>
                  </a:lnTo>
                  <a:lnTo>
                    <a:pt x="8" y="96"/>
                  </a:lnTo>
                  <a:lnTo>
                    <a:pt x="8" y="104"/>
                  </a:lnTo>
                  <a:lnTo>
                    <a:pt x="0" y="120"/>
                  </a:lnTo>
                  <a:lnTo>
                    <a:pt x="16" y="128"/>
                  </a:lnTo>
                  <a:lnTo>
                    <a:pt x="24" y="12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73" name="Freeform 87">
              <a:extLst>
                <a:ext uri="{FF2B5EF4-FFF2-40B4-BE49-F238E27FC236}">
                  <a16:creationId xmlns:a16="http://schemas.microsoft.com/office/drawing/2014/main" id="{127B0E21-3159-2980-30F0-99F2963D10CA}"/>
                </a:ext>
              </a:extLst>
            </p:cNvPr>
            <p:cNvSpPr>
              <a:spLocks/>
            </p:cNvSpPr>
            <p:nvPr/>
          </p:nvSpPr>
          <p:spPr bwMode="auto">
            <a:xfrm>
              <a:off x="4119141" y="2916750"/>
              <a:ext cx="147255" cy="197824"/>
            </a:xfrm>
            <a:custGeom>
              <a:avLst/>
              <a:gdLst>
                <a:gd name="T0" fmla="*/ 72 w 72"/>
                <a:gd name="T1" fmla="*/ 0 h 96"/>
                <a:gd name="T2" fmla="*/ 72 w 72"/>
                <a:gd name="T3" fmla="*/ 8 h 96"/>
                <a:gd name="T4" fmla="*/ 72 w 72"/>
                <a:gd name="T5" fmla="*/ 16 h 96"/>
                <a:gd name="T6" fmla="*/ 72 w 72"/>
                <a:gd name="T7" fmla="*/ 24 h 96"/>
                <a:gd name="T8" fmla="*/ 72 w 72"/>
                <a:gd name="T9" fmla="*/ 48 h 96"/>
                <a:gd name="T10" fmla="*/ 72 w 72"/>
                <a:gd name="T11" fmla="*/ 64 h 96"/>
                <a:gd name="T12" fmla="*/ 56 w 72"/>
                <a:gd name="T13" fmla="*/ 56 h 96"/>
                <a:gd name="T14" fmla="*/ 40 w 72"/>
                <a:gd name="T15" fmla="*/ 72 h 96"/>
                <a:gd name="T16" fmla="*/ 40 w 72"/>
                <a:gd name="T17" fmla="*/ 80 h 96"/>
                <a:gd name="T18" fmla="*/ 32 w 72"/>
                <a:gd name="T19" fmla="*/ 96 h 96"/>
                <a:gd name="T20" fmla="*/ 16 w 72"/>
                <a:gd name="T21" fmla="*/ 72 h 96"/>
                <a:gd name="T22" fmla="*/ 0 w 72"/>
                <a:gd name="T23" fmla="*/ 40 h 96"/>
                <a:gd name="T24" fmla="*/ 8 w 72"/>
                <a:gd name="T25" fmla="*/ 40 h 96"/>
                <a:gd name="T26" fmla="*/ 8 w 72"/>
                <a:gd name="T27" fmla="*/ 32 h 96"/>
                <a:gd name="T28" fmla="*/ 16 w 72"/>
                <a:gd name="T29" fmla="*/ 16 h 96"/>
                <a:gd name="T30" fmla="*/ 32 w 72"/>
                <a:gd name="T31" fmla="*/ 16 h 96"/>
                <a:gd name="T32" fmla="*/ 32 w 72"/>
                <a:gd name="T33" fmla="*/ 0 h 96"/>
                <a:gd name="T34" fmla="*/ 64 w 72"/>
                <a:gd name="T35" fmla="*/ 0 h 96"/>
                <a:gd name="T36" fmla="*/ 72 w 72"/>
                <a:gd name="T3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96">
                  <a:moveTo>
                    <a:pt x="72" y="0"/>
                  </a:moveTo>
                  <a:lnTo>
                    <a:pt x="72" y="8"/>
                  </a:lnTo>
                  <a:lnTo>
                    <a:pt x="72" y="16"/>
                  </a:lnTo>
                  <a:lnTo>
                    <a:pt x="72" y="24"/>
                  </a:lnTo>
                  <a:lnTo>
                    <a:pt x="72" y="48"/>
                  </a:lnTo>
                  <a:lnTo>
                    <a:pt x="72" y="64"/>
                  </a:lnTo>
                  <a:lnTo>
                    <a:pt x="56" y="56"/>
                  </a:lnTo>
                  <a:lnTo>
                    <a:pt x="40" y="72"/>
                  </a:lnTo>
                  <a:lnTo>
                    <a:pt x="40" y="80"/>
                  </a:lnTo>
                  <a:lnTo>
                    <a:pt x="32" y="96"/>
                  </a:lnTo>
                  <a:lnTo>
                    <a:pt x="16" y="72"/>
                  </a:lnTo>
                  <a:lnTo>
                    <a:pt x="0" y="40"/>
                  </a:lnTo>
                  <a:lnTo>
                    <a:pt x="8" y="40"/>
                  </a:lnTo>
                  <a:lnTo>
                    <a:pt x="8" y="32"/>
                  </a:lnTo>
                  <a:lnTo>
                    <a:pt x="16" y="16"/>
                  </a:lnTo>
                  <a:lnTo>
                    <a:pt x="32" y="16"/>
                  </a:lnTo>
                  <a:lnTo>
                    <a:pt x="32" y="0"/>
                  </a:lnTo>
                  <a:lnTo>
                    <a:pt x="64" y="0"/>
                  </a:lnTo>
                  <a:lnTo>
                    <a:pt x="72"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74" name="Freeform 88">
              <a:extLst>
                <a:ext uri="{FF2B5EF4-FFF2-40B4-BE49-F238E27FC236}">
                  <a16:creationId xmlns:a16="http://schemas.microsoft.com/office/drawing/2014/main" id="{11721A60-A430-EBA3-9E4F-487528BB06A6}"/>
                </a:ext>
              </a:extLst>
            </p:cNvPr>
            <p:cNvSpPr>
              <a:spLocks/>
            </p:cNvSpPr>
            <p:nvPr/>
          </p:nvSpPr>
          <p:spPr bwMode="auto">
            <a:xfrm>
              <a:off x="4135672" y="2916756"/>
              <a:ext cx="48086" cy="33223"/>
            </a:xfrm>
            <a:custGeom>
              <a:avLst/>
              <a:gdLst>
                <a:gd name="T0" fmla="*/ 24 w 24"/>
                <a:gd name="T1" fmla="*/ 16 h 16"/>
                <a:gd name="T2" fmla="*/ 24 w 24"/>
                <a:gd name="T3" fmla="*/ 0 h 16"/>
                <a:gd name="T4" fmla="*/ 8 w 24"/>
                <a:gd name="T5" fmla="*/ 0 h 16"/>
                <a:gd name="T6" fmla="*/ 0 w 24"/>
                <a:gd name="T7" fmla="*/ 16 h 16"/>
                <a:gd name="T8" fmla="*/ 24 w 24"/>
                <a:gd name="T9" fmla="*/ 16 h 16"/>
              </a:gdLst>
              <a:ahLst/>
              <a:cxnLst>
                <a:cxn ang="0">
                  <a:pos x="T0" y="T1"/>
                </a:cxn>
                <a:cxn ang="0">
                  <a:pos x="T2" y="T3"/>
                </a:cxn>
                <a:cxn ang="0">
                  <a:pos x="T4" y="T5"/>
                </a:cxn>
                <a:cxn ang="0">
                  <a:pos x="T6" y="T7"/>
                </a:cxn>
                <a:cxn ang="0">
                  <a:pos x="T8" y="T9"/>
                </a:cxn>
              </a:cxnLst>
              <a:rect l="0" t="0" r="r" b="b"/>
              <a:pathLst>
                <a:path w="24" h="16">
                  <a:moveTo>
                    <a:pt x="24" y="16"/>
                  </a:moveTo>
                  <a:lnTo>
                    <a:pt x="24" y="0"/>
                  </a:lnTo>
                  <a:lnTo>
                    <a:pt x="8" y="0"/>
                  </a:lnTo>
                  <a:lnTo>
                    <a:pt x="0" y="16"/>
                  </a:lnTo>
                  <a:lnTo>
                    <a:pt x="24"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75" name="Freeform 89">
              <a:extLst>
                <a:ext uri="{FF2B5EF4-FFF2-40B4-BE49-F238E27FC236}">
                  <a16:creationId xmlns:a16="http://schemas.microsoft.com/office/drawing/2014/main" id="{0B56FA8A-4726-0EED-7AEB-6CA03123518E}"/>
                </a:ext>
              </a:extLst>
            </p:cNvPr>
            <p:cNvSpPr>
              <a:spLocks/>
            </p:cNvSpPr>
            <p:nvPr/>
          </p:nvSpPr>
          <p:spPr bwMode="auto">
            <a:xfrm>
              <a:off x="3791576" y="2637376"/>
              <a:ext cx="130727" cy="197825"/>
            </a:xfrm>
            <a:custGeom>
              <a:avLst/>
              <a:gdLst>
                <a:gd name="T0" fmla="*/ 56 w 64"/>
                <a:gd name="T1" fmla="*/ 64 h 96"/>
                <a:gd name="T2" fmla="*/ 48 w 64"/>
                <a:gd name="T3" fmla="*/ 32 h 96"/>
                <a:gd name="T4" fmla="*/ 40 w 64"/>
                <a:gd name="T5" fmla="*/ 0 h 96"/>
                <a:gd name="T6" fmla="*/ 8 w 64"/>
                <a:gd name="T7" fmla="*/ 0 h 96"/>
                <a:gd name="T8" fmla="*/ 8 w 64"/>
                <a:gd name="T9" fmla="*/ 24 h 96"/>
                <a:gd name="T10" fmla="*/ 16 w 64"/>
                <a:gd name="T11" fmla="*/ 40 h 96"/>
                <a:gd name="T12" fmla="*/ 0 w 64"/>
                <a:gd name="T13" fmla="*/ 64 h 96"/>
                <a:gd name="T14" fmla="*/ 8 w 64"/>
                <a:gd name="T15" fmla="*/ 88 h 96"/>
                <a:gd name="T16" fmla="*/ 0 w 64"/>
                <a:gd name="T17" fmla="*/ 88 h 96"/>
                <a:gd name="T18" fmla="*/ 16 w 64"/>
                <a:gd name="T19" fmla="*/ 96 h 96"/>
                <a:gd name="T20" fmla="*/ 48 w 64"/>
                <a:gd name="T21" fmla="*/ 80 h 96"/>
                <a:gd name="T22" fmla="*/ 56 w 64"/>
                <a:gd name="T23" fmla="*/ 80 h 96"/>
                <a:gd name="T24" fmla="*/ 64 w 64"/>
                <a:gd name="T25" fmla="*/ 72 h 96"/>
                <a:gd name="T26" fmla="*/ 56 w 64"/>
                <a:gd name="T27" fmla="*/ 6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96">
                  <a:moveTo>
                    <a:pt x="56" y="64"/>
                  </a:moveTo>
                  <a:lnTo>
                    <a:pt x="48" y="32"/>
                  </a:lnTo>
                  <a:lnTo>
                    <a:pt x="40" y="0"/>
                  </a:lnTo>
                  <a:lnTo>
                    <a:pt x="8" y="0"/>
                  </a:lnTo>
                  <a:lnTo>
                    <a:pt x="8" y="24"/>
                  </a:lnTo>
                  <a:lnTo>
                    <a:pt x="16" y="40"/>
                  </a:lnTo>
                  <a:lnTo>
                    <a:pt x="0" y="64"/>
                  </a:lnTo>
                  <a:lnTo>
                    <a:pt x="8" y="88"/>
                  </a:lnTo>
                  <a:lnTo>
                    <a:pt x="0" y="88"/>
                  </a:lnTo>
                  <a:lnTo>
                    <a:pt x="16" y="96"/>
                  </a:lnTo>
                  <a:lnTo>
                    <a:pt x="48" y="80"/>
                  </a:lnTo>
                  <a:lnTo>
                    <a:pt x="56" y="80"/>
                  </a:lnTo>
                  <a:lnTo>
                    <a:pt x="64" y="72"/>
                  </a:lnTo>
                  <a:lnTo>
                    <a:pt x="56" y="6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76" name="Freeform 90">
              <a:extLst>
                <a:ext uri="{FF2B5EF4-FFF2-40B4-BE49-F238E27FC236}">
                  <a16:creationId xmlns:a16="http://schemas.microsoft.com/office/drawing/2014/main" id="{FF429949-0408-A5CF-231A-E34D8F1B0C22}"/>
                </a:ext>
              </a:extLst>
            </p:cNvPr>
            <p:cNvSpPr>
              <a:spLocks/>
            </p:cNvSpPr>
            <p:nvPr/>
          </p:nvSpPr>
          <p:spPr bwMode="auto">
            <a:xfrm>
              <a:off x="3872714" y="2637388"/>
              <a:ext cx="66114" cy="147989"/>
            </a:xfrm>
            <a:custGeom>
              <a:avLst/>
              <a:gdLst>
                <a:gd name="T0" fmla="*/ 16 w 32"/>
                <a:gd name="T1" fmla="*/ 64 h 72"/>
                <a:gd name="T2" fmla="*/ 8 w 32"/>
                <a:gd name="T3" fmla="*/ 32 h 72"/>
                <a:gd name="T4" fmla="*/ 0 w 32"/>
                <a:gd name="T5" fmla="*/ 0 h 72"/>
                <a:gd name="T6" fmla="*/ 16 w 32"/>
                <a:gd name="T7" fmla="*/ 0 h 72"/>
                <a:gd name="T8" fmla="*/ 16 w 32"/>
                <a:gd name="T9" fmla="*/ 8 h 72"/>
                <a:gd name="T10" fmla="*/ 24 w 32"/>
                <a:gd name="T11" fmla="*/ 16 h 72"/>
                <a:gd name="T12" fmla="*/ 24 w 32"/>
                <a:gd name="T13" fmla="*/ 40 h 72"/>
                <a:gd name="T14" fmla="*/ 32 w 32"/>
                <a:gd name="T15" fmla="*/ 72 h 72"/>
                <a:gd name="T16" fmla="*/ 24 w 32"/>
                <a:gd name="T17" fmla="*/ 72 h 72"/>
                <a:gd name="T18" fmla="*/ 16 w 32"/>
                <a:gd name="T19"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72">
                  <a:moveTo>
                    <a:pt x="16" y="64"/>
                  </a:moveTo>
                  <a:lnTo>
                    <a:pt x="8" y="32"/>
                  </a:lnTo>
                  <a:lnTo>
                    <a:pt x="0" y="0"/>
                  </a:lnTo>
                  <a:lnTo>
                    <a:pt x="16" y="0"/>
                  </a:lnTo>
                  <a:lnTo>
                    <a:pt x="16" y="8"/>
                  </a:lnTo>
                  <a:lnTo>
                    <a:pt x="24" y="16"/>
                  </a:lnTo>
                  <a:lnTo>
                    <a:pt x="24" y="40"/>
                  </a:lnTo>
                  <a:lnTo>
                    <a:pt x="32" y="72"/>
                  </a:lnTo>
                  <a:lnTo>
                    <a:pt x="24" y="72"/>
                  </a:lnTo>
                  <a:lnTo>
                    <a:pt x="16" y="6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77" name="Freeform 91">
              <a:extLst>
                <a:ext uri="{FF2B5EF4-FFF2-40B4-BE49-F238E27FC236}">
                  <a16:creationId xmlns:a16="http://schemas.microsoft.com/office/drawing/2014/main" id="{0AD425E2-1FFD-D3F8-9942-110412AAF006}"/>
                </a:ext>
              </a:extLst>
            </p:cNvPr>
            <p:cNvSpPr>
              <a:spLocks/>
            </p:cNvSpPr>
            <p:nvPr/>
          </p:nvSpPr>
          <p:spPr bwMode="auto">
            <a:xfrm>
              <a:off x="3955357" y="2554331"/>
              <a:ext cx="311039" cy="297491"/>
            </a:xfrm>
            <a:custGeom>
              <a:avLst/>
              <a:gdLst>
                <a:gd name="T0" fmla="*/ 152 w 152"/>
                <a:gd name="T1" fmla="*/ 8 h 144"/>
                <a:gd name="T2" fmla="*/ 144 w 152"/>
                <a:gd name="T3" fmla="*/ 0 h 144"/>
                <a:gd name="T4" fmla="*/ 136 w 152"/>
                <a:gd name="T5" fmla="*/ 0 h 144"/>
                <a:gd name="T6" fmla="*/ 128 w 152"/>
                <a:gd name="T7" fmla="*/ 8 h 144"/>
                <a:gd name="T8" fmla="*/ 104 w 152"/>
                <a:gd name="T9" fmla="*/ 8 h 144"/>
                <a:gd name="T10" fmla="*/ 88 w 152"/>
                <a:gd name="T11" fmla="*/ 16 h 144"/>
                <a:gd name="T12" fmla="*/ 72 w 152"/>
                <a:gd name="T13" fmla="*/ 8 h 144"/>
                <a:gd name="T14" fmla="*/ 56 w 152"/>
                <a:gd name="T15" fmla="*/ 8 h 144"/>
                <a:gd name="T16" fmla="*/ 40 w 152"/>
                <a:gd name="T17" fmla="*/ 0 h 144"/>
                <a:gd name="T18" fmla="*/ 24 w 152"/>
                <a:gd name="T19" fmla="*/ 0 h 144"/>
                <a:gd name="T20" fmla="*/ 16 w 152"/>
                <a:gd name="T21" fmla="*/ 16 h 144"/>
                <a:gd name="T22" fmla="*/ 16 w 152"/>
                <a:gd name="T23" fmla="*/ 32 h 144"/>
                <a:gd name="T24" fmla="*/ 16 w 152"/>
                <a:gd name="T25" fmla="*/ 48 h 144"/>
                <a:gd name="T26" fmla="*/ 0 w 152"/>
                <a:gd name="T27" fmla="*/ 80 h 144"/>
                <a:gd name="T28" fmla="*/ 0 w 152"/>
                <a:gd name="T29" fmla="*/ 112 h 144"/>
                <a:gd name="T30" fmla="*/ 16 w 152"/>
                <a:gd name="T31" fmla="*/ 112 h 144"/>
                <a:gd name="T32" fmla="*/ 32 w 152"/>
                <a:gd name="T33" fmla="*/ 120 h 144"/>
                <a:gd name="T34" fmla="*/ 40 w 152"/>
                <a:gd name="T35" fmla="*/ 136 h 144"/>
                <a:gd name="T36" fmla="*/ 40 w 152"/>
                <a:gd name="T37" fmla="*/ 144 h 144"/>
                <a:gd name="T38" fmla="*/ 80 w 152"/>
                <a:gd name="T39" fmla="*/ 136 h 144"/>
                <a:gd name="T40" fmla="*/ 96 w 152"/>
                <a:gd name="T41" fmla="*/ 104 h 144"/>
                <a:gd name="T42" fmla="*/ 104 w 152"/>
                <a:gd name="T43" fmla="*/ 104 h 144"/>
                <a:gd name="T44" fmla="*/ 112 w 152"/>
                <a:gd name="T45" fmla="*/ 112 h 144"/>
                <a:gd name="T46" fmla="*/ 120 w 152"/>
                <a:gd name="T47" fmla="*/ 104 h 144"/>
                <a:gd name="T48" fmla="*/ 128 w 152"/>
                <a:gd name="T49" fmla="*/ 80 h 144"/>
                <a:gd name="T50" fmla="*/ 136 w 152"/>
                <a:gd name="T51" fmla="*/ 72 h 144"/>
                <a:gd name="T52" fmla="*/ 144 w 152"/>
                <a:gd name="T53" fmla="*/ 40 h 144"/>
                <a:gd name="T54" fmla="*/ 152 w 152"/>
                <a:gd name="T55" fmla="*/ 32 h 144"/>
                <a:gd name="T56" fmla="*/ 152 w 152"/>
                <a:gd name="T57" fmla="*/ 16 h 144"/>
                <a:gd name="T58" fmla="*/ 152 w 152"/>
                <a:gd name="T5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44">
                  <a:moveTo>
                    <a:pt x="152" y="8"/>
                  </a:moveTo>
                  <a:lnTo>
                    <a:pt x="144" y="0"/>
                  </a:lnTo>
                  <a:lnTo>
                    <a:pt x="136" y="0"/>
                  </a:lnTo>
                  <a:lnTo>
                    <a:pt x="128" y="8"/>
                  </a:lnTo>
                  <a:lnTo>
                    <a:pt x="104" y="8"/>
                  </a:lnTo>
                  <a:lnTo>
                    <a:pt x="88" y="16"/>
                  </a:lnTo>
                  <a:lnTo>
                    <a:pt x="72" y="8"/>
                  </a:lnTo>
                  <a:lnTo>
                    <a:pt x="56" y="8"/>
                  </a:lnTo>
                  <a:lnTo>
                    <a:pt x="40" y="0"/>
                  </a:lnTo>
                  <a:lnTo>
                    <a:pt x="24" y="0"/>
                  </a:lnTo>
                  <a:lnTo>
                    <a:pt x="16" y="16"/>
                  </a:lnTo>
                  <a:lnTo>
                    <a:pt x="16" y="32"/>
                  </a:lnTo>
                  <a:lnTo>
                    <a:pt x="16" y="48"/>
                  </a:lnTo>
                  <a:lnTo>
                    <a:pt x="0" y="80"/>
                  </a:lnTo>
                  <a:lnTo>
                    <a:pt x="0" y="112"/>
                  </a:lnTo>
                  <a:lnTo>
                    <a:pt x="16" y="112"/>
                  </a:lnTo>
                  <a:lnTo>
                    <a:pt x="32" y="120"/>
                  </a:lnTo>
                  <a:lnTo>
                    <a:pt x="40" y="136"/>
                  </a:lnTo>
                  <a:lnTo>
                    <a:pt x="40" y="144"/>
                  </a:lnTo>
                  <a:lnTo>
                    <a:pt x="80" y="136"/>
                  </a:lnTo>
                  <a:lnTo>
                    <a:pt x="96" y="104"/>
                  </a:lnTo>
                  <a:lnTo>
                    <a:pt x="104" y="104"/>
                  </a:lnTo>
                  <a:lnTo>
                    <a:pt x="112" y="112"/>
                  </a:lnTo>
                  <a:lnTo>
                    <a:pt x="120" y="104"/>
                  </a:lnTo>
                  <a:lnTo>
                    <a:pt x="128" y="80"/>
                  </a:lnTo>
                  <a:lnTo>
                    <a:pt x="136" y="72"/>
                  </a:lnTo>
                  <a:lnTo>
                    <a:pt x="144" y="40"/>
                  </a:lnTo>
                  <a:lnTo>
                    <a:pt x="152" y="32"/>
                  </a:lnTo>
                  <a:lnTo>
                    <a:pt x="152" y="16"/>
                  </a:lnTo>
                  <a:lnTo>
                    <a:pt x="152"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78" name="Freeform 92">
              <a:extLst>
                <a:ext uri="{FF2B5EF4-FFF2-40B4-BE49-F238E27FC236}">
                  <a16:creationId xmlns:a16="http://schemas.microsoft.com/office/drawing/2014/main" id="{BDB9F26A-9622-E55C-2975-8EF2B43F89ED}"/>
                </a:ext>
              </a:extLst>
            </p:cNvPr>
            <p:cNvSpPr>
              <a:spLocks/>
            </p:cNvSpPr>
            <p:nvPr/>
          </p:nvSpPr>
          <p:spPr bwMode="auto">
            <a:xfrm>
              <a:off x="3905785" y="2587541"/>
              <a:ext cx="82644" cy="197824"/>
            </a:xfrm>
            <a:custGeom>
              <a:avLst/>
              <a:gdLst>
                <a:gd name="T0" fmla="*/ 8 w 40"/>
                <a:gd name="T1" fmla="*/ 64 h 96"/>
                <a:gd name="T2" fmla="*/ 8 w 40"/>
                <a:gd name="T3" fmla="*/ 40 h 96"/>
                <a:gd name="T4" fmla="*/ 0 w 40"/>
                <a:gd name="T5" fmla="*/ 32 h 96"/>
                <a:gd name="T6" fmla="*/ 0 w 40"/>
                <a:gd name="T7" fmla="*/ 24 h 96"/>
                <a:gd name="T8" fmla="*/ 8 w 40"/>
                <a:gd name="T9" fmla="*/ 16 h 96"/>
                <a:gd name="T10" fmla="*/ 16 w 40"/>
                <a:gd name="T11" fmla="*/ 16 h 96"/>
                <a:gd name="T12" fmla="*/ 24 w 40"/>
                <a:gd name="T13" fmla="*/ 8 h 96"/>
                <a:gd name="T14" fmla="*/ 32 w 40"/>
                <a:gd name="T15" fmla="*/ 0 h 96"/>
                <a:gd name="T16" fmla="*/ 40 w 40"/>
                <a:gd name="T17" fmla="*/ 16 h 96"/>
                <a:gd name="T18" fmla="*/ 40 w 40"/>
                <a:gd name="T19" fmla="*/ 32 h 96"/>
                <a:gd name="T20" fmla="*/ 24 w 40"/>
                <a:gd name="T21" fmla="*/ 64 h 96"/>
                <a:gd name="T22" fmla="*/ 24 w 40"/>
                <a:gd name="T23" fmla="*/ 96 h 96"/>
                <a:gd name="T24" fmla="*/ 16 w 40"/>
                <a:gd name="T25" fmla="*/ 96 h 96"/>
                <a:gd name="T26" fmla="*/ 8 w 40"/>
                <a:gd name="T27" fmla="*/ 6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96">
                  <a:moveTo>
                    <a:pt x="8" y="64"/>
                  </a:moveTo>
                  <a:lnTo>
                    <a:pt x="8" y="40"/>
                  </a:lnTo>
                  <a:lnTo>
                    <a:pt x="0" y="32"/>
                  </a:lnTo>
                  <a:lnTo>
                    <a:pt x="0" y="24"/>
                  </a:lnTo>
                  <a:lnTo>
                    <a:pt x="8" y="16"/>
                  </a:lnTo>
                  <a:lnTo>
                    <a:pt x="16" y="16"/>
                  </a:lnTo>
                  <a:lnTo>
                    <a:pt x="24" y="8"/>
                  </a:lnTo>
                  <a:lnTo>
                    <a:pt x="32" y="0"/>
                  </a:lnTo>
                  <a:lnTo>
                    <a:pt x="40" y="16"/>
                  </a:lnTo>
                  <a:lnTo>
                    <a:pt x="40" y="32"/>
                  </a:lnTo>
                  <a:lnTo>
                    <a:pt x="24" y="64"/>
                  </a:lnTo>
                  <a:lnTo>
                    <a:pt x="24" y="96"/>
                  </a:lnTo>
                  <a:lnTo>
                    <a:pt x="16" y="96"/>
                  </a:lnTo>
                  <a:lnTo>
                    <a:pt x="8" y="6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79" name="Freeform 93">
              <a:extLst>
                <a:ext uri="{FF2B5EF4-FFF2-40B4-BE49-F238E27FC236}">
                  <a16:creationId xmlns:a16="http://schemas.microsoft.com/office/drawing/2014/main" id="{C0B7CCD0-EF98-87F7-E215-A4B4448051F5}"/>
                </a:ext>
              </a:extLst>
            </p:cNvPr>
            <p:cNvSpPr>
              <a:spLocks/>
            </p:cNvSpPr>
            <p:nvPr/>
          </p:nvSpPr>
          <p:spPr bwMode="auto">
            <a:xfrm>
              <a:off x="3644317" y="2653996"/>
              <a:ext cx="180312" cy="197824"/>
            </a:xfrm>
            <a:custGeom>
              <a:avLst/>
              <a:gdLst>
                <a:gd name="T0" fmla="*/ 80 w 88"/>
                <a:gd name="T1" fmla="*/ 80 h 96"/>
                <a:gd name="T2" fmla="*/ 72 w 88"/>
                <a:gd name="T3" fmla="*/ 56 h 96"/>
                <a:gd name="T4" fmla="*/ 88 w 88"/>
                <a:gd name="T5" fmla="*/ 32 h 96"/>
                <a:gd name="T6" fmla="*/ 80 w 88"/>
                <a:gd name="T7" fmla="*/ 16 h 96"/>
                <a:gd name="T8" fmla="*/ 72 w 88"/>
                <a:gd name="T9" fmla="*/ 8 h 96"/>
                <a:gd name="T10" fmla="*/ 56 w 88"/>
                <a:gd name="T11" fmla="*/ 8 h 96"/>
                <a:gd name="T12" fmla="*/ 48 w 88"/>
                <a:gd name="T13" fmla="*/ 0 h 96"/>
                <a:gd name="T14" fmla="*/ 40 w 88"/>
                <a:gd name="T15" fmla="*/ 0 h 96"/>
                <a:gd name="T16" fmla="*/ 32 w 88"/>
                <a:gd name="T17" fmla="*/ 0 h 96"/>
                <a:gd name="T18" fmla="*/ 24 w 88"/>
                <a:gd name="T19" fmla="*/ 0 h 96"/>
                <a:gd name="T20" fmla="*/ 16 w 88"/>
                <a:gd name="T21" fmla="*/ 0 h 96"/>
                <a:gd name="T22" fmla="*/ 8 w 88"/>
                <a:gd name="T23" fmla="*/ 0 h 96"/>
                <a:gd name="T24" fmla="*/ 8 w 88"/>
                <a:gd name="T25" fmla="*/ 16 h 96"/>
                <a:gd name="T26" fmla="*/ 16 w 88"/>
                <a:gd name="T27" fmla="*/ 32 h 96"/>
                <a:gd name="T28" fmla="*/ 8 w 88"/>
                <a:gd name="T29" fmla="*/ 32 h 96"/>
                <a:gd name="T30" fmla="*/ 8 w 88"/>
                <a:gd name="T31" fmla="*/ 40 h 96"/>
                <a:gd name="T32" fmla="*/ 0 w 88"/>
                <a:gd name="T33" fmla="*/ 48 h 96"/>
                <a:gd name="T34" fmla="*/ 8 w 88"/>
                <a:gd name="T35" fmla="*/ 64 h 96"/>
                <a:gd name="T36" fmla="*/ 16 w 88"/>
                <a:gd name="T37" fmla="*/ 72 h 96"/>
                <a:gd name="T38" fmla="*/ 16 w 88"/>
                <a:gd name="T39" fmla="*/ 96 h 96"/>
                <a:gd name="T40" fmla="*/ 40 w 88"/>
                <a:gd name="T41" fmla="*/ 80 h 96"/>
                <a:gd name="T42" fmla="*/ 56 w 88"/>
                <a:gd name="T43" fmla="*/ 80 h 96"/>
                <a:gd name="T44" fmla="*/ 72 w 88"/>
                <a:gd name="T45" fmla="*/ 80 h 96"/>
                <a:gd name="T46" fmla="*/ 80 w 88"/>
                <a:gd name="T47"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8" h="96">
                  <a:moveTo>
                    <a:pt x="80" y="80"/>
                  </a:moveTo>
                  <a:lnTo>
                    <a:pt x="72" y="56"/>
                  </a:lnTo>
                  <a:lnTo>
                    <a:pt x="88" y="32"/>
                  </a:lnTo>
                  <a:lnTo>
                    <a:pt x="80" y="16"/>
                  </a:lnTo>
                  <a:lnTo>
                    <a:pt x="72" y="8"/>
                  </a:lnTo>
                  <a:lnTo>
                    <a:pt x="56" y="8"/>
                  </a:lnTo>
                  <a:lnTo>
                    <a:pt x="48" y="0"/>
                  </a:lnTo>
                  <a:lnTo>
                    <a:pt x="40" y="0"/>
                  </a:lnTo>
                  <a:lnTo>
                    <a:pt x="32" y="0"/>
                  </a:lnTo>
                  <a:lnTo>
                    <a:pt x="24" y="0"/>
                  </a:lnTo>
                  <a:lnTo>
                    <a:pt x="16" y="0"/>
                  </a:lnTo>
                  <a:lnTo>
                    <a:pt x="8" y="0"/>
                  </a:lnTo>
                  <a:lnTo>
                    <a:pt x="8" y="16"/>
                  </a:lnTo>
                  <a:lnTo>
                    <a:pt x="16" y="32"/>
                  </a:lnTo>
                  <a:lnTo>
                    <a:pt x="8" y="32"/>
                  </a:lnTo>
                  <a:lnTo>
                    <a:pt x="8" y="40"/>
                  </a:lnTo>
                  <a:lnTo>
                    <a:pt x="0" y="48"/>
                  </a:lnTo>
                  <a:lnTo>
                    <a:pt x="8" y="64"/>
                  </a:lnTo>
                  <a:lnTo>
                    <a:pt x="16" y="72"/>
                  </a:lnTo>
                  <a:lnTo>
                    <a:pt x="16" y="96"/>
                  </a:lnTo>
                  <a:lnTo>
                    <a:pt x="40" y="80"/>
                  </a:lnTo>
                  <a:lnTo>
                    <a:pt x="56" y="80"/>
                  </a:lnTo>
                  <a:lnTo>
                    <a:pt x="72" y="80"/>
                  </a:lnTo>
                  <a:lnTo>
                    <a:pt x="80" y="8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80" name="Freeform 94">
              <a:extLst>
                <a:ext uri="{FF2B5EF4-FFF2-40B4-BE49-F238E27FC236}">
                  <a16:creationId xmlns:a16="http://schemas.microsoft.com/office/drawing/2014/main" id="{CFA2448F-027E-B9F5-375D-84B52C25E30F}"/>
                </a:ext>
              </a:extLst>
            </p:cNvPr>
            <p:cNvSpPr>
              <a:spLocks/>
            </p:cNvSpPr>
            <p:nvPr/>
          </p:nvSpPr>
          <p:spPr bwMode="auto">
            <a:xfrm>
              <a:off x="3561677" y="2718923"/>
              <a:ext cx="115699" cy="132889"/>
            </a:xfrm>
            <a:custGeom>
              <a:avLst/>
              <a:gdLst>
                <a:gd name="T0" fmla="*/ 40 w 56"/>
                <a:gd name="T1" fmla="*/ 16 h 64"/>
                <a:gd name="T2" fmla="*/ 48 w 56"/>
                <a:gd name="T3" fmla="*/ 32 h 64"/>
                <a:gd name="T4" fmla="*/ 56 w 56"/>
                <a:gd name="T5" fmla="*/ 40 h 64"/>
                <a:gd name="T6" fmla="*/ 56 w 56"/>
                <a:gd name="T7" fmla="*/ 64 h 64"/>
                <a:gd name="T8" fmla="*/ 48 w 56"/>
                <a:gd name="T9" fmla="*/ 56 h 64"/>
                <a:gd name="T10" fmla="*/ 0 w 56"/>
                <a:gd name="T11" fmla="*/ 24 h 64"/>
                <a:gd name="T12" fmla="*/ 16 w 56"/>
                <a:gd name="T13" fmla="*/ 0 h 64"/>
                <a:gd name="T14" fmla="*/ 24 w 56"/>
                <a:gd name="T15" fmla="*/ 0 h 64"/>
                <a:gd name="T16" fmla="*/ 32 w 56"/>
                <a:gd name="T17" fmla="*/ 16 h 64"/>
                <a:gd name="T18" fmla="*/ 40 w 56"/>
                <a:gd name="T19"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64">
                  <a:moveTo>
                    <a:pt x="40" y="16"/>
                  </a:moveTo>
                  <a:lnTo>
                    <a:pt x="48" y="32"/>
                  </a:lnTo>
                  <a:lnTo>
                    <a:pt x="56" y="40"/>
                  </a:lnTo>
                  <a:lnTo>
                    <a:pt x="56" y="64"/>
                  </a:lnTo>
                  <a:lnTo>
                    <a:pt x="48" y="56"/>
                  </a:lnTo>
                  <a:lnTo>
                    <a:pt x="0" y="24"/>
                  </a:lnTo>
                  <a:lnTo>
                    <a:pt x="16" y="0"/>
                  </a:lnTo>
                  <a:lnTo>
                    <a:pt x="24" y="0"/>
                  </a:lnTo>
                  <a:lnTo>
                    <a:pt x="32" y="16"/>
                  </a:lnTo>
                  <a:lnTo>
                    <a:pt x="4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81" name="Freeform 95">
              <a:extLst>
                <a:ext uri="{FF2B5EF4-FFF2-40B4-BE49-F238E27FC236}">
                  <a16:creationId xmlns:a16="http://schemas.microsoft.com/office/drawing/2014/main" id="{76FB4A55-AA31-1D61-C357-69E795C316DC}"/>
                </a:ext>
              </a:extLst>
            </p:cNvPr>
            <p:cNvSpPr>
              <a:spLocks/>
            </p:cNvSpPr>
            <p:nvPr/>
          </p:nvSpPr>
          <p:spPr bwMode="auto">
            <a:xfrm>
              <a:off x="3414420" y="2456163"/>
              <a:ext cx="163783" cy="131379"/>
            </a:xfrm>
            <a:custGeom>
              <a:avLst/>
              <a:gdLst>
                <a:gd name="T0" fmla="*/ 72 w 80"/>
                <a:gd name="T1" fmla="*/ 32 h 64"/>
                <a:gd name="T2" fmla="*/ 80 w 80"/>
                <a:gd name="T3" fmla="*/ 64 h 64"/>
                <a:gd name="T4" fmla="*/ 48 w 80"/>
                <a:gd name="T5" fmla="*/ 64 h 64"/>
                <a:gd name="T6" fmla="*/ 8 w 80"/>
                <a:gd name="T7" fmla="*/ 64 h 64"/>
                <a:gd name="T8" fmla="*/ 8 w 80"/>
                <a:gd name="T9" fmla="*/ 56 h 64"/>
                <a:gd name="T10" fmla="*/ 24 w 80"/>
                <a:gd name="T11" fmla="*/ 48 h 64"/>
                <a:gd name="T12" fmla="*/ 40 w 80"/>
                <a:gd name="T13" fmla="*/ 56 h 64"/>
                <a:gd name="T14" fmla="*/ 48 w 80"/>
                <a:gd name="T15" fmla="*/ 48 h 64"/>
                <a:gd name="T16" fmla="*/ 24 w 80"/>
                <a:gd name="T17" fmla="*/ 40 h 64"/>
                <a:gd name="T18" fmla="*/ 8 w 80"/>
                <a:gd name="T19" fmla="*/ 48 h 64"/>
                <a:gd name="T20" fmla="*/ 8 w 80"/>
                <a:gd name="T21" fmla="*/ 40 h 64"/>
                <a:gd name="T22" fmla="*/ 0 w 80"/>
                <a:gd name="T23" fmla="*/ 32 h 64"/>
                <a:gd name="T24" fmla="*/ 16 w 80"/>
                <a:gd name="T25" fmla="*/ 16 h 64"/>
                <a:gd name="T26" fmla="*/ 24 w 80"/>
                <a:gd name="T27" fmla="*/ 8 h 64"/>
                <a:gd name="T28" fmla="*/ 40 w 80"/>
                <a:gd name="T29" fmla="*/ 0 h 64"/>
                <a:gd name="T30" fmla="*/ 56 w 80"/>
                <a:gd name="T31" fmla="*/ 16 h 64"/>
                <a:gd name="T32" fmla="*/ 72 w 80"/>
                <a:gd name="T3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64">
                  <a:moveTo>
                    <a:pt x="72" y="32"/>
                  </a:moveTo>
                  <a:lnTo>
                    <a:pt x="80" y="64"/>
                  </a:lnTo>
                  <a:lnTo>
                    <a:pt x="48" y="64"/>
                  </a:lnTo>
                  <a:lnTo>
                    <a:pt x="8" y="64"/>
                  </a:lnTo>
                  <a:lnTo>
                    <a:pt x="8" y="56"/>
                  </a:lnTo>
                  <a:lnTo>
                    <a:pt x="24" y="48"/>
                  </a:lnTo>
                  <a:lnTo>
                    <a:pt x="40" y="56"/>
                  </a:lnTo>
                  <a:lnTo>
                    <a:pt x="48" y="48"/>
                  </a:lnTo>
                  <a:lnTo>
                    <a:pt x="24" y="40"/>
                  </a:lnTo>
                  <a:lnTo>
                    <a:pt x="8" y="48"/>
                  </a:lnTo>
                  <a:lnTo>
                    <a:pt x="8" y="40"/>
                  </a:lnTo>
                  <a:lnTo>
                    <a:pt x="0" y="32"/>
                  </a:lnTo>
                  <a:lnTo>
                    <a:pt x="16" y="16"/>
                  </a:lnTo>
                  <a:lnTo>
                    <a:pt x="24" y="8"/>
                  </a:lnTo>
                  <a:lnTo>
                    <a:pt x="40" y="0"/>
                  </a:lnTo>
                  <a:lnTo>
                    <a:pt x="56" y="16"/>
                  </a:lnTo>
                  <a:lnTo>
                    <a:pt x="72"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82" name="Freeform 96">
              <a:extLst>
                <a:ext uri="{FF2B5EF4-FFF2-40B4-BE49-F238E27FC236}">
                  <a16:creationId xmlns:a16="http://schemas.microsoft.com/office/drawing/2014/main" id="{954D5418-ECFA-8219-D3AD-90FD21775E04}"/>
                </a:ext>
              </a:extLst>
            </p:cNvPr>
            <p:cNvSpPr>
              <a:spLocks/>
            </p:cNvSpPr>
            <p:nvPr/>
          </p:nvSpPr>
          <p:spPr bwMode="auto">
            <a:xfrm>
              <a:off x="3430947" y="2126964"/>
              <a:ext cx="327567" cy="395647"/>
            </a:xfrm>
            <a:custGeom>
              <a:avLst/>
              <a:gdLst>
                <a:gd name="T0" fmla="*/ 64 w 160"/>
                <a:gd name="T1" fmla="*/ 192 h 192"/>
                <a:gd name="T2" fmla="*/ 48 w 160"/>
                <a:gd name="T3" fmla="*/ 176 h 192"/>
                <a:gd name="T4" fmla="*/ 32 w 160"/>
                <a:gd name="T5" fmla="*/ 160 h 192"/>
                <a:gd name="T6" fmla="*/ 16 w 160"/>
                <a:gd name="T7" fmla="*/ 168 h 192"/>
                <a:gd name="T8" fmla="*/ 8 w 160"/>
                <a:gd name="T9" fmla="*/ 176 h 192"/>
                <a:gd name="T10" fmla="*/ 8 w 160"/>
                <a:gd name="T11" fmla="*/ 144 h 192"/>
                <a:gd name="T12" fmla="*/ 8 w 160"/>
                <a:gd name="T13" fmla="*/ 120 h 192"/>
                <a:gd name="T14" fmla="*/ 8 w 160"/>
                <a:gd name="T15" fmla="*/ 104 h 192"/>
                <a:gd name="T16" fmla="*/ 0 w 160"/>
                <a:gd name="T17" fmla="*/ 96 h 192"/>
                <a:gd name="T18" fmla="*/ 8 w 160"/>
                <a:gd name="T19" fmla="*/ 88 h 192"/>
                <a:gd name="T20" fmla="*/ 56 w 160"/>
                <a:gd name="T21" fmla="*/ 88 h 192"/>
                <a:gd name="T22" fmla="*/ 56 w 160"/>
                <a:gd name="T23" fmla="*/ 64 h 192"/>
                <a:gd name="T24" fmla="*/ 72 w 160"/>
                <a:gd name="T25" fmla="*/ 56 h 192"/>
                <a:gd name="T26" fmla="*/ 72 w 160"/>
                <a:gd name="T27" fmla="*/ 16 h 192"/>
                <a:gd name="T28" fmla="*/ 112 w 160"/>
                <a:gd name="T29" fmla="*/ 16 h 192"/>
                <a:gd name="T30" fmla="*/ 112 w 160"/>
                <a:gd name="T31" fmla="*/ 0 h 192"/>
                <a:gd name="T32" fmla="*/ 160 w 160"/>
                <a:gd name="T33" fmla="*/ 32 h 192"/>
                <a:gd name="T34" fmla="*/ 136 w 160"/>
                <a:gd name="T35" fmla="*/ 32 h 192"/>
                <a:gd name="T36" fmla="*/ 152 w 160"/>
                <a:gd name="T37" fmla="*/ 176 h 192"/>
                <a:gd name="T38" fmla="*/ 88 w 160"/>
                <a:gd name="T39" fmla="*/ 176 h 192"/>
                <a:gd name="T40" fmla="*/ 80 w 160"/>
                <a:gd name="T41" fmla="*/ 184 h 192"/>
                <a:gd name="T42" fmla="*/ 72 w 160"/>
                <a:gd name="T43" fmla="*/ 176 h 192"/>
                <a:gd name="T44" fmla="*/ 64 w 160"/>
                <a:gd name="T45"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192">
                  <a:moveTo>
                    <a:pt x="64" y="192"/>
                  </a:moveTo>
                  <a:lnTo>
                    <a:pt x="48" y="176"/>
                  </a:lnTo>
                  <a:lnTo>
                    <a:pt x="32" y="160"/>
                  </a:lnTo>
                  <a:lnTo>
                    <a:pt x="16" y="168"/>
                  </a:lnTo>
                  <a:lnTo>
                    <a:pt x="8" y="176"/>
                  </a:lnTo>
                  <a:lnTo>
                    <a:pt x="8" y="144"/>
                  </a:lnTo>
                  <a:lnTo>
                    <a:pt x="8" y="120"/>
                  </a:lnTo>
                  <a:lnTo>
                    <a:pt x="8" y="104"/>
                  </a:lnTo>
                  <a:lnTo>
                    <a:pt x="0" y="96"/>
                  </a:lnTo>
                  <a:lnTo>
                    <a:pt x="8" y="88"/>
                  </a:lnTo>
                  <a:lnTo>
                    <a:pt x="56" y="88"/>
                  </a:lnTo>
                  <a:lnTo>
                    <a:pt x="56" y="64"/>
                  </a:lnTo>
                  <a:lnTo>
                    <a:pt x="72" y="56"/>
                  </a:lnTo>
                  <a:lnTo>
                    <a:pt x="72" y="16"/>
                  </a:lnTo>
                  <a:lnTo>
                    <a:pt x="112" y="16"/>
                  </a:lnTo>
                  <a:lnTo>
                    <a:pt x="112" y="0"/>
                  </a:lnTo>
                  <a:lnTo>
                    <a:pt x="160" y="32"/>
                  </a:lnTo>
                  <a:lnTo>
                    <a:pt x="136" y="32"/>
                  </a:lnTo>
                  <a:lnTo>
                    <a:pt x="152" y="176"/>
                  </a:lnTo>
                  <a:lnTo>
                    <a:pt x="88" y="176"/>
                  </a:lnTo>
                  <a:lnTo>
                    <a:pt x="80" y="184"/>
                  </a:lnTo>
                  <a:lnTo>
                    <a:pt x="72" y="176"/>
                  </a:lnTo>
                  <a:lnTo>
                    <a:pt x="64" y="19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83" name="Freeform 97">
              <a:extLst>
                <a:ext uri="{FF2B5EF4-FFF2-40B4-BE49-F238E27FC236}">
                  <a16:creationId xmlns:a16="http://schemas.microsoft.com/office/drawing/2014/main" id="{A82887BA-F390-E704-539C-4A1EB9BD58F6}"/>
                </a:ext>
              </a:extLst>
            </p:cNvPr>
            <p:cNvSpPr>
              <a:spLocks/>
            </p:cNvSpPr>
            <p:nvPr/>
          </p:nvSpPr>
          <p:spPr bwMode="auto">
            <a:xfrm>
              <a:off x="3430952" y="2110348"/>
              <a:ext cx="229898" cy="214435"/>
            </a:xfrm>
            <a:custGeom>
              <a:avLst/>
              <a:gdLst>
                <a:gd name="T0" fmla="*/ 112 w 112"/>
                <a:gd name="T1" fmla="*/ 0 h 104"/>
                <a:gd name="T2" fmla="*/ 112 w 112"/>
                <a:gd name="T3" fmla="*/ 8 h 104"/>
                <a:gd name="T4" fmla="*/ 112 w 112"/>
                <a:gd name="T5" fmla="*/ 24 h 104"/>
                <a:gd name="T6" fmla="*/ 72 w 112"/>
                <a:gd name="T7" fmla="*/ 24 h 104"/>
                <a:gd name="T8" fmla="*/ 72 w 112"/>
                <a:gd name="T9" fmla="*/ 64 h 104"/>
                <a:gd name="T10" fmla="*/ 56 w 112"/>
                <a:gd name="T11" fmla="*/ 72 h 104"/>
                <a:gd name="T12" fmla="*/ 56 w 112"/>
                <a:gd name="T13" fmla="*/ 96 h 104"/>
                <a:gd name="T14" fmla="*/ 8 w 112"/>
                <a:gd name="T15" fmla="*/ 96 h 104"/>
                <a:gd name="T16" fmla="*/ 0 w 112"/>
                <a:gd name="T17" fmla="*/ 104 h 104"/>
                <a:gd name="T18" fmla="*/ 0 w 112"/>
                <a:gd name="T19" fmla="*/ 88 h 104"/>
                <a:gd name="T20" fmla="*/ 32 w 112"/>
                <a:gd name="T21" fmla="*/ 48 h 104"/>
                <a:gd name="T22" fmla="*/ 40 w 112"/>
                <a:gd name="T23" fmla="*/ 24 h 104"/>
                <a:gd name="T24" fmla="*/ 48 w 112"/>
                <a:gd name="T25" fmla="*/ 16 h 104"/>
                <a:gd name="T26" fmla="*/ 56 w 112"/>
                <a:gd name="T27" fmla="*/ 0 h 104"/>
                <a:gd name="T28" fmla="*/ 112 w 112"/>
                <a:gd name="T2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104">
                  <a:moveTo>
                    <a:pt x="112" y="0"/>
                  </a:moveTo>
                  <a:lnTo>
                    <a:pt x="112" y="8"/>
                  </a:lnTo>
                  <a:lnTo>
                    <a:pt x="112" y="24"/>
                  </a:lnTo>
                  <a:lnTo>
                    <a:pt x="72" y="24"/>
                  </a:lnTo>
                  <a:lnTo>
                    <a:pt x="72" y="64"/>
                  </a:lnTo>
                  <a:lnTo>
                    <a:pt x="56" y="72"/>
                  </a:lnTo>
                  <a:lnTo>
                    <a:pt x="56" y="96"/>
                  </a:lnTo>
                  <a:lnTo>
                    <a:pt x="8" y="96"/>
                  </a:lnTo>
                  <a:lnTo>
                    <a:pt x="0" y="104"/>
                  </a:lnTo>
                  <a:lnTo>
                    <a:pt x="0" y="88"/>
                  </a:lnTo>
                  <a:lnTo>
                    <a:pt x="32" y="48"/>
                  </a:lnTo>
                  <a:lnTo>
                    <a:pt x="40" y="24"/>
                  </a:lnTo>
                  <a:lnTo>
                    <a:pt x="48" y="16"/>
                  </a:lnTo>
                  <a:lnTo>
                    <a:pt x="56" y="0"/>
                  </a:lnTo>
                  <a:lnTo>
                    <a:pt x="112"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84" name="Freeform 98">
              <a:extLst>
                <a:ext uri="{FF2B5EF4-FFF2-40B4-BE49-F238E27FC236}">
                  <a16:creationId xmlns:a16="http://schemas.microsoft.com/office/drawing/2014/main" id="{D67E7379-AAE8-D6A5-9C94-1AB4343F7FEC}"/>
                </a:ext>
              </a:extLst>
            </p:cNvPr>
            <p:cNvSpPr>
              <a:spLocks/>
            </p:cNvSpPr>
            <p:nvPr/>
          </p:nvSpPr>
          <p:spPr bwMode="auto">
            <a:xfrm>
              <a:off x="4086083" y="1814377"/>
              <a:ext cx="97670" cy="212923"/>
            </a:xfrm>
            <a:custGeom>
              <a:avLst/>
              <a:gdLst>
                <a:gd name="T0" fmla="*/ 48 w 48"/>
                <a:gd name="T1" fmla="*/ 64 h 104"/>
                <a:gd name="T2" fmla="*/ 48 w 48"/>
                <a:gd name="T3" fmla="*/ 80 h 104"/>
                <a:gd name="T4" fmla="*/ 32 w 48"/>
                <a:gd name="T5" fmla="*/ 88 h 104"/>
                <a:gd name="T6" fmla="*/ 32 w 48"/>
                <a:gd name="T7" fmla="*/ 104 h 104"/>
                <a:gd name="T8" fmla="*/ 24 w 48"/>
                <a:gd name="T9" fmla="*/ 104 h 104"/>
                <a:gd name="T10" fmla="*/ 24 w 48"/>
                <a:gd name="T11" fmla="*/ 80 h 104"/>
                <a:gd name="T12" fmla="*/ 8 w 48"/>
                <a:gd name="T13" fmla="*/ 72 h 104"/>
                <a:gd name="T14" fmla="*/ 0 w 48"/>
                <a:gd name="T15" fmla="*/ 56 h 104"/>
                <a:gd name="T16" fmla="*/ 16 w 48"/>
                <a:gd name="T17" fmla="*/ 40 h 104"/>
                <a:gd name="T18" fmla="*/ 16 w 48"/>
                <a:gd name="T19" fmla="*/ 16 h 104"/>
                <a:gd name="T20" fmla="*/ 16 w 48"/>
                <a:gd name="T21" fmla="*/ 8 h 104"/>
                <a:gd name="T22" fmla="*/ 32 w 48"/>
                <a:gd name="T23" fmla="*/ 0 h 104"/>
                <a:gd name="T24" fmla="*/ 32 w 48"/>
                <a:gd name="T25" fmla="*/ 8 h 104"/>
                <a:gd name="T26" fmla="*/ 40 w 48"/>
                <a:gd name="T27" fmla="*/ 8 h 104"/>
                <a:gd name="T28" fmla="*/ 48 w 48"/>
                <a:gd name="T29" fmla="*/ 8 h 104"/>
                <a:gd name="T30" fmla="*/ 40 w 48"/>
                <a:gd name="T31" fmla="*/ 16 h 104"/>
                <a:gd name="T32" fmla="*/ 48 w 48"/>
                <a:gd name="T33" fmla="*/ 32 h 104"/>
                <a:gd name="T34" fmla="*/ 32 w 48"/>
                <a:gd name="T35" fmla="*/ 48 h 104"/>
                <a:gd name="T36" fmla="*/ 32 w 48"/>
                <a:gd name="T37" fmla="*/ 56 h 104"/>
                <a:gd name="T38" fmla="*/ 48 w 48"/>
                <a:gd name="T39" fmla="*/ 56 h 104"/>
                <a:gd name="T40" fmla="*/ 48 w 48"/>
                <a:gd name="T41"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104">
                  <a:moveTo>
                    <a:pt x="48" y="64"/>
                  </a:moveTo>
                  <a:lnTo>
                    <a:pt x="48" y="80"/>
                  </a:lnTo>
                  <a:lnTo>
                    <a:pt x="32" y="88"/>
                  </a:lnTo>
                  <a:lnTo>
                    <a:pt x="32" y="104"/>
                  </a:lnTo>
                  <a:lnTo>
                    <a:pt x="24" y="104"/>
                  </a:lnTo>
                  <a:lnTo>
                    <a:pt x="24" y="80"/>
                  </a:lnTo>
                  <a:lnTo>
                    <a:pt x="8" y="72"/>
                  </a:lnTo>
                  <a:lnTo>
                    <a:pt x="0" y="56"/>
                  </a:lnTo>
                  <a:lnTo>
                    <a:pt x="16" y="40"/>
                  </a:lnTo>
                  <a:lnTo>
                    <a:pt x="16" y="16"/>
                  </a:lnTo>
                  <a:lnTo>
                    <a:pt x="16" y="8"/>
                  </a:lnTo>
                  <a:lnTo>
                    <a:pt x="32" y="0"/>
                  </a:lnTo>
                  <a:lnTo>
                    <a:pt x="32" y="8"/>
                  </a:lnTo>
                  <a:lnTo>
                    <a:pt x="40" y="8"/>
                  </a:lnTo>
                  <a:lnTo>
                    <a:pt x="48" y="8"/>
                  </a:lnTo>
                  <a:lnTo>
                    <a:pt x="40" y="16"/>
                  </a:lnTo>
                  <a:lnTo>
                    <a:pt x="48" y="32"/>
                  </a:lnTo>
                  <a:lnTo>
                    <a:pt x="32" y="48"/>
                  </a:lnTo>
                  <a:lnTo>
                    <a:pt x="32" y="56"/>
                  </a:lnTo>
                  <a:lnTo>
                    <a:pt x="48" y="56"/>
                  </a:lnTo>
                  <a:lnTo>
                    <a:pt x="48" y="6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85" name="Freeform 99">
              <a:extLst>
                <a:ext uri="{FF2B5EF4-FFF2-40B4-BE49-F238E27FC236}">
                  <a16:creationId xmlns:a16="http://schemas.microsoft.com/office/drawing/2014/main" id="{B91FC540-24B9-1049-E966-4F5544575792}"/>
                </a:ext>
              </a:extLst>
            </p:cNvPr>
            <p:cNvSpPr>
              <a:spLocks/>
            </p:cNvSpPr>
            <p:nvPr/>
          </p:nvSpPr>
          <p:spPr bwMode="auto">
            <a:xfrm>
              <a:off x="3677388" y="1616544"/>
              <a:ext cx="311040" cy="246149"/>
            </a:xfrm>
            <a:custGeom>
              <a:avLst/>
              <a:gdLst>
                <a:gd name="T0" fmla="*/ 112 w 152"/>
                <a:gd name="T1" fmla="*/ 16 h 120"/>
                <a:gd name="T2" fmla="*/ 152 w 152"/>
                <a:gd name="T3" fmla="*/ 16 h 120"/>
                <a:gd name="T4" fmla="*/ 152 w 152"/>
                <a:gd name="T5" fmla="*/ 32 h 120"/>
                <a:gd name="T6" fmla="*/ 128 w 152"/>
                <a:gd name="T7" fmla="*/ 40 h 120"/>
                <a:gd name="T8" fmla="*/ 104 w 152"/>
                <a:gd name="T9" fmla="*/ 64 h 120"/>
                <a:gd name="T10" fmla="*/ 112 w 152"/>
                <a:gd name="T11" fmla="*/ 80 h 120"/>
                <a:gd name="T12" fmla="*/ 80 w 152"/>
                <a:gd name="T13" fmla="*/ 104 h 120"/>
                <a:gd name="T14" fmla="*/ 56 w 152"/>
                <a:gd name="T15" fmla="*/ 104 h 120"/>
                <a:gd name="T16" fmla="*/ 40 w 152"/>
                <a:gd name="T17" fmla="*/ 120 h 120"/>
                <a:gd name="T18" fmla="*/ 24 w 152"/>
                <a:gd name="T19" fmla="*/ 96 h 120"/>
                <a:gd name="T20" fmla="*/ 24 w 152"/>
                <a:gd name="T21" fmla="*/ 80 h 120"/>
                <a:gd name="T22" fmla="*/ 24 w 152"/>
                <a:gd name="T23" fmla="*/ 64 h 120"/>
                <a:gd name="T24" fmla="*/ 32 w 152"/>
                <a:gd name="T25" fmla="*/ 56 h 120"/>
                <a:gd name="T26" fmla="*/ 32 w 152"/>
                <a:gd name="T27" fmla="*/ 48 h 120"/>
                <a:gd name="T28" fmla="*/ 40 w 152"/>
                <a:gd name="T29" fmla="*/ 32 h 120"/>
                <a:gd name="T30" fmla="*/ 32 w 152"/>
                <a:gd name="T31" fmla="*/ 32 h 120"/>
                <a:gd name="T32" fmla="*/ 8 w 152"/>
                <a:gd name="T33" fmla="*/ 32 h 120"/>
                <a:gd name="T34" fmla="*/ 0 w 152"/>
                <a:gd name="T35" fmla="*/ 16 h 120"/>
                <a:gd name="T36" fmla="*/ 8 w 152"/>
                <a:gd name="T37" fmla="*/ 8 h 120"/>
                <a:gd name="T38" fmla="*/ 16 w 152"/>
                <a:gd name="T39" fmla="*/ 0 h 120"/>
                <a:gd name="T40" fmla="*/ 64 w 152"/>
                <a:gd name="T41" fmla="*/ 8 h 120"/>
                <a:gd name="T42" fmla="*/ 88 w 152"/>
                <a:gd name="T43" fmla="*/ 8 h 120"/>
                <a:gd name="T44" fmla="*/ 96 w 152"/>
                <a:gd name="T45" fmla="*/ 8 h 120"/>
                <a:gd name="T46" fmla="*/ 112 w 152"/>
                <a:gd name="T47" fmla="*/ 1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2" h="120">
                  <a:moveTo>
                    <a:pt x="112" y="16"/>
                  </a:moveTo>
                  <a:lnTo>
                    <a:pt x="152" y="16"/>
                  </a:lnTo>
                  <a:lnTo>
                    <a:pt x="152" y="32"/>
                  </a:lnTo>
                  <a:lnTo>
                    <a:pt x="128" y="40"/>
                  </a:lnTo>
                  <a:lnTo>
                    <a:pt x="104" y="64"/>
                  </a:lnTo>
                  <a:lnTo>
                    <a:pt x="112" y="80"/>
                  </a:lnTo>
                  <a:lnTo>
                    <a:pt x="80" y="104"/>
                  </a:lnTo>
                  <a:lnTo>
                    <a:pt x="56" y="104"/>
                  </a:lnTo>
                  <a:lnTo>
                    <a:pt x="40" y="120"/>
                  </a:lnTo>
                  <a:lnTo>
                    <a:pt x="24" y="96"/>
                  </a:lnTo>
                  <a:lnTo>
                    <a:pt x="24" y="80"/>
                  </a:lnTo>
                  <a:lnTo>
                    <a:pt x="24" y="64"/>
                  </a:lnTo>
                  <a:lnTo>
                    <a:pt x="32" y="56"/>
                  </a:lnTo>
                  <a:lnTo>
                    <a:pt x="32" y="48"/>
                  </a:lnTo>
                  <a:lnTo>
                    <a:pt x="40" y="32"/>
                  </a:lnTo>
                  <a:lnTo>
                    <a:pt x="32" y="32"/>
                  </a:lnTo>
                  <a:lnTo>
                    <a:pt x="8" y="32"/>
                  </a:lnTo>
                  <a:lnTo>
                    <a:pt x="0" y="16"/>
                  </a:lnTo>
                  <a:lnTo>
                    <a:pt x="8" y="8"/>
                  </a:lnTo>
                  <a:lnTo>
                    <a:pt x="16" y="0"/>
                  </a:lnTo>
                  <a:lnTo>
                    <a:pt x="64" y="8"/>
                  </a:lnTo>
                  <a:lnTo>
                    <a:pt x="88" y="8"/>
                  </a:lnTo>
                  <a:lnTo>
                    <a:pt x="96" y="8"/>
                  </a:lnTo>
                  <a:lnTo>
                    <a:pt x="112"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86" name="Freeform 100">
              <a:extLst>
                <a:ext uri="{FF2B5EF4-FFF2-40B4-BE49-F238E27FC236}">
                  <a16:creationId xmlns:a16="http://schemas.microsoft.com/office/drawing/2014/main" id="{9E043BD1-8DB6-0F03-CC48-8E7E0CEF0E3A}"/>
                </a:ext>
              </a:extLst>
            </p:cNvPr>
            <p:cNvSpPr>
              <a:spLocks/>
            </p:cNvSpPr>
            <p:nvPr/>
          </p:nvSpPr>
          <p:spPr bwMode="auto">
            <a:xfrm>
              <a:off x="3660860" y="1681479"/>
              <a:ext cx="97670" cy="149499"/>
            </a:xfrm>
            <a:custGeom>
              <a:avLst/>
              <a:gdLst>
                <a:gd name="T0" fmla="*/ 32 w 48"/>
                <a:gd name="T1" fmla="*/ 48 h 72"/>
                <a:gd name="T2" fmla="*/ 32 w 48"/>
                <a:gd name="T3" fmla="*/ 32 h 72"/>
                <a:gd name="T4" fmla="*/ 40 w 48"/>
                <a:gd name="T5" fmla="*/ 24 h 72"/>
                <a:gd name="T6" fmla="*/ 40 w 48"/>
                <a:gd name="T7" fmla="*/ 16 h 72"/>
                <a:gd name="T8" fmla="*/ 48 w 48"/>
                <a:gd name="T9" fmla="*/ 0 h 72"/>
                <a:gd name="T10" fmla="*/ 40 w 48"/>
                <a:gd name="T11" fmla="*/ 0 h 72"/>
                <a:gd name="T12" fmla="*/ 16 w 48"/>
                <a:gd name="T13" fmla="*/ 0 h 72"/>
                <a:gd name="T14" fmla="*/ 16 w 48"/>
                <a:gd name="T15" fmla="*/ 8 h 72"/>
                <a:gd name="T16" fmla="*/ 0 w 48"/>
                <a:gd name="T17" fmla="*/ 40 h 72"/>
                <a:gd name="T18" fmla="*/ 8 w 48"/>
                <a:gd name="T19" fmla="*/ 48 h 72"/>
                <a:gd name="T20" fmla="*/ 8 w 48"/>
                <a:gd name="T21" fmla="*/ 72 h 72"/>
                <a:gd name="T22" fmla="*/ 32 w 48"/>
                <a:gd name="T23" fmla="*/ 64 h 72"/>
                <a:gd name="T24" fmla="*/ 32 w 48"/>
                <a:gd name="T25" fmla="*/ 4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72">
                  <a:moveTo>
                    <a:pt x="32" y="48"/>
                  </a:moveTo>
                  <a:lnTo>
                    <a:pt x="32" y="32"/>
                  </a:lnTo>
                  <a:lnTo>
                    <a:pt x="40" y="24"/>
                  </a:lnTo>
                  <a:lnTo>
                    <a:pt x="40" y="16"/>
                  </a:lnTo>
                  <a:lnTo>
                    <a:pt x="48" y="0"/>
                  </a:lnTo>
                  <a:lnTo>
                    <a:pt x="40" y="0"/>
                  </a:lnTo>
                  <a:lnTo>
                    <a:pt x="16" y="0"/>
                  </a:lnTo>
                  <a:lnTo>
                    <a:pt x="16" y="8"/>
                  </a:lnTo>
                  <a:lnTo>
                    <a:pt x="0" y="40"/>
                  </a:lnTo>
                  <a:lnTo>
                    <a:pt x="8" y="48"/>
                  </a:lnTo>
                  <a:lnTo>
                    <a:pt x="8" y="72"/>
                  </a:lnTo>
                  <a:lnTo>
                    <a:pt x="32" y="64"/>
                  </a:lnTo>
                  <a:lnTo>
                    <a:pt x="32" y="4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87" name="Freeform 101">
              <a:extLst>
                <a:ext uri="{FF2B5EF4-FFF2-40B4-BE49-F238E27FC236}">
                  <a16:creationId xmlns:a16="http://schemas.microsoft.com/office/drawing/2014/main" id="{6AF9A7A6-C336-AB28-9BF3-4245E609AAA2}"/>
                </a:ext>
              </a:extLst>
            </p:cNvPr>
            <p:cNvSpPr>
              <a:spLocks/>
            </p:cNvSpPr>
            <p:nvPr/>
          </p:nvSpPr>
          <p:spPr bwMode="auto">
            <a:xfrm>
              <a:off x="3808100" y="1385499"/>
              <a:ext cx="294509" cy="264267"/>
            </a:xfrm>
            <a:custGeom>
              <a:avLst/>
              <a:gdLst>
                <a:gd name="T0" fmla="*/ 144 w 144"/>
                <a:gd name="T1" fmla="*/ 56 h 128"/>
                <a:gd name="T2" fmla="*/ 144 w 144"/>
                <a:gd name="T3" fmla="*/ 40 h 128"/>
                <a:gd name="T4" fmla="*/ 128 w 144"/>
                <a:gd name="T5" fmla="*/ 24 h 128"/>
                <a:gd name="T6" fmla="*/ 120 w 144"/>
                <a:gd name="T7" fmla="*/ 24 h 128"/>
                <a:gd name="T8" fmla="*/ 112 w 144"/>
                <a:gd name="T9" fmla="*/ 24 h 128"/>
                <a:gd name="T10" fmla="*/ 112 w 144"/>
                <a:gd name="T11" fmla="*/ 16 h 128"/>
                <a:gd name="T12" fmla="*/ 104 w 144"/>
                <a:gd name="T13" fmla="*/ 24 h 128"/>
                <a:gd name="T14" fmla="*/ 88 w 144"/>
                <a:gd name="T15" fmla="*/ 8 h 128"/>
                <a:gd name="T16" fmla="*/ 88 w 144"/>
                <a:gd name="T17" fmla="*/ 0 h 128"/>
                <a:gd name="T18" fmla="*/ 80 w 144"/>
                <a:gd name="T19" fmla="*/ 8 h 128"/>
                <a:gd name="T20" fmla="*/ 72 w 144"/>
                <a:gd name="T21" fmla="*/ 16 h 128"/>
                <a:gd name="T22" fmla="*/ 56 w 144"/>
                <a:gd name="T23" fmla="*/ 24 h 128"/>
                <a:gd name="T24" fmla="*/ 56 w 144"/>
                <a:gd name="T25" fmla="*/ 32 h 128"/>
                <a:gd name="T26" fmla="*/ 40 w 144"/>
                <a:gd name="T27" fmla="*/ 32 h 128"/>
                <a:gd name="T28" fmla="*/ 40 w 144"/>
                <a:gd name="T29" fmla="*/ 24 h 128"/>
                <a:gd name="T30" fmla="*/ 32 w 144"/>
                <a:gd name="T31" fmla="*/ 24 h 128"/>
                <a:gd name="T32" fmla="*/ 40 w 144"/>
                <a:gd name="T33" fmla="*/ 40 h 128"/>
                <a:gd name="T34" fmla="*/ 24 w 144"/>
                <a:gd name="T35" fmla="*/ 40 h 128"/>
                <a:gd name="T36" fmla="*/ 16 w 144"/>
                <a:gd name="T37" fmla="*/ 40 h 128"/>
                <a:gd name="T38" fmla="*/ 0 w 144"/>
                <a:gd name="T39" fmla="*/ 40 h 128"/>
                <a:gd name="T40" fmla="*/ 0 w 144"/>
                <a:gd name="T41" fmla="*/ 48 h 128"/>
                <a:gd name="T42" fmla="*/ 24 w 144"/>
                <a:gd name="T43" fmla="*/ 56 h 128"/>
                <a:gd name="T44" fmla="*/ 40 w 144"/>
                <a:gd name="T45" fmla="*/ 72 h 128"/>
                <a:gd name="T46" fmla="*/ 40 w 144"/>
                <a:gd name="T47" fmla="*/ 80 h 128"/>
                <a:gd name="T48" fmla="*/ 32 w 144"/>
                <a:gd name="T49" fmla="*/ 112 h 128"/>
                <a:gd name="T50" fmla="*/ 32 w 144"/>
                <a:gd name="T51" fmla="*/ 120 h 128"/>
                <a:gd name="T52" fmla="*/ 48 w 144"/>
                <a:gd name="T53" fmla="*/ 128 h 128"/>
                <a:gd name="T54" fmla="*/ 88 w 144"/>
                <a:gd name="T55" fmla="*/ 128 h 128"/>
                <a:gd name="T56" fmla="*/ 96 w 144"/>
                <a:gd name="T57" fmla="*/ 120 h 128"/>
                <a:gd name="T58" fmla="*/ 128 w 144"/>
                <a:gd name="T59" fmla="*/ 120 h 128"/>
                <a:gd name="T60" fmla="*/ 144 w 144"/>
                <a:gd name="T61" fmla="*/ 112 h 128"/>
                <a:gd name="T62" fmla="*/ 128 w 144"/>
                <a:gd name="T63" fmla="*/ 96 h 128"/>
                <a:gd name="T64" fmla="*/ 136 w 144"/>
                <a:gd name="T65" fmla="*/ 80 h 128"/>
                <a:gd name="T66" fmla="*/ 128 w 144"/>
                <a:gd name="T67" fmla="*/ 72 h 128"/>
                <a:gd name="T68" fmla="*/ 128 w 144"/>
                <a:gd name="T69" fmla="*/ 80 h 128"/>
                <a:gd name="T70" fmla="*/ 120 w 144"/>
                <a:gd name="T71" fmla="*/ 72 h 128"/>
                <a:gd name="T72" fmla="*/ 136 w 144"/>
                <a:gd name="T73" fmla="*/ 56 h 128"/>
                <a:gd name="T74" fmla="*/ 144 w 144"/>
                <a:gd name="T75"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4" h="128">
                  <a:moveTo>
                    <a:pt x="144" y="56"/>
                  </a:moveTo>
                  <a:lnTo>
                    <a:pt x="144" y="40"/>
                  </a:lnTo>
                  <a:lnTo>
                    <a:pt x="128" y="24"/>
                  </a:lnTo>
                  <a:lnTo>
                    <a:pt x="120" y="24"/>
                  </a:lnTo>
                  <a:lnTo>
                    <a:pt x="112" y="24"/>
                  </a:lnTo>
                  <a:lnTo>
                    <a:pt x="112" y="16"/>
                  </a:lnTo>
                  <a:lnTo>
                    <a:pt x="104" y="24"/>
                  </a:lnTo>
                  <a:lnTo>
                    <a:pt x="88" y="8"/>
                  </a:lnTo>
                  <a:lnTo>
                    <a:pt x="88" y="0"/>
                  </a:lnTo>
                  <a:lnTo>
                    <a:pt x="80" y="8"/>
                  </a:lnTo>
                  <a:lnTo>
                    <a:pt x="72" y="16"/>
                  </a:lnTo>
                  <a:lnTo>
                    <a:pt x="56" y="24"/>
                  </a:lnTo>
                  <a:lnTo>
                    <a:pt x="56" y="32"/>
                  </a:lnTo>
                  <a:lnTo>
                    <a:pt x="40" y="32"/>
                  </a:lnTo>
                  <a:lnTo>
                    <a:pt x="40" y="24"/>
                  </a:lnTo>
                  <a:lnTo>
                    <a:pt x="32" y="24"/>
                  </a:lnTo>
                  <a:lnTo>
                    <a:pt x="40" y="40"/>
                  </a:lnTo>
                  <a:lnTo>
                    <a:pt x="24" y="40"/>
                  </a:lnTo>
                  <a:lnTo>
                    <a:pt x="16" y="40"/>
                  </a:lnTo>
                  <a:lnTo>
                    <a:pt x="0" y="40"/>
                  </a:lnTo>
                  <a:lnTo>
                    <a:pt x="0" y="48"/>
                  </a:lnTo>
                  <a:lnTo>
                    <a:pt x="24" y="56"/>
                  </a:lnTo>
                  <a:lnTo>
                    <a:pt x="40" y="72"/>
                  </a:lnTo>
                  <a:lnTo>
                    <a:pt x="40" y="80"/>
                  </a:lnTo>
                  <a:lnTo>
                    <a:pt x="32" y="112"/>
                  </a:lnTo>
                  <a:lnTo>
                    <a:pt x="32" y="120"/>
                  </a:lnTo>
                  <a:lnTo>
                    <a:pt x="48" y="128"/>
                  </a:lnTo>
                  <a:lnTo>
                    <a:pt x="88" y="128"/>
                  </a:lnTo>
                  <a:lnTo>
                    <a:pt x="96" y="120"/>
                  </a:lnTo>
                  <a:lnTo>
                    <a:pt x="128" y="120"/>
                  </a:lnTo>
                  <a:lnTo>
                    <a:pt x="144" y="112"/>
                  </a:lnTo>
                  <a:lnTo>
                    <a:pt x="128" y="96"/>
                  </a:lnTo>
                  <a:lnTo>
                    <a:pt x="136" y="80"/>
                  </a:lnTo>
                  <a:lnTo>
                    <a:pt x="128" y="72"/>
                  </a:lnTo>
                  <a:lnTo>
                    <a:pt x="128" y="80"/>
                  </a:lnTo>
                  <a:lnTo>
                    <a:pt x="120" y="72"/>
                  </a:lnTo>
                  <a:lnTo>
                    <a:pt x="136" y="56"/>
                  </a:lnTo>
                  <a:lnTo>
                    <a:pt x="144" y="5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88" name="Freeform 102">
              <a:extLst>
                <a:ext uri="{FF2B5EF4-FFF2-40B4-BE49-F238E27FC236}">
                  <a16:creationId xmlns:a16="http://schemas.microsoft.com/office/drawing/2014/main" id="{7C18D914-20C2-1E46-FFCC-74EFED6BDA15}"/>
                </a:ext>
              </a:extLst>
            </p:cNvPr>
            <p:cNvSpPr>
              <a:spLocks/>
            </p:cNvSpPr>
            <p:nvPr/>
          </p:nvSpPr>
          <p:spPr bwMode="auto">
            <a:xfrm>
              <a:off x="4069556" y="1516887"/>
              <a:ext cx="294509" cy="280879"/>
            </a:xfrm>
            <a:custGeom>
              <a:avLst/>
              <a:gdLst>
                <a:gd name="T0" fmla="*/ 0 w 144"/>
                <a:gd name="T1" fmla="*/ 32 h 136"/>
                <a:gd name="T2" fmla="*/ 8 w 144"/>
                <a:gd name="T3" fmla="*/ 16 h 136"/>
                <a:gd name="T4" fmla="*/ 24 w 144"/>
                <a:gd name="T5" fmla="*/ 8 h 136"/>
                <a:gd name="T6" fmla="*/ 32 w 144"/>
                <a:gd name="T7" fmla="*/ 16 h 136"/>
                <a:gd name="T8" fmla="*/ 32 w 144"/>
                <a:gd name="T9" fmla="*/ 8 h 136"/>
                <a:gd name="T10" fmla="*/ 40 w 144"/>
                <a:gd name="T11" fmla="*/ 8 h 136"/>
                <a:gd name="T12" fmla="*/ 48 w 144"/>
                <a:gd name="T13" fmla="*/ 0 h 136"/>
                <a:gd name="T14" fmla="*/ 64 w 144"/>
                <a:gd name="T15" fmla="*/ 0 h 136"/>
                <a:gd name="T16" fmla="*/ 72 w 144"/>
                <a:gd name="T17" fmla="*/ 0 h 136"/>
                <a:gd name="T18" fmla="*/ 88 w 144"/>
                <a:gd name="T19" fmla="*/ 8 h 136"/>
                <a:gd name="T20" fmla="*/ 88 w 144"/>
                <a:gd name="T21" fmla="*/ 16 h 136"/>
                <a:gd name="T22" fmla="*/ 88 w 144"/>
                <a:gd name="T23" fmla="*/ 24 h 136"/>
                <a:gd name="T24" fmla="*/ 80 w 144"/>
                <a:gd name="T25" fmla="*/ 16 h 136"/>
                <a:gd name="T26" fmla="*/ 72 w 144"/>
                <a:gd name="T27" fmla="*/ 24 h 136"/>
                <a:gd name="T28" fmla="*/ 72 w 144"/>
                <a:gd name="T29" fmla="*/ 40 h 136"/>
                <a:gd name="T30" fmla="*/ 88 w 144"/>
                <a:gd name="T31" fmla="*/ 56 h 136"/>
                <a:gd name="T32" fmla="*/ 96 w 144"/>
                <a:gd name="T33" fmla="*/ 72 h 136"/>
                <a:gd name="T34" fmla="*/ 104 w 144"/>
                <a:gd name="T35" fmla="*/ 80 h 136"/>
                <a:gd name="T36" fmla="*/ 120 w 144"/>
                <a:gd name="T37" fmla="*/ 80 h 136"/>
                <a:gd name="T38" fmla="*/ 112 w 144"/>
                <a:gd name="T39" fmla="*/ 80 h 136"/>
                <a:gd name="T40" fmla="*/ 144 w 144"/>
                <a:gd name="T41" fmla="*/ 104 h 136"/>
                <a:gd name="T42" fmla="*/ 128 w 144"/>
                <a:gd name="T43" fmla="*/ 96 h 136"/>
                <a:gd name="T44" fmla="*/ 120 w 144"/>
                <a:gd name="T45" fmla="*/ 112 h 136"/>
                <a:gd name="T46" fmla="*/ 128 w 144"/>
                <a:gd name="T47" fmla="*/ 112 h 136"/>
                <a:gd name="T48" fmla="*/ 128 w 144"/>
                <a:gd name="T49" fmla="*/ 120 h 136"/>
                <a:gd name="T50" fmla="*/ 120 w 144"/>
                <a:gd name="T51" fmla="*/ 120 h 136"/>
                <a:gd name="T52" fmla="*/ 120 w 144"/>
                <a:gd name="T53" fmla="*/ 136 h 136"/>
                <a:gd name="T54" fmla="*/ 112 w 144"/>
                <a:gd name="T55" fmla="*/ 136 h 136"/>
                <a:gd name="T56" fmla="*/ 120 w 144"/>
                <a:gd name="T57" fmla="*/ 120 h 136"/>
                <a:gd name="T58" fmla="*/ 112 w 144"/>
                <a:gd name="T59" fmla="*/ 104 h 136"/>
                <a:gd name="T60" fmla="*/ 88 w 144"/>
                <a:gd name="T61" fmla="*/ 88 h 136"/>
                <a:gd name="T62" fmla="*/ 72 w 144"/>
                <a:gd name="T63" fmla="*/ 80 h 136"/>
                <a:gd name="T64" fmla="*/ 64 w 144"/>
                <a:gd name="T65" fmla="*/ 72 h 136"/>
                <a:gd name="T66" fmla="*/ 56 w 144"/>
                <a:gd name="T67" fmla="*/ 72 h 136"/>
                <a:gd name="T68" fmla="*/ 40 w 144"/>
                <a:gd name="T69" fmla="*/ 48 h 136"/>
                <a:gd name="T70" fmla="*/ 24 w 144"/>
                <a:gd name="T71" fmla="*/ 40 h 136"/>
                <a:gd name="T72" fmla="*/ 16 w 144"/>
                <a:gd name="T73" fmla="*/ 48 h 136"/>
                <a:gd name="T74" fmla="*/ 0 w 144"/>
                <a:gd name="T75" fmla="*/ 3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4" h="136">
                  <a:moveTo>
                    <a:pt x="0" y="32"/>
                  </a:moveTo>
                  <a:lnTo>
                    <a:pt x="8" y="16"/>
                  </a:lnTo>
                  <a:lnTo>
                    <a:pt x="24" y="8"/>
                  </a:lnTo>
                  <a:lnTo>
                    <a:pt x="32" y="16"/>
                  </a:lnTo>
                  <a:lnTo>
                    <a:pt x="32" y="8"/>
                  </a:lnTo>
                  <a:lnTo>
                    <a:pt x="40" y="8"/>
                  </a:lnTo>
                  <a:lnTo>
                    <a:pt x="48" y="0"/>
                  </a:lnTo>
                  <a:lnTo>
                    <a:pt x="64" y="0"/>
                  </a:lnTo>
                  <a:lnTo>
                    <a:pt x="72" y="0"/>
                  </a:lnTo>
                  <a:lnTo>
                    <a:pt x="88" y="8"/>
                  </a:lnTo>
                  <a:lnTo>
                    <a:pt x="88" y="16"/>
                  </a:lnTo>
                  <a:lnTo>
                    <a:pt x="88" y="24"/>
                  </a:lnTo>
                  <a:lnTo>
                    <a:pt x="80" y="16"/>
                  </a:lnTo>
                  <a:lnTo>
                    <a:pt x="72" y="24"/>
                  </a:lnTo>
                  <a:lnTo>
                    <a:pt x="72" y="40"/>
                  </a:lnTo>
                  <a:lnTo>
                    <a:pt x="88" y="56"/>
                  </a:lnTo>
                  <a:lnTo>
                    <a:pt x="96" y="72"/>
                  </a:lnTo>
                  <a:lnTo>
                    <a:pt x="104" y="80"/>
                  </a:lnTo>
                  <a:lnTo>
                    <a:pt x="120" y="80"/>
                  </a:lnTo>
                  <a:lnTo>
                    <a:pt x="112" y="80"/>
                  </a:lnTo>
                  <a:lnTo>
                    <a:pt x="144" y="104"/>
                  </a:lnTo>
                  <a:lnTo>
                    <a:pt x="128" y="96"/>
                  </a:lnTo>
                  <a:lnTo>
                    <a:pt x="120" y="112"/>
                  </a:lnTo>
                  <a:lnTo>
                    <a:pt x="128" y="112"/>
                  </a:lnTo>
                  <a:lnTo>
                    <a:pt x="128" y="120"/>
                  </a:lnTo>
                  <a:lnTo>
                    <a:pt x="120" y="120"/>
                  </a:lnTo>
                  <a:lnTo>
                    <a:pt x="120" y="136"/>
                  </a:lnTo>
                  <a:lnTo>
                    <a:pt x="112" y="136"/>
                  </a:lnTo>
                  <a:lnTo>
                    <a:pt x="120" y="120"/>
                  </a:lnTo>
                  <a:lnTo>
                    <a:pt x="112" y="104"/>
                  </a:lnTo>
                  <a:lnTo>
                    <a:pt x="88" y="88"/>
                  </a:lnTo>
                  <a:lnTo>
                    <a:pt x="72" y="80"/>
                  </a:lnTo>
                  <a:lnTo>
                    <a:pt x="64" y="72"/>
                  </a:lnTo>
                  <a:lnTo>
                    <a:pt x="56" y="72"/>
                  </a:lnTo>
                  <a:lnTo>
                    <a:pt x="40" y="48"/>
                  </a:lnTo>
                  <a:lnTo>
                    <a:pt x="24" y="40"/>
                  </a:lnTo>
                  <a:lnTo>
                    <a:pt x="16" y="48"/>
                  </a:lnTo>
                  <a:lnTo>
                    <a:pt x="0"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89" name="Freeform 103">
              <a:extLst>
                <a:ext uri="{FF2B5EF4-FFF2-40B4-BE49-F238E27FC236}">
                  <a16:creationId xmlns:a16="http://schemas.microsoft.com/office/drawing/2014/main" id="{61CC937B-5A67-077F-DC6E-746E75F24F95}"/>
                </a:ext>
              </a:extLst>
            </p:cNvPr>
            <p:cNvSpPr>
              <a:spLocks/>
            </p:cNvSpPr>
            <p:nvPr/>
          </p:nvSpPr>
          <p:spPr bwMode="auto">
            <a:xfrm>
              <a:off x="4461737" y="1599933"/>
              <a:ext cx="163784" cy="98156"/>
            </a:xfrm>
            <a:custGeom>
              <a:avLst/>
              <a:gdLst>
                <a:gd name="T0" fmla="*/ 56 w 80"/>
                <a:gd name="T1" fmla="*/ 0 h 48"/>
                <a:gd name="T2" fmla="*/ 40 w 80"/>
                <a:gd name="T3" fmla="*/ 8 h 48"/>
                <a:gd name="T4" fmla="*/ 16 w 80"/>
                <a:gd name="T5" fmla="*/ 8 h 48"/>
                <a:gd name="T6" fmla="*/ 8 w 80"/>
                <a:gd name="T7" fmla="*/ 0 h 48"/>
                <a:gd name="T8" fmla="*/ 0 w 80"/>
                <a:gd name="T9" fmla="*/ 8 h 48"/>
                <a:gd name="T10" fmla="*/ 0 w 80"/>
                <a:gd name="T11" fmla="*/ 24 h 48"/>
                <a:gd name="T12" fmla="*/ 0 w 80"/>
                <a:gd name="T13" fmla="*/ 32 h 48"/>
                <a:gd name="T14" fmla="*/ 8 w 80"/>
                <a:gd name="T15" fmla="*/ 48 h 48"/>
                <a:gd name="T16" fmla="*/ 24 w 80"/>
                <a:gd name="T17" fmla="*/ 40 h 48"/>
                <a:gd name="T18" fmla="*/ 40 w 80"/>
                <a:gd name="T19" fmla="*/ 48 h 48"/>
                <a:gd name="T20" fmla="*/ 48 w 80"/>
                <a:gd name="T21" fmla="*/ 40 h 48"/>
                <a:gd name="T22" fmla="*/ 72 w 80"/>
                <a:gd name="T23" fmla="*/ 40 h 48"/>
                <a:gd name="T24" fmla="*/ 64 w 80"/>
                <a:gd name="T25" fmla="*/ 24 h 48"/>
                <a:gd name="T26" fmla="*/ 72 w 80"/>
                <a:gd name="T27" fmla="*/ 16 h 48"/>
                <a:gd name="T28" fmla="*/ 80 w 80"/>
                <a:gd name="T29" fmla="*/ 8 h 48"/>
                <a:gd name="T30" fmla="*/ 56 w 80"/>
                <a:gd name="T3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48">
                  <a:moveTo>
                    <a:pt x="56" y="0"/>
                  </a:moveTo>
                  <a:lnTo>
                    <a:pt x="40" y="8"/>
                  </a:lnTo>
                  <a:lnTo>
                    <a:pt x="16" y="8"/>
                  </a:lnTo>
                  <a:lnTo>
                    <a:pt x="8" y="0"/>
                  </a:lnTo>
                  <a:lnTo>
                    <a:pt x="0" y="8"/>
                  </a:lnTo>
                  <a:lnTo>
                    <a:pt x="0" y="24"/>
                  </a:lnTo>
                  <a:lnTo>
                    <a:pt x="0" y="32"/>
                  </a:lnTo>
                  <a:lnTo>
                    <a:pt x="8" y="48"/>
                  </a:lnTo>
                  <a:lnTo>
                    <a:pt x="24" y="40"/>
                  </a:lnTo>
                  <a:lnTo>
                    <a:pt x="40" y="48"/>
                  </a:lnTo>
                  <a:lnTo>
                    <a:pt x="48" y="40"/>
                  </a:lnTo>
                  <a:lnTo>
                    <a:pt x="72" y="40"/>
                  </a:lnTo>
                  <a:lnTo>
                    <a:pt x="64" y="24"/>
                  </a:lnTo>
                  <a:lnTo>
                    <a:pt x="72" y="16"/>
                  </a:lnTo>
                  <a:lnTo>
                    <a:pt x="80" y="8"/>
                  </a:lnTo>
                  <a:lnTo>
                    <a:pt x="56"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90" name="Freeform 104">
              <a:extLst>
                <a:ext uri="{FF2B5EF4-FFF2-40B4-BE49-F238E27FC236}">
                  <a16:creationId xmlns:a16="http://schemas.microsoft.com/office/drawing/2014/main" id="{A91C9B5D-AD1B-0C49-EF8E-5460F92B5045}"/>
                </a:ext>
              </a:extLst>
            </p:cNvPr>
            <p:cNvSpPr>
              <a:spLocks/>
            </p:cNvSpPr>
            <p:nvPr/>
          </p:nvSpPr>
          <p:spPr bwMode="auto">
            <a:xfrm>
              <a:off x="4413650" y="1681479"/>
              <a:ext cx="147255" cy="132889"/>
            </a:xfrm>
            <a:custGeom>
              <a:avLst/>
              <a:gdLst>
                <a:gd name="T0" fmla="*/ 72 w 72"/>
                <a:gd name="T1" fmla="*/ 0 h 64"/>
                <a:gd name="T2" fmla="*/ 64 w 72"/>
                <a:gd name="T3" fmla="*/ 8 h 64"/>
                <a:gd name="T4" fmla="*/ 48 w 72"/>
                <a:gd name="T5" fmla="*/ 0 h 64"/>
                <a:gd name="T6" fmla="*/ 32 w 72"/>
                <a:gd name="T7" fmla="*/ 8 h 64"/>
                <a:gd name="T8" fmla="*/ 8 w 72"/>
                <a:gd name="T9" fmla="*/ 16 h 64"/>
                <a:gd name="T10" fmla="*/ 0 w 72"/>
                <a:gd name="T11" fmla="*/ 32 h 64"/>
                <a:gd name="T12" fmla="*/ 16 w 72"/>
                <a:gd name="T13" fmla="*/ 48 h 64"/>
                <a:gd name="T14" fmla="*/ 32 w 72"/>
                <a:gd name="T15" fmla="*/ 48 h 64"/>
                <a:gd name="T16" fmla="*/ 48 w 72"/>
                <a:gd name="T17" fmla="*/ 64 h 64"/>
                <a:gd name="T18" fmla="*/ 48 w 72"/>
                <a:gd name="T19" fmla="*/ 56 h 64"/>
                <a:gd name="T20" fmla="*/ 56 w 72"/>
                <a:gd name="T21" fmla="*/ 56 h 64"/>
                <a:gd name="T22" fmla="*/ 40 w 72"/>
                <a:gd name="T23" fmla="*/ 40 h 64"/>
                <a:gd name="T24" fmla="*/ 32 w 72"/>
                <a:gd name="T25" fmla="*/ 24 h 64"/>
                <a:gd name="T26" fmla="*/ 32 w 72"/>
                <a:gd name="T27" fmla="*/ 16 h 64"/>
                <a:gd name="T28" fmla="*/ 40 w 72"/>
                <a:gd name="T29" fmla="*/ 24 h 64"/>
                <a:gd name="T30" fmla="*/ 40 w 72"/>
                <a:gd name="T31" fmla="*/ 16 h 64"/>
                <a:gd name="T32" fmla="*/ 48 w 72"/>
                <a:gd name="T33" fmla="*/ 8 h 64"/>
                <a:gd name="T34" fmla="*/ 64 w 72"/>
                <a:gd name="T35" fmla="*/ 16 h 64"/>
                <a:gd name="T36" fmla="*/ 72 w 72"/>
                <a:gd name="T37" fmla="*/ 16 h 64"/>
                <a:gd name="T38" fmla="*/ 72 w 72"/>
                <a:gd name="T3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64">
                  <a:moveTo>
                    <a:pt x="72" y="0"/>
                  </a:moveTo>
                  <a:lnTo>
                    <a:pt x="64" y="8"/>
                  </a:lnTo>
                  <a:lnTo>
                    <a:pt x="48" y="0"/>
                  </a:lnTo>
                  <a:lnTo>
                    <a:pt x="32" y="8"/>
                  </a:lnTo>
                  <a:lnTo>
                    <a:pt x="8" y="16"/>
                  </a:lnTo>
                  <a:lnTo>
                    <a:pt x="0" y="32"/>
                  </a:lnTo>
                  <a:lnTo>
                    <a:pt x="16" y="48"/>
                  </a:lnTo>
                  <a:lnTo>
                    <a:pt x="32" y="48"/>
                  </a:lnTo>
                  <a:lnTo>
                    <a:pt x="48" y="64"/>
                  </a:lnTo>
                  <a:lnTo>
                    <a:pt x="48" y="56"/>
                  </a:lnTo>
                  <a:lnTo>
                    <a:pt x="56" y="56"/>
                  </a:lnTo>
                  <a:lnTo>
                    <a:pt x="40" y="40"/>
                  </a:lnTo>
                  <a:lnTo>
                    <a:pt x="32" y="24"/>
                  </a:lnTo>
                  <a:lnTo>
                    <a:pt x="32" y="16"/>
                  </a:lnTo>
                  <a:lnTo>
                    <a:pt x="40" y="24"/>
                  </a:lnTo>
                  <a:lnTo>
                    <a:pt x="40" y="16"/>
                  </a:lnTo>
                  <a:lnTo>
                    <a:pt x="48" y="8"/>
                  </a:lnTo>
                  <a:lnTo>
                    <a:pt x="64" y="16"/>
                  </a:lnTo>
                  <a:lnTo>
                    <a:pt x="72" y="16"/>
                  </a:lnTo>
                  <a:lnTo>
                    <a:pt x="72"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91" name="Freeform 105">
              <a:extLst>
                <a:ext uri="{FF2B5EF4-FFF2-40B4-BE49-F238E27FC236}">
                  <a16:creationId xmlns:a16="http://schemas.microsoft.com/office/drawing/2014/main" id="{D170BBD2-71ED-E921-CD9E-7FE4773BB578}"/>
                </a:ext>
              </a:extLst>
            </p:cNvPr>
            <p:cNvSpPr>
              <a:spLocks/>
            </p:cNvSpPr>
            <p:nvPr/>
          </p:nvSpPr>
          <p:spPr bwMode="auto">
            <a:xfrm>
              <a:off x="4397123" y="1485174"/>
              <a:ext cx="244923" cy="131379"/>
            </a:xfrm>
            <a:custGeom>
              <a:avLst/>
              <a:gdLst>
                <a:gd name="T0" fmla="*/ 104 w 120"/>
                <a:gd name="T1" fmla="*/ 40 h 64"/>
                <a:gd name="T2" fmla="*/ 120 w 120"/>
                <a:gd name="T3" fmla="*/ 40 h 64"/>
                <a:gd name="T4" fmla="*/ 120 w 120"/>
                <a:gd name="T5" fmla="*/ 48 h 64"/>
                <a:gd name="T6" fmla="*/ 104 w 120"/>
                <a:gd name="T7" fmla="*/ 56 h 64"/>
                <a:gd name="T8" fmla="*/ 112 w 120"/>
                <a:gd name="T9" fmla="*/ 64 h 64"/>
                <a:gd name="T10" fmla="*/ 88 w 120"/>
                <a:gd name="T11" fmla="*/ 56 h 64"/>
                <a:gd name="T12" fmla="*/ 72 w 120"/>
                <a:gd name="T13" fmla="*/ 64 h 64"/>
                <a:gd name="T14" fmla="*/ 48 w 120"/>
                <a:gd name="T15" fmla="*/ 64 h 64"/>
                <a:gd name="T16" fmla="*/ 40 w 120"/>
                <a:gd name="T17" fmla="*/ 56 h 64"/>
                <a:gd name="T18" fmla="*/ 32 w 120"/>
                <a:gd name="T19" fmla="*/ 48 h 64"/>
                <a:gd name="T20" fmla="*/ 24 w 120"/>
                <a:gd name="T21" fmla="*/ 48 h 64"/>
                <a:gd name="T22" fmla="*/ 0 w 120"/>
                <a:gd name="T23" fmla="*/ 32 h 64"/>
                <a:gd name="T24" fmla="*/ 8 w 120"/>
                <a:gd name="T25" fmla="*/ 32 h 64"/>
                <a:gd name="T26" fmla="*/ 16 w 120"/>
                <a:gd name="T27" fmla="*/ 24 h 64"/>
                <a:gd name="T28" fmla="*/ 24 w 120"/>
                <a:gd name="T29" fmla="*/ 8 h 64"/>
                <a:gd name="T30" fmla="*/ 32 w 120"/>
                <a:gd name="T31" fmla="*/ 0 h 64"/>
                <a:gd name="T32" fmla="*/ 56 w 120"/>
                <a:gd name="T33" fmla="*/ 8 h 64"/>
                <a:gd name="T34" fmla="*/ 80 w 120"/>
                <a:gd name="T35" fmla="*/ 0 h 64"/>
                <a:gd name="T36" fmla="*/ 96 w 120"/>
                <a:gd name="T37" fmla="*/ 16 h 64"/>
                <a:gd name="T38" fmla="*/ 104 w 120"/>
                <a:gd name="T39" fmla="*/ 4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 h="64">
                  <a:moveTo>
                    <a:pt x="104" y="40"/>
                  </a:moveTo>
                  <a:lnTo>
                    <a:pt x="120" y="40"/>
                  </a:lnTo>
                  <a:lnTo>
                    <a:pt x="120" y="48"/>
                  </a:lnTo>
                  <a:lnTo>
                    <a:pt x="104" y="56"/>
                  </a:lnTo>
                  <a:lnTo>
                    <a:pt x="112" y="64"/>
                  </a:lnTo>
                  <a:lnTo>
                    <a:pt x="88" y="56"/>
                  </a:lnTo>
                  <a:lnTo>
                    <a:pt x="72" y="64"/>
                  </a:lnTo>
                  <a:lnTo>
                    <a:pt x="48" y="64"/>
                  </a:lnTo>
                  <a:lnTo>
                    <a:pt x="40" y="56"/>
                  </a:lnTo>
                  <a:lnTo>
                    <a:pt x="32" y="48"/>
                  </a:lnTo>
                  <a:lnTo>
                    <a:pt x="24" y="48"/>
                  </a:lnTo>
                  <a:lnTo>
                    <a:pt x="0" y="32"/>
                  </a:lnTo>
                  <a:lnTo>
                    <a:pt x="8" y="32"/>
                  </a:lnTo>
                  <a:lnTo>
                    <a:pt x="16" y="24"/>
                  </a:lnTo>
                  <a:lnTo>
                    <a:pt x="24" y="8"/>
                  </a:lnTo>
                  <a:lnTo>
                    <a:pt x="32" y="0"/>
                  </a:lnTo>
                  <a:lnTo>
                    <a:pt x="56" y="8"/>
                  </a:lnTo>
                  <a:lnTo>
                    <a:pt x="80" y="0"/>
                  </a:lnTo>
                  <a:lnTo>
                    <a:pt x="96" y="16"/>
                  </a:lnTo>
                  <a:lnTo>
                    <a:pt x="104" y="4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92" name="Freeform 106">
              <a:extLst>
                <a:ext uri="{FF2B5EF4-FFF2-40B4-BE49-F238E27FC236}">
                  <a16:creationId xmlns:a16="http://schemas.microsoft.com/office/drawing/2014/main" id="{C0DA179C-35F8-3A5D-EA14-E88AB849FE9D}"/>
                </a:ext>
              </a:extLst>
            </p:cNvPr>
            <p:cNvSpPr>
              <a:spLocks/>
            </p:cNvSpPr>
            <p:nvPr/>
          </p:nvSpPr>
          <p:spPr bwMode="auto">
            <a:xfrm>
              <a:off x="4249867" y="1516878"/>
              <a:ext cx="64612" cy="49834"/>
            </a:xfrm>
            <a:custGeom>
              <a:avLst/>
              <a:gdLst>
                <a:gd name="T0" fmla="*/ 0 w 32"/>
                <a:gd name="T1" fmla="*/ 24 h 24"/>
                <a:gd name="T2" fmla="*/ 0 w 32"/>
                <a:gd name="T3" fmla="*/ 16 h 24"/>
                <a:gd name="T4" fmla="*/ 0 w 32"/>
                <a:gd name="T5" fmla="*/ 8 h 24"/>
                <a:gd name="T6" fmla="*/ 24 w 32"/>
                <a:gd name="T7" fmla="*/ 0 h 24"/>
                <a:gd name="T8" fmla="*/ 32 w 32"/>
                <a:gd name="T9" fmla="*/ 8 h 24"/>
                <a:gd name="T10" fmla="*/ 16 w 32"/>
                <a:gd name="T11" fmla="*/ 16 h 24"/>
                <a:gd name="T12" fmla="*/ 16 w 32"/>
                <a:gd name="T13" fmla="*/ 24 h 24"/>
                <a:gd name="T14" fmla="*/ 8 w 32"/>
                <a:gd name="T15" fmla="*/ 16 h 24"/>
                <a:gd name="T16" fmla="*/ 0 w 32"/>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4">
                  <a:moveTo>
                    <a:pt x="0" y="24"/>
                  </a:moveTo>
                  <a:lnTo>
                    <a:pt x="0" y="16"/>
                  </a:lnTo>
                  <a:lnTo>
                    <a:pt x="0" y="8"/>
                  </a:lnTo>
                  <a:lnTo>
                    <a:pt x="24" y="0"/>
                  </a:lnTo>
                  <a:lnTo>
                    <a:pt x="32" y="8"/>
                  </a:lnTo>
                  <a:lnTo>
                    <a:pt x="16" y="16"/>
                  </a:lnTo>
                  <a:lnTo>
                    <a:pt x="16" y="24"/>
                  </a:lnTo>
                  <a:lnTo>
                    <a:pt x="8" y="16"/>
                  </a:lnTo>
                  <a:lnTo>
                    <a:pt x="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93" name="Freeform 107">
              <a:extLst>
                <a:ext uri="{FF2B5EF4-FFF2-40B4-BE49-F238E27FC236}">
                  <a16:creationId xmlns:a16="http://schemas.microsoft.com/office/drawing/2014/main" id="{DE001DBD-107D-5962-365B-CCCDFE28BC8E}"/>
                </a:ext>
              </a:extLst>
            </p:cNvPr>
            <p:cNvSpPr>
              <a:spLocks/>
            </p:cNvSpPr>
            <p:nvPr/>
          </p:nvSpPr>
          <p:spPr bwMode="auto">
            <a:xfrm>
              <a:off x="4249870" y="1533503"/>
              <a:ext cx="130727" cy="116277"/>
            </a:xfrm>
            <a:custGeom>
              <a:avLst/>
              <a:gdLst>
                <a:gd name="T0" fmla="*/ 56 w 64"/>
                <a:gd name="T1" fmla="*/ 8 h 56"/>
                <a:gd name="T2" fmla="*/ 48 w 64"/>
                <a:gd name="T3" fmla="*/ 8 h 56"/>
                <a:gd name="T4" fmla="*/ 32 w 64"/>
                <a:gd name="T5" fmla="*/ 0 h 56"/>
                <a:gd name="T6" fmla="*/ 16 w 64"/>
                <a:gd name="T7" fmla="*/ 8 h 56"/>
                <a:gd name="T8" fmla="*/ 16 w 64"/>
                <a:gd name="T9" fmla="*/ 16 h 56"/>
                <a:gd name="T10" fmla="*/ 8 w 64"/>
                <a:gd name="T11" fmla="*/ 8 h 56"/>
                <a:gd name="T12" fmla="*/ 0 w 64"/>
                <a:gd name="T13" fmla="*/ 16 h 56"/>
                <a:gd name="T14" fmla="*/ 0 w 64"/>
                <a:gd name="T15" fmla="*/ 24 h 56"/>
                <a:gd name="T16" fmla="*/ 8 w 64"/>
                <a:gd name="T17" fmla="*/ 16 h 56"/>
                <a:gd name="T18" fmla="*/ 16 w 64"/>
                <a:gd name="T19" fmla="*/ 24 h 56"/>
                <a:gd name="T20" fmla="*/ 16 w 64"/>
                <a:gd name="T21" fmla="*/ 40 h 56"/>
                <a:gd name="T22" fmla="*/ 56 w 64"/>
                <a:gd name="T23" fmla="*/ 56 h 56"/>
                <a:gd name="T24" fmla="*/ 32 w 64"/>
                <a:gd name="T25" fmla="*/ 32 h 56"/>
                <a:gd name="T26" fmla="*/ 24 w 64"/>
                <a:gd name="T27" fmla="*/ 24 h 56"/>
                <a:gd name="T28" fmla="*/ 32 w 64"/>
                <a:gd name="T29" fmla="*/ 16 h 56"/>
                <a:gd name="T30" fmla="*/ 56 w 64"/>
                <a:gd name="T31" fmla="*/ 24 h 56"/>
                <a:gd name="T32" fmla="*/ 64 w 64"/>
                <a:gd name="T33" fmla="*/ 24 h 56"/>
                <a:gd name="T34" fmla="*/ 64 w 64"/>
                <a:gd name="T35" fmla="*/ 16 h 56"/>
                <a:gd name="T36" fmla="*/ 56 w 64"/>
                <a:gd name="T37"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56">
                  <a:moveTo>
                    <a:pt x="56" y="8"/>
                  </a:moveTo>
                  <a:lnTo>
                    <a:pt x="48" y="8"/>
                  </a:lnTo>
                  <a:lnTo>
                    <a:pt x="32" y="0"/>
                  </a:lnTo>
                  <a:lnTo>
                    <a:pt x="16" y="8"/>
                  </a:lnTo>
                  <a:lnTo>
                    <a:pt x="16" y="16"/>
                  </a:lnTo>
                  <a:lnTo>
                    <a:pt x="8" y="8"/>
                  </a:lnTo>
                  <a:lnTo>
                    <a:pt x="0" y="16"/>
                  </a:lnTo>
                  <a:lnTo>
                    <a:pt x="0" y="24"/>
                  </a:lnTo>
                  <a:lnTo>
                    <a:pt x="8" y="16"/>
                  </a:lnTo>
                  <a:lnTo>
                    <a:pt x="16" y="24"/>
                  </a:lnTo>
                  <a:lnTo>
                    <a:pt x="16" y="40"/>
                  </a:lnTo>
                  <a:lnTo>
                    <a:pt x="56" y="56"/>
                  </a:lnTo>
                  <a:lnTo>
                    <a:pt x="32" y="32"/>
                  </a:lnTo>
                  <a:lnTo>
                    <a:pt x="24" y="24"/>
                  </a:lnTo>
                  <a:lnTo>
                    <a:pt x="32" y="16"/>
                  </a:lnTo>
                  <a:lnTo>
                    <a:pt x="56" y="24"/>
                  </a:lnTo>
                  <a:lnTo>
                    <a:pt x="64" y="24"/>
                  </a:lnTo>
                  <a:lnTo>
                    <a:pt x="64" y="16"/>
                  </a:lnTo>
                  <a:lnTo>
                    <a:pt x="56"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94" name="Freeform 108">
              <a:extLst>
                <a:ext uri="{FF2B5EF4-FFF2-40B4-BE49-F238E27FC236}">
                  <a16:creationId xmlns:a16="http://schemas.microsoft.com/office/drawing/2014/main" id="{5E6730C7-18D9-BFEE-FF60-A7B69D391236}"/>
                </a:ext>
              </a:extLst>
            </p:cNvPr>
            <p:cNvSpPr>
              <a:spLocks/>
            </p:cNvSpPr>
            <p:nvPr/>
          </p:nvSpPr>
          <p:spPr bwMode="auto">
            <a:xfrm>
              <a:off x="4299452" y="1566721"/>
              <a:ext cx="97670" cy="83056"/>
            </a:xfrm>
            <a:custGeom>
              <a:avLst/>
              <a:gdLst>
                <a:gd name="T0" fmla="*/ 40 w 48"/>
                <a:gd name="T1" fmla="*/ 8 h 40"/>
                <a:gd name="T2" fmla="*/ 40 w 48"/>
                <a:gd name="T3" fmla="*/ 16 h 40"/>
                <a:gd name="T4" fmla="*/ 48 w 48"/>
                <a:gd name="T5" fmla="*/ 24 h 40"/>
                <a:gd name="T6" fmla="*/ 40 w 48"/>
                <a:gd name="T7" fmla="*/ 24 h 40"/>
                <a:gd name="T8" fmla="*/ 32 w 48"/>
                <a:gd name="T9" fmla="*/ 32 h 40"/>
                <a:gd name="T10" fmla="*/ 32 w 48"/>
                <a:gd name="T11" fmla="*/ 40 h 40"/>
                <a:gd name="T12" fmla="*/ 8 w 48"/>
                <a:gd name="T13" fmla="*/ 16 h 40"/>
                <a:gd name="T14" fmla="*/ 0 w 48"/>
                <a:gd name="T15" fmla="*/ 8 h 40"/>
                <a:gd name="T16" fmla="*/ 8 w 48"/>
                <a:gd name="T17" fmla="*/ 0 h 40"/>
                <a:gd name="T18" fmla="*/ 32 w 48"/>
                <a:gd name="T19" fmla="*/ 8 h 40"/>
                <a:gd name="T20" fmla="*/ 40 w 48"/>
                <a:gd name="T21"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40">
                  <a:moveTo>
                    <a:pt x="40" y="8"/>
                  </a:moveTo>
                  <a:lnTo>
                    <a:pt x="40" y="16"/>
                  </a:lnTo>
                  <a:lnTo>
                    <a:pt x="48" y="24"/>
                  </a:lnTo>
                  <a:lnTo>
                    <a:pt x="40" y="24"/>
                  </a:lnTo>
                  <a:lnTo>
                    <a:pt x="32" y="32"/>
                  </a:lnTo>
                  <a:lnTo>
                    <a:pt x="32" y="40"/>
                  </a:lnTo>
                  <a:lnTo>
                    <a:pt x="8" y="16"/>
                  </a:lnTo>
                  <a:lnTo>
                    <a:pt x="0" y="8"/>
                  </a:lnTo>
                  <a:lnTo>
                    <a:pt x="8" y="0"/>
                  </a:lnTo>
                  <a:lnTo>
                    <a:pt x="32" y="8"/>
                  </a:lnTo>
                  <a:lnTo>
                    <a:pt x="4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95" name="Freeform 109">
              <a:extLst>
                <a:ext uri="{FF2B5EF4-FFF2-40B4-BE49-F238E27FC236}">
                  <a16:creationId xmlns:a16="http://schemas.microsoft.com/office/drawing/2014/main" id="{BF6E608D-C76C-B91F-8F31-B1040B35CA52}"/>
                </a:ext>
              </a:extLst>
            </p:cNvPr>
            <p:cNvSpPr>
              <a:spLocks/>
            </p:cNvSpPr>
            <p:nvPr/>
          </p:nvSpPr>
          <p:spPr bwMode="auto">
            <a:xfrm>
              <a:off x="4364065" y="1616545"/>
              <a:ext cx="49585" cy="64934"/>
            </a:xfrm>
            <a:custGeom>
              <a:avLst/>
              <a:gdLst>
                <a:gd name="T0" fmla="*/ 0 w 24"/>
                <a:gd name="T1" fmla="*/ 16 h 32"/>
                <a:gd name="T2" fmla="*/ 16 w 24"/>
                <a:gd name="T3" fmla="*/ 32 h 32"/>
                <a:gd name="T4" fmla="*/ 16 w 24"/>
                <a:gd name="T5" fmla="*/ 16 h 32"/>
                <a:gd name="T6" fmla="*/ 24 w 24"/>
                <a:gd name="T7" fmla="*/ 16 h 32"/>
                <a:gd name="T8" fmla="*/ 8 w 24"/>
                <a:gd name="T9" fmla="*/ 0 h 32"/>
                <a:gd name="T10" fmla="*/ 0 w 24"/>
                <a:gd name="T11" fmla="*/ 8 h 32"/>
                <a:gd name="T12" fmla="*/ 0 w 24"/>
                <a:gd name="T13" fmla="*/ 16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0" y="16"/>
                  </a:moveTo>
                  <a:lnTo>
                    <a:pt x="16" y="32"/>
                  </a:lnTo>
                  <a:lnTo>
                    <a:pt x="16" y="16"/>
                  </a:lnTo>
                  <a:lnTo>
                    <a:pt x="24" y="16"/>
                  </a:lnTo>
                  <a:lnTo>
                    <a:pt x="8" y="0"/>
                  </a:lnTo>
                  <a:lnTo>
                    <a:pt x="0" y="8"/>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96" name="Freeform 110">
              <a:extLst>
                <a:ext uri="{FF2B5EF4-FFF2-40B4-BE49-F238E27FC236}">
                  <a16:creationId xmlns:a16="http://schemas.microsoft.com/office/drawing/2014/main" id="{4FFE67A0-BFC3-A286-0488-B2AB9B031DAA}"/>
                </a:ext>
              </a:extLst>
            </p:cNvPr>
            <p:cNvSpPr>
              <a:spLocks/>
            </p:cNvSpPr>
            <p:nvPr/>
          </p:nvSpPr>
          <p:spPr bwMode="auto">
            <a:xfrm>
              <a:off x="4364065" y="1550103"/>
              <a:ext cx="114199" cy="131379"/>
            </a:xfrm>
            <a:custGeom>
              <a:avLst/>
              <a:gdLst>
                <a:gd name="T0" fmla="*/ 24 w 56"/>
                <a:gd name="T1" fmla="*/ 64 h 64"/>
                <a:gd name="T2" fmla="*/ 24 w 56"/>
                <a:gd name="T3" fmla="*/ 48 h 64"/>
                <a:gd name="T4" fmla="*/ 16 w 56"/>
                <a:gd name="T5" fmla="*/ 48 h 64"/>
                <a:gd name="T6" fmla="*/ 24 w 56"/>
                <a:gd name="T7" fmla="*/ 48 h 64"/>
                <a:gd name="T8" fmla="*/ 8 w 56"/>
                <a:gd name="T9" fmla="*/ 32 h 64"/>
                <a:gd name="T10" fmla="*/ 16 w 56"/>
                <a:gd name="T11" fmla="*/ 32 h 64"/>
                <a:gd name="T12" fmla="*/ 8 w 56"/>
                <a:gd name="T13" fmla="*/ 24 h 64"/>
                <a:gd name="T14" fmla="*/ 8 w 56"/>
                <a:gd name="T15" fmla="*/ 16 h 64"/>
                <a:gd name="T16" fmla="*/ 8 w 56"/>
                <a:gd name="T17" fmla="*/ 8 h 64"/>
                <a:gd name="T18" fmla="*/ 0 w 56"/>
                <a:gd name="T19" fmla="*/ 0 h 64"/>
                <a:gd name="T20" fmla="*/ 16 w 56"/>
                <a:gd name="T21" fmla="*/ 0 h 64"/>
                <a:gd name="T22" fmla="*/ 40 w 56"/>
                <a:gd name="T23" fmla="*/ 16 h 64"/>
                <a:gd name="T24" fmla="*/ 48 w 56"/>
                <a:gd name="T25" fmla="*/ 16 h 64"/>
                <a:gd name="T26" fmla="*/ 56 w 56"/>
                <a:gd name="T27" fmla="*/ 24 h 64"/>
                <a:gd name="T28" fmla="*/ 48 w 56"/>
                <a:gd name="T29" fmla="*/ 32 h 64"/>
                <a:gd name="T30" fmla="*/ 48 w 56"/>
                <a:gd name="T31" fmla="*/ 48 h 64"/>
                <a:gd name="T32" fmla="*/ 48 w 56"/>
                <a:gd name="T33" fmla="*/ 56 h 64"/>
                <a:gd name="T34" fmla="*/ 40 w 56"/>
                <a:gd name="T35" fmla="*/ 56 h 64"/>
                <a:gd name="T36" fmla="*/ 24 w 56"/>
                <a:gd name="T3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64">
                  <a:moveTo>
                    <a:pt x="24" y="64"/>
                  </a:moveTo>
                  <a:lnTo>
                    <a:pt x="24" y="48"/>
                  </a:lnTo>
                  <a:lnTo>
                    <a:pt x="16" y="48"/>
                  </a:lnTo>
                  <a:lnTo>
                    <a:pt x="24" y="48"/>
                  </a:lnTo>
                  <a:lnTo>
                    <a:pt x="8" y="32"/>
                  </a:lnTo>
                  <a:lnTo>
                    <a:pt x="16" y="32"/>
                  </a:lnTo>
                  <a:lnTo>
                    <a:pt x="8" y="24"/>
                  </a:lnTo>
                  <a:lnTo>
                    <a:pt x="8" y="16"/>
                  </a:lnTo>
                  <a:lnTo>
                    <a:pt x="8" y="8"/>
                  </a:lnTo>
                  <a:lnTo>
                    <a:pt x="0" y="0"/>
                  </a:lnTo>
                  <a:lnTo>
                    <a:pt x="16" y="0"/>
                  </a:lnTo>
                  <a:lnTo>
                    <a:pt x="40" y="16"/>
                  </a:lnTo>
                  <a:lnTo>
                    <a:pt x="48" y="16"/>
                  </a:lnTo>
                  <a:lnTo>
                    <a:pt x="56" y="24"/>
                  </a:lnTo>
                  <a:lnTo>
                    <a:pt x="48" y="32"/>
                  </a:lnTo>
                  <a:lnTo>
                    <a:pt x="48" y="48"/>
                  </a:lnTo>
                  <a:lnTo>
                    <a:pt x="48" y="56"/>
                  </a:lnTo>
                  <a:lnTo>
                    <a:pt x="40" y="56"/>
                  </a:lnTo>
                  <a:lnTo>
                    <a:pt x="24" y="6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97" name="Freeform 111">
              <a:extLst>
                <a:ext uri="{FF2B5EF4-FFF2-40B4-BE49-F238E27FC236}">
                  <a16:creationId xmlns:a16="http://schemas.microsoft.com/office/drawing/2014/main" id="{ECD2D5ED-310A-D1FA-87B6-3A71AE7FDB31}"/>
                </a:ext>
              </a:extLst>
            </p:cNvPr>
            <p:cNvSpPr>
              <a:spLocks/>
            </p:cNvSpPr>
            <p:nvPr/>
          </p:nvSpPr>
          <p:spPr bwMode="auto">
            <a:xfrm>
              <a:off x="4413650" y="1666378"/>
              <a:ext cx="64612" cy="48322"/>
            </a:xfrm>
            <a:custGeom>
              <a:avLst/>
              <a:gdLst>
                <a:gd name="T0" fmla="*/ 32 w 32"/>
                <a:gd name="T1" fmla="*/ 16 h 24"/>
                <a:gd name="T2" fmla="*/ 24 w 32"/>
                <a:gd name="T3" fmla="*/ 0 h 24"/>
                <a:gd name="T4" fmla="*/ 16 w 32"/>
                <a:gd name="T5" fmla="*/ 0 h 24"/>
                <a:gd name="T6" fmla="*/ 0 w 32"/>
                <a:gd name="T7" fmla="*/ 8 h 24"/>
                <a:gd name="T8" fmla="*/ 8 w 32"/>
                <a:gd name="T9" fmla="*/ 24 h 24"/>
                <a:gd name="T10" fmla="*/ 32 w 32"/>
                <a:gd name="T11" fmla="*/ 16 h 24"/>
              </a:gdLst>
              <a:ahLst/>
              <a:cxnLst>
                <a:cxn ang="0">
                  <a:pos x="T0" y="T1"/>
                </a:cxn>
                <a:cxn ang="0">
                  <a:pos x="T2" y="T3"/>
                </a:cxn>
                <a:cxn ang="0">
                  <a:pos x="T4" y="T5"/>
                </a:cxn>
                <a:cxn ang="0">
                  <a:pos x="T6" y="T7"/>
                </a:cxn>
                <a:cxn ang="0">
                  <a:pos x="T8" y="T9"/>
                </a:cxn>
                <a:cxn ang="0">
                  <a:pos x="T10" y="T11"/>
                </a:cxn>
              </a:cxnLst>
              <a:rect l="0" t="0" r="r" b="b"/>
              <a:pathLst>
                <a:path w="32" h="24">
                  <a:moveTo>
                    <a:pt x="32" y="16"/>
                  </a:moveTo>
                  <a:lnTo>
                    <a:pt x="24" y="0"/>
                  </a:lnTo>
                  <a:lnTo>
                    <a:pt x="16" y="0"/>
                  </a:lnTo>
                  <a:lnTo>
                    <a:pt x="0" y="8"/>
                  </a:lnTo>
                  <a:lnTo>
                    <a:pt x="8" y="24"/>
                  </a:lnTo>
                  <a:lnTo>
                    <a:pt x="32"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98" name="Freeform 112">
              <a:extLst>
                <a:ext uri="{FF2B5EF4-FFF2-40B4-BE49-F238E27FC236}">
                  <a16:creationId xmlns:a16="http://schemas.microsoft.com/office/drawing/2014/main" id="{0A6873C4-5378-4B56-6224-F2211C8368A1}"/>
                </a:ext>
              </a:extLst>
            </p:cNvPr>
            <p:cNvSpPr>
              <a:spLocks/>
            </p:cNvSpPr>
            <p:nvPr/>
          </p:nvSpPr>
          <p:spPr bwMode="auto">
            <a:xfrm>
              <a:off x="4249867" y="1287341"/>
              <a:ext cx="244923" cy="164601"/>
            </a:xfrm>
            <a:custGeom>
              <a:avLst/>
              <a:gdLst>
                <a:gd name="T0" fmla="*/ 112 w 120"/>
                <a:gd name="T1" fmla="*/ 48 h 80"/>
                <a:gd name="T2" fmla="*/ 104 w 120"/>
                <a:gd name="T3" fmla="*/ 40 h 80"/>
                <a:gd name="T4" fmla="*/ 112 w 120"/>
                <a:gd name="T5" fmla="*/ 24 h 80"/>
                <a:gd name="T6" fmla="*/ 104 w 120"/>
                <a:gd name="T7" fmla="*/ 8 h 80"/>
                <a:gd name="T8" fmla="*/ 96 w 120"/>
                <a:gd name="T9" fmla="*/ 8 h 80"/>
                <a:gd name="T10" fmla="*/ 64 w 120"/>
                <a:gd name="T11" fmla="*/ 0 h 80"/>
                <a:gd name="T12" fmla="*/ 56 w 120"/>
                <a:gd name="T13" fmla="*/ 8 h 80"/>
                <a:gd name="T14" fmla="*/ 48 w 120"/>
                <a:gd name="T15" fmla="*/ 0 h 80"/>
                <a:gd name="T16" fmla="*/ 0 w 120"/>
                <a:gd name="T17" fmla="*/ 16 h 80"/>
                <a:gd name="T18" fmla="*/ 8 w 120"/>
                <a:gd name="T19" fmla="*/ 56 h 80"/>
                <a:gd name="T20" fmla="*/ 24 w 120"/>
                <a:gd name="T21" fmla="*/ 56 h 80"/>
                <a:gd name="T22" fmla="*/ 32 w 120"/>
                <a:gd name="T23" fmla="*/ 64 h 80"/>
                <a:gd name="T24" fmla="*/ 48 w 120"/>
                <a:gd name="T25" fmla="*/ 72 h 80"/>
                <a:gd name="T26" fmla="*/ 72 w 120"/>
                <a:gd name="T27" fmla="*/ 80 h 80"/>
                <a:gd name="T28" fmla="*/ 88 w 120"/>
                <a:gd name="T29" fmla="*/ 80 h 80"/>
                <a:gd name="T30" fmla="*/ 96 w 120"/>
                <a:gd name="T31" fmla="*/ 80 h 80"/>
                <a:gd name="T32" fmla="*/ 120 w 120"/>
                <a:gd name="T33" fmla="*/ 64 h 80"/>
                <a:gd name="T34" fmla="*/ 112 w 120"/>
                <a:gd name="T35" fmla="*/ 4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80">
                  <a:moveTo>
                    <a:pt x="112" y="48"/>
                  </a:moveTo>
                  <a:lnTo>
                    <a:pt x="104" y="40"/>
                  </a:lnTo>
                  <a:lnTo>
                    <a:pt x="112" y="24"/>
                  </a:lnTo>
                  <a:lnTo>
                    <a:pt x="104" y="8"/>
                  </a:lnTo>
                  <a:lnTo>
                    <a:pt x="96" y="8"/>
                  </a:lnTo>
                  <a:lnTo>
                    <a:pt x="64" y="0"/>
                  </a:lnTo>
                  <a:lnTo>
                    <a:pt x="56" y="8"/>
                  </a:lnTo>
                  <a:lnTo>
                    <a:pt x="48" y="0"/>
                  </a:lnTo>
                  <a:lnTo>
                    <a:pt x="0" y="16"/>
                  </a:lnTo>
                  <a:lnTo>
                    <a:pt x="8" y="56"/>
                  </a:lnTo>
                  <a:lnTo>
                    <a:pt x="24" y="56"/>
                  </a:lnTo>
                  <a:lnTo>
                    <a:pt x="32" y="64"/>
                  </a:lnTo>
                  <a:lnTo>
                    <a:pt x="48" y="72"/>
                  </a:lnTo>
                  <a:lnTo>
                    <a:pt x="72" y="80"/>
                  </a:lnTo>
                  <a:lnTo>
                    <a:pt x="88" y="80"/>
                  </a:lnTo>
                  <a:lnTo>
                    <a:pt x="96" y="80"/>
                  </a:lnTo>
                  <a:lnTo>
                    <a:pt x="120" y="64"/>
                  </a:lnTo>
                  <a:lnTo>
                    <a:pt x="112" y="4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99" name="Freeform 113">
              <a:extLst>
                <a:ext uri="{FF2B5EF4-FFF2-40B4-BE49-F238E27FC236}">
                  <a16:creationId xmlns:a16="http://schemas.microsoft.com/office/drawing/2014/main" id="{1FF627B9-9544-5E61-0E6A-49667A1552BC}"/>
                </a:ext>
              </a:extLst>
            </p:cNvPr>
            <p:cNvSpPr>
              <a:spLocks/>
            </p:cNvSpPr>
            <p:nvPr/>
          </p:nvSpPr>
          <p:spPr bwMode="auto">
            <a:xfrm>
              <a:off x="4069554" y="1287343"/>
              <a:ext cx="196841" cy="212924"/>
            </a:xfrm>
            <a:custGeom>
              <a:avLst/>
              <a:gdLst>
                <a:gd name="T0" fmla="*/ 56 w 96"/>
                <a:gd name="T1" fmla="*/ 8 h 104"/>
                <a:gd name="T2" fmla="*/ 40 w 96"/>
                <a:gd name="T3" fmla="*/ 0 h 104"/>
                <a:gd name="T4" fmla="*/ 32 w 96"/>
                <a:gd name="T5" fmla="*/ 0 h 104"/>
                <a:gd name="T6" fmla="*/ 24 w 96"/>
                <a:gd name="T7" fmla="*/ 16 h 104"/>
                <a:gd name="T8" fmla="*/ 16 w 96"/>
                <a:gd name="T9" fmla="*/ 16 h 104"/>
                <a:gd name="T10" fmla="*/ 8 w 96"/>
                <a:gd name="T11" fmla="*/ 32 h 104"/>
                <a:gd name="T12" fmla="*/ 0 w 96"/>
                <a:gd name="T13" fmla="*/ 40 h 104"/>
                <a:gd name="T14" fmla="*/ 0 w 96"/>
                <a:gd name="T15" fmla="*/ 56 h 104"/>
                <a:gd name="T16" fmla="*/ 0 w 96"/>
                <a:gd name="T17" fmla="*/ 64 h 104"/>
                <a:gd name="T18" fmla="*/ 0 w 96"/>
                <a:gd name="T19" fmla="*/ 72 h 104"/>
                <a:gd name="T20" fmla="*/ 16 w 96"/>
                <a:gd name="T21" fmla="*/ 88 h 104"/>
                <a:gd name="T22" fmla="*/ 16 w 96"/>
                <a:gd name="T23" fmla="*/ 104 h 104"/>
                <a:gd name="T24" fmla="*/ 40 w 96"/>
                <a:gd name="T25" fmla="*/ 104 h 104"/>
                <a:gd name="T26" fmla="*/ 80 w 96"/>
                <a:gd name="T27" fmla="*/ 104 h 104"/>
                <a:gd name="T28" fmla="*/ 72 w 96"/>
                <a:gd name="T29" fmla="*/ 96 h 104"/>
                <a:gd name="T30" fmla="*/ 88 w 96"/>
                <a:gd name="T31" fmla="*/ 88 h 104"/>
                <a:gd name="T32" fmla="*/ 72 w 96"/>
                <a:gd name="T33" fmla="*/ 72 h 104"/>
                <a:gd name="T34" fmla="*/ 64 w 96"/>
                <a:gd name="T35" fmla="*/ 64 h 104"/>
                <a:gd name="T36" fmla="*/ 96 w 96"/>
                <a:gd name="T37" fmla="*/ 48 h 104"/>
                <a:gd name="T38" fmla="*/ 96 w 96"/>
                <a:gd name="T39" fmla="*/ 56 h 104"/>
                <a:gd name="T40" fmla="*/ 88 w 96"/>
                <a:gd name="T41" fmla="*/ 16 h 104"/>
                <a:gd name="T42" fmla="*/ 80 w 96"/>
                <a:gd name="T43" fmla="*/ 8 h 104"/>
                <a:gd name="T44" fmla="*/ 88 w 96"/>
                <a:gd name="T45" fmla="*/ 8 h 104"/>
                <a:gd name="T46" fmla="*/ 80 w 96"/>
                <a:gd name="T47" fmla="*/ 0 h 104"/>
                <a:gd name="T48" fmla="*/ 56 w 96"/>
                <a:gd name="T49" fmla="*/ 16 h 104"/>
                <a:gd name="T50" fmla="*/ 56 w 96"/>
                <a:gd name="T51"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 h="104">
                  <a:moveTo>
                    <a:pt x="56" y="8"/>
                  </a:moveTo>
                  <a:lnTo>
                    <a:pt x="40" y="0"/>
                  </a:lnTo>
                  <a:lnTo>
                    <a:pt x="32" y="0"/>
                  </a:lnTo>
                  <a:lnTo>
                    <a:pt x="24" y="16"/>
                  </a:lnTo>
                  <a:lnTo>
                    <a:pt x="16" y="16"/>
                  </a:lnTo>
                  <a:lnTo>
                    <a:pt x="8" y="32"/>
                  </a:lnTo>
                  <a:lnTo>
                    <a:pt x="0" y="40"/>
                  </a:lnTo>
                  <a:lnTo>
                    <a:pt x="0" y="56"/>
                  </a:lnTo>
                  <a:lnTo>
                    <a:pt x="0" y="64"/>
                  </a:lnTo>
                  <a:lnTo>
                    <a:pt x="0" y="72"/>
                  </a:lnTo>
                  <a:lnTo>
                    <a:pt x="16" y="88"/>
                  </a:lnTo>
                  <a:lnTo>
                    <a:pt x="16" y="104"/>
                  </a:lnTo>
                  <a:lnTo>
                    <a:pt x="40" y="104"/>
                  </a:lnTo>
                  <a:lnTo>
                    <a:pt x="80" y="104"/>
                  </a:lnTo>
                  <a:lnTo>
                    <a:pt x="72" y="96"/>
                  </a:lnTo>
                  <a:lnTo>
                    <a:pt x="88" y="88"/>
                  </a:lnTo>
                  <a:lnTo>
                    <a:pt x="72" y="72"/>
                  </a:lnTo>
                  <a:lnTo>
                    <a:pt x="64" y="64"/>
                  </a:lnTo>
                  <a:lnTo>
                    <a:pt x="96" y="48"/>
                  </a:lnTo>
                  <a:lnTo>
                    <a:pt x="96" y="56"/>
                  </a:lnTo>
                  <a:lnTo>
                    <a:pt x="88" y="16"/>
                  </a:lnTo>
                  <a:lnTo>
                    <a:pt x="80" y="8"/>
                  </a:lnTo>
                  <a:lnTo>
                    <a:pt x="88" y="8"/>
                  </a:lnTo>
                  <a:lnTo>
                    <a:pt x="80" y="0"/>
                  </a:lnTo>
                  <a:lnTo>
                    <a:pt x="56" y="16"/>
                  </a:lnTo>
                  <a:lnTo>
                    <a:pt x="56"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00" name="Freeform 114">
              <a:extLst>
                <a:ext uri="{FF2B5EF4-FFF2-40B4-BE49-F238E27FC236}">
                  <a16:creationId xmlns:a16="http://schemas.microsoft.com/office/drawing/2014/main" id="{4BCB46C3-E6D7-1BEF-6F5F-DC589F105718}"/>
                </a:ext>
              </a:extLst>
            </p:cNvPr>
            <p:cNvSpPr>
              <a:spLocks/>
            </p:cNvSpPr>
            <p:nvPr/>
          </p:nvSpPr>
          <p:spPr bwMode="auto">
            <a:xfrm>
              <a:off x="3988413" y="1385505"/>
              <a:ext cx="81140" cy="49833"/>
            </a:xfrm>
            <a:custGeom>
              <a:avLst/>
              <a:gdLst>
                <a:gd name="T0" fmla="*/ 8 w 40"/>
                <a:gd name="T1" fmla="*/ 0 h 24"/>
                <a:gd name="T2" fmla="*/ 24 w 40"/>
                <a:gd name="T3" fmla="*/ 0 h 24"/>
                <a:gd name="T4" fmla="*/ 40 w 40"/>
                <a:gd name="T5" fmla="*/ 8 h 24"/>
                <a:gd name="T6" fmla="*/ 40 w 40"/>
                <a:gd name="T7" fmla="*/ 16 h 24"/>
                <a:gd name="T8" fmla="*/ 32 w 40"/>
                <a:gd name="T9" fmla="*/ 24 h 24"/>
                <a:gd name="T10" fmla="*/ 24 w 40"/>
                <a:gd name="T11" fmla="*/ 24 h 24"/>
                <a:gd name="T12" fmla="*/ 24 w 40"/>
                <a:gd name="T13" fmla="*/ 16 h 24"/>
                <a:gd name="T14" fmla="*/ 16 w 40"/>
                <a:gd name="T15" fmla="*/ 24 h 24"/>
                <a:gd name="T16" fmla="*/ 0 w 40"/>
                <a:gd name="T17" fmla="*/ 8 h 24"/>
                <a:gd name="T18" fmla="*/ 8 w 40"/>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24">
                  <a:moveTo>
                    <a:pt x="8" y="0"/>
                  </a:moveTo>
                  <a:lnTo>
                    <a:pt x="24" y="0"/>
                  </a:lnTo>
                  <a:lnTo>
                    <a:pt x="40" y="8"/>
                  </a:lnTo>
                  <a:lnTo>
                    <a:pt x="40" y="16"/>
                  </a:lnTo>
                  <a:lnTo>
                    <a:pt x="32" y="24"/>
                  </a:lnTo>
                  <a:lnTo>
                    <a:pt x="24" y="24"/>
                  </a:lnTo>
                  <a:lnTo>
                    <a:pt x="24" y="16"/>
                  </a:lnTo>
                  <a:lnTo>
                    <a:pt x="16" y="24"/>
                  </a:lnTo>
                  <a:lnTo>
                    <a:pt x="0" y="8"/>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01" name="Freeform 115">
              <a:extLst>
                <a:ext uri="{FF2B5EF4-FFF2-40B4-BE49-F238E27FC236}">
                  <a16:creationId xmlns:a16="http://schemas.microsoft.com/office/drawing/2014/main" id="{3AF9F375-3EE1-B4AB-25F1-FACA4C019774}"/>
                </a:ext>
              </a:extLst>
            </p:cNvPr>
            <p:cNvSpPr>
              <a:spLocks/>
            </p:cNvSpPr>
            <p:nvPr/>
          </p:nvSpPr>
          <p:spPr bwMode="auto">
            <a:xfrm>
              <a:off x="4053027" y="825254"/>
              <a:ext cx="524409" cy="362426"/>
            </a:xfrm>
            <a:custGeom>
              <a:avLst/>
              <a:gdLst>
                <a:gd name="T0" fmla="*/ 152 w 256"/>
                <a:gd name="T1" fmla="*/ 40 h 176"/>
                <a:gd name="T2" fmla="*/ 128 w 256"/>
                <a:gd name="T3" fmla="*/ 40 h 176"/>
                <a:gd name="T4" fmla="*/ 112 w 256"/>
                <a:gd name="T5" fmla="*/ 56 h 176"/>
                <a:gd name="T6" fmla="*/ 88 w 256"/>
                <a:gd name="T7" fmla="*/ 88 h 176"/>
                <a:gd name="T8" fmla="*/ 72 w 256"/>
                <a:gd name="T9" fmla="*/ 96 h 176"/>
                <a:gd name="T10" fmla="*/ 80 w 256"/>
                <a:gd name="T11" fmla="*/ 136 h 176"/>
                <a:gd name="T12" fmla="*/ 80 w 256"/>
                <a:gd name="T13" fmla="*/ 152 h 176"/>
                <a:gd name="T14" fmla="*/ 64 w 256"/>
                <a:gd name="T15" fmla="*/ 168 h 176"/>
                <a:gd name="T16" fmla="*/ 56 w 256"/>
                <a:gd name="T17" fmla="*/ 160 h 176"/>
                <a:gd name="T18" fmla="*/ 8 w 256"/>
                <a:gd name="T19" fmla="*/ 176 h 176"/>
                <a:gd name="T20" fmla="*/ 8 w 256"/>
                <a:gd name="T21" fmla="*/ 160 h 176"/>
                <a:gd name="T22" fmla="*/ 8 w 256"/>
                <a:gd name="T23" fmla="*/ 152 h 176"/>
                <a:gd name="T24" fmla="*/ 0 w 256"/>
                <a:gd name="T25" fmla="*/ 136 h 176"/>
                <a:gd name="T26" fmla="*/ 24 w 256"/>
                <a:gd name="T27" fmla="*/ 112 h 176"/>
                <a:gd name="T28" fmla="*/ 40 w 256"/>
                <a:gd name="T29" fmla="*/ 96 h 176"/>
                <a:gd name="T30" fmla="*/ 72 w 256"/>
                <a:gd name="T31" fmla="*/ 80 h 176"/>
                <a:gd name="T32" fmla="*/ 112 w 256"/>
                <a:gd name="T33" fmla="*/ 40 h 176"/>
                <a:gd name="T34" fmla="*/ 104 w 256"/>
                <a:gd name="T35" fmla="*/ 40 h 176"/>
                <a:gd name="T36" fmla="*/ 112 w 256"/>
                <a:gd name="T37" fmla="*/ 24 h 176"/>
                <a:gd name="T38" fmla="*/ 120 w 256"/>
                <a:gd name="T39" fmla="*/ 32 h 176"/>
                <a:gd name="T40" fmla="*/ 120 w 256"/>
                <a:gd name="T41" fmla="*/ 32 h 176"/>
                <a:gd name="T42" fmla="*/ 136 w 256"/>
                <a:gd name="T43" fmla="*/ 16 h 176"/>
                <a:gd name="T44" fmla="*/ 176 w 256"/>
                <a:gd name="T45" fmla="*/ 8 h 176"/>
                <a:gd name="T46" fmla="*/ 200 w 256"/>
                <a:gd name="T47" fmla="*/ 0 h 176"/>
                <a:gd name="T48" fmla="*/ 208 w 256"/>
                <a:gd name="T49" fmla="*/ 8 h 176"/>
                <a:gd name="T50" fmla="*/ 224 w 256"/>
                <a:gd name="T51" fmla="*/ 0 h 176"/>
                <a:gd name="T52" fmla="*/ 256 w 256"/>
                <a:gd name="T53" fmla="*/ 8 h 176"/>
                <a:gd name="T54" fmla="*/ 256 w 256"/>
                <a:gd name="T55" fmla="*/ 24 h 176"/>
                <a:gd name="T56" fmla="*/ 240 w 256"/>
                <a:gd name="T57" fmla="*/ 24 h 176"/>
                <a:gd name="T58" fmla="*/ 208 w 256"/>
                <a:gd name="T59" fmla="*/ 16 h 176"/>
                <a:gd name="T60" fmla="*/ 200 w 256"/>
                <a:gd name="T61" fmla="*/ 32 h 176"/>
                <a:gd name="T62" fmla="*/ 160 w 256"/>
                <a:gd name="T63" fmla="*/ 2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176">
                  <a:moveTo>
                    <a:pt x="152" y="32"/>
                  </a:moveTo>
                  <a:lnTo>
                    <a:pt x="152" y="40"/>
                  </a:lnTo>
                  <a:lnTo>
                    <a:pt x="136" y="32"/>
                  </a:lnTo>
                  <a:lnTo>
                    <a:pt x="128" y="40"/>
                  </a:lnTo>
                  <a:lnTo>
                    <a:pt x="120" y="40"/>
                  </a:lnTo>
                  <a:lnTo>
                    <a:pt x="112" y="56"/>
                  </a:lnTo>
                  <a:lnTo>
                    <a:pt x="96" y="64"/>
                  </a:lnTo>
                  <a:lnTo>
                    <a:pt x="88" y="88"/>
                  </a:lnTo>
                  <a:lnTo>
                    <a:pt x="96" y="96"/>
                  </a:lnTo>
                  <a:lnTo>
                    <a:pt x="72" y="96"/>
                  </a:lnTo>
                  <a:lnTo>
                    <a:pt x="72" y="112"/>
                  </a:lnTo>
                  <a:lnTo>
                    <a:pt x="80" y="136"/>
                  </a:lnTo>
                  <a:lnTo>
                    <a:pt x="72" y="136"/>
                  </a:lnTo>
                  <a:lnTo>
                    <a:pt x="80" y="152"/>
                  </a:lnTo>
                  <a:lnTo>
                    <a:pt x="72" y="152"/>
                  </a:lnTo>
                  <a:lnTo>
                    <a:pt x="64" y="168"/>
                  </a:lnTo>
                  <a:lnTo>
                    <a:pt x="64" y="160"/>
                  </a:lnTo>
                  <a:lnTo>
                    <a:pt x="56" y="160"/>
                  </a:lnTo>
                  <a:lnTo>
                    <a:pt x="24" y="176"/>
                  </a:lnTo>
                  <a:lnTo>
                    <a:pt x="8" y="176"/>
                  </a:lnTo>
                  <a:lnTo>
                    <a:pt x="8" y="168"/>
                  </a:lnTo>
                  <a:lnTo>
                    <a:pt x="8" y="160"/>
                  </a:lnTo>
                  <a:lnTo>
                    <a:pt x="0" y="160"/>
                  </a:lnTo>
                  <a:lnTo>
                    <a:pt x="8" y="152"/>
                  </a:lnTo>
                  <a:lnTo>
                    <a:pt x="0" y="144"/>
                  </a:lnTo>
                  <a:lnTo>
                    <a:pt x="0" y="136"/>
                  </a:lnTo>
                  <a:lnTo>
                    <a:pt x="0" y="128"/>
                  </a:lnTo>
                  <a:lnTo>
                    <a:pt x="24" y="112"/>
                  </a:lnTo>
                  <a:lnTo>
                    <a:pt x="32" y="112"/>
                  </a:lnTo>
                  <a:lnTo>
                    <a:pt x="40" y="96"/>
                  </a:lnTo>
                  <a:lnTo>
                    <a:pt x="48" y="104"/>
                  </a:lnTo>
                  <a:lnTo>
                    <a:pt x="72" y="80"/>
                  </a:lnTo>
                  <a:lnTo>
                    <a:pt x="88" y="56"/>
                  </a:lnTo>
                  <a:lnTo>
                    <a:pt x="112" y="40"/>
                  </a:lnTo>
                  <a:lnTo>
                    <a:pt x="80" y="48"/>
                  </a:lnTo>
                  <a:lnTo>
                    <a:pt x="104" y="40"/>
                  </a:lnTo>
                  <a:lnTo>
                    <a:pt x="96" y="32"/>
                  </a:lnTo>
                  <a:lnTo>
                    <a:pt x="112" y="24"/>
                  </a:lnTo>
                  <a:lnTo>
                    <a:pt x="112" y="32"/>
                  </a:lnTo>
                  <a:lnTo>
                    <a:pt x="120" y="32"/>
                  </a:lnTo>
                  <a:lnTo>
                    <a:pt x="128" y="32"/>
                  </a:lnTo>
                  <a:lnTo>
                    <a:pt x="120" y="32"/>
                  </a:lnTo>
                  <a:lnTo>
                    <a:pt x="120" y="24"/>
                  </a:lnTo>
                  <a:lnTo>
                    <a:pt x="136" y="16"/>
                  </a:lnTo>
                  <a:lnTo>
                    <a:pt x="160" y="16"/>
                  </a:lnTo>
                  <a:lnTo>
                    <a:pt x="176" y="8"/>
                  </a:lnTo>
                  <a:lnTo>
                    <a:pt x="192" y="8"/>
                  </a:lnTo>
                  <a:lnTo>
                    <a:pt x="200" y="0"/>
                  </a:lnTo>
                  <a:lnTo>
                    <a:pt x="200" y="8"/>
                  </a:lnTo>
                  <a:lnTo>
                    <a:pt x="208" y="8"/>
                  </a:lnTo>
                  <a:lnTo>
                    <a:pt x="216" y="8"/>
                  </a:lnTo>
                  <a:lnTo>
                    <a:pt x="224" y="0"/>
                  </a:lnTo>
                  <a:lnTo>
                    <a:pt x="232" y="8"/>
                  </a:lnTo>
                  <a:lnTo>
                    <a:pt x="256" y="8"/>
                  </a:lnTo>
                  <a:lnTo>
                    <a:pt x="232" y="16"/>
                  </a:lnTo>
                  <a:lnTo>
                    <a:pt x="256" y="24"/>
                  </a:lnTo>
                  <a:lnTo>
                    <a:pt x="240" y="32"/>
                  </a:lnTo>
                  <a:lnTo>
                    <a:pt x="240" y="24"/>
                  </a:lnTo>
                  <a:lnTo>
                    <a:pt x="224" y="16"/>
                  </a:lnTo>
                  <a:lnTo>
                    <a:pt x="208" y="16"/>
                  </a:lnTo>
                  <a:lnTo>
                    <a:pt x="208" y="32"/>
                  </a:lnTo>
                  <a:lnTo>
                    <a:pt x="200" y="32"/>
                  </a:lnTo>
                  <a:lnTo>
                    <a:pt x="176" y="32"/>
                  </a:lnTo>
                  <a:lnTo>
                    <a:pt x="160" y="24"/>
                  </a:lnTo>
                  <a:lnTo>
                    <a:pt x="152"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02" name="Freeform 116">
              <a:extLst>
                <a:ext uri="{FF2B5EF4-FFF2-40B4-BE49-F238E27FC236}">
                  <a16:creationId xmlns:a16="http://schemas.microsoft.com/office/drawing/2014/main" id="{36016EC2-0E48-1E73-4F3C-13C508ADE7F5}"/>
                </a:ext>
              </a:extLst>
            </p:cNvPr>
            <p:cNvSpPr>
              <a:spLocks/>
            </p:cNvSpPr>
            <p:nvPr/>
          </p:nvSpPr>
          <p:spPr bwMode="auto">
            <a:xfrm>
              <a:off x="4183752" y="891708"/>
              <a:ext cx="262954" cy="379036"/>
            </a:xfrm>
            <a:custGeom>
              <a:avLst/>
              <a:gdLst>
                <a:gd name="T0" fmla="*/ 0 w 128"/>
                <a:gd name="T1" fmla="*/ 136 h 184"/>
                <a:gd name="T2" fmla="*/ 8 w 128"/>
                <a:gd name="T3" fmla="*/ 120 h 184"/>
                <a:gd name="T4" fmla="*/ 16 w 128"/>
                <a:gd name="T5" fmla="*/ 120 h 184"/>
                <a:gd name="T6" fmla="*/ 8 w 128"/>
                <a:gd name="T7" fmla="*/ 104 h 184"/>
                <a:gd name="T8" fmla="*/ 16 w 128"/>
                <a:gd name="T9" fmla="*/ 104 h 184"/>
                <a:gd name="T10" fmla="*/ 8 w 128"/>
                <a:gd name="T11" fmla="*/ 80 h 184"/>
                <a:gd name="T12" fmla="*/ 8 w 128"/>
                <a:gd name="T13" fmla="*/ 64 h 184"/>
                <a:gd name="T14" fmla="*/ 32 w 128"/>
                <a:gd name="T15" fmla="*/ 64 h 184"/>
                <a:gd name="T16" fmla="*/ 24 w 128"/>
                <a:gd name="T17" fmla="*/ 56 h 184"/>
                <a:gd name="T18" fmla="*/ 32 w 128"/>
                <a:gd name="T19" fmla="*/ 32 h 184"/>
                <a:gd name="T20" fmla="*/ 48 w 128"/>
                <a:gd name="T21" fmla="*/ 24 h 184"/>
                <a:gd name="T22" fmla="*/ 56 w 128"/>
                <a:gd name="T23" fmla="*/ 8 h 184"/>
                <a:gd name="T24" fmla="*/ 64 w 128"/>
                <a:gd name="T25" fmla="*/ 8 h 184"/>
                <a:gd name="T26" fmla="*/ 72 w 128"/>
                <a:gd name="T27" fmla="*/ 0 h 184"/>
                <a:gd name="T28" fmla="*/ 88 w 128"/>
                <a:gd name="T29" fmla="*/ 8 h 184"/>
                <a:gd name="T30" fmla="*/ 88 w 128"/>
                <a:gd name="T31" fmla="*/ 0 h 184"/>
                <a:gd name="T32" fmla="*/ 120 w 128"/>
                <a:gd name="T33" fmla="*/ 8 h 184"/>
                <a:gd name="T34" fmla="*/ 128 w 128"/>
                <a:gd name="T35" fmla="*/ 40 h 184"/>
                <a:gd name="T36" fmla="*/ 112 w 128"/>
                <a:gd name="T37" fmla="*/ 40 h 184"/>
                <a:gd name="T38" fmla="*/ 104 w 128"/>
                <a:gd name="T39" fmla="*/ 56 h 184"/>
                <a:gd name="T40" fmla="*/ 64 w 128"/>
                <a:gd name="T41" fmla="*/ 88 h 184"/>
                <a:gd name="T42" fmla="*/ 64 w 128"/>
                <a:gd name="T43" fmla="*/ 104 h 184"/>
                <a:gd name="T44" fmla="*/ 80 w 128"/>
                <a:gd name="T45" fmla="*/ 120 h 184"/>
                <a:gd name="T46" fmla="*/ 72 w 128"/>
                <a:gd name="T47" fmla="*/ 128 h 184"/>
                <a:gd name="T48" fmla="*/ 80 w 128"/>
                <a:gd name="T49" fmla="*/ 128 h 184"/>
                <a:gd name="T50" fmla="*/ 64 w 128"/>
                <a:gd name="T51" fmla="*/ 136 h 184"/>
                <a:gd name="T52" fmla="*/ 56 w 128"/>
                <a:gd name="T53" fmla="*/ 168 h 184"/>
                <a:gd name="T54" fmla="*/ 40 w 128"/>
                <a:gd name="T55" fmla="*/ 168 h 184"/>
                <a:gd name="T56" fmla="*/ 32 w 128"/>
                <a:gd name="T57" fmla="*/ 184 h 184"/>
                <a:gd name="T58" fmla="*/ 24 w 128"/>
                <a:gd name="T59" fmla="*/ 184 h 184"/>
                <a:gd name="T60" fmla="*/ 16 w 128"/>
                <a:gd name="T61" fmla="*/ 168 h 184"/>
                <a:gd name="T62" fmla="*/ 0 w 128"/>
                <a:gd name="T63" fmla="*/ 128 h 184"/>
                <a:gd name="T64" fmla="*/ 0 w 128"/>
                <a:gd name="T65" fmla="*/ 13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184">
                  <a:moveTo>
                    <a:pt x="0" y="136"/>
                  </a:moveTo>
                  <a:lnTo>
                    <a:pt x="8" y="120"/>
                  </a:lnTo>
                  <a:lnTo>
                    <a:pt x="16" y="120"/>
                  </a:lnTo>
                  <a:lnTo>
                    <a:pt x="8" y="104"/>
                  </a:lnTo>
                  <a:lnTo>
                    <a:pt x="16" y="104"/>
                  </a:lnTo>
                  <a:lnTo>
                    <a:pt x="8" y="80"/>
                  </a:lnTo>
                  <a:lnTo>
                    <a:pt x="8" y="64"/>
                  </a:lnTo>
                  <a:lnTo>
                    <a:pt x="32" y="64"/>
                  </a:lnTo>
                  <a:lnTo>
                    <a:pt x="24" y="56"/>
                  </a:lnTo>
                  <a:lnTo>
                    <a:pt x="32" y="32"/>
                  </a:lnTo>
                  <a:lnTo>
                    <a:pt x="48" y="24"/>
                  </a:lnTo>
                  <a:lnTo>
                    <a:pt x="56" y="8"/>
                  </a:lnTo>
                  <a:lnTo>
                    <a:pt x="64" y="8"/>
                  </a:lnTo>
                  <a:lnTo>
                    <a:pt x="72" y="0"/>
                  </a:lnTo>
                  <a:lnTo>
                    <a:pt x="88" y="8"/>
                  </a:lnTo>
                  <a:lnTo>
                    <a:pt x="88" y="0"/>
                  </a:lnTo>
                  <a:lnTo>
                    <a:pt x="120" y="8"/>
                  </a:lnTo>
                  <a:lnTo>
                    <a:pt x="128" y="40"/>
                  </a:lnTo>
                  <a:lnTo>
                    <a:pt x="112" y="40"/>
                  </a:lnTo>
                  <a:lnTo>
                    <a:pt x="104" y="56"/>
                  </a:lnTo>
                  <a:lnTo>
                    <a:pt x="64" y="88"/>
                  </a:lnTo>
                  <a:lnTo>
                    <a:pt x="64" y="104"/>
                  </a:lnTo>
                  <a:lnTo>
                    <a:pt x="80" y="120"/>
                  </a:lnTo>
                  <a:lnTo>
                    <a:pt x="72" y="128"/>
                  </a:lnTo>
                  <a:lnTo>
                    <a:pt x="80" y="128"/>
                  </a:lnTo>
                  <a:lnTo>
                    <a:pt x="64" y="136"/>
                  </a:lnTo>
                  <a:lnTo>
                    <a:pt x="56" y="168"/>
                  </a:lnTo>
                  <a:lnTo>
                    <a:pt x="40" y="168"/>
                  </a:lnTo>
                  <a:lnTo>
                    <a:pt x="32" y="184"/>
                  </a:lnTo>
                  <a:lnTo>
                    <a:pt x="24" y="184"/>
                  </a:lnTo>
                  <a:lnTo>
                    <a:pt x="16" y="168"/>
                  </a:lnTo>
                  <a:lnTo>
                    <a:pt x="0" y="128"/>
                  </a:lnTo>
                  <a:lnTo>
                    <a:pt x="0" y="13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rgbClr val="00B050"/>
                </a:solidFill>
                <a:latin typeface="Frutiger for ZKB Light" panose="020B0303030504020204" pitchFamily="34" charset="0"/>
              </a:endParaRPr>
            </a:p>
          </p:txBody>
        </p:sp>
        <p:sp>
          <p:nvSpPr>
            <p:cNvPr id="103" name="Freeform 117">
              <a:extLst>
                <a:ext uri="{FF2B5EF4-FFF2-40B4-BE49-F238E27FC236}">
                  <a16:creationId xmlns:a16="http://schemas.microsoft.com/office/drawing/2014/main" id="{94530DE6-5C40-31FE-863B-50CEAE4E1D3E}"/>
                </a:ext>
              </a:extLst>
            </p:cNvPr>
            <p:cNvSpPr>
              <a:spLocks/>
            </p:cNvSpPr>
            <p:nvPr/>
          </p:nvSpPr>
          <p:spPr bwMode="auto">
            <a:xfrm>
              <a:off x="4364065" y="858481"/>
              <a:ext cx="246427" cy="280879"/>
            </a:xfrm>
            <a:custGeom>
              <a:avLst/>
              <a:gdLst>
                <a:gd name="T0" fmla="*/ 88 w 120"/>
                <a:gd name="T1" fmla="*/ 16 h 136"/>
                <a:gd name="T2" fmla="*/ 80 w 120"/>
                <a:gd name="T3" fmla="*/ 16 h 136"/>
                <a:gd name="T4" fmla="*/ 80 w 120"/>
                <a:gd name="T5" fmla="*/ 24 h 136"/>
                <a:gd name="T6" fmla="*/ 96 w 120"/>
                <a:gd name="T7" fmla="*/ 32 h 136"/>
                <a:gd name="T8" fmla="*/ 96 w 120"/>
                <a:gd name="T9" fmla="*/ 40 h 136"/>
                <a:gd name="T10" fmla="*/ 104 w 120"/>
                <a:gd name="T11" fmla="*/ 56 h 136"/>
                <a:gd name="T12" fmla="*/ 104 w 120"/>
                <a:gd name="T13" fmla="*/ 64 h 136"/>
                <a:gd name="T14" fmla="*/ 112 w 120"/>
                <a:gd name="T15" fmla="*/ 72 h 136"/>
                <a:gd name="T16" fmla="*/ 112 w 120"/>
                <a:gd name="T17" fmla="*/ 80 h 136"/>
                <a:gd name="T18" fmla="*/ 120 w 120"/>
                <a:gd name="T19" fmla="*/ 96 h 136"/>
                <a:gd name="T20" fmla="*/ 88 w 120"/>
                <a:gd name="T21" fmla="*/ 128 h 136"/>
                <a:gd name="T22" fmla="*/ 48 w 120"/>
                <a:gd name="T23" fmla="*/ 136 h 136"/>
                <a:gd name="T24" fmla="*/ 24 w 120"/>
                <a:gd name="T25" fmla="*/ 128 h 136"/>
                <a:gd name="T26" fmla="*/ 24 w 120"/>
                <a:gd name="T27" fmla="*/ 112 h 136"/>
                <a:gd name="T28" fmla="*/ 16 w 120"/>
                <a:gd name="T29" fmla="*/ 96 h 136"/>
                <a:gd name="T30" fmla="*/ 24 w 120"/>
                <a:gd name="T31" fmla="*/ 96 h 136"/>
                <a:gd name="T32" fmla="*/ 56 w 120"/>
                <a:gd name="T33" fmla="*/ 64 h 136"/>
                <a:gd name="T34" fmla="*/ 56 w 120"/>
                <a:gd name="T35" fmla="*/ 56 h 136"/>
                <a:gd name="T36" fmla="*/ 48 w 120"/>
                <a:gd name="T37" fmla="*/ 56 h 136"/>
                <a:gd name="T38" fmla="*/ 40 w 120"/>
                <a:gd name="T39" fmla="*/ 56 h 136"/>
                <a:gd name="T40" fmla="*/ 32 w 120"/>
                <a:gd name="T41" fmla="*/ 24 h 136"/>
                <a:gd name="T42" fmla="*/ 0 w 120"/>
                <a:gd name="T43" fmla="*/ 16 h 136"/>
                <a:gd name="T44" fmla="*/ 8 w 120"/>
                <a:gd name="T45" fmla="*/ 8 h 136"/>
                <a:gd name="T46" fmla="*/ 24 w 120"/>
                <a:gd name="T47" fmla="*/ 16 h 136"/>
                <a:gd name="T48" fmla="*/ 48 w 120"/>
                <a:gd name="T49" fmla="*/ 16 h 136"/>
                <a:gd name="T50" fmla="*/ 56 w 120"/>
                <a:gd name="T51" fmla="*/ 16 h 136"/>
                <a:gd name="T52" fmla="*/ 56 w 120"/>
                <a:gd name="T53" fmla="*/ 0 h 136"/>
                <a:gd name="T54" fmla="*/ 72 w 120"/>
                <a:gd name="T55" fmla="*/ 0 h 136"/>
                <a:gd name="T56" fmla="*/ 88 w 120"/>
                <a:gd name="T57" fmla="*/ 8 h 136"/>
                <a:gd name="T58" fmla="*/ 88 w 120"/>
                <a:gd name="T59" fmla="*/ 1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136">
                  <a:moveTo>
                    <a:pt x="88" y="16"/>
                  </a:moveTo>
                  <a:lnTo>
                    <a:pt x="80" y="16"/>
                  </a:lnTo>
                  <a:lnTo>
                    <a:pt x="80" y="24"/>
                  </a:lnTo>
                  <a:lnTo>
                    <a:pt x="96" y="32"/>
                  </a:lnTo>
                  <a:lnTo>
                    <a:pt x="96" y="40"/>
                  </a:lnTo>
                  <a:lnTo>
                    <a:pt x="104" y="56"/>
                  </a:lnTo>
                  <a:lnTo>
                    <a:pt x="104" y="64"/>
                  </a:lnTo>
                  <a:lnTo>
                    <a:pt x="112" y="72"/>
                  </a:lnTo>
                  <a:lnTo>
                    <a:pt x="112" y="80"/>
                  </a:lnTo>
                  <a:lnTo>
                    <a:pt x="120" y="96"/>
                  </a:lnTo>
                  <a:lnTo>
                    <a:pt x="88" y="128"/>
                  </a:lnTo>
                  <a:lnTo>
                    <a:pt x="48" y="136"/>
                  </a:lnTo>
                  <a:lnTo>
                    <a:pt x="24" y="128"/>
                  </a:lnTo>
                  <a:lnTo>
                    <a:pt x="24" y="112"/>
                  </a:lnTo>
                  <a:lnTo>
                    <a:pt x="16" y="96"/>
                  </a:lnTo>
                  <a:lnTo>
                    <a:pt x="24" y="96"/>
                  </a:lnTo>
                  <a:lnTo>
                    <a:pt x="56" y="64"/>
                  </a:lnTo>
                  <a:lnTo>
                    <a:pt x="56" y="56"/>
                  </a:lnTo>
                  <a:lnTo>
                    <a:pt x="48" y="56"/>
                  </a:lnTo>
                  <a:lnTo>
                    <a:pt x="40" y="56"/>
                  </a:lnTo>
                  <a:lnTo>
                    <a:pt x="32" y="24"/>
                  </a:lnTo>
                  <a:lnTo>
                    <a:pt x="0" y="16"/>
                  </a:lnTo>
                  <a:lnTo>
                    <a:pt x="8" y="8"/>
                  </a:lnTo>
                  <a:lnTo>
                    <a:pt x="24" y="16"/>
                  </a:lnTo>
                  <a:lnTo>
                    <a:pt x="48" y="16"/>
                  </a:lnTo>
                  <a:lnTo>
                    <a:pt x="56" y="16"/>
                  </a:lnTo>
                  <a:lnTo>
                    <a:pt x="56" y="0"/>
                  </a:lnTo>
                  <a:lnTo>
                    <a:pt x="72" y="0"/>
                  </a:lnTo>
                  <a:lnTo>
                    <a:pt x="88" y="8"/>
                  </a:lnTo>
                  <a:lnTo>
                    <a:pt x="88"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04" name="Freeform 118">
              <a:extLst>
                <a:ext uri="{FF2B5EF4-FFF2-40B4-BE49-F238E27FC236}">
                  <a16:creationId xmlns:a16="http://schemas.microsoft.com/office/drawing/2014/main" id="{AE00F2D3-2C10-84C1-7293-FC7BD97E0274}"/>
                </a:ext>
              </a:extLst>
            </p:cNvPr>
            <p:cNvSpPr>
              <a:spLocks/>
            </p:cNvSpPr>
            <p:nvPr/>
          </p:nvSpPr>
          <p:spPr bwMode="auto">
            <a:xfrm>
              <a:off x="876531" y="760319"/>
              <a:ext cx="1752035" cy="921163"/>
            </a:xfrm>
            <a:custGeom>
              <a:avLst/>
              <a:gdLst>
                <a:gd name="T0" fmla="*/ 704 w 856"/>
                <a:gd name="T1" fmla="*/ 392 h 448"/>
                <a:gd name="T2" fmla="*/ 688 w 856"/>
                <a:gd name="T3" fmla="*/ 424 h 448"/>
                <a:gd name="T4" fmla="*/ 768 w 856"/>
                <a:gd name="T5" fmla="*/ 384 h 448"/>
                <a:gd name="T6" fmla="*/ 752 w 856"/>
                <a:gd name="T7" fmla="*/ 384 h 448"/>
                <a:gd name="T8" fmla="*/ 720 w 856"/>
                <a:gd name="T9" fmla="*/ 360 h 448"/>
                <a:gd name="T10" fmla="*/ 736 w 856"/>
                <a:gd name="T11" fmla="*/ 344 h 448"/>
                <a:gd name="T12" fmla="*/ 640 w 856"/>
                <a:gd name="T13" fmla="*/ 368 h 448"/>
                <a:gd name="T14" fmla="*/ 704 w 856"/>
                <a:gd name="T15" fmla="*/ 336 h 448"/>
                <a:gd name="T16" fmla="*/ 792 w 856"/>
                <a:gd name="T17" fmla="*/ 320 h 448"/>
                <a:gd name="T18" fmla="*/ 856 w 856"/>
                <a:gd name="T19" fmla="*/ 280 h 448"/>
                <a:gd name="T20" fmla="*/ 848 w 856"/>
                <a:gd name="T21" fmla="*/ 264 h 448"/>
                <a:gd name="T22" fmla="*/ 832 w 856"/>
                <a:gd name="T23" fmla="*/ 256 h 448"/>
                <a:gd name="T24" fmla="*/ 824 w 856"/>
                <a:gd name="T25" fmla="*/ 240 h 448"/>
                <a:gd name="T26" fmla="*/ 808 w 856"/>
                <a:gd name="T27" fmla="*/ 176 h 448"/>
                <a:gd name="T28" fmla="*/ 760 w 856"/>
                <a:gd name="T29" fmla="*/ 208 h 448"/>
                <a:gd name="T30" fmla="*/ 744 w 856"/>
                <a:gd name="T31" fmla="*/ 168 h 448"/>
                <a:gd name="T32" fmla="*/ 696 w 856"/>
                <a:gd name="T33" fmla="*/ 144 h 448"/>
                <a:gd name="T34" fmla="*/ 672 w 856"/>
                <a:gd name="T35" fmla="*/ 168 h 448"/>
                <a:gd name="T36" fmla="*/ 648 w 856"/>
                <a:gd name="T37" fmla="*/ 200 h 448"/>
                <a:gd name="T38" fmla="*/ 600 w 856"/>
                <a:gd name="T39" fmla="*/ 256 h 448"/>
                <a:gd name="T40" fmla="*/ 568 w 856"/>
                <a:gd name="T41" fmla="*/ 312 h 448"/>
                <a:gd name="T42" fmla="*/ 544 w 856"/>
                <a:gd name="T43" fmla="*/ 248 h 448"/>
                <a:gd name="T44" fmla="*/ 488 w 856"/>
                <a:gd name="T45" fmla="*/ 200 h 448"/>
                <a:gd name="T46" fmla="*/ 504 w 856"/>
                <a:gd name="T47" fmla="*/ 168 h 448"/>
                <a:gd name="T48" fmla="*/ 560 w 856"/>
                <a:gd name="T49" fmla="*/ 144 h 448"/>
                <a:gd name="T50" fmla="*/ 616 w 856"/>
                <a:gd name="T51" fmla="*/ 112 h 448"/>
                <a:gd name="T52" fmla="*/ 664 w 856"/>
                <a:gd name="T53" fmla="*/ 96 h 448"/>
                <a:gd name="T54" fmla="*/ 696 w 856"/>
                <a:gd name="T55" fmla="*/ 80 h 448"/>
                <a:gd name="T56" fmla="*/ 712 w 856"/>
                <a:gd name="T57" fmla="*/ 56 h 448"/>
                <a:gd name="T58" fmla="*/ 640 w 856"/>
                <a:gd name="T59" fmla="*/ 88 h 448"/>
                <a:gd name="T60" fmla="*/ 648 w 856"/>
                <a:gd name="T61" fmla="*/ 56 h 448"/>
                <a:gd name="T62" fmla="*/ 616 w 856"/>
                <a:gd name="T63" fmla="*/ 48 h 448"/>
                <a:gd name="T64" fmla="*/ 640 w 856"/>
                <a:gd name="T65" fmla="*/ 24 h 448"/>
                <a:gd name="T66" fmla="*/ 688 w 856"/>
                <a:gd name="T67" fmla="*/ 0 h 448"/>
                <a:gd name="T68" fmla="*/ 616 w 856"/>
                <a:gd name="T69" fmla="*/ 24 h 448"/>
                <a:gd name="T70" fmla="*/ 600 w 856"/>
                <a:gd name="T71" fmla="*/ 56 h 448"/>
                <a:gd name="T72" fmla="*/ 552 w 856"/>
                <a:gd name="T73" fmla="*/ 80 h 448"/>
                <a:gd name="T74" fmla="*/ 576 w 856"/>
                <a:gd name="T75" fmla="*/ 56 h 448"/>
                <a:gd name="T76" fmla="*/ 552 w 856"/>
                <a:gd name="T77" fmla="*/ 64 h 448"/>
                <a:gd name="T78" fmla="*/ 480 w 856"/>
                <a:gd name="T79" fmla="*/ 72 h 448"/>
                <a:gd name="T80" fmla="*/ 448 w 856"/>
                <a:gd name="T81" fmla="*/ 72 h 448"/>
                <a:gd name="T82" fmla="*/ 392 w 856"/>
                <a:gd name="T83" fmla="*/ 80 h 448"/>
                <a:gd name="T84" fmla="*/ 392 w 856"/>
                <a:gd name="T85" fmla="*/ 64 h 448"/>
                <a:gd name="T86" fmla="*/ 328 w 856"/>
                <a:gd name="T87" fmla="*/ 48 h 448"/>
                <a:gd name="T88" fmla="*/ 312 w 856"/>
                <a:gd name="T89" fmla="*/ 48 h 448"/>
                <a:gd name="T90" fmla="*/ 296 w 856"/>
                <a:gd name="T91" fmla="*/ 48 h 448"/>
                <a:gd name="T92" fmla="*/ 216 w 856"/>
                <a:gd name="T93" fmla="*/ 56 h 448"/>
                <a:gd name="T94" fmla="*/ 152 w 856"/>
                <a:gd name="T95" fmla="*/ 56 h 448"/>
                <a:gd name="T96" fmla="*/ 8 w 856"/>
                <a:gd name="T97" fmla="*/ 184 h 448"/>
                <a:gd name="T98" fmla="*/ 48 w 856"/>
                <a:gd name="T99" fmla="*/ 200 h 448"/>
                <a:gd name="T100" fmla="*/ 40 w 856"/>
                <a:gd name="T101" fmla="*/ 256 h 448"/>
                <a:gd name="T102" fmla="*/ 24 w 856"/>
                <a:gd name="T103" fmla="*/ 288 h 448"/>
                <a:gd name="T104" fmla="*/ 48 w 856"/>
                <a:gd name="T105" fmla="*/ 336 h 448"/>
                <a:gd name="T106" fmla="*/ 384 w 856"/>
                <a:gd name="T107" fmla="*/ 344 h 448"/>
                <a:gd name="T108" fmla="*/ 456 w 856"/>
                <a:gd name="T109" fmla="*/ 336 h 448"/>
                <a:gd name="T110" fmla="*/ 488 w 856"/>
                <a:gd name="T111" fmla="*/ 352 h 448"/>
                <a:gd name="T112" fmla="*/ 528 w 856"/>
                <a:gd name="T113" fmla="*/ 400 h 448"/>
                <a:gd name="T114" fmla="*/ 488 w 856"/>
                <a:gd name="T115" fmla="*/ 424 h 448"/>
                <a:gd name="T116" fmla="*/ 488 w 856"/>
                <a:gd name="T117" fmla="*/ 432 h 448"/>
                <a:gd name="T118" fmla="*/ 512 w 856"/>
                <a:gd name="T119" fmla="*/ 424 h 448"/>
                <a:gd name="T120" fmla="*/ 568 w 856"/>
                <a:gd name="T121" fmla="*/ 408 h 448"/>
                <a:gd name="T122" fmla="*/ 640 w 856"/>
                <a:gd name="T123" fmla="*/ 392 h 448"/>
                <a:gd name="T124" fmla="*/ 672 w 856"/>
                <a:gd name="T125" fmla="*/ 39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6" h="448">
                  <a:moveTo>
                    <a:pt x="680" y="392"/>
                  </a:moveTo>
                  <a:lnTo>
                    <a:pt x="712" y="392"/>
                  </a:lnTo>
                  <a:lnTo>
                    <a:pt x="704" y="392"/>
                  </a:lnTo>
                  <a:lnTo>
                    <a:pt x="712" y="392"/>
                  </a:lnTo>
                  <a:lnTo>
                    <a:pt x="688" y="408"/>
                  </a:lnTo>
                  <a:lnTo>
                    <a:pt x="688" y="424"/>
                  </a:lnTo>
                  <a:lnTo>
                    <a:pt x="712" y="408"/>
                  </a:lnTo>
                  <a:lnTo>
                    <a:pt x="752" y="392"/>
                  </a:lnTo>
                  <a:lnTo>
                    <a:pt x="768" y="384"/>
                  </a:lnTo>
                  <a:lnTo>
                    <a:pt x="768" y="376"/>
                  </a:lnTo>
                  <a:lnTo>
                    <a:pt x="768" y="368"/>
                  </a:lnTo>
                  <a:lnTo>
                    <a:pt x="752" y="384"/>
                  </a:lnTo>
                  <a:lnTo>
                    <a:pt x="728" y="384"/>
                  </a:lnTo>
                  <a:lnTo>
                    <a:pt x="712" y="376"/>
                  </a:lnTo>
                  <a:lnTo>
                    <a:pt x="720" y="360"/>
                  </a:lnTo>
                  <a:lnTo>
                    <a:pt x="712" y="360"/>
                  </a:lnTo>
                  <a:lnTo>
                    <a:pt x="704" y="352"/>
                  </a:lnTo>
                  <a:lnTo>
                    <a:pt x="736" y="344"/>
                  </a:lnTo>
                  <a:lnTo>
                    <a:pt x="728" y="336"/>
                  </a:lnTo>
                  <a:lnTo>
                    <a:pt x="680" y="344"/>
                  </a:lnTo>
                  <a:lnTo>
                    <a:pt x="640" y="368"/>
                  </a:lnTo>
                  <a:lnTo>
                    <a:pt x="672" y="344"/>
                  </a:lnTo>
                  <a:lnTo>
                    <a:pt x="696" y="336"/>
                  </a:lnTo>
                  <a:lnTo>
                    <a:pt x="704" y="336"/>
                  </a:lnTo>
                  <a:lnTo>
                    <a:pt x="712" y="320"/>
                  </a:lnTo>
                  <a:lnTo>
                    <a:pt x="744" y="320"/>
                  </a:lnTo>
                  <a:lnTo>
                    <a:pt x="792" y="320"/>
                  </a:lnTo>
                  <a:lnTo>
                    <a:pt x="816" y="304"/>
                  </a:lnTo>
                  <a:lnTo>
                    <a:pt x="856" y="296"/>
                  </a:lnTo>
                  <a:lnTo>
                    <a:pt x="856" y="280"/>
                  </a:lnTo>
                  <a:lnTo>
                    <a:pt x="856" y="272"/>
                  </a:lnTo>
                  <a:lnTo>
                    <a:pt x="848" y="272"/>
                  </a:lnTo>
                  <a:lnTo>
                    <a:pt x="848" y="264"/>
                  </a:lnTo>
                  <a:lnTo>
                    <a:pt x="832" y="264"/>
                  </a:lnTo>
                  <a:lnTo>
                    <a:pt x="848" y="256"/>
                  </a:lnTo>
                  <a:lnTo>
                    <a:pt x="832" y="256"/>
                  </a:lnTo>
                  <a:lnTo>
                    <a:pt x="832" y="248"/>
                  </a:lnTo>
                  <a:lnTo>
                    <a:pt x="816" y="248"/>
                  </a:lnTo>
                  <a:lnTo>
                    <a:pt x="824" y="240"/>
                  </a:lnTo>
                  <a:lnTo>
                    <a:pt x="808" y="232"/>
                  </a:lnTo>
                  <a:lnTo>
                    <a:pt x="824" y="224"/>
                  </a:lnTo>
                  <a:lnTo>
                    <a:pt x="808" y="176"/>
                  </a:lnTo>
                  <a:lnTo>
                    <a:pt x="792" y="184"/>
                  </a:lnTo>
                  <a:lnTo>
                    <a:pt x="792" y="192"/>
                  </a:lnTo>
                  <a:lnTo>
                    <a:pt x="760" y="208"/>
                  </a:lnTo>
                  <a:lnTo>
                    <a:pt x="752" y="192"/>
                  </a:lnTo>
                  <a:lnTo>
                    <a:pt x="760" y="168"/>
                  </a:lnTo>
                  <a:lnTo>
                    <a:pt x="744" y="168"/>
                  </a:lnTo>
                  <a:lnTo>
                    <a:pt x="744" y="160"/>
                  </a:lnTo>
                  <a:lnTo>
                    <a:pt x="728" y="152"/>
                  </a:lnTo>
                  <a:lnTo>
                    <a:pt x="696" y="144"/>
                  </a:lnTo>
                  <a:lnTo>
                    <a:pt x="680" y="152"/>
                  </a:lnTo>
                  <a:lnTo>
                    <a:pt x="680" y="160"/>
                  </a:lnTo>
                  <a:lnTo>
                    <a:pt x="672" y="168"/>
                  </a:lnTo>
                  <a:lnTo>
                    <a:pt x="672" y="176"/>
                  </a:lnTo>
                  <a:lnTo>
                    <a:pt x="664" y="184"/>
                  </a:lnTo>
                  <a:lnTo>
                    <a:pt x="648" y="200"/>
                  </a:lnTo>
                  <a:lnTo>
                    <a:pt x="656" y="208"/>
                  </a:lnTo>
                  <a:lnTo>
                    <a:pt x="640" y="240"/>
                  </a:lnTo>
                  <a:lnTo>
                    <a:pt x="600" y="256"/>
                  </a:lnTo>
                  <a:lnTo>
                    <a:pt x="592" y="296"/>
                  </a:lnTo>
                  <a:lnTo>
                    <a:pt x="568" y="304"/>
                  </a:lnTo>
                  <a:lnTo>
                    <a:pt x="568" y="312"/>
                  </a:lnTo>
                  <a:lnTo>
                    <a:pt x="552" y="280"/>
                  </a:lnTo>
                  <a:lnTo>
                    <a:pt x="576" y="256"/>
                  </a:lnTo>
                  <a:lnTo>
                    <a:pt x="544" y="248"/>
                  </a:lnTo>
                  <a:lnTo>
                    <a:pt x="496" y="224"/>
                  </a:lnTo>
                  <a:lnTo>
                    <a:pt x="480" y="224"/>
                  </a:lnTo>
                  <a:lnTo>
                    <a:pt x="488" y="200"/>
                  </a:lnTo>
                  <a:lnTo>
                    <a:pt x="472" y="200"/>
                  </a:lnTo>
                  <a:lnTo>
                    <a:pt x="472" y="192"/>
                  </a:lnTo>
                  <a:lnTo>
                    <a:pt x="504" y="168"/>
                  </a:lnTo>
                  <a:lnTo>
                    <a:pt x="528" y="152"/>
                  </a:lnTo>
                  <a:lnTo>
                    <a:pt x="536" y="144"/>
                  </a:lnTo>
                  <a:lnTo>
                    <a:pt x="560" y="144"/>
                  </a:lnTo>
                  <a:lnTo>
                    <a:pt x="576" y="128"/>
                  </a:lnTo>
                  <a:lnTo>
                    <a:pt x="592" y="128"/>
                  </a:lnTo>
                  <a:lnTo>
                    <a:pt x="616" y="112"/>
                  </a:lnTo>
                  <a:lnTo>
                    <a:pt x="640" y="96"/>
                  </a:lnTo>
                  <a:lnTo>
                    <a:pt x="648" y="96"/>
                  </a:lnTo>
                  <a:lnTo>
                    <a:pt x="664" y="96"/>
                  </a:lnTo>
                  <a:lnTo>
                    <a:pt x="696" y="88"/>
                  </a:lnTo>
                  <a:lnTo>
                    <a:pt x="704" y="80"/>
                  </a:lnTo>
                  <a:lnTo>
                    <a:pt x="696" y="80"/>
                  </a:lnTo>
                  <a:lnTo>
                    <a:pt x="720" y="56"/>
                  </a:lnTo>
                  <a:lnTo>
                    <a:pt x="704" y="56"/>
                  </a:lnTo>
                  <a:lnTo>
                    <a:pt x="712" y="56"/>
                  </a:lnTo>
                  <a:lnTo>
                    <a:pt x="688" y="48"/>
                  </a:lnTo>
                  <a:lnTo>
                    <a:pt x="672" y="72"/>
                  </a:lnTo>
                  <a:lnTo>
                    <a:pt x="640" y="88"/>
                  </a:lnTo>
                  <a:lnTo>
                    <a:pt x="640" y="80"/>
                  </a:lnTo>
                  <a:lnTo>
                    <a:pt x="648" y="64"/>
                  </a:lnTo>
                  <a:lnTo>
                    <a:pt x="648" y="56"/>
                  </a:lnTo>
                  <a:lnTo>
                    <a:pt x="632" y="64"/>
                  </a:lnTo>
                  <a:lnTo>
                    <a:pt x="624" y="56"/>
                  </a:lnTo>
                  <a:lnTo>
                    <a:pt x="616" y="48"/>
                  </a:lnTo>
                  <a:lnTo>
                    <a:pt x="632" y="48"/>
                  </a:lnTo>
                  <a:lnTo>
                    <a:pt x="624" y="24"/>
                  </a:lnTo>
                  <a:lnTo>
                    <a:pt x="640" y="24"/>
                  </a:lnTo>
                  <a:lnTo>
                    <a:pt x="640" y="16"/>
                  </a:lnTo>
                  <a:lnTo>
                    <a:pt x="656" y="16"/>
                  </a:lnTo>
                  <a:lnTo>
                    <a:pt x="688" y="0"/>
                  </a:lnTo>
                  <a:lnTo>
                    <a:pt x="664" y="0"/>
                  </a:lnTo>
                  <a:lnTo>
                    <a:pt x="640" y="8"/>
                  </a:lnTo>
                  <a:lnTo>
                    <a:pt x="616" y="24"/>
                  </a:lnTo>
                  <a:lnTo>
                    <a:pt x="584" y="40"/>
                  </a:lnTo>
                  <a:lnTo>
                    <a:pt x="584" y="48"/>
                  </a:lnTo>
                  <a:lnTo>
                    <a:pt x="600" y="56"/>
                  </a:lnTo>
                  <a:lnTo>
                    <a:pt x="584" y="64"/>
                  </a:lnTo>
                  <a:lnTo>
                    <a:pt x="560" y="80"/>
                  </a:lnTo>
                  <a:lnTo>
                    <a:pt x="552" y="80"/>
                  </a:lnTo>
                  <a:lnTo>
                    <a:pt x="560" y="72"/>
                  </a:lnTo>
                  <a:lnTo>
                    <a:pt x="576" y="64"/>
                  </a:lnTo>
                  <a:lnTo>
                    <a:pt x="576" y="56"/>
                  </a:lnTo>
                  <a:lnTo>
                    <a:pt x="568" y="48"/>
                  </a:lnTo>
                  <a:lnTo>
                    <a:pt x="536" y="64"/>
                  </a:lnTo>
                  <a:lnTo>
                    <a:pt x="552" y="64"/>
                  </a:lnTo>
                  <a:lnTo>
                    <a:pt x="528" y="80"/>
                  </a:lnTo>
                  <a:lnTo>
                    <a:pt x="504" y="80"/>
                  </a:lnTo>
                  <a:lnTo>
                    <a:pt x="480" y="72"/>
                  </a:lnTo>
                  <a:lnTo>
                    <a:pt x="480" y="64"/>
                  </a:lnTo>
                  <a:lnTo>
                    <a:pt x="440" y="72"/>
                  </a:lnTo>
                  <a:lnTo>
                    <a:pt x="448" y="72"/>
                  </a:lnTo>
                  <a:lnTo>
                    <a:pt x="440" y="80"/>
                  </a:lnTo>
                  <a:lnTo>
                    <a:pt x="424" y="72"/>
                  </a:lnTo>
                  <a:lnTo>
                    <a:pt x="392" y="80"/>
                  </a:lnTo>
                  <a:lnTo>
                    <a:pt x="368" y="80"/>
                  </a:lnTo>
                  <a:lnTo>
                    <a:pt x="392" y="72"/>
                  </a:lnTo>
                  <a:lnTo>
                    <a:pt x="392" y="64"/>
                  </a:lnTo>
                  <a:lnTo>
                    <a:pt x="352" y="56"/>
                  </a:lnTo>
                  <a:lnTo>
                    <a:pt x="344" y="48"/>
                  </a:lnTo>
                  <a:lnTo>
                    <a:pt x="328" y="48"/>
                  </a:lnTo>
                  <a:lnTo>
                    <a:pt x="312" y="56"/>
                  </a:lnTo>
                  <a:lnTo>
                    <a:pt x="304" y="56"/>
                  </a:lnTo>
                  <a:lnTo>
                    <a:pt x="312" y="48"/>
                  </a:lnTo>
                  <a:lnTo>
                    <a:pt x="296" y="56"/>
                  </a:lnTo>
                  <a:lnTo>
                    <a:pt x="288" y="56"/>
                  </a:lnTo>
                  <a:lnTo>
                    <a:pt x="296" y="48"/>
                  </a:lnTo>
                  <a:lnTo>
                    <a:pt x="288" y="40"/>
                  </a:lnTo>
                  <a:lnTo>
                    <a:pt x="264" y="48"/>
                  </a:lnTo>
                  <a:lnTo>
                    <a:pt x="216" y="56"/>
                  </a:lnTo>
                  <a:lnTo>
                    <a:pt x="200" y="56"/>
                  </a:lnTo>
                  <a:lnTo>
                    <a:pt x="184" y="64"/>
                  </a:lnTo>
                  <a:lnTo>
                    <a:pt x="152" y="56"/>
                  </a:lnTo>
                  <a:lnTo>
                    <a:pt x="0" y="176"/>
                  </a:lnTo>
                  <a:lnTo>
                    <a:pt x="16" y="176"/>
                  </a:lnTo>
                  <a:lnTo>
                    <a:pt x="8" y="184"/>
                  </a:lnTo>
                  <a:lnTo>
                    <a:pt x="16" y="192"/>
                  </a:lnTo>
                  <a:lnTo>
                    <a:pt x="48" y="184"/>
                  </a:lnTo>
                  <a:lnTo>
                    <a:pt x="48" y="200"/>
                  </a:lnTo>
                  <a:lnTo>
                    <a:pt x="40" y="232"/>
                  </a:lnTo>
                  <a:lnTo>
                    <a:pt x="48" y="240"/>
                  </a:lnTo>
                  <a:lnTo>
                    <a:pt x="40" y="256"/>
                  </a:lnTo>
                  <a:lnTo>
                    <a:pt x="16" y="264"/>
                  </a:lnTo>
                  <a:lnTo>
                    <a:pt x="16" y="288"/>
                  </a:lnTo>
                  <a:lnTo>
                    <a:pt x="24" y="288"/>
                  </a:lnTo>
                  <a:lnTo>
                    <a:pt x="16" y="304"/>
                  </a:lnTo>
                  <a:lnTo>
                    <a:pt x="32" y="320"/>
                  </a:lnTo>
                  <a:lnTo>
                    <a:pt x="48" y="336"/>
                  </a:lnTo>
                  <a:lnTo>
                    <a:pt x="368" y="336"/>
                  </a:lnTo>
                  <a:lnTo>
                    <a:pt x="376" y="336"/>
                  </a:lnTo>
                  <a:lnTo>
                    <a:pt x="384" y="344"/>
                  </a:lnTo>
                  <a:lnTo>
                    <a:pt x="432" y="352"/>
                  </a:lnTo>
                  <a:lnTo>
                    <a:pt x="424" y="352"/>
                  </a:lnTo>
                  <a:lnTo>
                    <a:pt x="456" y="336"/>
                  </a:lnTo>
                  <a:lnTo>
                    <a:pt x="472" y="344"/>
                  </a:lnTo>
                  <a:lnTo>
                    <a:pt x="472" y="352"/>
                  </a:lnTo>
                  <a:lnTo>
                    <a:pt x="488" y="352"/>
                  </a:lnTo>
                  <a:lnTo>
                    <a:pt x="480" y="376"/>
                  </a:lnTo>
                  <a:lnTo>
                    <a:pt x="520" y="384"/>
                  </a:lnTo>
                  <a:lnTo>
                    <a:pt x="528" y="400"/>
                  </a:lnTo>
                  <a:lnTo>
                    <a:pt x="520" y="408"/>
                  </a:lnTo>
                  <a:lnTo>
                    <a:pt x="504" y="392"/>
                  </a:lnTo>
                  <a:lnTo>
                    <a:pt x="488" y="424"/>
                  </a:lnTo>
                  <a:lnTo>
                    <a:pt x="480" y="424"/>
                  </a:lnTo>
                  <a:lnTo>
                    <a:pt x="464" y="448"/>
                  </a:lnTo>
                  <a:lnTo>
                    <a:pt x="488" y="432"/>
                  </a:lnTo>
                  <a:lnTo>
                    <a:pt x="528" y="432"/>
                  </a:lnTo>
                  <a:lnTo>
                    <a:pt x="520" y="424"/>
                  </a:lnTo>
                  <a:lnTo>
                    <a:pt x="512" y="424"/>
                  </a:lnTo>
                  <a:lnTo>
                    <a:pt x="520" y="416"/>
                  </a:lnTo>
                  <a:lnTo>
                    <a:pt x="552" y="416"/>
                  </a:lnTo>
                  <a:lnTo>
                    <a:pt x="568" y="408"/>
                  </a:lnTo>
                  <a:lnTo>
                    <a:pt x="584" y="400"/>
                  </a:lnTo>
                  <a:lnTo>
                    <a:pt x="624" y="400"/>
                  </a:lnTo>
                  <a:lnTo>
                    <a:pt x="640" y="392"/>
                  </a:lnTo>
                  <a:lnTo>
                    <a:pt x="664" y="360"/>
                  </a:lnTo>
                  <a:lnTo>
                    <a:pt x="680" y="368"/>
                  </a:lnTo>
                  <a:lnTo>
                    <a:pt x="672" y="392"/>
                  </a:lnTo>
                  <a:lnTo>
                    <a:pt x="680" y="39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05" name="Freeform 119">
              <a:extLst>
                <a:ext uri="{FF2B5EF4-FFF2-40B4-BE49-F238E27FC236}">
                  <a16:creationId xmlns:a16="http://schemas.microsoft.com/office/drawing/2014/main" id="{08D4B34E-56B5-430F-8CF6-24D831DCA5AE}"/>
                </a:ext>
              </a:extLst>
            </p:cNvPr>
            <p:cNvSpPr>
              <a:spLocks/>
            </p:cNvSpPr>
            <p:nvPr/>
          </p:nvSpPr>
          <p:spPr bwMode="auto">
            <a:xfrm>
              <a:off x="140247" y="825249"/>
              <a:ext cx="1047315" cy="478704"/>
            </a:xfrm>
            <a:custGeom>
              <a:avLst/>
              <a:gdLst>
                <a:gd name="T0" fmla="*/ 376 w 512"/>
                <a:gd name="T1" fmla="*/ 144 h 232"/>
                <a:gd name="T2" fmla="*/ 376 w 512"/>
                <a:gd name="T3" fmla="*/ 160 h 232"/>
                <a:gd name="T4" fmla="*/ 408 w 512"/>
                <a:gd name="T5" fmla="*/ 168 h 232"/>
                <a:gd name="T6" fmla="*/ 408 w 512"/>
                <a:gd name="T7" fmla="*/ 208 h 232"/>
                <a:gd name="T8" fmla="*/ 392 w 512"/>
                <a:gd name="T9" fmla="*/ 224 h 232"/>
                <a:gd name="T10" fmla="*/ 384 w 512"/>
                <a:gd name="T11" fmla="*/ 208 h 232"/>
                <a:gd name="T12" fmla="*/ 384 w 512"/>
                <a:gd name="T13" fmla="*/ 200 h 232"/>
                <a:gd name="T14" fmla="*/ 376 w 512"/>
                <a:gd name="T15" fmla="*/ 224 h 232"/>
                <a:gd name="T16" fmla="*/ 376 w 512"/>
                <a:gd name="T17" fmla="*/ 200 h 232"/>
                <a:gd name="T18" fmla="*/ 376 w 512"/>
                <a:gd name="T19" fmla="*/ 192 h 232"/>
                <a:gd name="T20" fmla="*/ 392 w 512"/>
                <a:gd name="T21" fmla="*/ 192 h 232"/>
                <a:gd name="T22" fmla="*/ 376 w 512"/>
                <a:gd name="T23" fmla="*/ 192 h 232"/>
                <a:gd name="T24" fmla="*/ 384 w 512"/>
                <a:gd name="T25" fmla="*/ 176 h 232"/>
                <a:gd name="T26" fmla="*/ 376 w 512"/>
                <a:gd name="T27" fmla="*/ 176 h 232"/>
                <a:gd name="T28" fmla="*/ 368 w 512"/>
                <a:gd name="T29" fmla="*/ 152 h 232"/>
                <a:gd name="T30" fmla="*/ 320 w 512"/>
                <a:gd name="T31" fmla="*/ 152 h 232"/>
                <a:gd name="T32" fmla="*/ 288 w 512"/>
                <a:gd name="T33" fmla="*/ 136 h 232"/>
                <a:gd name="T34" fmla="*/ 224 w 512"/>
                <a:gd name="T35" fmla="*/ 160 h 232"/>
                <a:gd name="T36" fmla="*/ 280 w 512"/>
                <a:gd name="T37" fmla="*/ 136 h 232"/>
                <a:gd name="T38" fmla="*/ 208 w 512"/>
                <a:gd name="T39" fmla="*/ 160 h 232"/>
                <a:gd name="T40" fmla="*/ 200 w 512"/>
                <a:gd name="T41" fmla="*/ 168 h 232"/>
                <a:gd name="T42" fmla="*/ 136 w 512"/>
                <a:gd name="T43" fmla="*/ 192 h 232"/>
                <a:gd name="T44" fmla="*/ 0 w 512"/>
                <a:gd name="T45" fmla="*/ 232 h 232"/>
                <a:gd name="T46" fmla="*/ 152 w 512"/>
                <a:gd name="T47" fmla="*/ 168 h 232"/>
                <a:gd name="T48" fmla="*/ 112 w 512"/>
                <a:gd name="T49" fmla="*/ 168 h 232"/>
                <a:gd name="T50" fmla="*/ 104 w 512"/>
                <a:gd name="T51" fmla="*/ 152 h 232"/>
                <a:gd name="T52" fmla="*/ 152 w 512"/>
                <a:gd name="T53" fmla="*/ 112 h 232"/>
                <a:gd name="T54" fmla="*/ 224 w 512"/>
                <a:gd name="T55" fmla="*/ 80 h 232"/>
                <a:gd name="T56" fmla="*/ 176 w 512"/>
                <a:gd name="T57" fmla="*/ 88 h 232"/>
                <a:gd name="T58" fmla="*/ 176 w 512"/>
                <a:gd name="T59" fmla="*/ 80 h 232"/>
                <a:gd name="T60" fmla="*/ 216 w 512"/>
                <a:gd name="T61" fmla="*/ 64 h 232"/>
                <a:gd name="T62" fmla="*/ 216 w 512"/>
                <a:gd name="T63" fmla="*/ 64 h 232"/>
                <a:gd name="T64" fmla="*/ 240 w 512"/>
                <a:gd name="T65" fmla="*/ 56 h 232"/>
                <a:gd name="T66" fmla="*/ 240 w 512"/>
                <a:gd name="T67" fmla="*/ 40 h 232"/>
                <a:gd name="T68" fmla="*/ 280 w 512"/>
                <a:gd name="T69" fmla="*/ 32 h 232"/>
                <a:gd name="T70" fmla="*/ 392 w 512"/>
                <a:gd name="T71" fmla="*/ 0 h 232"/>
                <a:gd name="T72" fmla="*/ 400 w 512"/>
                <a:gd name="T73" fmla="*/ 8 h 232"/>
                <a:gd name="T74" fmla="*/ 424 w 512"/>
                <a:gd name="T75" fmla="*/ 8 h 232"/>
                <a:gd name="T76" fmla="*/ 512 w 512"/>
                <a:gd name="T77" fmla="*/ 2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232">
                  <a:moveTo>
                    <a:pt x="360" y="144"/>
                  </a:moveTo>
                  <a:lnTo>
                    <a:pt x="376" y="144"/>
                  </a:lnTo>
                  <a:lnTo>
                    <a:pt x="368" y="152"/>
                  </a:lnTo>
                  <a:lnTo>
                    <a:pt x="376" y="160"/>
                  </a:lnTo>
                  <a:lnTo>
                    <a:pt x="408" y="152"/>
                  </a:lnTo>
                  <a:lnTo>
                    <a:pt x="408" y="168"/>
                  </a:lnTo>
                  <a:lnTo>
                    <a:pt x="400" y="200"/>
                  </a:lnTo>
                  <a:lnTo>
                    <a:pt x="408" y="208"/>
                  </a:lnTo>
                  <a:lnTo>
                    <a:pt x="400" y="224"/>
                  </a:lnTo>
                  <a:lnTo>
                    <a:pt x="392" y="224"/>
                  </a:lnTo>
                  <a:lnTo>
                    <a:pt x="384" y="224"/>
                  </a:lnTo>
                  <a:lnTo>
                    <a:pt x="384" y="208"/>
                  </a:lnTo>
                  <a:lnTo>
                    <a:pt x="392" y="208"/>
                  </a:lnTo>
                  <a:lnTo>
                    <a:pt x="384" y="200"/>
                  </a:lnTo>
                  <a:lnTo>
                    <a:pt x="384" y="216"/>
                  </a:lnTo>
                  <a:lnTo>
                    <a:pt x="376" y="224"/>
                  </a:lnTo>
                  <a:lnTo>
                    <a:pt x="368" y="216"/>
                  </a:lnTo>
                  <a:lnTo>
                    <a:pt x="376" y="200"/>
                  </a:lnTo>
                  <a:lnTo>
                    <a:pt x="368" y="200"/>
                  </a:lnTo>
                  <a:lnTo>
                    <a:pt x="376" y="192"/>
                  </a:lnTo>
                  <a:lnTo>
                    <a:pt x="384" y="192"/>
                  </a:lnTo>
                  <a:lnTo>
                    <a:pt x="392" y="192"/>
                  </a:lnTo>
                  <a:lnTo>
                    <a:pt x="392" y="184"/>
                  </a:lnTo>
                  <a:lnTo>
                    <a:pt x="376" y="192"/>
                  </a:lnTo>
                  <a:lnTo>
                    <a:pt x="392" y="168"/>
                  </a:lnTo>
                  <a:lnTo>
                    <a:pt x="384" y="176"/>
                  </a:lnTo>
                  <a:lnTo>
                    <a:pt x="360" y="200"/>
                  </a:lnTo>
                  <a:lnTo>
                    <a:pt x="376" y="176"/>
                  </a:lnTo>
                  <a:lnTo>
                    <a:pt x="360" y="160"/>
                  </a:lnTo>
                  <a:lnTo>
                    <a:pt x="368" y="152"/>
                  </a:lnTo>
                  <a:lnTo>
                    <a:pt x="352" y="152"/>
                  </a:lnTo>
                  <a:lnTo>
                    <a:pt x="320" y="152"/>
                  </a:lnTo>
                  <a:lnTo>
                    <a:pt x="304" y="136"/>
                  </a:lnTo>
                  <a:lnTo>
                    <a:pt x="288" y="136"/>
                  </a:lnTo>
                  <a:lnTo>
                    <a:pt x="264" y="152"/>
                  </a:lnTo>
                  <a:lnTo>
                    <a:pt x="224" y="160"/>
                  </a:lnTo>
                  <a:lnTo>
                    <a:pt x="256" y="136"/>
                  </a:lnTo>
                  <a:lnTo>
                    <a:pt x="280" y="136"/>
                  </a:lnTo>
                  <a:lnTo>
                    <a:pt x="272" y="136"/>
                  </a:lnTo>
                  <a:lnTo>
                    <a:pt x="208" y="160"/>
                  </a:lnTo>
                  <a:lnTo>
                    <a:pt x="200" y="160"/>
                  </a:lnTo>
                  <a:lnTo>
                    <a:pt x="200" y="168"/>
                  </a:lnTo>
                  <a:lnTo>
                    <a:pt x="192" y="168"/>
                  </a:lnTo>
                  <a:lnTo>
                    <a:pt x="136" y="192"/>
                  </a:lnTo>
                  <a:lnTo>
                    <a:pt x="96" y="208"/>
                  </a:lnTo>
                  <a:lnTo>
                    <a:pt x="0" y="232"/>
                  </a:lnTo>
                  <a:lnTo>
                    <a:pt x="136" y="184"/>
                  </a:lnTo>
                  <a:lnTo>
                    <a:pt x="152" y="168"/>
                  </a:lnTo>
                  <a:lnTo>
                    <a:pt x="136" y="168"/>
                  </a:lnTo>
                  <a:lnTo>
                    <a:pt x="112" y="168"/>
                  </a:lnTo>
                  <a:lnTo>
                    <a:pt x="128" y="152"/>
                  </a:lnTo>
                  <a:lnTo>
                    <a:pt x="104" y="152"/>
                  </a:lnTo>
                  <a:lnTo>
                    <a:pt x="112" y="128"/>
                  </a:lnTo>
                  <a:lnTo>
                    <a:pt x="152" y="112"/>
                  </a:lnTo>
                  <a:lnTo>
                    <a:pt x="200" y="104"/>
                  </a:lnTo>
                  <a:lnTo>
                    <a:pt x="224" y="80"/>
                  </a:lnTo>
                  <a:lnTo>
                    <a:pt x="200" y="88"/>
                  </a:lnTo>
                  <a:lnTo>
                    <a:pt x="176" y="88"/>
                  </a:lnTo>
                  <a:lnTo>
                    <a:pt x="168" y="88"/>
                  </a:lnTo>
                  <a:lnTo>
                    <a:pt x="176" y="80"/>
                  </a:lnTo>
                  <a:lnTo>
                    <a:pt x="168" y="72"/>
                  </a:lnTo>
                  <a:lnTo>
                    <a:pt x="216" y="64"/>
                  </a:lnTo>
                  <a:lnTo>
                    <a:pt x="224" y="64"/>
                  </a:lnTo>
                  <a:lnTo>
                    <a:pt x="216" y="64"/>
                  </a:lnTo>
                  <a:lnTo>
                    <a:pt x="248" y="64"/>
                  </a:lnTo>
                  <a:lnTo>
                    <a:pt x="240" y="56"/>
                  </a:lnTo>
                  <a:lnTo>
                    <a:pt x="248" y="48"/>
                  </a:lnTo>
                  <a:lnTo>
                    <a:pt x="240" y="40"/>
                  </a:lnTo>
                  <a:lnTo>
                    <a:pt x="248" y="32"/>
                  </a:lnTo>
                  <a:lnTo>
                    <a:pt x="280" y="32"/>
                  </a:lnTo>
                  <a:lnTo>
                    <a:pt x="320" y="16"/>
                  </a:lnTo>
                  <a:lnTo>
                    <a:pt x="392" y="0"/>
                  </a:lnTo>
                  <a:lnTo>
                    <a:pt x="400" y="0"/>
                  </a:lnTo>
                  <a:lnTo>
                    <a:pt x="400" y="8"/>
                  </a:lnTo>
                  <a:lnTo>
                    <a:pt x="416" y="8"/>
                  </a:lnTo>
                  <a:lnTo>
                    <a:pt x="424" y="8"/>
                  </a:lnTo>
                  <a:lnTo>
                    <a:pt x="496" y="16"/>
                  </a:lnTo>
                  <a:lnTo>
                    <a:pt x="512" y="24"/>
                  </a:lnTo>
                  <a:lnTo>
                    <a:pt x="360" y="14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06" name="Freeform 120">
              <a:extLst>
                <a:ext uri="{FF2B5EF4-FFF2-40B4-BE49-F238E27FC236}">
                  <a16:creationId xmlns:a16="http://schemas.microsoft.com/office/drawing/2014/main" id="{58DF3AEC-FE35-4A60-047D-F3C17718A223}"/>
                </a:ext>
              </a:extLst>
            </p:cNvPr>
            <p:cNvSpPr>
              <a:spLocks/>
            </p:cNvSpPr>
            <p:nvPr/>
          </p:nvSpPr>
          <p:spPr bwMode="auto">
            <a:xfrm>
              <a:off x="844969" y="1962358"/>
              <a:ext cx="719746" cy="560247"/>
            </a:xfrm>
            <a:custGeom>
              <a:avLst/>
              <a:gdLst>
                <a:gd name="T0" fmla="*/ 0 w 352"/>
                <a:gd name="T1" fmla="*/ 48 h 272"/>
                <a:gd name="T2" fmla="*/ 8 w 352"/>
                <a:gd name="T3" fmla="*/ 72 h 272"/>
                <a:gd name="T4" fmla="*/ 8 w 352"/>
                <a:gd name="T5" fmla="*/ 80 h 272"/>
                <a:gd name="T6" fmla="*/ 32 w 352"/>
                <a:gd name="T7" fmla="*/ 104 h 272"/>
                <a:gd name="T8" fmla="*/ 48 w 352"/>
                <a:gd name="T9" fmla="*/ 136 h 272"/>
                <a:gd name="T10" fmla="*/ 56 w 352"/>
                <a:gd name="T11" fmla="*/ 144 h 272"/>
                <a:gd name="T12" fmla="*/ 40 w 352"/>
                <a:gd name="T13" fmla="*/ 96 h 272"/>
                <a:gd name="T14" fmla="*/ 24 w 352"/>
                <a:gd name="T15" fmla="*/ 16 h 272"/>
                <a:gd name="T16" fmla="*/ 40 w 352"/>
                <a:gd name="T17" fmla="*/ 24 h 272"/>
                <a:gd name="T18" fmla="*/ 56 w 352"/>
                <a:gd name="T19" fmla="*/ 72 h 272"/>
                <a:gd name="T20" fmla="*/ 72 w 352"/>
                <a:gd name="T21" fmla="*/ 96 h 272"/>
                <a:gd name="T22" fmla="*/ 80 w 352"/>
                <a:gd name="T23" fmla="*/ 112 h 272"/>
                <a:gd name="T24" fmla="*/ 112 w 352"/>
                <a:gd name="T25" fmla="*/ 168 h 272"/>
                <a:gd name="T26" fmla="*/ 104 w 352"/>
                <a:gd name="T27" fmla="*/ 192 h 272"/>
                <a:gd name="T28" fmla="*/ 144 w 352"/>
                <a:gd name="T29" fmla="*/ 224 h 272"/>
                <a:gd name="T30" fmla="*/ 192 w 352"/>
                <a:gd name="T31" fmla="*/ 248 h 272"/>
                <a:gd name="T32" fmla="*/ 224 w 352"/>
                <a:gd name="T33" fmla="*/ 248 h 272"/>
                <a:gd name="T34" fmla="*/ 264 w 352"/>
                <a:gd name="T35" fmla="*/ 272 h 272"/>
                <a:gd name="T36" fmla="*/ 288 w 352"/>
                <a:gd name="T37" fmla="*/ 248 h 272"/>
                <a:gd name="T38" fmla="*/ 288 w 352"/>
                <a:gd name="T39" fmla="*/ 224 h 272"/>
                <a:gd name="T40" fmla="*/ 320 w 352"/>
                <a:gd name="T41" fmla="*/ 216 h 272"/>
                <a:gd name="T42" fmla="*/ 328 w 352"/>
                <a:gd name="T43" fmla="*/ 216 h 272"/>
                <a:gd name="T44" fmla="*/ 336 w 352"/>
                <a:gd name="T45" fmla="*/ 168 h 272"/>
                <a:gd name="T46" fmla="*/ 296 w 352"/>
                <a:gd name="T47" fmla="*/ 200 h 272"/>
                <a:gd name="T48" fmla="*/ 288 w 352"/>
                <a:gd name="T49" fmla="*/ 216 h 272"/>
                <a:gd name="T50" fmla="*/ 272 w 352"/>
                <a:gd name="T51" fmla="*/ 216 h 272"/>
                <a:gd name="T52" fmla="*/ 224 w 352"/>
                <a:gd name="T53" fmla="*/ 200 h 272"/>
                <a:gd name="T54" fmla="*/ 216 w 352"/>
                <a:gd name="T55" fmla="*/ 128 h 272"/>
                <a:gd name="T56" fmla="*/ 200 w 352"/>
                <a:gd name="T57" fmla="*/ 96 h 272"/>
                <a:gd name="T58" fmla="*/ 168 w 352"/>
                <a:gd name="T59" fmla="*/ 40 h 272"/>
                <a:gd name="T60" fmla="*/ 152 w 352"/>
                <a:gd name="T61" fmla="*/ 56 h 272"/>
                <a:gd name="T62" fmla="*/ 144 w 352"/>
                <a:gd name="T63" fmla="*/ 32 h 272"/>
                <a:gd name="T64" fmla="*/ 72 w 352"/>
                <a:gd name="T65" fmla="*/ 24 h 272"/>
                <a:gd name="T66" fmla="*/ 0 w 352"/>
                <a:gd name="T67"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2" h="272">
                  <a:moveTo>
                    <a:pt x="0" y="0"/>
                  </a:moveTo>
                  <a:lnTo>
                    <a:pt x="0" y="48"/>
                  </a:lnTo>
                  <a:lnTo>
                    <a:pt x="16" y="64"/>
                  </a:lnTo>
                  <a:lnTo>
                    <a:pt x="8" y="72"/>
                  </a:lnTo>
                  <a:lnTo>
                    <a:pt x="0" y="72"/>
                  </a:lnTo>
                  <a:lnTo>
                    <a:pt x="8" y="80"/>
                  </a:lnTo>
                  <a:lnTo>
                    <a:pt x="32" y="96"/>
                  </a:lnTo>
                  <a:lnTo>
                    <a:pt x="32" y="104"/>
                  </a:lnTo>
                  <a:lnTo>
                    <a:pt x="24" y="120"/>
                  </a:lnTo>
                  <a:lnTo>
                    <a:pt x="48" y="136"/>
                  </a:lnTo>
                  <a:lnTo>
                    <a:pt x="48" y="152"/>
                  </a:lnTo>
                  <a:lnTo>
                    <a:pt x="56" y="144"/>
                  </a:lnTo>
                  <a:lnTo>
                    <a:pt x="48" y="128"/>
                  </a:lnTo>
                  <a:lnTo>
                    <a:pt x="40" y="96"/>
                  </a:lnTo>
                  <a:lnTo>
                    <a:pt x="16" y="40"/>
                  </a:lnTo>
                  <a:lnTo>
                    <a:pt x="24" y="16"/>
                  </a:lnTo>
                  <a:lnTo>
                    <a:pt x="40" y="16"/>
                  </a:lnTo>
                  <a:lnTo>
                    <a:pt x="40" y="24"/>
                  </a:lnTo>
                  <a:lnTo>
                    <a:pt x="48" y="56"/>
                  </a:lnTo>
                  <a:lnTo>
                    <a:pt x="56" y="72"/>
                  </a:lnTo>
                  <a:lnTo>
                    <a:pt x="56" y="80"/>
                  </a:lnTo>
                  <a:lnTo>
                    <a:pt x="72" y="96"/>
                  </a:lnTo>
                  <a:lnTo>
                    <a:pt x="64" y="104"/>
                  </a:lnTo>
                  <a:lnTo>
                    <a:pt x="80" y="112"/>
                  </a:lnTo>
                  <a:lnTo>
                    <a:pt x="104" y="152"/>
                  </a:lnTo>
                  <a:lnTo>
                    <a:pt x="112" y="168"/>
                  </a:lnTo>
                  <a:lnTo>
                    <a:pt x="96" y="184"/>
                  </a:lnTo>
                  <a:lnTo>
                    <a:pt x="104" y="192"/>
                  </a:lnTo>
                  <a:lnTo>
                    <a:pt x="120" y="216"/>
                  </a:lnTo>
                  <a:lnTo>
                    <a:pt x="144" y="224"/>
                  </a:lnTo>
                  <a:lnTo>
                    <a:pt x="152" y="232"/>
                  </a:lnTo>
                  <a:lnTo>
                    <a:pt x="192" y="248"/>
                  </a:lnTo>
                  <a:lnTo>
                    <a:pt x="208" y="256"/>
                  </a:lnTo>
                  <a:lnTo>
                    <a:pt x="224" y="248"/>
                  </a:lnTo>
                  <a:lnTo>
                    <a:pt x="240" y="248"/>
                  </a:lnTo>
                  <a:lnTo>
                    <a:pt x="264" y="272"/>
                  </a:lnTo>
                  <a:lnTo>
                    <a:pt x="280" y="248"/>
                  </a:lnTo>
                  <a:lnTo>
                    <a:pt x="288" y="248"/>
                  </a:lnTo>
                  <a:lnTo>
                    <a:pt x="280" y="232"/>
                  </a:lnTo>
                  <a:lnTo>
                    <a:pt x="288" y="224"/>
                  </a:lnTo>
                  <a:lnTo>
                    <a:pt x="312" y="224"/>
                  </a:lnTo>
                  <a:lnTo>
                    <a:pt x="320" y="216"/>
                  </a:lnTo>
                  <a:lnTo>
                    <a:pt x="328" y="224"/>
                  </a:lnTo>
                  <a:lnTo>
                    <a:pt x="328" y="216"/>
                  </a:lnTo>
                  <a:lnTo>
                    <a:pt x="352" y="168"/>
                  </a:lnTo>
                  <a:lnTo>
                    <a:pt x="336" y="168"/>
                  </a:lnTo>
                  <a:lnTo>
                    <a:pt x="304" y="176"/>
                  </a:lnTo>
                  <a:lnTo>
                    <a:pt x="296" y="200"/>
                  </a:lnTo>
                  <a:lnTo>
                    <a:pt x="280" y="208"/>
                  </a:lnTo>
                  <a:lnTo>
                    <a:pt x="288" y="216"/>
                  </a:lnTo>
                  <a:lnTo>
                    <a:pt x="280" y="216"/>
                  </a:lnTo>
                  <a:lnTo>
                    <a:pt x="272" y="216"/>
                  </a:lnTo>
                  <a:lnTo>
                    <a:pt x="240" y="216"/>
                  </a:lnTo>
                  <a:lnTo>
                    <a:pt x="224" y="200"/>
                  </a:lnTo>
                  <a:lnTo>
                    <a:pt x="208" y="152"/>
                  </a:lnTo>
                  <a:lnTo>
                    <a:pt x="216" y="128"/>
                  </a:lnTo>
                  <a:lnTo>
                    <a:pt x="224" y="104"/>
                  </a:lnTo>
                  <a:lnTo>
                    <a:pt x="200" y="96"/>
                  </a:lnTo>
                  <a:lnTo>
                    <a:pt x="184" y="48"/>
                  </a:lnTo>
                  <a:lnTo>
                    <a:pt x="168" y="40"/>
                  </a:lnTo>
                  <a:lnTo>
                    <a:pt x="160" y="56"/>
                  </a:lnTo>
                  <a:lnTo>
                    <a:pt x="152" y="56"/>
                  </a:lnTo>
                  <a:lnTo>
                    <a:pt x="144" y="40"/>
                  </a:lnTo>
                  <a:lnTo>
                    <a:pt x="144" y="32"/>
                  </a:lnTo>
                  <a:lnTo>
                    <a:pt x="136" y="16"/>
                  </a:lnTo>
                  <a:lnTo>
                    <a:pt x="72" y="24"/>
                  </a:lnTo>
                  <a:lnTo>
                    <a:pt x="32"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07" name="Freeform 121">
              <a:extLst>
                <a:ext uri="{FF2B5EF4-FFF2-40B4-BE49-F238E27FC236}">
                  <a16:creationId xmlns:a16="http://schemas.microsoft.com/office/drawing/2014/main" id="{ADF7A614-0B0A-AAD5-AB9F-3E7FFB910B69}"/>
                </a:ext>
              </a:extLst>
            </p:cNvPr>
            <p:cNvSpPr>
              <a:spLocks/>
            </p:cNvSpPr>
            <p:nvPr/>
          </p:nvSpPr>
          <p:spPr bwMode="auto">
            <a:xfrm>
              <a:off x="774360" y="1451948"/>
              <a:ext cx="1505609" cy="739951"/>
            </a:xfrm>
            <a:custGeom>
              <a:avLst/>
              <a:gdLst>
                <a:gd name="T0" fmla="*/ 304 w 736"/>
                <a:gd name="T1" fmla="*/ 296 h 360"/>
                <a:gd name="T2" fmla="*/ 320 w 736"/>
                <a:gd name="T3" fmla="*/ 296 h 360"/>
                <a:gd name="T4" fmla="*/ 352 w 736"/>
                <a:gd name="T5" fmla="*/ 304 h 360"/>
                <a:gd name="T6" fmla="*/ 384 w 736"/>
                <a:gd name="T7" fmla="*/ 304 h 360"/>
                <a:gd name="T8" fmla="*/ 368 w 736"/>
                <a:gd name="T9" fmla="*/ 288 h 360"/>
                <a:gd name="T10" fmla="*/ 400 w 736"/>
                <a:gd name="T11" fmla="*/ 280 h 360"/>
                <a:gd name="T12" fmla="*/ 432 w 736"/>
                <a:gd name="T13" fmla="*/ 296 h 360"/>
                <a:gd name="T14" fmla="*/ 464 w 736"/>
                <a:gd name="T15" fmla="*/ 336 h 360"/>
                <a:gd name="T16" fmla="*/ 488 w 736"/>
                <a:gd name="T17" fmla="*/ 352 h 360"/>
                <a:gd name="T18" fmla="*/ 504 w 736"/>
                <a:gd name="T19" fmla="*/ 248 h 360"/>
                <a:gd name="T20" fmla="*/ 568 w 736"/>
                <a:gd name="T21" fmla="*/ 200 h 360"/>
                <a:gd name="T22" fmla="*/ 576 w 736"/>
                <a:gd name="T23" fmla="*/ 184 h 360"/>
                <a:gd name="T24" fmla="*/ 584 w 736"/>
                <a:gd name="T25" fmla="*/ 168 h 360"/>
                <a:gd name="T26" fmla="*/ 592 w 736"/>
                <a:gd name="T27" fmla="*/ 160 h 360"/>
                <a:gd name="T28" fmla="*/ 600 w 736"/>
                <a:gd name="T29" fmla="*/ 160 h 360"/>
                <a:gd name="T30" fmla="*/ 616 w 736"/>
                <a:gd name="T31" fmla="*/ 144 h 360"/>
                <a:gd name="T32" fmla="*/ 664 w 736"/>
                <a:gd name="T33" fmla="*/ 112 h 360"/>
                <a:gd name="T34" fmla="*/ 672 w 736"/>
                <a:gd name="T35" fmla="*/ 112 h 360"/>
                <a:gd name="T36" fmla="*/ 712 w 736"/>
                <a:gd name="T37" fmla="*/ 72 h 360"/>
                <a:gd name="T38" fmla="*/ 728 w 736"/>
                <a:gd name="T39" fmla="*/ 56 h 360"/>
                <a:gd name="T40" fmla="*/ 696 w 736"/>
                <a:gd name="T41" fmla="*/ 56 h 360"/>
                <a:gd name="T42" fmla="*/ 624 w 736"/>
                <a:gd name="T43" fmla="*/ 72 h 360"/>
                <a:gd name="T44" fmla="*/ 584 w 736"/>
                <a:gd name="T45" fmla="*/ 96 h 360"/>
                <a:gd name="T46" fmla="*/ 536 w 736"/>
                <a:gd name="T47" fmla="*/ 88 h 360"/>
                <a:gd name="T48" fmla="*/ 536 w 736"/>
                <a:gd name="T49" fmla="*/ 72 h 360"/>
                <a:gd name="T50" fmla="*/ 504 w 736"/>
                <a:gd name="T51" fmla="*/ 64 h 360"/>
                <a:gd name="T52" fmla="*/ 472 w 736"/>
                <a:gd name="T53" fmla="*/ 112 h 360"/>
                <a:gd name="T54" fmla="*/ 472 w 736"/>
                <a:gd name="T55" fmla="*/ 88 h 360"/>
                <a:gd name="T56" fmla="*/ 504 w 736"/>
                <a:gd name="T57" fmla="*/ 48 h 360"/>
                <a:gd name="T58" fmla="*/ 528 w 736"/>
                <a:gd name="T59" fmla="*/ 40 h 360"/>
                <a:gd name="T60" fmla="*/ 504 w 736"/>
                <a:gd name="T61" fmla="*/ 32 h 360"/>
                <a:gd name="T62" fmla="*/ 464 w 736"/>
                <a:gd name="T63" fmla="*/ 40 h 360"/>
                <a:gd name="T64" fmla="*/ 480 w 736"/>
                <a:gd name="T65" fmla="*/ 16 h 360"/>
                <a:gd name="T66" fmla="*/ 432 w 736"/>
                <a:gd name="T67" fmla="*/ 0 h 360"/>
                <a:gd name="T68" fmla="*/ 104 w 736"/>
                <a:gd name="T69" fmla="*/ 8 h 360"/>
                <a:gd name="T70" fmla="*/ 96 w 736"/>
                <a:gd name="T71" fmla="*/ 16 h 360"/>
                <a:gd name="T72" fmla="*/ 64 w 736"/>
                <a:gd name="T73" fmla="*/ 48 h 360"/>
                <a:gd name="T74" fmla="*/ 8 w 736"/>
                <a:gd name="T75" fmla="*/ 136 h 360"/>
                <a:gd name="T76" fmla="*/ 8 w 736"/>
                <a:gd name="T77" fmla="*/ 160 h 360"/>
                <a:gd name="T78" fmla="*/ 8 w 736"/>
                <a:gd name="T79" fmla="*/ 176 h 360"/>
                <a:gd name="T80" fmla="*/ 16 w 736"/>
                <a:gd name="T81" fmla="*/ 208 h 360"/>
                <a:gd name="T82" fmla="*/ 32 w 736"/>
                <a:gd name="T83" fmla="*/ 232 h 360"/>
                <a:gd name="T84" fmla="*/ 72 w 736"/>
                <a:gd name="T85" fmla="*/ 248 h 360"/>
                <a:gd name="T86" fmla="*/ 184 w 736"/>
                <a:gd name="T87" fmla="*/ 280 h 360"/>
                <a:gd name="T88" fmla="*/ 200 w 736"/>
                <a:gd name="T89" fmla="*/ 304 h 360"/>
                <a:gd name="T90" fmla="*/ 240 w 736"/>
                <a:gd name="T91" fmla="*/ 344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6" h="360">
                  <a:moveTo>
                    <a:pt x="272" y="320"/>
                  </a:moveTo>
                  <a:lnTo>
                    <a:pt x="312" y="296"/>
                  </a:lnTo>
                  <a:lnTo>
                    <a:pt x="304" y="296"/>
                  </a:lnTo>
                  <a:lnTo>
                    <a:pt x="312" y="288"/>
                  </a:lnTo>
                  <a:lnTo>
                    <a:pt x="312" y="296"/>
                  </a:lnTo>
                  <a:lnTo>
                    <a:pt x="320" y="296"/>
                  </a:lnTo>
                  <a:lnTo>
                    <a:pt x="344" y="296"/>
                  </a:lnTo>
                  <a:lnTo>
                    <a:pt x="352" y="288"/>
                  </a:lnTo>
                  <a:lnTo>
                    <a:pt x="352" y="304"/>
                  </a:lnTo>
                  <a:lnTo>
                    <a:pt x="376" y="296"/>
                  </a:lnTo>
                  <a:lnTo>
                    <a:pt x="376" y="304"/>
                  </a:lnTo>
                  <a:lnTo>
                    <a:pt x="384" y="304"/>
                  </a:lnTo>
                  <a:lnTo>
                    <a:pt x="376" y="296"/>
                  </a:lnTo>
                  <a:lnTo>
                    <a:pt x="384" y="288"/>
                  </a:lnTo>
                  <a:lnTo>
                    <a:pt x="368" y="288"/>
                  </a:lnTo>
                  <a:lnTo>
                    <a:pt x="376" y="280"/>
                  </a:lnTo>
                  <a:lnTo>
                    <a:pt x="376" y="288"/>
                  </a:lnTo>
                  <a:lnTo>
                    <a:pt x="400" y="280"/>
                  </a:lnTo>
                  <a:lnTo>
                    <a:pt x="424" y="280"/>
                  </a:lnTo>
                  <a:lnTo>
                    <a:pt x="432" y="288"/>
                  </a:lnTo>
                  <a:lnTo>
                    <a:pt x="432" y="296"/>
                  </a:lnTo>
                  <a:lnTo>
                    <a:pt x="456" y="288"/>
                  </a:lnTo>
                  <a:lnTo>
                    <a:pt x="464" y="304"/>
                  </a:lnTo>
                  <a:lnTo>
                    <a:pt x="464" y="336"/>
                  </a:lnTo>
                  <a:lnTo>
                    <a:pt x="472" y="360"/>
                  </a:lnTo>
                  <a:lnTo>
                    <a:pt x="480" y="360"/>
                  </a:lnTo>
                  <a:lnTo>
                    <a:pt x="488" y="352"/>
                  </a:lnTo>
                  <a:lnTo>
                    <a:pt x="488" y="336"/>
                  </a:lnTo>
                  <a:lnTo>
                    <a:pt x="488" y="272"/>
                  </a:lnTo>
                  <a:lnTo>
                    <a:pt x="504" y="248"/>
                  </a:lnTo>
                  <a:lnTo>
                    <a:pt x="576" y="208"/>
                  </a:lnTo>
                  <a:lnTo>
                    <a:pt x="584" y="200"/>
                  </a:lnTo>
                  <a:lnTo>
                    <a:pt x="568" y="200"/>
                  </a:lnTo>
                  <a:lnTo>
                    <a:pt x="576" y="192"/>
                  </a:lnTo>
                  <a:lnTo>
                    <a:pt x="584" y="200"/>
                  </a:lnTo>
                  <a:lnTo>
                    <a:pt x="576" y="184"/>
                  </a:lnTo>
                  <a:lnTo>
                    <a:pt x="584" y="168"/>
                  </a:lnTo>
                  <a:lnTo>
                    <a:pt x="576" y="160"/>
                  </a:lnTo>
                  <a:lnTo>
                    <a:pt x="584" y="168"/>
                  </a:lnTo>
                  <a:lnTo>
                    <a:pt x="592" y="144"/>
                  </a:lnTo>
                  <a:lnTo>
                    <a:pt x="584" y="160"/>
                  </a:lnTo>
                  <a:lnTo>
                    <a:pt x="592" y="160"/>
                  </a:lnTo>
                  <a:lnTo>
                    <a:pt x="592" y="168"/>
                  </a:lnTo>
                  <a:lnTo>
                    <a:pt x="584" y="176"/>
                  </a:lnTo>
                  <a:lnTo>
                    <a:pt x="600" y="160"/>
                  </a:lnTo>
                  <a:lnTo>
                    <a:pt x="600" y="144"/>
                  </a:lnTo>
                  <a:lnTo>
                    <a:pt x="608" y="152"/>
                  </a:lnTo>
                  <a:lnTo>
                    <a:pt x="616" y="144"/>
                  </a:lnTo>
                  <a:lnTo>
                    <a:pt x="624" y="128"/>
                  </a:lnTo>
                  <a:lnTo>
                    <a:pt x="664" y="120"/>
                  </a:lnTo>
                  <a:lnTo>
                    <a:pt x="664" y="112"/>
                  </a:lnTo>
                  <a:lnTo>
                    <a:pt x="680" y="112"/>
                  </a:lnTo>
                  <a:lnTo>
                    <a:pt x="680" y="104"/>
                  </a:lnTo>
                  <a:lnTo>
                    <a:pt x="672" y="112"/>
                  </a:lnTo>
                  <a:lnTo>
                    <a:pt x="672" y="104"/>
                  </a:lnTo>
                  <a:lnTo>
                    <a:pt x="688" y="80"/>
                  </a:lnTo>
                  <a:lnTo>
                    <a:pt x="712" y="72"/>
                  </a:lnTo>
                  <a:lnTo>
                    <a:pt x="728" y="72"/>
                  </a:lnTo>
                  <a:lnTo>
                    <a:pt x="736" y="56"/>
                  </a:lnTo>
                  <a:lnTo>
                    <a:pt x="728" y="56"/>
                  </a:lnTo>
                  <a:lnTo>
                    <a:pt x="736" y="32"/>
                  </a:lnTo>
                  <a:lnTo>
                    <a:pt x="720" y="24"/>
                  </a:lnTo>
                  <a:lnTo>
                    <a:pt x="696" y="56"/>
                  </a:lnTo>
                  <a:lnTo>
                    <a:pt x="680" y="64"/>
                  </a:lnTo>
                  <a:lnTo>
                    <a:pt x="640" y="64"/>
                  </a:lnTo>
                  <a:lnTo>
                    <a:pt x="624" y="72"/>
                  </a:lnTo>
                  <a:lnTo>
                    <a:pt x="616" y="88"/>
                  </a:lnTo>
                  <a:lnTo>
                    <a:pt x="576" y="88"/>
                  </a:lnTo>
                  <a:lnTo>
                    <a:pt x="584" y="96"/>
                  </a:lnTo>
                  <a:lnTo>
                    <a:pt x="536" y="112"/>
                  </a:lnTo>
                  <a:lnTo>
                    <a:pt x="520" y="112"/>
                  </a:lnTo>
                  <a:lnTo>
                    <a:pt x="536" y="88"/>
                  </a:lnTo>
                  <a:lnTo>
                    <a:pt x="536" y="80"/>
                  </a:lnTo>
                  <a:lnTo>
                    <a:pt x="528" y="80"/>
                  </a:lnTo>
                  <a:lnTo>
                    <a:pt x="536" y="72"/>
                  </a:lnTo>
                  <a:lnTo>
                    <a:pt x="536" y="56"/>
                  </a:lnTo>
                  <a:lnTo>
                    <a:pt x="528" y="56"/>
                  </a:lnTo>
                  <a:lnTo>
                    <a:pt x="504" y="64"/>
                  </a:lnTo>
                  <a:lnTo>
                    <a:pt x="496" y="80"/>
                  </a:lnTo>
                  <a:lnTo>
                    <a:pt x="480" y="104"/>
                  </a:lnTo>
                  <a:lnTo>
                    <a:pt x="472" y="112"/>
                  </a:lnTo>
                  <a:lnTo>
                    <a:pt x="464" y="112"/>
                  </a:lnTo>
                  <a:lnTo>
                    <a:pt x="464" y="104"/>
                  </a:lnTo>
                  <a:lnTo>
                    <a:pt x="472" y="88"/>
                  </a:lnTo>
                  <a:lnTo>
                    <a:pt x="496" y="64"/>
                  </a:lnTo>
                  <a:lnTo>
                    <a:pt x="480" y="72"/>
                  </a:lnTo>
                  <a:lnTo>
                    <a:pt x="504" y="48"/>
                  </a:lnTo>
                  <a:lnTo>
                    <a:pt x="536" y="48"/>
                  </a:lnTo>
                  <a:lnTo>
                    <a:pt x="536" y="40"/>
                  </a:lnTo>
                  <a:lnTo>
                    <a:pt x="528" y="40"/>
                  </a:lnTo>
                  <a:lnTo>
                    <a:pt x="536" y="40"/>
                  </a:lnTo>
                  <a:lnTo>
                    <a:pt x="504" y="40"/>
                  </a:lnTo>
                  <a:lnTo>
                    <a:pt x="504" y="32"/>
                  </a:lnTo>
                  <a:lnTo>
                    <a:pt x="488" y="40"/>
                  </a:lnTo>
                  <a:lnTo>
                    <a:pt x="504" y="24"/>
                  </a:lnTo>
                  <a:lnTo>
                    <a:pt x="464" y="40"/>
                  </a:lnTo>
                  <a:lnTo>
                    <a:pt x="464" y="32"/>
                  </a:lnTo>
                  <a:lnTo>
                    <a:pt x="448" y="40"/>
                  </a:lnTo>
                  <a:lnTo>
                    <a:pt x="480" y="16"/>
                  </a:lnTo>
                  <a:lnTo>
                    <a:pt x="488" y="16"/>
                  </a:lnTo>
                  <a:lnTo>
                    <a:pt x="440" y="8"/>
                  </a:lnTo>
                  <a:lnTo>
                    <a:pt x="432" y="0"/>
                  </a:lnTo>
                  <a:lnTo>
                    <a:pt x="424" y="0"/>
                  </a:lnTo>
                  <a:lnTo>
                    <a:pt x="104" y="0"/>
                  </a:lnTo>
                  <a:lnTo>
                    <a:pt x="104" y="8"/>
                  </a:lnTo>
                  <a:lnTo>
                    <a:pt x="96" y="24"/>
                  </a:lnTo>
                  <a:lnTo>
                    <a:pt x="88" y="24"/>
                  </a:lnTo>
                  <a:lnTo>
                    <a:pt x="96" y="16"/>
                  </a:lnTo>
                  <a:lnTo>
                    <a:pt x="80" y="8"/>
                  </a:lnTo>
                  <a:lnTo>
                    <a:pt x="72" y="16"/>
                  </a:lnTo>
                  <a:lnTo>
                    <a:pt x="64" y="48"/>
                  </a:lnTo>
                  <a:lnTo>
                    <a:pt x="24" y="96"/>
                  </a:lnTo>
                  <a:lnTo>
                    <a:pt x="16" y="112"/>
                  </a:lnTo>
                  <a:lnTo>
                    <a:pt x="8" y="136"/>
                  </a:lnTo>
                  <a:lnTo>
                    <a:pt x="8" y="144"/>
                  </a:lnTo>
                  <a:lnTo>
                    <a:pt x="0" y="152"/>
                  </a:lnTo>
                  <a:lnTo>
                    <a:pt x="8" y="160"/>
                  </a:lnTo>
                  <a:lnTo>
                    <a:pt x="0" y="168"/>
                  </a:lnTo>
                  <a:lnTo>
                    <a:pt x="16" y="168"/>
                  </a:lnTo>
                  <a:lnTo>
                    <a:pt x="8" y="176"/>
                  </a:lnTo>
                  <a:lnTo>
                    <a:pt x="8" y="184"/>
                  </a:lnTo>
                  <a:lnTo>
                    <a:pt x="8" y="192"/>
                  </a:lnTo>
                  <a:lnTo>
                    <a:pt x="16" y="208"/>
                  </a:lnTo>
                  <a:lnTo>
                    <a:pt x="8" y="216"/>
                  </a:lnTo>
                  <a:lnTo>
                    <a:pt x="32" y="224"/>
                  </a:lnTo>
                  <a:lnTo>
                    <a:pt x="32" y="232"/>
                  </a:lnTo>
                  <a:lnTo>
                    <a:pt x="40" y="240"/>
                  </a:lnTo>
                  <a:lnTo>
                    <a:pt x="40" y="248"/>
                  </a:lnTo>
                  <a:lnTo>
                    <a:pt x="72" y="248"/>
                  </a:lnTo>
                  <a:lnTo>
                    <a:pt x="112" y="272"/>
                  </a:lnTo>
                  <a:lnTo>
                    <a:pt x="176" y="264"/>
                  </a:lnTo>
                  <a:lnTo>
                    <a:pt x="184" y="280"/>
                  </a:lnTo>
                  <a:lnTo>
                    <a:pt x="184" y="288"/>
                  </a:lnTo>
                  <a:lnTo>
                    <a:pt x="192" y="304"/>
                  </a:lnTo>
                  <a:lnTo>
                    <a:pt x="200" y="304"/>
                  </a:lnTo>
                  <a:lnTo>
                    <a:pt x="208" y="288"/>
                  </a:lnTo>
                  <a:lnTo>
                    <a:pt x="224" y="296"/>
                  </a:lnTo>
                  <a:lnTo>
                    <a:pt x="240" y="344"/>
                  </a:lnTo>
                  <a:lnTo>
                    <a:pt x="264" y="352"/>
                  </a:lnTo>
                  <a:lnTo>
                    <a:pt x="272" y="32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rgbClr val="00B050"/>
                </a:solidFill>
                <a:latin typeface="Frutiger for ZKB Light" panose="020B0303030504020204" pitchFamily="34" charset="0"/>
              </a:endParaRPr>
            </a:p>
          </p:txBody>
        </p:sp>
        <p:sp>
          <p:nvSpPr>
            <p:cNvPr id="108" name="Freeform 122">
              <a:extLst>
                <a:ext uri="{FF2B5EF4-FFF2-40B4-BE49-F238E27FC236}">
                  <a16:creationId xmlns:a16="http://schemas.microsoft.com/office/drawing/2014/main" id="{0480504F-84A0-0D9D-51CD-A5B16DA080AE}"/>
                </a:ext>
              </a:extLst>
            </p:cNvPr>
            <p:cNvSpPr>
              <a:spLocks/>
            </p:cNvSpPr>
            <p:nvPr/>
          </p:nvSpPr>
          <p:spPr bwMode="auto">
            <a:xfrm>
              <a:off x="1384403" y="2422941"/>
              <a:ext cx="114199" cy="131379"/>
            </a:xfrm>
            <a:custGeom>
              <a:avLst/>
              <a:gdLst>
                <a:gd name="T0" fmla="*/ 32 w 56"/>
                <a:gd name="T1" fmla="*/ 48 h 64"/>
                <a:gd name="T2" fmla="*/ 24 w 56"/>
                <a:gd name="T3" fmla="*/ 64 h 64"/>
                <a:gd name="T4" fmla="*/ 0 w 56"/>
                <a:gd name="T5" fmla="*/ 56 h 64"/>
                <a:gd name="T6" fmla="*/ 0 w 56"/>
                <a:gd name="T7" fmla="*/ 48 h 64"/>
                <a:gd name="T8" fmla="*/ 16 w 56"/>
                <a:gd name="T9" fmla="*/ 24 h 64"/>
                <a:gd name="T10" fmla="*/ 24 w 56"/>
                <a:gd name="T11" fmla="*/ 24 h 64"/>
                <a:gd name="T12" fmla="*/ 16 w 56"/>
                <a:gd name="T13" fmla="*/ 8 h 64"/>
                <a:gd name="T14" fmla="*/ 24 w 56"/>
                <a:gd name="T15" fmla="*/ 0 h 64"/>
                <a:gd name="T16" fmla="*/ 48 w 56"/>
                <a:gd name="T17" fmla="*/ 0 h 64"/>
                <a:gd name="T18" fmla="*/ 40 w 56"/>
                <a:gd name="T19" fmla="*/ 24 h 64"/>
                <a:gd name="T20" fmla="*/ 48 w 56"/>
                <a:gd name="T21" fmla="*/ 32 h 64"/>
                <a:gd name="T22" fmla="*/ 56 w 56"/>
                <a:gd name="T23" fmla="*/ 32 h 64"/>
                <a:gd name="T24" fmla="*/ 32 w 56"/>
                <a:gd name="T25" fmla="*/ 4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64">
                  <a:moveTo>
                    <a:pt x="32" y="48"/>
                  </a:moveTo>
                  <a:lnTo>
                    <a:pt x="24" y="64"/>
                  </a:lnTo>
                  <a:lnTo>
                    <a:pt x="0" y="56"/>
                  </a:lnTo>
                  <a:lnTo>
                    <a:pt x="0" y="48"/>
                  </a:lnTo>
                  <a:lnTo>
                    <a:pt x="16" y="24"/>
                  </a:lnTo>
                  <a:lnTo>
                    <a:pt x="24" y="24"/>
                  </a:lnTo>
                  <a:lnTo>
                    <a:pt x="16" y="8"/>
                  </a:lnTo>
                  <a:lnTo>
                    <a:pt x="24" y="0"/>
                  </a:lnTo>
                  <a:lnTo>
                    <a:pt x="48" y="0"/>
                  </a:lnTo>
                  <a:lnTo>
                    <a:pt x="40" y="24"/>
                  </a:lnTo>
                  <a:lnTo>
                    <a:pt x="48" y="32"/>
                  </a:lnTo>
                  <a:lnTo>
                    <a:pt x="56" y="32"/>
                  </a:lnTo>
                  <a:lnTo>
                    <a:pt x="32" y="4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09" name="Freeform 123">
              <a:extLst>
                <a:ext uri="{FF2B5EF4-FFF2-40B4-BE49-F238E27FC236}">
                  <a16:creationId xmlns:a16="http://schemas.microsoft.com/office/drawing/2014/main" id="{DF1D4924-A670-8D3A-A3C1-832463DFFD52}"/>
                </a:ext>
              </a:extLst>
            </p:cNvPr>
            <p:cNvSpPr>
              <a:spLocks/>
            </p:cNvSpPr>
            <p:nvPr/>
          </p:nvSpPr>
          <p:spPr bwMode="auto">
            <a:xfrm>
              <a:off x="1433989" y="2522606"/>
              <a:ext cx="64612" cy="48322"/>
            </a:xfrm>
            <a:custGeom>
              <a:avLst/>
              <a:gdLst>
                <a:gd name="T0" fmla="*/ 32 w 32"/>
                <a:gd name="T1" fmla="*/ 16 h 24"/>
                <a:gd name="T2" fmla="*/ 8 w 32"/>
                <a:gd name="T3" fmla="*/ 0 h 24"/>
                <a:gd name="T4" fmla="*/ 0 w 32"/>
                <a:gd name="T5" fmla="*/ 16 h 24"/>
                <a:gd name="T6" fmla="*/ 8 w 32"/>
                <a:gd name="T7" fmla="*/ 16 h 24"/>
                <a:gd name="T8" fmla="*/ 32 w 32"/>
                <a:gd name="T9" fmla="*/ 24 h 24"/>
                <a:gd name="T10" fmla="*/ 32 w 32"/>
                <a:gd name="T11" fmla="*/ 16 h 24"/>
              </a:gdLst>
              <a:ahLst/>
              <a:cxnLst>
                <a:cxn ang="0">
                  <a:pos x="T0" y="T1"/>
                </a:cxn>
                <a:cxn ang="0">
                  <a:pos x="T2" y="T3"/>
                </a:cxn>
                <a:cxn ang="0">
                  <a:pos x="T4" y="T5"/>
                </a:cxn>
                <a:cxn ang="0">
                  <a:pos x="T6" y="T7"/>
                </a:cxn>
                <a:cxn ang="0">
                  <a:pos x="T8" y="T9"/>
                </a:cxn>
                <a:cxn ang="0">
                  <a:pos x="T10" y="T11"/>
                </a:cxn>
              </a:cxnLst>
              <a:rect l="0" t="0" r="r" b="b"/>
              <a:pathLst>
                <a:path w="32" h="24">
                  <a:moveTo>
                    <a:pt x="32" y="16"/>
                  </a:moveTo>
                  <a:lnTo>
                    <a:pt x="8" y="0"/>
                  </a:lnTo>
                  <a:lnTo>
                    <a:pt x="0" y="16"/>
                  </a:lnTo>
                  <a:lnTo>
                    <a:pt x="8" y="16"/>
                  </a:lnTo>
                  <a:lnTo>
                    <a:pt x="32" y="24"/>
                  </a:lnTo>
                  <a:lnTo>
                    <a:pt x="32"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10" name="Freeform 124">
              <a:extLst>
                <a:ext uri="{FF2B5EF4-FFF2-40B4-BE49-F238E27FC236}">
                  <a16:creationId xmlns:a16="http://schemas.microsoft.com/office/drawing/2014/main" id="{59AF2813-F82B-0158-6C6A-77B1A12AEEF5}"/>
                </a:ext>
              </a:extLst>
            </p:cNvPr>
            <p:cNvSpPr>
              <a:spLocks/>
            </p:cNvSpPr>
            <p:nvPr/>
          </p:nvSpPr>
          <p:spPr bwMode="auto">
            <a:xfrm>
              <a:off x="1695441" y="2687207"/>
              <a:ext cx="16528" cy="16611"/>
            </a:xfrm>
            <a:custGeom>
              <a:avLst/>
              <a:gdLst>
                <a:gd name="T0" fmla="*/ 0 w 8"/>
                <a:gd name="T1" fmla="*/ 0 h 8"/>
                <a:gd name="T2" fmla="*/ 8 w 8"/>
                <a:gd name="T3" fmla="*/ 0 h 8"/>
                <a:gd name="T4" fmla="*/ 8 w 8"/>
                <a:gd name="T5" fmla="*/ 8 h 8"/>
                <a:gd name="T6" fmla="*/ 0 w 8"/>
                <a:gd name="T7" fmla="*/ 0 h 8"/>
              </a:gdLst>
              <a:ahLst/>
              <a:cxnLst>
                <a:cxn ang="0">
                  <a:pos x="T0" y="T1"/>
                </a:cxn>
                <a:cxn ang="0">
                  <a:pos x="T2" y="T3"/>
                </a:cxn>
                <a:cxn ang="0">
                  <a:pos x="T4" y="T5"/>
                </a:cxn>
                <a:cxn ang="0">
                  <a:pos x="T6" y="T7"/>
                </a:cxn>
              </a:cxnLst>
              <a:rect l="0" t="0" r="r" b="b"/>
              <a:pathLst>
                <a:path w="8" h="8">
                  <a:moveTo>
                    <a:pt x="0" y="0"/>
                  </a:moveTo>
                  <a:lnTo>
                    <a:pt x="8" y="0"/>
                  </a:lnTo>
                  <a:lnTo>
                    <a:pt x="8" y="8"/>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11" name="Freeform 125">
              <a:extLst>
                <a:ext uri="{FF2B5EF4-FFF2-40B4-BE49-F238E27FC236}">
                  <a16:creationId xmlns:a16="http://schemas.microsoft.com/office/drawing/2014/main" id="{D409EE72-79EE-B399-CBB7-6BA637B7A459}"/>
                </a:ext>
              </a:extLst>
            </p:cNvPr>
            <p:cNvSpPr>
              <a:spLocks/>
            </p:cNvSpPr>
            <p:nvPr/>
          </p:nvSpPr>
          <p:spPr bwMode="auto">
            <a:xfrm>
              <a:off x="1695441" y="2687207"/>
              <a:ext cx="16528" cy="16611"/>
            </a:xfrm>
            <a:custGeom>
              <a:avLst/>
              <a:gdLst>
                <a:gd name="T0" fmla="*/ 0 w 8"/>
                <a:gd name="T1" fmla="*/ 0 h 8"/>
                <a:gd name="T2" fmla="*/ 8 w 8"/>
                <a:gd name="T3" fmla="*/ 0 h 8"/>
                <a:gd name="T4" fmla="*/ 8 w 8"/>
                <a:gd name="T5" fmla="*/ 8 h 8"/>
                <a:gd name="T6" fmla="*/ 0 w 8"/>
                <a:gd name="T7" fmla="*/ 0 h 8"/>
              </a:gdLst>
              <a:ahLst/>
              <a:cxnLst>
                <a:cxn ang="0">
                  <a:pos x="T0" y="T1"/>
                </a:cxn>
                <a:cxn ang="0">
                  <a:pos x="T2" y="T3"/>
                </a:cxn>
                <a:cxn ang="0">
                  <a:pos x="T4" y="T5"/>
                </a:cxn>
                <a:cxn ang="0">
                  <a:pos x="T6" y="T7"/>
                </a:cxn>
              </a:cxnLst>
              <a:rect l="0" t="0" r="r" b="b"/>
              <a:pathLst>
                <a:path w="8" h="8">
                  <a:moveTo>
                    <a:pt x="0" y="0"/>
                  </a:moveTo>
                  <a:lnTo>
                    <a:pt x="8" y="0"/>
                  </a:lnTo>
                  <a:lnTo>
                    <a:pt x="8" y="8"/>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12" name="Freeform 126">
              <a:extLst>
                <a:ext uri="{FF2B5EF4-FFF2-40B4-BE49-F238E27FC236}">
                  <a16:creationId xmlns:a16="http://schemas.microsoft.com/office/drawing/2014/main" id="{38532B37-9822-AB31-E28D-A2F94186DE5B}"/>
                </a:ext>
              </a:extLst>
            </p:cNvPr>
            <p:cNvSpPr>
              <a:spLocks/>
            </p:cNvSpPr>
            <p:nvPr/>
          </p:nvSpPr>
          <p:spPr bwMode="auto">
            <a:xfrm>
              <a:off x="1711970" y="2687207"/>
              <a:ext cx="66114" cy="64933"/>
            </a:xfrm>
            <a:custGeom>
              <a:avLst/>
              <a:gdLst>
                <a:gd name="T0" fmla="*/ 32 w 32"/>
                <a:gd name="T1" fmla="*/ 16 h 32"/>
                <a:gd name="T2" fmla="*/ 16 w 32"/>
                <a:gd name="T3" fmla="*/ 0 h 32"/>
                <a:gd name="T4" fmla="*/ 8 w 32"/>
                <a:gd name="T5" fmla="*/ 0 h 32"/>
                <a:gd name="T6" fmla="*/ 0 w 32"/>
                <a:gd name="T7" fmla="*/ 0 h 32"/>
                <a:gd name="T8" fmla="*/ 0 w 32"/>
                <a:gd name="T9" fmla="*/ 8 h 32"/>
                <a:gd name="T10" fmla="*/ 16 w 32"/>
                <a:gd name="T11" fmla="*/ 16 h 32"/>
                <a:gd name="T12" fmla="*/ 16 w 32"/>
                <a:gd name="T13" fmla="*/ 24 h 32"/>
                <a:gd name="T14" fmla="*/ 24 w 32"/>
                <a:gd name="T15" fmla="*/ 32 h 32"/>
                <a:gd name="T16" fmla="*/ 32 w 32"/>
                <a:gd name="T17" fmla="*/ 24 h 32"/>
                <a:gd name="T18" fmla="*/ 32 w 32"/>
                <a:gd name="T19"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16"/>
                  </a:moveTo>
                  <a:lnTo>
                    <a:pt x="16" y="0"/>
                  </a:lnTo>
                  <a:lnTo>
                    <a:pt x="8" y="0"/>
                  </a:lnTo>
                  <a:lnTo>
                    <a:pt x="0" y="0"/>
                  </a:lnTo>
                  <a:lnTo>
                    <a:pt x="0" y="8"/>
                  </a:lnTo>
                  <a:lnTo>
                    <a:pt x="16" y="16"/>
                  </a:lnTo>
                  <a:lnTo>
                    <a:pt x="16" y="24"/>
                  </a:lnTo>
                  <a:lnTo>
                    <a:pt x="24" y="32"/>
                  </a:lnTo>
                  <a:lnTo>
                    <a:pt x="32" y="24"/>
                  </a:lnTo>
                  <a:lnTo>
                    <a:pt x="32"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13" name="Freeform 127">
              <a:extLst>
                <a:ext uri="{FF2B5EF4-FFF2-40B4-BE49-F238E27FC236}">
                  <a16:creationId xmlns:a16="http://schemas.microsoft.com/office/drawing/2014/main" id="{E38754D4-2E7C-E0B5-52A5-1623395964CF}"/>
                </a:ext>
              </a:extLst>
            </p:cNvPr>
            <p:cNvSpPr>
              <a:spLocks/>
            </p:cNvSpPr>
            <p:nvPr/>
          </p:nvSpPr>
          <p:spPr bwMode="auto">
            <a:xfrm>
              <a:off x="1614316" y="2687207"/>
              <a:ext cx="97670" cy="64933"/>
            </a:xfrm>
            <a:custGeom>
              <a:avLst/>
              <a:gdLst>
                <a:gd name="T0" fmla="*/ 8 w 48"/>
                <a:gd name="T1" fmla="*/ 0 h 32"/>
                <a:gd name="T2" fmla="*/ 16 w 48"/>
                <a:gd name="T3" fmla="*/ 8 h 32"/>
                <a:gd name="T4" fmla="*/ 24 w 48"/>
                <a:gd name="T5" fmla="*/ 8 h 32"/>
                <a:gd name="T6" fmla="*/ 40 w 48"/>
                <a:gd name="T7" fmla="*/ 0 h 32"/>
                <a:gd name="T8" fmla="*/ 48 w 48"/>
                <a:gd name="T9" fmla="*/ 8 h 32"/>
                <a:gd name="T10" fmla="*/ 32 w 48"/>
                <a:gd name="T11" fmla="*/ 16 h 32"/>
                <a:gd name="T12" fmla="*/ 40 w 48"/>
                <a:gd name="T13" fmla="*/ 32 h 32"/>
                <a:gd name="T14" fmla="*/ 32 w 48"/>
                <a:gd name="T15" fmla="*/ 32 h 32"/>
                <a:gd name="T16" fmla="*/ 24 w 48"/>
                <a:gd name="T17" fmla="*/ 24 h 32"/>
                <a:gd name="T18" fmla="*/ 0 w 48"/>
                <a:gd name="T19" fmla="*/ 16 h 32"/>
                <a:gd name="T20" fmla="*/ 8 w 48"/>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32">
                  <a:moveTo>
                    <a:pt x="8" y="0"/>
                  </a:moveTo>
                  <a:lnTo>
                    <a:pt x="16" y="8"/>
                  </a:lnTo>
                  <a:lnTo>
                    <a:pt x="24" y="8"/>
                  </a:lnTo>
                  <a:lnTo>
                    <a:pt x="40" y="0"/>
                  </a:lnTo>
                  <a:lnTo>
                    <a:pt x="48" y="8"/>
                  </a:lnTo>
                  <a:lnTo>
                    <a:pt x="32" y="16"/>
                  </a:lnTo>
                  <a:lnTo>
                    <a:pt x="40" y="32"/>
                  </a:lnTo>
                  <a:lnTo>
                    <a:pt x="32" y="32"/>
                  </a:lnTo>
                  <a:lnTo>
                    <a:pt x="24" y="24"/>
                  </a:lnTo>
                  <a:lnTo>
                    <a:pt x="0" y="16"/>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14" name="Freeform 128">
              <a:extLst>
                <a:ext uri="{FF2B5EF4-FFF2-40B4-BE49-F238E27FC236}">
                  <a16:creationId xmlns:a16="http://schemas.microsoft.com/office/drawing/2014/main" id="{09E47CA9-0B0D-275C-EACB-7DEB18BE219D}"/>
                </a:ext>
              </a:extLst>
            </p:cNvPr>
            <p:cNvSpPr>
              <a:spLocks/>
            </p:cNvSpPr>
            <p:nvPr/>
          </p:nvSpPr>
          <p:spPr bwMode="auto">
            <a:xfrm>
              <a:off x="1548187" y="2637388"/>
              <a:ext cx="82643" cy="81547"/>
            </a:xfrm>
            <a:custGeom>
              <a:avLst/>
              <a:gdLst>
                <a:gd name="T0" fmla="*/ 40 w 40"/>
                <a:gd name="T1" fmla="*/ 24 h 40"/>
                <a:gd name="T2" fmla="*/ 32 w 40"/>
                <a:gd name="T3" fmla="*/ 16 h 40"/>
                <a:gd name="T4" fmla="*/ 24 w 40"/>
                <a:gd name="T5" fmla="*/ 0 h 40"/>
                <a:gd name="T6" fmla="*/ 0 w 40"/>
                <a:gd name="T7" fmla="*/ 0 h 40"/>
                <a:gd name="T8" fmla="*/ 0 w 40"/>
                <a:gd name="T9" fmla="*/ 16 h 40"/>
                <a:gd name="T10" fmla="*/ 8 w 40"/>
                <a:gd name="T11" fmla="*/ 24 h 40"/>
                <a:gd name="T12" fmla="*/ 8 w 40"/>
                <a:gd name="T13" fmla="*/ 16 h 40"/>
                <a:gd name="T14" fmla="*/ 24 w 40"/>
                <a:gd name="T15" fmla="*/ 32 h 40"/>
                <a:gd name="T16" fmla="*/ 24 w 40"/>
                <a:gd name="T17" fmla="*/ 40 h 40"/>
                <a:gd name="T18" fmla="*/ 32 w 40"/>
                <a:gd name="T19" fmla="*/ 40 h 40"/>
                <a:gd name="T20" fmla="*/ 40 w 40"/>
                <a:gd name="T21"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40">
                  <a:moveTo>
                    <a:pt x="40" y="24"/>
                  </a:moveTo>
                  <a:lnTo>
                    <a:pt x="32" y="16"/>
                  </a:lnTo>
                  <a:lnTo>
                    <a:pt x="24" y="0"/>
                  </a:lnTo>
                  <a:lnTo>
                    <a:pt x="0" y="0"/>
                  </a:lnTo>
                  <a:lnTo>
                    <a:pt x="0" y="16"/>
                  </a:lnTo>
                  <a:lnTo>
                    <a:pt x="8" y="24"/>
                  </a:lnTo>
                  <a:lnTo>
                    <a:pt x="8" y="16"/>
                  </a:lnTo>
                  <a:lnTo>
                    <a:pt x="24" y="32"/>
                  </a:lnTo>
                  <a:lnTo>
                    <a:pt x="24" y="40"/>
                  </a:lnTo>
                  <a:lnTo>
                    <a:pt x="32" y="40"/>
                  </a:lnTo>
                  <a:lnTo>
                    <a:pt x="4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15" name="Freeform 129">
              <a:extLst>
                <a:ext uri="{FF2B5EF4-FFF2-40B4-BE49-F238E27FC236}">
                  <a16:creationId xmlns:a16="http://schemas.microsoft.com/office/drawing/2014/main" id="{C834BC2A-BCD7-33D8-2928-F80A7A256CF8}"/>
                </a:ext>
              </a:extLst>
            </p:cNvPr>
            <p:cNvSpPr>
              <a:spLocks/>
            </p:cNvSpPr>
            <p:nvPr/>
          </p:nvSpPr>
          <p:spPr bwMode="auto">
            <a:xfrm>
              <a:off x="1515130" y="2505996"/>
              <a:ext cx="115699" cy="131379"/>
            </a:xfrm>
            <a:custGeom>
              <a:avLst/>
              <a:gdLst>
                <a:gd name="T0" fmla="*/ 40 w 56"/>
                <a:gd name="T1" fmla="*/ 64 h 64"/>
                <a:gd name="T2" fmla="*/ 56 w 56"/>
                <a:gd name="T3" fmla="*/ 16 h 64"/>
                <a:gd name="T4" fmla="*/ 56 w 56"/>
                <a:gd name="T5" fmla="*/ 0 h 64"/>
                <a:gd name="T6" fmla="*/ 32 w 56"/>
                <a:gd name="T7" fmla="*/ 8 h 64"/>
                <a:gd name="T8" fmla="*/ 0 w 56"/>
                <a:gd name="T9" fmla="*/ 32 h 64"/>
                <a:gd name="T10" fmla="*/ 0 w 56"/>
                <a:gd name="T11" fmla="*/ 40 h 64"/>
                <a:gd name="T12" fmla="*/ 16 w 56"/>
                <a:gd name="T13" fmla="*/ 64 h 64"/>
                <a:gd name="T14" fmla="*/ 40 w 56"/>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64">
                  <a:moveTo>
                    <a:pt x="40" y="64"/>
                  </a:moveTo>
                  <a:lnTo>
                    <a:pt x="56" y="16"/>
                  </a:lnTo>
                  <a:lnTo>
                    <a:pt x="56" y="0"/>
                  </a:lnTo>
                  <a:lnTo>
                    <a:pt x="32" y="8"/>
                  </a:lnTo>
                  <a:lnTo>
                    <a:pt x="0" y="32"/>
                  </a:lnTo>
                  <a:lnTo>
                    <a:pt x="0" y="40"/>
                  </a:lnTo>
                  <a:lnTo>
                    <a:pt x="16" y="64"/>
                  </a:lnTo>
                  <a:lnTo>
                    <a:pt x="40" y="6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16" name="Freeform 130">
              <a:extLst>
                <a:ext uri="{FF2B5EF4-FFF2-40B4-BE49-F238E27FC236}">
                  <a16:creationId xmlns:a16="http://schemas.microsoft.com/office/drawing/2014/main" id="{E99AC2D9-A683-11AE-96C1-F72CCDADAD18}"/>
                </a:ext>
              </a:extLst>
            </p:cNvPr>
            <p:cNvSpPr>
              <a:spLocks/>
            </p:cNvSpPr>
            <p:nvPr/>
          </p:nvSpPr>
          <p:spPr bwMode="auto">
            <a:xfrm>
              <a:off x="1450517" y="2489394"/>
              <a:ext cx="180312" cy="81547"/>
            </a:xfrm>
            <a:custGeom>
              <a:avLst/>
              <a:gdLst>
                <a:gd name="T0" fmla="*/ 24 w 88"/>
                <a:gd name="T1" fmla="*/ 0 h 40"/>
                <a:gd name="T2" fmla="*/ 64 w 88"/>
                <a:gd name="T3" fmla="*/ 0 h 40"/>
                <a:gd name="T4" fmla="*/ 88 w 88"/>
                <a:gd name="T5" fmla="*/ 8 h 40"/>
                <a:gd name="T6" fmla="*/ 64 w 88"/>
                <a:gd name="T7" fmla="*/ 16 h 40"/>
                <a:gd name="T8" fmla="*/ 32 w 88"/>
                <a:gd name="T9" fmla="*/ 40 h 40"/>
                <a:gd name="T10" fmla="*/ 24 w 88"/>
                <a:gd name="T11" fmla="*/ 32 h 40"/>
                <a:gd name="T12" fmla="*/ 0 w 88"/>
                <a:gd name="T13" fmla="*/ 16 h 40"/>
                <a:gd name="T14" fmla="*/ 24 w 88"/>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40">
                  <a:moveTo>
                    <a:pt x="24" y="0"/>
                  </a:moveTo>
                  <a:lnTo>
                    <a:pt x="64" y="0"/>
                  </a:lnTo>
                  <a:lnTo>
                    <a:pt x="88" y="8"/>
                  </a:lnTo>
                  <a:lnTo>
                    <a:pt x="64" y="16"/>
                  </a:lnTo>
                  <a:lnTo>
                    <a:pt x="32" y="40"/>
                  </a:lnTo>
                  <a:lnTo>
                    <a:pt x="24" y="32"/>
                  </a:lnTo>
                  <a:lnTo>
                    <a:pt x="0" y="16"/>
                  </a:lnTo>
                  <a:lnTo>
                    <a:pt x="24"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17" name="Freeform 131">
              <a:extLst>
                <a:ext uri="{FF2B5EF4-FFF2-40B4-BE49-F238E27FC236}">
                  <a16:creationId xmlns:a16="http://schemas.microsoft.com/office/drawing/2014/main" id="{53BB4CDC-DA42-8C55-68EA-58453EBFEEFE}"/>
                </a:ext>
              </a:extLst>
            </p:cNvPr>
            <p:cNvSpPr>
              <a:spLocks/>
            </p:cNvSpPr>
            <p:nvPr/>
          </p:nvSpPr>
          <p:spPr bwMode="auto">
            <a:xfrm>
              <a:off x="1941882" y="2358020"/>
              <a:ext cx="97670" cy="81547"/>
            </a:xfrm>
            <a:custGeom>
              <a:avLst/>
              <a:gdLst>
                <a:gd name="T0" fmla="*/ 8 w 48"/>
                <a:gd name="T1" fmla="*/ 0 h 40"/>
                <a:gd name="T2" fmla="*/ 32 w 48"/>
                <a:gd name="T3" fmla="*/ 8 h 40"/>
                <a:gd name="T4" fmla="*/ 40 w 48"/>
                <a:gd name="T5" fmla="*/ 8 h 40"/>
                <a:gd name="T6" fmla="*/ 32 w 48"/>
                <a:gd name="T7" fmla="*/ 16 h 40"/>
                <a:gd name="T8" fmla="*/ 48 w 48"/>
                <a:gd name="T9" fmla="*/ 16 h 40"/>
                <a:gd name="T10" fmla="*/ 48 w 48"/>
                <a:gd name="T11" fmla="*/ 24 h 40"/>
                <a:gd name="T12" fmla="*/ 48 w 48"/>
                <a:gd name="T13" fmla="*/ 32 h 40"/>
                <a:gd name="T14" fmla="*/ 40 w 48"/>
                <a:gd name="T15" fmla="*/ 24 h 40"/>
                <a:gd name="T16" fmla="*/ 16 w 48"/>
                <a:gd name="T17" fmla="*/ 24 h 40"/>
                <a:gd name="T18" fmla="*/ 24 w 48"/>
                <a:gd name="T19" fmla="*/ 24 h 40"/>
                <a:gd name="T20" fmla="*/ 16 w 48"/>
                <a:gd name="T21" fmla="*/ 24 h 40"/>
                <a:gd name="T22" fmla="*/ 8 w 48"/>
                <a:gd name="T23" fmla="*/ 40 h 40"/>
                <a:gd name="T24" fmla="*/ 0 w 48"/>
                <a:gd name="T25" fmla="*/ 32 h 40"/>
                <a:gd name="T26" fmla="*/ 8 w 48"/>
                <a:gd name="T2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0">
                  <a:moveTo>
                    <a:pt x="8" y="0"/>
                  </a:moveTo>
                  <a:lnTo>
                    <a:pt x="32" y="8"/>
                  </a:lnTo>
                  <a:lnTo>
                    <a:pt x="40" y="8"/>
                  </a:lnTo>
                  <a:lnTo>
                    <a:pt x="32" y="16"/>
                  </a:lnTo>
                  <a:lnTo>
                    <a:pt x="48" y="16"/>
                  </a:lnTo>
                  <a:lnTo>
                    <a:pt x="48" y="24"/>
                  </a:lnTo>
                  <a:lnTo>
                    <a:pt x="48" y="32"/>
                  </a:lnTo>
                  <a:lnTo>
                    <a:pt x="40" y="24"/>
                  </a:lnTo>
                  <a:lnTo>
                    <a:pt x="16" y="24"/>
                  </a:lnTo>
                  <a:lnTo>
                    <a:pt x="24" y="24"/>
                  </a:lnTo>
                  <a:lnTo>
                    <a:pt x="16" y="24"/>
                  </a:lnTo>
                  <a:lnTo>
                    <a:pt x="8" y="40"/>
                  </a:lnTo>
                  <a:lnTo>
                    <a:pt x="0" y="32"/>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18" name="Freeform 132">
              <a:extLst>
                <a:ext uri="{FF2B5EF4-FFF2-40B4-BE49-F238E27FC236}">
                  <a16:creationId xmlns:a16="http://schemas.microsoft.com/office/drawing/2014/main" id="{A720CDF3-B4B4-F6F1-6D72-A7CF72A01F87}"/>
                </a:ext>
              </a:extLst>
            </p:cNvPr>
            <p:cNvSpPr>
              <a:spLocks/>
            </p:cNvSpPr>
            <p:nvPr/>
          </p:nvSpPr>
          <p:spPr bwMode="auto">
            <a:xfrm>
              <a:off x="1875754" y="2358009"/>
              <a:ext cx="81140" cy="64933"/>
            </a:xfrm>
            <a:custGeom>
              <a:avLst/>
              <a:gdLst>
                <a:gd name="T0" fmla="*/ 40 w 40"/>
                <a:gd name="T1" fmla="*/ 0 h 32"/>
                <a:gd name="T2" fmla="*/ 24 w 40"/>
                <a:gd name="T3" fmla="*/ 0 h 32"/>
                <a:gd name="T4" fmla="*/ 16 w 40"/>
                <a:gd name="T5" fmla="*/ 8 h 32"/>
                <a:gd name="T6" fmla="*/ 24 w 40"/>
                <a:gd name="T7" fmla="*/ 8 h 32"/>
                <a:gd name="T8" fmla="*/ 32 w 40"/>
                <a:gd name="T9" fmla="*/ 24 h 32"/>
                <a:gd name="T10" fmla="*/ 16 w 40"/>
                <a:gd name="T11" fmla="*/ 24 h 32"/>
                <a:gd name="T12" fmla="*/ 8 w 40"/>
                <a:gd name="T13" fmla="*/ 24 h 32"/>
                <a:gd name="T14" fmla="*/ 0 w 40"/>
                <a:gd name="T15" fmla="*/ 24 h 32"/>
                <a:gd name="T16" fmla="*/ 8 w 40"/>
                <a:gd name="T17" fmla="*/ 32 h 32"/>
                <a:gd name="T18" fmla="*/ 32 w 40"/>
                <a:gd name="T19" fmla="*/ 32 h 32"/>
                <a:gd name="T20" fmla="*/ 40 w 40"/>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32">
                  <a:moveTo>
                    <a:pt x="40" y="0"/>
                  </a:moveTo>
                  <a:lnTo>
                    <a:pt x="24" y="0"/>
                  </a:lnTo>
                  <a:lnTo>
                    <a:pt x="16" y="8"/>
                  </a:lnTo>
                  <a:lnTo>
                    <a:pt x="24" y="8"/>
                  </a:lnTo>
                  <a:lnTo>
                    <a:pt x="32" y="24"/>
                  </a:lnTo>
                  <a:lnTo>
                    <a:pt x="16" y="24"/>
                  </a:lnTo>
                  <a:lnTo>
                    <a:pt x="8" y="24"/>
                  </a:lnTo>
                  <a:lnTo>
                    <a:pt x="0" y="24"/>
                  </a:lnTo>
                  <a:lnTo>
                    <a:pt x="8" y="32"/>
                  </a:lnTo>
                  <a:lnTo>
                    <a:pt x="32" y="32"/>
                  </a:lnTo>
                  <a:lnTo>
                    <a:pt x="4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19" name="Freeform 133">
              <a:extLst>
                <a:ext uri="{FF2B5EF4-FFF2-40B4-BE49-F238E27FC236}">
                  <a16:creationId xmlns:a16="http://schemas.microsoft.com/office/drawing/2014/main" id="{41DBE123-3738-9860-B9F2-6A2F21B49A30}"/>
                </a:ext>
              </a:extLst>
            </p:cNvPr>
            <p:cNvSpPr>
              <a:spLocks/>
            </p:cNvSpPr>
            <p:nvPr/>
          </p:nvSpPr>
          <p:spPr bwMode="auto">
            <a:xfrm>
              <a:off x="2383634" y="3920976"/>
              <a:ext cx="130727" cy="149501"/>
            </a:xfrm>
            <a:custGeom>
              <a:avLst/>
              <a:gdLst>
                <a:gd name="T0" fmla="*/ 0 w 64"/>
                <a:gd name="T1" fmla="*/ 56 h 72"/>
                <a:gd name="T2" fmla="*/ 0 w 64"/>
                <a:gd name="T3" fmla="*/ 0 h 72"/>
                <a:gd name="T4" fmla="*/ 8 w 64"/>
                <a:gd name="T5" fmla="*/ 0 h 72"/>
                <a:gd name="T6" fmla="*/ 24 w 64"/>
                <a:gd name="T7" fmla="*/ 16 h 72"/>
                <a:gd name="T8" fmla="*/ 24 w 64"/>
                <a:gd name="T9" fmla="*/ 8 h 72"/>
                <a:gd name="T10" fmla="*/ 56 w 64"/>
                <a:gd name="T11" fmla="*/ 24 h 72"/>
                <a:gd name="T12" fmla="*/ 64 w 64"/>
                <a:gd name="T13" fmla="*/ 40 h 72"/>
                <a:gd name="T14" fmla="*/ 64 w 64"/>
                <a:gd name="T15" fmla="*/ 56 h 72"/>
                <a:gd name="T16" fmla="*/ 56 w 64"/>
                <a:gd name="T17" fmla="*/ 64 h 72"/>
                <a:gd name="T18" fmla="*/ 32 w 64"/>
                <a:gd name="T19" fmla="*/ 72 h 72"/>
                <a:gd name="T20" fmla="*/ 0 w 64"/>
                <a:gd name="T21" fmla="*/ 5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72">
                  <a:moveTo>
                    <a:pt x="0" y="56"/>
                  </a:moveTo>
                  <a:lnTo>
                    <a:pt x="0" y="0"/>
                  </a:lnTo>
                  <a:lnTo>
                    <a:pt x="8" y="0"/>
                  </a:lnTo>
                  <a:lnTo>
                    <a:pt x="24" y="16"/>
                  </a:lnTo>
                  <a:lnTo>
                    <a:pt x="24" y="8"/>
                  </a:lnTo>
                  <a:lnTo>
                    <a:pt x="56" y="24"/>
                  </a:lnTo>
                  <a:lnTo>
                    <a:pt x="64" y="40"/>
                  </a:lnTo>
                  <a:lnTo>
                    <a:pt x="64" y="56"/>
                  </a:lnTo>
                  <a:lnTo>
                    <a:pt x="56" y="64"/>
                  </a:lnTo>
                  <a:lnTo>
                    <a:pt x="32" y="72"/>
                  </a:lnTo>
                  <a:lnTo>
                    <a:pt x="0" y="5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20" name="Freeform 134">
              <a:extLst>
                <a:ext uri="{FF2B5EF4-FFF2-40B4-BE49-F238E27FC236}">
                  <a16:creationId xmlns:a16="http://schemas.microsoft.com/office/drawing/2014/main" id="{AD59C852-EA3E-D947-15D7-1C9900AD6D1B}"/>
                </a:ext>
              </a:extLst>
            </p:cNvPr>
            <p:cNvSpPr>
              <a:spLocks/>
            </p:cNvSpPr>
            <p:nvPr/>
          </p:nvSpPr>
          <p:spPr bwMode="auto">
            <a:xfrm>
              <a:off x="1875757" y="2818587"/>
              <a:ext cx="1047314" cy="1218654"/>
            </a:xfrm>
            <a:custGeom>
              <a:avLst/>
              <a:gdLst>
                <a:gd name="T0" fmla="*/ 272 w 512"/>
                <a:gd name="T1" fmla="*/ 48 h 592"/>
                <a:gd name="T2" fmla="*/ 232 w 512"/>
                <a:gd name="T3" fmla="*/ 40 h 592"/>
                <a:gd name="T4" fmla="*/ 224 w 512"/>
                <a:gd name="T5" fmla="*/ 48 h 592"/>
                <a:gd name="T6" fmla="*/ 192 w 512"/>
                <a:gd name="T7" fmla="*/ 56 h 592"/>
                <a:gd name="T8" fmla="*/ 176 w 512"/>
                <a:gd name="T9" fmla="*/ 40 h 592"/>
                <a:gd name="T10" fmla="*/ 176 w 512"/>
                <a:gd name="T11" fmla="*/ 0 h 592"/>
                <a:gd name="T12" fmla="*/ 168 w 512"/>
                <a:gd name="T13" fmla="*/ 8 h 592"/>
                <a:gd name="T14" fmla="*/ 112 w 512"/>
                <a:gd name="T15" fmla="*/ 16 h 592"/>
                <a:gd name="T16" fmla="*/ 120 w 512"/>
                <a:gd name="T17" fmla="*/ 40 h 592"/>
                <a:gd name="T18" fmla="*/ 104 w 512"/>
                <a:gd name="T19" fmla="*/ 64 h 592"/>
                <a:gd name="T20" fmla="*/ 88 w 512"/>
                <a:gd name="T21" fmla="*/ 56 h 592"/>
                <a:gd name="T22" fmla="*/ 48 w 512"/>
                <a:gd name="T23" fmla="*/ 56 h 592"/>
                <a:gd name="T24" fmla="*/ 56 w 512"/>
                <a:gd name="T25" fmla="*/ 72 h 592"/>
                <a:gd name="T26" fmla="*/ 48 w 512"/>
                <a:gd name="T27" fmla="*/ 96 h 592"/>
                <a:gd name="T28" fmla="*/ 16 w 512"/>
                <a:gd name="T29" fmla="*/ 152 h 592"/>
                <a:gd name="T30" fmla="*/ 0 w 512"/>
                <a:gd name="T31" fmla="*/ 192 h 592"/>
                <a:gd name="T32" fmla="*/ 24 w 512"/>
                <a:gd name="T33" fmla="*/ 232 h 592"/>
                <a:gd name="T34" fmla="*/ 40 w 512"/>
                <a:gd name="T35" fmla="*/ 240 h 592"/>
                <a:gd name="T36" fmla="*/ 72 w 512"/>
                <a:gd name="T37" fmla="*/ 248 h 592"/>
                <a:gd name="T38" fmla="*/ 112 w 512"/>
                <a:gd name="T39" fmla="*/ 224 h 592"/>
                <a:gd name="T40" fmla="*/ 120 w 512"/>
                <a:gd name="T41" fmla="*/ 264 h 592"/>
                <a:gd name="T42" fmla="*/ 184 w 512"/>
                <a:gd name="T43" fmla="*/ 304 h 592"/>
                <a:gd name="T44" fmla="*/ 184 w 512"/>
                <a:gd name="T45" fmla="*/ 320 h 592"/>
                <a:gd name="T46" fmla="*/ 208 w 512"/>
                <a:gd name="T47" fmla="*/ 336 h 592"/>
                <a:gd name="T48" fmla="*/ 216 w 512"/>
                <a:gd name="T49" fmla="*/ 384 h 592"/>
                <a:gd name="T50" fmla="*/ 248 w 512"/>
                <a:gd name="T51" fmla="*/ 416 h 592"/>
                <a:gd name="T52" fmla="*/ 256 w 512"/>
                <a:gd name="T53" fmla="*/ 440 h 592"/>
                <a:gd name="T54" fmla="*/ 272 w 512"/>
                <a:gd name="T55" fmla="*/ 464 h 592"/>
                <a:gd name="T56" fmla="*/ 288 w 512"/>
                <a:gd name="T57" fmla="*/ 488 h 592"/>
                <a:gd name="T58" fmla="*/ 248 w 512"/>
                <a:gd name="T59" fmla="*/ 536 h 592"/>
                <a:gd name="T60" fmla="*/ 272 w 512"/>
                <a:gd name="T61" fmla="*/ 552 h 592"/>
                <a:gd name="T62" fmla="*/ 304 w 512"/>
                <a:gd name="T63" fmla="*/ 560 h 592"/>
                <a:gd name="T64" fmla="*/ 312 w 512"/>
                <a:gd name="T65" fmla="*/ 592 h 592"/>
                <a:gd name="T66" fmla="*/ 336 w 512"/>
                <a:gd name="T67" fmla="*/ 552 h 592"/>
                <a:gd name="T68" fmla="*/ 360 w 512"/>
                <a:gd name="T69" fmla="*/ 512 h 592"/>
                <a:gd name="T70" fmla="*/ 376 w 512"/>
                <a:gd name="T71" fmla="*/ 448 h 592"/>
                <a:gd name="T72" fmla="*/ 392 w 512"/>
                <a:gd name="T73" fmla="*/ 440 h 592"/>
                <a:gd name="T74" fmla="*/ 400 w 512"/>
                <a:gd name="T75" fmla="*/ 432 h 592"/>
                <a:gd name="T76" fmla="*/ 432 w 512"/>
                <a:gd name="T77" fmla="*/ 424 h 592"/>
                <a:gd name="T78" fmla="*/ 448 w 512"/>
                <a:gd name="T79" fmla="*/ 408 h 592"/>
                <a:gd name="T80" fmla="*/ 464 w 512"/>
                <a:gd name="T81" fmla="*/ 376 h 592"/>
                <a:gd name="T82" fmla="*/ 464 w 512"/>
                <a:gd name="T83" fmla="*/ 344 h 592"/>
                <a:gd name="T84" fmla="*/ 504 w 512"/>
                <a:gd name="T85" fmla="*/ 224 h 592"/>
                <a:gd name="T86" fmla="*/ 512 w 512"/>
                <a:gd name="T87" fmla="*/ 184 h 592"/>
                <a:gd name="T88" fmla="*/ 488 w 512"/>
                <a:gd name="T89" fmla="*/ 152 h 592"/>
                <a:gd name="T90" fmla="*/ 424 w 512"/>
                <a:gd name="T91" fmla="*/ 128 h 592"/>
                <a:gd name="T92" fmla="*/ 384 w 512"/>
                <a:gd name="T93" fmla="*/ 120 h 592"/>
                <a:gd name="T94" fmla="*/ 384 w 512"/>
                <a:gd name="T95" fmla="*/ 104 h 592"/>
                <a:gd name="T96" fmla="*/ 368 w 512"/>
                <a:gd name="T97" fmla="*/ 96 h 592"/>
                <a:gd name="T98" fmla="*/ 336 w 512"/>
                <a:gd name="T99" fmla="*/ 88 h 592"/>
                <a:gd name="T100" fmla="*/ 336 w 512"/>
                <a:gd name="T101" fmla="*/ 80 h 592"/>
                <a:gd name="T102" fmla="*/ 304 w 512"/>
                <a:gd name="T103" fmla="*/ 88 h 592"/>
                <a:gd name="T104" fmla="*/ 296 w 512"/>
                <a:gd name="T105" fmla="*/ 96 h 592"/>
                <a:gd name="T106" fmla="*/ 312 w 512"/>
                <a:gd name="T107" fmla="*/ 64 h 592"/>
                <a:gd name="T108" fmla="*/ 304 w 512"/>
                <a:gd name="T109" fmla="*/ 48 h 592"/>
                <a:gd name="T110" fmla="*/ 288 w 512"/>
                <a:gd name="T111" fmla="*/ 16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92">
                  <a:moveTo>
                    <a:pt x="288" y="16"/>
                  </a:moveTo>
                  <a:lnTo>
                    <a:pt x="272" y="48"/>
                  </a:lnTo>
                  <a:lnTo>
                    <a:pt x="256" y="48"/>
                  </a:lnTo>
                  <a:lnTo>
                    <a:pt x="232" y="40"/>
                  </a:lnTo>
                  <a:lnTo>
                    <a:pt x="232" y="48"/>
                  </a:lnTo>
                  <a:lnTo>
                    <a:pt x="224" y="48"/>
                  </a:lnTo>
                  <a:lnTo>
                    <a:pt x="216" y="48"/>
                  </a:lnTo>
                  <a:lnTo>
                    <a:pt x="192" y="56"/>
                  </a:lnTo>
                  <a:lnTo>
                    <a:pt x="184" y="56"/>
                  </a:lnTo>
                  <a:lnTo>
                    <a:pt x="176" y="40"/>
                  </a:lnTo>
                  <a:lnTo>
                    <a:pt x="184" y="16"/>
                  </a:lnTo>
                  <a:lnTo>
                    <a:pt x="176" y="0"/>
                  </a:lnTo>
                  <a:lnTo>
                    <a:pt x="168" y="0"/>
                  </a:lnTo>
                  <a:lnTo>
                    <a:pt x="168" y="8"/>
                  </a:lnTo>
                  <a:lnTo>
                    <a:pt x="136" y="24"/>
                  </a:lnTo>
                  <a:lnTo>
                    <a:pt x="112" y="16"/>
                  </a:lnTo>
                  <a:lnTo>
                    <a:pt x="120" y="24"/>
                  </a:lnTo>
                  <a:lnTo>
                    <a:pt x="120" y="40"/>
                  </a:lnTo>
                  <a:lnTo>
                    <a:pt x="128" y="48"/>
                  </a:lnTo>
                  <a:lnTo>
                    <a:pt x="104" y="64"/>
                  </a:lnTo>
                  <a:lnTo>
                    <a:pt x="88" y="64"/>
                  </a:lnTo>
                  <a:lnTo>
                    <a:pt x="88" y="56"/>
                  </a:lnTo>
                  <a:lnTo>
                    <a:pt x="80" y="48"/>
                  </a:lnTo>
                  <a:lnTo>
                    <a:pt x="48" y="56"/>
                  </a:lnTo>
                  <a:lnTo>
                    <a:pt x="48" y="64"/>
                  </a:lnTo>
                  <a:lnTo>
                    <a:pt x="56" y="72"/>
                  </a:lnTo>
                  <a:lnTo>
                    <a:pt x="40" y="72"/>
                  </a:lnTo>
                  <a:lnTo>
                    <a:pt x="48" y="96"/>
                  </a:lnTo>
                  <a:lnTo>
                    <a:pt x="48" y="144"/>
                  </a:lnTo>
                  <a:lnTo>
                    <a:pt x="16" y="152"/>
                  </a:lnTo>
                  <a:lnTo>
                    <a:pt x="8" y="168"/>
                  </a:lnTo>
                  <a:lnTo>
                    <a:pt x="0" y="192"/>
                  </a:lnTo>
                  <a:lnTo>
                    <a:pt x="8" y="216"/>
                  </a:lnTo>
                  <a:lnTo>
                    <a:pt x="24" y="232"/>
                  </a:lnTo>
                  <a:lnTo>
                    <a:pt x="40" y="224"/>
                  </a:lnTo>
                  <a:lnTo>
                    <a:pt x="40" y="240"/>
                  </a:lnTo>
                  <a:lnTo>
                    <a:pt x="56" y="240"/>
                  </a:lnTo>
                  <a:lnTo>
                    <a:pt x="72" y="248"/>
                  </a:lnTo>
                  <a:lnTo>
                    <a:pt x="88" y="224"/>
                  </a:lnTo>
                  <a:lnTo>
                    <a:pt x="112" y="224"/>
                  </a:lnTo>
                  <a:lnTo>
                    <a:pt x="112" y="248"/>
                  </a:lnTo>
                  <a:lnTo>
                    <a:pt x="120" y="264"/>
                  </a:lnTo>
                  <a:lnTo>
                    <a:pt x="176" y="288"/>
                  </a:lnTo>
                  <a:lnTo>
                    <a:pt x="184" y="304"/>
                  </a:lnTo>
                  <a:lnTo>
                    <a:pt x="184" y="312"/>
                  </a:lnTo>
                  <a:lnTo>
                    <a:pt x="184" y="320"/>
                  </a:lnTo>
                  <a:lnTo>
                    <a:pt x="208" y="328"/>
                  </a:lnTo>
                  <a:lnTo>
                    <a:pt x="208" y="336"/>
                  </a:lnTo>
                  <a:lnTo>
                    <a:pt x="224" y="352"/>
                  </a:lnTo>
                  <a:lnTo>
                    <a:pt x="216" y="384"/>
                  </a:lnTo>
                  <a:lnTo>
                    <a:pt x="224" y="408"/>
                  </a:lnTo>
                  <a:lnTo>
                    <a:pt x="248" y="416"/>
                  </a:lnTo>
                  <a:lnTo>
                    <a:pt x="256" y="416"/>
                  </a:lnTo>
                  <a:lnTo>
                    <a:pt x="256" y="440"/>
                  </a:lnTo>
                  <a:lnTo>
                    <a:pt x="272" y="440"/>
                  </a:lnTo>
                  <a:lnTo>
                    <a:pt x="272" y="464"/>
                  </a:lnTo>
                  <a:lnTo>
                    <a:pt x="280" y="464"/>
                  </a:lnTo>
                  <a:lnTo>
                    <a:pt x="288" y="488"/>
                  </a:lnTo>
                  <a:lnTo>
                    <a:pt x="280" y="496"/>
                  </a:lnTo>
                  <a:lnTo>
                    <a:pt x="248" y="536"/>
                  </a:lnTo>
                  <a:lnTo>
                    <a:pt x="256" y="536"/>
                  </a:lnTo>
                  <a:lnTo>
                    <a:pt x="272" y="552"/>
                  </a:lnTo>
                  <a:lnTo>
                    <a:pt x="272" y="544"/>
                  </a:lnTo>
                  <a:lnTo>
                    <a:pt x="304" y="560"/>
                  </a:lnTo>
                  <a:lnTo>
                    <a:pt x="312" y="576"/>
                  </a:lnTo>
                  <a:lnTo>
                    <a:pt x="312" y="592"/>
                  </a:lnTo>
                  <a:lnTo>
                    <a:pt x="320" y="568"/>
                  </a:lnTo>
                  <a:lnTo>
                    <a:pt x="336" y="552"/>
                  </a:lnTo>
                  <a:lnTo>
                    <a:pt x="344" y="528"/>
                  </a:lnTo>
                  <a:lnTo>
                    <a:pt x="360" y="512"/>
                  </a:lnTo>
                  <a:lnTo>
                    <a:pt x="352" y="472"/>
                  </a:lnTo>
                  <a:lnTo>
                    <a:pt x="376" y="448"/>
                  </a:lnTo>
                  <a:lnTo>
                    <a:pt x="384" y="440"/>
                  </a:lnTo>
                  <a:lnTo>
                    <a:pt x="392" y="440"/>
                  </a:lnTo>
                  <a:lnTo>
                    <a:pt x="392" y="432"/>
                  </a:lnTo>
                  <a:lnTo>
                    <a:pt x="400" y="432"/>
                  </a:lnTo>
                  <a:lnTo>
                    <a:pt x="400" y="424"/>
                  </a:lnTo>
                  <a:lnTo>
                    <a:pt x="432" y="424"/>
                  </a:lnTo>
                  <a:lnTo>
                    <a:pt x="432" y="416"/>
                  </a:lnTo>
                  <a:lnTo>
                    <a:pt x="448" y="408"/>
                  </a:lnTo>
                  <a:lnTo>
                    <a:pt x="448" y="400"/>
                  </a:lnTo>
                  <a:lnTo>
                    <a:pt x="464" y="376"/>
                  </a:lnTo>
                  <a:lnTo>
                    <a:pt x="464" y="352"/>
                  </a:lnTo>
                  <a:lnTo>
                    <a:pt x="464" y="344"/>
                  </a:lnTo>
                  <a:lnTo>
                    <a:pt x="464" y="280"/>
                  </a:lnTo>
                  <a:lnTo>
                    <a:pt x="504" y="224"/>
                  </a:lnTo>
                  <a:lnTo>
                    <a:pt x="512" y="200"/>
                  </a:lnTo>
                  <a:lnTo>
                    <a:pt x="512" y="184"/>
                  </a:lnTo>
                  <a:lnTo>
                    <a:pt x="504" y="160"/>
                  </a:lnTo>
                  <a:lnTo>
                    <a:pt x="488" y="152"/>
                  </a:lnTo>
                  <a:lnTo>
                    <a:pt x="448" y="120"/>
                  </a:lnTo>
                  <a:lnTo>
                    <a:pt x="424" y="128"/>
                  </a:lnTo>
                  <a:lnTo>
                    <a:pt x="400" y="112"/>
                  </a:lnTo>
                  <a:lnTo>
                    <a:pt x="384" y="120"/>
                  </a:lnTo>
                  <a:lnTo>
                    <a:pt x="384" y="112"/>
                  </a:lnTo>
                  <a:lnTo>
                    <a:pt x="384" y="104"/>
                  </a:lnTo>
                  <a:lnTo>
                    <a:pt x="376" y="104"/>
                  </a:lnTo>
                  <a:lnTo>
                    <a:pt x="368" y="96"/>
                  </a:lnTo>
                  <a:lnTo>
                    <a:pt x="344" y="88"/>
                  </a:lnTo>
                  <a:lnTo>
                    <a:pt x="336" y="88"/>
                  </a:lnTo>
                  <a:lnTo>
                    <a:pt x="328" y="104"/>
                  </a:lnTo>
                  <a:lnTo>
                    <a:pt x="336" y="80"/>
                  </a:lnTo>
                  <a:lnTo>
                    <a:pt x="328" y="80"/>
                  </a:lnTo>
                  <a:lnTo>
                    <a:pt x="304" y="88"/>
                  </a:lnTo>
                  <a:lnTo>
                    <a:pt x="304" y="104"/>
                  </a:lnTo>
                  <a:lnTo>
                    <a:pt x="296" y="96"/>
                  </a:lnTo>
                  <a:lnTo>
                    <a:pt x="296" y="80"/>
                  </a:lnTo>
                  <a:lnTo>
                    <a:pt x="312" y="64"/>
                  </a:lnTo>
                  <a:lnTo>
                    <a:pt x="312" y="56"/>
                  </a:lnTo>
                  <a:lnTo>
                    <a:pt x="304" y="48"/>
                  </a:lnTo>
                  <a:lnTo>
                    <a:pt x="296" y="24"/>
                  </a:lnTo>
                  <a:lnTo>
                    <a:pt x="288"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21" name="Freeform 135">
              <a:extLst>
                <a:ext uri="{FF2B5EF4-FFF2-40B4-BE49-F238E27FC236}">
                  <a16:creationId xmlns:a16="http://schemas.microsoft.com/office/drawing/2014/main" id="{3A50F89E-A9E2-2CB7-9143-7E339BD97B38}"/>
                </a:ext>
              </a:extLst>
            </p:cNvPr>
            <p:cNvSpPr>
              <a:spLocks/>
            </p:cNvSpPr>
            <p:nvPr/>
          </p:nvSpPr>
          <p:spPr bwMode="auto">
            <a:xfrm>
              <a:off x="2317520" y="4612595"/>
              <a:ext cx="114199" cy="83056"/>
            </a:xfrm>
            <a:custGeom>
              <a:avLst/>
              <a:gdLst>
                <a:gd name="T0" fmla="*/ 0 w 56"/>
                <a:gd name="T1" fmla="*/ 0 h 40"/>
                <a:gd name="T2" fmla="*/ 16 w 56"/>
                <a:gd name="T3" fmla="*/ 16 h 40"/>
                <a:gd name="T4" fmla="*/ 56 w 56"/>
                <a:gd name="T5" fmla="*/ 32 h 40"/>
                <a:gd name="T6" fmla="*/ 32 w 56"/>
                <a:gd name="T7" fmla="*/ 40 h 40"/>
                <a:gd name="T8" fmla="*/ 24 w 56"/>
                <a:gd name="T9" fmla="*/ 40 h 40"/>
                <a:gd name="T10" fmla="*/ 0 w 56"/>
                <a:gd name="T11" fmla="*/ 0 h 40"/>
              </a:gdLst>
              <a:ahLst/>
              <a:cxnLst>
                <a:cxn ang="0">
                  <a:pos x="T0" y="T1"/>
                </a:cxn>
                <a:cxn ang="0">
                  <a:pos x="T2" y="T3"/>
                </a:cxn>
                <a:cxn ang="0">
                  <a:pos x="T4" y="T5"/>
                </a:cxn>
                <a:cxn ang="0">
                  <a:pos x="T6" y="T7"/>
                </a:cxn>
                <a:cxn ang="0">
                  <a:pos x="T8" y="T9"/>
                </a:cxn>
                <a:cxn ang="0">
                  <a:pos x="T10" y="T11"/>
                </a:cxn>
              </a:cxnLst>
              <a:rect l="0" t="0" r="r" b="b"/>
              <a:pathLst>
                <a:path w="56" h="40">
                  <a:moveTo>
                    <a:pt x="0" y="0"/>
                  </a:moveTo>
                  <a:lnTo>
                    <a:pt x="16" y="16"/>
                  </a:lnTo>
                  <a:lnTo>
                    <a:pt x="56" y="32"/>
                  </a:lnTo>
                  <a:lnTo>
                    <a:pt x="32" y="40"/>
                  </a:lnTo>
                  <a:lnTo>
                    <a:pt x="24" y="4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22" name="Freeform 136">
              <a:extLst>
                <a:ext uri="{FF2B5EF4-FFF2-40B4-BE49-F238E27FC236}">
                  <a16:creationId xmlns:a16="http://schemas.microsoft.com/office/drawing/2014/main" id="{4EB80288-0838-D837-B663-F120BC4E17A5}"/>
                </a:ext>
              </a:extLst>
            </p:cNvPr>
            <p:cNvSpPr>
              <a:spLocks/>
            </p:cNvSpPr>
            <p:nvPr/>
          </p:nvSpPr>
          <p:spPr bwMode="auto">
            <a:xfrm>
              <a:off x="2219852" y="4612595"/>
              <a:ext cx="147255" cy="83056"/>
            </a:xfrm>
            <a:custGeom>
              <a:avLst/>
              <a:gdLst>
                <a:gd name="T0" fmla="*/ 48 w 72"/>
                <a:gd name="T1" fmla="*/ 0 h 40"/>
                <a:gd name="T2" fmla="*/ 32 w 72"/>
                <a:gd name="T3" fmla="*/ 0 h 40"/>
                <a:gd name="T4" fmla="*/ 40 w 72"/>
                <a:gd name="T5" fmla="*/ 8 h 40"/>
                <a:gd name="T6" fmla="*/ 48 w 72"/>
                <a:gd name="T7" fmla="*/ 8 h 40"/>
                <a:gd name="T8" fmla="*/ 40 w 72"/>
                <a:gd name="T9" fmla="*/ 16 h 40"/>
                <a:gd name="T10" fmla="*/ 40 w 72"/>
                <a:gd name="T11" fmla="*/ 24 h 40"/>
                <a:gd name="T12" fmla="*/ 0 w 72"/>
                <a:gd name="T13" fmla="*/ 8 h 40"/>
                <a:gd name="T14" fmla="*/ 0 w 72"/>
                <a:gd name="T15" fmla="*/ 16 h 40"/>
                <a:gd name="T16" fmla="*/ 8 w 72"/>
                <a:gd name="T17" fmla="*/ 24 h 40"/>
                <a:gd name="T18" fmla="*/ 16 w 72"/>
                <a:gd name="T19" fmla="*/ 24 h 40"/>
                <a:gd name="T20" fmla="*/ 40 w 72"/>
                <a:gd name="T21" fmla="*/ 32 h 40"/>
                <a:gd name="T22" fmla="*/ 56 w 72"/>
                <a:gd name="T23" fmla="*/ 32 h 40"/>
                <a:gd name="T24" fmla="*/ 56 w 72"/>
                <a:gd name="T25" fmla="*/ 40 h 40"/>
                <a:gd name="T26" fmla="*/ 72 w 72"/>
                <a:gd name="T27" fmla="*/ 40 h 40"/>
                <a:gd name="T28" fmla="*/ 48 w 72"/>
                <a:gd name="T2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40">
                  <a:moveTo>
                    <a:pt x="48" y="0"/>
                  </a:moveTo>
                  <a:lnTo>
                    <a:pt x="32" y="0"/>
                  </a:lnTo>
                  <a:lnTo>
                    <a:pt x="40" y="8"/>
                  </a:lnTo>
                  <a:lnTo>
                    <a:pt x="48" y="8"/>
                  </a:lnTo>
                  <a:lnTo>
                    <a:pt x="40" y="16"/>
                  </a:lnTo>
                  <a:lnTo>
                    <a:pt x="40" y="24"/>
                  </a:lnTo>
                  <a:lnTo>
                    <a:pt x="0" y="8"/>
                  </a:lnTo>
                  <a:lnTo>
                    <a:pt x="0" y="16"/>
                  </a:lnTo>
                  <a:lnTo>
                    <a:pt x="8" y="24"/>
                  </a:lnTo>
                  <a:lnTo>
                    <a:pt x="16" y="24"/>
                  </a:lnTo>
                  <a:lnTo>
                    <a:pt x="40" y="32"/>
                  </a:lnTo>
                  <a:lnTo>
                    <a:pt x="56" y="32"/>
                  </a:lnTo>
                  <a:lnTo>
                    <a:pt x="56" y="40"/>
                  </a:lnTo>
                  <a:lnTo>
                    <a:pt x="72" y="40"/>
                  </a:lnTo>
                  <a:lnTo>
                    <a:pt x="4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23" name="Freeform 137">
              <a:extLst>
                <a:ext uri="{FF2B5EF4-FFF2-40B4-BE49-F238E27FC236}">
                  <a16:creationId xmlns:a16="http://schemas.microsoft.com/office/drawing/2014/main" id="{D6F36B61-4AFF-4112-946F-6B34EEAD9E5F}"/>
                </a:ext>
              </a:extLst>
            </p:cNvPr>
            <p:cNvSpPr>
              <a:spLocks/>
            </p:cNvSpPr>
            <p:nvPr/>
          </p:nvSpPr>
          <p:spPr bwMode="auto">
            <a:xfrm>
              <a:off x="1662385" y="2983189"/>
              <a:ext cx="360623" cy="560247"/>
            </a:xfrm>
            <a:custGeom>
              <a:avLst/>
              <a:gdLst>
                <a:gd name="T0" fmla="*/ 8 w 176"/>
                <a:gd name="T1" fmla="*/ 48 h 272"/>
                <a:gd name="T2" fmla="*/ 0 w 176"/>
                <a:gd name="T3" fmla="*/ 64 h 272"/>
                <a:gd name="T4" fmla="*/ 8 w 176"/>
                <a:gd name="T5" fmla="*/ 88 h 272"/>
                <a:gd name="T6" fmla="*/ 0 w 176"/>
                <a:gd name="T7" fmla="*/ 88 h 272"/>
                <a:gd name="T8" fmla="*/ 16 w 176"/>
                <a:gd name="T9" fmla="*/ 104 h 272"/>
                <a:gd name="T10" fmla="*/ 32 w 176"/>
                <a:gd name="T11" fmla="*/ 128 h 272"/>
                <a:gd name="T12" fmla="*/ 80 w 176"/>
                <a:gd name="T13" fmla="*/ 224 h 272"/>
                <a:gd name="T14" fmla="*/ 152 w 176"/>
                <a:gd name="T15" fmla="*/ 272 h 272"/>
                <a:gd name="T16" fmla="*/ 168 w 176"/>
                <a:gd name="T17" fmla="*/ 264 h 272"/>
                <a:gd name="T18" fmla="*/ 176 w 176"/>
                <a:gd name="T19" fmla="*/ 248 h 272"/>
                <a:gd name="T20" fmla="*/ 168 w 176"/>
                <a:gd name="T21" fmla="*/ 240 h 272"/>
                <a:gd name="T22" fmla="*/ 168 w 176"/>
                <a:gd name="T23" fmla="*/ 184 h 272"/>
                <a:gd name="T24" fmla="*/ 160 w 176"/>
                <a:gd name="T25" fmla="*/ 160 h 272"/>
                <a:gd name="T26" fmla="*/ 144 w 176"/>
                <a:gd name="T27" fmla="*/ 160 h 272"/>
                <a:gd name="T28" fmla="*/ 144 w 176"/>
                <a:gd name="T29" fmla="*/ 144 h 272"/>
                <a:gd name="T30" fmla="*/ 128 w 176"/>
                <a:gd name="T31" fmla="*/ 152 h 272"/>
                <a:gd name="T32" fmla="*/ 112 w 176"/>
                <a:gd name="T33" fmla="*/ 136 h 272"/>
                <a:gd name="T34" fmla="*/ 104 w 176"/>
                <a:gd name="T35" fmla="*/ 112 h 272"/>
                <a:gd name="T36" fmla="*/ 112 w 176"/>
                <a:gd name="T37" fmla="*/ 88 h 272"/>
                <a:gd name="T38" fmla="*/ 120 w 176"/>
                <a:gd name="T39" fmla="*/ 72 h 272"/>
                <a:gd name="T40" fmla="*/ 152 w 176"/>
                <a:gd name="T41" fmla="*/ 64 h 272"/>
                <a:gd name="T42" fmla="*/ 144 w 176"/>
                <a:gd name="T43" fmla="*/ 56 h 272"/>
                <a:gd name="T44" fmla="*/ 144 w 176"/>
                <a:gd name="T45" fmla="*/ 40 h 272"/>
                <a:gd name="T46" fmla="*/ 136 w 176"/>
                <a:gd name="T47" fmla="*/ 32 h 272"/>
                <a:gd name="T48" fmla="*/ 104 w 176"/>
                <a:gd name="T49" fmla="*/ 40 h 272"/>
                <a:gd name="T50" fmla="*/ 96 w 176"/>
                <a:gd name="T51" fmla="*/ 16 h 272"/>
                <a:gd name="T52" fmla="*/ 80 w 176"/>
                <a:gd name="T53" fmla="*/ 0 h 272"/>
                <a:gd name="T54" fmla="*/ 72 w 176"/>
                <a:gd name="T55" fmla="*/ 0 h 272"/>
                <a:gd name="T56" fmla="*/ 80 w 176"/>
                <a:gd name="T57" fmla="*/ 16 h 272"/>
                <a:gd name="T58" fmla="*/ 72 w 176"/>
                <a:gd name="T59" fmla="*/ 24 h 272"/>
                <a:gd name="T60" fmla="*/ 64 w 176"/>
                <a:gd name="T61" fmla="*/ 40 h 272"/>
                <a:gd name="T62" fmla="*/ 40 w 176"/>
                <a:gd name="T63" fmla="*/ 48 h 272"/>
                <a:gd name="T64" fmla="*/ 24 w 176"/>
                <a:gd name="T65" fmla="*/ 72 h 272"/>
                <a:gd name="T66" fmla="*/ 8 w 176"/>
                <a:gd name="T67" fmla="*/ 64 h 272"/>
                <a:gd name="T68" fmla="*/ 8 w 176"/>
                <a:gd name="T69" fmla="*/ 4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6" h="272">
                  <a:moveTo>
                    <a:pt x="8" y="48"/>
                  </a:moveTo>
                  <a:lnTo>
                    <a:pt x="0" y="64"/>
                  </a:lnTo>
                  <a:lnTo>
                    <a:pt x="8" y="88"/>
                  </a:lnTo>
                  <a:lnTo>
                    <a:pt x="0" y="88"/>
                  </a:lnTo>
                  <a:lnTo>
                    <a:pt x="16" y="104"/>
                  </a:lnTo>
                  <a:lnTo>
                    <a:pt x="32" y="128"/>
                  </a:lnTo>
                  <a:lnTo>
                    <a:pt x="80" y="224"/>
                  </a:lnTo>
                  <a:lnTo>
                    <a:pt x="152" y="272"/>
                  </a:lnTo>
                  <a:lnTo>
                    <a:pt x="168" y="264"/>
                  </a:lnTo>
                  <a:lnTo>
                    <a:pt x="176" y="248"/>
                  </a:lnTo>
                  <a:lnTo>
                    <a:pt x="168" y="240"/>
                  </a:lnTo>
                  <a:lnTo>
                    <a:pt x="168" y="184"/>
                  </a:lnTo>
                  <a:lnTo>
                    <a:pt x="160" y="160"/>
                  </a:lnTo>
                  <a:lnTo>
                    <a:pt x="144" y="160"/>
                  </a:lnTo>
                  <a:lnTo>
                    <a:pt x="144" y="144"/>
                  </a:lnTo>
                  <a:lnTo>
                    <a:pt x="128" y="152"/>
                  </a:lnTo>
                  <a:lnTo>
                    <a:pt x="112" y="136"/>
                  </a:lnTo>
                  <a:lnTo>
                    <a:pt x="104" y="112"/>
                  </a:lnTo>
                  <a:lnTo>
                    <a:pt x="112" y="88"/>
                  </a:lnTo>
                  <a:lnTo>
                    <a:pt x="120" y="72"/>
                  </a:lnTo>
                  <a:lnTo>
                    <a:pt x="152" y="64"/>
                  </a:lnTo>
                  <a:lnTo>
                    <a:pt x="144" y="56"/>
                  </a:lnTo>
                  <a:lnTo>
                    <a:pt x="144" y="40"/>
                  </a:lnTo>
                  <a:lnTo>
                    <a:pt x="136" y="32"/>
                  </a:lnTo>
                  <a:lnTo>
                    <a:pt x="104" y="40"/>
                  </a:lnTo>
                  <a:lnTo>
                    <a:pt x="96" y="16"/>
                  </a:lnTo>
                  <a:lnTo>
                    <a:pt x="80" y="0"/>
                  </a:lnTo>
                  <a:lnTo>
                    <a:pt x="72" y="0"/>
                  </a:lnTo>
                  <a:lnTo>
                    <a:pt x="80" y="16"/>
                  </a:lnTo>
                  <a:lnTo>
                    <a:pt x="72" y="24"/>
                  </a:lnTo>
                  <a:lnTo>
                    <a:pt x="64" y="40"/>
                  </a:lnTo>
                  <a:lnTo>
                    <a:pt x="40" y="48"/>
                  </a:lnTo>
                  <a:lnTo>
                    <a:pt x="24" y="72"/>
                  </a:lnTo>
                  <a:lnTo>
                    <a:pt x="8" y="64"/>
                  </a:lnTo>
                  <a:lnTo>
                    <a:pt x="8" y="4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24" name="Freeform 138">
              <a:extLst>
                <a:ext uri="{FF2B5EF4-FFF2-40B4-BE49-F238E27FC236}">
                  <a16:creationId xmlns:a16="http://schemas.microsoft.com/office/drawing/2014/main" id="{CA8C42E5-F043-E71D-13D3-497E65EC2515}"/>
                </a:ext>
              </a:extLst>
            </p:cNvPr>
            <p:cNvSpPr>
              <a:spLocks/>
            </p:cNvSpPr>
            <p:nvPr/>
          </p:nvSpPr>
          <p:spPr bwMode="auto">
            <a:xfrm>
              <a:off x="1662386" y="2933355"/>
              <a:ext cx="163783" cy="197825"/>
            </a:xfrm>
            <a:custGeom>
              <a:avLst/>
              <a:gdLst>
                <a:gd name="T0" fmla="*/ 8 w 80"/>
                <a:gd name="T1" fmla="*/ 72 h 96"/>
                <a:gd name="T2" fmla="*/ 8 w 80"/>
                <a:gd name="T3" fmla="*/ 88 h 96"/>
                <a:gd name="T4" fmla="*/ 24 w 80"/>
                <a:gd name="T5" fmla="*/ 96 h 96"/>
                <a:gd name="T6" fmla="*/ 40 w 80"/>
                <a:gd name="T7" fmla="*/ 72 h 96"/>
                <a:gd name="T8" fmla="*/ 64 w 80"/>
                <a:gd name="T9" fmla="*/ 64 h 96"/>
                <a:gd name="T10" fmla="*/ 72 w 80"/>
                <a:gd name="T11" fmla="*/ 48 h 96"/>
                <a:gd name="T12" fmla="*/ 80 w 80"/>
                <a:gd name="T13" fmla="*/ 40 h 96"/>
                <a:gd name="T14" fmla="*/ 72 w 80"/>
                <a:gd name="T15" fmla="*/ 24 h 96"/>
                <a:gd name="T16" fmla="*/ 80 w 80"/>
                <a:gd name="T17" fmla="*/ 24 h 96"/>
                <a:gd name="T18" fmla="*/ 72 w 80"/>
                <a:gd name="T19" fmla="*/ 16 h 96"/>
                <a:gd name="T20" fmla="*/ 48 w 80"/>
                <a:gd name="T21" fmla="*/ 24 h 96"/>
                <a:gd name="T22" fmla="*/ 32 w 80"/>
                <a:gd name="T23" fmla="*/ 0 h 96"/>
                <a:gd name="T24" fmla="*/ 16 w 80"/>
                <a:gd name="T25" fmla="*/ 16 h 96"/>
                <a:gd name="T26" fmla="*/ 16 w 80"/>
                <a:gd name="T27" fmla="*/ 24 h 96"/>
                <a:gd name="T28" fmla="*/ 8 w 80"/>
                <a:gd name="T29" fmla="*/ 24 h 96"/>
                <a:gd name="T30" fmla="*/ 8 w 80"/>
                <a:gd name="T31" fmla="*/ 32 h 96"/>
                <a:gd name="T32" fmla="*/ 0 w 80"/>
                <a:gd name="T33" fmla="*/ 40 h 96"/>
                <a:gd name="T34" fmla="*/ 0 w 80"/>
                <a:gd name="T35" fmla="*/ 56 h 96"/>
                <a:gd name="T36" fmla="*/ 16 w 80"/>
                <a:gd name="T37" fmla="*/ 72 h 96"/>
                <a:gd name="T38" fmla="*/ 16 w 80"/>
                <a:gd name="T39" fmla="*/ 64 h 96"/>
                <a:gd name="T40" fmla="*/ 16 w 80"/>
                <a:gd name="T41" fmla="*/ 72 h 96"/>
                <a:gd name="T42" fmla="*/ 8 w 80"/>
                <a:gd name="T43"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 h="96">
                  <a:moveTo>
                    <a:pt x="8" y="72"/>
                  </a:moveTo>
                  <a:lnTo>
                    <a:pt x="8" y="88"/>
                  </a:lnTo>
                  <a:lnTo>
                    <a:pt x="24" y="96"/>
                  </a:lnTo>
                  <a:lnTo>
                    <a:pt x="40" y="72"/>
                  </a:lnTo>
                  <a:lnTo>
                    <a:pt x="64" y="64"/>
                  </a:lnTo>
                  <a:lnTo>
                    <a:pt x="72" y="48"/>
                  </a:lnTo>
                  <a:lnTo>
                    <a:pt x="80" y="40"/>
                  </a:lnTo>
                  <a:lnTo>
                    <a:pt x="72" y="24"/>
                  </a:lnTo>
                  <a:lnTo>
                    <a:pt x="80" y="24"/>
                  </a:lnTo>
                  <a:lnTo>
                    <a:pt x="72" y="16"/>
                  </a:lnTo>
                  <a:lnTo>
                    <a:pt x="48" y="24"/>
                  </a:lnTo>
                  <a:lnTo>
                    <a:pt x="32" y="0"/>
                  </a:lnTo>
                  <a:lnTo>
                    <a:pt x="16" y="16"/>
                  </a:lnTo>
                  <a:lnTo>
                    <a:pt x="16" y="24"/>
                  </a:lnTo>
                  <a:lnTo>
                    <a:pt x="8" y="24"/>
                  </a:lnTo>
                  <a:lnTo>
                    <a:pt x="8" y="32"/>
                  </a:lnTo>
                  <a:lnTo>
                    <a:pt x="0" y="40"/>
                  </a:lnTo>
                  <a:lnTo>
                    <a:pt x="0" y="56"/>
                  </a:lnTo>
                  <a:lnTo>
                    <a:pt x="16" y="72"/>
                  </a:lnTo>
                  <a:lnTo>
                    <a:pt x="16" y="64"/>
                  </a:lnTo>
                  <a:lnTo>
                    <a:pt x="16" y="72"/>
                  </a:lnTo>
                  <a:lnTo>
                    <a:pt x="8" y="7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latin typeface="Frutiger for ZKB Light" panose="020B0303030504020204" pitchFamily="34" charset="0"/>
              </a:endParaRPr>
            </a:p>
          </p:txBody>
        </p:sp>
        <p:sp>
          <p:nvSpPr>
            <p:cNvPr id="125" name="Freeform 139">
              <a:extLst>
                <a:ext uri="{FF2B5EF4-FFF2-40B4-BE49-F238E27FC236}">
                  <a16:creationId xmlns:a16="http://schemas.microsoft.com/office/drawing/2014/main" id="{DBF36318-0D1C-2519-CD74-3CEE86500E45}"/>
                </a:ext>
              </a:extLst>
            </p:cNvPr>
            <p:cNvSpPr>
              <a:spLocks/>
            </p:cNvSpPr>
            <p:nvPr/>
          </p:nvSpPr>
          <p:spPr bwMode="auto">
            <a:xfrm>
              <a:off x="1711971" y="2587554"/>
              <a:ext cx="344096" cy="527026"/>
            </a:xfrm>
            <a:custGeom>
              <a:avLst/>
              <a:gdLst>
                <a:gd name="T0" fmla="*/ 8 w 168"/>
                <a:gd name="T1" fmla="*/ 168 h 256"/>
                <a:gd name="T2" fmla="*/ 0 w 168"/>
                <a:gd name="T3" fmla="*/ 168 h 256"/>
                <a:gd name="T4" fmla="*/ 8 w 168"/>
                <a:gd name="T5" fmla="*/ 168 h 256"/>
                <a:gd name="T6" fmla="*/ 16 w 168"/>
                <a:gd name="T7" fmla="*/ 152 h 256"/>
                <a:gd name="T8" fmla="*/ 24 w 168"/>
                <a:gd name="T9" fmla="*/ 152 h 256"/>
                <a:gd name="T10" fmla="*/ 32 w 168"/>
                <a:gd name="T11" fmla="*/ 136 h 256"/>
                <a:gd name="T12" fmla="*/ 24 w 168"/>
                <a:gd name="T13" fmla="*/ 128 h 256"/>
                <a:gd name="T14" fmla="*/ 24 w 168"/>
                <a:gd name="T15" fmla="*/ 88 h 256"/>
                <a:gd name="T16" fmla="*/ 24 w 168"/>
                <a:gd name="T17" fmla="*/ 80 h 256"/>
                <a:gd name="T18" fmla="*/ 32 w 168"/>
                <a:gd name="T19" fmla="*/ 72 h 256"/>
                <a:gd name="T20" fmla="*/ 32 w 168"/>
                <a:gd name="T21" fmla="*/ 64 h 256"/>
                <a:gd name="T22" fmla="*/ 40 w 168"/>
                <a:gd name="T23" fmla="*/ 72 h 256"/>
                <a:gd name="T24" fmla="*/ 40 w 168"/>
                <a:gd name="T25" fmla="*/ 64 h 256"/>
                <a:gd name="T26" fmla="*/ 56 w 168"/>
                <a:gd name="T27" fmla="*/ 48 h 256"/>
                <a:gd name="T28" fmla="*/ 56 w 168"/>
                <a:gd name="T29" fmla="*/ 24 h 256"/>
                <a:gd name="T30" fmla="*/ 72 w 168"/>
                <a:gd name="T31" fmla="*/ 24 h 256"/>
                <a:gd name="T32" fmla="*/ 80 w 168"/>
                <a:gd name="T33" fmla="*/ 24 h 256"/>
                <a:gd name="T34" fmla="*/ 112 w 168"/>
                <a:gd name="T35" fmla="*/ 0 h 256"/>
                <a:gd name="T36" fmla="*/ 112 w 168"/>
                <a:gd name="T37" fmla="*/ 8 h 256"/>
                <a:gd name="T38" fmla="*/ 104 w 168"/>
                <a:gd name="T39" fmla="*/ 16 h 256"/>
                <a:gd name="T40" fmla="*/ 96 w 168"/>
                <a:gd name="T41" fmla="*/ 24 h 256"/>
                <a:gd name="T42" fmla="*/ 88 w 168"/>
                <a:gd name="T43" fmla="*/ 48 h 256"/>
                <a:gd name="T44" fmla="*/ 96 w 168"/>
                <a:gd name="T45" fmla="*/ 72 h 256"/>
                <a:gd name="T46" fmla="*/ 96 w 168"/>
                <a:gd name="T47" fmla="*/ 80 h 256"/>
                <a:gd name="T48" fmla="*/ 104 w 168"/>
                <a:gd name="T49" fmla="*/ 80 h 256"/>
                <a:gd name="T50" fmla="*/ 128 w 168"/>
                <a:gd name="T51" fmla="*/ 88 h 256"/>
                <a:gd name="T52" fmla="*/ 136 w 168"/>
                <a:gd name="T53" fmla="*/ 96 h 256"/>
                <a:gd name="T54" fmla="*/ 160 w 168"/>
                <a:gd name="T55" fmla="*/ 96 h 256"/>
                <a:gd name="T56" fmla="*/ 152 w 168"/>
                <a:gd name="T57" fmla="*/ 120 h 256"/>
                <a:gd name="T58" fmla="*/ 160 w 168"/>
                <a:gd name="T59" fmla="*/ 144 h 256"/>
                <a:gd name="T60" fmla="*/ 152 w 168"/>
                <a:gd name="T61" fmla="*/ 144 h 256"/>
                <a:gd name="T62" fmla="*/ 168 w 168"/>
                <a:gd name="T63" fmla="*/ 168 h 256"/>
                <a:gd name="T64" fmla="*/ 160 w 168"/>
                <a:gd name="T65" fmla="*/ 160 h 256"/>
                <a:gd name="T66" fmla="*/ 128 w 168"/>
                <a:gd name="T67" fmla="*/ 168 h 256"/>
                <a:gd name="T68" fmla="*/ 128 w 168"/>
                <a:gd name="T69" fmla="*/ 176 h 256"/>
                <a:gd name="T70" fmla="*/ 136 w 168"/>
                <a:gd name="T71" fmla="*/ 184 h 256"/>
                <a:gd name="T72" fmla="*/ 120 w 168"/>
                <a:gd name="T73" fmla="*/ 184 h 256"/>
                <a:gd name="T74" fmla="*/ 128 w 168"/>
                <a:gd name="T75" fmla="*/ 208 h 256"/>
                <a:gd name="T76" fmla="*/ 128 w 168"/>
                <a:gd name="T77" fmla="*/ 256 h 256"/>
                <a:gd name="T78" fmla="*/ 120 w 168"/>
                <a:gd name="T79" fmla="*/ 248 h 256"/>
                <a:gd name="T80" fmla="*/ 120 w 168"/>
                <a:gd name="T81" fmla="*/ 232 h 256"/>
                <a:gd name="T82" fmla="*/ 112 w 168"/>
                <a:gd name="T83" fmla="*/ 224 h 256"/>
                <a:gd name="T84" fmla="*/ 80 w 168"/>
                <a:gd name="T85" fmla="*/ 232 h 256"/>
                <a:gd name="T86" fmla="*/ 72 w 168"/>
                <a:gd name="T87" fmla="*/ 208 h 256"/>
                <a:gd name="T88" fmla="*/ 56 w 168"/>
                <a:gd name="T89" fmla="*/ 192 h 256"/>
                <a:gd name="T90" fmla="*/ 48 w 168"/>
                <a:gd name="T91" fmla="*/ 184 h 256"/>
                <a:gd name="T92" fmla="*/ 24 w 168"/>
                <a:gd name="T93" fmla="*/ 192 h 256"/>
                <a:gd name="T94" fmla="*/ 8 w 168"/>
                <a:gd name="T95" fmla="*/ 16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8" h="256">
                  <a:moveTo>
                    <a:pt x="8" y="168"/>
                  </a:moveTo>
                  <a:lnTo>
                    <a:pt x="0" y="168"/>
                  </a:lnTo>
                  <a:lnTo>
                    <a:pt x="8" y="168"/>
                  </a:lnTo>
                  <a:lnTo>
                    <a:pt x="16" y="152"/>
                  </a:lnTo>
                  <a:lnTo>
                    <a:pt x="24" y="152"/>
                  </a:lnTo>
                  <a:lnTo>
                    <a:pt x="32" y="136"/>
                  </a:lnTo>
                  <a:lnTo>
                    <a:pt x="24" y="128"/>
                  </a:lnTo>
                  <a:lnTo>
                    <a:pt x="24" y="88"/>
                  </a:lnTo>
                  <a:lnTo>
                    <a:pt x="24" y="80"/>
                  </a:lnTo>
                  <a:lnTo>
                    <a:pt x="32" y="72"/>
                  </a:lnTo>
                  <a:lnTo>
                    <a:pt x="32" y="64"/>
                  </a:lnTo>
                  <a:lnTo>
                    <a:pt x="40" y="72"/>
                  </a:lnTo>
                  <a:lnTo>
                    <a:pt x="40" y="64"/>
                  </a:lnTo>
                  <a:lnTo>
                    <a:pt x="56" y="48"/>
                  </a:lnTo>
                  <a:lnTo>
                    <a:pt x="56" y="24"/>
                  </a:lnTo>
                  <a:lnTo>
                    <a:pt x="72" y="24"/>
                  </a:lnTo>
                  <a:lnTo>
                    <a:pt x="80" y="24"/>
                  </a:lnTo>
                  <a:lnTo>
                    <a:pt x="112" y="0"/>
                  </a:lnTo>
                  <a:lnTo>
                    <a:pt x="112" y="8"/>
                  </a:lnTo>
                  <a:lnTo>
                    <a:pt x="104" y="16"/>
                  </a:lnTo>
                  <a:lnTo>
                    <a:pt x="96" y="24"/>
                  </a:lnTo>
                  <a:lnTo>
                    <a:pt x="88" y="48"/>
                  </a:lnTo>
                  <a:lnTo>
                    <a:pt x="96" y="72"/>
                  </a:lnTo>
                  <a:lnTo>
                    <a:pt x="96" y="80"/>
                  </a:lnTo>
                  <a:lnTo>
                    <a:pt x="104" y="80"/>
                  </a:lnTo>
                  <a:lnTo>
                    <a:pt x="128" y="88"/>
                  </a:lnTo>
                  <a:lnTo>
                    <a:pt x="136" y="96"/>
                  </a:lnTo>
                  <a:lnTo>
                    <a:pt x="160" y="96"/>
                  </a:lnTo>
                  <a:lnTo>
                    <a:pt x="152" y="120"/>
                  </a:lnTo>
                  <a:lnTo>
                    <a:pt x="160" y="144"/>
                  </a:lnTo>
                  <a:lnTo>
                    <a:pt x="152" y="144"/>
                  </a:lnTo>
                  <a:lnTo>
                    <a:pt x="168" y="168"/>
                  </a:lnTo>
                  <a:lnTo>
                    <a:pt x="160" y="160"/>
                  </a:lnTo>
                  <a:lnTo>
                    <a:pt x="128" y="168"/>
                  </a:lnTo>
                  <a:lnTo>
                    <a:pt x="128" y="176"/>
                  </a:lnTo>
                  <a:lnTo>
                    <a:pt x="136" y="184"/>
                  </a:lnTo>
                  <a:lnTo>
                    <a:pt x="120" y="184"/>
                  </a:lnTo>
                  <a:lnTo>
                    <a:pt x="128" y="208"/>
                  </a:lnTo>
                  <a:lnTo>
                    <a:pt x="128" y="256"/>
                  </a:lnTo>
                  <a:lnTo>
                    <a:pt x="120" y="248"/>
                  </a:lnTo>
                  <a:lnTo>
                    <a:pt x="120" y="232"/>
                  </a:lnTo>
                  <a:lnTo>
                    <a:pt x="112" y="224"/>
                  </a:lnTo>
                  <a:lnTo>
                    <a:pt x="80" y="232"/>
                  </a:lnTo>
                  <a:lnTo>
                    <a:pt x="72" y="208"/>
                  </a:lnTo>
                  <a:lnTo>
                    <a:pt x="56" y="192"/>
                  </a:lnTo>
                  <a:lnTo>
                    <a:pt x="48" y="184"/>
                  </a:lnTo>
                  <a:lnTo>
                    <a:pt x="24" y="192"/>
                  </a:lnTo>
                  <a:lnTo>
                    <a:pt x="8" y="16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26" name="Freeform 140">
              <a:extLst>
                <a:ext uri="{FF2B5EF4-FFF2-40B4-BE49-F238E27FC236}">
                  <a16:creationId xmlns:a16="http://schemas.microsoft.com/office/drawing/2014/main" id="{3C9CDFE0-E651-AEE6-F564-557DF784440B}"/>
                </a:ext>
              </a:extLst>
            </p:cNvPr>
            <p:cNvSpPr>
              <a:spLocks/>
            </p:cNvSpPr>
            <p:nvPr/>
          </p:nvSpPr>
          <p:spPr bwMode="auto">
            <a:xfrm>
              <a:off x="1892282" y="2604150"/>
              <a:ext cx="360623" cy="345814"/>
            </a:xfrm>
            <a:custGeom>
              <a:avLst/>
              <a:gdLst>
                <a:gd name="T0" fmla="*/ 176 w 176"/>
                <a:gd name="T1" fmla="*/ 56 h 168"/>
                <a:gd name="T2" fmla="*/ 160 w 176"/>
                <a:gd name="T3" fmla="*/ 64 h 168"/>
                <a:gd name="T4" fmla="*/ 160 w 176"/>
                <a:gd name="T5" fmla="*/ 72 h 168"/>
                <a:gd name="T6" fmla="*/ 168 w 176"/>
                <a:gd name="T7" fmla="*/ 80 h 168"/>
                <a:gd name="T8" fmla="*/ 160 w 176"/>
                <a:gd name="T9" fmla="*/ 80 h 168"/>
                <a:gd name="T10" fmla="*/ 152 w 176"/>
                <a:gd name="T11" fmla="*/ 96 h 168"/>
                <a:gd name="T12" fmla="*/ 160 w 176"/>
                <a:gd name="T13" fmla="*/ 104 h 168"/>
                <a:gd name="T14" fmla="*/ 160 w 176"/>
                <a:gd name="T15" fmla="*/ 112 h 168"/>
                <a:gd name="T16" fmla="*/ 128 w 176"/>
                <a:gd name="T17" fmla="*/ 128 h 168"/>
                <a:gd name="T18" fmla="*/ 104 w 176"/>
                <a:gd name="T19" fmla="*/ 120 h 168"/>
                <a:gd name="T20" fmla="*/ 112 w 176"/>
                <a:gd name="T21" fmla="*/ 128 h 168"/>
                <a:gd name="T22" fmla="*/ 112 w 176"/>
                <a:gd name="T23" fmla="*/ 144 h 168"/>
                <a:gd name="T24" fmla="*/ 120 w 176"/>
                <a:gd name="T25" fmla="*/ 152 h 168"/>
                <a:gd name="T26" fmla="*/ 96 w 176"/>
                <a:gd name="T27" fmla="*/ 168 h 168"/>
                <a:gd name="T28" fmla="*/ 80 w 176"/>
                <a:gd name="T29" fmla="*/ 168 h 168"/>
                <a:gd name="T30" fmla="*/ 80 w 176"/>
                <a:gd name="T31" fmla="*/ 160 h 168"/>
                <a:gd name="T32" fmla="*/ 64 w 176"/>
                <a:gd name="T33" fmla="*/ 136 h 168"/>
                <a:gd name="T34" fmla="*/ 72 w 176"/>
                <a:gd name="T35" fmla="*/ 136 h 168"/>
                <a:gd name="T36" fmla="*/ 64 w 176"/>
                <a:gd name="T37" fmla="*/ 112 h 168"/>
                <a:gd name="T38" fmla="*/ 72 w 176"/>
                <a:gd name="T39" fmla="*/ 88 h 168"/>
                <a:gd name="T40" fmla="*/ 48 w 176"/>
                <a:gd name="T41" fmla="*/ 88 h 168"/>
                <a:gd name="T42" fmla="*/ 40 w 176"/>
                <a:gd name="T43" fmla="*/ 80 h 168"/>
                <a:gd name="T44" fmla="*/ 16 w 176"/>
                <a:gd name="T45" fmla="*/ 72 h 168"/>
                <a:gd name="T46" fmla="*/ 8 w 176"/>
                <a:gd name="T47" fmla="*/ 72 h 168"/>
                <a:gd name="T48" fmla="*/ 8 w 176"/>
                <a:gd name="T49" fmla="*/ 64 h 168"/>
                <a:gd name="T50" fmla="*/ 0 w 176"/>
                <a:gd name="T51" fmla="*/ 40 h 168"/>
                <a:gd name="T52" fmla="*/ 8 w 176"/>
                <a:gd name="T53" fmla="*/ 16 h 168"/>
                <a:gd name="T54" fmla="*/ 16 w 176"/>
                <a:gd name="T55" fmla="*/ 8 h 168"/>
                <a:gd name="T56" fmla="*/ 24 w 176"/>
                <a:gd name="T57" fmla="*/ 24 h 168"/>
                <a:gd name="T58" fmla="*/ 16 w 176"/>
                <a:gd name="T59" fmla="*/ 32 h 168"/>
                <a:gd name="T60" fmla="*/ 16 w 176"/>
                <a:gd name="T61" fmla="*/ 48 h 168"/>
                <a:gd name="T62" fmla="*/ 24 w 176"/>
                <a:gd name="T63" fmla="*/ 40 h 168"/>
                <a:gd name="T64" fmla="*/ 24 w 176"/>
                <a:gd name="T65" fmla="*/ 16 h 168"/>
                <a:gd name="T66" fmla="*/ 40 w 176"/>
                <a:gd name="T67" fmla="*/ 8 h 168"/>
                <a:gd name="T68" fmla="*/ 40 w 176"/>
                <a:gd name="T69" fmla="*/ 0 h 168"/>
                <a:gd name="T70" fmla="*/ 48 w 176"/>
                <a:gd name="T71" fmla="*/ 8 h 168"/>
                <a:gd name="T72" fmla="*/ 64 w 176"/>
                <a:gd name="T73" fmla="*/ 16 h 168"/>
                <a:gd name="T74" fmla="*/ 64 w 176"/>
                <a:gd name="T75" fmla="*/ 24 h 168"/>
                <a:gd name="T76" fmla="*/ 88 w 176"/>
                <a:gd name="T77" fmla="*/ 24 h 168"/>
                <a:gd name="T78" fmla="*/ 104 w 176"/>
                <a:gd name="T79" fmla="*/ 32 h 168"/>
                <a:gd name="T80" fmla="*/ 120 w 176"/>
                <a:gd name="T81" fmla="*/ 24 h 168"/>
                <a:gd name="T82" fmla="*/ 144 w 176"/>
                <a:gd name="T83" fmla="*/ 24 h 168"/>
                <a:gd name="T84" fmla="*/ 136 w 176"/>
                <a:gd name="T85" fmla="*/ 24 h 168"/>
                <a:gd name="T86" fmla="*/ 144 w 176"/>
                <a:gd name="T87" fmla="*/ 32 h 168"/>
                <a:gd name="T88" fmla="*/ 160 w 176"/>
                <a:gd name="T89" fmla="*/ 40 h 168"/>
                <a:gd name="T90" fmla="*/ 160 w 176"/>
                <a:gd name="T91" fmla="*/ 56 h 168"/>
                <a:gd name="T92" fmla="*/ 168 w 176"/>
                <a:gd name="T93" fmla="*/ 56 h 168"/>
                <a:gd name="T94" fmla="*/ 176 w 176"/>
                <a:gd name="T95" fmla="*/ 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68">
                  <a:moveTo>
                    <a:pt x="176" y="56"/>
                  </a:moveTo>
                  <a:lnTo>
                    <a:pt x="160" y="64"/>
                  </a:lnTo>
                  <a:lnTo>
                    <a:pt x="160" y="72"/>
                  </a:lnTo>
                  <a:lnTo>
                    <a:pt x="168" y="80"/>
                  </a:lnTo>
                  <a:lnTo>
                    <a:pt x="160" y="80"/>
                  </a:lnTo>
                  <a:lnTo>
                    <a:pt x="152" y="96"/>
                  </a:lnTo>
                  <a:lnTo>
                    <a:pt x="160" y="104"/>
                  </a:lnTo>
                  <a:lnTo>
                    <a:pt x="160" y="112"/>
                  </a:lnTo>
                  <a:lnTo>
                    <a:pt x="128" y="128"/>
                  </a:lnTo>
                  <a:lnTo>
                    <a:pt x="104" y="120"/>
                  </a:lnTo>
                  <a:lnTo>
                    <a:pt x="112" y="128"/>
                  </a:lnTo>
                  <a:lnTo>
                    <a:pt x="112" y="144"/>
                  </a:lnTo>
                  <a:lnTo>
                    <a:pt x="120" y="152"/>
                  </a:lnTo>
                  <a:lnTo>
                    <a:pt x="96" y="168"/>
                  </a:lnTo>
                  <a:lnTo>
                    <a:pt x="80" y="168"/>
                  </a:lnTo>
                  <a:lnTo>
                    <a:pt x="80" y="160"/>
                  </a:lnTo>
                  <a:lnTo>
                    <a:pt x="64" y="136"/>
                  </a:lnTo>
                  <a:lnTo>
                    <a:pt x="72" y="136"/>
                  </a:lnTo>
                  <a:lnTo>
                    <a:pt x="64" y="112"/>
                  </a:lnTo>
                  <a:lnTo>
                    <a:pt x="72" y="88"/>
                  </a:lnTo>
                  <a:lnTo>
                    <a:pt x="48" y="88"/>
                  </a:lnTo>
                  <a:lnTo>
                    <a:pt x="40" y="80"/>
                  </a:lnTo>
                  <a:lnTo>
                    <a:pt x="16" y="72"/>
                  </a:lnTo>
                  <a:lnTo>
                    <a:pt x="8" y="72"/>
                  </a:lnTo>
                  <a:lnTo>
                    <a:pt x="8" y="64"/>
                  </a:lnTo>
                  <a:lnTo>
                    <a:pt x="0" y="40"/>
                  </a:lnTo>
                  <a:lnTo>
                    <a:pt x="8" y="16"/>
                  </a:lnTo>
                  <a:lnTo>
                    <a:pt x="16" y="8"/>
                  </a:lnTo>
                  <a:lnTo>
                    <a:pt x="24" y="24"/>
                  </a:lnTo>
                  <a:lnTo>
                    <a:pt x="16" y="32"/>
                  </a:lnTo>
                  <a:lnTo>
                    <a:pt x="16" y="48"/>
                  </a:lnTo>
                  <a:lnTo>
                    <a:pt x="24" y="40"/>
                  </a:lnTo>
                  <a:lnTo>
                    <a:pt x="24" y="16"/>
                  </a:lnTo>
                  <a:lnTo>
                    <a:pt x="40" y="8"/>
                  </a:lnTo>
                  <a:lnTo>
                    <a:pt x="40" y="0"/>
                  </a:lnTo>
                  <a:lnTo>
                    <a:pt x="48" y="8"/>
                  </a:lnTo>
                  <a:lnTo>
                    <a:pt x="64" y="16"/>
                  </a:lnTo>
                  <a:lnTo>
                    <a:pt x="64" y="24"/>
                  </a:lnTo>
                  <a:lnTo>
                    <a:pt x="88" y="24"/>
                  </a:lnTo>
                  <a:lnTo>
                    <a:pt x="104" y="32"/>
                  </a:lnTo>
                  <a:lnTo>
                    <a:pt x="120" y="24"/>
                  </a:lnTo>
                  <a:lnTo>
                    <a:pt x="144" y="24"/>
                  </a:lnTo>
                  <a:lnTo>
                    <a:pt x="136" y="24"/>
                  </a:lnTo>
                  <a:lnTo>
                    <a:pt x="144" y="32"/>
                  </a:lnTo>
                  <a:lnTo>
                    <a:pt x="160" y="40"/>
                  </a:lnTo>
                  <a:lnTo>
                    <a:pt x="160" y="56"/>
                  </a:lnTo>
                  <a:lnTo>
                    <a:pt x="168" y="56"/>
                  </a:lnTo>
                  <a:lnTo>
                    <a:pt x="176" y="5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27" name="Freeform 141">
              <a:extLst>
                <a:ext uri="{FF2B5EF4-FFF2-40B4-BE49-F238E27FC236}">
                  <a16:creationId xmlns:a16="http://schemas.microsoft.com/office/drawing/2014/main" id="{28173C00-4B87-6666-1088-01567A491925}"/>
                </a:ext>
              </a:extLst>
            </p:cNvPr>
            <p:cNvSpPr>
              <a:spLocks/>
            </p:cNvSpPr>
            <p:nvPr/>
          </p:nvSpPr>
          <p:spPr bwMode="auto">
            <a:xfrm>
              <a:off x="2400165" y="2801976"/>
              <a:ext cx="64612" cy="114767"/>
            </a:xfrm>
            <a:custGeom>
              <a:avLst/>
              <a:gdLst>
                <a:gd name="T0" fmla="*/ 32 w 32"/>
                <a:gd name="T1" fmla="*/ 24 h 56"/>
                <a:gd name="T2" fmla="*/ 16 w 32"/>
                <a:gd name="T3" fmla="*/ 56 h 56"/>
                <a:gd name="T4" fmla="*/ 0 w 32"/>
                <a:gd name="T5" fmla="*/ 56 h 56"/>
                <a:gd name="T6" fmla="*/ 0 w 32"/>
                <a:gd name="T7" fmla="*/ 32 h 56"/>
                <a:gd name="T8" fmla="*/ 0 w 32"/>
                <a:gd name="T9" fmla="*/ 16 h 56"/>
                <a:gd name="T10" fmla="*/ 0 w 32"/>
                <a:gd name="T11" fmla="*/ 0 h 56"/>
                <a:gd name="T12" fmla="*/ 32 w 32"/>
                <a:gd name="T13" fmla="*/ 24 h 56"/>
              </a:gdLst>
              <a:ahLst/>
              <a:cxnLst>
                <a:cxn ang="0">
                  <a:pos x="T0" y="T1"/>
                </a:cxn>
                <a:cxn ang="0">
                  <a:pos x="T2" y="T3"/>
                </a:cxn>
                <a:cxn ang="0">
                  <a:pos x="T4" y="T5"/>
                </a:cxn>
                <a:cxn ang="0">
                  <a:pos x="T6" y="T7"/>
                </a:cxn>
                <a:cxn ang="0">
                  <a:pos x="T8" y="T9"/>
                </a:cxn>
                <a:cxn ang="0">
                  <a:pos x="T10" y="T11"/>
                </a:cxn>
                <a:cxn ang="0">
                  <a:pos x="T12" y="T13"/>
                </a:cxn>
              </a:cxnLst>
              <a:rect l="0" t="0" r="r" b="b"/>
              <a:pathLst>
                <a:path w="32" h="56">
                  <a:moveTo>
                    <a:pt x="32" y="24"/>
                  </a:moveTo>
                  <a:lnTo>
                    <a:pt x="16" y="56"/>
                  </a:lnTo>
                  <a:lnTo>
                    <a:pt x="0" y="56"/>
                  </a:lnTo>
                  <a:lnTo>
                    <a:pt x="0" y="32"/>
                  </a:lnTo>
                  <a:lnTo>
                    <a:pt x="0" y="16"/>
                  </a:lnTo>
                  <a:lnTo>
                    <a:pt x="0" y="0"/>
                  </a:lnTo>
                  <a:lnTo>
                    <a:pt x="32"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28" name="Freeform 142">
              <a:extLst>
                <a:ext uri="{FF2B5EF4-FFF2-40B4-BE49-F238E27FC236}">
                  <a16:creationId xmlns:a16="http://schemas.microsoft.com/office/drawing/2014/main" id="{B7823F90-A0A2-A296-58FD-12E89E754488}"/>
                </a:ext>
              </a:extLst>
            </p:cNvPr>
            <p:cNvSpPr>
              <a:spLocks/>
            </p:cNvSpPr>
            <p:nvPr/>
          </p:nvSpPr>
          <p:spPr bwMode="auto">
            <a:xfrm>
              <a:off x="2300990" y="2801976"/>
              <a:ext cx="99173" cy="114767"/>
            </a:xfrm>
            <a:custGeom>
              <a:avLst/>
              <a:gdLst>
                <a:gd name="T0" fmla="*/ 48 w 48"/>
                <a:gd name="T1" fmla="*/ 0 h 56"/>
                <a:gd name="T2" fmla="*/ 40 w 48"/>
                <a:gd name="T3" fmla="*/ 0 h 56"/>
                <a:gd name="T4" fmla="*/ 8 w 48"/>
                <a:gd name="T5" fmla="*/ 0 h 56"/>
                <a:gd name="T6" fmla="*/ 0 w 48"/>
                <a:gd name="T7" fmla="*/ 24 h 56"/>
                <a:gd name="T8" fmla="*/ 16 w 48"/>
                <a:gd name="T9" fmla="*/ 56 h 56"/>
                <a:gd name="T10" fmla="*/ 24 w 48"/>
                <a:gd name="T11" fmla="*/ 56 h 56"/>
                <a:gd name="T12" fmla="*/ 24 w 48"/>
                <a:gd name="T13" fmla="*/ 48 h 56"/>
                <a:gd name="T14" fmla="*/ 48 w 48"/>
                <a:gd name="T15" fmla="*/ 56 h 56"/>
                <a:gd name="T16" fmla="*/ 48 w 48"/>
                <a:gd name="T17" fmla="*/ 32 h 56"/>
                <a:gd name="T18" fmla="*/ 48 w 48"/>
                <a:gd name="T19" fmla="*/ 16 h 56"/>
                <a:gd name="T20" fmla="*/ 48 w 48"/>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56">
                  <a:moveTo>
                    <a:pt x="48" y="0"/>
                  </a:moveTo>
                  <a:lnTo>
                    <a:pt x="40" y="0"/>
                  </a:lnTo>
                  <a:lnTo>
                    <a:pt x="8" y="0"/>
                  </a:lnTo>
                  <a:lnTo>
                    <a:pt x="0" y="24"/>
                  </a:lnTo>
                  <a:lnTo>
                    <a:pt x="16" y="56"/>
                  </a:lnTo>
                  <a:lnTo>
                    <a:pt x="24" y="56"/>
                  </a:lnTo>
                  <a:lnTo>
                    <a:pt x="24" y="48"/>
                  </a:lnTo>
                  <a:lnTo>
                    <a:pt x="48" y="56"/>
                  </a:lnTo>
                  <a:lnTo>
                    <a:pt x="48" y="32"/>
                  </a:lnTo>
                  <a:lnTo>
                    <a:pt x="48" y="16"/>
                  </a:lnTo>
                  <a:lnTo>
                    <a:pt x="4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29" name="Freeform 143">
              <a:extLst>
                <a:ext uri="{FF2B5EF4-FFF2-40B4-BE49-F238E27FC236}">
                  <a16:creationId xmlns:a16="http://schemas.microsoft.com/office/drawing/2014/main" id="{732A9A13-0585-3671-7E87-EDC977DBFA96}"/>
                </a:ext>
              </a:extLst>
            </p:cNvPr>
            <p:cNvSpPr>
              <a:spLocks/>
            </p:cNvSpPr>
            <p:nvPr/>
          </p:nvSpPr>
          <p:spPr bwMode="auto">
            <a:xfrm>
              <a:off x="1973423" y="3526836"/>
              <a:ext cx="327567" cy="1118987"/>
            </a:xfrm>
            <a:custGeom>
              <a:avLst/>
              <a:gdLst>
                <a:gd name="T0" fmla="*/ 16 w 160"/>
                <a:gd name="T1" fmla="*/ 0 h 544"/>
                <a:gd name="T2" fmla="*/ 32 w 160"/>
                <a:gd name="T3" fmla="*/ 40 h 544"/>
                <a:gd name="T4" fmla="*/ 56 w 160"/>
                <a:gd name="T5" fmla="*/ 80 h 544"/>
                <a:gd name="T6" fmla="*/ 40 w 160"/>
                <a:gd name="T7" fmla="*/ 104 h 544"/>
                <a:gd name="T8" fmla="*/ 40 w 160"/>
                <a:gd name="T9" fmla="*/ 160 h 544"/>
                <a:gd name="T10" fmla="*/ 56 w 160"/>
                <a:gd name="T11" fmla="*/ 248 h 544"/>
                <a:gd name="T12" fmla="*/ 56 w 160"/>
                <a:gd name="T13" fmla="*/ 280 h 544"/>
                <a:gd name="T14" fmla="*/ 64 w 160"/>
                <a:gd name="T15" fmla="*/ 320 h 544"/>
                <a:gd name="T16" fmla="*/ 72 w 160"/>
                <a:gd name="T17" fmla="*/ 368 h 544"/>
                <a:gd name="T18" fmla="*/ 80 w 160"/>
                <a:gd name="T19" fmla="*/ 408 h 544"/>
                <a:gd name="T20" fmla="*/ 88 w 160"/>
                <a:gd name="T21" fmla="*/ 408 h 544"/>
                <a:gd name="T22" fmla="*/ 96 w 160"/>
                <a:gd name="T23" fmla="*/ 488 h 544"/>
                <a:gd name="T24" fmla="*/ 112 w 160"/>
                <a:gd name="T25" fmla="*/ 496 h 544"/>
                <a:gd name="T26" fmla="*/ 160 w 160"/>
                <a:gd name="T27" fmla="*/ 520 h 544"/>
                <a:gd name="T28" fmla="*/ 152 w 160"/>
                <a:gd name="T29" fmla="*/ 528 h 544"/>
                <a:gd name="T30" fmla="*/ 136 w 160"/>
                <a:gd name="T31" fmla="*/ 536 h 544"/>
                <a:gd name="T32" fmla="*/ 144 w 160"/>
                <a:gd name="T33" fmla="*/ 528 h 544"/>
                <a:gd name="T34" fmla="*/ 104 w 160"/>
                <a:gd name="T35" fmla="*/ 520 h 544"/>
                <a:gd name="T36" fmla="*/ 96 w 160"/>
                <a:gd name="T37" fmla="*/ 520 h 544"/>
                <a:gd name="T38" fmla="*/ 104 w 160"/>
                <a:gd name="T39" fmla="*/ 512 h 544"/>
                <a:gd name="T40" fmla="*/ 96 w 160"/>
                <a:gd name="T41" fmla="*/ 512 h 544"/>
                <a:gd name="T42" fmla="*/ 88 w 160"/>
                <a:gd name="T43" fmla="*/ 496 h 544"/>
                <a:gd name="T44" fmla="*/ 80 w 160"/>
                <a:gd name="T45" fmla="*/ 496 h 544"/>
                <a:gd name="T46" fmla="*/ 72 w 160"/>
                <a:gd name="T47" fmla="*/ 488 h 544"/>
                <a:gd name="T48" fmla="*/ 64 w 160"/>
                <a:gd name="T49" fmla="*/ 456 h 544"/>
                <a:gd name="T50" fmla="*/ 72 w 160"/>
                <a:gd name="T51" fmla="*/ 440 h 544"/>
                <a:gd name="T52" fmla="*/ 48 w 160"/>
                <a:gd name="T53" fmla="*/ 440 h 544"/>
                <a:gd name="T54" fmla="*/ 56 w 160"/>
                <a:gd name="T55" fmla="*/ 424 h 544"/>
                <a:gd name="T56" fmla="*/ 56 w 160"/>
                <a:gd name="T57" fmla="*/ 400 h 544"/>
                <a:gd name="T58" fmla="*/ 64 w 160"/>
                <a:gd name="T59" fmla="*/ 416 h 544"/>
                <a:gd name="T60" fmla="*/ 64 w 160"/>
                <a:gd name="T61" fmla="*/ 400 h 544"/>
                <a:gd name="T62" fmla="*/ 48 w 160"/>
                <a:gd name="T63" fmla="*/ 360 h 544"/>
                <a:gd name="T64" fmla="*/ 40 w 160"/>
                <a:gd name="T65" fmla="*/ 352 h 544"/>
                <a:gd name="T66" fmla="*/ 24 w 160"/>
                <a:gd name="T67" fmla="*/ 304 h 544"/>
                <a:gd name="T68" fmla="*/ 32 w 160"/>
                <a:gd name="T69" fmla="*/ 296 h 544"/>
                <a:gd name="T70" fmla="*/ 32 w 160"/>
                <a:gd name="T71" fmla="*/ 224 h 544"/>
                <a:gd name="T72" fmla="*/ 24 w 160"/>
                <a:gd name="T73" fmla="*/ 192 h 544"/>
                <a:gd name="T74" fmla="*/ 24 w 160"/>
                <a:gd name="T75" fmla="*/ 136 h 544"/>
                <a:gd name="T76" fmla="*/ 16 w 160"/>
                <a:gd name="T77" fmla="*/ 64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544">
                  <a:moveTo>
                    <a:pt x="0" y="8"/>
                  </a:moveTo>
                  <a:lnTo>
                    <a:pt x="16" y="0"/>
                  </a:lnTo>
                  <a:lnTo>
                    <a:pt x="32" y="24"/>
                  </a:lnTo>
                  <a:lnTo>
                    <a:pt x="32" y="40"/>
                  </a:lnTo>
                  <a:lnTo>
                    <a:pt x="48" y="80"/>
                  </a:lnTo>
                  <a:lnTo>
                    <a:pt x="56" y="80"/>
                  </a:lnTo>
                  <a:lnTo>
                    <a:pt x="56" y="96"/>
                  </a:lnTo>
                  <a:lnTo>
                    <a:pt x="40" y="104"/>
                  </a:lnTo>
                  <a:lnTo>
                    <a:pt x="48" y="136"/>
                  </a:lnTo>
                  <a:lnTo>
                    <a:pt x="40" y="160"/>
                  </a:lnTo>
                  <a:lnTo>
                    <a:pt x="40" y="208"/>
                  </a:lnTo>
                  <a:lnTo>
                    <a:pt x="56" y="248"/>
                  </a:lnTo>
                  <a:lnTo>
                    <a:pt x="48" y="272"/>
                  </a:lnTo>
                  <a:lnTo>
                    <a:pt x="56" y="280"/>
                  </a:lnTo>
                  <a:lnTo>
                    <a:pt x="48" y="296"/>
                  </a:lnTo>
                  <a:lnTo>
                    <a:pt x="64" y="320"/>
                  </a:lnTo>
                  <a:lnTo>
                    <a:pt x="64" y="360"/>
                  </a:lnTo>
                  <a:lnTo>
                    <a:pt x="72" y="368"/>
                  </a:lnTo>
                  <a:lnTo>
                    <a:pt x="72" y="384"/>
                  </a:lnTo>
                  <a:lnTo>
                    <a:pt x="80" y="408"/>
                  </a:lnTo>
                  <a:lnTo>
                    <a:pt x="88" y="416"/>
                  </a:lnTo>
                  <a:lnTo>
                    <a:pt x="88" y="408"/>
                  </a:lnTo>
                  <a:lnTo>
                    <a:pt x="96" y="440"/>
                  </a:lnTo>
                  <a:lnTo>
                    <a:pt x="96" y="488"/>
                  </a:lnTo>
                  <a:lnTo>
                    <a:pt x="104" y="496"/>
                  </a:lnTo>
                  <a:lnTo>
                    <a:pt x="112" y="496"/>
                  </a:lnTo>
                  <a:lnTo>
                    <a:pt x="128" y="520"/>
                  </a:lnTo>
                  <a:lnTo>
                    <a:pt x="160" y="520"/>
                  </a:lnTo>
                  <a:lnTo>
                    <a:pt x="160" y="528"/>
                  </a:lnTo>
                  <a:lnTo>
                    <a:pt x="152" y="528"/>
                  </a:lnTo>
                  <a:lnTo>
                    <a:pt x="152" y="544"/>
                  </a:lnTo>
                  <a:lnTo>
                    <a:pt x="136" y="536"/>
                  </a:lnTo>
                  <a:lnTo>
                    <a:pt x="144" y="536"/>
                  </a:lnTo>
                  <a:lnTo>
                    <a:pt x="144" y="528"/>
                  </a:lnTo>
                  <a:lnTo>
                    <a:pt x="136" y="536"/>
                  </a:lnTo>
                  <a:lnTo>
                    <a:pt x="104" y="520"/>
                  </a:lnTo>
                  <a:lnTo>
                    <a:pt x="104" y="528"/>
                  </a:lnTo>
                  <a:lnTo>
                    <a:pt x="96" y="520"/>
                  </a:lnTo>
                  <a:lnTo>
                    <a:pt x="96" y="512"/>
                  </a:lnTo>
                  <a:lnTo>
                    <a:pt x="104" y="512"/>
                  </a:lnTo>
                  <a:lnTo>
                    <a:pt x="96" y="504"/>
                  </a:lnTo>
                  <a:lnTo>
                    <a:pt x="96" y="512"/>
                  </a:lnTo>
                  <a:lnTo>
                    <a:pt x="88" y="512"/>
                  </a:lnTo>
                  <a:lnTo>
                    <a:pt x="88" y="496"/>
                  </a:lnTo>
                  <a:lnTo>
                    <a:pt x="88" y="488"/>
                  </a:lnTo>
                  <a:lnTo>
                    <a:pt x="80" y="496"/>
                  </a:lnTo>
                  <a:lnTo>
                    <a:pt x="80" y="488"/>
                  </a:lnTo>
                  <a:lnTo>
                    <a:pt x="72" y="488"/>
                  </a:lnTo>
                  <a:lnTo>
                    <a:pt x="64" y="464"/>
                  </a:lnTo>
                  <a:lnTo>
                    <a:pt x="64" y="456"/>
                  </a:lnTo>
                  <a:lnTo>
                    <a:pt x="72" y="464"/>
                  </a:lnTo>
                  <a:lnTo>
                    <a:pt x="72" y="440"/>
                  </a:lnTo>
                  <a:lnTo>
                    <a:pt x="56" y="440"/>
                  </a:lnTo>
                  <a:lnTo>
                    <a:pt x="48" y="440"/>
                  </a:lnTo>
                  <a:lnTo>
                    <a:pt x="56" y="432"/>
                  </a:lnTo>
                  <a:lnTo>
                    <a:pt x="56" y="424"/>
                  </a:lnTo>
                  <a:lnTo>
                    <a:pt x="48" y="400"/>
                  </a:lnTo>
                  <a:lnTo>
                    <a:pt x="56" y="400"/>
                  </a:lnTo>
                  <a:lnTo>
                    <a:pt x="64" y="400"/>
                  </a:lnTo>
                  <a:lnTo>
                    <a:pt x="64" y="416"/>
                  </a:lnTo>
                  <a:lnTo>
                    <a:pt x="64" y="424"/>
                  </a:lnTo>
                  <a:lnTo>
                    <a:pt x="64" y="400"/>
                  </a:lnTo>
                  <a:lnTo>
                    <a:pt x="56" y="368"/>
                  </a:lnTo>
                  <a:lnTo>
                    <a:pt x="48" y="360"/>
                  </a:lnTo>
                  <a:lnTo>
                    <a:pt x="48" y="368"/>
                  </a:lnTo>
                  <a:lnTo>
                    <a:pt x="40" y="352"/>
                  </a:lnTo>
                  <a:lnTo>
                    <a:pt x="40" y="336"/>
                  </a:lnTo>
                  <a:lnTo>
                    <a:pt x="24" y="304"/>
                  </a:lnTo>
                  <a:lnTo>
                    <a:pt x="24" y="296"/>
                  </a:lnTo>
                  <a:lnTo>
                    <a:pt x="32" y="296"/>
                  </a:lnTo>
                  <a:lnTo>
                    <a:pt x="32" y="248"/>
                  </a:lnTo>
                  <a:lnTo>
                    <a:pt x="32" y="224"/>
                  </a:lnTo>
                  <a:lnTo>
                    <a:pt x="16" y="200"/>
                  </a:lnTo>
                  <a:lnTo>
                    <a:pt x="24" y="192"/>
                  </a:lnTo>
                  <a:lnTo>
                    <a:pt x="16" y="176"/>
                  </a:lnTo>
                  <a:lnTo>
                    <a:pt x="24" y="136"/>
                  </a:lnTo>
                  <a:lnTo>
                    <a:pt x="16" y="80"/>
                  </a:lnTo>
                  <a:lnTo>
                    <a:pt x="16" y="64"/>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30" name="Freeform 144">
              <a:extLst>
                <a:ext uri="{FF2B5EF4-FFF2-40B4-BE49-F238E27FC236}">
                  <a16:creationId xmlns:a16="http://schemas.microsoft.com/office/drawing/2014/main" id="{B717A3D5-4A97-C30A-ABB4-D4A6A9D5D395}"/>
                </a:ext>
              </a:extLst>
            </p:cNvPr>
            <p:cNvSpPr>
              <a:spLocks/>
            </p:cNvSpPr>
            <p:nvPr/>
          </p:nvSpPr>
          <p:spPr bwMode="auto">
            <a:xfrm>
              <a:off x="4150696" y="1500266"/>
              <a:ext cx="3005" cy="16611"/>
            </a:xfrm>
            <a:custGeom>
              <a:avLst/>
              <a:gdLst>
                <a:gd name="T0" fmla="*/ 0 h 8"/>
                <a:gd name="T1" fmla="*/ 8 h 8"/>
                <a:gd name="T2" fmla="*/ 0 h 8"/>
              </a:gdLst>
              <a:ahLst/>
              <a:cxnLst>
                <a:cxn ang="0">
                  <a:pos x="0" y="T0"/>
                </a:cxn>
                <a:cxn ang="0">
                  <a:pos x="0" y="T1"/>
                </a:cxn>
                <a:cxn ang="0">
                  <a:pos x="0" y="T2"/>
                </a:cxn>
              </a:cxnLst>
              <a:rect l="0" t="0" r="r" b="b"/>
              <a:pathLst>
                <a:path h="8">
                  <a:moveTo>
                    <a:pt x="0" y="0"/>
                  </a:moveTo>
                  <a:lnTo>
                    <a:pt x="0" y="8"/>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31" name="Freeform 145">
              <a:extLst>
                <a:ext uri="{FF2B5EF4-FFF2-40B4-BE49-F238E27FC236}">
                  <a16:creationId xmlns:a16="http://schemas.microsoft.com/office/drawing/2014/main" id="{D9E86658-0720-570F-54A6-23367569CE09}"/>
                </a:ext>
              </a:extLst>
            </p:cNvPr>
            <p:cNvSpPr>
              <a:spLocks/>
            </p:cNvSpPr>
            <p:nvPr/>
          </p:nvSpPr>
          <p:spPr bwMode="auto">
            <a:xfrm>
              <a:off x="4150696" y="1500266"/>
              <a:ext cx="3005" cy="16611"/>
            </a:xfrm>
            <a:custGeom>
              <a:avLst/>
              <a:gdLst>
                <a:gd name="T0" fmla="*/ 0 h 8"/>
                <a:gd name="T1" fmla="*/ 8 h 8"/>
                <a:gd name="T2" fmla="*/ 0 h 8"/>
              </a:gdLst>
              <a:ahLst/>
              <a:cxnLst>
                <a:cxn ang="0">
                  <a:pos x="0" y="T0"/>
                </a:cxn>
                <a:cxn ang="0">
                  <a:pos x="0" y="T1"/>
                </a:cxn>
                <a:cxn ang="0">
                  <a:pos x="0" y="T2"/>
                </a:cxn>
              </a:cxnLst>
              <a:rect l="0" t="0" r="r" b="b"/>
              <a:pathLst>
                <a:path h="8">
                  <a:moveTo>
                    <a:pt x="0" y="0"/>
                  </a:moveTo>
                  <a:lnTo>
                    <a:pt x="0" y="8"/>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grpSp>
          <p:nvGrpSpPr>
            <p:cNvPr id="132" name="Group 146">
              <a:extLst>
                <a:ext uri="{FF2B5EF4-FFF2-40B4-BE49-F238E27FC236}">
                  <a16:creationId xmlns:a16="http://schemas.microsoft.com/office/drawing/2014/main" id="{FB7A0435-CA4C-9BEB-ECFA-6F7B24647B12}"/>
                </a:ext>
              </a:extLst>
            </p:cNvPr>
            <p:cNvGrpSpPr>
              <a:grpSpLocks/>
            </p:cNvGrpSpPr>
            <p:nvPr/>
          </p:nvGrpSpPr>
          <p:grpSpPr bwMode="auto">
            <a:xfrm>
              <a:off x="4380592" y="677261"/>
              <a:ext cx="3487543" cy="1202042"/>
              <a:chOff x="3380" y="1512"/>
              <a:chExt cx="1704" cy="584"/>
            </a:xfrm>
            <a:grpFill/>
          </p:grpSpPr>
          <p:sp>
            <p:nvSpPr>
              <p:cNvPr id="320" name="Freeform 147">
                <a:extLst>
                  <a:ext uri="{FF2B5EF4-FFF2-40B4-BE49-F238E27FC236}">
                    <a16:creationId xmlns:a16="http://schemas.microsoft.com/office/drawing/2014/main" id="{1F921627-C04A-89ED-4E46-4A0672E3FF9C}"/>
                  </a:ext>
                </a:extLst>
              </p:cNvPr>
              <p:cNvSpPr>
                <a:spLocks/>
              </p:cNvSpPr>
              <p:nvPr/>
            </p:nvSpPr>
            <p:spPr bwMode="auto">
              <a:xfrm>
                <a:off x="3412" y="1840"/>
                <a:ext cx="208" cy="120"/>
              </a:xfrm>
              <a:custGeom>
                <a:avLst/>
                <a:gdLst>
                  <a:gd name="T0" fmla="*/ 80 w 208"/>
                  <a:gd name="T1" fmla="*/ 104 h 120"/>
                  <a:gd name="T2" fmla="*/ 96 w 208"/>
                  <a:gd name="T3" fmla="*/ 104 h 120"/>
                  <a:gd name="T4" fmla="*/ 96 w 208"/>
                  <a:gd name="T5" fmla="*/ 96 h 120"/>
                  <a:gd name="T6" fmla="*/ 104 w 208"/>
                  <a:gd name="T7" fmla="*/ 88 h 120"/>
                  <a:gd name="T8" fmla="*/ 120 w 208"/>
                  <a:gd name="T9" fmla="*/ 88 h 120"/>
                  <a:gd name="T10" fmla="*/ 144 w 208"/>
                  <a:gd name="T11" fmla="*/ 96 h 120"/>
                  <a:gd name="T12" fmla="*/ 128 w 208"/>
                  <a:gd name="T13" fmla="*/ 104 h 120"/>
                  <a:gd name="T14" fmla="*/ 144 w 208"/>
                  <a:gd name="T15" fmla="*/ 112 h 120"/>
                  <a:gd name="T16" fmla="*/ 144 w 208"/>
                  <a:gd name="T17" fmla="*/ 120 h 120"/>
                  <a:gd name="T18" fmla="*/ 168 w 208"/>
                  <a:gd name="T19" fmla="*/ 112 h 120"/>
                  <a:gd name="T20" fmla="*/ 176 w 208"/>
                  <a:gd name="T21" fmla="*/ 112 h 120"/>
                  <a:gd name="T22" fmla="*/ 176 w 208"/>
                  <a:gd name="T23" fmla="*/ 104 h 120"/>
                  <a:gd name="T24" fmla="*/ 168 w 208"/>
                  <a:gd name="T25" fmla="*/ 104 h 120"/>
                  <a:gd name="T26" fmla="*/ 152 w 208"/>
                  <a:gd name="T27" fmla="*/ 96 h 120"/>
                  <a:gd name="T28" fmla="*/ 184 w 208"/>
                  <a:gd name="T29" fmla="*/ 80 h 120"/>
                  <a:gd name="T30" fmla="*/ 192 w 208"/>
                  <a:gd name="T31" fmla="*/ 80 h 120"/>
                  <a:gd name="T32" fmla="*/ 192 w 208"/>
                  <a:gd name="T33" fmla="*/ 72 h 120"/>
                  <a:gd name="T34" fmla="*/ 200 w 208"/>
                  <a:gd name="T35" fmla="*/ 64 h 120"/>
                  <a:gd name="T36" fmla="*/ 208 w 208"/>
                  <a:gd name="T37" fmla="*/ 72 h 120"/>
                  <a:gd name="T38" fmla="*/ 208 w 208"/>
                  <a:gd name="T39" fmla="*/ 56 h 120"/>
                  <a:gd name="T40" fmla="*/ 208 w 208"/>
                  <a:gd name="T41" fmla="*/ 48 h 120"/>
                  <a:gd name="T42" fmla="*/ 208 w 208"/>
                  <a:gd name="T43" fmla="*/ 40 h 120"/>
                  <a:gd name="T44" fmla="*/ 184 w 208"/>
                  <a:gd name="T45" fmla="*/ 40 h 120"/>
                  <a:gd name="T46" fmla="*/ 176 w 208"/>
                  <a:gd name="T47" fmla="*/ 32 h 120"/>
                  <a:gd name="T48" fmla="*/ 152 w 208"/>
                  <a:gd name="T49" fmla="*/ 32 h 120"/>
                  <a:gd name="T50" fmla="*/ 144 w 208"/>
                  <a:gd name="T51" fmla="*/ 16 h 120"/>
                  <a:gd name="T52" fmla="*/ 136 w 208"/>
                  <a:gd name="T53" fmla="*/ 16 h 120"/>
                  <a:gd name="T54" fmla="*/ 136 w 208"/>
                  <a:gd name="T55" fmla="*/ 8 h 120"/>
                  <a:gd name="T56" fmla="*/ 128 w 208"/>
                  <a:gd name="T57" fmla="*/ 0 h 120"/>
                  <a:gd name="T58" fmla="*/ 104 w 208"/>
                  <a:gd name="T59" fmla="*/ 8 h 120"/>
                  <a:gd name="T60" fmla="*/ 96 w 208"/>
                  <a:gd name="T61" fmla="*/ 8 h 120"/>
                  <a:gd name="T62" fmla="*/ 96 w 208"/>
                  <a:gd name="T63" fmla="*/ 16 h 120"/>
                  <a:gd name="T64" fmla="*/ 80 w 208"/>
                  <a:gd name="T65" fmla="*/ 16 h 120"/>
                  <a:gd name="T66" fmla="*/ 64 w 208"/>
                  <a:gd name="T67" fmla="*/ 16 h 120"/>
                  <a:gd name="T68" fmla="*/ 40 w 208"/>
                  <a:gd name="T69" fmla="*/ 8 h 120"/>
                  <a:gd name="T70" fmla="*/ 16 w 208"/>
                  <a:gd name="T71" fmla="*/ 16 h 120"/>
                  <a:gd name="T72" fmla="*/ 24 w 208"/>
                  <a:gd name="T73" fmla="*/ 32 h 120"/>
                  <a:gd name="T74" fmla="*/ 0 w 208"/>
                  <a:gd name="T75" fmla="*/ 48 h 120"/>
                  <a:gd name="T76" fmla="*/ 0 w 208"/>
                  <a:gd name="T77" fmla="*/ 56 h 120"/>
                  <a:gd name="T78" fmla="*/ 0 w 208"/>
                  <a:gd name="T79" fmla="*/ 64 h 120"/>
                  <a:gd name="T80" fmla="*/ 8 w 208"/>
                  <a:gd name="T81" fmla="*/ 64 h 120"/>
                  <a:gd name="T82" fmla="*/ 32 w 208"/>
                  <a:gd name="T83" fmla="*/ 72 h 120"/>
                  <a:gd name="T84" fmla="*/ 56 w 208"/>
                  <a:gd name="T85" fmla="*/ 64 h 120"/>
                  <a:gd name="T86" fmla="*/ 64 w 208"/>
                  <a:gd name="T87" fmla="*/ 56 h 120"/>
                  <a:gd name="T88" fmla="*/ 80 w 208"/>
                  <a:gd name="T89" fmla="*/ 64 h 120"/>
                  <a:gd name="T90" fmla="*/ 88 w 208"/>
                  <a:gd name="T91" fmla="*/ 72 h 120"/>
                  <a:gd name="T92" fmla="*/ 96 w 208"/>
                  <a:gd name="T93" fmla="*/ 80 h 120"/>
                  <a:gd name="T94" fmla="*/ 96 w 208"/>
                  <a:gd name="T95" fmla="*/ 88 h 120"/>
                  <a:gd name="T96" fmla="*/ 88 w 208"/>
                  <a:gd name="T97" fmla="*/ 88 h 120"/>
                  <a:gd name="T98" fmla="*/ 80 w 208"/>
                  <a:gd name="T99" fmla="*/ 10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8" h="120">
                    <a:moveTo>
                      <a:pt x="80" y="104"/>
                    </a:moveTo>
                    <a:lnTo>
                      <a:pt x="96" y="104"/>
                    </a:lnTo>
                    <a:lnTo>
                      <a:pt x="96" y="96"/>
                    </a:lnTo>
                    <a:lnTo>
                      <a:pt x="104" y="88"/>
                    </a:lnTo>
                    <a:lnTo>
                      <a:pt x="120" y="88"/>
                    </a:lnTo>
                    <a:lnTo>
                      <a:pt x="144" y="96"/>
                    </a:lnTo>
                    <a:lnTo>
                      <a:pt x="128" y="104"/>
                    </a:lnTo>
                    <a:lnTo>
                      <a:pt x="144" y="112"/>
                    </a:lnTo>
                    <a:lnTo>
                      <a:pt x="144" y="120"/>
                    </a:lnTo>
                    <a:lnTo>
                      <a:pt x="168" y="112"/>
                    </a:lnTo>
                    <a:lnTo>
                      <a:pt x="176" y="112"/>
                    </a:lnTo>
                    <a:lnTo>
                      <a:pt x="176" y="104"/>
                    </a:lnTo>
                    <a:lnTo>
                      <a:pt x="168" y="104"/>
                    </a:lnTo>
                    <a:lnTo>
                      <a:pt x="152" y="96"/>
                    </a:lnTo>
                    <a:lnTo>
                      <a:pt x="184" y="80"/>
                    </a:lnTo>
                    <a:lnTo>
                      <a:pt x="192" y="80"/>
                    </a:lnTo>
                    <a:lnTo>
                      <a:pt x="192" y="72"/>
                    </a:lnTo>
                    <a:lnTo>
                      <a:pt x="200" y="64"/>
                    </a:lnTo>
                    <a:lnTo>
                      <a:pt x="208" y="72"/>
                    </a:lnTo>
                    <a:lnTo>
                      <a:pt x="208" y="56"/>
                    </a:lnTo>
                    <a:lnTo>
                      <a:pt x="208" y="48"/>
                    </a:lnTo>
                    <a:lnTo>
                      <a:pt x="208" y="40"/>
                    </a:lnTo>
                    <a:lnTo>
                      <a:pt x="184" y="40"/>
                    </a:lnTo>
                    <a:lnTo>
                      <a:pt x="176" y="32"/>
                    </a:lnTo>
                    <a:lnTo>
                      <a:pt x="152" y="32"/>
                    </a:lnTo>
                    <a:lnTo>
                      <a:pt x="144" y="16"/>
                    </a:lnTo>
                    <a:lnTo>
                      <a:pt x="136" y="16"/>
                    </a:lnTo>
                    <a:lnTo>
                      <a:pt x="136" y="8"/>
                    </a:lnTo>
                    <a:lnTo>
                      <a:pt x="128" y="0"/>
                    </a:lnTo>
                    <a:lnTo>
                      <a:pt x="104" y="8"/>
                    </a:lnTo>
                    <a:lnTo>
                      <a:pt x="96" y="8"/>
                    </a:lnTo>
                    <a:lnTo>
                      <a:pt x="96" y="16"/>
                    </a:lnTo>
                    <a:lnTo>
                      <a:pt x="80" y="16"/>
                    </a:lnTo>
                    <a:lnTo>
                      <a:pt x="64" y="16"/>
                    </a:lnTo>
                    <a:lnTo>
                      <a:pt x="40" y="8"/>
                    </a:lnTo>
                    <a:lnTo>
                      <a:pt x="16" y="16"/>
                    </a:lnTo>
                    <a:lnTo>
                      <a:pt x="24" y="32"/>
                    </a:lnTo>
                    <a:lnTo>
                      <a:pt x="0" y="48"/>
                    </a:lnTo>
                    <a:lnTo>
                      <a:pt x="0" y="56"/>
                    </a:lnTo>
                    <a:lnTo>
                      <a:pt x="0" y="64"/>
                    </a:lnTo>
                    <a:lnTo>
                      <a:pt x="8" y="64"/>
                    </a:lnTo>
                    <a:lnTo>
                      <a:pt x="32" y="72"/>
                    </a:lnTo>
                    <a:lnTo>
                      <a:pt x="56" y="64"/>
                    </a:lnTo>
                    <a:lnTo>
                      <a:pt x="64" y="56"/>
                    </a:lnTo>
                    <a:lnTo>
                      <a:pt x="80" y="64"/>
                    </a:lnTo>
                    <a:lnTo>
                      <a:pt x="88" y="72"/>
                    </a:lnTo>
                    <a:lnTo>
                      <a:pt x="96" y="80"/>
                    </a:lnTo>
                    <a:lnTo>
                      <a:pt x="96" y="88"/>
                    </a:lnTo>
                    <a:lnTo>
                      <a:pt x="88" y="88"/>
                    </a:lnTo>
                    <a:lnTo>
                      <a:pt x="80" y="104"/>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21" name="Freeform 148">
                <a:extLst>
                  <a:ext uri="{FF2B5EF4-FFF2-40B4-BE49-F238E27FC236}">
                    <a16:creationId xmlns:a16="http://schemas.microsoft.com/office/drawing/2014/main" id="{411657B8-F14F-FC3A-A9D6-14760EE3BF00}"/>
                  </a:ext>
                </a:extLst>
              </p:cNvPr>
              <p:cNvSpPr>
                <a:spLocks/>
              </p:cNvSpPr>
              <p:nvPr/>
            </p:nvSpPr>
            <p:spPr bwMode="auto">
              <a:xfrm>
                <a:off x="3700" y="1800"/>
                <a:ext cx="472" cy="208"/>
              </a:xfrm>
              <a:custGeom>
                <a:avLst/>
                <a:gdLst>
                  <a:gd name="T0" fmla="*/ 472 w 472"/>
                  <a:gd name="T1" fmla="*/ 88 h 208"/>
                  <a:gd name="T2" fmla="*/ 456 w 472"/>
                  <a:gd name="T3" fmla="*/ 88 h 208"/>
                  <a:gd name="T4" fmla="*/ 416 w 472"/>
                  <a:gd name="T5" fmla="*/ 64 h 208"/>
                  <a:gd name="T6" fmla="*/ 384 w 472"/>
                  <a:gd name="T7" fmla="*/ 56 h 208"/>
                  <a:gd name="T8" fmla="*/ 344 w 472"/>
                  <a:gd name="T9" fmla="*/ 32 h 208"/>
                  <a:gd name="T10" fmla="*/ 312 w 472"/>
                  <a:gd name="T11" fmla="*/ 16 h 208"/>
                  <a:gd name="T12" fmla="*/ 288 w 472"/>
                  <a:gd name="T13" fmla="*/ 24 h 208"/>
                  <a:gd name="T14" fmla="*/ 272 w 472"/>
                  <a:gd name="T15" fmla="*/ 16 h 208"/>
                  <a:gd name="T16" fmla="*/ 256 w 472"/>
                  <a:gd name="T17" fmla="*/ 8 h 208"/>
                  <a:gd name="T18" fmla="*/ 224 w 472"/>
                  <a:gd name="T19" fmla="*/ 0 h 208"/>
                  <a:gd name="T20" fmla="*/ 200 w 472"/>
                  <a:gd name="T21" fmla="*/ 8 h 208"/>
                  <a:gd name="T22" fmla="*/ 144 w 472"/>
                  <a:gd name="T23" fmla="*/ 16 h 208"/>
                  <a:gd name="T24" fmla="*/ 152 w 472"/>
                  <a:gd name="T25" fmla="*/ 24 h 208"/>
                  <a:gd name="T26" fmla="*/ 144 w 472"/>
                  <a:gd name="T27" fmla="*/ 40 h 208"/>
                  <a:gd name="T28" fmla="*/ 144 w 472"/>
                  <a:gd name="T29" fmla="*/ 48 h 208"/>
                  <a:gd name="T30" fmla="*/ 160 w 472"/>
                  <a:gd name="T31" fmla="*/ 64 h 208"/>
                  <a:gd name="T32" fmla="*/ 128 w 472"/>
                  <a:gd name="T33" fmla="*/ 64 h 208"/>
                  <a:gd name="T34" fmla="*/ 96 w 472"/>
                  <a:gd name="T35" fmla="*/ 64 h 208"/>
                  <a:gd name="T36" fmla="*/ 88 w 472"/>
                  <a:gd name="T37" fmla="*/ 72 h 208"/>
                  <a:gd name="T38" fmla="*/ 56 w 472"/>
                  <a:gd name="T39" fmla="*/ 48 h 208"/>
                  <a:gd name="T40" fmla="*/ 40 w 472"/>
                  <a:gd name="T41" fmla="*/ 56 h 208"/>
                  <a:gd name="T42" fmla="*/ 16 w 472"/>
                  <a:gd name="T43" fmla="*/ 64 h 208"/>
                  <a:gd name="T44" fmla="*/ 16 w 472"/>
                  <a:gd name="T45" fmla="*/ 80 h 208"/>
                  <a:gd name="T46" fmla="*/ 0 w 472"/>
                  <a:gd name="T47" fmla="*/ 96 h 208"/>
                  <a:gd name="T48" fmla="*/ 8 w 472"/>
                  <a:gd name="T49" fmla="*/ 112 h 208"/>
                  <a:gd name="T50" fmla="*/ 32 w 472"/>
                  <a:gd name="T51" fmla="*/ 128 h 208"/>
                  <a:gd name="T52" fmla="*/ 32 w 472"/>
                  <a:gd name="T53" fmla="*/ 128 h 208"/>
                  <a:gd name="T54" fmla="*/ 72 w 472"/>
                  <a:gd name="T55" fmla="*/ 120 h 208"/>
                  <a:gd name="T56" fmla="*/ 104 w 472"/>
                  <a:gd name="T57" fmla="*/ 144 h 208"/>
                  <a:gd name="T58" fmla="*/ 64 w 472"/>
                  <a:gd name="T59" fmla="*/ 152 h 208"/>
                  <a:gd name="T60" fmla="*/ 56 w 472"/>
                  <a:gd name="T61" fmla="*/ 160 h 208"/>
                  <a:gd name="T62" fmla="*/ 80 w 472"/>
                  <a:gd name="T63" fmla="*/ 184 h 208"/>
                  <a:gd name="T64" fmla="*/ 88 w 472"/>
                  <a:gd name="T65" fmla="*/ 192 h 208"/>
                  <a:gd name="T66" fmla="*/ 96 w 472"/>
                  <a:gd name="T67" fmla="*/ 192 h 208"/>
                  <a:gd name="T68" fmla="*/ 128 w 472"/>
                  <a:gd name="T69" fmla="*/ 208 h 208"/>
                  <a:gd name="T70" fmla="*/ 120 w 472"/>
                  <a:gd name="T71" fmla="*/ 152 h 208"/>
                  <a:gd name="T72" fmla="*/ 200 w 472"/>
                  <a:gd name="T73" fmla="*/ 176 h 208"/>
                  <a:gd name="T74" fmla="*/ 248 w 472"/>
                  <a:gd name="T75" fmla="*/ 184 h 208"/>
                  <a:gd name="T76" fmla="*/ 264 w 472"/>
                  <a:gd name="T77" fmla="*/ 200 h 208"/>
                  <a:gd name="T78" fmla="*/ 288 w 472"/>
                  <a:gd name="T79" fmla="*/ 208 h 208"/>
                  <a:gd name="T80" fmla="*/ 312 w 472"/>
                  <a:gd name="T81" fmla="*/ 184 h 208"/>
                  <a:gd name="T82" fmla="*/ 344 w 472"/>
                  <a:gd name="T83" fmla="*/ 184 h 208"/>
                  <a:gd name="T84" fmla="*/ 360 w 472"/>
                  <a:gd name="T85" fmla="*/ 184 h 208"/>
                  <a:gd name="T86" fmla="*/ 424 w 472"/>
                  <a:gd name="T87" fmla="*/ 192 h 208"/>
                  <a:gd name="T88" fmla="*/ 416 w 472"/>
                  <a:gd name="T89" fmla="*/ 152 h 208"/>
                  <a:gd name="T90" fmla="*/ 432 w 472"/>
                  <a:gd name="T91" fmla="*/ 120 h 208"/>
                  <a:gd name="T92" fmla="*/ 464 w 472"/>
                  <a:gd name="T93" fmla="*/ 120 h 208"/>
                  <a:gd name="T94" fmla="*/ 472 w 472"/>
                  <a:gd name="T95" fmla="*/ 9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2" h="208">
                    <a:moveTo>
                      <a:pt x="472" y="96"/>
                    </a:moveTo>
                    <a:lnTo>
                      <a:pt x="472" y="88"/>
                    </a:lnTo>
                    <a:lnTo>
                      <a:pt x="464" y="80"/>
                    </a:lnTo>
                    <a:lnTo>
                      <a:pt x="456" y="88"/>
                    </a:lnTo>
                    <a:lnTo>
                      <a:pt x="448" y="80"/>
                    </a:lnTo>
                    <a:lnTo>
                      <a:pt x="416" y="64"/>
                    </a:lnTo>
                    <a:lnTo>
                      <a:pt x="392" y="64"/>
                    </a:lnTo>
                    <a:lnTo>
                      <a:pt x="384" y="56"/>
                    </a:lnTo>
                    <a:lnTo>
                      <a:pt x="376" y="64"/>
                    </a:lnTo>
                    <a:lnTo>
                      <a:pt x="344" y="32"/>
                    </a:lnTo>
                    <a:lnTo>
                      <a:pt x="320" y="16"/>
                    </a:lnTo>
                    <a:lnTo>
                      <a:pt x="312" y="16"/>
                    </a:lnTo>
                    <a:lnTo>
                      <a:pt x="296" y="24"/>
                    </a:lnTo>
                    <a:lnTo>
                      <a:pt x="288" y="24"/>
                    </a:lnTo>
                    <a:lnTo>
                      <a:pt x="288" y="16"/>
                    </a:lnTo>
                    <a:lnTo>
                      <a:pt x="272" y="16"/>
                    </a:lnTo>
                    <a:lnTo>
                      <a:pt x="256" y="16"/>
                    </a:lnTo>
                    <a:lnTo>
                      <a:pt x="256" y="8"/>
                    </a:lnTo>
                    <a:lnTo>
                      <a:pt x="248" y="0"/>
                    </a:lnTo>
                    <a:lnTo>
                      <a:pt x="224" y="0"/>
                    </a:lnTo>
                    <a:lnTo>
                      <a:pt x="224" y="8"/>
                    </a:lnTo>
                    <a:lnTo>
                      <a:pt x="200" y="8"/>
                    </a:lnTo>
                    <a:lnTo>
                      <a:pt x="160" y="16"/>
                    </a:lnTo>
                    <a:lnTo>
                      <a:pt x="144" y="16"/>
                    </a:lnTo>
                    <a:lnTo>
                      <a:pt x="144" y="24"/>
                    </a:lnTo>
                    <a:lnTo>
                      <a:pt x="152" y="24"/>
                    </a:lnTo>
                    <a:lnTo>
                      <a:pt x="152" y="32"/>
                    </a:lnTo>
                    <a:lnTo>
                      <a:pt x="144" y="40"/>
                    </a:lnTo>
                    <a:lnTo>
                      <a:pt x="152" y="40"/>
                    </a:lnTo>
                    <a:lnTo>
                      <a:pt x="144" y="48"/>
                    </a:lnTo>
                    <a:lnTo>
                      <a:pt x="168" y="56"/>
                    </a:lnTo>
                    <a:lnTo>
                      <a:pt x="160" y="64"/>
                    </a:lnTo>
                    <a:lnTo>
                      <a:pt x="144" y="64"/>
                    </a:lnTo>
                    <a:lnTo>
                      <a:pt x="128" y="64"/>
                    </a:lnTo>
                    <a:lnTo>
                      <a:pt x="112" y="64"/>
                    </a:lnTo>
                    <a:lnTo>
                      <a:pt x="96" y="64"/>
                    </a:lnTo>
                    <a:lnTo>
                      <a:pt x="88" y="64"/>
                    </a:lnTo>
                    <a:lnTo>
                      <a:pt x="88" y="72"/>
                    </a:lnTo>
                    <a:lnTo>
                      <a:pt x="72" y="56"/>
                    </a:lnTo>
                    <a:lnTo>
                      <a:pt x="56" y="48"/>
                    </a:lnTo>
                    <a:lnTo>
                      <a:pt x="48" y="56"/>
                    </a:lnTo>
                    <a:lnTo>
                      <a:pt x="40" y="56"/>
                    </a:lnTo>
                    <a:lnTo>
                      <a:pt x="24" y="64"/>
                    </a:lnTo>
                    <a:lnTo>
                      <a:pt x="16" y="64"/>
                    </a:lnTo>
                    <a:lnTo>
                      <a:pt x="24" y="80"/>
                    </a:lnTo>
                    <a:lnTo>
                      <a:pt x="16" y="80"/>
                    </a:lnTo>
                    <a:lnTo>
                      <a:pt x="8" y="72"/>
                    </a:lnTo>
                    <a:lnTo>
                      <a:pt x="0" y="96"/>
                    </a:lnTo>
                    <a:lnTo>
                      <a:pt x="8" y="104"/>
                    </a:lnTo>
                    <a:lnTo>
                      <a:pt x="8" y="112"/>
                    </a:lnTo>
                    <a:lnTo>
                      <a:pt x="24" y="112"/>
                    </a:lnTo>
                    <a:lnTo>
                      <a:pt x="32" y="128"/>
                    </a:lnTo>
                    <a:lnTo>
                      <a:pt x="24" y="128"/>
                    </a:lnTo>
                    <a:lnTo>
                      <a:pt x="32" y="128"/>
                    </a:lnTo>
                    <a:lnTo>
                      <a:pt x="56" y="120"/>
                    </a:lnTo>
                    <a:lnTo>
                      <a:pt x="72" y="120"/>
                    </a:lnTo>
                    <a:lnTo>
                      <a:pt x="88" y="128"/>
                    </a:lnTo>
                    <a:lnTo>
                      <a:pt x="104" y="144"/>
                    </a:lnTo>
                    <a:lnTo>
                      <a:pt x="72" y="144"/>
                    </a:lnTo>
                    <a:lnTo>
                      <a:pt x="64" y="152"/>
                    </a:lnTo>
                    <a:lnTo>
                      <a:pt x="72" y="160"/>
                    </a:lnTo>
                    <a:lnTo>
                      <a:pt x="56" y="160"/>
                    </a:lnTo>
                    <a:lnTo>
                      <a:pt x="64" y="160"/>
                    </a:lnTo>
                    <a:lnTo>
                      <a:pt x="80" y="184"/>
                    </a:lnTo>
                    <a:lnTo>
                      <a:pt x="88" y="184"/>
                    </a:lnTo>
                    <a:lnTo>
                      <a:pt x="88" y="192"/>
                    </a:lnTo>
                    <a:lnTo>
                      <a:pt x="88" y="200"/>
                    </a:lnTo>
                    <a:lnTo>
                      <a:pt x="96" y="192"/>
                    </a:lnTo>
                    <a:lnTo>
                      <a:pt x="104" y="192"/>
                    </a:lnTo>
                    <a:lnTo>
                      <a:pt x="128" y="208"/>
                    </a:lnTo>
                    <a:lnTo>
                      <a:pt x="136" y="208"/>
                    </a:lnTo>
                    <a:lnTo>
                      <a:pt x="120" y="152"/>
                    </a:lnTo>
                    <a:lnTo>
                      <a:pt x="152" y="144"/>
                    </a:lnTo>
                    <a:lnTo>
                      <a:pt x="200" y="176"/>
                    </a:lnTo>
                    <a:lnTo>
                      <a:pt x="232" y="168"/>
                    </a:lnTo>
                    <a:lnTo>
                      <a:pt x="248" y="184"/>
                    </a:lnTo>
                    <a:lnTo>
                      <a:pt x="256" y="200"/>
                    </a:lnTo>
                    <a:lnTo>
                      <a:pt x="264" y="200"/>
                    </a:lnTo>
                    <a:lnTo>
                      <a:pt x="264" y="208"/>
                    </a:lnTo>
                    <a:lnTo>
                      <a:pt x="288" y="208"/>
                    </a:lnTo>
                    <a:lnTo>
                      <a:pt x="312" y="192"/>
                    </a:lnTo>
                    <a:lnTo>
                      <a:pt x="312" y="184"/>
                    </a:lnTo>
                    <a:lnTo>
                      <a:pt x="336" y="192"/>
                    </a:lnTo>
                    <a:lnTo>
                      <a:pt x="344" y="184"/>
                    </a:lnTo>
                    <a:lnTo>
                      <a:pt x="344" y="176"/>
                    </a:lnTo>
                    <a:lnTo>
                      <a:pt x="360" y="184"/>
                    </a:lnTo>
                    <a:lnTo>
                      <a:pt x="408" y="184"/>
                    </a:lnTo>
                    <a:lnTo>
                      <a:pt x="424" y="192"/>
                    </a:lnTo>
                    <a:lnTo>
                      <a:pt x="424" y="176"/>
                    </a:lnTo>
                    <a:lnTo>
                      <a:pt x="416" y="152"/>
                    </a:lnTo>
                    <a:lnTo>
                      <a:pt x="432" y="144"/>
                    </a:lnTo>
                    <a:lnTo>
                      <a:pt x="432" y="120"/>
                    </a:lnTo>
                    <a:lnTo>
                      <a:pt x="456" y="120"/>
                    </a:lnTo>
                    <a:lnTo>
                      <a:pt x="464" y="120"/>
                    </a:lnTo>
                    <a:lnTo>
                      <a:pt x="464" y="104"/>
                    </a:lnTo>
                    <a:lnTo>
                      <a:pt x="472" y="96"/>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22" name="Freeform 149">
                <a:extLst>
                  <a:ext uri="{FF2B5EF4-FFF2-40B4-BE49-F238E27FC236}">
                    <a16:creationId xmlns:a16="http://schemas.microsoft.com/office/drawing/2014/main" id="{7EEDCFC2-C62A-81E8-03CB-289412E5A67A}"/>
                  </a:ext>
                </a:extLst>
              </p:cNvPr>
              <p:cNvSpPr>
                <a:spLocks/>
              </p:cNvSpPr>
              <p:nvPr/>
            </p:nvSpPr>
            <p:spPr bwMode="auto">
              <a:xfrm>
                <a:off x="3452" y="1512"/>
                <a:ext cx="1632" cy="496"/>
              </a:xfrm>
              <a:custGeom>
                <a:avLst/>
                <a:gdLst>
                  <a:gd name="T0" fmla="*/ 448 w 1632"/>
                  <a:gd name="T1" fmla="*/ 104 h 496"/>
                  <a:gd name="T2" fmla="*/ 440 w 1632"/>
                  <a:gd name="T3" fmla="*/ 104 h 496"/>
                  <a:gd name="T4" fmla="*/ 384 w 1632"/>
                  <a:gd name="T5" fmla="*/ 48 h 496"/>
                  <a:gd name="T6" fmla="*/ 392 w 1632"/>
                  <a:gd name="T7" fmla="*/ 112 h 496"/>
                  <a:gd name="T8" fmla="*/ 304 w 1632"/>
                  <a:gd name="T9" fmla="*/ 112 h 496"/>
                  <a:gd name="T10" fmla="*/ 200 w 1632"/>
                  <a:gd name="T11" fmla="*/ 128 h 496"/>
                  <a:gd name="T12" fmla="*/ 160 w 1632"/>
                  <a:gd name="T13" fmla="*/ 112 h 496"/>
                  <a:gd name="T14" fmla="*/ 136 w 1632"/>
                  <a:gd name="T15" fmla="*/ 160 h 496"/>
                  <a:gd name="T16" fmla="*/ 72 w 1632"/>
                  <a:gd name="T17" fmla="*/ 160 h 496"/>
                  <a:gd name="T18" fmla="*/ 80 w 1632"/>
                  <a:gd name="T19" fmla="*/ 104 h 496"/>
                  <a:gd name="T20" fmla="*/ 16 w 1632"/>
                  <a:gd name="T21" fmla="*/ 120 h 496"/>
                  <a:gd name="T22" fmla="*/ 40 w 1632"/>
                  <a:gd name="T23" fmla="*/ 184 h 496"/>
                  <a:gd name="T24" fmla="*/ 0 w 1632"/>
                  <a:gd name="T25" fmla="*/ 240 h 496"/>
                  <a:gd name="T26" fmla="*/ 64 w 1632"/>
                  <a:gd name="T27" fmla="*/ 312 h 496"/>
                  <a:gd name="T28" fmla="*/ 96 w 1632"/>
                  <a:gd name="T29" fmla="*/ 336 h 496"/>
                  <a:gd name="T30" fmla="*/ 168 w 1632"/>
                  <a:gd name="T31" fmla="*/ 368 h 496"/>
                  <a:gd name="T32" fmla="*/ 152 w 1632"/>
                  <a:gd name="T33" fmla="*/ 408 h 496"/>
                  <a:gd name="T34" fmla="*/ 136 w 1632"/>
                  <a:gd name="T35" fmla="*/ 440 h 496"/>
                  <a:gd name="T36" fmla="*/ 264 w 1632"/>
                  <a:gd name="T37" fmla="*/ 488 h 496"/>
                  <a:gd name="T38" fmla="*/ 256 w 1632"/>
                  <a:gd name="T39" fmla="*/ 440 h 496"/>
                  <a:gd name="T40" fmla="*/ 272 w 1632"/>
                  <a:gd name="T41" fmla="*/ 400 h 496"/>
                  <a:gd name="T42" fmla="*/ 272 w 1632"/>
                  <a:gd name="T43" fmla="*/ 368 h 496"/>
                  <a:gd name="T44" fmla="*/ 320 w 1632"/>
                  <a:gd name="T45" fmla="*/ 344 h 496"/>
                  <a:gd name="T46" fmla="*/ 392 w 1632"/>
                  <a:gd name="T47" fmla="*/ 352 h 496"/>
                  <a:gd name="T48" fmla="*/ 400 w 1632"/>
                  <a:gd name="T49" fmla="*/ 320 h 496"/>
                  <a:gd name="T50" fmla="*/ 472 w 1632"/>
                  <a:gd name="T51" fmla="*/ 296 h 496"/>
                  <a:gd name="T52" fmla="*/ 536 w 1632"/>
                  <a:gd name="T53" fmla="*/ 304 h 496"/>
                  <a:gd name="T54" fmla="*/ 624 w 1632"/>
                  <a:gd name="T55" fmla="*/ 352 h 496"/>
                  <a:gd name="T56" fmla="*/ 712 w 1632"/>
                  <a:gd name="T57" fmla="*/ 368 h 496"/>
                  <a:gd name="T58" fmla="*/ 808 w 1632"/>
                  <a:gd name="T59" fmla="*/ 368 h 496"/>
                  <a:gd name="T60" fmla="*/ 896 w 1632"/>
                  <a:gd name="T61" fmla="*/ 360 h 496"/>
                  <a:gd name="T62" fmla="*/ 1072 w 1632"/>
                  <a:gd name="T63" fmla="*/ 368 h 496"/>
                  <a:gd name="T64" fmla="*/ 1104 w 1632"/>
                  <a:gd name="T65" fmla="*/ 312 h 496"/>
                  <a:gd name="T66" fmla="*/ 1248 w 1632"/>
                  <a:gd name="T67" fmla="*/ 400 h 496"/>
                  <a:gd name="T68" fmla="*/ 1280 w 1632"/>
                  <a:gd name="T69" fmla="*/ 432 h 496"/>
                  <a:gd name="T70" fmla="*/ 1328 w 1632"/>
                  <a:gd name="T71" fmla="*/ 464 h 496"/>
                  <a:gd name="T72" fmla="*/ 1272 w 1632"/>
                  <a:gd name="T73" fmla="*/ 304 h 496"/>
                  <a:gd name="T74" fmla="*/ 1240 w 1632"/>
                  <a:gd name="T75" fmla="*/ 296 h 496"/>
                  <a:gd name="T76" fmla="*/ 1312 w 1632"/>
                  <a:gd name="T77" fmla="*/ 224 h 496"/>
                  <a:gd name="T78" fmla="*/ 1368 w 1632"/>
                  <a:gd name="T79" fmla="*/ 200 h 496"/>
                  <a:gd name="T80" fmla="*/ 1432 w 1632"/>
                  <a:gd name="T81" fmla="*/ 184 h 496"/>
                  <a:gd name="T82" fmla="*/ 1432 w 1632"/>
                  <a:gd name="T83" fmla="*/ 264 h 496"/>
                  <a:gd name="T84" fmla="*/ 1520 w 1632"/>
                  <a:gd name="T85" fmla="*/ 320 h 496"/>
                  <a:gd name="T86" fmla="*/ 1488 w 1632"/>
                  <a:gd name="T87" fmla="*/ 256 h 496"/>
                  <a:gd name="T88" fmla="*/ 1480 w 1632"/>
                  <a:gd name="T89" fmla="*/ 216 h 496"/>
                  <a:gd name="T90" fmla="*/ 1552 w 1632"/>
                  <a:gd name="T91" fmla="*/ 192 h 496"/>
                  <a:gd name="T92" fmla="*/ 1544 w 1632"/>
                  <a:gd name="T93" fmla="*/ 152 h 496"/>
                  <a:gd name="T94" fmla="*/ 1632 w 1632"/>
                  <a:gd name="T95" fmla="*/ 160 h 496"/>
                  <a:gd name="T96" fmla="*/ 1472 w 1632"/>
                  <a:gd name="T97" fmla="*/ 104 h 496"/>
                  <a:gd name="T98" fmla="*/ 1360 w 1632"/>
                  <a:gd name="T99" fmla="*/ 96 h 496"/>
                  <a:gd name="T100" fmla="*/ 1232 w 1632"/>
                  <a:gd name="T101" fmla="*/ 80 h 496"/>
                  <a:gd name="T102" fmla="*/ 1008 w 1632"/>
                  <a:gd name="T103" fmla="*/ 64 h 496"/>
                  <a:gd name="T104" fmla="*/ 936 w 1632"/>
                  <a:gd name="T105" fmla="*/ 56 h 496"/>
                  <a:gd name="T106" fmla="*/ 816 w 1632"/>
                  <a:gd name="T107" fmla="*/ 48 h 496"/>
                  <a:gd name="T108" fmla="*/ 744 w 1632"/>
                  <a:gd name="T109" fmla="*/ 48 h 496"/>
                  <a:gd name="T110" fmla="*/ 656 w 1632"/>
                  <a:gd name="T111" fmla="*/ 0 h 496"/>
                  <a:gd name="T112" fmla="*/ 512 w 1632"/>
                  <a:gd name="T113" fmla="*/ 32 h 496"/>
                  <a:gd name="T114" fmla="*/ 448 w 1632"/>
                  <a:gd name="T115" fmla="*/ 56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2" h="496">
                    <a:moveTo>
                      <a:pt x="432" y="56"/>
                    </a:moveTo>
                    <a:lnTo>
                      <a:pt x="416" y="72"/>
                    </a:lnTo>
                    <a:lnTo>
                      <a:pt x="432" y="80"/>
                    </a:lnTo>
                    <a:lnTo>
                      <a:pt x="432" y="96"/>
                    </a:lnTo>
                    <a:lnTo>
                      <a:pt x="440" y="104"/>
                    </a:lnTo>
                    <a:lnTo>
                      <a:pt x="448" y="104"/>
                    </a:lnTo>
                    <a:lnTo>
                      <a:pt x="464" y="120"/>
                    </a:lnTo>
                    <a:lnTo>
                      <a:pt x="456" y="128"/>
                    </a:lnTo>
                    <a:lnTo>
                      <a:pt x="440" y="136"/>
                    </a:lnTo>
                    <a:lnTo>
                      <a:pt x="424" y="128"/>
                    </a:lnTo>
                    <a:lnTo>
                      <a:pt x="440" y="120"/>
                    </a:lnTo>
                    <a:lnTo>
                      <a:pt x="440" y="104"/>
                    </a:lnTo>
                    <a:lnTo>
                      <a:pt x="432" y="104"/>
                    </a:lnTo>
                    <a:lnTo>
                      <a:pt x="416" y="72"/>
                    </a:lnTo>
                    <a:lnTo>
                      <a:pt x="408" y="72"/>
                    </a:lnTo>
                    <a:lnTo>
                      <a:pt x="408" y="56"/>
                    </a:lnTo>
                    <a:lnTo>
                      <a:pt x="392" y="48"/>
                    </a:lnTo>
                    <a:lnTo>
                      <a:pt x="384" y="48"/>
                    </a:lnTo>
                    <a:lnTo>
                      <a:pt x="376" y="48"/>
                    </a:lnTo>
                    <a:lnTo>
                      <a:pt x="360" y="72"/>
                    </a:lnTo>
                    <a:lnTo>
                      <a:pt x="368" y="80"/>
                    </a:lnTo>
                    <a:lnTo>
                      <a:pt x="368" y="96"/>
                    </a:lnTo>
                    <a:lnTo>
                      <a:pt x="400" y="104"/>
                    </a:lnTo>
                    <a:lnTo>
                      <a:pt x="392" y="112"/>
                    </a:lnTo>
                    <a:lnTo>
                      <a:pt x="288" y="80"/>
                    </a:lnTo>
                    <a:lnTo>
                      <a:pt x="288" y="88"/>
                    </a:lnTo>
                    <a:lnTo>
                      <a:pt x="320" y="104"/>
                    </a:lnTo>
                    <a:lnTo>
                      <a:pt x="304" y="104"/>
                    </a:lnTo>
                    <a:lnTo>
                      <a:pt x="312" y="112"/>
                    </a:lnTo>
                    <a:lnTo>
                      <a:pt x="304" y="112"/>
                    </a:lnTo>
                    <a:lnTo>
                      <a:pt x="296" y="104"/>
                    </a:lnTo>
                    <a:lnTo>
                      <a:pt x="264" y="104"/>
                    </a:lnTo>
                    <a:lnTo>
                      <a:pt x="264" y="112"/>
                    </a:lnTo>
                    <a:lnTo>
                      <a:pt x="248" y="104"/>
                    </a:lnTo>
                    <a:lnTo>
                      <a:pt x="200" y="120"/>
                    </a:lnTo>
                    <a:lnTo>
                      <a:pt x="200" y="128"/>
                    </a:lnTo>
                    <a:lnTo>
                      <a:pt x="192" y="128"/>
                    </a:lnTo>
                    <a:lnTo>
                      <a:pt x="168" y="120"/>
                    </a:lnTo>
                    <a:lnTo>
                      <a:pt x="184" y="120"/>
                    </a:lnTo>
                    <a:lnTo>
                      <a:pt x="176" y="112"/>
                    </a:lnTo>
                    <a:lnTo>
                      <a:pt x="144" y="104"/>
                    </a:lnTo>
                    <a:lnTo>
                      <a:pt x="160" y="112"/>
                    </a:lnTo>
                    <a:lnTo>
                      <a:pt x="160" y="128"/>
                    </a:lnTo>
                    <a:lnTo>
                      <a:pt x="168" y="136"/>
                    </a:lnTo>
                    <a:lnTo>
                      <a:pt x="160" y="136"/>
                    </a:lnTo>
                    <a:lnTo>
                      <a:pt x="144" y="136"/>
                    </a:lnTo>
                    <a:lnTo>
                      <a:pt x="120" y="144"/>
                    </a:lnTo>
                    <a:lnTo>
                      <a:pt x="136" y="160"/>
                    </a:lnTo>
                    <a:lnTo>
                      <a:pt x="96" y="152"/>
                    </a:lnTo>
                    <a:lnTo>
                      <a:pt x="88" y="152"/>
                    </a:lnTo>
                    <a:lnTo>
                      <a:pt x="104" y="160"/>
                    </a:lnTo>
                    <a:lnTo>
                      <a:pt x="112" y="168"/>
                    </a:lnTo>
                    <a:lnTo>
                      <a:pt x="96" y="168"/>
                    </a:lnTo>
                    <a:lnTo>
                      <a:pt x="72" y="160"/>
                    </a:lnTo>
                    <a:lnTo>
                      <a:pt x="72" y="144"/>
                    </a:lnTo>
                    <a:lnTo>
                      <a:pt x="40" y="128"/>
                    </a:lnTo>
                    <a:lnTo>
                      <a:pt x="104" y="136"/>
                    </a:lnTo>
                    <a:lnTo>
                      <a:pt x="136" y="128"/>
                    </a:lnTo>
                    <a:lnTo>
                      <a:pt x="128" y="120"/>
                    </a:lnTo>
                    <a:lnTo>
                      <a:pt x="80" y="104"/>
                    </a:lnTo>
                    <a:lnTo>
                      <a:pt x="40" y="88"/>
                    </a:lnTo>
                    <a:lnTo>
                      <a:pt x="24" y="96"/>
                    </a:lnTo>
                    <a:lnTo>
                      <a:pt x="8" y="104"/>
                    </a:lnTo>
                    <a:lnTo>
                      <a:pt x="0" y="104"/>
                    </a:lnTo>
                    <a:lnTo>
                      <a:pt x="0" y="112"/>
                    </a:lnTo>
                    <a:lnTo>
                      <a:pt x="16" y="120"/>
                    </a:lnTo>
                    <a:lnTo>
                      <a:pt x="16" y="128"/>
                    </a:lnTo>
                    <a:lnTo>
                      <a:pt x="24" y="144"/>
                    </a:lnTo>
                    <a:lnTo>
                      <a:pt x="24" y="152"/>
                    </a:lnTo>
                    <a:lnTo>
                      <a:pt x="32" y="160"/>
                    </a:lnTo>
                    <a:lnTo>
                      <a:pt x="32" y="168"/>
                    </a:lnTo>
                    <a:lnTo>
                      <a:pt x="40" y="184"/>
                    </a:lnTo>
                    <a:lnTo>
                      <a:pt x="8" y="216"/>
                    </a:lnTo>
                    <a:lnTo>
                      <a:pt x="16" y="216"/>
                    </a:lnTo>
                    <a:lnTo>
                      <a:pt x="24" y="224"/>
                    </a:lnTo>
                    <a:lnTo>
                      <a:pt x="16" y="232"/>
                    </a:lnTo>
                    <a:lnTo>
                      <a:pt x="8" y="232"/>
                    </a:lnTo>
                    <a:lnTo>
                      <a:pt x="0" y="240"/>
                    </a:lnTo>
                    <a:lnTo>
                      <a:pt x="8" y="248"/>
                    </a:lnTo>
                    <a:lnTo>
                      <a:pt x="8" y="256"/>
                    </a:lnTo>
                    <a:lnTo>
                      <a:pt x="24" y="272"/>
                    </a:lnTo>
                    <a:lnTo>
                      <a:pt x="48" y="280"/>
                    </a:lnTo>
                    <a:lnTo>
                      <a:pt x="56" y="296"/>
                    </a:lnTo>
                    <a:lnTo>
                      <a:pt x="64" y="312"/>
                    </a:lnTo>
                    <a:lnTo>
                      <a:pt x="72" y="312"/>
                    </a:lnTo>
                    <a:lnTo>
                      <a:pt x="72" y="320"/>
                    </a:lnTo>
                    <a:lnTo>
                      <a:pt x="56" y="320"/>
                    </a:lnTo>
                    <a:lnTo>
                      <a:pt x="64" y="336"/>
                    </a:lnTo>
                    <a:lnTo>
                      <a:pt x="88" y="328"/>
                    </a:lnTo>
                    <a:lnTo>
                      <a:pt x="96" y="336"/>
                    </a:lnTo>
                    <a:lnTo>
                      <a:pt x="96" y="344"/>
                    </a:lnTo>
                    <a:lnTo>
                      <a:pt x="104" y="344"/>
                    </a:lnTo>
                    <a:lnTo>
                      <a:pt x="112" y="360"/>
                    </a:lnTo>
                    <a:lnTo>
                      <a:pt x="136" y="360"/>
                    </a:lnTo>
                    <a:lnTo>
                      <a:pt x="144" y="368"/>
                    </a:lnTo>
                    <a:lnTo>
                      <a:pt x="168" y="368"/>
                    </a:lnTo>
                    <a:lnTo>
                      <a:pt x="168" y="376"/>
                    </a:lnTo>
                    <a:lnTo>
                      <a:pt x="168" y="384"/>
                    </a:lnTo>
                    <a:lnTo>
                      <a:pt x="168" y="400"/>
                    </a:lnTo>
                    <a:lnTo>
                      <a:pt x="160" y="392"/>
                    </a:lnTo>
                    <a:lnTo>
                      <a:pt x="152" y="400"/>
                    </a:lnTo>
                    <a:lnTo>
                      <a:pt x="152" y="408"/>
                    </a:lnTo>
                    <a:lnTo>
                      <a:pt x="168" y="408"/>
                    </a:lnTo>
                    <a:lnTo>
                      <a:pt x="144" y="416"/>
                    </a:lnTo>
                    <a:lnTo>
                      <a:pt x="152" y="416"/>
                    </a:lnTo>
                    <a:lnTo>
                      <a:pt x="144" y="432"/>
                    </a:lnTo>
                    <a:lnTo>
                      <a:pt x="136" y="432"/>
                    </a:lnTo>
                    <a:lnTo>
                      <a:pt x="136" y="440"/>
                    </a:lnTo>
                    <a:lnTo>
                      <a:pt x="144" y="440"/>
                    </a:lnTo>
                    <a:lnTo>
                      <a:pt x="184" y="464"/>
                    </a:lnTo>
                    <a:lnTo>
                      <a:pt x="216" y="464"/>
                    </a:lnTo>
                    <a:lnTo>
                      <a:pt x="232" y="472"/>
                    </a:lnTo>
                    <a:lnTo>
                      <a:pt x="248" y="472"/>
                    </a:lnTo>
                    <a:lnTo>
                      <a:pt x="264" y="488"/>
                    </a:lnTo>
                    <a:lnTo>
                      <a:pt x="272" y="496"/>
                    </a:lnTo>
                    <a:lnTo>
                      <a:pt x="280" y="496"/>
                    </a:lnTo>
                    <a:lnTo>
                      <a:pt x="288" y="488"/>
                    </a:lnTo>
                    <a:lnTo>
                      <a:pt x="272" y="472"/>
                    </a:lnTo>
                    <a:lnTo>
                      <a:pt x="272" y="456"/>
                    </a:lnTo>
                    <a:lnTo>
                      <a:pt x="256" y="440"/>
                    </a:lnTo>
                    <a:lnTo>
                      <a:pt x="264" y="424"/>
                    </a:lnTo>
                    <a:lnTo>
                      <a:pt x="272" y="424"/>
                    </a:lnTo>
                    <a:lnTo>
                      <a:pt x="280" y="416"/>
                    </a:lnTo>
                    <a:lnTo>
                      <a:pt x="272" y="416"/>
                    </a:lnTo>
                    <a:lnTo>
                      <a:pt x="280" y="416"/>
                    </a:lnTo>
                    <a:lnTo>
                      <a:pt x="272" y="400"/>
                    </a:lnTo>
                    <a:lnTo>
                      <a:pt x="256" y="400"/>
                    </a:lnTo>
                    <a:lnTo>
                      <a:pt x="256" y="392"/>
                    </a:lnTo>
                    <a:lnTo>
                      <a:pt x="248" y="384"/>
                    </a:lnTo>
                    <a:lnTo>
                      <a:pt x="256" y="360"/>
                    </a:lnTo>
                    <a:lnTo>
                      <a:pt x="264" y="368"/>
                    </a:lnTo>
                    <a:lnTo>
                      <a:pt x="272" y="368"/>
                    </a:lnTo>
                    <a:lnTo>
                      <a:pt x="264" y="352"/>
                    </a:lnTo>
                    <a:lnTo>
                      <a:pt x="272" y="352"/>
                    </a:lnTo>
                    <a:lnTo>
                      <a:pt x="288" y="344"/>
                    </a:lnTo>
                    <a:lnTo>
                      <a:pt x="296" y="344"/>
                    </a:lnTo>
                    <a:lnTo>
                      <a:pt x="304" y="336"/>
                    </a:lnTo>
                    <a:lnTo>
                      <a:pt x="320" y="344"/>
                    </a:lnTo>
                    <a:lnTo>
                      <a:pt x="336" y="360"/>
                    </a:lnTo>
                    <a:lnTo>
                      <a:pt x="336" y="352"/>
                    </a:lnTo>
                    <a:lnTo>
                      <a:pt x="344" y="352"/>
                    </a:lnTo>
                    <a:lnTo>
                      <a:pt x="360" y="352"/>
                    </a:lnTo>
                    <a:lnTo>
                      <a:pt x="376" y="352"/>
                    </a:lnTo>
                    <a:lnTo>
                      <a:pt x="392" y="352"/>
                    </a:lnTo>
                    <a:lnTo>
                      <a:pt x="408" y="352"/>
                    </a:lnTo>
                    <a:lnTo>
                      <a:pt x="416" y="344"/>
                    </a:lnTo>
                    <a:lnTo>
                      <a:pt x="392" y="336"/>
                    </a:lnTo>
                    <a:lnTo>
                      <a:pt x="400" y="328"/>
                    </a:lnTo>
                    <a:lnTo>
                      <a:pt x="392" y="328"/>
                    </a:lnTo>
                    <a:lnTo>
                      <a:pt x="400" y="320"/>
                    </a:lnTo>
                    <a:lnTo>
                      <a:pt x="400" y="312"/>
                    </a:lnTo>
                    <a:lnTo>
                      <a:pt x="392" y="312"/>
                    </a:lnTo>
                    <a:lnTo>
                      <a:pt x="392" y="304"/>
                    </a:lnTo>
                    <a:lnTo>
                      <a:pt x="408" y="304"/>
                    </a:lnTo>
                    <a:lnTo>
                      <a:pt x="448" y="296"/>
                    </a:lnTo>
                    <a:lnTo>
                      <a:pt x="472" y="296"/>
                    </a:lnTo>
                    <a:lnTo>
                      <a:pt x="472" y="288"/>
                    </a:lnTo>
                    <a:lnTo>
                      <a:pt x="496" y="288"/>
                    </a:lnTo>
                    <a:lnTo>
                      <a:pt x="504" y="296"/>
                    </a:lnTo>
                    <a:lnTo>
                      <a:pt x="504" y="304"/>
                    </a:lnTo>
                    <a:lnTo>
                      <a:pt x="520" y="304"/>
                    </a:lnTo>
                    <a:lnTo>
                      <a:pt x="536" y="304"/>
                    </a:lnTo>
                    <a:lnTo>
                      <a:pt x="536" y="312"/>
                    </a:lnTo>
                    <a:lnTo>
                      <a:pt x="544" y="312"/>
                    </a:lnTo>
                    <a:lnTo>
                      <a:pt x="560" y="304"/>
                    </a:lnTo>
                    <a:lnTo>
                      <a:pt x="568" y="304"/>
                    </a:lnTo>
                    <a:lnTo>
                      <a:pt x="592" y="320"/>
                    </a:lnTo>
                    <a:lnTo>
                      <a:pt x="624" y="352"/>
                    </a:lnTo>
                    <a:lnTo>
                      <a:pt x="632" y="344"/>
                    </a:lnTo>
                    <a:lnTo>
                      <a:pt x="640" y="352"/>
                    </a:lnTo>
                    <a:lnTo>
                      <a:pt x="664" y="352"/>
                    </a:lnTo>
                    <a:lnTo>
                      <a:pt x="696" y="368"/>
                    </a:lnTo>
                    <a:lnTo>
                      <a:pt x="704" y="376"/>
                    </a:lnTo>
                    <a:lnTo>
                      <a:pt x="712" y="368"/>
                    </a:lnTo>
                    <a:lnTo>
                      <a:pt x="720" y="376"/>
                    </a:lnTo>
                    <a:lnTo>
                      <a:pt x="720" y="384"/>
                    </a:lnTo>
                    <a:lnTo>
                      <a:pt x="728" y="376"/>
                    </a:lnTo>
                    <a:lnTo>
                      <a:pt x="768" y="352"/>
                    </a:lnTo>
                    <a:lnTo>
                      <a:pt x="792" y="360"/>
                    </a:lnTo>
                    <a:lnTo>
                      <a:pt x="808" y="368"/>
                    </a:lnTo>
                    <a:lnTo>
                      <a:pt x="840" y="368"/>
                    </a:lnTo>
                    <a:lnTo>
                      <a:pt x="840" y="352"/>
                    </a:lnTo>
                    <a:lnTo>
                      <a:pt x="832" y="344"/>
                    </a:lnTo>
                    <a:lnTo>
                      <a:pt x="840" y="336"/>
                    </a:lnTo>
                    <a:lnTo>
                      <a:pt x="872" y="344"/>
                    </a:lnTo>
                    <a:lnTo>
                      <a:pt x="896" y="360"/>
                    </a:lnTo>
                    <a:lnTo>
                      <a:pt x="928" y="360"/>
                    </a:lnTo>
                    <a:lnTo>
                      <a:pt x="984" y="376"/>
                    </a:lnTo>
                    <a:lnTo>
                      <a:pt x="1016" y="368"/>
                    </a:lnTo>
                    <a:lnTo>
                      <a:pt x="1032" y="360"/>
                    </a:lnTo>
                    <a:lnTo>
                      <a:pt x="1056" y="368"/>
                    </a:lnTo>
                    <a:lnTo>
                      <a:pt x="1072" y="368"/>
                    </a:lnTo>
                    <a:lnTo>
                      <a:pt x="1088" y="360"/>
                    </a:lnTo>
                    <a:lnTo>
                      <a:pt x="1080" y="344"/>
                    </a:lnTo>
                    <a:lnTo>
                      <a:pt x="1088" y="336"/>
                    </a:lnTo>
                    <a:lnTo>
                      <a:pt x="1072" y="328"/>
                    </a:lnTo>
                    <a:lnTo>
                      <a:pt x="1080" y="320"/>
                    </a:lnTo>
                    <a:lnTo>
                      <a:pt x="1104" y="312"/>
                    </a:lnTo>
                    <a:lnTo>
                      <a:pt x="1136" y="320"/>
                    </a:lnTo>
                    <a:lnTo>
                      <a:pt x="1168" y="352"/>
                    </a:lnTo>
                    <a:lnTo>
                      <a:pt x="1184" y="368"/>
                    </a:lnTo>
                    <a:lnTo>
                      <a:pt x="1208" y="376"/>
                    </a:lnTo>
                    <a:lnTo>
                      <a:pt x="1232" y="384"/>
                    </a:lnTo>
                    <a:lnTo>
                      <a:pt x="1248" y="400"/>
                    </a:lnTo>
                    <a:lnTo>
                      <a:pt x="1256" y="400"/>
                    </a:lnTo>
                    <a:lnTo>
                      <a:pt x="1280" y="384"/>
                    </a:lnTo>
                    <a:lnTo>
                      <a:pt x="1288" y="400"/>
                    </a:lnTo>
                    <a:lnTo>
                      <a:pt x="1288" y="408"/>
                    </a:lnTo>
                    <a:lnTo>
                      <a:pt x="1296" y="440"/>
                    </a:lnTo>
                    <a:lnTo>
                      <a:pt x="1280" y="432"/>
                    </a:lnTo>
                    <a:lnTo>
                      <a:pt x="1272" y="440"/>
                    </a:lnTo>
                    <a:lnTo>
                      <a:pt x="1288" y="464"/>
                    </a:lnTo>
                    <a:lnTo>
                      <a:pt x="1288" y="472"/>
                    </a:lnTo>
                    <a:lnTo>
                      <a:pt x="1296" y="464"/>
                    </a:lnTo>
                    <a:lnTo>
                      <a:pt x="1312" y="472"/>
                    </a:lnTo>
                    <a:lnTo>
                      <a:pt x="1328" y="464"/>
                    </a:lnTo>
                    <a:lnTo>
                      <a:pt x="1328" y="448"/>
                    </a:lnTo>
                    <a:lnTo>
                      <a:pt x="1344" y="432"/>
                    </a:lnTo>
                    <a:lnTo>
                      <a:pt x="1344" y="384"/>
                    </a:lnTo>
                    <a:lnTo>
                      <a:pt x="1320" y="352"/>
                    </a:lnTo>
                    <a:lnTo>
                      <a:pt x="1304" y="320"/>
                    </a:lnTo>
                    <a:lnTo>
                      <a:pt x="1272" y="304"/>
                    </a:lnTo>
                    <a:lnTo>
                      <a:pt x="1264" y="312"/>
                    </a:lnTo>
                    <a:lnTo>
                      <a:pt x="1256" y="312"/>
                    </a:lnTo>
                    <a:lnTo>
                      <a:pt x="1256" y="304"/>
                    </a:lnTo>
                    <a:lnTo>
                      <a:pt x="1248" y="304"/>
                    </a:lnTo>
                    <a:lnTo>
                      <a:pt x="1248" y="312"/>
                    </a:lnTo>
                    <a:lnTo>
                      <a:pt x="1240" y="296"/>
                    </a:lnTo>
                    <a:lnTo>
                      <a:pt x="1216" y="296"/>
                    </a:lnTo>
                    <a:lnTo>
                      <a:pt x="1232" y="280"/>
                    </a:lnTo>
                    <a:lnTo>
                      <a:pt x="1240" y="232"/>
                    </a:lnTo>
                    <a:lnTo>
                      <a:pt x="1256" y="232"/>
                    </a:lnTo>
                    <a:lnTo>
                      <a:pt x="1312" y="232"/>
                    </a:lnTo>
                    <a:lnTo>
                      <a:pt x="1312" y="224"/>
                    </a:lnTo>
                    <a:lnTo>
                      <a:pt x="1336" y="224"/>
                    </a:lnTo>
                    <a:lnTo>
                      <a:pt x="1344" y="240"/>
                    </a:lnTo>
                    <a:lnTo>
                      <a:pt x="1384" y="232"/>
                    </a:lnTo>
                    <a:lnTo>
                      <a:pt x="1368" y="232"/>
                    </a:lnTo>
                    <a:lnTo>
                      <a:pt x="1360" y="224"/>
                    </a:lnTo>
                    <a:lnTo>
                      <a:pt x="1368" y="200"/>
                    </a:lnTo>
                    <a:lnTo>
                      <a:pt x="1400" y="200"/>
                    </a:lnTo>
                    <a:lnTo>
                      <a:pt x="1400" y="208"/>
                    </a:lnTo>
                    <a:lnTo>
                      <a:pt x="1416" y="216"/>
                    </a:lnTo>
                    <a:lnTo>
                      <a:pt x="1424" y="200"/>
                    </a:lnTo>
                    <a:lnTo>
                      <a:pt x="1416" y="184"/>
                    </a:lnTo>
                    <a:lnTo>
                      <a:pt x="1432" y="184"/>
                    </a:lnTo>
                    <a:lnTo>
                      <a:pt x="1432" y="192"/>
                    </a:lnTo>
                    <a:lnTo>
                      <a:pt x="1448" y="208"/>
                    </a:lnTo>
                    <a:lnTo>
                      <a:pt x="1440" y="216"/>
                    </a:lnTo>
                    <a:lnTo>
                      <a:pt x="1432" y="248"/>
                    </a:lnTo>
                    <a:lnTo>
                      <a:pt x="1424" y="256"/>
                    </a:lnTo>
                    <a:lnTo>
                      <a:pt x="1432" y="264"/>
                    </a:lnTo>
                    <a:lnTo>
                      <a:pt x="1424" y="264"/>
                    </a:lnTo>
                    <a:lnTo>
                      <a:pt x="1440" y="288"/>
                    </a:lnTo>
                    <a:lnTo>
                      <a:pt x="1512" y="352"/>
                    </a:lnTo>
                    <a:lnTo>
                      <a:pt x="1512" y="344"/>
                    </a:lnTo>
                    <a:lnTo>
                      <a:pt x="1512" y="320"/>
                    </a:lnTo>
                    <a:lnTo>
                      <a:pt x="1520" y="320"/>
                    </a:lnTo>
                    <a:lnTo>
                      <a:pt x="1504" y="304"/>
                    </a:lnTo>
                    <a:lnTo>
                      <a:pt x="1520" y="296"/>
                    </a:lnTo>
                    <a:lnTo>
                      <a:pt x="1504" y="280"/>
                    </a:lnTo>
                    <a:lnTo>
                      <a:pt x="1512" y="272"/>
                    </a:lnTo>
                    <a:lnTo>
                      <a:pt x="1496" y="264"/>
                    </a:lnTo>
                    <a:lnTo>
                      <a:pt x="1488" y="256"/>
                    </a:lnTo>
                    <a:lnTo>
                      <a:pt x="1480" y="256"/>
                    </a:lnTo>
                    <a:lnTo>
                      <a:pt x="1472" y="248"/>
                    </a:lnTo>
                    <a:lnTo>
                      <a:pt x="1472" y="232"/>
                    </a:lnTo>
                    <a:lnTo>
                      <a:pt x="1464" y="224"/>
                    </a:lnTo>
                    <a:lnTo>
                      <a:pt x="1472" y="224"/>
                    </a:lnTo>
                    <a:lnTo>
                      <a:pt x="1480" y="216"/>
                    </a:lnTo>
                    <a:lnTo>
                      <a:pt x="1496" y="224"/>
                    </a:lnTo>
                    <a:lnTo>
                      <a:pt x="1496" y="216"/>
                    </a:lnTo>
                    <a:lnTo>
                      <a:pt x="1504" y="216"/>
                    </a:lnTo>
                    <a:lnTo>
                      <a:pt x="1536" y="224"/>
                    </a:lnTo>
                    <a:lnTo>
                      <a:pt x="1528" y="216"/>
                    </a:lnTo>
                    <a:lnTo>
                      <a:pt x="1552" y="192"/>
                    </a:lnTo>
                    <a:lnTo>
                      <a:pt x="1560" y="184"/>
                    </a:lnTo>
                    <a:lnTo>
                      <a:pt x="1584" y="192"/>
                    </a:lnTo>
                    <a:lnTo>
                      <a:pt x="1584" y="184"/>
                    </a:lnTo>
                    <a:lnTo>
                      <a:pt x="1528" y="160"/>
                    </a:lnTo>
                    <a:lnTo>
                      <a:pt x="1544" y="160"/>
                    </a:lnTo>
                    <a:lnTo>
                      <a:pt x="1544" y="152"/>
                    </a:lnTo>
                    <a:lnTo>
                      <a:pt x="1544" y="144"/>
                    </a:lnTo>
                    <a:lnTo>
                      <a:pt x="1528" y="144"/>
                    </a:lnTo>
                    <a:lnTo>
                      <a:pt x="1536" y="136"/>
                    </a:lnTo>
                    <a:lnTo>
                      <a:pt x="1552" y="144"/>
                    </a:lnTo>
                    <a:lnTo>
                      <a:pt x="1584" y="152"/>
                    </a:lnTo>
                    <a:lnTo>
                      <a:pt x="1632" y="160"/>
                    </a:lnTo>
                    <a:lnTo>
                      <a:pt x="1616" y="144"/>
                    </a:lnTo>
                    <a:lnTo>
                      <a:pt x="1632" y="144"/>
                    </a:lnTo>
                    <a:lnTo>
                      <a:pt x="1632" y="136"/>
                    </a:lnTo>
                    <a:lnTo>
                      <a:pt x="1592" y="128"/>
                    </a:lnTo>
                    <a:lnTo>
                      <a:pt x="1568" y="128"/>
                    </a:lnTo>
                    <a:lnTo>
                      <a:pt x="1472" y="104"/>
                    </a:lnTo>
                    <a:lnTo>
                      <a:pt x="1424" y="88"/>
                    </a:lnTo>
                    <a:lnTo>
                      <a:pt x="1360" y="88"/>
                    </a:lnTo>
                    <a:lnTo>
                      <a:pt x="1384" y="104"/>
                    </a:lnTo>
                    <a:lnTo>
                      <a:pt x="1376" y="104"/>
                    </a:lnTo>
                    <a:lnTo>
                      <a:pt x="1352" y="96"/>
                    </a:lnTo>
                    <a:lnTo>
                      <a:pt x="1360" y="96"/>
                    </a:lnTo>
                    <a:lnTo>
                      <a:pt x="1360" y="88"/>
                    </a:lnTo>
                    <a:lnTo>
                      <a:pt x="1344" y="88"/>
                    </a:lnTo>
                    <a:lnTo>
                      <a:pt x="1344" y="96"/>
                    </a:lnTo>
                    <a:lnTo>
                      <a:pt x="1280" y="96"/>
                    </a:lnTo>
                    <a:lnTo>
                      <a:pt x="1256" y="88"/>
                    </a:lnTo>
                    <a:lnTo>
                      <a:pt x="1232" y="80"/>
                    </a:lnTo>
                    <a:lnTo>
                      <a:pt x="1176" y="80"/>
                    </a:lnTo>
                    <a:lnTo>
                      <a:pt x="1128" y="64"/>
                    </a:lnTo>
                    <a:lnTo>
                      <a:pt x="1032" y="56"/>
                    </a:lnTo>
                    <a:lnTo>
                      <a:pt x="1032" y="64"/>
                    </a:lnTo>
                    <a:lnTo>
                      <a:pt x="1048" y="72"/>
                    </a:lnTo>
                    <a:lnTo>
                      <a:pt x="1008" y="64"/>
                    </a:lnTo>
                    <a:lnTo>
                      <a:pt x="1000" y="72"/>
                    </a:lnTo>
                    <a:lnTo>
                      <a:pt x="968" y="64"/>
                    </a:lnTo>
                    <a:lnTo>
                      <a:pt x="976" y="72"/>
                    </a:lnTo>
                    <a:lnTo>
                      <a:pt x="976" y="80"/>
                    </a:lnTo>
                    <a:lnTo>
                      <a:pt x="936" y="64"/>
                    </a:lnTo>
                    <a:lnTo>
                      <a:pt x="936" y="56"/>
                    </a:lnTo>
                    <a:lnTo>
                      <a:pt x="912" y="48"/>
                    </a:lnTo>
                    <a:lnTo>
                      <a:pt x="856" y="40"/>
                    </a:lnTo>
                    <a:lnTo>
                      <a:pt x="872" y="48"/>
                    </a:lnTo>
                    <a:lnTo>
                      <a:pt x="840" y="48"/>
                    </a:lnTo>
                    <a:lnTo>
                      <a:pt x="824" y="48"/>
                    </a:lnTo>
                    <a:lnTo>
                      <a:pt x="816" y="48"/>
                    </a:lnTo>
                    <a:lnTo>
                      <a:pt x="776" y="48"/>
                    </a:lnTo>
                    <a:lnTo>
                      <a:pt x="760" y="32"/>
                    </a:lnTo>
                    <a:lnTo>
                      <a:pt x="744" y="32"/>
                    </a:lnTo>
                    <a:lnTo>
                      <a:pt x="768" y="40"/>
                    </a:lnTo>
                    <a:lnTo>
                      <a:pt x="736" y="40"/>
                    </a:lnTo>
                    <a:lnTo>
                      <a:pt x="744" y="48"/>
                    </a:lnTo>
                    <a:lnTo>
                      <a:pt x="712" y="48"/>
                    </a:lnTo>
                    <a:lnTo>
                      <a:pt x="752" y="24"/>
                    </a:lnTo>
                    <a:lnTo>
                      <a:pt x="744" y="16"/>
                    </a:lnTo>
                    <a:lnTo>
                      <a:pt x="712" y="8"/>
                    </a:lnTo>
                    <a:lnTo>
                      <a:pt x="672" y="8"/>
                    </a:lnTo>
                    <a:lnTo>
                      <a:pt x="656" y="0"/>
                    </a:lnTo>
                    <a:lnTo>
                      <a:pt x="632" y="0"/>
                    </a:lnTo>
                    <a:lnTo>
                      <a:pt x="616" y="8"/>
                    </a:lnTo>
                    <a:lnTo>
                      <a:pt x="616" y="16"/>
                    </a:lnTo>
                    <a:lnTo>
                      <a:pt x="560" y="16"/>
                    </a:lnTo>
                    <a:lnTo>
                      <a:pt x="528" y="24"/>
                    </a:lnTo>
                    <a:lnTo>
                      <a:pt x="512" y="32"/>
                    </a:lnTo>
                    <a:lnTo>
                      <a:pt x="528" y="40"/>
                    </a:lnTo>
                    <a:lnTo>
                      <a:pt x="472" y="48"/>
                    </a:lnTo>
                    <a:lnTo>
                      <a:pt x="480" y="56"/>
                    </a:lnTo>
                    <a:lnTo>
                      <a:pt x="504" y="64"/>
                    </a:lnTo>
                    <a:lnTo>
                      <a:pt x="496" y="64"/>
                    </a:lnTo>
                    <a:lnTo>
                      <a:pt x="448" y="56"/>
                    </a:lnTo>
                    <a:lnTo>
                      <a:pt x="440" y="64"/>
                    </a:lnTo>
                    <a:lnTo>
                      <a:pt x="472" y="80"/>
                    </a:lnTo>
                    <a:lnTo>
                      <a:pt x="440" y="72"/>
                    </a:lnTo>
                    <a:lnTo>
                      <a:pt x="432" y="56"/>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23" name="Freeform 150">
                <a:extLst>
                  <a:ext uri="{FF2B5EF4-FFF2-40B4-BE49-F238E27FC236}">
                    <a16:creationId xmlns:a16="http://schemas.microsoft.com/office/drawing/2014/main" id="{E206E0DF-8E1B-EEB5-E449-992A20DBDF8D}"/>
                  </a:ext>
                </a:extLst>
              </p:cNvPr>
              <p:cNvSpPr>
                <a:spLocks/>
              </p:cNvSpPr>
              <p:nvPr/>
            </p:nvSpPr>
            <p:spPr bwMode="auto">
              <a:xfrm>
                <a:off x="3820" y="1944"/>
                <a:ext cx="224" cy="128"/>
              </a:xfrm>
              <a:custGeom>
                <a:avLst/>
                <a:gdLst>
                  <a:gd name="T0" fmla="*/ 152 w 224"/>
                  <a:gd name="T1" fmla="*/ 120 h 128"/>
                  <a:gd name="T2" fmla="*/ 168 w 224"/>
                  <a:gd name="T3" fmla="*/ 128 h 128"/>
                  <a:gd name="T4" fmla="*/ 176 w 224"/>
                  <a:gd name="T5" fmla="*/ 112 h 128"/>
                  <a:gd name="T6" fmla="*/ 168 w 224"/>
                  <a:gd name="T7" fmla="*/ 96 h 128"/>
                  <a:gd name="T8" fmla="*/ 160 w 224"/>
                  <a:gd name="T9" fmla="*/ 88 h 128"/>
                  <a:gd name="T10" fmla="*/ 176 w 224"/>
                  <a:gd name="T11" fmla="*/ 88 h 128"/>
                  <a:gd name="T12" fmla="*/ 176 w 224"/>
                  <a:gd name="T13" fmla="*/ 80 h 128"/>
                  <a:gd name="T14" fmla="*/ 176 w 224"/>
                  <a:gd name="T15" fmla="*/ 72 h 128"/>
                  <a:gd name="T16" fmla="*/ 192 w 224"/>
                  <a:gd name="T17" fmla="*/ 64 h 128"/>
                  <a:gd name="T18" fmla="*/ 192 w 224"/>
                  <a:gd name="T19" fmla="*/ 80 h 128"/>
                  <a:gd name="T20" fmla="*/ 200 w 224"/>
                  <a:gd name="T21" fmla="*/ 80 h 128"/>
                  <a:gd name="T22" fmla="*/ 208 w 224"/>
                  <a:gd name="T23" fmla="*/ 80 h 128"/>
                  <a:gd name="T24" fmla="*/ 224 w 224"/>
                  <a:gd name="T25" fmla="*/ 72 h 128"/>
                  <a:gd name="T26" fmla="*/ 200 w 224"/>
                  <a:gd name="T27" fmla="*/ 56 h 128"/>
                  <a:gd name="T28" fmla="*/ 200 w 224"/>
                  <a:gd name="T29" fmla="*/ 64 h 128"/>
                  <a:gd name="T30" fmla="*/ 184 w 224"/>
                  <a:gd name="T31" fmla="*/ 56 h 128"/>
                  <a:gd name="T32" fmla="*/ 192 w 224"/>
                  <a:gd name="T33" fmla="*/ 48 h 128"/>
                  <a:gd name="T34" fmla="*/ 168 w 224"/>
                  <a:gd name="T35" fmla="*/ 64 h 128"/>
                  <a:gd name="T36" fmla="*/ 144 w 224"/>
                  <a:gd name="T37" fmla="*/ 64 h 128"/>
                  <a:gd name="T38" fmla="*/ 144 w 224"/>
                  <a:gd name="T39" fmla="*/ 56 h 128"/>
                  <a:gd name="T40" fmla="*/ 136 w 224"/>
                  <a:gd name="T41" fmla="*/ 56 h 128"/>
                  <a:gd name="T42" fmla="*/ 128 w 224"/>
                  <a:gd name="T43" fmla="*/ 40 h 128"/>
                  <a:gd name="T44" fmla="*/ 112 w 224"/>
                  <a:gd name="T45" fmla="*/ 24 h 128"/>
                  <a:gd name="T46" fmla="*/ 80 w 224"/>
                  <a:gd name="T47" fmla="*/ 32 h 128"/>
                  <a:gd name="T48" fmla="*/ 32 w 224"/>
                  <a:gd name="T49" fmla="*/ 0 h 128"/>
                  <a:gd name="T50" fmla="*/ 0 w 224"/>
                  <a:gd name="T51" fmla="*/ 8 h 128"/>
                  <a:gd name="T52" fmla="*/ 16 w 224"/>
                  <a:gd name="T53" fmla="*/ 64 h 128"/>
                  <a:gd name="T54" fmla="*/ 24 w 224"/>
                  <a:gd name="T55" fmla="*/ 64 h 128"/>
                  <a:gd name="T56" fmla="*/ 24 w 224"/>
                  <a:gd name="T57" fmla="*/ 56 h 128"/>
                  <a:gd name="T58" fmla="*/ 32 w 224"/>
                  <a:gd name="T59" fmla="*/ 40 h 128"/>
                  <a:gd name="T60" fmla="*/ 40 w 224"/>
                  <a:gd name="T61" fmla="*/ 40 h 128"/>
                  <a:gd name="T62" fmla="*/ 56 w 224"/>
                  <a:gd name="T63" fmla="*/ 48 h 128"/>
                  <a:gd name="T64" fmla="*/ 64 w 224"/>
                  <a:gd name="T65" fmla="*/ 64 h 128"/>
                  <a:gd name="T66" fmla="*/ 88 w 224"/>
                  <a:gd name="T67" fmla="*/ 64 h 128"/>
                  <a:gd name="T68" fmla="*/ 96 w 224"/>
                  <a:gd name="T69" fmla="*/ 80 h 128"/>
                  <a:gd name="T70" fmla="*/ 136 w 224"/>
                  <a:gd name="T71" fmla="*/ 104 h 128"/>
                  <a:gd name="T72" fmla="*/ 152 w 224"/>
                  <a:gd name="T73" fmla="*/ 112 h 128"/>
                  <a:gd name="T74" fmla="*/ 152 w 224"/>
                  <a:gd name="T75"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4" h="128">
                    <a:moveTo>
                      <a:pt x="152" y="120"/>
                    </a:moveTo>
                    <a:lnTo>
                      <a:pt x="168" y="128"/>
                    </a:lnTo>
                    <a:lnTo>
                      <a:pt x="176" y="112"/>
                    </a:lnTo>
                    <a:lnTo>
                      <a:pt x="168" y="96"/>
                    </a:lnTo>
                    <a:lnTo>
                      <a:pt x="160" y="88"/>
                    </a:lnTo>
                    <a:lnTo>
                      <a:pt x="176" y="88"/>
                    </a:lnTo>
                    <a:lnTo>
                      <a:pt x="176" y="80"/>
                    </a:lnTo>
                    <a:lnTo>
                      <a:pt x="176" y="72"/>
                    </a:lnTo>
                    <a:lnTo>
                      <a:pt x="192" y="64"/>
                    </a:lnTo>
                    <a:lnTo>
                      <a:pt x="192" y="80"/>
                    </a:lnTo>
                    <a:lnTo>
                      <a:pt x="200" y="80"/>
                    </a:lnTo>
                    <a:lnTo>
                      <a:pt x="208" y="80"/>
                    </a:lnTo>
                    <a:lnTo>
                      <a:pt x="224" y="72"/>
                    </a:lnTo>
                    <a:lnTo>
                      <a:pt x="200" y="56"/>
                    </a:lnTo>
                    <a:lnTo>
                      <a:pt x="200" y="64"/>
                    </a:lnTo>
                    <a:lnTo>
                      <a:pt x="184" y="56"/>
                    </a:lnTo>
                    <a:lnTo>
                      <a:pt x="192" y="48"/>
                    </a:lnTo>
                    <a:lnTo>
                      <a:pt x="168" y="64"/>
                    </a:lnTo>
                    <a:lnTo>
                      <a:pt x="144" y="64"/>
                    </a:lnTo>
                    <a:lnTo>
                      <a:pt x="144" y="56"/>
                    </a:lnTo>
                    <a:lnTo>
                      <a:pt x="136" y="56"/>
                    </a:lnTo>
                    <a:lnTo>
                      <a:pt x="128" y="40"/>
                    </a:lnTo>
                    <a:lnTo>
                      <a:pt x="112" y="24"/>
                    </a:lnTo>
                    <a:lnTo>
                      <a:pt x="80" y="32"/>
                    </a:lnTo>
                    <a:lnTo>
                      <a:pt x="32" y="0"/>
                    </a:lnTo>
                    <a:lnTo>
                      <a:pt x="0" y="8"/>
                    </a:lnTo>
                    <a:lnTo>
                      <a:pt x="16" y="64"/>
                    </a:lnTo>
                    <a:lnTo>
                      <a:pt x="24" y="64"/>
                    </a:lnTo>
                    <a:lnTo>
                      <a:pt x="24" y="56"/>
                    </a:lnTo>
                    <a:lnTo>
                      <a:pt x="32" y="40"/>
                    </a:lnTo>
                    <a:lnTo>
                      <a:pt x="40" y="40"/>
                    </a:lnTo>
                    <a:lnTo>
                      <a:pt x="56" y="48"/>
                    </a:lnTo>
                    <a:lnTo>
                      <a:pt x="64" y="64"/>
                    </a:lnTo>
                    <a:lnTo>
                      <a:pt x="88" y="64"/>
                    </a:lnTo>
                    <a:lnTo>
                      <a:pt x="96" y="80"/>
                    </a:lnTo>
                    <a:lnTo>
                      <a:pt x="136" y="104"/>
                    </a:lnTo>
                    <a:lnTo>
                      <a:pt x="152" y="112"/>
                    </a:lnTo>
                    <a:lnTo>
                      <a:pt x="152" y="120"/>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24" name="Freeform 151">
                <a:extLst>
                  <a:ext uri="{FF2B5EF4-FFF2-40B4-BE49-F238E27FC236}">
                    <a16:creationId xmlns:a16="http://schemas.microsoft.com/office/drawing/2014/main" id="{F4CD235C-A583-3AE4-8AB9-3DF61B3BE8B6}"/>
                  </a:ext>
                </a:extLst>
              </p:cNvPr>
              <p:cNvSpPr>
                <a:spLocks/>
              </p:cNvSpPr>
              <p:nvPr/>
            </p:nvSpPr>
            <p:spPr bwMode="auto">
              <a:xfrm>
                <a:off x="3980" y="2008"/>
                <a:ext cx="96" cy="64"/>
              </a:xfrm>
              <a:custGeom>
                <a:avLst/>
                <a:gdLst>
                  <a:gd name="T0" fmla="*/ 16 w 96"/>
                  <a:gd name="T1" fmla="*/ 64 h 64"/>
                  <a:gd name="T2" fmla="*/ 32 w 96"/>
                  <a:gd name="T3" fmla="*/ 56 h 64"/>
                  <a:gd name="T4" fmla="*/ 40 w 96"/>
                  <a:gd name="T5" fmla="*/ 56 h 64"/>
                  <a:gd name="T6" fmla="*/ 48 w 96"/>
                  <a:gd name="T7" fmla="*/ 40 h 64"/>
                  <a:gd name="T8" fmla="*/ 56 w 96"/>
                  <a:gd name="T9" fmla="*/ 48 h 64"/>
                  <a:gd name="T10" fmla="*/ 64 w 96"/>
                  <a:gd name="T11" fmla="*/ 64 h 64"/>
                  <a:gd name="T12" fmla="*/ 80 w 96"/>
                  <a:gd name="T13" fmla="*/ 56 h 64"/>
                  <a:gd name="T14" fmla="*/ 96 w 96"/>
                  <a:gd name="T15" fmla="*/ 56 h 64"/>
                  <a:gd name="T16" fmla="*/ 96 w 96"/>
                  <a:gd name="T17" fmla="*/ 40 h 64"/>
                  <a:gd name="T18" fmla="*/ 88 w 96"/>
                  <a:gd name="T19" fmla="*/ 40 h 64"/>
                  <a:gd name="T20" fmla="*/ 80 w 96"/>
                  <a:gd name="T21" fmla="*/ 32 h 64"/>
                  <a:gd name="T22" fmla="*/ 80 w 96"/>
                  <a:gd name="T23" fmla="*/ 24 h 64"/>
                  <a:gd name="T24" fmla="*/ 56 w 96"/>
                  <a:gd name="T25" fmla="*/ 32 h 64"/>
                  <a:gd name="T26" fmla="*/ 48 w 96"/>
                  <a:gd name="T27" fmla="*/ 24 h 64"/>
                  <a:gd name="T28" fmla="*/ 24 w 96"/>
                  <a:gd name="T29" fmla="*/ 24 h 64"/>
                  <a:gd name="T30" fmla="*/ 24 w 96"/>
                  <a:gd name="T31" fmla="*/ 16 h 64"/>
                  <a:gd name="T32" fmla="*/ 32 w 96"/>
                  <a:gd name="T33" fmla="*/ 16 h 64"/>
                  <a:gd name="T34" fmla="*/ 40 w 96"/>
                  <a:gd name="T35" fmla="*/ 16 h 64"/>
                  <a:gd name="T36" fmla="*/ 32 w 96"/>
                  <a:gd name="T37" fmla="*/ 16 h 64"/>
                  <a:gd name="T38" fmla="*/ 32 w 96"/>
                  <a:gd name="T39" fmla="*/ 0 h 64"/>
                  <a:gd name="T40" fmla="*/ 16 w 96"/>
                  <a:gd name="T41" fmla="*/ 8 h 64"/>
                  <a:gd name="T42" fmla="*/ 16 w 96"/>
                  <a:gd name="T43" fmla="*/ 16 h 64"/>
                  <a:gd name="T44" fmla="*/ 16 w 96"/>
                  <a:gd name="T45" fmla="*/ 24 h 64"/>
                  <a:gd name="T46" fmla="*/ 0 w 96"/>
                  <a:gd name="T47" fmla="*/ 24 h 64"/>
                  <a:gd name="T48" fmla="*/ 8 w 96"/>
                  <a:gd name="T49" fmla="*/ 32 h 64"/>
                  <a:gd name="T50" fmla="*/ 16 w 96"/>
                  <a:gd name="T51" fmla="*/ 48 h 64"/>
                  <a:gd name="T52" fmla="*/ 8 w 96"/>
                  <a:gd name="T53" fmla="*/ 64 h 64"/>
                  <a:gd name="T54" fmla="*/ 16 w 96"/>
                  <a:gd name="T5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64">
                    <a:moveTo>
                      <a:pt x="16" y="64"/>
                    </a:moveTo>
                    <a:lnTo>
                      <a:pt x="32" y="56"/>
                    </a:lnTo>
                    <a:lnTo>
                      <a:pt x="40" y="56"/>
                    </a:lnTo>
                    <a:lnTo>
                      <a:pt x="48" y="40"/>
                    </a:lnTo>
                    <a:lnTo>
                      <a:pt x="56" y="48"/>
                    </a:lnTo>
                    <a:lnTo>
                      <a:pt x="64" y="64"/>
                    </a:lnTo>
                    <a:lnTo>
                      <a:pt x="80" y="56"/>
                    </a:lnTo>
                    <a:lnTo>
                      <a:pt x="96" y="56"/>
                    </a:lnTo>
                    <a:lnTo>
                      <a:pt x="96" y="40"/>
                    </a:lnTo>
                    <a:lnTo>
                      <a:pt x="88" y="40"/>
                    </a:lnTo>
                    <a:lnTo>
                      <a:pt x="80" y="32"/>
                    </a:lnTo>
                    <a:lnTo>
                      <a:pt x="80" y="24"/>
                    </a:lnTo>
                    <a:lnTo>
                      <a:pt x="56" y="32"/>
                    </a:lnTo>
                    <a:lnTo>
                      <a:pt x="48" y="24"/>
                    </a:lnTo>
                    <a:lnTo>
                      <a:pt x="24" y="24"/>
                    </a:lnTo>
                    <a:lnTo>
                      <a:pt x="24" y="16"/>
                    </a:lnTo>
                    <a:lnTo>
                      <a:pt x="32" y="16"/>
                    </a:lnTo>
                    <a:lnTo>
                      <a:pt x="40" y="16"/>
                    </a:lnTo>
                    <a:lnTo>
                      <a:pt x="32" y="16"/>
                    </a:lnTo>
                    <a:lnTo>
                      <a:pt x="32" y="0"/>
                    </a:lnTo>
                    <a:lnTo>
                      <a:pt x="16" y="8"/>
                    </a:lnTo>
                    <a:lnTo>
                      <a:pt x="16" y="16"/>
                    </a:lnTo>
                    <a:lnTo>
                      <a:pt x="16" y="24"/>
                    </a:lnTo>
                    <a:lnTo>
                      <a:pt x="0" y="24"/>
                    </a:lnTo>
                    <a:lnTo>
                      <a:pt x="8" y="32"/>
                    </a:lnTo>
                    <a:lnTo>
                      <a:pt x="16" y="48"/>
                    </a:lnTo>
                    <a:lnTo>
                      <a:pt x="8" y="64"/>
                    </a:lnTo>
                    <a:lnTo>
                      <a:pt x="16" y="64"/>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25" name="Freeform 152">
                <a:extLst>
                  <a:ext uri="{FF2B5EF4-FFF2-40B4-BE49-F238E27FC236}">
                    <a16:creationId xmlns:a16="http://schemas.microsoft.com/office/drawing/2014/main" id="{C769D1A4-E665-9DF8-1653-CE10C49440E9}"/>
                  </a:ext>
                </a:extLst>
              </p:cNvPr>
              <p:cNvSpPr>
                <a:spLocks/>
              </p:cNvSpPr>
              <p:nvPr/>
            </p:nvSpPr>
            <p:spPr bwMode="auto">
              <a:xfrm>
                <a:off x="4004" y="1976"/>
                <a:ext cx="120" cy="64"/>
              </a:xfrm>
              <a:custGeom>
                <a:avLst/>
                <a:gdLst>
                  <a:gd name="T0" fmla="*/ 16 w 120"/>
                  <a:gd name="T1" fmla="*/ 48 h 64"/>
                  <a:gd name="T2" fmla="*/ 8 w 120"/>
                  <a:gd name="T3" fmla="*/ 48 h 64"/>
                  <a:gd name="T4" fmla="*/ 0 w 120"/>
                  <a:gd name="T5" fmla="*/ 48 h 64"/>
                  <a:gd name="T6" fmla="*/ 0 w 120"/>
                  <a:gd name="T7" fmla="*/ 56 h 64"/>
                  <a:gd name="T8" fmla="*/ 24 w 120"/>
                  <a:gd name="T9" fmla="*/ 56 h 64"/>
                  <a:gd name="T10" fmla="*/ 32 w 120"/>
                  <a:gd name="T11" fmla="*/ 64 h 64"/>
                  <a:gd name="T12" fmla="*/ 56 w 120"/>
                  <a:gd name="T13" fmla="*/ 56 h 64"/>
                  <a:gd name="T14" fmla="*/ 56 w 120"/>
                  <a:gd name="T15" fmla="*/ 48 h 64"/>
                  <a:gd name="T16" fmla="*/ 64 w 120"/>
                  <a:gd name="T17" fmla="*/ 40 h 64"/>
                  <a:gd name="T18" fmla="*/ 88 w 120"/>
                  <a:gd name="T19" fmla="*/ 40 h 64"/>
                  <a:gd name="T20" fmla="*/ 88 w 120"/>
                  <a:gd name="T21" fmla="*/ 32 h 64"/>
                  <a:gd name="T22" fmla="*/ 104 w 120"/>
                  <a:gd name="T23" fmla="*/ 32 h 64"/>
                  <a:gd name="T24" fmla="*/ 120 w 120"/>
                  <a:gd name="T25" fmla="*/ 24 h 64"/>
                  <a:gd name="T26" fmla="*/ 120 w 120"/>
                  <a:gd name="T27" fmla="*/ 16 h 64"/>
                  <a:gd name="T28" fmla="*/ 104 w 120"/>
                  <a:gd name="T29" fmla="*/ 8 h 64"/>
                  <a:gd name="T30" fmla="*/ 56 w 120"/>
                  <a:gd name="T31" fmla="*/ 8 h 64"/>
                  <a:gd name="T32" fmla="*/ 40 w 120"/>
                  <a:gd name="T33" fmla="*/ 0 h 64"/>
                  <a:gd name="T34" fmla="*/ 40 w 120"/>
                  <a:gd name="T35" fmla="*/ 8 h 64"/>
                  <a:gd name="T36" fmla="*/ 32 w 120"/>
                  <a:gd name="T37" fmla="*/ 16 h 64"/>
                  <a:gd name="T38" fmla="*/ 8 w 120"/>
                  <a:gd name="T39" fmla="*/ 8 h 64"/>
                  <a:gd name="T40" fmla="*/ 8 w 120"/>
                  <a:gd name="T41" fmla="*/ 16 h 64"/>
                  <a:gd name="T42" fmla="*/ 0 w 120"/>
                  <a:gd name="T43" fmla="*/ 24 h 64"/>
                  <a:gd name="T44" fmla="*/ 16 w 120"/>
                  <a:gd name="T45" fmla="*/ 32 h 64"/>
                  <a:gd name="T46" fmla="*/ 16 w 120"/>
                  <a:gd name="T47" fmla="*/ 24 h 64"/>
                  <a:gd name="T48" fmla="*/ 40 w 120"/>
                  <a:gd name="T49" fmla="*/ 40 h 64"/>
                  <a:gd name="T50" fmla="*/ 24 w 120"/>
                  <a:gd name="T51" fmla="*/ 48 h 64"/>
                  <a:gd name="T52" fmla="*/ 16 w 120"/>
                  <a:gd name="T53" fmla="*/ 4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64">
                    <a:moveTo>
                      <a:pt x="16" y="48"/>
                    </a:moveTo>
                    <a:lnTo>
                      <a:pt x="8" y="48"/>
                    </a:lnTo>
                    <a:lnTo>
                      <a:pt x="0" y="48"/>
                    </a:lnTo>
                    <a:lnTo>
                      <a:pt x="0" y="56"/>
                    </a:lnTo>
                    <a:lnTo>
                      <a:pt x="24" y="56"/>
                    </a:lnTo>
                    <a:lnTo>
                      <a:pt x="32" y="64"/>
                    </a:lnTo>
                    <a:lnTo>
                      <a:pt x="56" y="56"/>
                    </a:lnTo>
                    <a:lnTo>
                      <a:pt x="56" y="48"/>
                    </a:lnTo>
                    <a:lnTo>
                      <a:pt x="64" y="40"/>
                    </a:lnTo>
                    <a:lnTo>
                      <a:pt x="88" y="40"/>
                    </a:lnTo>
                    <a:lnTo>
                      <a:pt x="88" y="32"/>
                    </a:lnTo>
                    <a:lnTo>
                      <a:pt x="104" y="32"/>
                    </a:lnTo>
                    <a:lnTo>
                      <a:pt x="120" y="24"/>
                    </a:lnTo>
                    <a:lnTo>
                      <a:pt x="120" y="16"/>
                    </a:lnTo>
                    <a:lnTo>
                      <a:pt x="104" y="8"/>
                    </a:lnTo>
                    <a:lnTo>
                      <a:pt x="56" y="8"/>
                    </a:lnTo>
                    <a:lnTo>
                      <a:pt x="40" y="0"/>
                    </a:lnTo>
                    <a:lnTo>
                      <a:pt x="40" y="8"/>
                    </a:lnTo>
                    <a:lnTo>
                      <a:pt x="32" y="16"/>
                    </a:lnTo>
                    <a:lnTo>
                      <a:pt x="8" y="8"/>
                    </a:lnTo>
                    <a:lnTo>
                      <a:pt x="8" y="16"/>
                    </a:lnTo>
                    <a:lnTo>
                      <a:pt x="0" y="24"/>
                    </a:lnTo>
                    <a:lnTo>
                      <a:pt x="16" y="32"/>
                    </a:lnTo>
                    <a:lnTo>
                      <a:pt x="16" y="24"/>
                    </a:lnTo>
                    <a:lnTo>
                      <a:pt x="40" y="40"/>
                    </a:lnTo>
                    <a:lnTo>
                      <a:pt x="24" y="48"/>
                    </a:lnTo>
                    <a:lnTo>
                      <a:pt x="16" y="48"/>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26" name="Freeform 153">
                <a:extLst>
                  <a:ext uri="{FF2B5EF4-FFF2-40B4-BE49-F238E27FC236}">
                    <a16:creationId xmlns:a16="http://schemas.microsoft.com/office/drawing/2014/main" id="{F0644E60-05B7-BB11-80D6-8C9B48CCA35B}"/>
                  </a:ext>
                </a:extLst>
              </p:cNvPr>
              <p:cNvSpPr>
                <a:spLocks/>
              </p:cNvSpPr>
              <p:nvPr/>
            </p:nvSpPr>
            <p:spPr bwMode="auto">
              <a:xfrm>
                <a:off x="3788" y="1984"/>
                <a:ext cx="184" cy="112"/>
              </a:xfrm>
              <a:custGeom>
                <a:avLst/>
                <a:gdLst>
                  <a:gd name="T0" fmla="*/ 48 w 184"/>
                  <a:gd name="T1" fmla="*/ 24 h 112"/>
                  <a:gd name="T2" fmla="*/ 56 w 184"/>
                  <a:gd name="T3" fmla="*/ 24 h 112"/>
                  <a:gd name="T4" fmla="*/ 56 w 184"/>
                  <a:gd name="T5" fmla="*/ 16 h 112"/>
                  <a:gd name="T6" fmla="*/ 64 w 184"/>
                  <a:gd name="T7" fmla="*/ 0 h 112"/>
                  <a:gd name="T8" fmla="*/ 72 w 184"/>
                  <a:gd name="T9" fmla="*/ 0 h 112"/>
                  <a:gd name="T10" fmla="*/ 88 w 184"/>
                  <a:gd name="T11" fmla="*/ 8 h 112"/>
                  <a:gd name="T12" fmla="*/ 96 w 184"/>
                  <a:gd name="T13" fmla="*/ 24 h 112"/>
                  <a:gd name="T14" fmla="*/ 120 w 184"/>
                  <a:gd name="T15" fmla="*/ 24 h 112"/>
                  <a:gd name="T16" fmla="*/ 128 w 184"/>
                  <a:gd name="T17" fmla="*/ 40 h 112"/>
                  <a:gd name="T18" fmla="*/ 168 w 184"/>
                  <a:gd name="T19" fmla="*/ 64 h 112"/>
                  <a:gd name="T20" fmla="*/ 184 w 184"/>
                  <a:gd name="T21" fmla="*/ 72 h 112"/>
                  <a:gd name="T22" fmla="*/ 184 w 184"/>
                  <a:gd name="T23" fmla="*/ 80 h 112"/>
                  <a:gd name="T24" fmla="*/ 176 w 184"/>
                  <a:gd name="T25" fmla="*/ 80 h 112"/>
                  <a:gd name="T26" fmla="*/ 168 w 184"/>
                  <a:gd name="T27" fmla="*/ 80 h 112"/>
                  <a:gd name="T28" fmla="*/ 168 w 184"/>
                  <a:gd name="T29" fmla="*/ 96 h 112"/>
                  <a:gd name="T30" fmla="*/ 152 w 184"/>
                  <a:gd name="T31" fmla="*/ 104 h 112"/>
                  <a:gd name="T32" fmla="*/ 144 w 184"/>
                  <a:gd name="T33" fmla="*/ 112 h 112"/>
                  <a:gd name="T34" fmla="*/ 128 w 184"/>
                  <a:gd name="T35" fmla="*/ 104 h 112"/>
                  <a:gd name="T36" fmla="*/ 128 w 184"/>
                  <a:gd name="T37" fmla="*/ 96 h 112"/>
                  <a:gd name="T38" fmla="*/ 64 w 184"/>
                  <a:gd name="T39" fmla="*/ 64 h 112"/>
                  <a:gd name="T40" fmla="*/ 48 w 184"/>
                  <a:gd name="T41" fmla="*/ 72 h 112"/>
                  <a:gd name="T42" fmla="*/ 32 w 184"/>
                  <a:gd name="T43" fmla="*/ 80 h 112"/>
                  <a:gd name="T44" fmla="*/ 24 w 184"/>
                  <a:gd name="T45" fmla="*/ 56 h 112"/>
                  <a:gd name="T46" fmla="*/ 16 w 184"/>
                  <a:gd name="T47" fmla="*/ 40 h 112"/>
                  <a:gd name="T48" fmla="*/ 8 w 184"/>
                  <a:gd name="T49" fmla="*/ 40 h 112"/>
                  <a:gd name="T50" fmla="*/ 8 w 184"/>
                  <a:gd name="T51" fmla="*/ 32 h 112"/>
                  <a:gd name="T52" fmla="*/ 24 w 184"/>
                  <a:gd name="T53" fmla="*/ 32 h 112"/>
                  <a:gd name="T54" fmla="*/ 32 w 184"/>
                  <a:gd name="T55" fmla="*/ 24 h 112"/>
                  <a:gd name="T56" fmla="*/ 16 w 184"/>
                  <a:gd name="T57" fmla="*/ 8 h 112"/>
                  <a:gd name="T58" fmla="*/ 8 w 184"/>
                  <a:gd name="T59" fmla="*/ 8 h 112"/>
                  <a:gd name="T60" fmla="*/ 8 w 184"/>
                  <a:gd name="T61" fmla="*/ 24 h 112"/>
                  <a:gd name="T62" fmla="*/ 0 w 184"/>
                  <a:gd name="T63" fmla="*/ 16 h 112"/>
                  <a:gd name="T64" fmla="*/ 8 w 184"/>
                  <a:gd name="T65" fmla="*/ 8 h 112"/>
                  <a:gd name="T66" fmla="*/ 16 w 184"/>
                  <a:gd name="T67" fmla="*/ 8 h 112"/>
                  <a:gd name="T68" fmla="*/ 40 w 184"/>
                  <a:gd name="T69" fmla="*/ 24 h 112"/>
                  <a:gd name="T70" fmla="*/ 48 w 184"/>
                  <a:gd name="T71" fmla="*/ 2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4" h="112">
                    <a:moveTo>
                      <a:pt x="48" y="24"/>
                    </a:moveTo>
                    <a:lnTo>
                      <a:pt x="56" y="24"/>
                    </a:lnTo>
                    <a:lnTo>
                      <a:pt x="56" y="16"/>
                    </a:lnTo>
                    <a:lnTo>
                      <a:pt x="64" y="0"/>
                    </a:lnTo>
                    <a:lnTo>
                      <a:pt x="72" y="0"/>
                    </a:lnTo>
                    <a:lnTo>
                      <a:pt x="88" y="8"/>
                    </a:lnTo>
                    <a:lnTo>
                      <a:pt x="96" y="24"/>
                    </a:lnTo>
                    <a:lnTo>
                      <a:pt x="120" y="24"/>
                    </a:lnTo>
                    <a:lnTo>
                      <a:pt x="128" y="40"/>
                    </a:lnTo>
                    <a:lnTo>
                      <a:pt x="168" y="64"/>
                    </a:lnTo>
                    <a:lnTo>
                      <a:pt x="184" y="72"/>
                    </a:lnTo>
                    <a:lnTo>
                      <a:pt x="184" y="80"/>
                    </a:lnTo>
                    <a:lnTo>
                      <a:pt x="176" y="80"/>
                    </a:lnTo>
                    <a:lnTo>
                      <a:pt x="168" y="80"/>
                    </a:lnTo>
                    <a:lnTo>
                      <a:pt x="168" y="96"/>
                    </a:lnTo>
                    <a:lnTo>
                      <a:pt x="152" y="104"/>
                    </a:lnTo>
                    <a:lnTo>
                      <a:pt x="144" y="112"/>
                    </a:lnTo>
                    <a:lnTo>
                      <a:pt x="128" y="104"/>
                    </a:lnTo>
                    <a:lnTo>
                      <a:pt x="128" y="96"/>
                    </a:lnTo>
                    <a:lnTo>
                      <a:pt x="64" y="64"/>
                    </a:lnTo>
                    <a:lnTo>
                      <a:pt x="48" y="72"/>
                    </a:lnTo>
                    <a:lnTo>
                      <a:pt x="32" y="80"/>
                    </a:lnTo>
                    <a:lnTo>
                      <a:pt x="24" y="56"/>
                    </a:lnTo>
                    <a:lnTo>
                      <a:pt x="16" y="40"/>
                    </a:lnTo>
                    <a:lnTo>
                      <a:pt x="8" y="40"/>
                    </a:lnTo>
                    <a:lnTo>
                      <a:pt x="8" y="32"/>
                    </a:lnTo>
                    <a:lnTo>
                      <a:pt x="24" y="32"/>
                    </a:lnTo>
                    <a:lnTo>
                      <a:pt x="32" y="24"/>
                    </a:lnTo>
                    <a:lnTo>
                      <a:pt x="16" y="8"/>
                    </a:lnTo>
                    <a:lnTo>
                      <a:pt x="8" y="8"/>
                    </a:lnTo>
                    <a:lnTo>
                      <a:pt x="8" y="24"/>
                    </a:lnTo>
                    <a:lnTo>
                      <a:pt x="0" y="16"/>
                    </a:lnTo>
                    <a:lnTo>
                      <a:pt x="8" y="8"/>
                    </a:lnTo>
                    <a:lnTo>
                      <a:pt x="16" y="8"/>
                    </a:lnTo>
                    <a:lnTo>
                      <a:pt x="40" y="24"/>
                    </a:lnTo>
                    <a:lnTo>
                      <a:pt x="48" y="24"/>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27" name="Freeform 154">
                <a:extLst>
                  <a:ext uri="{FF2B5EF4-FFF2-40B4-BE49-F238E27FC236}">
                    <a16:creationId xmlns:a16="http://schemas.microsoft.com/office/drawing/2014/main" id="{9F88796B-49BE-1EDE-21CA-7FAE9B8B3CDE}"/>
                  </a:ext>
                </a:extLst>
              </p:cNvPr>
              <p:cNvSpPr>
                <a:spLocks/>
              </p:cNvSpPr>
              <p:nvPr/>
            </p:nvSpPr>
            <p:spPr bwMode="auto">
              <a:xfrm>
                <a:off x="3420" y="1784"/>
                <a:ext cx="104" cy="72"/>
              </a:xfrm>
              <a:custGeom>
                <a:avLst/>
                <a:gdLst>
                  <a:gd name="T0" fmla="*/ 8 w 104"/>
                  <a:gd name="T1" fmla="*/ 48 h 72"/>
                  <a:gd name="T2" fmla="*/ 0 w 104"/>
                  <a:gd name="T3" fmla="*/ 64 h 72"/>
                  <a:gd name="T4" fmla="*/ 8 w 104"/>
                  <a:gd name="T5" fmla="*/ 72 h 72"/>
                  <a:gd name="T6" fmla="*/ 32 w 104"/>
                  <a:gd name="T7" fmla="*/ 64 h 72"/>
                  <a:gd name="T8" fmla="*/ 56 w 104"/>
                  <a:gd name="T9" fmla="*/ 72 h 72"/>
                  <a:gd name="T10" fmla="*/ 72 w 104"/>
                  <a:gd name="T11" fmla="*/ 72 h 72"/>
                  <a:gd name="T12" fmla="*/ 88 w 104"/>
                  <a:gd name="T13" fmla="*/ 72 h 72"/>
                  <a:gd name="T14" fmla="*/ 88 w 104"/>
                  <a:gd name="T15" fmla="*/ 64 h 72"/>
                  <a:gd name="T16" fmla="*/ 96 w 104"/>
                  <a:gd name="T17" fmla="*/ 64 h 72"/>
                  <a:gd name="T18" fmla="*/ 88 w 104"/>
                  <a:gd name="T19" fmla="*/ 48 h 72"/>
                  <a:gd name="T20" fmla="*/ 104 w 104"/>
                  <a:gd name="T21" fmla="*/ 48 h 72"/>
                  <a:gd name="T22" fmla="*/ 104 w 104"/>
                  <a:gd name="T23" fmla="*/ 40 h 72"/>
                  <a:gd name="T24" fmla="*/ 96 w 104"/>
                  <a:gd name="T25" fmla="*/ 40 h 72"/>
                  <a:gd name="T26" fmla="*/ 88 w 104"/>
                  <a:gd name="T27" fmla="*/ 24 h 72"/>
                  <a:gd name="T28" fmla="*/ 80 w 104"/>
                  <a:gd name="T29" fmla="*/ 8 h 72"/>
                  <a:gd name="T30" fmla="*/ 56 w 104"/>
                  <a:gd name="T31" fmla="*/ 0 h 72"/>
                  <a:gd name="T32" fmla="*/ 40 w 104"/>
                  <a:gd name="T33" fmla="*/ 8 h 72"/>
                  <a:gd name="T34" fmla="*/ 40 w 104"/>
                  <a:gd name="T35" fmla="*/ 16 h 72"/>
                  <a:gd name="T36" fmla="*/ 24 w 104"/>
                  <a:gd name="T37" fmla="*/ 24 h 72"/>
                  <a:gd name="T38" fmla="*/ 32 w 104"/>
                  <a:gd name="T39" fmla="*/ 32 h 72"/>
                  <a:gd name="T40" fmla="*/ 0 w 104"/>
                  <a:gd name="T41" fmla="*/ 32 h 72"/>
                  <a:gd name="T42" fmla="*/ 8 w 104"/>
                  <a:gd name="T43" fmla="*/ 4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72">
                    <a:moveTo>
                      <a:pt x="8" y="48"/>
                    </a:moveTo>
                    <a:lnTo>
                      <a:pt x="0" y="64"/>
                    </a:lnTo>
                    <a:lnTo>
                      <a:pt x="8" y="72"/>
                    </a:lnTo>
                    <a:lnTo>
                      <a:pt x="32" y="64"/>
                    </a:lnTo>
                    <a:lnTo>
                      <a:pt x="56" y="72"/>
                    </a:lnTo>
                    <a:lnTo>
                      <a:pt x="72" y="72"/>
                    </a:lnTo>
                    <a:lnTo>
                      <a:pt x="88" y="72"/>
                    </a:lnTo>
                    <a:lnTo>
                      <a:pt x="88" y="64"/>
                    </a:lnTo>
                    <a:lnTo>
                      <a:pt x="96" y="64"/>
                    </a:lnTo>
                    <a:lnTo>
                      <a:pt x="88" y="48"/>
                    </a:lnTo>
                    <a:lnTo>
                      <a:pt x="104" y="48"/>
                    </a:lnTo>
                    <a:lnTo>
                      <a:pt x="104" y="40"/>
                    </a:lnTo>
                    <a:lnTo>
                      <a:pt x="96" y="40"/>
                    </a:lnTo>
                    <a:lnTo>
                      <a:pt x="88" y="24"/>
                    </a:lnTo>
                    <a:lnTo>
                      <a:pt x="80" y="8"/>
                    </a:lnTo>
                    <a:lnTo>
                      <a:pt x="56" y="0"/>
                    </a:lnTo>
                    <a:lnTo>
                      <a:pt x="40" y="8"/>
                    </a:lnTo>
                    <a:lnTo>
                      <a:pt x="40" y="16"/>
                    </a:lnTo>
                    <a:lnTo>
                      <a:pt x="24" y="24"/>
                    </a:lnTo>
                    <a:lnTo>
                      <a:pt x="32" y="32"/>
                    </a:lnTo>
                    <a:lnTo>
                      <a:pt x="0" y="32"/>
                    </a:lnTo>
                    <a:lnTo>
                      <a:pt x="8" y="48"/>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28" name="Freeform 155">
                <a:extLst>
                  <a:ext uri="{FF2B5EF4-FFF2-40B4-BE49-F238E27FC236}">
                    <a16:creationId xmlns:a16="http://schemas.microsoft.com/office/drawing/2014/main" id="{871AC291-9F76-018E-8E77-1FCA545094B4}"/>
                  </a:ext>
                </a:extLst>
              </p:cNvPr>
              <p:cNvSpPr>
                <a:spLocks/>
              </p:cNvSpPr>
              <p:nvPr/>
            </p:nvSpPr>
            <p:spPr bwMode="auto">
              <a:xfrm>
                <a:off x="3420" y="1736"/>
                <a:ext cx="48" cy="32"/>
              </a:xfrm>
              <a:custGeom>
                <a:avLst/>
                <a:gdLst>
                  <a:gd name="T0" fmla="*/ 8 w 48"/>
                  <a:gd name="T1" fmla="*/ 24 h 32"/>
                  <a:gd name="T2" fmla="*/ 0 w 48"/>
                  <a:gd name="T3" fmla="*/ 24 h 32"/>
                  <a:gd name="T4" fmla="*/ 0 w 48"/>
                  <a:gd name="T5" fmla="*/ 8 h 32"/>
                  <a:gd name="T6" fmla="*/ 24 w 48"/>
                  <a:gd name="T7" fmla="*/ 0 h 32"/>
                  <a:gd name="T8" fmla="*/ 48 w 48"/>
                  <a:gd name="T9" fmla="*/ 8 h 32"/>
                  <a:gd name="T10" fmla="*/ 40 w 48"/>
                  <a:gd name="T11" fmla="*/ 8 h 32"/>
                  <a:gd name="T12" fmla="*/ 32 w 48"/>
                  <a:gd name="T13" fmla="*/ 16 h 32"/>
                  <a:gd name="T14" fmla="*/ 40 w 48"/>
                  <a:gd name="T15" fmla="*/ 24 h 32"/>
                  <a:gd name="T16" fmla="*/ 40 w 48"/>
                  <a:gd name="T17" fmla="*/ 32 h 32"/>
                  <a:gd name="T18" fmla="*/ 16 w 48"/>
                  <a:gd name="T19" fmla="*/ 24 h 32"/>
                  <a:gd name="T20" fmla="*/ 8 w 48"/>
                  <a:gd name="T21"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32">
                    <a:moveTo>
                      <a:pt x="8" y="24"/>
                    </a:moveTo>
                    <a:lnTo>
                      <a:pt x="0" y="24"/>
                    </a:lnTo>
                    <a:lnTo>
                      <a:pt x="0" y="8"/>
                    </a:lnTo>
                    <a:lnTo>
                      <a:pt x="24" y="0"/>
                    </a:lnTo>
                    <a:lnTo>
                      <a:pt x="48" y="8"/>
                    </a:lnTo>
                    <a:lnTo>
                      <a:pt x="40" y="8"/>
                    </a:lnTo>
                    <a:lnTo>
                      <a:pt x="32" y="16"/>
                    </a:lnTo>
                    <a:lnTo>
                      <a:pt x="40" y="24"/>
                    </a:lnTo>
                    <a:lnTo>
                      <a:pt x="40" y="32"/>
                    </a:lnTo>
                    <a:lnTo>
                      <a:pt x="16" y="24"/>
                    </a:lnTo>
                    <a:lnTo>
                      <a:pt x="8" y="24"/>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29" name="Freeform 156">
                <a:extLst>
                  <a:ext uri="{FF2B5EF4-FFF2-40B4-BE49-F238E27FC236}">
                    <a16:creationId xmlns:a16="http://schemas.microsoft.com/office/drawing/2014/main" id="{73FAC9EE-78BF-6E6E-4508-46066DF4F524}"/>
                  </a:ext>
                </a:extLst>
              </p:cNvPr>
              <p:cNvSpPr>
                <a:spLocks/>
              </p:cNvSpPr>
              <p:nvPr/>
            </p:nvSpPr>
            <p:spPr bwMode="auto">
              <a:xfrm>
                <a:off x="3396" y="1760"/>
                <a:ext cx="80" cy="32"/>
              </a:xfrm>
              <a:custGeom>
                <a:avLst/>
                <a:gdLst>
                  <a:gd name="T0" fmla="*/ 0 w 80"/>
                  <a:gd name="T1" fmla="*/ 32 h 32"/>
                  <a:gd name="T2" fmla="*/ 0 w 80"/>
                  <a:gd name="T3" fmla="*/ 16 h 32"/>
                  <a:gd name="T4" fmla="*/ 0 w 80"/>
                  <a:gd name="T5" fmla="*/ 8 h 32"/>
                  <a:gd name="T6" fmla="*/ 8 w 80"/>
                  <a:gd name="T7" fmla="*/ 8 h 32"/>
                  <a:gd name="T8" fmla="*/ 24 w 80"/>
                  <a:gd name="T9" fmla="*/ 16 h 32"/>
                  <a:gd name="T10" fmla="*/ 32 w 80"/>
                  <a:gd name="T11" fmla="*/ 16 h 32"/>
                  <a:gd name="T12" fmla="*/ 32 w 80"/>
                  <a:gd name="T13" fmla="*/ 0 h 32"/>
                  <a:gd name="T14" fmla="*/ 40 w 80"/>
                  <a:gd name="T15" fmla="*/ 0 h 32"/>
                  <a:gd name="T16" fmla="*/ 64 w 80"/>
                  <a:gd name="T17" fmla="*/ 8 h 32"/>
                  <a:gd name="T18" fmla="*/ 80 w 80"/>
                  <a:gd name="T19" fmla="*/ 24 h 32"/>
                  <a:gd name="T20" fmla="*/ 64 w 80"/>
                  <a:gd name="T21" fmla="*/ 32 h 32"/>
                  <a:gd name="T22" fmla="*/ 40 w 80"/>
                  <a:gd name="T23" fmla="*/ 24 h 32"/>
                  <a:gd name="T24" fmla="*/ 8 w 80"/>
                  <a:gd name="T25" fmla="*/ 24 h 32"/>
                  <a:gd name="T26" fmla="*/ 0 w 80"/>
                  <a:gd name="T2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32">
                    <a:moveTo>
                      <a:pt x="0" y="32"/>
                    </a:moveTo>
                    <a:lnTo>
                      <a:pt x="0" y="16"/>
                    </a:lnTo>
                    <a:lnTo>
                      <a:pt x="0" y="8"/>
                    </a:lnTo>
                    <a:lnTo>
                      <a:pt x="8" y="8"/>
                    </a:lnTo>
                    <a:lnTo>
                      <a:pt x="24" y="16"/>
                    </a:lnTo>
                    <a:lnTo>
                      <a:pt x="32" y="16"/>
                    </a:lnTo>
                    <a:lnTo>
                      <a:pt x="32" y="0"/>
                    </a:lnTo>
                    <a:lnTo>
                      <a:pt x="40" y="0"/>
                    </a:lnTo>
                    <a:lnTo>
                      <a:pt x="64" y="8"/>
                    </a:lnTo>
                    <a:lnTo>
                      <a:pt x="80" y="24"/>
                    </a:lnTo>
                    <a:lnTo>
                      <a:pt x="64" y="32"/>
                    </a:lnTo>
                    <a:lnTo>
                      <a:pt x="40" y="24"/>
                    </a:lnTo>
                    <a:lnTo>
                      <a:pt x="8" y="24"/>
                    </a:lnTo>
                    <a:lnTo>
                      <a:pt x="0" y="32"/>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30" name="Freeform 157">
                <a:extLst>
                  <a:ext uri="{FF2B5EF4-FFF2-40B4-BE49-F238E27FC236}">
                    <a16:creationId xmlns:a16="http://schemas.microsoft.com/office/drawing/2014/main" id="{CE3E7E7B-C51F-722C-1B2B-66F06EE0E418}"/>
                  </a:ext>
                </a:extLst>
              </p:cNvPr>
              <p:cNvSpPr>
                <a:spLocks/>
              </p:cNvSpPr>
              <p:nvPr/>
            </p:nvSpPr>
            <p:spPr bwMode="auto">
              <a:xfrm>
                <a:off x="3388" y="1784"/>
                <a:ext cx="72" cy="32"/>
              </a:xfrm>
              <a:custGeom>
                <a:avLst/>
                <a:gdLst>
                  <a:gd name="T0" fmla="*/ 32 w 72"/>
                  <a:gd name="T1" fmla="*/ 32 h 32"/>
                  <a:gd name="T2" fmla="*/ 24 w 72"/>
                  <a:gd name="T3" fmla="*/ 32 h 32"/>
                  <a:gd name="T4" fmla="*/ 24 w 72"/>
                  <a:gd name="T5" fmla="*/ 16 h 32"/>
                  <a:gd name="T6" fmla="*/ 0 w 72"/>
                  <a:gd name="T7" fmla="*/ 16 h 32"/>
                  <a:gd name="T8" fmla="*/ 8 w 72"/>
                  <a:gd name="T9" fmla="*/ 8 h 32"/>
                  <a:gd name="T10" fmla="*/ 16 w 72"/>
                  <a:gd name="T11" fmla="*/ 0 h 32"/>
                  <a:gd name="T12" fmla="*/ 48 w 72"/>
                  <a:gd name="T13" fmla="*/ 0 h 32"/>
                  <a:gd name="T14" fmla="*/ 72 w 72"/>
                  <a:gd name="T15" fmla="*/ 8 h 32"/>
                  <a:gd name="T16" fmla="*/ 72 w 72"/>
                  <a:gd name="T17" fmla="*/ 16 h 32"/>
                  <a:gd name="T18" fmla="*/ 56 w 72"/>
                  <a:gd name="T19" fmla="*/ 24 h 32"/>
                  <a:gd name="T20" fmla="*/ 64 w 72"/>
                  <a:gd name="T21" fmla="*/ 32 h 32"/>
                  <a:gd name="T22" fmla="*/ 32 w 72"/>
                  <a:gd name="T2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32">
                    <a:moveTo>
                      <a:pt x="32" y="32"/>
                    </a:moveTo>
                    <a:lnTo>
                      <a:pt x="24" y="32"/>
                    </a:lnTo>
                    <a:lnTo>
                      <a:pt x="24" y="16"/>
                    </a:lnTo>
                    <a:lnTo>
                      <a:pt x="0" y="16"/>
                    </a:lnTo>
                    <a:lnTo>
                      <a:pt x="8" y="8"/>
                    </a:lnTo>
                    <a:lnTo>
                      <a:pt x="16" y="0"/>
                    </a:lnTo>
                    <a:lnTo>
                      <a:pt x="48" y="0"/>
                    </a:lnTo>
                    <a:lnTo>
                      <a:pt x="72" y="8"/>
                    </a:lnTo>
                    <a:lnTo>
                      <a:pt x="72" y="16"/>
                    </a:lnTo>
                    <a:lnTo>
                      <a:pt x="56" y="24"/>
                    </a:lnTo>
                    <a:lnTo>
                      <a:pt x="64" y="32"/>
                    </a:lnTo>
                    <a:lnTo>
                      <a:pt x="32" y="32"/>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31" name="Freeform 158">
                <a:extLst>
                  <a:ext uri="{FF2B5EF4-FFF2-40B4-BE49-F238E27FC236}">
                    <a16:creationId xmlns:a16="http://schemas.microsoft.com/office/drawing/2014/main" id="{4A5F8006-3142-E26B-9222-2365ACD384F0}"/>
                  </a:ext>
                </a:extLst>
              </p:cNvPr>
              <p:cNvSpPr>
                <a:spLocks/>
              </p:cNvSpPr>
              <p:nvPr/>
            </p:nvSpPr>
            <p:spPr bwMode="auto">
              <a:xfrm>
                <a:off x="3380" y="1800"/>
                <a:ext cx="32" cy="16"/>
              </a:xfrm>
              <a:custGeom>
                <a:avLst/>
                <a:gdLst>
                  <a:gd name="T0" fmla="*/ 0 w 32"/>
                  <a:gd name="T1" fmla="*/ 8 h 16"/>
                  <a:gd name="T2" fmla="*/ 32 w 32"/>
                  <a:gd name="T3" fmla="*/ 16 h 16"/>
                  <a:gd name="T4" fmla="*/ 32 w 32"/>
                  <a:gd name="T5" fmla="*/ 0 h 16"/>
                  <a:gd name="T6" fmla="*/ 8 w 32"/>
                  <a:gd name="T7" fmla="*/ 0 h 16"/>
                  <a:gd name="T8" fmla="*/ 0 w 32"/>
                  <a:gd name="T9" fmla="*/ 8 h 16"/>
                </a:gdLst>
                <a:ahLst/>
                <a:cxnLst>
                  <a:cxn ang="0">
                    <a:pos x="T0" y="T1"/>
                  </a:cxn>
                  <a:cxn ang="0">
                    <a:pos x="T2" y="T3"/>
                  </a:cxn>
                  <a:cxn ang="0">
                    <a:pos x="T4" y="T5"/>
                  </a:cxn>
                  <a:cxn ang="0">
                    <a:pos x="T6" y="T7"/>
                  </a:cxn>
                  <a:cxn ang="0">
                    <a:pos x="T8" y="T9"/>
                  </a:cxn>
                </a:cxnLst>
                <a:rect l="0" t="0" r="r" b="b"/>
                <a:pathLst>
                  <a:path w="32" h="16">
                    <a:moveTo>
                      <a:pt x="0" y="8"/>
                    </a:moveTo>
                    <a:lnTo>
                      <a:pt x="32" y="16"/>
                    </a:lnTo>
                    <a:lnTo>
                      <a:pt x="32" y="0"/>
                    </a:lnTo>
                    <a:lnTo>
                      <a:pt x="8" y="0"/>
                    </a:lnTo>
                    <a:lnTo>
                      <a:pt x="0" y="8"/>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32" name="Freeform 159">
                <a:extLst>
                  <a:ext uri="{FF2B5EF4-FFF2-40B4-BE49-F238E27FC236}">
                    <a16:creationId xmlns:a16="http://schemas.microsoft.com/office/drawing/2014/main" id="{867E74A2-0865-19AC-B7C9-2963FB1FC43F}"/>
                  </a:ext>
                </a:extLst>
              </p:cNvPr>
              <p:cNvSpPr>
                <a:spLocks/>
              </p:cNvSpPr>
              <p:nvPr/>
            </p:nvSpPr>
            <p:spPr bwMode="auto">
              <a:xfrm>
                <a:off x="3468" y="1896"/>
                <a:ext cx="40" cy="48"/>
              </a:xfrm>
              <a:custGeom>
                <a:avLst/>
                <a:gdLst>
                  <a:gd name="T0" fmla="*/ 24 w 40"/>
                  <a:gd name="T1" fmla="*/ 48 h 48"/>
                  <a:gd name="T2" fmla="*/ 16 w 40"/>
                  <a:gd name="T3" fmla="*/ 24 h 48"/>
                  <a:gd name="T4" fmla="*/ 0 w 40"/>
                  <a:gd name="T5" fmla="*/ 8 h 48"/>
                  <a:gd name="T6" fmla="*/ 8 w 40"/>
                  <a:gd name="T7" fmla="*/ 0 h 48"/>
                  <a:gd name="T8" fmla="*/ 24 w 40"/>
                  <a:gd name="T9" fmla="*/ 8 h 48"/>
                  <a:gd name="T10" fmla="*/ 32 w 40"/>
                  <a:gd name="T11" fmla="*/ 16 h 48"/>
                  <a:gd name="T12" fmla="*/ 40 w 40"/>
                  <a:gd name="T13" fmla="*/ 24 h 48"/>
                  <a:gd name="T14" fmla="*/ 40 w 40"/>
                  <a:gd name="T15" fmla="*/ 32 h 48"/>
                  <a:gd name="T16" fmla="*/ 32 w 40"/>
                  <a:gd name="T17" fmla="*/ 32 h 48"/>
                  <a:gd name="T18" fmla="*/ 24 w 40"/>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8">
                    <a:moveTo>
                      <a:pt x="24" y="48"/>
                    </a:moveTo>
                    <a:lnTo>
                      <a:pt x="16" y="24"/>
                    </a:lnTo>
                    <a:lnTo>
                      <a:pt x="0" y="8"/>
                    </a:lnTo>
                    <a:lnTo>
                      <a:pt x="8" y="0"/>
                    </a:lnTo>
                    <a:lnTo>
                      <a:pt x="24" y="8"/>
                    </a:lnTo>
                    <a:lnTo>
                      <a:pt x="32" y="16"/>
                    </a:lnTo>
                    <a:lnTo>
                      <a:pt x="40" y="24"/>
                    </a:lnTo>
                    <a:lnTo>
                      <a:pt x="40" y="32"/>
                    </a:lnTo>
                    <a:lnTo>
                      <a:pt x="32" y="32"/>
                    </a:lnTo>
                    <a:lnTo>
                      <a:pt x="24" y="48"/>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33" name="Freeform 160">
                <a:extLst>
                  <a:ext uri="{FF2B5EF4-FFF2-40B4-BE49-F238E27FC236}">
                    <a16:creationId xmlns:a16="http://schemas.microsoft.com/office/drawing/2014/main" id="{912D7FBD-B8C1-9B7C-AFE7-B2C032EC0977}"/>
                  </a:ext>
                </a:extLst>
              </p:cNvPr>
              <p:cNvSpPr>
                <a:spLocks/>
              </p:cNvSpPr>
              <p:nvPr/>
            </p:nvSpPr>
            <p:spPr bwMode="auto">
              <a:xfrm>
                <a:off x="3636" y="1976"/>
                <a:ext cx="80" cy="32"/>
              </a:xfrm>
              <a:custGeom>
                <a:avLst/>
                <a:gdLst>
                  <a:gd name="T0" fmla="*/ 64 w 80"/>
                  <a:gd name="T1" fmla="*/ 32 h 32"/>
                  <a:gd name="T2" fmla="*/ 64 w 80"/>
                  <a:gd name="T3" fmla="*/ 24 h 32"/>
                  <a:gd name="T4" fmla="*/ 80 w 80"/>
                  <a:gd name="T5" fmla="*/ 32 h 32"/>
                  <a:gd name="T6" fmla="*/ 72 w 80"/>
                  <a:gd name="T7" fmla="*/ 24 h 32"/>
                  <a:gd name="T8" fmla="*/ 80 w 80"/>
                  <a:gd name="T9" fmla="*/ 24 h 32"/>
                  <a:gd name="T10" fmla="*/ 64 w 80"/>
                  <a:gd name="T11" fmla="*/ 8 h 32"/>
                  <a:gd name="T12" fmla="*/ 48 w 80"/>
                  <a:gd name="T13" fmla="*/ 8 h 32"/>
                  <a:gd name="T14" fmla="*/ 32 w 80"/>
                  <a:gd name="T15" fmla="*/ 0 h 32"/>
                  <a:gd name="T16" fmla="*/ 0 w 80"/>
                  <a:gd name="T17" fmla="*/ 0 h 32"/>
                  <a:gd name="T18" fmla="*/ 8 w 80"/>
                  <a:gd name="T19" fmla="*/ 8 h 32"/>
                  <a:gd name="T20" fmla="*/ 24 w 80"/>
                  <a:gd name="T21" fmla="*/ 16 h 32"/>
                  <a:gd name="T22" fmla="*/ 24 w 80"/>
                  <a:gd name="T23" fmla="*/ 24 h 32"/>
                  <a:gd name="T24" fmla="*/ 40 w 80"/>
                  <a:gd name="T25" fmla="*/ 24 h 32"/>
                  <a:gd name="T26" fmla="*/ 40 w 80"/>
                  <a:gd name="T27" fmla="*/ 32 h 32"/>
                  <a:gd name="T28" fmla="*/ 64 w 80"/>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32">
                    <a:moveTo>
                      <a:pt x="64" y="32"/>
                    </a:moveTo>
                    <a:lnTo>
                      <a:pt x="64" y="24"/>
                    </a:lnTo>
                    <a:lnTo>
                      <a:pt x="80" y="32"/>
                    </a:lnTo>
                    <a:lnTo>
                      <a:pt x="72" y="24"/>
                    </a:lnTo>
                    <a:lnTo>
                      <a:pt x="80" y="24"/>
                    </a:lnTo>
                    <a:lnTo>
                      <a:pt x="64" y="8"/>
                    </a:lnTo>
                    <a:lnTo>
                      <a:pt x="48" y="8"/>
                    </a:lnTo>
                    <a:lnTo>
                      <a:pt x="32" y="0"/>
                    </a:lnTo>
                    <a:lnTo>
                      <a:pt x="0" y="0"/>
                    </a:lnTo>
                    <a:lnTo>
                      <a:pt x="8" y="8"/>
                    </a:lnTo>
                    <a:lnTo>
                      <a:pt x="24" y="16"/>
                    </a:lnTo>
                    <a:lnTo>
                      <a:pt x="24" y="24"/>
                    </a:lnTo>
                    <a:lnTo>
                      <a:pt x="40" y="24"/>
                    </a:lnTo>
                    <a:lnTo>
                      <a:pt x="40" y="32"/>
                    </a:lnTo>
                    <a:lnTo>
                      <a:pt x="64" y="32"/>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34" name="Freeform 161">
                <a:extLst>
                  <a:ext uri="{FF2B5EF4-FFF2-40B4-BE49-F238E27FC236}">
                    <a16:creationId xmlns:a16="http://schemas.microsoft.com/office/drawing/2014/main" id="{742CBAA4-9C20-5763-3907-EC3F537CF2D4}"/>
                  </a:ext>
                </a:extLst>
              </p:cNvPr>
              <p:cNvSpPr>
                <a:spLocks/>
              </p:cNvSpPr>
              <p:nvPr/>
            </p:nvSpPr>
            <p:spPr bwMode="auto">
              <a:xfrm>
                <a:off x="3676" y="2008"/>
                <a:ext cx="48" cy="32"/>
              </a:xfrm>
              <a:custGeom>
                <a:avLst/>
                <a:gdLst>
                  <a:gd name="T0" fmla="*/ 24 w 48"/>
                  <a:gd name="T1" fmla="*/ 16 h 32"/>
                  <a:gd name="T2" fmla="*/ 8 w 48"/>
                  <a:gd name="T3" fmla="*/ 16 h 32"/>
                  <a:gd name="T4" fmla="*/ 0 w 48"/>
                  <a:gd name="T5" fmla="*/ 0 h 32"/>
                  <a:gd name="T6" fmla="*/ 24 w 48"/>
                  <a:gd name="T7" fmla="*/ 0 h 32"/>
                  <a:gd name="T8" fmla="*/ 32 w 48"/>
                  <a:gd name="T9" fmla="*/ 8 h 32"/>
                  <a:gd name="T10" fmla="*/ 32 w 48"/>
                  <a:gd name="T11" fmla="*/ 16 h 32"/>
                  <a:gd name="T12" fmla="*/ 40 w 48"/>
                  <a:gd name="T13" fmla="*/ 16 h 32"/>
                  <a:gd name="T14" fmla="*/ 48 w 48"/>
                  <a:gd name="T15" fmla="*/ 32 h 32"/>
                  <a:gd name="T16" fmla="*/ 40 w 48"/>
                  <a:gd name="T17" fmla="*/ 32 h 32"/>
                  <a:gd name="T18" fmla="*/ 32 w 48"/>
                  <a:gd name="T19" fmla="*/ 24 h 32"/>
                  <a:gd name="T20" fmla="*/ 24 w 48"/>
                  <a:gd name="T2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32">
                    <a:moveTo>
                      <a:pt x="24" y="16"/>
                    </a:moveTo>
                    <a:lnTo>
                      <a:pt x="8" y="16"/>
                    </a:lnTo>
                    <a:lnTo>
                      <a:pt x="0" y="0"/>
                    </a:lnTo>
                    <a:lnTo>
                      <a:pt x="24" y="0"/>
                    </a:lnTo>
                    <a:lnTo>
                      <a:pt x="32" y="8"/>
                    </a:lnTo>
                    <a:lnTo>
                      <a:pt x="32" y="16"/>
                    </a:lnTo>
                    <a:lnTo>
                      <a:pt x="40" y="16"/>
                    </a:lnTo>
                    <a:lnTo>
                      <a:pt x="48" y="32"/>
                    </a:lnTo>
                    <a:lnTo>
                      <a:pt x="40" y="32"/>
                    </a:lnTo>
                    <a:lnTo>
                      <a:pt x="32" y="24"/>
                    </a:lnTo>
                    <a:lnTo>
                      <a:pt x="24" y="16"/>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35" name="Freeform 162">
                <a:extLst>
                  <a:ext uri="{FF2B5EF4-FFF2-40B4-BE49-F238E27FC236}">
                    <a16:creationId xmlns:a16="http://schemas.microsoft.com/office/drawing/2014/main" id="{DD55B417-7D75-F845-D9FA-C5A904C0AE42}"/>
                  </a:ext>
                </a:extLst>
              </p:cNvPr>
              <p:cNvSpPr>
                <a:spLocks/>
              </p:cNvSpPr>
              <p:nvPr/>
            </p:nvSpPr>
            <p:spPr bwMode="auto">
              <a:xfrm>
                <a:off x="3700" y="2024"/>
                <a:ext cx="16" cy="16"/>
              </a:xfrm>
              <a:custGeom>
                <a:avLst/>
                <a:gdLst>
                  <a:gd name="T0" fmla="*/ 16 w 16"/>
                  <a:gd name="T1" fmla="*/ 16 h 16"/>
                  <a:gd name="T2" fmla="*/ 8 w 16"/>
                  <a:gd name="T3" fmla="*/ 16 h 16"/>
                  <a:gd name="T4" fmla="*/ 0 w 16"/>
                  <a:gd name="T5" fmla="*/ 0 h 16"/>
                  <a:gd name="T6" fmla="*/ 8 w 16"/>
                  <a:gd name="T7" fmla="*/ 8 h 16"/>
                  <a:gd name="T8" fmla="*/ 16 w 16"/>
                  <a:gd name="T9" fmla="*/ 16 h 16"/>
                </a:gdLst>
                <a:ahLst/>
                <a:cxnLst>
                  <a:cxn ang="0">
                    <a:pos x="T0" y="T1"/>
                  </a:cxn>
                  <a:cxn ang="0">
                    <a:pos x="T2" y="T3"/>
                  </a:cxn>
                  <a:cxn ang="0">
                    <a:pos x="T4" y="T5"/>
                  </a:cxn>
                  <a:cxn ang="0">
                    <a:pos x="T6" y="T7"/>
                  </a:cxn>
                  <a:cxn ang="0">
                    <a:pos x="T8" y="T9"/>
                  </a:cxn>
                </a:cxnLst>
                <a:rect l="0" t="0" r="r" b="b"/>
                <a:pathLst>
                  <a:path w="16" h="16">
                    <a:moveTo>
                      <a:pt x="16" y="16"/>
                    </a:moveTo>
                    <a:lnTo>
                      <a:pt x="8" y="16"/>
                    </a:lnTo>
                    <a:lnTo>
                      <a:pt x="0" y="0"/>
                    </a:lnTo>
                    <a:lnTo>
                      <a:pt x="8" y="8"/>
                    </a:lnTo>
                    <a:lnTo>
                      <a:pt x="16" y="16"/>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36" name="Freeform 163">
                <a:extLst>
                  <a:ext uri="{FF2B5EF4-FFF2-40B4-BE49-F238E27FC236}">
                    <a16:creationId xmlns:a16="http://schemas.microsoft.com/office/drawing/2014/main" id="{0C4F2087-D664-5B92-B774-474E3FEF18A7}"/>
                  </a:ext>
                </a:extLst>
              </p:cNvPr>
              <p:cNvSpPr>
                <a:spLocks/>
              </p:cNvSpPr>
              <p:nvPr/>
            </p:nvSpPr>
            <p:spPr bwMode="auto">
              <a:xfrm>
                <a:off x="3700" y="2000"/>
                <a:ext cx="64" cy="48"/>
              </a:xfrm>
              <a:custGeom>
                <a:avLst/>
                <a:gdLst>
                  <a:gd name="T0" fmla="*/ 40 w 64"/>
                  <a:gd name="T1" fmla="*/ 0 h 48"/>
                  <a:gd name="T2" fmla="*/ 48 w 64"/>
                  <a:gd name="T3" fmla="*/ 8 h 48"/>
                  <a:gd name="T4" fmla="*/ 64 w 64"/>
                  <a:gd name="T5" fmla="*/ 16 h 48"/>
                  <a:gd name="T6" fmla="*/ 56 w 64"/>
                  <a:gd name="T7" fmla="*/ 24 h 48"/>
                  <a:gd name="T8" fmla="*/ 56 w 64"/>
                  <a:gd name="T9" fmla="*/ 40 h 48"/>
                  <a:gd name="T10" fmla="*/ 48 w 64"/>
                  <a:gd name="T11" fmla="*/ 40 h 48"/>
                  <a:gd name="T12" fmla="*/ 56 w 64"/>
                  <a:gd name="T13" fmla="*/ 48 h 48"/>
                  <a:gd name="T14" fmla="*/ 40 w 64"/>
                  <a:gd name="T15" fmla="*/ 40 h 48"/>
                  <a:gd name="T16" fmla="*/ 40 w 64"/>
                  <a:gd name="T17" fmla="*/ 32 h 48"/>
                  <a:gd name="T18" fmla="*/ 24 w 64"/>
                  <a:gd name="T19" fmla="*/ 40 h 48"/>
                  <a:gd name="T20" fmla="*/ 16 w 64"/>
                  <a:gd name="T21" fmla="*/ 24 h 48"/>
                  <a:gd name="T22" fmla="*/ 8 w 64"/>
                  <a:gd name="T23" fmla="*/ 24 h 48"/>
                  <a:gd name="T24" fmla="*/ 8 w 64"/>
                  <a:gd name="T25" fmla="*/ 16 h 48"/>
                  <a:gd name="T26" fmla="*/ 0 w 64"/>
                  <a:gd name="T27" fmla="*/ 8 h 48"/>
                  <a:gd name="T28" fmla="*/ 0 w 64"/>
                  <a:gd name="T29" fmla="*/ 0 h 48"/>
                  <a:gd name="T30" fmla="*/ 16 w 64"/>
                  <a:gd name="T31" fmla="*/ 8 h 48"/>
                  <a:gd name="T32" fmla="*/ 8 w 64"/>
                  <a:gd name="T33" fmla="*/ 0 h 48"/>
                  <a:gd name="T34" fmla="*/ 16 w 64"/>
                  <a:gd name="T35" fmla="*/ 0 h 48"/>
                  <a:gd name="T36" fmla="*/ 24 w 64"/>
                  <a:gd name="T37" fmla="*/ 8 h 48"/>
                  <a:gd name="T38" fmla="*/ 32 w 64"/>
                  <a:gd name="T39" fmla="*/ 8 h 48"/>
                  <a:gd name="T40" fmla="*/ 40 w 64"/>
                  <a:gd name="T4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48">
                    <a:moveTo>
                      <a:pt x="40" y="0"/>
                    </a:moveTo>
                    <a:lnTo>
                      <a:pt x="48" y="8"/>
                    </a:lnTo>
                    <a:lnTo>
                      <a:pt x="64" y="16"/>
                    </a:lnTo>
                    <a:lnTo>
                      <a:pt x="56" y="24"/>
                    </a:lnTo>
                    <a:lnTo>
                      <a:pt x="56" y="40"/>
                    </a:lnTo>
                    <a:lnTo>
                      <a:pt x="48" y="40"/>
                    </a:lnTo>
                    <a:lnTo>
                      <a:pt x="56" y="48"/>
                    </a:lnTo>
                    <a:lnTo>
                      <a:pt x="40" y="40"/>
                    </a:lnTo>
                    <a:lnTo>
                      <a:pt x="40" y="32"/>
                    </a:lnTo>
                    <a:lnTo>
                      <a:pt x="24" y="40"/>
                    </a:lnTo>
                    <a:lnTo>
                      <a:pt x="16" y="24"/>
                    </a:lnTo>
                    <a:lnTo>
                      <a:pt x="8" y="24"/>
                    </a:lnTo>
                    <a:lnTo>
                      <a:pt x="8" y="16"/>
                    </a:lnTo>
                    <a:lnTo>
                      <a:pt x="0" y="8"/>
                    </a:lnTo>
                    <a:lnTo>
                      <a:pt x="0" y="0"/>
                    </a:lnTo>
                    <a:lnTo>
                      <a:pt x="16" y="8"/>
                    </a:lnTo>
                    <a:lnTo>
                      <a:pt x="8" y="0"/>
                    </a:lnTo>
                    <a:lnTo>
                      <a:pt x="16" y="0"/>
                    </a:lnTo>
                    <a:lnTo>
                      <a:pt x="24" y="8"/>
                    </a:lnTo>
                    <a:lnTo>
                      <a:pt x="32" y="8"/>
                    </a:lnTo>
                    <a:lnTo>
                      <a:pt x="40" y="0"/>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grpSp>
        <p:sp>
          <p:nvSpPr>
            <p:cNvPr id="133" name="Freeform 164">
              <a:extLst>
                <a:ext uri="{FF2B5EF4-FFF2-40B4-BE49-F238E27FC236}">
                  <a16:creationId xmlns:a16="http://schemas.microsoft.com/office/drawing/2014/main" id="{5438BEBC-6F39-986A-B948-833D54643B13}"/>
                </a:ext>
              </a:extLst>
            </p:cNvPr>
            <p:cNvSpPr>
              <a:spLocks/>
            </p:cNvSpPr>
            <p:nvPr/>
          </p:nvSpPr>
          <p:spPr bwMode="auto">
            <a:xfrm>
              <a:off x="1989953" y="3279183"/>
              <a:ext cx="344096" cy="412259"/>
            </a:xfrm>
            <a:custGeom>
              <a:avLst/>
              <a:gdLst>
                <a:gd name="T0" fmla="*/ 0 w 168"/>
                <a:gd name="T1" fmla="*/ 16 h 200"/>
                <a:gd name="T2" fmla="*/ 16 w 168"/>
                <a:gd name="T3" fmla="*/ 24 h 200"/>
                <a:gd name="T4" fmla="*/ 32 w 168"/>
                <a:gd name="T5" fmla="*/ 0 h 200"/>
                <a:gd name="T6" fmla="*/ 56 w 168"/>
                <a:gd name="T7" fmla="*/ 0 h 200"/>
                <a:gd name="T8" fmla="*/ 56 w 168"/>
                <a:gd name="T9" fmla="*/ 24 h 200"/>
                <a:gd name="T10" fmla="*/ 64 w 168"/>
                <a:gd name="T11" fmla="*/ 40 h 200"/>
                <a:gd name="T12" fmla="*/ 120 w 168"/>
                <a:gd name="T13" fmla="*/ 64 h 200"/>
                <a:gd name="T14" fmla="*/ 128 w 168"/>
                <a:gd name="T15" fmla="*/ 80 h 200"/>
                <a:gd name="T16" fmla="*/ 128 w 168"/>
                <a:gd name="T17" fmla="*/ 88 h 200"/>
                <a:gd name="T18" fmla="*/ 128 w 168"/>
                <a:gd name="T19" fmla="*/ 96 h 200"/>
                <a:gd name="T20" fmla="*/ 152 w 168"/>
                <a:gd name="T21" fmla="*/ 104 h 200"/>
                <a:gd name="T22" fmla="*/ 152 w 168"/>
                <a:gd name="T23" fmla="*/ 112 h 200"/>
                <a:gd name="T24" fmla="*/ 168 w 168"/>
                <a:gd name="T25" fmla="*/ 128 h 200"/>
                <a:gd name="T26" fmla="*/ 160 w 168"/>
                <a:gd name="T27" fmla="*/ 160 h 200"/>
                <a:gd name="T28" fmla="*/ 152 w 168"/>
                <a:gd name="T29" fmla="*/ 144 h 200"/>
                <a:gd name="T30" fmla="*/ 112 w 168"/>
                <a:gd name="T31" fmla="*/ 152 h 200"/>
                <a:gd name="T32" fmla="*/ 104 w 168"/>
                <a:gd name="T33" fmla="*/ 192 h 200"/>
                <a:gd name="T34" fmla="*/ 88 w 168"/>
                <a:gd name="T35" fmla="*/ 192 h 200"/>
                <a:gd name="T36" fmla="*/ 64 w 168"/>
                <a:gd name="T37" fmla="*/ 184 h 200"/>
                <a:gd name="T38" fmla="*/ 48 w 168"/>
                <a:gd name="T39" fmla="*/ 200 h 200"/>
                <a:gd name="T40" fmla="*/ 40 w 168"/>
                <a:gd name="T41" fmla="*/ 200 h 200"/>
                <a:gd name="T42" fmla="*/ 24 w 168"/>
                <a:gd name="T43" fmla="*/ 160 h 200"/>
                <a:gd name="T44" fmla="*/ 24 w 168"/>
                <a:gd name="T45" fmla="*/ 144 h 200"/>
                <a:gd name="T46" fmla="*/ 8 w 168"/>
                <a:gd name="T47" fmla="*/ 120 h 200"/>
                <a:gd name="T48" fmla="*/ 16 w 168"/>
                <a:gd name="T49" fmla="*/ 104 h 200"/>
                <a:gd name="T50" fmla="*/ 8 w 168"/>
                <a:gd name="T51" fmla="*/ 96 h 200"/>
                <a:gd name="T52" fmla="*/ 8 w 168"/>
                <a:gd name="T53" fmla="*/ 40 h 200"/>
                <a:gd name="T54" fmla="*/ 0 w 168"/>
                <a:gd name="T55" fmla="*/ 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8" h="200">
                  <a:moveTo>
                    <a:pt x="0" y="16"/>
                  </a:moveTo>
                  <a:lnTo>
                    <a:pt x="16" y="24"/>
                  </a:lnTo>
                  <a:lnTo>
                    <a:pt x="32" y="0"/>
                  </a:lnTo>
                  <a:lnTo>
                    <a:pt x="56" y="0"/>
                  </a:lnTo>
                  <a:lnTo>
                    <a:pt x="56" y="24"/>
                  </a:lnTo>
                  <a:lnTo>
                    <a:pt x="64" y="40"/>
                  </a:lnTo>
                  <a:lnTo>
                    <a:pt x="120" y="64"/>
                  </a:lnTo>
                  <a:lnTo>
                    <a:pt x="128" y="80"/>
                  </a:lnTo>
                  <a:lnTo>
                    <a:pt x="128" y="88"/>
                  </a:lnTo>
                  <a:lnTo>
                    <a:pt x="128" y="96"/>
                  </a:lnTo>
                  <a:lnTo>
                    <a:pt x="152" y="104"/>
                  </a:lnTo>
                  <a:lnTo>
                    <a:pt x="152" y="112"/>
                  </a:lnTo>
                  <a:lnTo>
                    <a:pt x="168" y="128"/>
                  </a:lnTo>
                  <a:lnTo>
                    <a:pt x="160" y="160"/>
                  </a:lnTo>
                  <a:lnTo>
                    <a:pt x="152" y="144"/>
                  </a:lnTo>
                  <a:lnTo>
                    <a:pt x="112" y="152"/>
                  </a:lnTo>
                  <a:lnTo>
                    <a:pt x="104" y="192"/>
                  </a:lnTo>
                  <a:lnTo>
                    <a:pt x="88" y="192"/>
                  </a:lnTo>
                  <a:lnTo>
                    <a:pt x="64" y="184"/>
                  </a:lnTo>
                  <a:lnTo>
                    <a:pt x="48" y="200"/>
                  </a:lnTo>
                  <a:lnTo>
                    <a:pt x="40" y="200"/>
                  </a:lnTo>
                  <a:lnTo>
                    <a:pt x="24" y="160"/>
                  </a:lnTo>
                  <a:lnTo>
                    <a:pt x="24" y="144"/>
                  </a:lnTo>
                  <a:lnTo>
                    <a:pt x="8" y="120"/>
                  </a:lnTo>
                  <a:lnTo>
                    <a:pt x="16" y="104"/>
                  </a:lnTo>
                  <a:lnTo>
                    <a:pt x="8" y="96"/>
                  </a:lnTo>
                  <a:lnTo>
                    <a:pt x="8" y="40"/>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34" name="Freeform 165">
              <a:extLst>
                <a:ext uri="{FF2B5EF4-FFF2-40B4-BE49-F238E27FC236}">
                  <a16:creationId xmlns:a16="http://schemas.microsoft.com/office/drawing/2014/main" id="{3084436C-1E9D-D1EB-09DA-B4EE8B6EDA3F}"/>
                </a:ext>
              </a:extLst>
            </p:cNvPr>
            <p:cNvSpPr>
              <a:spLocks/>
            </p:cNvSpPr>
            <p:nvPr/>
          </p:nvSpPr>
          <p:spPr bwMode="auto">
            <a:xfrm>
              <a:off x="2203322" y="3575149"/>
              <a:ext cx="228395" cy="264267"/>
            </a:xfrm>
            <a:custGeom>
              <a:avLst/>
              <a:gdLst>
                <a:gd name="T0" fmla="*/ 112 w 112"/>
                <a:gd name="T1" fmla="*/ 96 h 128"/>
                <a:gd name="T2" fmla="*/ 112 w 112"/>
                <a:gd name="T3" fmla="*/ 72 h 128"/>
                <a:gd name="T4" fmla="*/ 96 w 112"/>
                <a:gd name="T5" fmla="*/ 72 h 128"/>
                <a:gd name="T6" fmla="*/ 96 w 112"/>
                <a:gd name="T7" fmla="*/ 48 h 128"/>
                <a:gd name="T8" fmla="*/ 88 w 112"/>
                <a:gd name="T9" fmla="*/ 48 h 128"/>
                <a:gd name="T10" fmla="*/ 64 w 112"/>
                <a:gd name="T11" fmla="*/ 40 h 128"/>
                <a:gd name="T12" fmla="*/ 56 w 112"/>
                <a:gd name="T13" fmla="*/ 16 h 128"/>
                <a:gd name="T14" fmla="*/ 48 w 112"/>
                <a:gd name="T15" fmla="*/ 0 h 128"/>
                <a:gd name="T16" fmla="*/ 8 w 112"/>
                <a:gd name="T17" fmla="*/ 8 h 128"/>
                <a:gd name="T18" fmla="*/ 0 w 112"/>
                <a:gd name="T19" fmla="*/ 48 h 128"/>
                <a:gd name="T20" fmla="*/ 32 w 112"/>
                <a:gd name="T21" fmla="*/ 72 h 128"/>
                <a:gd name="T22" fmla="*/ 48 w 112"/>
                <a:gd name="T23" fmla="*/ 80 h 128"/>
                <a:gd name="T24" fmla="*/ 72 w 112"/>
                <a:gd name="T25" fmla="*/ 88 h 128"/>
                <a:gd name="T26" fmla="*/ 72 w 112"/>
                <a:gd name="T27" fmla="*/ 104 h 128"/>
                <a:gd name="T28" fmla="*/ 64 w 112"/>
                <a:gd name="T29" fmla="*/ 120 h 128"/>
                <a:gd name="T30" fmla="*/ 96 w 112"/>
                <a:gd name="T31" fmla="*/ 128 h 128"/>
                <a:gd name="T32" fmla="*/ 104 w 112"/>
                <a:gd name="T33" fmla="*/ 128 h 128"/>
                <a:gd name="T34" fmla="*/ 112 w 112"/>
                <a:gd name="T35" fmla="*/ 112 h 128"/>
                <a:gd name="T36" fmla="*/ 112 w 112"/>
                <a:gd name="T37"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2" h="128">
                  <a:moveTo>
                    <a:pt x="112" y="96"/>
                  </a:moveTo>
                  <a:lnTo>
                    <a:pt x="112" y="72"/>
                  </a:lnTo>
                  <a:lnTo>
                    <a:pt x="96" y="72"/>
                  </a:lnTo>
                  <a:lnTo>
                    <a:pt x="96" y="48"/>
                  </a:lnTo>
                  <a:lnTo>
                    <a:pt x="88" y="48"/>
                  </a:lnTo>
                  <a:lnTo>
                    <a:pt x="64" y="40"/>
                  </a:lnTo>
                  <a:lnTo>
                    <a:pt x="56" y="16"/>
                  </a:lnTo>
                  <a:lnTo>
                    <a:pt x="48" y="0"/>
                  </a:lnTo>
                  <a:lnTo>
                    <a:pt x="8" y="8"/>
                  </a:lnTo>
                  <a:lnTo>
                    <a:pt x="0" y="48"/>
                  </a:lnTo>
                  <a:lnTo>
                    <a:pt x="32" y="72"/>
                  </a:lnTo>
                  <a:lnTo>
                    <a:pt x="48" y="80"/>
                  </a:lnTo>
                  <a:lnTo>
                    <a:pt x="72" y="88"/>
                  </a:lnTo>
                  <a:lnTo>
                    <a:pt x="72" y="104"/>
                  </a:lnTo>
                  <a:lnTo>
                    <a:pt x="64" y="120"/>
                  </a:lnTo>
                  <a:lnTo>
                    <a:pt x="96" y="128"/>
                  </a:lnTo>
                  <a:lnTo>
                    <a:pt x="104" y="128"/>
                  </a:lnTo>
                  <a:lnTo>
                    <a:pt x="112" y="112"/>
                  </a:lnTo>
                  <a:lnTo>
                    <a:pt x="112" y="9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35" name="Freeform 166">
              <a:extLst>
                <a:ext uri="{FF2B5EF4-FFF2-40B4-BE49-F238E27FC236}">
                  <a16:creationId xmlns:a16="http://schemas.microsoft.com/office/drawing/2014/main" id="{CA88EE91-78A9-FB57-B5EE-A95F8365114D}"/>
                </a:ext>
              </a:extLst>
            </p:cNvPr>
            <p:cNvSpPr>
              <a:spLocks/>
            </p:cNvSpPr>
            <p:nvPr/>
          </p:nvSpPr>
          <p:spPr bwMode="auto">
            <a:xfrm>
              <a:off x="2056065" y="3658215"/>
              <a:ext cx="408708" cy="939285"/>
            </a:xfrm>
            <a:custGeom>
              <a:avLst/>
              <a:gdLst>
                <a:gd name="T0" fmla="*/ 160 w 200"/>
                <a:gd name="T1" fmla="*/ 184 h 456"/>
                <a:gd name="T2" fmla="*/ 184 w 200"/>
                <a:gd name="T3" fmla="*/ 208 h 456"/>
                <a:gd name="T4" fmla="*/ 192 w 200"/>
                <a:gd name="T5" fmla="*/ 224 h 456"/>
                <a:gd name="T6" fmla="*/ 184 w 200"/>
                <a:gd name="T7" fmla="*/ 248 h 456"/>
                <a:gd name="T8" fmla="*/ 136 w 200"/>
                <a:gd name="T9" fmla="*/ 264 h 456"/>
                <a:gd name="T10" fmla="*/ 136 w 200"/>
                <a:gd name="T11" fmla="*/ 272 h 456"/>
                <a:gd name="T12" fmla="*/ 120 w 200"/>
                <a:gd name="T13" fmla="*/ 296 h 456"/>
                <a:gd name="T14" fmla="*/ 112 w 200"/>
                <a:gd name="T15" fmla="*/ 304 h 456"/>
                <a:gd name="T16" fmla="*/ 128 w 200"/>
                <a:gd name="T17" fmla="*/ 304 h 456"/>
                <a:gd name="T18" fmla="*/ 136 w 200"/>
                <a:gd name="T19" fmla="*/ 320 h 456"/>
                <a:gd name="T20" fmla="*/ 120 w 200"/>
                <a:gd name="T21" fmla="*/ 312 h 456"/>
                <a:gd name="T22" fmla="*/ 128 w 200"/>
                <a:gd name="T23" fmla="*/ 320 h 456"/>
                <a:gd name="T24" fmla="*/ 120 w 200"/>
                <a:gd name="T25" fmla="*/ 344 h 456"/>
                <a:gd name="T26" fmla="*/ 104 w 200"/>
                <a:gd name="T27" fmla="*/ 352 h 456"/>
                <a:gd name="T28" fmla="*/ 104 w 200"/>
                <a:gd name="T29" fmla="*/ 376 h 456"/>
                <a:gd name="T30" fmla="*/ 128 w 200"/>
                <a:gd name="T31" fmla="*/ 384 h 456"/>
                <a:gd name="T32" fmla="*/ 120 w 200"/>
                <a:gd name="T33" fmla="*/ 408 h 456"/>
                <a:gd name="T34" fmla="*/ 112 w 200"/>
                <a:gd name="T35" fmla="*/ 432 h 456"/>
                <a:gd name="T36" fmla="*/ 136 w 200"/>
                <a:gd name="T37" fmla="*/ 456 h 456"/>
                <a:gd name="T38" fmla="*/ 88 w 200"/>
                <a:gd name="T39" fmla="*/ 456 h 456"/>
                <a:gd name="T40" fmla="*/ 64 w 200"/>
                <a:gd name="T41" fmla="*/ 432 h 456"/>
                <a:gd name="T42" fmla="*/ 56 w 200"/>
                <a:gd name="T43" fmla="*/ 376 h 456"/>
                <a:gd name="T44" fmla="*/ 48 w 200"/>
                <a:gd name="T45" fmla="*/ 352 h 456"/>
                <a:gd name="T46" fmla="*/ 32 w 200"/>
                <a:gd name="T47" fmla="*/ 320 h 456"/>
                <a:gd name="T48" fmla="*/ 24 w 200"/>
                <a:gd name="T49" fmla="*/ 296 h 456"/>
                <a:gd name="T50" fmla="*/ 8 w 200"/>
                <a:gd name="T51" fmla="*/ 232 h 456"/>
                <a:gd name="T52" fmla="*/ 8 w 200"/>
                <a:gd name="T53" fmla="*/ 208 h 456"/>
                <a:gd name="T54" fmla="*/ 0 w 200"/>
                <a:gd name="T55" fmla="*/ 144 h 456"/>
                <a:gd name="T56" fmla="*/ 8 w 200"/>
                <a:gd name="T57" fmla="*/ 72 h 456"/>
                <a:gd name="T58" fmla="*/ 16 w 200"/>
                <a:gd name="T59" fmla="*/ 32 h 456"/>
                <a:gd name="T60" fmla="*/ 32 w 200"/>
                <a:gd name="T61" fmla="*/ 0 h 456"/>
                <a:gd name="T62" fmla="*/ 72 w 200"/>
                <a:gd name="T63" fmla="*/ 8 h 456"/>
                <a:gd name="T64" fmla="*/ 120 w 200"/>
                <a:gd name="T65" fmla="*/ 40 h 456"/>
                <a:gd name="T66" fmla="*/ 144 w 200"/>
                <a:gd name="T67" fmla="*/ 64 h 456"/>
                <a:gd name="T68" fmla="*/ 168 w 200"/>
                <a:gd name="T69" fmla="*/ 88 h 456"/>
                <a:gd name="T70" fmla="*/ 184 w 200"/>
                <a:gd name="T71" fmla="*/ 72 h 456"/>
                <a:gd name="T72" fmla="*/ 192 w 200"/>
                <a:gd name="T73" fmla="*/ 56 h 456"/>
                <a:gd name="T74" fmla="*/ 192 w 200"/>
                <a:gd name="T75" fmla="*/ 88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456">
                  <a:moveTo>
                    <a:pt x="160" y="128"/>
                  </a:moveTo>
                  <a:lnTo>
                    <a:pt x="160" y="184"/>
                  </a:lnTo>
                  <a:lnTo>
                    <a:pt x="160" y="192"/>
                  </a:lnTo>
                  <a:lnTo>
                    <a:pt x="184" y="208"/>
                  </a:lnTo>
                  <a:lnTo>
                    <a:pt x="176" y="216"/>
                  </a:lnTo>
                  <a:lnTo>
                    <a:pt x="192" y="224"/>
                  </a:lnTo>
                  <a:lnTo>
                    <a:pt x="192" y="232"/>
                  </a:lnTo>
                  <a:lnTo>
                    <a:pt x="184" y="248"/>
                  </a:lnTo>
                  <a:lnTo>
                    <a:pt x="152" y="256"/>
                  </a:lnTo>
                  <a:lnTo>
                    <a:pt x="136" y="264"/>
                  </a:lnTo>
                  <a:lnTo>
                    <a:pt x="128" y="256"/>
                  </a:lnTo>
                  <a:lnTo>
                    <a:pt x="136" y="272"/>
                  </a:lnTo>
                  <a:lnTo>
                    <a:pt x="136" y="288"/>
                  </a:lnTo>
                  <a:lnTo>
                    <a:pt x="120" y="296"/>
                  </a:lnTo>
                  <a:lnTo>
                    <a:pt x="104" y="288"/>
                  </a:lnTo>
                  <a:lnTo>
                    <a:pt x="112" y="304"/>
                  </a:lnTo>
                  <a:lnTo>
                    <a:pt x="120" y="312"/>
                  </a:lnTo>
                  <a:lnTo>
                    <a:pt x="128" y="304"/>
                  </a:lnTo>
                  <a:lnTo>
                    <a:pt x="136" y="312"/>
                  </a:lnTo>
                  <a:lnTo>
                    <a:pt x="136" y="320"/>
                  </a:lnTo>
                  <a:lnTo>
                    <a:pt x="128" y="320"/>
                  </a:lnTo>
                  <a:lnTo>
                    <a:pt x="120" y="312"/>
                  </a:lnTo>
                  <a:lnTo>
                    <a:pt x="120" y="320"/>
                  </a:lnTo>
                  <a:lnTo>
                    <a:pt x="128" y="320"/>
                  </a:lnTo>
                  <a:lnTo>
                    <a:pt x="120" y="328"/>
                  </a:lnTo>
                  <a:lnTo>
                    <a:pt x="120" y="344"/>
                  </a:lnTo>
                  <a:lnTo>
                    <a:pt x="120" y="352"/>
                  </a:lnTo>
                  <a:lnTo>
                    <a:pt x="104" y="352"/>
                  </a:lnTo>
                  <a:lnTo>
                    <a:pt x="104" y="368"/>
                  </a:lnTo>
                  <a:lnTo>
                    <a:pt x="104" y="376"/>
                  </a:lnTo>
                  <a:lnTo>
                    <a:pt x="120" y="384"/>
                  </a:lnTo>
                  <a:lnTo>
                    <a:pt x="128" y="384"/>
                  </a:lnTo>
                  <a:lnTo>
                    <a:pt x="136" y="392"/>
                  </a:lnTo>
                  <a:lnTo>
                    <a:pt x="120" y="408"/>
                  </a:lnTo>
                  <a:lnTo>
                    <a:pt x="120" y="424"/>
                  </a:lnTo>
                  <a:lnTo>
                    <a:pt x="112" y="432"/>
                  </a:lnTo>
                  <a:lnTo>
                    <a:pt x="112" y="440"/>
                  </a:lnTo>
                  <a:lnTo>
                    <a:pt x="136" y="456"/>
                  </a:lnTo>
                  <a:lnTo>
                    <a:pt x="120" y="456"/>
                  </a:lnTo>
                  <a:lnTo>
                    <a:pt x="88" y="456"/>
                  </a:lnTo>
                  <a:lnTo>
                    <a:pt x="72" y="432"/>
                  </a:lnTo>
                  <a:lnTo>
                    <a:pt x="64" y="432"/>
                  </a:lnTo>
                  <a:lnTo>
                    <a:pt x="56" y="424"/>
                  </a:lnTo>
                  <a:lnTo>
                    <a:pt x="56" y="376"/>
                  </a:lnTo>
                  <a:lnTo>
                    <a:pt x="48" y="344"/>
                  </a:lnTo>
                  <a:lnTo>
                    <a:pt x="48" y="352"/>
                  </a:lnTo>
                  <a:lnTo>
                    <a:pt x="40" y="344"/>
                  </a:lnTo>
                  <a:lnTo>
                    <a:pt x="32" y="320"/>
                  </a:lnTo>
                  <a:lnTo>
                    <a:pt x="32" y="304"/>
                  </a:lnTo>
                  <a:lnTo>
                    <a:pt x="24" y="296"/>
                  </a:lnTo>
                  <a:lnTo>
                    <a:pt x="24" y="256"/>
                  </a:lnTo>
                  <a:lnTo>
                    <a:pt x="8" y="232"/>
                  </a:lnTo>
                  <a:lnTo>
                    <a:pt x="16" y="216"/>
                  </a:lnTo>
                  <a:lnTo>
                    <a:pt x="8" y="208"/>
                  </a:lnTo>
                  <a:lnTo>
                    <a:pt x="16" y="184"/>
                  </a:lnTo>
                  <a:lnTo>
                    <a:pt x="0" y="144"/>
                  </a:lnTo>
                  <a:lnTo>
                    <a:pt x="0" y="96"/>
                  </a:lnTo>
                  <a:lnTo>
                    <a:pt x="8" y="72"/>
                  </a:lnTo>
                  <a:lnTo>
                    <a:pt x="0" y="40"/>
                  </a:lnTo>
                  <a:lnTo>
                    <a:pt x="16" y="32"/>
                  </a:lnTo>
                  <a:lnTo>
                    <a:pt x="16" y="16"/>
                  </a:lnTo>
                  <a:lnTo>
                    <a:pt x="32" y="0"/>
                  </a:lnTo>
                  <a:lnTo>
                    <a:pt x="56" y="8"/>
                  </a:lnTo>
                  <a:lnTo>
                    <a:pt x="72" y="8"/>
                  </a:lnTo>
                  <a:lnTo>
                    <a:pt x="104" y="32"/>
                  </a:lnTo>
                  <a:lnTo>
                    <a:pt x="120" y="40"/>
                  </a:lnTo>
                  <a:lnTo>
                    <a:pt x="144" y="48"/>
                  </a:lnTo>
                  <a:lnTo>
                    <a:pt x="144" y="64"/>
                  </a:lnTo>
                  <a:lnTo>
                    <a:pt x="136" y="80"/>
                  </a:lnTo>
                  <a:lnTo>
                    <a:pt x="168" y="88"/>
                  </a:lnTo>
                  <a:lnTo>
                    <a:pt x="176" y="88"/>
                  </a:lnTo>
                  <a:lnTo>
                    <a:pt x="184" y="72"/>
                  </a:lnTo>
                  <a:lnTo>
                    <a:pt x="184" y="56"/>
                  </a:lnTo>
                  <a:lnTo>
                    <a:pt x="192" y="56"/>
                  </a:lnTo>
                  <a:lnTo>
                    <a:pt x="200" y="80"/>
                  </a:lnTo>
                  <a:lnTo>
                    <a:pt x="192" y="88"/>
                  </a:lnTo>
                  <a:lnTo>
                    <a:pt x="160" y="12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36" name="Freeform 167">
              <a:extLst>
                <a:ext uri="{FF2B5EF4-FFF2-40B4-BE49-F238E27FC236}">
                  <a16:creationId xmlns:a16="http://schemas.microsoft.com/office/drawing/2014/main" id="{FDD68E1D-5A10-1493-36C3-A5F8BC9C7CA4}"/>
                </a:ext>
              </a:extLst>
            </p:cNvPr>
            <p:cNvSpPr>
              <a:spLocks/>
            </p:cNvSpPr>
            <p:nvPr/>
          </p:nvSpPr>
          <p:spPr bwMode="auto">
            <a:xfrm>
              <a:off x="2203321" y="2718925"/>
              <a:ext cx="130727" cy="214435"/>
            </a:xfrm>
            <a:custGeom>
              <a:avLst/>
              <a:gdLst>
                <a:gd name="T0" fmla="*/ 24 w 64"/>
                <a:gd name="T1" fmla="*/ 0 h 104"/>
                <a:gd name="T2" fmla="*/ 8 w 64"/>
                <a:gd name="T3" fmla="*/ 8 h 104"/>
                <a:gd name="T4" fmla="*/ 8 w 64"/>
                <a:gd name="T5" fmla="*/ 16 h 104"/>
                <a:gd name="T6" fmla="*/ 16 w 64"/>
                <a:gd name="T7" fmla="*/ 24 h 104"/>
                <a:gd name="T8" fmla="*/ 8 w 64"/>
                <a:gd name="T9" fmla="*/ 24 h 104"/>
                <a:gd name="T10" fmla="*/ 0 w 64"/>
                <a:gd name="T11" fmla="*/ 40 h 104"/>
                <a:gd name="T12" fmla="*/ 8 w 64"/>
                <a:gd name="T13" fmla="*/ 48 h 104"/>
                <a:gd name="T14" fmla="*/ 16 w 64"/>
                <a:gd name="T15" fmla="*/ 48 h 104"/>
                <a:gd name="T16" fmla="*/ 24 w 64"/>
                <a:gd name="T17" fmla="*/ 64 h 104"/>
                <a:gd name="T18" fmla="*/ 16 w 64"/>
                <a:gd name="T19" fmla="*/ 88 h 104"/>
                <a:gd name="T20" fmla="*/ 24 w 64"/>
                <a:gd name="T21" fmla="*/ 104 h 104"/>
                <a:gd name="T22" fmla="*/ 32 w 64"/>
                <a:gd name="T23" fmla="*/ 104 h 104"/>
                <a:gd name="T24" fmla="*/ 56 w 64"/>
                <a:gd name="T25" fmla="*/ 96 h 104"/>
                <a:gd name="T26" fmla="*/ 64 w 64"/>
                <a:gd name="T27" fmla="*/ 96 h 104"/>
                <a:gd name="T28" fmla="*/ 48 w 64"/>
                <a:gd name="T29" fmla="*/ 64 h 104"/>
                <a:gd name="T30" fmla="*/ 56 w 64"/>
                <a:gd name="T31" fmla="*/ 40 h 104"/>
                <a:gd name="T32" fmla="*/ 40 w 64"/>
                <a:gd name="T33" fmla="*/ 24 h 104"/>
                <a:gd name="T34" fmla="*/ 40 w 64"/>
                <a:gd name="T35" fmla="*/ 8 h 104"/>
                <a:gd name="T36" fmla="*/ 24 w 64"/>
                <a:gd name="T3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04">
                  <a:moveTo>
                    <a:pt x="24" y="0"/>
                  </a:moveTo>
                  <a:lnTo>
                    <a:pt x="8" y="8"/>
                  </a:lnTo>
                  <a:lnTo>
                    <a:pt x="8" y="16"/>
                  </a:lnTo>
                  <a:lnTo>
                    <a:pt x="16" y="24"/>
                  </a:lnTo>
                  <a:lnTo>
                    <a:pt x="8" y="24"/>
                  </a:lnTo>
                  <a:lnTo>
                    <a:pt x="0" y="40"/>
                  </a:lnTo>
                  <a:lnTo>
                    <a:pt x="8" y="48"/>
                  </a:lnTo>
                  <a:lnTo>
                    <a:pt x="16" y="48"/>
                  </a:lnTo>
                  <a:lnTo>
                    <a:pt x="24" y="64"/>
                  </a:lnTo>
                  <a:lnTo>
                    <a:pt x="16" y="88"/>
                  </a:lnTo>
                  <a:lnTo>
                    <a:pt x="24" y="104"/>
                  </a:lnTo>
                  <a:lnTo>
                    <a:pt x="32" y="104"/>
                  </a:lnTo>
                  <a:lnTo>
                    <a:pt x="56" y="96"/>
                  </a:lnTo>
                  <a:lnTo>
                    <a:pt x="64" y="96"/>
                  </a:lnTo>
                  <a:lnTo>
                    <a:pt x="48" y="64"/>
                  </a:lnTo>
                  <a:lnTo>
                    <a:pt x="56" y="40"/>
                  </a:lnTo>
                  <a:lnTo>
                    <a:pt x="40" y="24"/>
                  </a:lnTo>
                  <a:lnTo>
                    <a:pt x="40" y="8"/>
                  </a:lnTo>
                  <a:lnTo>
                    <a:pt x="24"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37" name="Freeform 168">
              <a:extLst>
                <a:ext uri="{FF2B5EF4-FFF2-40B4-BE49-F238E27FC236}">
                  <a16:creationId xmlns:a16="http://schemas.microsoft.com/office/drawing/2014/main" id="{2931F0B3-C9E1-E5D3-E31B-9DCE31A627CF}"/>
                </a:ext>
              </a:extLst>
            </p:cNvPr>
            <p:cNvSpPr>
              <a:spLocks/>
            </p:cNvSpPr>
            <p:nvPr/>
          </p:nvSpPr>
          <p:spPr bwMode="auto">
            <a:xfrm>
              <a:off x="3741991" y="1270744"/>
              <a:ext cx="49585" cy="33223"/>
            </a:xfrm>
            <a:custGeom>
              <a:avLst/>
              <a:gdLst>
                <a:gd name="T0" fmla="*/ 8 w 24"/>
                <a:gd name="T1" fmla="*/ 0 h 16"/>
                <a:gd name="T2" fmla="*/ 0 w 24"/>
                <a:gd name="T3" fmla="*/ 8 h 16"/>
                <a:gd name="T4" fmla="*/ 8 w 24"/>
                <a:gd name="T5" fmla="*/ 16 h 16"/>
                <a:gd name="T6" fmla="*/ 24 w 24"/>
                <a:gd name="T7" fmla="*/ 16 h 16"/>
                <a:gd name="T8" fmla="*/ 24 w 24"/>
                <a:gd name="T9" fmla="*/ 0 h 16"/>
                <a:gd name="T10" fmla="*/ 8 w 24"/>
                <a:gd name="T11" fmla="*/ 0 h 16"/>
              </a:gdLst>
              <a:ahLst/>
              <a:cxnLst>
                <a:cxn ang="0">
                  <a:pos x="T0" y="T1"/>
                </a:cxn>
                <a:cxn ang="0">
                  <a:pos x="T2" y="T3"/>
                </a:cxn>
                <a:cxn ang="0">
                  <a:pos x="T4" y="T5"/>
                </a:cxn>
                <a:cxn ang="0">
                  <a:pos x="T6" y="T7"/>
                </a:cxn>
                <a:cxn ang="0">
                  <a:pos x="T8" y="T9"/>
                </a:cxn>
                <a:cxn ang="0">
                  <a:pos x="T10" y="T11"/>
                </a:cxn>
              </a:cxnLst>
              <a:rect l="0" t="0" r="r" b="b"/>
              <a:pathLst>
                <a:path w="24" h="16">
                  <a:moveTo>
                    <a:pt x="8" y="0"/>
                  </a:moveTo>
                  <a:lnTo>
                    <a:pt x="0" y="8"/>
                  </a:lnTo>
                  <a:lnTo>
                    <a:pt x="8" y="16"/>
                  </a:lnTo>
                  <a:lnTo>
                    <a:pt x="24" y="16"/>
                  </a:lnTo>
                  <a:lnTo>
                    <a:pt x="24" y="0"/>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38" name="Freeform 169">
              <a:extLst>
                <a:ext uri="{FF2B5EF4-FFF2-40B4-BE49-F238E27FC236}">
                  <a16:creationId xmlns:a16="http://schemas.microsoft.com/office/drawing/2014/main" id="{C90E495D-2D30-79F2-B9CC-44E556BA09C4}"/>
                </a:ext>
              </a:extLst>
            </p:cNvPr>
            <p:cNvSpPr>
              <a:spLocks/>
            </p:cNvSpPr>
            <p:nvPr/>
          </p:nvSpPr>
          <p:spPr bwMode="auto">
            <a:xfrm>
              <a:off x="4119141" y="1204287"/>
              <a:ext cx="64612" cy="83056"/>
            </a:xfrm>
            <a:custGeom>
              <a:avLst/>
              <a:gdLst>
                <a:gd name="T0" fmla="*/ 8 w 32"/>
                <a:gd name="T1" fmla="*/ 40 h 40"/>
                <a:gd name="T2" fmla="*/ 16 w 32"/>
                <a:gd name="T3" fmla="*/ 40 h 40"/>
                <a:gd name="T4" fmla="*/ 24 w 32"/>
                <a:gd name="T5" fmla="*/ 24 h 40"/>
                <a:gd name="T6" fmla="*/ 32 w 32"/>
                <a:gd name="T7" fmla="*/ 16 h 40"/>
                <a:gd name="T8" fmla="*/ 24 w 32"/>
                <a:gd name="T9" fmla="*/ 16 h 40"/>
                <a:gd name="T10" fmla="*/ 24 w 32"/>
                <a:gd name="T11" fmla="*/ 0 h 40"/>
                <a:gd name="T12" fmla="*/ 8 w 32"/>
                <a:gd name="T13" fmla="*/ 8 h 40"/>
                <a:gd name="T14" fmla="*/ 0 w 32"/>
                <a:gd name="T15" fmla="*/ 16 h 40"/>
                <a:gd name="T16" fmla="*/ 0 w 32"/>
                <a:gd name="T17" fmla="*/ 24 h 40"/>
                <a:gd name="T18" fmla="*/ 8 w 32"/>
                <a:gd name="T19" fmla="*/ 32 h 40"/>
                <a:gd name="T20" fmla="*/ 8 w 32"/>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0">
                  <a:moveTo>
                    <a:pt x="8" y="40"/>
                  </a:moveTo>
                  <a:lnTo>
                    <a:pt x="16" y="40"/>
                  </a:lnTo>
                  <a:lnTo>
                    <a:pt x="24" y="24"/>
                  </a:lnTo>
                  <a:lnTo>
                    <a:pt x="32" y="16"/>
                  </a:lnTo>
                  <a:lnTo>
                    <a:pt x="24" y="16"/>
                  </a:lnTo>
                  <a:lnTo>
                    <a:pt x="24" y="0"/>
                  </a:lnTo>
                  <a:lnTo>
                    <a:pt x="8" y="8"/>
                  </a:lnTo>
                  <a:lnTo>
                    <a:pt x="0" y="16"/>
                  </a:lnTo>
                  <a:lnTo>
                    <a:pt x="0" y="24"/>
                  </a:lnTo>
                  <a:lnTo>
                    <a:pt x="8" y="32"/>
                  </a:lnTo>
                  <a:lnTo>
                    <a:pt x="8" y="4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39" name="Freeform 170">
              <a:extLst>
                <a:ext uri="{FF2B5EF4-FFF2-40B4-BE49-F238E27FC236}">
                  <a16:creationId xmlns:a16="http://schemas.microsoft.com/office/drawing/2014/main" id="{4425F573-71A8-B12C-5C3B-7C4C087CB8B7}"/>
                </a:ext>
              </a:extLst>
            </p:cNvPr>
            <p:cNvSpPr>
              <a:spLocks/>
            </p:cNvSpPr>
            <p:nvPr/>
          </p:nvSpPr>
          <p:spPr bwMode="auto">
            <a:xfrm>
              <a:off x="4053027" y="1418721"/>
              <a:ext cx="16530" cy="16611"/>
            </a:xfrm>
            <a:custGeom>
              <a:avLst/>
              <a:gdLst>
                <a:gd name="T0" fmla="*/ 0 w 8"/>
                <a:gd name="T1" fmla="*/ 8 h 8"/>
                <a:gd name="T2" fmla="*/ 8 w 8"/>
                <a:gd name="T3" fmla="*/ 0 h 8"/>
                <a:gd name="T4" fmla="*/ 8 w 8"/>
                <a:gd name="T5" fmla="*/ 8 h 8"/>
                <a:gd name="T6" fmla="*/ 0 w 8"/>
                <a:gd name="T7" fmla="*/ 8 h 8"/>
              </a:gdLst>
              <a:ahLst/>
              <a:cxnLst>
                <a:cxn ang="0">
                  <a:pos x="T0" y="T1"/>
                </a:cxn>
                <a:cxn ang="0">
                  <a:pos x="T2" y="T3"/>
                </a:cxn>
                <a:cxn ang="0">
                  <a:pos x="T4" y="T5"/>
                </a:cxn>
                <a:cxn ang="0">
                  <a:pos x="T6" y="T7"/>
                </a:cxn>
              </a:cxnLst>
              <a:rect l="0" t="0" r="r" b="b"/>
              <a:pathLst>
                <a:path w="8" h="8">
                  <a:moveTo>
                    <a:pt x="0" y="8"/>
                  </a:moveTo>
                  <a:lnTo>
                    <a:pt x="8" y="0"/>
                  </a:lnTo>
                  <a:lnTo>
                    <a:pt x="8" y="8"/>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40" name="Freeform 171">
              <a:extLst>
                <a:ext uri="{FF2B5EF4-FFF2-40B4-BE49-F238E27FC236}">
                  <a16:creationId xmlns:a16="http://schemas.microsoft.com/office/drawing/2014/main" id="{B7AE497B-D754-2847-3790-B5ED4C4E1724}"/>
                </a:ext>
              </a:extLst>
            </p:cNvPr>
            <p:cNvSpPr>
              <a:spLocks/>
            </p:cNvSpPr>
            <p:nvPr/>
          </p:nvSpPr>
          <p:spPr bwMode="auto">
            <a:xfrm>
              <a:off x="4053027" y="1418721"/>
              <a:ext cx="16530" cy="16611"/>
            </a:xfrm>
            <a:custGeom>
              <a:avLst/>
              <a:gdLst>
                <a:gd name="T0" fmla="*/ 0 w 8"/>
                <a:gd name="T1" fmla="*/ 8 h 8"/>
                <a:gd name="T2" fmla="*/ 8 w 8"/>
                <a:gd name="T3" fmla="*/ 0 h 8"/>
                <a:gd name="T4" fmla="*/ 8 w 8"/>
                <a:gd name="T5" fmla="*/ 8 h 8"/>
                <a:gd name="T6" fmla="*/ 0 w 8"/>
                <a:gd name="T7" fmla="*/ 8 h 8"/>
              </a:gdLst>
              <a:ahLst/>
              <a:cxnLst>
                <a:cxn ang="0">
                  <a:pos x="T0" y="T1"/>
                </a:cxn>
                <a:cxn ang="0">
                  <a:pos x="T2" y="T3"/>
                </a:cxn>
                <a:cxn ang="0">
                  <a:pos x="T4" y="T5"/>
                </a:cxn>
                <a:cxn ang="0">
                  <a:pos x="T6" y="T7"/>
                </a:cxn>
              </a:cxnLst>
              <a:rect l="0" t="0" r="r" b="b"/>
              <a:pathLst>
                <a:path w="8" h="8">
                  <a:moveTo>
                    <a:pt x="0" y="8"/>
                  </a:moveTo>
                  <a:lnTo>
                    <a:pt x="8" y="0"/>
                  </a:lnTo>
                  <a:lnTo>
                    <a:pt x="8" y="8"/>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41" name="Freeform 172">
              <a:extLst>
                <a:ext uri="{FF2B5EF4-FFF2-40B4-BE49-F238E27FC236}">
                  <a16:creationId xmlns:a16="http://schemas.microsoft.com/office/drawing/2014/main" id="{48147FEE-A929-9109-B86B-EFA903512DD5}"/>
                </a:ext>
              </a:extLst>
            </p:cNvPr>
            <p:cNvSpPr>
              <a:spLocks/>
            </p:cNvSpPr>
            <p:nvPr/>
          </p:nvSpPr>
          <p:spPr bwMode="auto">
            <a:xfrm>
              <a:off x="4150695" y="1451956"/>
              <a:ext cx="180312" cy="81547"/>
            </a:xfrm>
            <a:custGeom>
              <a:avLst/>
              <a:gdLst>
                <a:gd name="T0" fmla="*/ 0 w 88"/>
                <a:gd name="T1" fmla="*/ 24 h 40"/>
                <a:gd name="T2" fmla="*/ 0 w 88"/>
                <a:gd name="T3" fmla="*/ 32 h 40"/>
                <a:gd name="T4" fmla="*/ 8 w 88"/>
                <a:gd name="T5" fmla="*/ 32 h 40"/>
                <a:gd name="T6" fmla="*/ 24 w 88"/>
                <a:gd name="T7" fmla="*/ 32 h 40"/>
                <a:gd name="T8" fmla="*/ 32 w 88"/>
                <a:gd name="T9" fmla="*/ 32 h 40"/>
                <a:gd name="T10" fmla="*/ 48 w 88"/>
                <a:gd name="T11" fmla="*/ 40 h 40"/>
                <a:gd name="T12" fmla="*/ 72 w 88"/>
                <a:gd name="T13" fmla="*/ 32 h 40"/>
                <a:gd name="T14" fmla="*/ 88 w 88"/>
                <a:gd name="T15" fmla="*/ 16 h 40"/>
                <a:gd name="T16" fmla="*/ 80 w 88"/>
                <a:gd name="T17" fmla="*/ 8 h 40"/>
                <a:gd name="T18" fmla="*/ 64 w 88"/>
                <a:gd name="T19" fmla="*/ 0 h 40"/>
                <a:gd name="T20" fmla="*/ 56 w 88"/>
                <a:gd name="T21" fmla="*/ 8 h 40"/>
                <a:gd name="T22" fmla="*/ 48 w 88"/>
                <a:gd name="T23" fmla="*/ 8 h 40"/>
                <a:gd name="T24" fmla="*/ 32 w 88"/>
                <a:gd name="T25" fmla="*/ 16 h 40"/>
                <a:gd name="T26" fmla="*/ 40 w 88"/>
                <a:gd name="T27" fmla="*/ 24 h 40"/>
                <a:gd name="T28" fmla="*/ 0 w 88"/>
                <a:gd name="T2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40">
                  <a:moveTo>
                    <a:pt x="0" y="24"/>
                  </a:moveTo>
                  <a:lnTo>
                    <a:pt x="0" y="32"/>
                  </a:lnTo>
                  <a:lnTo>
                    <a:pt x="8" y="32"/>
                  </a:lnTo>
                  <a:lnTo>
                    <a:pt x="24" y="32"/>
                  </a:lnTo>
                  <a:lnTo>
                    <a:pt x="32" y="32"/>
                  </a:lnTo>
                  <a:lnTo>
                    <a:pt x="48" y="40"/>
                  </a:lnTo>
                  <a:lnTo>
                    <a:pt x="72" y="32"/>
                  </a:lnTo>
                  <a:lnTo>
                    <a:pt x="88" y="16"/>
                  </a:lnTo>
                  <a:lnTo>
                    <a:pt x="80" y="8"/>
                  </a:lnTo>
                  <a:lnTo>
                    <a:pt x="64" y="0"/>
                  </a:lnTo>
                  <a:lnTo>
                    <a:pt x="56" y="8"/>
                  </a:lnTo>
                  <a:lnTo>
                    <a:pt x="48" y="8"/>
                  </a:lnTo>
                  <a:lnTo>
                    <a:pt x="32" y="16"/>
                  </a:lnTo>
                  <a:lnTo>
                    <a:pt x="40" y="24"/>
                  </a:lnTo>
                  <a:lnTo>
                    <a:pt x="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42" name="Freeform 173">
              <a:extLst>
                <a:ext uri="{FF2B5EF4-FFF2-40B4-BE49-F238E27FC236}">
                  <a16:creationId xmlns:a16="http://schemas.microsoft.com/office/drawing/2014/main" id="{B2E0CD65-C89A-0F10-713A-8FF8740CDF1D}"/>
                </a:ext>
              </a:extLst>
            </p:cNvPr>
            <p:cNvSpPr>
              <a:spLocks/>
            </p:cNvSpPr>
            <p:nvPr/>
          </p:nvSpPr>
          <p:spPr bwMode="auto">
            <a:xfrm>
              <a:off x="4053025" y="1500274"/>
              <a:ext cx="114199" cy="49833"/>
            </a:xfrm>
            <a:custGeom>
              <a:avLst/>
              <a:gdLst>
                <a:gd name="T0" fmla="*/ 16 w 56"/>
                <a:gd name="T1" fmla="*/ 24 h 24"/>
                <a:gd name="T2" fmla="*/ 8 w 56"/>
                <a:gd name="T3" fmla="*/ 16 h 24"/>
                <a:gd name="T4" fmla="*/ 8 w 56"/>
                <a:gd name="T5" fmla="*/ 24 h 24"/>
                <a:gd name="T6" fmla="*/ 0 w 56"/>
                <a:gd name="T7" fmla="*/ 16 h 24"/>
                <a:gd name="T8" fmla="*/ 16 w 56"/>
                <a:gd name="T9" fmla="*/ 0 h 24"/>
                <a:gd name="T10" fmla="*/ 24 w 56"/>
                <a:gd name="T11" fmla="*/ 0 h 24"/>
                <a:gd name="T12" fmla="*/ 48 w 56"/>
                <a:gd name="T13" fmla="*/ 0 h 24"/>
                <a:gd name="T14" fmla="*/ 48 w 56"/>
                <a:gd name="T15" fmla="*/ 8 h 24"/>
                <a:gd name="T16" fmla="*/ 56 w 56"/>
                <a:gd name="T17" fmla="*/ 8 h 24"/>
                <a:gd name="T18" fmla="*/ 48 w 56"/>
                <a:gd name="T19" fmla="*/ 16 h 24"/>
                <a:gd name="T20" fmla="*/ 40 w 56"/>
                <a:gd name="T21" fmla="*/ 16 h 24"/>
                <a:gd name="T22" fmla="*/ 40 w 56"/>
                <a:gd name="T23" fmla="*/ 24 h 24"/>
                <a:gd name="T24" fmla="*/ 32 w 56"/>
                <a:gd name="T25" fmla="*/ 16 h 24"/>
                <a:gd name="T26" fmla="*/ 16 w 56"/>
                <a:gd name="T2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24">
                  <a:moveTo>
                    <a:pt x="16" y="24"/>
                  </a:moveTo>
                  <a:lnTo>
                    <a:pt x="8" y="16"/>
                  </a:lnTo>
                  <a:lnTo>
                    <a:pt x="8" y="24"/>
                  </a:lnTo>
                  <a:lnTo>
                    <a:pt x="0" y="16"/>
                  </a:lnTo>
                  <a:lnTo>
                    <a:pt x="16" y="0"/>
                  </a:lnTo>
                  <a:lnTo>
                    <a:pt x="24" y="0"/>
                  </a:lnTo>
                  <a:lnTo>
                    <a:pt x="48" y="0"/>
                  </a:lnTo>
                  <a:lnTo>
                    <a:pt x="48" y="8"/>
                  </a:lnTo>
                  <a:lnTo>
                    <a:pt x="56" y="8"/>
                  </a:lnTo>
                  <a:lnTo>
                    <a:pt x="48" y="16"/>
                  </a:lnTo>
                  <a:lnTo>
                    <a:pt x="40" y="16"/>
                  </a:lnTo>
                  <a:lnTo>
                    <a:pt x="40" y="24"/>
                  </a:lnTo>
                  <a:lnTo>
                    <a:pt x="32" y="16"/>
                  </a:lnTo>
                  <a:lnTo>
                    <a:pt x="16" y="24"/>
                  </a:lnTo>
                  <a:close/>
                </a:path>
              </a:pathLst>
            </a:custGeom>
            <a:solidFill>
              <a:srgbClr val="65A6FB"/>
            </a:solid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43" name="Freeform 174">
              <a:extLst>
                <a:ext uri="{FF2B5EF4-FFF2-40B4-BE49-F238E27FC236}">
                  <a16:creationId xmlns:a16="http://schemas.microsoft.com/office/drawing/2014/main" id="{C7AF90A0-B5A3-9DCF-DA55-4B6D4696C8BB}"/>
                </a:ext>
              </a:extLst>
            </p:cNvPr>
            <p:cNvSpPr>
              <a:spLocks/>
            </p:cNvSpPr>
            <p:nvPr/>
          </p:nvSpPr>
          <p:spPr bwMode="auto">
            <a:xfrm>
              <a:off x="4397124" y="1649773"/>
              <a:ext cx="33058" cy="98158"/>
            </a:xfrm>
            <a:custGeom>
              <a:avLst/>
              <a:gdLst>
                <a:gd name="T0" fmla="*/ 8 w 16"/>
                <a:gd name="T1" fmla="*/ 16 h 48"/>
                <a:gd name="T2" fmla="*/ 16 w 16"/>
                <a:gd name="T3" fmla="*/ 32 h 48"/>
                <a:gd name="T4" fmla="*/ 8 w 16"/>
                <a:gd name="T5" fmla="*/ 48 h 48"/>
                <a:gd name="T6" fmla="*/ 0 w 16"/>
                <a:gd name="T7" fmla="*/ 40 h 48"/>
                <a:gd name="T8" fmla="*/ 0 w 16"/>
                <a:gd name="T9" fmla="*/ 16 h 48"/>
                <a:gd name="T10" fmla="*/ 0 w 16"/>
                <a:gd name="T11" fmla="*/ 0 h 48"/>
                <a:gd name="T12" fmla="*/ 8 w 16"/>
                <a:gd name="T13" fmla="*/ 0 h 48"/>
                <a:gd name="T14" fmla="*/ 8 w 16"/>
                <a:gd name="T15" fmla="*/ 16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8">
                  <a:moveTo>
                    <a:pt x="8" y="16"/>
                  </a:moveTo>
                  <a:lnTo>
                    <a:pt x="16" y="32"/>
                  </a:lnTo>
                  <a:lnTo>
                    <a:pt x="8" y="48"/>
                  </a:lnTo>
                  <a:lnTo>
                    <a:pt x="0" y="40"/>
                  </a:lnTo>
                  <a:lnTo>
                    <a:pt x="0" y="16"/>
                  </a:lnTo>
                  <a:lnTo>
                    <a:pt x="0" y="0"/>
                  </a:lnTo>
                  <a:lnTo>
                    <a:pt x="8" y="0"/>
                  </a:lnTo>
                  <a:lnTo>
                    <a:pt x="8"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44" name="Freeform 175">
              <a:extLst>
                <a:ext uri="{FF2B5EF4-FFF2-40B4-BE49-F238E27FC236}">
                  <a16:creationId xmlns:a16="http://schemas.microsoft.com/office/drawing/2014/main" id="{EDF1C222-1159-69AF-3909-994395FCF7CC}"/>
                </a:ext>
              </a:extLst>
            </p:cNvPr>
            <p:cNvSpPr>
              <a:spLocks/>
            </p:cNvSpPr>
            <p:nvPr/>
          </p:nvSpPr>
          <p:spPr bwMode="auto">
            <a:xfrm>
              <a:off x="4299458" y="1468567"/>
              <a:ext cx="162281" cy="81547"/>
            </a:xfrm>
            <a:custGeom>
              <a:avLst/>
              <a:gdLst>
                <a:gd name="T0" fmla="*/ 8 w 80"/>
                <a:gd name="T1" fmla="*/ 32 h 40"/>
                <a:gd name="T2" fmla="*/ 24 w 80"/>
                <a:gd name="T3" fmla="*/ 40 h 40"/>
                <a:gd name="T4" fmla="*/ 56 w 80"/>
                <a:gd name="T5" fmla="*/ 40 h 40"/>
                <a:gd name="T6" fmla="*/ 64 w 80"/>
                <a:gd name="T7" fmla="*/ 32 h 40"/>
                <a:gd name="T8" fmla="*/ 72 w 80"/>
                <a:gd name="T9" fmla="*/ 16 h 40"/>
                <a:gd name="T10" fmla="*/ 80 w 80"/>
                <a:gd name="T11" fmla="*/ 8 h 40"/>
                <a:gd name="T12" fmla="*/ 72 w 80"/>
                <a:gd name="T13" fmla="*/ 8 h 40"/>
                <a:gd name="T14" fmla="*/ 72 w 80"/>
                <a:gd name="T15" fmla="*/ 0 h 40"/>
                <a:gd name="T16" fmla="*/ 56 w 80"/>
                <a:gd name="T17" fmla="*/ 0 h 40"/>
                <a:gd name="T18" fmla="*/ 32 w 80"/>
                <a:gd name="T19" fmla="*/ 16 h 40"/>
                <a:gd name="T20" fmla="*/ 16 w 80"/>
                <a:gd name="T21" fmla="*/ 8 h 40"/>
                <a:gd name="T22" fmla="*/ 0 w 80"/>
                <a:gd name="T23" fmla="*/ 24 h 40"/>
                <a:gd name="T24" fmla="*/ 8 w 80"/>
                <a:gd name="T2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0">
                  <a:moveTo>
                    <a:pt x="8" y="32"/>
                  </a:moveTo>
                  <a:lnTo>
                    <a:pt x="24" y="40"/>
                  </a:lnTo>
                  <a:lnTo>
                    <a:pt x="56" y="40"/>
                  </a:lnTo>
                  <a:lnTo>
                    <a:pt x="64" y="32"/>
                  </a:lnTo>
                  <a:lnTo>
                    <a:pt x="72" y="16"/>
                  </a:lnTo>
                  <a:lnTo>
                    <a:pt x="80" y="8"/>
                  </a:lnTo>
                  <a:lnTo>
                    <a:pt x="72" y="8"/>
                  </a:lnTo>
                  <a:lnTo>
                    <a:pt x="72" y="0"/>
                  </a:lnTo>
                  <a:lnTo>
                    <a:pt x="56" y="0"/>
                  </a:lnTo>
                  <a:lnTo>
                    <a:pt x="32" y="16"/>
                  </a:lnTo>
                  <a:lnTo>
                    <a:pt x="16" y="8"/>
                  </a:lnTo>
                  <a:lnTo>
                    <a:pt x="0" y="24"/>
                  </a:lnTo>
                  <a:lnTo>
                    <a:pt x="8"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45" name="Freeform 176">
              <a:extLst>
                <a:ext uri="{FF2B5EF4-FFF2-40B4-BE49-F238E27FC236}">
                  <a16:creationId xmlns:a16="http://schemas.microsoft.com/office/drawing/2014/main" id="{F0D9586B-DA18-C7FF-BCE8-DFAA92D6C4F0}"/>
                </a:ext>
              </a:extLst>
            </p:cNvPr>
            <p:cNvSpPr>
              <a:spLocks/>
            </p:cNvSpPr>
            <p:nvPr/>
          </p:nvSpPr>
          <p:spPr bwMode="auto">
            <a:xfrm>
              <a:off x="5116869" y="2043912"/>
              <a:ext cx="49585" cy="49833"/>
            </a:xfrm>
            <a:custGeom>
              <a:avLst/>
              <a:gdLst>
                <a:gd name="T0" fmla="*/ 0 w 24"/>
                <a:gd name="T1" fmla="*/ 16 h 24"/>
                <a:gd name="T2" fmla="*/ 8 w 24"/>
                <a:gd name="T3" fmla="*/ 0 h 24"/>
                <a:gd name="T4" fmla="*/ 24 w 24"/>
                <a:gd name="T5" fmla="*/ 0 h 24"/>
                <a:gd name="T6" fmla="*/ 24 w 24"/>
                <a:gd name="T7" fmla="*/ 8 h 24"/>
                <a:gd name="T8" fmla="*/ 16 w 24"/>
                <a:gd name="T9" fmla="*/ 8 h 24"/>
                <a:gd name="T10" fmla="*/ 24 w 24"/>
                <a:gd name="T11" fmla="*/ 24 h 24"/>
                <a:gd name="T12" fmla="*/ 0 w 24"/>
                <a:gd name="T13" fmla="*/ 16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0" y="16"/>
                  </a:moveTo>
                  <a:lnTo>
                    <a:pt x="8" y="0"/>
                  </a:lnTo>
                  <a:lnTo>
                    <a:pt x="24" y="0"/>
                  </a:lnTo>
                  <a:lnTo>
                    <a:pt x="24" y="8"/>
                  </a:lnTo>
                  <a:lnTo>
                    <a:pt x="16" y="8"/>
                  </a:lnTo>
                  <a:lnTo>
                    <a:pt x="24" y="24"/>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46" name="Freeform 177">
              <a:extLst>
                <a:ext uri="{FF2B5EF4-FFF2-40B4-BE49-F238E27FC236}">
                  <a16:creationId xmlns:a16="http://schemas.microsoft.com/office/drawing/2014/main" id="{E02C90D4-2973-FAB4-2EC6-CFE93EBBA69E}"/>
                </a:ext>
              </a:extLst>
            </p:cNvPr>
            <p:cNvSpPr>
              <a:spLocks/>
            </p:cNvSpPr>
            <p:nvPr/>
          </p:nvSpPr>
          <p:spPr bwMode="auto">
            <a:xfrm>
              <a:off x="5068784" y="2060522"/>
              <a:ext cx="48086" cy="16612"/>
            </a:xfrm>
            <a:custGeom>
              <a:avLst/>
              <a:gdLst>
                <a:gd name="T0" fmla="*/ 0 w 24"/>
                <a:gd name="T1" fmla="*/ 8 h 8"/>
                <a:gd name="T2" fmla="*/ 8 w 24"/>
                <a:gd name="T3" fmla="*/ 0 h 8"/>
                <a:gd name="T4" fmla="*/ 24 w 24"/>
                <a:gd name="T5" fmla="*/ 8 h 8"/>
                <a:gd name="T6" fmla="*/ 8 w 24"/>
                <a:gd name="T7" fmla="*/ 8 h 8"/>
                <a:gd name="T8" fmla="*/ 0 w 24"/>
                <a:gd name="T9" fmla="*/ 8 h 8"/>
              </a:gdLst>
              <a:ahLst/>
              <a:cxnLst>
                <a:cxn ang="0">
                  <a:pos x="T0" y="T1"/>
                </a:cxn>
                <a:cxn ang="0">
                  <a:pos x="T2" y="T3"/>
                </a:cxn>
                <a:cxn ang="0">
                  <a:pos x="T4" y="T5"/>
                </a:cxn>
                <a:cxn ang="0">
                  <a:pos x="T6" y="T7"/>
                </a:cxn>
                <a:cxn ang="0">
                  <a:pos x="T8" y="T9"/>
                </a:cxn>
              </a:cxnLst>
              <a:rect l="0" t="0" r="r" b="b"/>
              <a:pathLst>
                <a:path w="24" h="8">
                  <a:moveTo>
                    <a:pt x="0" y="8"/>
                  </a:moveTo>
                  <a:lnTo>
                    <a:pt x="8" y="0"/>
                  </a:lnTo>
                  <a:lnTo>
                    <a:pt x="24" y="8"/>
                  </a:lnTo>
                  <a:lnTo>
                    <a:pt x="8" y="8"/>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47" name="Freeform 178">
              <a:extLst>
                <a:ext uri="{FF2B5EF4-FFF2-40B4-BE49-F238E27FC236}">
                  <a16:creationId xmlns:a16="http://schemas.microsoft.com/office/drawing/2014/main" id="{2FCC7373-C37A-90B7-D876-587CCB51740D}"/>
                </a:ext>
              </a:extLst>
            </p:cNvPr>
            <p:cNvSpPr>
              <a:spLocks/>
            </p:cNvSpPr>
            <p:nvPr/>
          </p:nvSpPr>
          <p:spPr bwMode="auto">
            <a:xfrm>
              <a:off x="3545160" y="1862701"/>
              <a:ext cx="311040" cy="247657"/>
            </a:xfrm>
            <a:custGeom>
              <a:avLst/>
              <a:gdLst>
                <a:gd name="T0" fmla="*/ 152 w 152"/>
                <a:gd name="T1" fmla="*/ 16 h 120"/>
                <a:gd name="T2" fmla="*/ 152 w 152"/>
                <a:gd name="T3" fmla="*/ 56 h 120"/>
                <a:gd name="T4" fmla="*/ 120 w 152"/>
                <a:gd name="T5" fmla="*/ 64 h 120"/>
                <a:gd name="T6" fmla="*/ 120 w 152"/>
                <a:gd name="T7" fmla="*/ 72 h 120"/>
                <a:gd name="T8" fmla="*/ 104 w 152"/>
                <a:gd name="T9" fmla="*/ 88 h 120"/>
                <a:gd name="T10" fmla="*/ 64 w 152"/>
                <a:gd name="T11" fmla="*/ 96 h 120"/>
                <a:gd name="T12" fmla="*/ 56 w 152"/>
                <a:gd name="T13" fmla="*/ 104 h 120"/>
                <a:gd name="T14" fmla="*/ 56 w 152"/>
                <a:gd name="T15" fmla="*/ 120 h 120"/>
                <a:gd name="T16" fmla="*/ 0 w 152"/>
                <a:gd name="T17" fmla="*/ 120 h 120"/>
                <a:gd name="T18" fmla="*/ 24 w 152"/>
                <a:gd name="T19" fmla="*/ 112 h 120"/>
                <a:gd name="T20" fmla="*/ 40 w 152"/>
                <a:gd name="T21" fmla="*/ 96 h 120"/>
                <a:gd name="T22" fmla="*/ 48 w 152"/>
                <a:gd name="T23" fmla="*/ 80 h 120"/>
                <a:gd name="T24" fmla="*/ 48 w 152"/>
                <a:gd name="T25" fmla="*/ 64 h 120"/>
                <a:gd name="T26" fmla="*/ 56 w 152"/>
                <a:gd name="T27" fmla="*/ 48 h 120"/>
                <a:gd name="T28" fmla="*/ 64 w 152"/>
                <a:gd name="T29" fmla="*/ 40 h 120"/>
                <a:gd name="T30" fmla="*/ 88 w 152"/>
                <a:gd name="T31" fmla="*/ 24 h 120"/>
                <a:gd name="T32" fmla="*/ 96 w 152"/>
                <a:gd name="T33" fmla="*/ 0 h 120"/>
                <a:gd name="T34" fmla="*/ 104 w 152"/>
                <a:gd name="T35" fmla="*/ 0 h 120"/>
                <a:gd name="T36" fmla="*/ 112 w 152"/>
                <a:gd name="T37" fmla="*/ 8 h 120"/>
                <a:gd name="T38" fmla="*/ 136 w 152"/>
                <a:gd name="T39" fmla="*/ 8 h 120"/>
                <a:gd name="T40" fmla="*/ 144 w 152"/>
                <a:gd name="T41" fmla="*/ 8 h 120"/>
                <a:gd name="T42" fmla="*/ 152 w 152"/>
                <a:gd name="T43" fmla="*/ 1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2" h="120">
                  <a:moveTo>
                    <a:pt x="152" y="16"/>
                  </a:moveTo>
                  <a:lnTo>
                    <a:pt x="152" y="56"/>
                  </a:lnTo>
                  <a:lnTo>
                    <a:pt x="120" y="64"/>
                  </a:lnTo>
                  <a:lnTo>
                    <a:pt x="120" y="72"/>
                  </a:lnTo>
                  <a:lnTo>
                    <a:pt x="104" y="88"/>
                  </a:lnTo>
                  <a:lnTo>
                    <a:pt x="64" y="96"/>
                  </a:lnTo>
                  <a:lnTo>
                    <a:pt x="56" y="104"/>
                  </a:lnTo>
                  <a:lnTo>
                    <a:pt x="56" y="120"/>
                  </a:lnTo>
                  <a:lnTo>
                    <a:pt x="0" y="120"/>
                  </a:lnTo>
                  <a:lnTo>
                    <a:pt x="24" y="112"/>
                  </a:lnTo>
                  <a:lnTo>
                    <a:pt x="40" y="96"/>
                  </a:lnTo>
                  <a:lnTo>
                    <a:pt x="48" y="80"/>
                  </a:lnTo>
                  <a:lnTo>
                    <a:pt x="48" y="64"/>
                  </a:lnTo>
                  <a:lnTo>
                    <a:pt x="56" y="48"/>
                  </a:lnTo>
                  <a:lnTo>
                    <a:pt x="64" y="40"/>
                  </a:lnTo>
                  <a:lnTo>
                    <a:pt x="88" y="24"/>
                  </a:lnTo>
                  <a:lnTo>
                    <a:pt x="96" y="0"/>
                  </a:lnTo>
                  <a:lnTo>
                    <a:pt x="104" y="0"/>
                  </a:lnTo>
                  <a:lnTo>
                    <a:pt x="112" y="8"/>
                  </a:lnTo>
                  <a:lnTo>
                    <a:pt x="136" y="8"/>
                  </a:lnTo>
                  <a:lnTo>
                    <a:pt x="144" y="8"/>
                  </a:lnTo>
                  <a:lnTo>
                    <a:pt x="152"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48" name="Freeform 179">
              <a:extLst>
                <a:ext uri="{FF2B5EF4-FFF2-40B4-BE49-F238E27FC236}">
                  <a16:creationId xmlns:a16="http://schemas.microsoft.com/office/drawing/2014/main" id="{F4D0BE0F-C793-EC44-C3E0-15EC65E920B0}"/>
                </a:ext>
              </a:extLst>
            </p:cNvPr>
            <p:cNvSpPr>
              <a:spLocks/>
            </p:cNvSpPr>
            <p:nvPr/>
          </p:nvSpPr>
          <p:spPr bwMode="auto">
            <a:xfrm>
              <a:off x="5019203" y="2587550"/>
              <a:ext cx="49585" cy="49833"/>
            </a:xfrm>
            <a:custGeom>
              <a:avLst/>
              <a:gdLst>
                <a:gd name="T0" fmla="*/ 16 w 24"/>
                <a:gd name="T1" fmla="*/ 16 h 24"/>
                <a:gd name="T2" fmla="*/ 24 w 24"/>
                <a:gd name="T3" fmla="*/ 8 h 24"/>
                <a:gd name="T4" fmla="*/ 16 w 24"/>
                <a:gd name="T5" fmla="*/ 0 h 24"/>
                <a:gd name="T6" fmla="*/ 8 w 24"/>
                <a:gd name="T7" fmla="*/ 8 h 24"/>
                <a:gd name="T8" fmla="*/ 0 w 24"/>
                <a:gd name="T9" fmla="*/ 24 h 24"/>
                <a:gd name="T10" fmla="*/ 16 w 24"/>
                <a:gd name="T11" fmla="*/ 24 h 24"/>
                <a:gd name="T12" fmla="*/ 16 w 24"/>
                <a:gd name="T13" fmla="*/ 16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6" y="16"/>
                  </a:moveTo>
                  <a:lnTo>
                    <a:pt x="24" y="8"/>
                  </a:lnTo>
                  <a:lnTo>
                    <a:pt x="16" y="0"/>
                  </a:lnTo>
                  <a:lnTo>
                    <a:pt x="8" y="8"/>
                  </a:lnTo>
                  <a:lnTo>
                    <a:pt x="0" y="24"/>
                  </a:lnTo>
                  <a:lnTo>
                    <a:pt x="16" y="24"/>
                  </a:lnTo>
                  <a:lnTo>
                    <a:pt x="16"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49" name="Freeform 180">
              <a:extLst>
                <a:ext uri="{FF2B5EF4-FFF2-40B4-BE49-F238E27FC236}">
                  <a16:creationId xmlns:a16="http://schemas.microsoft.com/office/drawing/2014/main" id="{9289A27D-42C9-41DC-A740-047EFBE8F457}"/>
                </a:ext>
              </a:extLst>
            </p:cNvPr>
            <p:cNvSpPr>
              <a:spLocks/>
            </p:cNvSpPr>
            <p:nvPr/>
          </p:nvSpPr>
          <p:spPr bwMode="auto">
            <a:xfrm>
              <a:off x="5002670" y="2604153"/>
              <a:ext cx="277982" cy="428870"/>
            </a:xfrm>
            <a:custGeom>
              <a:avLst/>
              <a:gdLst>
                <a:gd name="T0" fmla="*/ 8 w 136"/>
                <a:gd name="T1" fmla="*/ 120 h 208"/>
                <a:gd name="T2" fmla="*/ 0 w 136"/>
                <a:gd name="T3" fmla="*/ 144 h 208"/>
                <a:gd name="T4" fmla="*/ 0 w 136"/>
                <a:gd name="T5" fmla="*/ 192 h 208"/>
                <a:gd name="T6" fmla="*/ 8 w 136"/>
                <a:gd name="T7" fmla="*/ 208 h 208"/>
                <a:gd name="T8" fmla="*/ 32 w 136"/>
                <a:gd name="T9" fmla="*/ 176 h 208"/>
                <a:gd name="T10" fmla="*/ 72 w 136"/>
                <a:gd name="T11" fmla="*/ 144 h 208"/>
                <a:gd name="T12" fmla="*/ 88 w 136"/>
                <a:gd name="T13" fmla="*/ 120 h 208"/>
                <a:gd name="T14" fmla="*/ 104 w 136"/>
                <a:gd name="T15" fmla="*/ 96 h 208"/>
                <a:gd name="T16" fmla="*/ 128 w 136"/>
                <a:gd name="T17" fmla="*/ 24 h 208"/>
                <a:gd name="T18" fmla="*/ 136 w 136"/>
                <a:gd name="T19" fmla="*/ 8 h 208"/>
                <a:gd name="T20" fmla="*/ 128 w 136"/>
                <a:gd name="T21" fmla="*/ 0 h 208"/>
                <a:gd name="T22" fmla="*/ 120 w 136"/>
                <a:gd name="T23" fmla="*/ 8 h 208"/>
                <a:gd name="T24" fmla="*/ 104 w 136"/>
                <a:gd name="T25" fmla="*/ 16 h 208"/>
                <a:gd name="T26" fmla="*/ 80 w 136"/>
                <a:gd name="T27" fmla="*/ 16 h 208"/>
                <a:gd name="T28" fmla="*/ 48 w 136"/>
                <a:gd name="T29" fmla="*/ 24 h 208"/>
                <a:gd name="T30" fmla="*/ 40 w 136"/>
                <a:gd name="T31" fmla="*/ 24 h 208"/>
                <a:gd name="T32" fmla="*/ 24 w 136"/>
                <a:gd name="T33" fmla="*/ 8 h 208"/>
                <a:gd name="T34" fmla="*/ 24 w 136"/>
                <a:gd name="T35" fmla="*/ 16 h 208"/>
                <a:gd name="T36" fmla="*/ 24 w 136"/>
                <a:gd name="T37" fmla="*/ 24 h 208"/>
                <a:gd name="T38" fmla="*/ 40 w 136"/>
                <a:gd name="T39" fmla="*/ 48 h 208"/>
                <a:gd name="T40" fmla="*/ 80 w 136"/>
                <a:gd name="T41" fmla="*/ 64 h 208"/>
                <a:gd name="T42" fmla="*/ 88 w 136"/>
                <a:gd name="T43" fmla="*/ 64 h 208"/>
                <a:gd name="T44" fmla="*/ 56 w 136"/>
                <a:gd name="T45" fmla="*/ 104 h 208"/>
                <a:gd name="T46" fmla="*/ 32 w 136"/>
                <a:gd name="T47" fmla="*/ 112 h 208"/>
                <a:gd name="T48" fmla="*/ 8 w 136"/>
                <a:gd name="T49" fmla="*/ 12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6" h="208">
                  <a:moveTo>
                    <a:pt x="8" y="120"/>
                  </a:moveTo>
                  <a:lnTo>
                    <a:pt x="0" y="144"/>
                  </a:lnTo>
                  <a:lnTo>
                    <a:pt x="0" y="192"/>
                  </a:lnTo>
                  <a:lnTo>
                    <a:pt x="8" y="208"/>
                  </a:lnTo>
                  <a:lnTo>
                    <a:pt x="32" y="176"/>
                  </a:lnTo>
                  <a:lnTo>
                    <a:pt x="72" y="144"/>
                  </a:lnTo>
                  <a:lnTo>
                    <a:pt x="88" y="120"/>
                  </a:lnTo>
                  <a:lnTo>
                    <a:pt x="104" y="96"/>
                  </a:lnTo>
                  <a:lnTo>
                    <a:pt x="128" y="24"/>
                  </a:lnTo>
                  <a:lnTo>
                    <a:pt x="136" y="8"/>
                  </a:lnTo>
                  <a:lnTo>
                    <a:pt x="128" y="0"/>
                  </a:lnTo>
                  <a:lnTo>
                    <a:pt x="120" y="8"/>
                  </a:lnTo>
                  <a:lnTo>
                    <a:pt x="104" y="16"/>
                  </a:lnTo>
                  <a:lnTo>
                    <a:pt x="80" y="16"/>
                  </a:lnTo>
                  <a:lnTo>
                    <a:pt x="48" y="24"/>
                  </a:lnTo>
                  <a:lnTo>
                    <a:pt x="40" y="24"/>
                  </a:lnTo>
                  <a:lnTo>
                    <a:pt x="24" y="8"/>
                  </a:lnTo>
                  <a:lnTo>
                    <a:pt x="24" y="16"/>
                  </a:lnTo>
                  <a:lnTo>
                    <a:pt x="24" y="24"/>
                  </a:lnTo>
                  <a:lnTo>
                    <a:pt x="40" y="48"/>
                  </a:lnTo>
                  <a:lnTo>
                    <a:pt x="80" y="64"/>
                  </a:lnTo>
                  <a:lnTo>
                    <a:pt x="88" y="64"/>
                  </a:lnTo>
                  <a:lnTo>
                    <a:pt x="56" y="104"/>
                  </a:lnTo>
                  <a:lnTo>
                    <a:pt x="32" y="112"/>
                  </a:lnTo>
                  <a:lnTo>
                    <a:pt x="8" y="12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50" name="Freeform 181">
              <a:extLst>
                <a:ext uri="{FF2B5EF4-FFF2-40B4-BE49-F238E27FC236}">
                  <a16:creationId xmlns:a16="http://schemas.microsoft.com/office/drawing/2014/main" id="{EC13B5D5-F576-B572-6DD5-2D4B9ADCE25C}"/>
                </a:ext>
              </a:extLst>
            </p:cNvPr>
            <p:cNvSpPr>
              <a:spLocks/>
            </p:cNvSpPr>
            <p:nvPr/>
          </p:nvSpPr>
          <p:spPr bwMode="auto">
            <a:xfrm>
              <a:off x="3430961" y="2537720"/>
              <a:ext cx="82644" cy="33223"/>
            </a:xfrm>
            <a:custGeom>
              <a:avLst/>
              <a:gdLst>
                <a:gd name="T0" fmla="*/ 0 w 40"/>
                <a:gd name="T1" fmla="*/ 16 h 16"/>
                <a:gd name="T2" fmla="*/ 16 w 40"/>
                <a:gd name="T3" fmla="*/ 8 h 16"/>
                <a:gd name="T4" fmla="*/ 32 w 40"/>
                <a:gd name="T5" fmla="*/ 16 h 16"/>
                <a:gd name="T6" fmla="*/ 40 w 40"/>
                <a:gd name="T7" fmla="*/ 8 h 16"/>
                <a:gd name="T8" fmla="*/ 16 w 40"/>
                <a:gd name="T9" fmla="*/ 0 h 16"/>
                <a:gd name="T10" fmla="*/ 0 w 40"/>
                <a:gd name="T11" fmla="*/ 8 h 16"/>
                <a:gd name="T12" fmla="*/ 0 w 4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0" h="16">
                  <a:moveTo>
                    <a:pt x="0" y="16"/>
                  </a:moveTo>
                  <a:lnTo>
                    <a:pt x="16" y="8"/>
                  </a:lnTo>
                  <a:lnTo>
                    <a:pt x="32" y="16"/>
                  </a:lnTo>
                  <a:lnTo>
                    <a:pt x="40" y="8"/>
                  </a:lnTo>
                  <a:lnTo>
                    <a:pt x="16" y="0"/>
                  </a:lnTo>
                  <a:lnTo>
                    <a:pt x="0" y="8"/>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51" name="Freeform 182">
              <a:extLst>
                <a:ext uri="{FF2B5EF4-FFF2-40B4-BE49-F238E27FC236}">
                  <a16:creationId xmlns:a16="http://schemas.microsoft.com/office/drawing/2014/main" id="{13B0D02F-1C1F-BD2C-D685-4C1C1E47A693}"/>
                </a:ext>
              </a:extLst>
            </p:cNvPr>
            <p:cNvSpPr>
              <a:spLocks/>
            </p:cNvSpPr>
            <p:nvPr/>
          </p:nvSpPr>
          <p:spPr bwMode="auto">
            <a:xfrm>
              <a:off x="3430961" y="2587550"/>
              <a:ext cx="82644" cy="49833"/>
            </a:xfrm>
            <a:custGeom>
              <a:avLst/>
              <a:gdLst>
                <a:gd name="T0" fmla="*/ 40 w 40"/>
                <a:gd name="T1" fmla="*/ 0 h 24"/>
                <a:gd name="T2" fmla="*/ 40 w 40"/>
                <a:gd name="T3" fmla="*/ 16 h 24"/>
                <a:gd name="T4" fmla="*/ 24 w 40"/>
                <a:gd name="T5" fmla="*/ 16 h 24"/>
                <a:gd name="T6" fmla="*/ 24 w 40"/>
                <a:gd name="T7" fmla="*/ 24 h 24"/>
                <a:gd name="T8" fmla="*/ 16 w 40"/>
                <a:gd name="T9" fmla="*/ 24 h 24"/>
                <a:gd name="T10" fmla="*/ 16 w 40"/>
                <a:gd name="T11" fmla="*/ 8 h 24"/>
                <a:gd name="T12" fmla="*/ 8 w 40"/>
                <a:gd name="T13" fmla="*/ 8 h 24"/>
                <a:gd name="T14" fmla="*/ 0 w 40"/>
                <a:gd name="T15" fmla="*/ 0 h 24"/>
                <a:gd name="T16" fmla="*/ 40 w 4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4">
                  <a:moveTo>
                    <a:pt x="40" y="0"/>
                  </a:moveTo>
                  <a:lnTo>
                    <a:pt x="40" y="16"/>
                  </a:lnTo>
                  <a:lnTo>
                    <a:pt x="24" y="16"/>
                  </a:lnTo>
                  <a:lnTo>
                    <a:pt x="24" y="24"/>
                  </a:lnTo>
                  <a:lnTo>
                    <a:pt x="16" y="24"/>
                  </a:lnTo>
                  <a:lnTo>
                    <a:pt x="16" y="8"/>
                  </a:lnTo>
                  <a:lnTo>
                    <a:pt x="8" y="8"/>
                  </a:lnTo>
                  <a:lnTo>
                    <a:pt x="0" y="0"/>
                  </a:lnTo>
                  <a:lnTo>
                    <a:pt x="4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52" name="Freeform 183">
              <a:extLst>
                <a:ext uri="{FF2B5EF4-FFF2-40B4-BE49-F238E27FC236}">
                  <a16:creationId xmlns:a16="http://schemas.microsoft.com/office/drawing/2014/main" id="{D96557D5-8ECB-F89E-4CF5-2A454BB56FA6}"/>
                </a:ext>
              </a:extLst>
            </p:cNvPr>
            <p:cNvSpPr>
              <a:spLocks/>
            </p:cNvSpPr>
            <p:nvPr/>
          </p:nvSpPr>
          <p:spPr bwMode="auto">
            <a:xfrm>
              <a:off x="3513596" y="2670595"/>
              <a:ext cx="81140" cy="98158"/>
            </a:xfrm>
            <a:custGeom>
              <a:avLst/>
              <a:gdLst>
                <a:gd name="T0" fmla="*/ 0 w 40"/>
                <a:gd name="T1" fmla="*/ 8 h 48"/>
                <a:gd name="T2" fmla="*/ 8 w 40"/>
                <a:gd name="T3" fmla="*/ 32 h 48"/>
                <a:gd name="T4" fmla="*/ 24 w 40"/>
                <a:gd name="T5" fmla="*/ 48 h 48"/>
                <a:gd name="T6" fmla="*/ 40 w 40"/>
                <a:gd name="T7" fmla="*/ 24 h 48"/>
                <a:gd name="T8" fmla="*/ 40 w 40"/>
                <a:gd name="T9" fmla="*/ 16 h 48"/>
                <a:gd name="T10" fmla="*/ 32 w 40"/>
                <a:gd name="T11" fmla="*/ 0 h 48"/>
                <a:gd name="T12" fmla="*/ 16 w 40"/>
                <a:gd name="T13" fmla="*/ 0 h 48"/>
                <a:gd name="T14" fmla="*/ 0 w 40"/>
                <a:gd name="T15" fmla="*/ 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8">
                  <a:moveTo>
                    <a:pt x="0" y="8"/>
                  </a:moveTo>
                  <a:lnTo>
                    <a:pt x="8" y="32"/>
                  </a:lnTo>
                  <a:lnTo>
                    <a:pt x="24" y="48"/>
                  </a:lnTo>
                  <a:lnTo>
                    <a:pt x="40" y="24"/>
                  </a:lnTo>
                  <a:lnTo>
                    <a:pt x="40" y="16"/>
                  </a:lnTo>
                  <a:lnTo>
                    <a:pt x="32" y="0"/>
                  </a:lnTo>
                  <a:lnTo>
                    <a:pt x="16"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53" name="Freeform 184">
              <a:extLst>
                <a:ext uri="{FF2B5EF4-FFF2-40B4-BE49-F238E27FC236}">
                  <a16:creationId xmlns:a16="http://schemas.microsoft.com/office/drawing/2014/main" id="{A4D62BFD-D355-6E25-A90B-7BBA4DFF8828}"/>
                </a:ext>
              </a:extLst>
            </p:cNvPr>
            <p:cNvSpPr>
              <a:spLocks/>
            </p:cNvSpPr>
            <p:nvPr/>
          </p:nvSpPr>
          <p:spPr bwMode="auto">
            <a:xfrm>
              <a:off x="4675103" y="3049635"/>
              <a:ext cx="49585" cy="64933"/>
            </a:xfrm>
            <a:custGeom>
              <a:avLst/>
              <a:gdLst>
                <a:gd name="T0" fmla="*/ 0 w 24"/>
                <a:gd name="T1" fmla="*/ 8 h 32"/>
                <a:gd name="T2" fmla="*/ 24 w 24"/>
                <a:gd name="T3" fmla="*/ 0 h 32"/>
                <a:gd name="T4" fmla="*/ 24 w 24"/>
                <a:gd name="T5" fmla="*/ 16 h 32"/>
                <a:gd name="T6" fmla="*/ 8 w 24"/>
                <a:gd name="T7" fmla="*/ 32 h 32"/>
                <a:gd name="T8" fmla="*/ 8 w 24"/>
                <a:gd name="T9" fmla="*/ 16 h 32"/>
                <a:gd name="T10" fmla="*/ 0 w 24"/>
                <a:gd name="T11" fmla="*/ 8 h 32"/>
              </a:gdLst>
              <a:ahLst/>
              <a:cxnLst>
                <a:cxn ang="0">
                  <a:pos x="T0" y="T1"/>
                </a:cxn>
                <a:cxn ang="0">
                  <a:pos x="T2" y="T3"/>
                </a:cxn>
                <a:cxn ang="0">
                  <a:pos x="T4" y="T5"/>
                </a:cxn>
                <a:cxn ang="0">
                  <a:pos x="T6" y="T7"/>
                </a:cxn>
                <a:cxn ang="0">
                  <a:pos x="T8" y="T9"/>
                </a:cxn>
                <a:cxn ang="0">
                  <a:pos x="T10" y="T11"/>
                </a:cxn>
              </a:cxnLst>
              <a:rect l="0" t="0" r="r" b="b"/>
              <a:pathLst>
                <a:path w="24" h="32">
                  <a:moveTo>
                    <a:pt x="0" y="8"/>
                  </a:moveTo>
                  <a:lnTo>
                    <a:pt x="24" y="0"/>
                  </a:lnTo>
                  <a:lnTo>
                    <a:pt x="24" y="16"/>
                  </a:lnTo>
                  <a:lnTo>
                    <a:pt x="8" y="32"/>
                  </a:lnTo>
                  <a:lnTo>
                    <a:pt x="8" y="16"/>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54" name="Freeform 185">
              <a:extLst>
                <a:ext uri="{FF2B5EF4-FFF2-40B4-BE49-F238E27FC236}">
                  <a16:creationId xmlns:a16="http://schemas.microsoft.com/office/drawing/2014/main" id="{F667D749-8D9B-A00F-6172-A3CDF85B0945}"/>
                </a:ext>
              </a:extLst>
            </p:cNvPr>
            <p:cNvSpPr>
              <a:spLocks/>
            </p:cNvSpPr>
            <p:nvPr/>
          </p:nvSpPr>
          <p:spPr bwMode="auto">
            <a:xfrm>
              <a:off x="4675103" y="3016410"/>
              <a:ext cx="49585" cy="48322"/>
            </a:xfrm>
            <a:custGeom>
              <a:avLst/>
              <a:gdLst>
                <a:gd name="T0" fmla="*/ 24 w 24"/>
                <a:gd name="T1" fmla="*/ 16 h 24"/>
                <a:gd name="T2" fmla="*/ 0 w 24"/>
                <a:gd name="T3" fmla="*/ 24 h 24"/>
                <a:gd name="T4" fmla="*/ 0 w 24"/>
                <a:gd name="T5" fmla="*/ 16 h 24"/>
                <a:gd name="T6" fmla="*/ 8 w 24"/>
                <a:gd name="T7" fmla="*/ 0 h 24"/>
                <a:gd name="T8" fmla="*/ 16 w 24"/>
                <a:gd name="T9" fmla="*/ 0 h 24"/>
                <a:gd name="T10" fmla="*/ 24 w 24"/>
                <a:gd name="T11" fmla="*/ 8 h 24"/>
                <a:gd name="T12" fmla="*/ 24 w 24"/>
                <a:gd name="T13" fmla="*/ 16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24" y="16"/>
                  </a:moveTo>
                  <a:lnTo>
                    <a:pt x="0" y="24"/>
                  </a:lnTo>
                  <a:lnTo>
                    <a:pt x="0" y="16"/>
                  </a:lnTo>
                  <a:lnTo>
                    <a:pt x="8" y="0"/>
                  </a:lnTo>
                  <a:lnTo>
                    <a:pt x="16" y="0"/>
                  </a:lnTo>
                  <a:lnTo>
                    <a:pt x="24" y="8"/>
                  </a:lnTo>
                  <a:lnTo>
                    <a:pt x="24"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55" name="Freeform 186">
              <a:extLst>
                <a:ext uri="{FF2B5EF4-FFF2-40B4-BE49-F238E27FC236}">
                  <a16:creationId xmlns:a16="http://schemas.microsoft.com/office/drawing/2014/main" id="{86542E8C-30D5-11B5-C4A7-7B2D3A7BBCC3}"/>
                </a:ext>
              </a:extLst>
            </p:cNvPr>
            <p:cNvSpPr>
              <a:spLocks/>
            </p:cNvSpPr>
            <p:nvPr/>
          </p:nvSpPr>
          <p:spPr bwMode="auto">
            <a:xfrm>
              <a:off x="4708161" y="3789597"/>
              <a:ext cx="33058" cy="33223"/>
            </a:xfrm>
            <a:custGeom>
              <a:avLst/>
              <a:gdLst>
                <a:gd name="T0" fmla="*/ 16 w 16"/>
                <a:gd name="T1" fmla="*/ 8 h 16"/>
                <a:gd name="T2" fmla="*/ 16 w 16"/>
                <a:gd name="T3" fmla="*/ 0 h 16"/>
                <a:gd name="T4" fmla="*/ 8 w 16"/>
                <a:gd name="T5" fmla="*/ 0 h 16"/>
                <a:gd name="T6" fmla="*/ 0 w 16"/>
                <a:gd name="T7" fmla="*/ 16 h 16"/>
                <a:gd name="T8" fmla="*/ 8 w 16"/>
                <a:gd name="T9" fmla="*/ 16 h 16"/>
                <a:gd name="T10" fmla="*/ 16 w 16"/>
                <a:gd name="T11" fmla="*/ 8 h 16"/>
              </a:gdLst>
              <a:ahLst/>
              <a:cxnLst>
                <a:cxn ang="0">
                  <a:pos x="T0" y="T1"/>
                </a:cxn>
                <a:cxn ang="0">
                  <a:pos x="T2" y="T3"/>
                </a:cxn>
                <a:cxn ang="0">
                  <a:pos x="T4" y="T5"/>
                </a:cxn>
                <a:cxn ang="0">
                  <a:pos x="T6" y="T7"/>
                </a:cxn>
                <a:cxn ang="0">
                  <a:pos x="T8" y="T9"/>
                </a:cxn>
                <a:cxn ang="0">
                  <a:pos x="T10" y="T11"/>
                </a:cxn>
              </a:cxnLst>
              <a:rect l="0" t="0" r="r" b="b"/>
              <a:pathLst>
                <a:path w="16" h="16">
                  <a:moveTo>
                    <a:pt x="16" y="8"/>
                  </a:moveTo>
                  <a:lnTo>
                    <a:pt x="16" y="0"/>
                  </a:lnTo>
                  <a:lnTo>
                    <a:pt x="8" y="0"/>
                  </a:lnTo>
                  <a:lnTo>
                    <a:pt x="0" y="16"/>
                  </a:lnTo>
                  <a:lnTo>
                    <a:pt x="8" y="16"/>
                  </a:lnTo>
                  <a:lnTo>
                    <a:pt x="16"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56" name="Freeform 187">
              <a:extLst>
                <a:ext uri="{FF2B5EF4-FFF2-40B4-BE49-F238E27FC236}">
                  <a16:creationId xmlns:a16="http://schemas.microsoft.com/office/drawing/2014/main" id="{16875B04-86A9-FBC8-F973-51CECE92BA2F}"/>
                </a:ext>
              </a:extLst>
            </p:cNvPr>
            <p:cNvSpPr>
              <a:spLocks/>
            </p:cNvSpPr>
            <p:nvPr/>
          </p:nvSpPr>
          <p:spPr bwMode="auto">
            <a:xfrm>
              <a:off x="4413650" y="3543439"/>
              <a:ext cx="261453" cy="279370"/>
            </a:xfrm>
            <a:custGeom>
              <a:avLst/>
              <a:gdLst>
                <a:gd name="T0" fmla="*/ 72 w 128"/>
                <a:gd name="T1" fmla="*/ 0 h 136"/>
                <a:gd name="T2" fmla="*/ 88 w 128"/>
                <a:gd name="T3" fmla="*/ 24 h 136"/>
                <a:gd name="T4" fmla="*/ 104 w 128"/>
                <a:gd name="T5" fmla="*/ 40 h 136"/>
                <a:gd name="T6" fmla="*/ 112 w 128"/>
                <a:gd name="T7" fmla="*/ 56 h 136"/>
                <a:gd name="T8" fmla="*/ 128 w 128"/>
                <a:gd name="T9" fmla="*/ 64 h 136"/>
                <a:gd name="T10" fmla="*/ 104 w 128"/>
                <a:gd name="T11" fmla="*/ 80 h 136"/>
                <a:gd name="T12" fmla="*/ 72 w 128"/>
                <a:gd name="T13" fmla="*/ 112 h 136"/>
                <a:gd name="T14" fmla="*/ 64 w 128"/>
                <a:gd name="T15" fmla="*/ 112 h 136"/>
                <a:gd name="T16" fmla="*/ 48 w 128"/>
                <a:gd name="T17" fmla="*/ 112 h 136"/>
                <a:gd name="T18" fmla="*/ 32 w 128"/>
                <a:gd name="T19" fmla="*/ 128 h 136"/>
                <a:gd name="T20" fmla="*/ 16 w 128"/>
                <a:gd name="T21" fmla="*/ 136 h 136"/>
                <a:gd name="T22" fmla="*/ 8 w 128"/>
                <a:gd name="T23" fmla="*/ 128 h 136"/>
                <a:gd name="T24" fmla="*/ 16 w 128"/>
                <a:gd name="T25" fmla="*/ 112 h 136"/>
                <a:gd name="T26" fmla="*/ 0 w 128"/>
                <a:gd name="T27" fmla="*/ 104 h 136"/>
                <a:gd name="T28" fmla="*/ 0 w 128"/>
                <a:gd name="T29" fmla="*/ 64 h 136"/>
                <a:gd name="T30" fmla="*/ 16 w 128"/>
                <a:gd name="T31" fmla="*/ 56 h 136"/>
                <a:gd name="T32" fmla="*/ 16 w 128"/>
                <a:gd name="T33" fmla="*/ 8 h 136"/>
                <a:gd name="T34" fmla="*/ 48 w 128"/>
                <a:gd name="T35" fmla="*/ 0 h 136"/>
                <a:gd name="T36" fmla="*/ 48 w 128"/>
                <a:gd name="T37" fmla="*/ 8 h 136"/>
                <a:gd name="T38" fmla="*/ 56 w 128"/>
                <a:gd name="T39" fmla="*/ 0 h 136"/>
                <a:gd name="T40" fmla="*/ 72 w 128"/>
                <a:gd name="T41"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36">
                  <a:moveTo>
                    <a:pt x="72" y="0"/>
                  </a:moveTo>
                  <a:lnTo>
                    <a:pt x="88" y="24"/>
                  </a:lnTo>
                  <a:lnTo>
                    <a:pt x="104" y="40"/>
                  </a:lnTo>
                  <a:lnTo>
                    <a:pt x="112" y="56"/>
                  </a:lnTo>
                  <a:lnTo>
                    <a:pt x="128" y="64"/>
                  </a:lnTo>
                  <a:lnTo>
                    <a:pt x="104" y="80"/>
                  </a:lnTo>
                  <a:lnTo>
                    <a:pt x="72" y="112"/>
                  </a:lnTo>
                  <a:lnTo>
                    <a:pt x="64" y="112"/>
                  </a:lnTo>
                  <a:lnTo>
                    <a:pt x="48" y="112"/>
                  </a:lnTo>
                  <a:lnTo>
                    <a:pt x="32" y="128"/>
                  </a:lnTo>
                  <a:lnTo>
                    <a:pt x="16" y="136"/>
                  </a:lnTo>
                  <a:lnTo>
                    <a:pt x="8" y="128"/>
                  </a:lnTo>
                  <a:lnTo>
                    <a:pt x="16" y="112"/>
                  </a:lnTo>
                  <a:lnTo>
                    <a:pt x="0" y="104"/>
                  </a:lnTo>
                  <a:lnTo>
                    <a:pt x="0" y="64"/>
                  </a:lnTo>
                  <a:lnTo>
                    <a:pt x="16" y="56"/>
                  </a:lnTo>
                  <a:lnTo>
                    <a:pt x="16" y="8"/>
                  </a:lnTo>
                  <a:lnTo>
                    <a:pt x="48" y="0"/>
                  </a:lnTo>
                  <a:lnTo>
                    <a:pt x="48" y="8"/>
                  </a:lnTo>
                  <a:lnTo>
                    <a:pt x="56" y="0"/>
                  </a:lnTo>
                  <a:lnTo>
                    <a:pt x="72"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57" name="Freeform 188">
              <a:extLst>
                <a:ext uri="{FF2B5EF4-FFF2-40B4-BE49-F238E27FC236}">
                  <a16:creationId xmlns:a16="http://schemas.microsoft.com/office/drawing/2014/main" id="{04AF698D-E68A-9C1F-2543-9AE228540BAD}"/>
                </a:ext>
              </a:extLst>
            </p:cNvPr>
            <p:cNvSpPr>
              <a:spLocks/>
            </p:cNvSpPr>
            <p:nvPr/>
          </p:nvSpPr>
          <p:spPr bwMode="auto">
            <a:xfrm>
              <a:off x="2056071" y="4283393"/>
              <a:ext cx="33058" cy="49834"/>
            </a:xfrm>
            <a:custGeom>
              <a:avLst/>
              <a:gdLst>
                <a:gd name="T0" fmla="*/ 0 w 16"/>
                <a:gd name="T1" fmla="*/ 0 h 24"/>
                <a:gd name="T2" fmla="*/ 8 w 16"/>
                <a:gd name="T3" fmla="*/ 24 h 24"/>
                <a:gd name="T4" fmla="*/ 16 w 16"/>
                <a:gd name="T5" fmla="*/ 24 h 24"/>
                <a:gd name="T6" fmla="*/ 16 w 16"/>
                <a:gd name="T7" fmla="*/ 8 h 24"/>
                <a:gd name="T8" fmla="*/ 0 w 16"/>
                <a:gd name="T9" fmla="*/ 0 h 24"/>
              </a:gdLst>
              <a:ahLst/>
              <a:cxnLst>
                <a:cxn ang="0">
                  <a:pos x="T0" y="T1"/>
                </a:cxn>
                <a:cxn ang="0">
                  <a:pos x="T2" y="T3"/>
                </a:cxn>
                <a:cxn ang="0">
                  <a:pos x="T4" y="T5"/>
                </a:cxn>
                <a:cxn ang="0">
                  <a:pos x="T6" y="T7"/>
                </a:cxn>
                <a:cxn ang="0">
                  <a:pos x="T8" y="T9"/>
                </a:cxn>
              </a:cxnLst>
              <a:rect l="0" t="0" r="r" b="b"/>
              <a:pathLst>
                <a:path w="16" h="24">
                  <a:moveTo>
                    <a:pt x="0" y="0"/>
                  </a:moveTo>
                  <a:lnTo>
                    <a:pt x="8" y="24"/>
                  </a:lnTo>
                  <a:lnTo>
                    <a:pt x="16" y="24"/>
                  </a:lnTo>
                  <a:lnTo>
                    <a:pt x="16" y="8"/>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58" name="Freeform 189">
              <a:extLst>
                <a:ext uri="{FF2B5EF4-FFF2-40B4-BE49-F238E27FC236}">
                  <a16:creationId xmlns:a16="http://schemas.microsoft.com/office/drawing/2014/main" id="{6AA4FAF0-D164-F9A9-CE3F-C7F2BB33ED73}"/>
                </a:ext>
              </a:extLst>
            </p:cNvPr>
            <p:cNvSpPr>
              <a:spLocks/>
            </p:cNvSpPr>
            <p:nvPr/>
          </p:nvSpPr>
          <p:spPr bwMode="auto">
            <a:xfrm>
              <a:off x="2497831" y="4580887"/>
              <a:ext cx="66114" cy="16611"/>
            </a:xfrm>
            <a:custGeom>
              <a:avLst/>
              <a:gdLst>
                <a:gd name="T0" fmla="*/ 0 w 32"/>
                <a:gd name="T1" fmla="*/ 0 h 8"/>
                <a:gd name="T2" fmla="*/ 16 w 32"/>
                <a:gd name="T3" fmla="*/ 8 h 8"/>
                <a:gd name="T4" fmla="*/ 32 w 32"/>
                <a:gd name="T5" fmla="*/ 0 h 8"/>
                <a:gd name="T6" fmla="*/ 24 w 32"/>
                <a:gd name="T7" fmla="*/ 0 h 8"/>
                <a:gd name="T8" fmla="*/ 8 w 32"/>
                <a:gd name="T9" fmla="*/ 0 h 8"/>
                <a:gd name="T10" fmla="*/ 0 w 32"/>
                <a:gd name="T11" fmla="*/ 0 h 8"/>
                <a:gd name="T12" fmla="*/ 8 w 32"/>
                <a:gd name="T13" fmla="*/ 0 h 8"/>
                <a:gd name="T14" fmla="*/ 8 w 32"/>
                <a:gd name="T15" fmla="*/ 8 h 8"/>
                <a:gd name="T16" fmla="*/ 0 w 32"/>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8">
                  <a:moveTo>
                    <a:pt x="0" y="0"/>
                  </a:moveTo>
                  <a:lnTo>
                    <a:pt x="16" y="8"/>
                  </a:lnTo>
                  <a:lnTo>
                    <a:pt x="32" y="0"/>
                  </a:lnTo>
                  <a:lnTo>
                    <a:pt x="24" y="0"/>
                  </a:lnTo>
                  <a:lnTo>
                    <a:pt x="8" y="0"/>
                  </a:lnTo>
                  <a:lnTo>
                    <a:pt x="0" y="0"/>
                  </a:lnTo>
                  <a:lnTo>
                    <a:pt x="8" y="0"/>
                  </a:lnTo>
                  <a:lnTo>
                    <a:pt x="8" y="8"/>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59" name="Freeform 190">
              <a:extLst>
                <a:ext uri="{FF2B5EF4-FFF2-40B4-BE49-F238E27FC236}">
                  <a16:creationId xmlns:a16="http://schemas.microsoft.com/office/drawing/2014/main" id="{93523D67-7E2F-FDBB-55A5-738D908EB838}"/>
                </a:ext>
              </a:extLst>
            </p:cNvPr>
            <p:cNvSpPr>
              <a:spLocks/>
            </p:cNvSpPr>
            <p:nvPr/>
          </p:nvSpPr>
          <p:spPr bwMode="auto">
            <a:xfrm>
              <a:off x="2203321" y="2637377"/>
              <a:ext cx="16528" cy="33223"/>
            </a:xfrm>
            <a:custGeom>
              <a:avLst/>
              <a:gdLst>
                <a:gd name="T0" fmla="*/ 0 w 8"/>
                <a:gd name="T1" fmla="*/ 16 h 16"/>
                <a:gd name="T2" fmla="*/ 8 w 8"/>
                <a:gd name="T3" fmla="*/ 16 h 16"/>
                <a:gd name="T4" fmla="*/ 8 w 8"/>
                <a:gd name="T5" fmla="*/ 0 h 16"/>
                <a:gd name="T6" fmla="*/ 0 w 8"/>
                <a:gd name="T7" fmla="*/ 8 h 16"/>
                <a:gd name="T8" fmla="*/ 0 w 8"/>
                <a:gd name="T9" fmla="*/ 16 h 16"/>
              </a:gdLst>
              <a:ahLst/>
              <a:cxnLst>
                <a:cxn ang="0">
                  <a:pos x="T0" y="T1"/>
                </a:cxn>
                <a:cxn ang="0">
                  <a:pos x="T2" y="T3"/>
                </a:cxn>
                <a:cxn ang="0">
                  <a:pos x="T4" y="T5"/>
                </a:cxn>
                <a:cxn ang="0">
                  <a:pos x="T6" y="T7"/>
                </a:cxn>
                <a:cxn ang="0">
                  <a:pos x="T8" y="T9"/>
                </a:cxn>
              </a:cxnLst>
              <a:rect l="0" t="0" r="r" b="b"/>
              <a:pathLst>
                <a:path w="8" h="16">
                  <a:moveTo>
                    <a:pt x="0" y="16"/>
                  </a:moveTo>
                  <a:lnTo>
                    <a:pt x="8" y="16"/>
                  </a:lnTo>
                  <a:lnTo>
                    <a:pt x="8" y="0"/>
                  </a:lnTo>
                  <a:lnTo>
                    <a:pt x="0" y="8"/>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60" name="Freeform 191">
              <a:extLst>
                <a:ext uri="{FF2B5EF4-FFF2-40B4-BE49-F238E27FC236}">
                  <a16:creationId xmlns:a16="http://schemas.microsoft.com/office/drawing/2014/main" id="{C99CAED3-17C6-A3B9-8DA7-8F2BA3919873}"/>
                </a:ext>
              </a:extLst>
            </p:cNvPr>
            <p:cNvSpPr>
              <a:spLocks/>
            </p:cNvSpPr>
            <p:nvPr/>
          </p:nvSpPr>
          <p:spPr bwMode="auto">
            <a:xfrm>
              <a:off x="1778085" y="2406335"/>
              <a:ext cx="48086" cy="16611"/>
            </a:xfrm>
            <a:custGeom>
              <a:avLst/>
              <a:gdLst>
                <a:gd name="T0" fmla="*/ 0 w 24"/>
                <a:gd name="T1" fmla="*/ 0 h 8"/>
                <a:gd name="T2" fmla="*/ 8 w 24"/>
                <a:gd name="T3" fmla="*/ 8 h 8"/>
                <a:gd name="T4" fmla="*/ 24 w 24"/>
                <a:gd name="T5" fmla="*/ 8 h 8"/>
                <a:gd name="T6" fmla="*/ 24 w 24"/>
                <a:gd name="T7" fmla="*/ 0 h 8"/>
                <a:gd name="T8" fmla="*/ 8 w 24"/>
                <a:gd name="T9" fmla="*/ 0 h 8"/>
                <a:gd name="T10" fmla="*/ 0 w 24"/>
                <a:gd name="T11" fmla="*/ 0 h 8"/>
              </a:gdLst>
              <a:ahLst/>
              <a:cxnLst>
                <a:cxn ang="0">
                  <a:pos x="T0" y="T1"/>
                </a:cxn>
                <a:cxn ang="0">
                  <a:pos x="T2" y="T3"/>
                </a:cxn>
                <a:cxn ang="0">
                  <a:pos x="T4" y="T5"/>
                </a:cxn>
                <a:cxn ang="0">
                  <a:pos x="T6" y="T7"/>
                </a:cxn>
                <a:cxn ang="0">
                  <a:pos x="T8" y="T9"/>
                </a:cxn>
                <a:cxn ang="0">
                  <a:pos x="T10" y="T11"/>
                </a:cxn>
              </a:cxnLst>
              <a:rect l="0" t="0" r="r" b="b"/>
              <a:pathLst>
                <a:path w="24" h="8">
                  <a:moveTo>
                    <a:pt x="0" y="0"/>
                  </a:moveTo>
                  <a:lnTo>
                    <a:pt x="8" y="8"/>
                  </a:lnTo>
                  <a:lnTo>
                    <a:pt x="24" y="8"/>
                  </a:lnTo>
                  <a:lnTo>
                    <a:pt x="24" y="0"/>
                  </a:lnTo>
                  <a:lnTo>
                    <a:pt x="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61" name="Freeform 192">
              <a:extLst>
                <a:ext uri="{FF2B5EF4-FFF2-40B4-BE49-F238E27FC236}">
                  <a16:creationId xmlns:a16="http://schemas.microsoft.com/office/drawing/2014/main" id="{661A09B9-BA2E-25D7-A476-E9AE2890C92F}"/>
                </a:ext>
              </a:extLst>
            </p:cNvPr>
            <p:cNvSpPr>
              <a:spLocks/>
            </p:cNvSpPr>
            <p:nvPr/>
          </p:nvSpPr>
          <p:spPr bwMode="auto">
            <a:xfrm>
              <a:off x="1662383" y="2291566"/>
              <a:ext cx="16528" cy="16611"/>
            </a:xfrm>
            <a:custGeom>
              <a:avLst/>
              <a:gdLst>
                <a:gd name="T0" fmla="*/ 0 w 8"/>
                <a:gd name="T1" fmla="*/ 8 h 8"/>
                <a:gd name="T2" fmla="*/ 8 w 8"/>
                <a:gd name="T3" fmla="*/ 8 h 8"/>
                <a:gd name="T4" fmla="*/ 0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8" y="8"/>
                  </a:lnTo>
                  <a:lnTo>
                    <a:pt x="0"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62" name="Freeform 193">
              <a:extLst>
                <a:ext uri="{FF2B5EF4-FFF2-40B4-BE49-F238E27FC236}">
                  <a16:creationId xmlns:a16="http://schemas.microsoft.com/office/drawing/2014/main" id="{2D7D0677-7C6A-6E8D-CEA5-6E57666BD6C4}"/>
                </a:ext>
              </a:extLst>
            </p:cNvPr>
            <p:cNvSpPr>
              <a:spLocks/>
            </p:cNvSpPr>
            <p:nvPr/>
          </p:nvSpPr>
          <p:spPr bwMode="auto">
            <a:xfrm>
              <a:off x="1614301" y="2258339"/>
              <a:ext cx="277982" cy="99668"/>
            </a:xfrm>
            <a:custGeom>
              <a:avLst/>
              <a:gdLst>
                <a:gd name="T0" fmla="*/ 0 w 136"/>
                <a:gd name="T1" fmla="*/ 24 h 48"/>
                <a:gd name="T2" fmla="*/ 8 w 136"/>
                <a:gd name="T3" fmla="*/ 24 h 48"/>
                <a:gd name="T4" fmla="*/ 32 w 136"/>
                <a:gd name="T5" fmla="*/ 8 h 48"/>
                <a:gd name="T6" fmla="*/ 48 w 136"/>
                <a:gd name="T7" fmla="*/ 8 h 48"/>
                <a:gd name="T8" fmla="*/ 40 w 136"/>
                <a:gd name="T9" fmla="*/ 16 h 48"/>
                <a:gd name="T10" fmla="*/ 80 w 136"/>
                <a:gd name="T11" fmla="*/ 24 h 48"/>
                <a:gd name="T12" fmla="*/ 88 w 136"/>
                <a:gd name="T13" fmla="*/ 40 h 48"/>
                <a:gd name="T14" fmla="*/ 96 w 136"/>
                <a:gd name="T15" fmla="*/ 40 h 48"/>
                <a:gd name="T16" fmla="*/ 88 w 136"/>
                <a:gd name="T17" fmla="*/ 48 h 48"/>
                <a:gd name="T18" fmla="*/ 136 w 136"/>
                <a:gd name="T19" fmla="*/ 48 h 48"/>
                <a:gd name="T20" fmla="*/ 128 w 136"/>
                <a:gd name="T21" fmla="*/ 40 h 48"/>
                <a:gd name="T22" fmla="*/ 120 w 136"/>
                <a:gd name="T23" fmla="*/ 40 h 48"/>
                <a:gd name="T24" fmla="*/ 120 w 136"/>
                <a:gd name="T25" fmla="*/ 32 h 48"/>
                <a:gd name="T26" fmla="*/ 104 w 136"/>
                <a:gd name="T27" fmla="*/ 32 h 48"/>
                <a:gd name="T28" fmla="*/ 88 w 136"/>
                <a:gd name="T29" fmla="*/ 16 h 48"/>
                <a:gd name="T30" fmla="*/ 48 w 136"/>
                <a:gd name="T31" fmla="*/ 0 h 48"/>
                <a:gd name="T32" fmla="*/ 16 w 136"/>
                <a:gd name="T33" fmla="*/ 8 h 48"/>
                <a:gd name="T34" fmla="*/ 0 w 136"/>
                <a:gd name="T35"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48">
                  <a:moveTo>
                    <a:pt x="0" y="24"/>
                  </a:moveTo>
                  <a:lnTo>
                    <a:pt x="8" y="24"/>
                  </a:lnTo>
                  <a:lnTo>
                    <a:pt x="32" y="8"/>
                  </a:lnTo>
                  <a:lnTo>
                    <a:pt x="48" y="8"/>
                  </a:lnTo>
                  <a:lnTo>
                    <a:pt x="40" y="16"/>
                  </a:lnTo>
                  <a:lnTo>
                    <a:pt x="80" y="24"/>
                  </a:lnTo>
                  <a:lnTo>
                    <a:pt x="88" y="40"/>
                  </a:lnTo>
                  <a:lnTo>
                    <a:pt x="96" y="40"/>
                  </a:lnTo>
                  <a:lnTo>
                    <a:pt x="88" y="48"/>
                  </a:lnTo>
                  <a:lnTo>
                    <a:pt x="136" y="48"/>
                  </a:lnTo>
                  <a:lnTo>
                    <a:pt x="128" y="40"/>
                  </a:lnTo>
                  <a:lnTo>
                    <a:pt x="120" y="40"/>
                  </a:lnTo>
                  <a:lnTo>
                    <a:pt x="120" y="32"/>
                  </a:lnTo>
                  <a:lnTo>
                    <a:pt x="104" y="32"/>
                  </a:lnTo>
                  <a:lnTo>
                    <a:pt x="88" y="16"/>
                  </a:lnTo>
                  <a:lnTo>
                    <a:pt x="48" y="0"/>
                  </a:lnTo>
                  <a:lnTo>
                    <a:pt x="16" y="8"/>
                  </a:lnTo>
                  <a:lnTo>
                    <a:pt x="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63" name="Freeform 194">
              <a:extLst>
                <a:ext uri="{FF2B5EF4-FFF2-40B4-BE49-F238E27FC236}">
                  <a16:creationId xmlns:a16="http://schemas.microsoft.com/office/drawing/2014/main" id="{3D15F19B-EC7E-9F57-958C-F1AF1EB6859F}"/>
                </a:ext>
              </a:extLst>
            </p:cNvPr>
            <p:cNvSpPr>
              <a:spLocks/>
            </p:cNvSpPr>
            <p:nvPr/>
          </p:nvSpPr>
          <p:spPr bwMode="auto">
            <a:xfrm>
              <a:off x="2072597" y="2406335"/>
              <a:ext cx="48086" cy="16611"/>
            </a:xfrm>
            <a:custGeom>
              <a:avLst/>
              <a:gdLst>
                <a:gd name="T0" fmla="*/ 0 w 24"/>
                <a:gd name="T1" fmla="*/ 8 h 8"/>
                <a:gd name="T2" fmla="*/ 16 w 24"/>
                <a:gd name="T3" fmla="*/ 8 h 8"/>
                <a:gd name="T4" fmla="*/ 24 w 24"/>
                <a:gd name="T5" fmla="*/ 0 h 8"/>
                <a:gd name="T6" fmla="*/ 16 w 24"/>
                <a:gd name="T7" fmla="*/ 0 h 8"/>
                <a:gd name="T8" fmla="*/ 0 w 24"/>
                <a:gd name="T9" fmla="*/ 0 h 8"/>
                <a:gd name="T10" fmla="*/ 0 w 24"/>
                <a:gd name="T11" fmla="*/ 8 h 8"/>
              </a:gdLst>
              <a:ahLst/>
              <a:cxnLst>
                <a:cxn ang="0">
                  <a:pos x="T0" y="T1"/>
                </a:cxn>
                <a:cxn ang="0">
                  <a:pos x="T2" y="T3"/>
                </a:cxn>
                <a:cxn ang="0">
                  <a:pos x="T4" y="T5"/>
                </a:cxn>
                <a:cxn ang="0">
                  <a:pos x="T6" y="T7"/>
                </a:cxn>
                <a:cxn ang="0">
                  <a:pos x="T8" y="T9"/>
                </a:cxn>
                <a:cxn ang="0">
                  <a:pos x="T10" y="T11"/>
                </a:cxn>
              </a:cxnLst>
              <a:rect l="0" t="0" r="r" b="b"/>
              <a:pathLst>
                <a:path w="24" h="8">
                  <a:moveTo>
                    <a:pt x="0" y="8"/>
                  </a:moveTo>
                  <a:lnTo>
                    <a:pt x="16" y="8"/>
                  </a:lnTo>
                  <a:lnTo>
                    <a:pt x="24" y="0"/>
                  </a:lnTo>
                  <a:lnTo>
                    <a:pt x="16" y="0"/>
                  </a:lnTo>
                  <a:lnTo>
                    <a:pt x="0"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64" name="Line 195">
              <a:extLst>
                <a:ext uri="{FF2B5EF4-FFF2-40B4-BE49-F238E27FC236}">
                  <a16:creationId xmlns:a16="http://schemas.microsoft.com/office/drawing/2014/main" id="{9E30B6CB-E401-E63D-450F-50A86280B6A7}"/>
                </a:ext>
              </a:extLst>
            </p:cNvPr>
            <p:cNvSpPr>
              <a:spLocks noChangeShapeType="1"/>
            </p:cNvSpPr>
            <p:nvPr/>
          </p:nvSpPr>
          <p:spPr bwMode="auto">
            <a:xfrm>
              <a:off x="2006482" y="2604159"/>
              <a:ext cx="3005" cy="16612"/>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65" name="Line 196">
              <a:extLst>
                <a:ext uri="{FF2B5EF4-FFF2-40B4-BE49-F238E27FC236}">
                  <a16:creationId xmlns:a16="http://schemas.microsoft.com/office/drawing/2014/main" id="{F00A78D2-2356-2AFF-C591-DA91E956F303}"/>
                </a:ext>
              </a:extLst>
            </p:cNvPr>
            <p:cNvSpPr>
              <a:spLocks noChangeShapeType="1"/>
            </p:cNvSpPr>
            <p:nvPr/>
          </p:nvSpPr>
          <p:spPr bwMode="auto">
            <a:xfrm>
              <a:off x="2219851" y="2489393"/>
              <a:ext cx="1502" cy="16612"/>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66" name="Line 197">
              <a:extLst>
                <a:ext uri="{FF2B5EF4-FFF2-40B4-BE49-F238E27FC236}">
                  <a16:creationId xmlns:a16="http://schemas.microsoft.com/office/drawing/2014/main" id="{AC4A68BC-42F5-E1A5-22E4-4B07BB2C90DD}"/>
                </a:ext>
              </a:extLst>
            </p:cNvPr>
            <p:cNvSpPr>
              <a:spLocks noChangeShapeType="1"/>
            </p:cNvSpPr>
            <p:nvPr/>
          </p:nvSpPr>
          <p:spPr bwMode="auto">
            <a:xfrm>
              <a:off x="2219849" y="2537707"/>
              <a:ext cx="16530" cy="302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67" name="Freeform 198">
              <a:extLst>
                <a:ext uri="{FF2B5EF4-FFF2-40B4-BE49-F238E27FC236}">
                  <a16:creationId xmlns:a16="http://schemas.microsoft.com/office/drawing/2014/main" id="{74073019-C7FE-5A04-467D-C7BEEAADA560}"/>
                </a:ext>
              </a:extLst>
            </p:cNvPr>
            <p:cNvSpPr>
              <a:spLocks/>
            </p:cNvSpPr>
            <p:nvPr/>
          </p:nvSpPr>
          <p:spPr bwMode="auto">
            <a:xfrm>
              <a:off x="1794627" y="2191899"/>
              <a:ext cx="15026" cy="49833"/>
            </a:xfrm>
            <a:custGeom>
              <a:avLst/>
              <a:gdLst>
                <a:gd name="T0" fmla="*/ 8 w 8"/>
                <a:gd name="T1" fmla="*/ 0 h 24"/>
                <a:gd name="T2" fmla="*/ 0 w 8"/>
                <a:gd name="T3" fmla="*/ 8 h 24"/>
                <a:gd name="T4" fmla="*/ 8 w 8"/>
                <a:gd name="T5" fmla="*/ 24 h 24"/>
                <a:gd name="T6" fmla="*/ 8 w 8"/>
                <a:gd name="T7" fmla="*/ 8 h 24"/>
                <a:gd name="T8" fmla="*/ 8 w 8"/>
                <a:gd name="T9" fmla="*/ 0 h 24"/>
              </a:gdLst>
              <a:ahLst/>
              <a:cxnLst>
                <a:cxn ang="0">
                  <a:pos x="T0" y="T1"/>
                </a:cxn>
                <a:cxn ang="0">
                  <a:pos x="T2" y="T3"/>
                </a:cxn>
                <a:cxn ang="0">
                  <a:pos x="T4" y="T5"/>
                </a:cxn>
                <a:cxn ang="0">
                  <a:pos x="T6" y="T7"/>
                </a:cxn>
                <a:cxn ang="0">
                  <a:pos x="T8" y="T9"/>
                </a:cxn>
              </a:cxnLst>
              <a:rect l="0" t="0" r="r" b="b"/>
              <a:pathLst>
                <a:path w="8" h="24">
                  <a:moveTo>
                    <a:pt x="8" y="0"/>
                  </a:moveTo>
                  <a:lnTo>
                    <a:pt x="0" y="8"/>
                  </a:lnTo>
                  <a:lnTo>
                    <a:pt x="8" y="24"/>
                  </a:lnTo>
                  <a:lnTo>
                    <a:pt x="8" y="8"/>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68" name="Freeform 199">
              <a:extLst>
                <a:ext uri="{FF2B5EF4-FFF2-40B4-BE49-F238E27FC236}">
                  <a16:creationId xmlns:a16="http://schemas.microsoft.com/office/drawing/2014/main" id="{C9E2438C-B329-567C-A017-33D7AF7E182A}"/>
                </a:ext>
              </a:extLst>
            </p:cNvPr>
            <p:cNvSpPr>
              <a:spLocks/>
            </p:cNvSpPr>
            <p:nvPr/>
          </p:nvSpPr>
          <p:spPr bwMode="auto">
            <a:xfrm>
              <a:off x="1908810" y="2308172"/>
              <a:ext cx="16528" cy="16612"/>
            </a:xfrm>
            <a:custGeom>
              <a:avLst/>
              <a:gdLst>
                <a:gd name="T0" fmla="*/ 0 w 8"/>
                <a:gd name="T1" fmla="*/ 8 h 8"/>
                <a:gd name="T2" fmla="*/ 8 w 8"/>
                <a:gd name="T3" fmla="*/ 8 h 8"/>
                <a:gd name="T4" fmla="*/ 8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8" y="8"/>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69" name="Line 200">
              <a:extLst>
                <a:ext uri="{FF2B5EF4-FFF2-40B4-BE49-F238E27FC236}">
                  <a16:creationId xmlns:a16="http://schemas.microsoft.com/office/drawing/2014/main" id="{642120DD-B60B-D88F-F3B7-F6B0B210E1CC}"/>
                </a:ext>
              </a:extLst>
            </p:cNvPr>
            <p:cNvSpPr>
              <a:spLocks noChangeShapeType="1"/>
            </p:cNvSpPr>
            <p:nvPr/>
          </p:nvSpPr>
          <p:spPr bwMode="auto">
            <a:xfrm>
              <a:off x="1794627" y="2160181"/>
              <a:ext cx="31555" cy="16612"/>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70" name="Freeform 201">
              <a:extLst>
                <a:ext uri="{FF2B5EF4-FFF2-40B4-BE49-F238E27FC236}">
                  <a16:creationId xmlns:a16="http://schemas.microsoft.com/office/drawing/2014/main" id="{089B3DE9-C3B6-217F-79D7-33133CBCEBF8}"/>
                </a:ext>
              </a:extLst>
            </p:cNvPr>
            <p:cNvSpPr>
              <a:spLocks/>
            </p:cNvSpPr>
            <p:nvPr/>
          </p:nvSpPr>
          <p:spPr bwMode="auto">
            <a:xfrm>
              <a:off x="1826170" y="2160181"/>
              <a:ext cx="16530" cy="31713"/>
            </a:xfrm>
            <a:custGeom>
              <a:avLst/>
              <a:gdLst>
                <a:gd name="T0" fmla="*/ 0 w 8"/>
                <a:gd name="T1" fmla="*/ 0 h 16"/>
                <a:gd name="T2" fmla="*/ 8 w 8"/>
                <a:gd name="T3" fmla="*/ 8 h 16"/>
                <a:gd name="T4" fmla="*/ 8 w 8"/>
                <a:gd name="T5" fmla="*/ 16 h 16"/>
              </a:gdLst>
              <a:ahLst/>
              <a:cxnLst>
                <a:cxn ang="0">
                  <a:pos x="T0" y="T1"/>
                </a:cxn>
                <a:cxn ang="0">
                  <a:pos x="T2" y="T3"/>
                </a:cxn>
                <a:cxn ang="0">
                  <a:pos x="T4" y="T5"/>
                </a:cxn>
              </a:cxnLst>
              <a:rect l="0" t="0" r="r" b="b"/>
              <a:pathLst>
                <a:path w="8" h="16">
                  <a:moveTo>
                    <a:pt x="0" y="0"/>
                  </a:moveTo>
                  <a:lnTo>
                    <a:pt x="8" y="8"/>
                  </a:lnTo>
                  <a:lnTo>
                    <a:pt x="8" y="16"/>
                  </a:lnTo>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71" name="Freeform 202">
              <a:extLst>
                <a:ext uri="{FF2B5EF4-FFF2-40B4-BE49-F238E27FC236}">
                  <a16:creationId xmlns:a16="http://schemas.microsoft.com/office/drawing/2014/main" id="{DB4DAAC3-FFC3-47D4-4B55-9DC4BFDE2EBD}"/>
                </a:ext>
              </a:extLst>
            </p:cNvPr>
            <p:cNvSpPr>
              <a:spLocks/>
            </p:cNvSpPr>
            <p:nvPr/>
          </p:nvSpPr>
          <p:spPr bwMode="auto">
            <a:xfrm>
              <a:off x="1842698" y="2208508"/>
              <a:ext cx="16528" cy="16612"/>
            </a:xfrm>
            <a:custGeom>
              <a:avLst/>
              <a:gdLst>
                <a:gd name="T0" fmla="*/ 0 w 8"/>
                <a:gd name="T1" fmla="*/ 0 h 8"/>
                <a:gd name="T2" fmla="*/ 8 w 8"/>
                <a:gd name="T3" fmla="*/ 0 h 8"/>
                <a:gd name="T4" fmla="*/ 8 w 8"/>
                <a:gd name="T5" fmla="*/ 8 h 8"/>
              </a:gdLst>
              <a:ahLst/>
              <a:cxnLst>
                <a:cxn ang="0">
                  <a:pos x="T0" y="T1"/>
                </a:cxn>
                <a:cxn ang="0">
                  <a:pos x="T2" y="T3"/>
                </a:cxn>
                <a:cxn ang="0">
                  <a:pos x="T4" y="T5"/>
                </a:cxn>
              </a:cxnLst>
              <a:rect l="0" t="0" r="r" b="b"/>
              <a:pathLst>
                <a:path w="8" h="8">
                  <a:moveTo>
                    <a:pt x="0" y="0"/>
                  </a:moveTo>
                  <a:lnTo>
                    <a:pt x="8" y="0"/>
                  </a:lnTo>
                  <a:lnTo>
                    <a:pt x="8" y="8"/>
                  </a:lnTo>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72" name="Line 203">
              <a:extLst>
                <a:ext uri="{FF2B5EF4-FFF2-40B4-BE49-F238E27FC236}">
                  <a16:creationId xmlns:a16="http://schemas.microsoft.com/office/drawing/2014/main" id="{FC949F3F-40E5-F1DA-EE5F-0B1433911E2F}"/>
                </a:ext>
              </a:extLst>
            </p:cNvPr>
            <p:cNvSpPr>
              <a:spLocks noChangeShapeType="1"/>
            </p:cNvSpPr>
            <p:nvPr/>
          </p:nvSpPr>
          <p:spPr bwMode="auto">
            <a:xfrm>
              <a:off x="1875757" y="2225116"/>
              <a:ext cx="1502" cy="1661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73" name="Freeform 204">
              <a:extLst>
                <a:ext uri="{FF2B5EF4-FFF2-40B4-BE49-F238E27FC236}">
                  <a16:creationId xmlns:a16="http://schemas.microsoft.com/office/drawing/2014/main" id="{C1EA2994-8566-B81F-8CD1-23D102BC6115}"/>
                </a:ext>
              </a:extLst>
            </p:cNvPr>
            <p:cNvSpPr>
              <a:spLocks/>
            </p:cNvSpPr>
            <p:nvPr/>
          </p:nvSpPr>
          <p:spPr bwMode="auto">
            <a:xfrm>
              <a:off x="1875757" y="2258351"/>
              <a:ext cx="33058" cy="33223"/>
            </a:xfrm>
            <a:custGeom>
              <a:avLst/>
              <a:gdLst>
                <a:gd name="T0" fmla="*/ 0 w 16"/>
                <a:gd name="T1" fmla="*/ 0 h 16"/>
                <a:gd name="T2" fmla="*/ 8 w 16"/>
                <a:gd name="T3" fmla="*/ 16 h 16"/>
                <a:gd name="T4" fmla="*/ 16 w 16"/>
                <a:gd name="T5" fmla="*/ 16 h 16"/>
              </a:gdLst>
              <a:ahLst/>
              <a:cxnLst>
                <a:cxn ang="0">
                  <a:pos x="T0" y="T1"/>
                </a:cxn>
                <a:cxn ang="0">
                  <a:pos x="T2" y="T3"/>
                </a:cxn>
                <a:cxn ang="0">
                  <a:pos x="T4" y="T5"/>
                </a:cxn>
              </a:cxnLst>
              <a:rect l="0" t="0" r="r" b="b"/>
              <a:pathLst>
                <a:path w="16" h="16">
                  <a:moveTo>
                    <a:pt x="0" y="0"/>
                  </a:moveTo>
                  <a:lnTo>
                    <a:pt x="8" y="16"/>
                  </a:lnTo>
                  <a:lnTo>
                    <a:pt x="16" y="16"/>
                  </a:lnTo>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74" name="Line 205">
              <a:extLst>
                <a:ext uri="{FF2B5EF4-FFF2-40B4-BE49-F238E27FC236}">
                  <a16:creationId xmlns:a16="http://schemas.microsoft.com/office/drawing/2014/main" id="{5C1ED0A4-D6E1-2C5A-E396-87FE181130BE}"/>
                </a:ext>
              </a:extLst>
            </p:cNvPr>
            <p:cNvSpPr>
              <a:spLocks noChangeShapeType="1"/>
            </p:cNvSpPr>
            <p:nvPr/>
          </p:nvSpPr>
          <p:spPr bwMode="auto">
            <a:xfrm flipV="1">
              <a:off x="1892283" y="2291566"/>
              <a:ext cx="16530" cy="1661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75" name="Line 206">
              <a:extLst>
                <a:ext uri="{FF2B5EF4-FFF2-40B4-BE49-F238E27FC236}">
                  <a16:creationId xmlns:a16="http://schemas.microsoft.com/office/drawing/2014/main" id="{4EB89F42-9868-A146-311A-CC96FDA43D1B}"/>
                </a:ext>
              </a:extLst>
            </p:cNvPr>
            <p:cNvSpPr>
              <a:spLocks noChangeShapeType="1"/>
            </p:cNvSpPr>
            <p:nvPr/>
          </p:nvSpPr>
          <p:spPr bwMode="auto">
            <a:xfrm>
              <a:off x="1925339" y="2291566"/>
              <a:ext cx="16530" cy="1661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76" name="Freeform 207">
              <a:extLst>
                <a:ext uri="{FF2B5EF4-FFF2-40B4-BE49-F238E27FC236}">
                  <a16:creationId xmlns:a16="http://schemas.microsoft.com/office/drawing/2014/main" id="{611261BD-3934-D989-E6ED-97113DA2C764}"/>
                </a:ext>
              </a:extLst>
            </p:cNvPr>
            <p:cNvSpPr>
              <a:spLocks/>
            </p:cNvSpPr>
            <p:nvPr/>
          </p:nvSpPr>
          <p:spPr bwMode="auto">
            <a:xfrm>
              <a:off x="1941883" y="2308172"/>
              <a:ext cx="31555" cy="16612"/>
            </a:xfrm>
            <a:custGeom>
              <a:avLst/>
              <a:gdLst>
                <a:gd name="T0" fmla="*/ 0 w 16"/>
                <a:gd name="T1" fmla="*/ 8 h 8"/>
                <a:gd name="T2" fmla="*/ 8 w 16"/>
                <a:gd name="T3" fmla="*/ 0 h 8"/>
                <a:gd name="T4" fmla="*/ 16 w 16"/>
                <a:gd name="T5" fmla="*/ 8 h 8"/>
              </a:gdLst>
              <a:ahLst/>
              <a:cxnLst>
                <a:cxn ang="0">
                  <a:pos x="T0" y="T1"/>
                </a:cxn>
                <a:cxn ang="0">
                  <a:pos x="T2" y="T3"/>
                </a:cxn>
                <a:cxn ang="0">
                  <a:pos x="T4" y="T5"/>
                </a:cxn>
              </a:cxnLst>
              <a:rect l="0" t="0" r="r" b="b"/>
              <a:pathLst>
                <a:path w="16" h="8">
                  <a:moveTo>
                    <a:pt x="0" y="8"/>
                  </a:moveTo>
                  <a:lnTo>
                    <a:pt x="8" y="0"/>
                  </a:lnTo>
                  <a:lnTo>
                    <a:pt x="16" y="8"/>
                  </a:lnTo>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77" name="Line 208">
              <a:extLst>
                <a:ext uri="{FF2B5EF4-FFF2-40B4-BE49-F238E27FC236}">
                  <a16:creationId xmlns:a16="http://schemas.microsoft.com/office/drawing/2014/main" id="{870A285F-B446-A330-CDFE-A92ECDCBEE03}"/>
                </a:ext>
              </a:extLst>
            </p:cNvPr>
            <p:cNvSpPr>
              <a:spLocks noChangeShapeType="1"/>
            </p:cNvSpPr>
            <p:nvPr/>
          </p:nvSpPr>
          <p:spPr bwMode="auto">
            <a:xfrm>
              <a:off x="1711972" y="2225118"/>
              <a:ext cx="16530" cy="302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78" name="Freeform 209">
              <a:extLst>
                <a:ext uri="{FF2B5EF4-FFF2-40B4-BE49-F238E27FC236}">
                  <a16:creationId xmlns:a16="http://schemas.microsoft.com/office/drawing/2014/main" id="{FD3282D1-1962-69A6-5518-E0D53232F434}"/>
                </a:ext>
              </a:extLst>
            </p:cNvPr>
            <p:cNvSpPr>
              <a:spLocks/>
            </p:cNvSpPr>
            <p:nvPr/>
          </p:nvSpPr>
          <p:spPr bwMode="auto">
            <a:xfrm>
              <a:off x="2039536" y="1698089"/>
              <a:ext cx="66114" cy="16612"/>
            </a:xfrm>
            <a:custGeom>
              <a:avLst/>
              <a:gdLst>
                <a:gd name="T0" fmla="*/ 0 w 32"/>
                <a:gd name="T1" fmla="*/ 8 h 8"/>
                <a:gd name="T2" fmla="*/ 32 w 32"/>
                <a:gd name="T3" fmla="*/ 0 h 8"/>
                <a:gd name="T4" fmla="*/ 24 w 32"/>
                <a:gd name="T5" fmla="*/ 0 h 8"/>
                <a:gd name="T6" fmla="*/ 0 w 32"/>
                <a:gd name="T7" fmla="*/ 8 h 8"/>
              </a:gdLst>
              <a:ahLst/>
              <a:cxnLst>
                <a:cxn ang="0">
                  <a:pos x="T0" y="T1"/>
                </a:cxn>
                <a:cxn ang="0">
                  <a:pos x="T2" y="T3"/>
                </a:cxn>
                <a:cxn ang="0">
                  <a:pos x="T4" y="T5"/>
                </a:cxn>
                <a:cxn ang="0">
                  <a:pos x="T6" y="T7"/>
                </a:cxn>
              </a:cxnLst>
              <a:rect l="0" t="0" r="r" b="b"/>
              <a:pathLst>
                <a:path w="32" h="8">
                  <a:moveTo>
                    <a:pt x="0" y="8"/>
                  </a:moveTo>
                  <a:lnTo>
                    <a:pt x="32" y="0"/>
                  </a:lnTo>
                  <a:lnTo>
                    <a:pt x="24"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79" name="Freeform 210">
              <a:extLst>
                <a:ext uri="{FF2B5EF4-FFF2-40B4-BE49-F238E27FC236}">
                  <a16:creationId xmlns:a16="http://schemas.microsoft.com/office/drawing/2014/main" id="{5CD90FCF-31C2-762A-6FBA-2EE13EA4FB49}"/>
                </a:ext>
              </a:extLst>
            </p:cNvPr>
            <p:cNvSpPr>
              <a:spLocks/>
            </p:cNvSpPr>
            <p:nvPr/>
          </p:nvSpPr>
          <p:spPr bwMode="auto">
            <a:xfrm>
              <a:off x="2383637" y="1435335"/>
              <a:ext cx="64612" cy="16612"/>
            </a:xfrm>
            <a:custGeom>
              <a:avLst/>
              <a:gdLst>
                <a:gd name="T0" fmla="*/ 0 w 32"/>
                <a:gd name="T1" fmla="*/ 0 h 8"/>
                <a:gd name="T2" fmla="*/ 16 w 32"/>
                <a:gd name="T3" fmla="*/ 8 h 8"/>
                <a:gd name="T4" fmla="*/ 32 w 32"/>
                <a:gd name="T5" fmla="*/ 8 h 8"/>
                <a:gd name="T6" fmla="*/ 16 w 32"/>
                <a:gd name="T7" fmla="*/ 0 h 8"/>
                <a:gd name="T8" fmla="*/ 0 w 32"/>
                <a:gd name="T9" fmla="*/ 0 h 8"/>
              </a:gdLst>
              <a:ahLst/>
              <a:cxnLst>
                <a:cxn ang="0">
                  <a:pos x="T0" y="T1"/>
                </a:cxn>
                <a:cxn ang="0">
                  <a:pos x="T2" y="T3"/>
                </a:cxn>
                <a:cxn ang="0">
                  <a:pos x="T4" y="T5"/>
                </a:cxn>
                <a:cxn ang="0">
                  <a:pos x="T6" y="T7"/>
                </a:cxn>
                <a:cxn ang="0">
                  <a:pos x="T8" y="T9"/>
                </a:cxn>
              </a:cxnLst>
              <a:rect l="0" t="0" r="r" b="b"/>
              <a:pathLst>
                <a:path w="32" h="8">
                  <a:moveTo>
                    <a:pt x="0" y="0"/>
                  </a:moveTo>
                  <a:lnTo>
                    <a:pt x="16" y="8"/>
                  </a:lnTo>
                  <a:lnTo>
                    <a:pt x="32" y="8"/>
                  </a:lnTo>
                  <a:lnTo>
                    <a:pt x="16"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80" name="Freeform 211">
              <a:extLst>
                <a:ext uri="{FF2B5EF4-FFF2-40B4-BE49-F238E27FC236}">
                  <a16:creationId xmlns:a16="http://schemas.microsoft.com/office/drawing/2014/main" id="{E61345FB-C829-CE64-BB4E-1B7395606A16}"/>
                </a:ext>
              </a:extLst>
            </p:cNvPr>
            <p:cNvSpPr>
              <a:spLocks/>
            </p:cNvSpPr>
            <p:nvPr/>
          </p:nvSpPr>
          <p:spPr bwMode="auto">
            <a:xfrm>
              <a:off x="2350581" y="1516891"/>
              <a:ext cx="49585" cy="33223"/>
            </a:xfrm>
            <a:custGeom>
              <a:avLst/>
              <a:gdLst>
                <a:gd name="T0" fmla="*/ 0 w 24"/>
                <a:gd name="T1" fmla="*/ 8 h 16"/>
                <a:gd name="T2" fmla="*/ 16 w 24"/>
                <a:gd name="T3" fmla="*/ 16 h 16"/>
                <a:gd name="T4" fmla="*/ 24 w 24"/>
                <a:gd name="T5" fmla="*/ 8 h 16"/>
                <a:gd name="T6" fmla="*/ 8 w 24"/>
                <a:gd name="T7" fmla="*/ 8 h 16"/>
                <a:gd name="T8" fmla="*/ 8 w 24"/>
                <a:gd name="T9" fmla="*/ 0 h 16"/>
                <a:gd name="T10" fmla="*/ 0 w 24"/>
                <a:gd name="T11" fmla="*/ 8 h 16"/>
              </a:gdLst>
              <a:ahLst/>
              <a:cxnLst>
                <a:cxn ang="0">
                  <a:pos x="T0" y="T1"/>
                </a:cxn>
                <a:cxn ang="0">
                  <a:pos x="T2" y="T3"/>
                </a:cxn>
                <a:cxn ang="0">
                  <a:pos x="T4" y="T5"/>
                </a:cxn>
                <a:cxn ang="0">
                  <a:pos x="T6" y="T7"/>
                </a:cxn>
                <a:cxn ang="0">
                  <a:pos x="T8" y="T9"/>
                </a:cxn>
                <a:cxn ang="0">
                  <a:pos x="T10" y="T11"/>
                </a:cxn>
              </a:cxnLst>
              <a:rect l="0" t="0" r="r" b="b"/>
              <a:pathLst>
                <a:path w="24" h="16">
                  <a:moveTo>
                    <a:pt x="0" y="8"/>
                  </a:moveTo>
                  <a:lnTo>
                    <a:pt x="16" y="16"/>
                  </a:lnTo>
                  <a:lnTo>
                    <a:pt x="24" y="8"/>
                  </a:lnTo>
                  <a:lnTo>
                    <a:pt x="8" y="8"/>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81" name="Freeform 212">
              <a:extLst>
                <a:ext uri="{FF2B5EF4-FFF2-40B4-BE49-F238E27FC236}">
                  <a16:creationId xmlns:a16="http://schemas.microsoft.com/office/drawing/2014/main" id="{B9C9F72C-D248-6E25-7C61-021140A97A5C}"/>
                </a:ext>
              </a:extLst>
            </p:cNvPr>
            <p:cNvSpPr>
              <a:spLocks/>
            </p:cNvSpPr>
            <p:nvPr/>
          </p:nvSpPr>
          <p:spPr bwMode="auto">
            <a:xfrm>
              <a:off x="2153737" y="1056303"/>
              <a:ext cx="49585" cy="16611"/>
            </a:xfrm>
            <a:custGeom>
              <a:avLst/>
              <a:gdLst>
                <a:gd name="T0" fmla="*/ 0 w 24"/>
                <a:gd name="T1" fmla="*/ 8 h 8"/>
                <a:gd name="T2" fmla="*/ 24 w 24"/>
                <a:gd name="T3" fmla="*/ 0 h 8"/>
                <a:gd name="T4" fmla="*/ 8 w 24"/>
                <a:gd name="T5" fmla="*/ 0 h 8"/>
                <a:gd name="T6" fmla="*/ 0 w 24"/>
                <a:gd name="T7" fmla="*/ 8 h 8"/>
              </a:gdLst>
              <a:ahLst/>
              <a:cxnLst>
                <a:cxn ang="0">
                  <a:pos x="T0" y="T1"/>
                </a:cxn>
                <a:cxn ang="0">
                  <a:pos x="T2" y="T3"/>
                </a:cxn>
                <a:cxn ang="0">
                  <a:pos x="T4" y="T5"/>
                </a:cxn>
                <a:cxn ang="0">
                  <a:pos x="T6" y="T7"/>
                </a:cxn>
              </a:cxnLst>
              <a:rect l="0" t="0" r="r" b="b"/>
              <a:pathLst>
                <a:path w="24" h="8">
                  <a:moveTo>
                    <a:pt x="0" y="8"/>
                  </a:moveTo>
                  <a:lnTo>
                    <a:pt x="24" y="0"/>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82" name="Freeform 213">
              <a:extLst>
                <a:ext uri="{FF2B5EF4-FFF2-40B4-BE49-F238E27FC236}">
                  <a16:creationId xmlns:a16="http://schemas.microsoft.com/office/drawing/2014/main" id="{BFBFBE79-A4D3-4FB3-89B7-2DFDE4778FA0}"/>
                </a:ext>
              </a:extLst>
            </p:cNvPr>
            <p:cNvSpPr>
              <a:spLocks/>
            </p:cNvSpPr>
            <p:nvPr/>
          </p:nvSpPr>
          <p:spPr bwMode="auto">
            <a:xfrm>
              <a:off x="2219852" y="1072907"/>
              <a:ext cx="33058" cy="16612"/>
            </a:xfrm>
            <a:custGeom>
              <a:avLst/>
              <a:gdLst>
                <a:gd name="T0" fmla="*/ 8 w 16"/>
                <a:gd name="T1" fmla="*/ 0 h 8"/>
                <a:gd name="T2" fmla="*/ 0 w 16"/>
                <a:gd name="T3" fmla="*/ 8 h 8"/>
                <a:gd name="T4" fmla="*/ 16 w 16"/>
                <a:gd name="T5" fmla="*/ 0 h 8"/>
                <a:gd name="T6" fmla="*/ 8 w 16"/>
                <a:gd name="T7" fmla="*/ 0 h 8"/>
              </a:gdLst>
              <a:ahLst/>
              <a:cxnLst>
                <a:cxn ang="0">
                  <a:pos x="T0" y="T1"/>
                </a:cxn>
                <a:cxn ang="0">
                  <a:pos x="T2" y="T3"/>
                </a:cxn>
                <a:cxn ang="0">
                  <a:pos x="T4" y="T5"/>
                </a:cxn>
                <a:cxn ang="0">
                  <a:pos x="T6" y="T7"/>
                </a:cxn>
              </a:cxnLst>
              <a:rect l="0" t="0" r="r" b="b"/>
              <a:pathLst>
                <a:path w="16" h="8">
                  <a:moveTo>
                    <a:pt x="8" y="0"/>
                  </a:moveTo>
                  <a:lnTo>
                    <a:pt x="0" y="8"/>
                  </a:lnTo>
                  <a:lnTo>
                    <a:pt x="16" y="0"/>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83" name="Freeform 214">
              <a:extLst>
                <a:ext uri="{FF2B5EF4-FFF2-40B4-BE49-F238E27FC236}">
                  <a16:creationId xmlns:a16="http://schemas.microsoft.com/office/drawing/2014/main" id="{0D8D7C65-B902-1EE0-8414-327C88785E93}"/>
                </a:ext>
              </a:extLst>
            </p:cNvPr>
            <p:cNvSpPr>
              <a:spLocks/>
            </p:cNvSpPr>
            <p:nvPr/>
          </p:nvSpPr>
          <p:spPr bwMode="auto">
            <a:xfrm>
              <a:off x="2481306" y="1385513"/>
              <a:ext cx="163784" cy="147989"/>
            </a:xfrm>
            <a:custGeom>
              <a:avLst/>
              <a:gdLst>
                <a:gd name="T0" fmla="*/ 0 w 80"/>
                <a:gd name="T1" fmla="*/ 48 h 72"/>
                <a:gd name="T2" fmla="*/ 0 w 80"/>
                <a:gd name="T3" fmla="*/ 56 h 72"/>
                <a:gd name="T4" fmla="*/ 48 w 80"/>
                <a:gd name="T5" fmla="*/ 56 h 72"/>
                <a:gd name="T6" fmla="*/ 40 w 80"/>
                <a:gd name="T7" fmla="*/ 64 h 72"/>
                <a:gd name="T8" fmla="*/ 48 w 80"/>
                <a:gd name="T9" fmla="*/ 64 h 72"/>
                <a:gd name="T10" fmla="*/ 56 w 80"/>
                <a:gd name="T11" fmla="*/ 56 h 72"/>
                <a:gd name="T12" fmla="*/ 64 w 80"/>
                <a:gd name="T13" fmla="*/ 56 h 72"/>
                <a:gd name="T14" fmla="*/ 56 w 80"/>
                <a:gd name="T15" fmla="*/ 64 h 72"/>
                <a:gd name="T16" fmla="*/ 64 w 80"/>
                <a:gd name="T17" fmla="*/ 64 h 72"/>
                <a:gd name="T18" fmla="*/ 64 w 80"/>
                <a:gd name="T19" fmla="*/ 72 h 72"/>
                <a:gd name="T20" fmla="*/ 72 w 80"/>
                <a:gd name="T21" fmla="*/ 72 h 72"/>
                <a:gd name="T22" fmla="*/ 80 w 80"/>
                <a:gd name="T23" fmla="*/ 56 h 72"/>
                <a:gd name="T24" fmla="*/ 72 w 80"/>
                <a:gd name="T25" fmla="*/ 56 h 72"/>
                <a:gd name="T26" fmla="*/ 80 w 80"/>
                <a:gd name="T27" fmla="*/ 48 h 72"/>
                <a:gd name="T28" fmla="*/ 64 w 80"/>
                <a:gd name="T29" fmla="*/ 56 h 72"/>
                <a:gd name="T30" fmla="*/ 80 w 80"/>
                <a:gd name="T31" fmla="*/ 40 h 72"/>
                <a:gd name="T32" fmla="*/ 72 w 80"/>
                <a:gd name="T33" fmla="*/ 40 h 72"/>
                <a:gd name="T34" fmla="*/ 80 w 80"/>
                <a:gd name="T35" fmla="*/ 32 h 72"/>
                <a:gd name="T36" fmla="*/ 56 w 80"/>
                <a:gd name="T37" fmla="*/ 32 h 72"/>
                <a:gd name="T38" fmla="*/ 56 w 80"/>
                <a:gd name="T39" fmla="*/ 24 h 72"/>
                <a:gd name="T40" fmla="*/ 56 w 80"/>
                <a:gd name="T41" fmla="*/ 16 h 72"/>
                <a:gd name="T42" fmla="*/ 40 w 80"/>
                <a:gd name="T43" fmla="*/ 24 h 72"/>
                <a:gd name="T44" fmla="*/ 64 w 80"/>
                <a:gd name="T45" fmla="*/ 0 h 72"/>
                <a:gd name="T46" fmla="*/ 56 w 80"/>
                <a:gd name="T47" fmla="*/ 0 h 72"/>
                <a:gd name="T48" fmla="*/ 16 w 80"/>
                <a:gd name="T49" fmla="*/ 40 h 72"/>
                <a:gd name="T50" fmla="*/ 0 w 80"/>
                <a:gd name="T51" fmla="*/ 4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 h="72">
                  <a:moveTo>
                    <a:pt x="0" y="48"/>
                  </a:moveTo>
                  <a:lnTo>
                    <a:pt x="0" y="56"/>
                  </a:lnTo>
                  <a:lnTo>
                    <a:pt x="48" y="56"/>
                  </a:lnTo>
                  <a:lnTo>
                    <a:pt x="40" y="64"/>
                  </a:lnTo>
                  <a:lnTo>
                    <a:pt x="48" y="64"/>
                  </a:lnTo>
                  <a:lnTo>
                    <a:pt x="56" y="56"/>
                  </a:lnTo>
                  <a:lnTo>
                    <a:pt x="64" y="56"/>
                  </a:lnTo>
                  <a:lnTo>
                    <a:pt x="56" y="64"/>
                  </a:lnTo>
                  <a:lnTo>
                    <a:pt x="64" y="64"/>
                  </a:lnTo>
                  <a:lnTo>
                    <a:pt x="64" y="72"/>
                  </a:lnTo>
                  <a:lnTo>
                    <a:pt x="72" y="72"/>
                  </a:lnTo>
                  <a:lnTo>
                    <a:pt x="80" y="56"/>
                  </a:lnTo>
                  <a:lnTo>
                    <a:pt x="72" y="56"/>
                  </a:lnTo>
                  <a:lnTo>
                    <a:pt x="80" y="48"/>
                  </a:lnTo>
                  <a:lnTo>
                    <a:pt x="64" y="56"/>
                  </a:lnTo>
                  <a:lnTo>
                    <a:pt x="80" y="40"/>
                  </a:lnTo>
                  <a:lnTo>
                    <a:pt x="72" y="40"/>
                  </a:lnTo>
                  <a:lnTo>
                    <a:pt x="80" y="32"/>
                  </a:lnTo>
                  <a:lnTo>
                    <a:pt x="56" y="32"/>
                  </a:lnTo>
                  <a:lnTo>
                    <a:pt x="56" y="24"/>
                  </a:lnTo>
                  <a:lnTo>
                    <a:pt x="56" y="16"/>
                  </a:lnTo>
                  <a:lnTo>
                    <a:pt x="40" y="24"/>
                  </a:lnTo>
                  <a:lnTo>
                    <a:pt x="64" y="0"/>
                  </a:lnTo>
                  <a:lnTo>
                    <a:pt x="56" y="0"/>
                  </a:lnTo>
                  <a:lnTo>
                    <a:pt x="16" y="40"/>
                  </a:lnTo>
                  <a:lnTo>
                    <a:pt x="0" y="4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84" name="Freeform 215">
              <a:extLst>
                <a:ext uri="{FF2B5EF4-FFF2-40B4-BE49-F238E27FC236}">
                  <a16:creationId xmlns:a16="http://schemas.microsoft.com/office/drawing/2014/main" id="{7D5F3567-4EE8-4487-FB50-75C3AB780848}"/>
                </a:ext>
              </a:extLst>
            </p:cNvPr>
            <p:cNvSpPr>
              <a:spLocks/>
            </p:cNvSpPr>
            <p:nvPr/>
          </p:nvSpPr>
          <p:spPr bwMode="auto">
            <a:xfrm>
              <a:off x="2105653" y="958153"/>
              <a:ext cx="162281" cy="81547"/>
            </a:xfrm>
            <a:custGeom>
              <a:avLst/>
              <a:gdLst>
                <a:gd name="T0" fmla="*/ 0 w 80"/>
                <a:gd name="T1" fmla="*/ 32 h 40"/>
                <a:gd name="T2" fmla="*/ 16 w 80"/>
                <a:gd name="T3" fmla="*/ 32 h 40"/>
                <a:gd name="T4" fmla="*/ 16 w 80"/>
                <a:gd name="T5" fmla="*/ 40 h 40"/>
                <a:gd name="T6" fmla="*/ 40 w 80"/>
                <a:gd name="T7" fmla="*/ 32 h 40"/>
                <a:gd name="T8" fmla="*/ 48 w 80"/>
                <a:gd name="T9" fmla="*/ 32 h 40"/>
                <a:gd name="T10" fmla="*/ 64 w 80"/>
                <a:gd name="T11" fmla="*/ 40 h 40"/>
                <a:gd name="T12" fmla="*/ 80 w 80"/>
                <a:gd name="T13" fmla="*/ 32 h 40"/>
                <a:gd name="T14" fmla="*/ 48 w 80"/>
                <a:gd name="T15" fmla="*/ 8 h 40"/>
                <a:gd name="T16" fmla="*/ 48 w 80"/>
                <a:gd name="T17" fmla="*/ 0 h 40"/>
                <a:gd name="T18" fmla="*/ 32 w 80"/>
                <a:gd name="T19" fmla="*/ 16 h 40"/>
                <a:gd name="T20" fmla="*/ 16 w 80"/>
                <a:gd name="T21" fmla="*/ 32 h 40"/>
                <a:gd name="T22" fmla="*/ 0 w 80"/>
                <a:gd name="T23"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40">
                  <a:moveTo>
                    <a:pt x="0" y="32"/>
                  </a:moveTo>
                  <a:lnTo>
                    <a:pt x="16" y="32"/>
                  </a:lnTo>
                  <a:lnTo>
                    <a:pt x="16" y="40"/>
                  </a:lnTo>
                  <a:lnTo>
                    <a:pt x="40" y="32"/>
                  </a:lnTo>
                  <a:lnTo>
                    <a:pt x="48" y="32"/>
                  </a:lnTo>
                  <a:lnTo>
                    <a:pt x="64" y="40"/>
                  </a:lnTo>
                  <a:lnTo>
                    <a:pt x="80" y="32"/>
                  </a:lnTo>
                  <a:lnTo>
                    <a:pt x="48" y="8"/>
                  </a:lnTo>
                  <a:lnTo>
                    <a:pt x="48" y="0"/>
                  </a:lnTo>
                  <a:lnTo>
                    <a:pt x="32" y="16"/>
                  </a:lnTo>
                  <a:lnTo>
                    <a:pt x="16" y="32"/>
                  </a:lnTo>
                  <a:lnTo>
                    <a:pt x="0"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85" name="Freeform 216">
              <a:extLst>
                <a:ext uri="{FF2B5EF4-FFF2-40B4-BE49-F238E27FC236}">
                  <a16:creationId xmlns:a16="http://schemas.microsoft.com/office/drawing/2014/main" id="{73C4FA2A-EB1F-4F56-F5FC-7B5D58FFA2B5}"/>
                </a:ext>
              </a:extLst>
            </p:cNvPr>
            <p:cNvSpPr>
              <a:spLocks/>
            </p:cNvSpPr>
            <p:nvPr/>
          </p:nvSpPr>
          <p:spPr bwMode="auto">
            <a:xfrm>
              <a:off x="2400160" y="908319"/>
              <a:ext cx="48086" cy="33223"/>
            </a:xfrm>
            <a:custGeom>
              <a:avLst/>
              <a:gdLst>
                <a:gd name="T0" fmla="*/ 0 w 24"/>
                <a:gd name="T1" fmla="*/ 8 h 16"/>
                <a:gd name="T2" fmla="*/ 0 w 24"/>
                <a:gd name="T3" fmla="*/ 16 h 16"/>
                <a:gd name="T4" fmla="*/ 8 w 24"/>
                <a:gd name="T5" fmla="*/ 16 h 16"/>
                <a:gd name="T6" fmla="*/ 24 w 24"/>
                <a:gd name="T7" fmla="*/ 0 h 16"/>
                <a:gd name="T8" fmla="*/ 16 w 24"/>
                <a:gd name="T9" fmla="*/ 0 h 16"/>
                <a:gd name="T10" fmla="*/ 0 w 24"/>
                <a:gd name="T11" fmla="*/ 8 h 16"/>
              </a:gdLst>
              <a:ahLst/>
              <a:cxnLst>
                <a:cxn ang="0">
                  <a:pos x="T0" y="T1"/>
                </a:cxn>
                <a:cxn ang="0">
                  <a:pos x="T2" y="T3"/>
                </a:cxn>
                <a:cxn ang="0">
                  <a:pos x="T4" y="T5"/>
                </a:cxn>
                <a:cxn ang="0">
                  <a:pos x="T6" y="T7"/>
                </a:cxn>
                <a:cxn ang="0">
                  <a:pos x="T8" y="T9"/>
                </a:cxn>
                <a:cxn ang="0">
                  <a:pos x="T10" y="T11"/>
                </a:cxn>
              </a:cxnLst>
              <a:rect l="0" t="0" r="r" b="b"/>
              <a:pathLst>
                <a:path w="24" h="16">
                  <a:moveTo>
                    <a:pt x="0" y="8"/>
                  </a:moveTo>
                  <a:lnTo>
                    <a:pt x="0" y="16"/>
                  </a:lnTo>
                  <a:lnTo>
                    <a:pt x="8" y="16"/>
                  </a:lnTo>
                  <a:lnTo>
                    <a:pt x="24" y="0"/>
                  </a:lnTo>
                  <a:lnTo>
                    <a:pt x="16"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86" name="Freeform 217">
              <a:extLst>
                <a:ext uri="{FF2B5EF4-FFF2-40B4-BE49-F238E27FC236}">
                  <a16:creationId xmlns:a16="http://schemas.microsoft.com/office/drawing/2014/main" id="{B51BEFEB-421C-5E5F-3455-30D7E0251692}"/>
                </a:ext>
              </a:extLst>
            </p:cNvPr>
            <p:cNvSpPr>
              <a:spLocks/>
            </p:cNvSpPr>
            <p:nvPr/>
          </p:nvSpPr>
          <p:spPr bwMode="auto">
            <a:xfrm>
              <a:off x="2236379" y="760316"/>
              <a:ext cx="458293" cy="312591"/>
            </a:xfrm>
            <a:custGeom>
              <a:avLst/>
              <a:gdLst>
                <a:gd name="T0" fmla="*/ 0 w 224"/>
                <a:gd name="T1" fmla="*/ 24 h 152"/>
                <a:gd name="T2" fmla="*/ 8 w 224"/>
                <a:gd name="T3" fmla="*/ 40 h 152"/>
                <a:gd name="T4" fmla="*/ 24 w 224"/>
                <a:gd name="T5" fmla="*/ 48 h 152"/>
                <a:gd name="T6" fmla="*/ 64 w 224"/>
                <a:gd name="T7" fmla="*/ 48 h 152"/>
                <a:gd name="T8" fmla="*/ 72 w 224"/>
                <a:gd name="T9" fmla="*/ 56 h 152"/>
                <a:gd name="T10" fmla="*/ 96 w 224"/>
                <a:gd name="T11" fmla="*/ 48 h 152"/>
                <a:gd name="T12" fmla="*/ 112 w 224"/>
                <a:gd name="T13" fmla="*/ 56 h 152"/>
                <a:gd name="T14" fmla="*/ 96 w 224"/>
                <a:gd name="T15" fmla="*/ 64 h 152"/>
                <a:gd name="T16" fmla="*/ 112 w 224"/>
                <a:gd name="T17" fmla="*/ 64 h 152"/>
                <a:gd name="T18" fmla="*/ 120 w 224"/>
                <a:gd name="T19" fmla="*/ 64 h 152"/>
                <a:gd name="T20" fmla="*/ 128 w 224"/>
                <a:gd name="T21" fmla="*/ 72 h 152"/>
                <a:gd name="T22" fmla="*/ 128 w 224"/>
                <a:gd name="T23" fmla="*/ 88 h 152"/>
                <a:gd name="T24" fmla="*/ 88 w 224"/>
                <a:gd name="T25" fmla="*/ 96 h 152"/>
                <a:gd name="T26" fmla="*/ 96 w 224"/>
                <a:gd name="T27" fmla="*/ 104 h 152"/>
                <a:gd name="T28" fmla="*/ 80 w 224"/>
                <a:gd name="T29" fmla="*/ 112 h 152"/>
                <a:gd name="T30" fmla="*/ 56 w 224"/>
                <a:gd name="T31" fmla="*/ 104 h 152"/>
                <a:gd name="T32" fmla="*/ 40 w 224"/>
                <a:gd name="T33" fmla="*/ 120 h 152"/>
                <a:gd name="T34" fmla="*/ 64 w 224"/>
                <a:gd name="T35" fmla="*/ 120 h 152"/>
                <a:gd name="T36" fmla="*/ 88 w 224"/>
                <a:gd name="T37" fmla="*/ 128 h 152"/>
                <a:gd name="T38" fmla="*/ 96 w 224"/>
                <a:gd name="T39" fmla="*/ 128 h 152"/>
                <a:gd name="T40" fmla="*/ 96 w 224"/>
                <a:gd name="T41" fmla="*/ 136 h 152"/>
                <a:gd name="T42" fmla="*/ 96 w 224"/>
                <a:gd name="T43" fmla="*/ 144 h 152"/>
                <a:gd name="T44" fmla="*/ 120 w 224"/>
                <a:gd name="T45" fmla="*/ 152 h 152"/>
                <a:gd name="T46" fmla="*/ 144 w 224"/>
                <a:gd name="T47" fmla="*/ 152 h 152"/>
                <a:gd name="T48" fmla="*/ 128 w 224"/>
                <a:gd name="T49" fmla="*/ 136 h 152"/>
                <a:gd name="T50" fmla="*/ 128 w 224"/>
                <a:gd name="T51" fmla="*/ 128 h 152"/>
                <a:gd name="T52" fmla="*/ 152 w 224"/>
                <a:gd name="T53" fmla="*/ 144 h 152"/>
                <a:gd name="T54" fmla="*/ 168 w 224"/>
                <a:gd name="T55" fmla="*/ 144 h 152"/>
                <a:gd name="T56" fmla="*/ 176 w 224"/>
                <a:gd name="T57" fmla="*/ 136 h 152"/>
                <a:gd name="T58" fmla="*/ 168 w 224"/>
                <a:gd name="T59" fmla="*/ 128 h 152"/>
                <a:gd name="T60" fmla="*/ 176 w 224"/>
                <a:gd name="T61" fmla="*/ 120 h 152"/>
                <a:gd name="T62" fmla="*/ 160 w 224"/>
                <a:gd name="T63" fmla="*/ 104 h 152"/>
                <a:gd name="T64" fmla="*/ 168 w 224"/>
                <a:gd name="T65" fmla="*/ 96 h 152"/>
                <a:gd name="T66" fmla="*/ 184 w 224"/>
                <a:gd name="T67" fmla="*/ 104 h 152"/>
                <a:gd name="T68" fmla="*/ 184 w 224"/>
                <a:gd name="T69" fmla="*/ 112 h 152"/>
                <a:gd name="T70" fmla="*/ 192 w 224"/>
                <a:gd name="T71" fmla="*/ 112 h 152"/>
                <a:gd name="T72" fmla="*/ 224 w 224"/>
                <a:gd name="T73" fmla="*/ 88 h 152"/>
                <a:gd name="T74" fmla="*/ 200 w 224"/>
                <a:gd name="T75" fmla="*/ 72 h 152"/>
                <a:gd name="T76" fmla="*/ 184 w 224"/>
                <a:gd name="T77" fmla="*/ 72 h 152"/>
                <a:gd name="T78" fmla="*/ 176 w 224"/>
                <a:gd name="T79" fmla="*/ 64 h 152"/>
                <a:gd name="T80" fmla="*/ 184 w 224"/>
                <a:gd name="T81" fmla="*/ 64 h 152"/>
                <a:gd name="T82" fmla="*/ 200 w 224"/>
                <a:gd name="T83" fmla="*/ 56 h 152"/>
                <a:gd name="T84" fmla="*/ 192 w 224"/>
                <a:gd name="T85" fmla="*/ 56 h 152"/>
                <a:gd name="T86" fmla="*/ 200 w 224"/>
                <a:gd name="T87" fmla="*/ 48 h 152"/>
                <a:gd name="T88" fmla="*/ 176 w 224"/>
                <a:gd name="T89" fmla="*/ 32 h 152"/>
                <a:gd name="T90" fmla="*/ 152 w 224"/>
                <a:gd name="T91" fmla="*/ 24 h 152"/>
                <a:gd name="T92" fmla="*/ 160 w 224"/>
                <a:gd name="T93" fmla="*/ 16 h 152"/>
                <a:gd name="T94" fmla="*/ 128 w 224"/>
                <a:gd name="T95" fmla="*/ 16 h 152"/>
                <a:gd name="T96" fmla="*/ 88 w 224"/>
                <a:gd name="T97" fmla="*/ 24 h 152"/>
                <a:gd name="T98" fmla="*/ 104 w 224"/>
                <a:gd name="T99" fmla="*/ 8 h 152"/>
                <a:gd name="T100" fmla="*/ 88 w 224"/>
                <a:gd name="T101" fmla="*/ 0 h 152"/>
                <a:gd name="T102" fmla="*/ 56 w 224"/>
                <a:gd name="T103" fmla="*/ 8 h 152"/>
                <a:gd name="T104" fmla="*/ 40 w 224"/>
                <a:gd name="T105" fmla="*/ 24 h 152"/>
                <a:gd name="T106" fmla="*/ 48 w 224"/>
                <a:gd name="T107" fmla="*/ 16 h 152"/>
                <a:gd name="T108" fmla="*/ 80 w 224"/>
                <a:gd name="T109" fmla="*/ 0 h 152"/>
                <a:gd name="T110" fmla="*/ 56 w 224"/>
                <a:gd name="T111" fmla="*/ 0 h 152"/>
                <a:gd name="T112" fmla="*/ 24 w 224"/>
                <a:gd name="T113" fmla="*/ 8 h 152"/>
                <a:gd name="T114" fmla="*/ 0 w 224"/>
                <a:gd name="T115" fmla="*/ 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4" h="152">
                  <a:moveTo>
                    <a:pt x="0" y="24"/>
                  </a:moveTo>
                  <a:lnTo>
                    <a:pt x="8" y="40"/>
                  </a:lnTo>
                  <a:lnTo>
                    <a:pt x="24" y="48"/>
                  </a:lnTo>
                  <a:lnTo>
                    <a:pt x="64" y="48"/>
                  </a:lnTo>
                  <a:lnTo>
                    <a:pt x="72" y="56"/>
                  </a:lnTo>
                  <a:lnTo>
                    <a:pt x="96" y="48"/>
                  </a:lnTo>
                  <a:lnTo>
                    <a:pt x="112" y="56"/>
                  </a:lnTo>
                  <a:lnTo>
                    <a:pt x="96" y="64"/>
                  </a:lnTo>
                  <a:lnTo>
                    <a:pt x="112" y="64"/>
                  </a:lnTo>
                  <a:lnTo>
                    <a:pt x="120" y="64"/>
                  </a:lnTo>
                  <a:lnTo>
                    <a:pt x="128" y="72"/>
                  </a:lnTo>
                  <a:lnTo>
                    <a:pt x="128" y="88"/>
                  </a:lnTo>
                  <a:lnTo>
                    <a:pt x="88" y="96"/>
                  </a:lnTo>
                  <a:lnTo>
                    <a:pt x="96" y="104"/>
                  </a:lnTo>
                  <a:lnTo>
                    <a:pt x="80" y="112"/>
                  </a:lnTo>
                  <a:lnTo>
                    <a:pt x="56" y="104"/>
                  </a:lnTo>
                  <a:lnTo>
                    <a:pt x="40" y="120"/>
                  </a:lnTo>
                  <a:lnTo>
                    <a:pt x="64" y="120"/>
                  </a:lnTo>
                  <a:lnTo>
                    <a:pt x="88" y="128"/>
                  </a:lnTo>
                  <a:lnTo>
                    <a:pt x="96" y="128"/>
                  </a:lnTo>
                  <a:lnTo>
                    <a:pt x="96" y="136"/>
                  </a:lnTo>
                  <a:lnTo>
                    <a:pt x="96" y="144"/>
                  </a:lnTo>
                  <a:lnTo>
                    <a:pt x="120" y="152"/>
                  </a:lnTo>
                  <a:lnTo>
                    <a:pt x="144" y="152"/>
                  </a:lnTo>
                  <a:lnTo>
                    <a:pt x="128" y="136"/>
                  </a:lnTo>
                  <a:lnTo>
                    <a:pt x="128" y="128"/>
                  </a:lnTo>
                  <a:lnTo>
                    <a:pt x="152" y="144"/>
                  </a:lnTo>
                  <a:lnTo>
                    <a:pt x="168" y="144"/>
                  </a:lnTo>
                  <a:lnTo>
                    <a:pt x="176" y="136"/>
                  </a:lnTo>
                  <a:lnTo>
                    <a:pt x="168" y="128"/>
                  </a:lnTo>
                  <a:lnTo>
                    <a:pt x="176" y="120"/>
                  </a:lnTo>
                  <a:lnTo>
                    <a:pt x="160" y="104"/>
                  </a:lnTo>
                  <a:lnTo>
                    <a:pt x="168" y="96"/>
                  </a:lnTo>
                  <a:lnTo>
                    <a:pt x="184" y="104"/>
                  </a:lnTo>
                  <a:lnTo>
                    <a:pt x="184" y="112"/>
                  </a:lnTo>
                  <a:lnTo>
                    <a:pt x="192" y="112"/>
                  </a:lnTo>
                  <a:lnTo>
                    <a:pt x="224" y="88"/>
                  </a:lnTo>
                  <a:lnTo>
                    <a:pt x="200" y="72"/>
                  </a:lnTo>
                  <a:lnTo>
                    <a:pt x="184" y="72"/>
                  </a:lnTo>
                  <a:lnTo>
                    <a:pt x="176" y="64"/>
                  </a:lnTo>
                  <a:lnTo>
                    <a:pt x="184" y="64"/>
                  </a:lnTo>
                  <a:lnTo>
                    <a:pt x="200" y="56"/>
                  </a:lnTo>
                  <a:lnTo>
                    <a:pt x="192" y="56"/>
                  </a:lnTo>
                  <a:lnTo>
                    <a:pt x="200" y="48"/>
                  </a:lnTo>
                  <a:lnTo>
                    <a:pt x="176" y="32"/>
                  </a:lnTo>
                  <a:lnTo>
                    <a:pt x="152" y="24"/>
                  </a:lnTo>
                  <a:lnTo>
                    <a:pt x="160" y="16"/>
                  </a:lnTo>
                  <a:lnTo>
                    <a:pt x="128" y="16"/>
                  </a:lnTo>
                  <a:lnTo>
                    <a:pt x="88" y="24"/>
                  </a:lnTo>
                  <a:lnTo>
                    <a:pt x="104" y="8"/>
                  </a:lnTo>
                  <a:lnTo>
                    <a:pt x="88" y="0"/>
                  </a:lnTo>
                  <a:lnTo>
                    <a:pt x="56" y="8"/>
                  </a:lnTo>
                  <a:lnTo>
                    <a:pt x="40" y="24"/>
                  </a:lnTo>
                  <a:lnTo>
                    <a:pt x="48" y="16"/>
                  </a:lnTo>
                  <a:lnTo>
                    <a:pt x="80" y="0"/>
                  </a:lnTo>
                  <a:lnTo>
                    <a:pt x="56" y="0"/>
                  </a:lnTo>
                  <a:lnTo>
                    <a:pt x="24" y="8"/>
                  </a:lnTo>
                  <a:lnTo>
                    <a:pt x="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87" name="Freeform 218">
              <a:extLst>
                <a:ext uri="{FF2B5EF4-FFF2-40B4-BE49-F238E27FC236}">
                  <a16:creationId xmlns:a16="http://schemas.microsoft.com/office/drawing/2014/main" id="{BD0424B2-F5E9-AA53-D5BD-E75E536BDEC5}"/>
                </a:ext>
              </a:extLst>
            </p:cNvPr>
            <p:cNvSpPr>
              <a:spLocks/>
            </p:cNvSpPr>
            <p:nvPr/>
          </p:nvSpPr>
          <p:spPr bwMode="auto">
            <a:xfrm>
              <a:off x="2448260" y="760330"/>
              <a:ext cx="82644" cy="33223"/>
            </a:xfrm>
            <a:custGeom>
              <a:avLst/>
              <a:gdLst>
                <a:gd name="T0" fmla="*/ 8 w 40"/>
                <a:gd name="T1" fmla="*/ 0 h 16"/>
                <a:gd name="T2" fmla="*/ 0 w 40"/>
                <a:gd name="T3" fmla="*/ 8 h 16"/>
                <a:gd name="T4" fmla="*/ 8 w 40"/>
                <a:gd name="T5" fmla="*/ 16 h 16"/>
                <a:gd name="T6" fmla="*/ 32 w 40"/>
                <a:gd name="T7" fmla="*/ 16 h 16"/>
                <a:gd name="T8" fmla="*/ 40 w 40"/>
                <a:gd name="T9" fmla="*/ 8 h 16"/>
                <a:gd name="T10" fmla="*/ 8 w 40"/>
                <a:gd name="T11" fmla="*/ 0 h 16"/>
              </a:gdLst>
              <a:ahLst/>
              <a:cxnLst>
                <a:cxn ang="0">
                  <a:pos x="T0" y="T1"/>
                </a:cxn>
                <a:cxn ang="0">
                  <a:pos x="T2" y="T3"/>
                </a:cxn>
                <a:cxn ang="0">
                  <a:pos x="T4" y="T5"/>
                </a:cxn>
                <a:cxn ang="0">
                  <a:pos x="T6" y="T7"/>
                </a:cxn>
                <a:cxn ang="0">
                  <a:pos x="T8" y="T9"/>
                </a:cxn>
                <a:cxn ang="0">
                  <a:pos x="T10" y="T11"/>
                </a:cxn>
              </a:cxnLst>
              <a:rect l="0" t="0" r="r" b="b"/>
              <a:pathLst>
                <a:path w="40" h="16">
                  <a:moveTo>
                    <a:pt x="8" y="0"/>
                  </a:moveTo>
                  <a:lnTo>
                    <a:pt x="0" y="8"/>
                  </a:lnTo>
                  <a:lnTo>
                    <a:pt x="8" y="16"/>
                  </a:lnTo>
                  <a:lnTo>
                    <a:pt x="32" y="16"/>
                  </a:lnTo>
                  <a:lnTo>
                    <a:pt x="40" y="8"/>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88" name="Freeform 219">
              <a:extLst>
                <a:ext uri="{FF2B5EF4-FFF2-40B4-BE49-F238E27FC236}">
                  <a16:creationId xmlns:a16="http://schemas.microsoft.com/office/drawing/2014/main" id="{DA56C948-B7AE-ED00-0E34-350ECEBE8169}"/>
                </a:ext>
              </a:extLst>
            </p:cNvPr>
            <p:cNvSpPr>
              <a:spLocks/>
            </p:cNvSpPr>
            <p:nvPr/>
          </p:nvSpPr>
          <p:spPr bwMode="auto">
            <a:xfrm>
              <a:off x="2203326" y="727092"/>
              <a:ext cx="49585" cy="16611"/>
            </a:xfrm>
            <a:custGeom>
              <a:avLst/>
              <a:gdLst>
                <a:gd name="T0" fmla="*/ 0 w 24"/>
                <a:gd name="T1" fmla="*/ 0 h 8"/>
                <a:gd name="T2" fmla="*/ 16 w 24"/>
                <a:gd name="T3" fmla="*/ 8 h 8"/>
                <a:gd name="T4" fmla="*/ 24 w 24"/>
                <a:gd name="T5" fmla="*/ 0 h 8"/>
                <a:gd name="T6" fmla="*/ 16 w 24"/>
                <a:gd name="T7" fmla="*/ 0 h 8"/>
                <a:gd name="T8" fmla="*/ 0 w 24"/>
                <a:gd name="T9" fmla="*/ 0 h 8"/>
              </a:gdLst>
              <a:ahLst/>
              <a:cxnLst>
                <a:cxn ang="0">
                  <a:pos x="T0" y="T1"/>
                </a:cxn>
                <a:cxn ang="0">
                  <a:pos x="T2" y="T3"/>
                </a:cxn>
                <a:cxn ang="0">
                  <a:pos x="T4" y="T5"/>
                </a:cxn>
                <a:cxn ang="0">
                  <a:pos x="T6" y="T7"/>
                </a:cxn>
                <a:cxn ang="0">
                  <a:pos x="T8" y="T9"/>
                </a:cxn>
              </a:cxnLst>
              <a:rect l="0" t="0" r="r" b="b"/>
              <a:pathLst>
                <a:path w="24" h="8">
                  <a:moveTo>
                    <a:pt x="0" y="0"/>
                  </a:moveTo>
                  <a:lnTo>
                    <a:pt x="16" y="8"/>
                  </a:lnTo>
                  <a:lnTo>
                    <a:pt x="24" y="0"/>
                  </a:lnTo>
                  <a:lnTo>
                    <a:pt x="16"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89" name="Freeform 220">
              <a:extLst>
                <a:ext uri="{FF2B5EF4-FFF2-40B4-BE49-F238E27FC236}">
                  <a16:creationId xmlns:a16="http://schemas.microsoft.com/office/drawing/2014/main" id="{15BD49EA-A9E4-EAD2-244E-E0AE2237A553}"/>
                </a:ext>
              </a:extLst>
            </p:cNvPr>
            <p:cNvSpPr>
              <a:spLocks/>
            </p:cNvSpPr>
            <p:nvPr/>
          </p:nvSpPr>
          <p:spPr bwMode="auto">
            <a:xfrm>
              <a:off x="2252909" y="693880"/>
              <a:ext cx="261453" cy="49833"/>
            </a:xfrm>
            <a:custGeom>
              <a:avLst/>
              <a:gdLst>
                <a:gd name="T0" fmla="*/ 8 w 128"/>
                <a:gd name="T1" fmla="*/ 0 h 24"/>
                <a:gd name="T2" fmla="*/ 0 w 128"/>
                <a:gd name="T3" fmla="*/ 0 h 24"/>
                <a:gd name="T4" fmla="*/ 8 w 128"/>
                <a:gd name="T5" fmla="*/ 8 h 24"/>
                <a:gd name="T6" fmla="*/ 32 w 128"/>
                <a:gd name="T7" fmla="*/ 8 h 24"/>
                <a:gd name="T8" fmla="*/ 16 w 128"/>
                <a:gd name="T9" fmla="*/ 24 h 24"/>
                <a:gd name="T10" fmla="*/ 24 w 128"/>
                <a:gd name="T11" fmla="*/ 24 h 24"/>
                <a:gd name="T12" fmla="*/ 72 w 128"/>
                <a:gd name="T13" fmla="*/ 24 h 24"/>
                <a:gd name="T14" fmla="*/ 88 w 128"/>
                <a:gd name="T15" fmla="*/ 24 h 24"/>
                <a:gd name="T16" fmla="*/ 96 w 128"/>
                <a:gd name="T17" fmla="*/ 24 h 24"/>
                <a:gd name="T18" fmla="*/ 112 w 128"/>
                <a:gd name="T19" fmla="*/ 24 h 24"/>
                <a:gd name="T20" fmla="*/ 128 w 128"/>
                <a:gd name="T21" fmla="*/ 16 h 24"/>
                <a:gd name="T22" fmla="*/ 56 w 128"/>
                <a:gd name="T23" fmla="*/ 8 h 24"/>
                <a:gd name="T24" fmla="*/ 48 w 128"/>
                <a:gd name="T25" fmla="*/ 8 h 24"/>
                <a:gd name="T26" fmla="*/ 48 w 128"/>
                <a:gd name="T27" fmla="*/ 0 h 24"/>
                <a:gd name="T28" fmla="*/ 8 w 128"/>
                <a:gd name="T2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24">
                  <a:moveTo>
                    <a:pt x="8" y="0"/>
                  </a:moveTo>
                  <a:lnTo>
                    <a:pt x="0" y="0"/>
                  </a:lnTo>
                  <a:lnTo>
                    <a:pt x="8" y="8"/>
                  </a:lnTo>
                  <a:lnTo>
                    <a:pt x="32" y="8"/>
                  </a:lnTo>
                  <a:lnTo>
                    <a:pt x="16" y="24"/>
                  </a:lnTo>
                  <a:lnTo>
                    <a:pt x="24" y="24"/>
                  </a:lnTo>
                  <a:lnTo>
                    <a:pt x="72" y="24"/>
                  </a:lnTo>
                  <a:lnTo>
                    <a:pt x="88" y="24"/>
                  </a:lnTo>
                  <a:lnTo>
                    <a:pt x="96" y="24"/>
                  </a:lnTo>
                  <a:lnTo>
                    <a:pt x="112" y="24"/>
                  </a:lnTo>
                  <a:lnTo>
                    <a:pt x="128" y="16"/>
                  </a:lnTo>
                  <a:lnTo>
                    <a:pt x="56" y="8"/>
                  </a:lnTo>
                  <a:lnTo>
                    <a:pt x="48" y="8"/>
                  </a:lnTo>
                  <a:lnTo>
                    <a:pt x="48" y="0"/>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90" name="Freeform 221">
              <a:extLst>
                <a:ext uri="{FF2B5EF4-FFF2-40B4-BE49-F238E27FC236}">
                  <a16:creationId xmlns:a16="http://schemas.microsoft.com/office/drawing/2014/main" id="{F22329F4-82D2-D2EB-5198-5A457D68B3FB}"/>
                </a:ext>
              </a:extLst>
            </p:cNvPr>
            <p:cNvSpPr>
              <a:spLocks/>
            </p:cNvSpPr>
            <p:nvPr/>
          </p:nvSpPr>
          <p:spPr bwMode="auto">
            <a:xfrm>
              <a:off x="2367109" y="595714"/>
              <a:ext cx="163784" cy="64934"/>
            </a:xfrm>
            <a:custGeom>
              <a:avLst/>
              <a:gdLst>
                <a:gd name="T0" fmla="*/ 8 w 80"/>
                <a:gd name="T1" fmla="*/ 8 h 32"/>
                <a:gd name="T2" fmla="*/ 8 w 80"/>
                <a:gd name="T3" fmla="*/ 16 h 32"/>
                <a:gd name="T4" fmla="*/ 0 w 80"/>
                <a:gd name="T5" fmla="*/ 24 h 32"/>
                <a:gd name="T6" fmla="*/ 0 w 80"/>
                <a:gd name="T7" fmla="*/ 32 h 32"/>
                <a:gd name="T8" fmla="*/ 24 w 80"/>
                <a:gd name="T9" fmla="*/ 32 h 32"/>
                <a:gd name="T10" fmla="*/ 80 w 80"/>
                <a:gd name="T11" fmla="*/ 16 h 32"/>
                <a:gd name="T12" fmla="*/ 64 w 80"/>
                <a:gd name="T13" fmla="*/ 16 h 32"/>
                <a:gd name="T14" fmla="*/ 72 w 80"/>
                <a:gd name="T15" fmla="*/ 8 h 32"/>
                <a:gd name="T16" fmla="*/ 56 w 80"/>
                <a:gd name="T17" fmla="*/ 8 h 32"/>
                <a:gd name="T18" fmla="*/ 48 w 80"/>
                <a:gd name="T19" fmla="*/ 0 h 32"/>
                <a:gd name="T20" fmla="*/ 32 w 80"/>
                <a:gd name="T21" fmla="*/ 0 h 32"/>
                <a:gd name="T22" fmla="*/ 8 w 80"/>
                <a:gd name="T23"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32">
                  <a:moveTo>
                    <a:pt x="8" y="8"/>
                  </a:moveTo>
                  <a:lnTo>
                    <a:pt x="8" y="16"/>
                  </a:lnTo>
                  <a:lnTo>
                    <a:pt x="0" y="24"/>
                  </a:lnTo>
                  <a:lnTo>
                    <a:pt x="0" y="32"/>
                  </a:lnTo>
                  <a:lnTo>
                    <a:pt x="24" y="32"/>
                  </a:lnTo>
                  <a:lnTo>
                    <a:pt x="80" y="16"/>
                  </a:lnTo>
                  <a:lnTo>
                    <a:pt x="64" y="16"/>
                  </a:lnTo>
                  <a:lnTo>
                    <a:pt x="72" y="8"/>
                  </a:lnTo>
                  <a:lnTo>
                    <a:pt x="56" y="8"/>
                  </a:lnTo>
                  <a:lnTo>
                    <a:pt x="48" y="0"/>
                  </a:lnTo>
                  <a:lnTo>
                    <a:pt x="32" y="0"/>
                  </a:lnTo>
                  <a:lnTo>
                    <a:pt x="8"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91" name="Freeform 222">
              <a:extLst>
                <a:ext uri="{FF2B5EF4-FFF2-40B4-BE49-F238E27FC236}">
                  <a16:creationId xmlns:a16="http://schemas.microsoft.com/office/drawing/2014/main" id="{EDDAAAA6-826C-F558-31B6-54039A6F99DE}"/>
                </a:ext>
              </a:extLst>
            </p:cNvPr>
            <p:cNvSpPr>
              <a:spLocks/>
            </p:cNvSpPr>
            <p:nvPr/>
          </p:nvSpPr>
          <p:spPr bwMode="auto">
            <a:xfrm>
              <a:off x="2367104" y="562506"/>
              <a:ext cx="638607" cy="147989"/>
            </a:xfrm>
            <a:custGeom>
              <a:avLst/>
              <a:gdLst>
                <a:gd name="T0" fmla="*/ 64 w 312"/>
                <a:gd name="T1" fmla="*/ 16 h 72"/>
                <a:gd name="T2" fmla="*/ 72 w 312"/>
                <a:gd name="T3" fmla="*/ 24 h 72"/>
                <a:gd name="T4" fmla="*/ 88 w 312"/>
                <a:gd name="T5" fmla="*/ 24 h 72"/>
                <a:gd name="T6" fmla="*/ 72 w 312"/>
                <a:gd name="T7" fmla="*/ 32 h 72"/>
                <a:gd name="T8" fmla="*/ 80 w 312"/>
                <a:gd name="T9" fmla="*/ 32 h 72"/>
                <a:gd name="T10" fmla="*/ 80 w 312"/>
                <a:gd name="T11" fmla="*/ 40 h 72"/>
                <a:gd name="T12" fmla="*/ 40 w 312"/>
                <a:gd name="T13" fmla="*/ 48 h 72"/>
                <a:gd name="T14" fmla="*/ 56 w 312"/>
                <a:gd name="T15" fmla="*/ 48 h 72"/>
                <a:gd name="T16" fmla="*/ 32 w 312"/>
                <a:gd name="T17" fmla="*/ 48 h 72"/>
                <a:gd name="T18" fmla="*/ 24 w 312"/>
                <a:gd name="T19" fmla="*/ 56 h 72"/>
                <a:gd name="T20" fmla="*/ 32 w 312"/>
                <a:gd name="T21" fmla="*/ 56 h 72"/>
                <a:gd name="T22" fmla="*/ 8 w 312"/>
                <a:gd name="T23" fmla="*/ 64 h 72"/>
                <a:gd name="T24" fmla="*/ 0 w 312"/>
                <a:gd name="T25" fmla="*/ 64 h 72"/>
                <a:gd name="T26" fmla="*/ 72 w 312"/>
                <a:gd name="T27" fmla="*/ 64 h 72"/>
                <a:gd name="T28" fmla="*/ 72 w 312"/>
                <a:gd name="T29" fmla="*/ 72 h 72"/>
                <a:gd name="T30" fmla="*/ 112 w 312"/>
                <a:gd name="T31" fmla="*/ 64 h 72"/>
                <a:gd name="T32" fmla="*/ 104 w 312"/>
                <a:gd name="T33" fmla="*/ 56 h 72"/>
                <a:gd name="T34" fmla="*/ 120 w 312"/>
                <a:gd name="T35" fmla="*/ 56 h 72"/>
                <a:gd name="T36" fmla="*/ 120 w 312"/>
                <a:gd name="T37" fmla="*/ 48 h 72"/>
                <a:gd name="T38" fmla="*/ 144 w 312"/>
                <a:gd name="T39" fmla="*/ 48 h 72"/>
                <a:gd name="T40" fmla="*/ 176 w 312"/>
                <a:gd name="T41" fmla="*/ 32 h 72"/>
                <a:gd name="T42" fmla="*/ 312 w 312"/>
                <a:gd name="T43" fmla="*/ 8 h 72"/>
                <a:gd name="T44" fmla="*/ 248 w 312"/>
                <a:gd name="T45" fmla="*/ 0 h 72"/>
                <a:gd name="T46" fmla="*/ 192 w 312"/>
                <a:gd name="T47" fmla="*/ 0 h 72"/>
                <a:gd name="T48" fmla="*/ 64 w 312"/>
                <a:gd name="T49" fmla="*/ 1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2" h="72">
                  <a:moveTo>
                    <a:pt x="64" y="16"/>
                  </a:moveTo>
                  <a:lnTo>
                    <a:pt x="72" y="24"/>
                  </a:lnTo>
                  <a:lnTo>
                    <a:pt x="88" y="24"/>
                  </a:lnTo>
                  <a:lnTo>
                    <a:pt x="72" y="32"/>
                  </a:lnTo>
                  <a:lnTo>
                    <a:pt x="80" y="32"/>
                  </a:lnTo>
                  <a:lnTo>
                    <a:pt x="80" y="40"/>
                  </a:lnTo>
                  <a:lnTo>
                    <a:pt x="40" y="48"/>
                  </a:lnTo>
                  <a:lnTo>
                    <a:pt x="56" y="48"/>
                  </a:lnTo>
                  <a:lnTo>
                    <a:pt x="32" y="48"/>
                  </a:lnTo>
                  <a:lnTo>
                    <a:pt x="24" y="56"/>
                  </a:lnTo>
                  <a:lnTo>
                    <a:pt x="32" y="56"/>
                  </a:lnTo>
                  <a:lnTo>
                    <a:pt x="8" y="64"/>
                  </a:lnTo>
                  <a:lnTo>
                    <a:pt x="0" y="64"/>
                  </a:lnTo>
                  <a:lnTo>
                    <a:pt x="72" y="64"/>
                  </a:lnTo>
                  <a:lnTo>
                    <a:pt x="72" y="72"/>
                  </a:lnTo>
                  <a:lnTo>
                    <a:pt x="112" y="64"/>
                  </a:lnTo>
                  <a:lnTo>
                    <a:pt x="104" y="56"/>
                  </a:lnTo>
                  <a:lnTo>
                    <a:pt x="120" y="56"/>
                  </a:lnTo>
                  <a:lnTo>
                    <a:pt x="120" y="48"/>
                  </a:lnTo>
                  <a:lnTo>
                    <a:pt x="144" y="48"/>
                  </a:lnTo>
                  <a:lnTo>
                    <a:pt x="176" y="32"/>
                  </a:lnTo>
                  <a:lnTo>
                    <a:pt x="312" y="8"/>
                  </a:lnTo>
                  <a:lnTo>
                    <a:pt x="248" y="0"/>
                  </a:lnTo>
                  <a:lnTo>
                    <a:pt x="192" y="0"/>
                  </a:lnTo>
                  <a:lnTo>
                    <a:pt x="64"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92" name="Freeform 223">
              <a:extLst>
                <a:ext uri="{FF2B5EF4-FFF2-40B4-BE49-F238E27FC236}">
                  <a16:creationId xmlns:a16="http://schemas.microsoft.com/office/drawing/2014/main" id="{49D602FF-55B9-7555-F4BC-EC089D5D187B}"/>
                </a:ext>
              </a:extLst>
            </p:cNvPr>
            <p:cNvSpPr>
              <a:spLocks/>
            </p:cNvSpPr>
            <p:nvPr/>
          </p:nvSpPr>
          <p:spPr bwMode="auto">
            <a:xfrm>
              <a:off x="2300990" y="612326"/>
              <a:ext cx="16530" cy="16611"/>
            </a:xfrm>
            <a:custGeom>
              <a:avLst/>
              <a:gdLst>
                <a:gd name="T0" fmla="*/ 0 w 8"/>
                <a:gd name="T1" fmla="*/ 8 h 8"/>
                <a:gd name="T2" fmla="*/ 8 w 8"/>
                <a:gd name="T3" fmla="*/ 8 h 8"/>
                <a:gd name="T4" fmla="*/ 8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8" y="8"/>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93" name="Freeform 224">
              <a:extLst>
                <a:ext uri="{FF2B5EF4-FFF2-40B4-BE49-F238E27FC236}">
                  <a16:creationId xmlns:a16="http://schemas.microsoft.com/office/drawing/2014/main" id="{DC2F8D93-1A4A-4CF3-FC7F-25AA72B29251}"/>
                </a:ext>
              </a:extLst>
            </p:cNvPr>
            <p:cNvSpPr>
              <a:spLocks/>
            </p:cNvSpPr>
            <p:nvPr/>
          </p:nvSpPr>
          <p:spPr bwMode="auto">
            <a:xfrm>
              <a:off x="2153737" y="644050"/>
              <a:ext cx="163784" cy="33223"/>
            </a:xfrm>
            <a:custGeom>
              <a:avLst/>
              <a:gdLst>
                <a:gd name="T0" fmla="*/ 0 w 80"/>
                <a:gd name="T1" fmla="*/ 0 h 16"/>
                <a:gd name="T2" fmla="*/ 16 w 80"/>
                <a:gd name="T3" fmla="*/ 0 h 16"/>
                <a:gd name="T4" fmla="*/ 0 w 80"/>
                <a:gd name="T5" fmla="*/ 0 h 16"/>
                <a:gd name="T6" fmla="*/ 8 w 80"/>
                <a:gd name="T7" fmla="*/ 8 h 16"/>
                <a:gd name="T8" fmla="*/ 32 w 80"/>
                <a:gd name="T9" fmla="*/ 8 h 16"/>
                <a:gd name="T10" fmla="*/ 32 w 80"/>
                <a:gd name="T11" fmla="*/ 16 h 16"/>
                <a:gd name="T12" fmla="*/ 80 w 80"/>
                <a:gd name="T13" fmla="*/ 8 h 16"/>
                <a:gd name="T14" fmla="*/ 64 w 80"/>
                <a:gd name="T15" fmla="*/ 0 h 16"/>
                <a:gd name="T16" fmla="*/ 48 w 80"/>
                <a:gd name="T17" fmla="*/ 8 h 16"/>
                <a:gd name="T18" fmla="*/ 40 w 80"/>
                <a:gd name="T19" fmla="*/ 8 h 16"/>
                <a:gd name="T20" fmla="*/ 48 w 80"/>
                <a:gd name="T21" fmla="*/ 0 h 16"/>
                <a:gd name="T22" fmla="*/ 40 w 80"/>
                <a:gd name="T23" fmla="*/ 0 h 16"/>
                <a:gd name="T24" fmla="*/ 0 w 80"/>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16">
                  <a:moveTo>
                    <a:pt x="0" y="0"/>
                  </a:moveTo>
                  <a:lnTo>
                    <a:pt x="16" y="0"/>
                  </a:lnTo>
                  <a:lnTo>
                    <a:pt x="0" y="0"/>
                  </a:lnTo>
                  <a:lnTo>
                    <a:pt x="8" y="8"/>
                  </a:lnTo>
                  <a:lnTo>
                    <a:pt x="32" y="8"/>
                  </a:lnTo>
                  <a:lnTo>
                    <a:pt x="32" y="16"/>
                  </a:lnTo>
                  <a:lnTo>
                    <a:pt x="80" y="8"/>
                  </a:lnTo>
                  <a:lnTo>
                    <a:pt x="64" y="0"/>
                  </a:lnTo>
                  <a:lnTo>
                    <a:pt x="48" y="8"/>
                  </a:lnTo>
                  <a:lnTo>
                    <a:pt x="40" y="8"/>
                  </a:lnTo>
                  <a:lnTo>
                    <a:pt x="48" y="0"/>
                  </a:lnTo>
                  <a:lnTo>
                    <a:pt x="40"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94" name="Freeform 225">
              <a:extLst>
                <a:ext uri="{FF2B5EF4-FFF2-40B4-BE49-F238E27FC236}">
                  <a16:creationId xmlns:a16="http://schemas.microsoft.com/office/drawing/2014/main" id="{2577BB3F-1281-6A6F-2887-0FBB0E4E12E0}"/>
                </a:ext>
              </a:extLst>
            </p:cNvPr>
            <p:cNvSpPr>
              <a:spLocks/>
            </p:cNvSpPr>
            <p:nvPr/>
          </p:nvSpPr>
          <p:spPr bwMode="auto">
            <a:xfrm>
              <a:off x="2267948" y="660652"/>
              <a:ext cx="82644" cy="16611"/>
            </a:xfrm>
            <a:custGeom>
              <a:avLst/>
              <a:gdLst>
                <a:gd name="T0" fmla="*/ 0 w 40"/>
                <a:gd name="T1" fmla="*/ 8 h 8"/>
                <a:gd name="T2" fmla="*/ 32 w 40"/>
                <a:gd name="T3" fmla="*/ 8 h 8"/>
                <a:gd name="T4" fmla="*/ 40 w 40"/>
                <a:gd name="T5" fmla="*/ 0 h 8"/>
                <a:gd name="T6" fmla="*/ 0 w 40"/>
                <a:gd name="T7" fmla="*/ 8 h 8"/>
              </a:gdLst>
              <a:ahLst/>
              <a:cxnLst>
                <a:cxn ang="0">
                  <a:pos x="T0" y="T1"/>
                </a:cxn>
                <a:cxn ang="0">
                  <a:pos x="T2" y="T3"/>
                </a:cxn>
                <a:cxn ang="0">
                  <a:pos x="T4" y="T5"/>
                </a:cxn>
                <a:cxn ang="0">
                  <a:pos x="T6" y="T7"/>
                </a:cxn>
              </a:cxnLst>
              <a:rect l="0" t="0" r="r" b="b"/>
              <a:pathLst>
                <a:path w="40" h="8">
                  <a:moveTo>
                    <a:pt x="0" y="8"/>
                  </a:moveTo>
                  <a:lnTo>
                    <a:pt x="32" y="8"/>
                  </a:lnTo>
                  <a:lnTo>
                    <a:pt x="40"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95" name="Freeform 226">
              <a:extLst>
                <a:ext uri="{FF2B5EF4-FFF2-40B4-BE49-F238E27FC236}">
                  <a16:creationId xmlns:a16="http://schemas.microsoft.com/office/drawing/2014/main" id="{998EB8A0-AA7D-DFAB-73E8-1EDAA533A9F7}"/>
                </a:ext>
              </a:extLst>
            </p:cNvPr>
            <p:cNvSpPr>
              <a:spLocks/>
            </p:cNvSpPr>
            <p:nvPr/>
          </p:nvSpPr>
          <p:spPr bwMode="auto">
            <a:xfrm>
              <a:off x="2105652" y="677260"/>
              <a:ext cx="31556" cy="3021"/>
            </a:xfrm>
            <a:custGeom>
              <a:avLst/>
              <a:gdLst>
                <a:gd name="T0" fmla="*/ 8 w 16"/>
                <a:gd name="T1" fmla="*/ 0 w 16"/>
                <a:gd name="T2" fmla="*/ 8 w 16"/>
                <a:gd name="T3" fmla="*/ 16 w 16"/>
                <a:gd name="T4" fmla="*/ 8 w 16"/>
              </a:gdLst>
              <a:ahLst/>
              <a:cxnLst>
                <a:cxn ang="0">
                  <a:pos x="T0" y="0"/>
                </a:cxn>
                <a:cxn ang="0">
                  <a:pos x="T1" y="0"/>
                </a:cxn>
                <a:cxn ang="0">
                  <a:pos x="T2" y="0"/>
                </a:cxn>
                <a:cxn ang="0">
                  <a:pos x="T3" y="0"/>
                </a:cxn>
                <a:cxn ang="0">
                  <a:pos x="T4" y="0"/>
                </a:cxn>
              </a:cxnLst>
              <a:rect l="0" t="0" r="r" b="b"/>
              <a:pathLst>
                <a:path w="16">
                  <a:moveTo>
                    <a:pt x="8" y="0"/>
                  </a:moveTo>
                  <a:lnTo>
                    <a:pt x="0" y="0"/>
                  </a:lnTo>
                  <a:lnTo>
                    <a:pt x="8" y="0"/>
                  </a:lnTo>
                  <a:lnTo>
                    <a:pt x="16" y="0"/>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96" name="Freeform 227">
              <a:extLst>
                <a:ext uri="{FF2B5EF4-FFF2-40B4-BE49-F238E27FC236}">
                  <a16:creationId xmlns:a16="http://schemas.microsoft.com/office/drawing/2014/main" id="{80D61007-A255-BD53-FAF5-1C9CE464B283}"/>
                </a:ext>
              </a:extLst>
            </p:cNvPr>
            <p:cNvSpPr>
              <a:spLocks/>
            </p:cNvSpPr>
            <p:nvPr/>
          </p:nvSpPr>
          <p:spPr bwMode="auto">
            <a:xfrm>
              <a:off x="2089122" y="693884"/>
              <a:ext cx="130727" cy="33223"/>
            </a:xfrm>
            <a:custGeom>
              <a:avLst/>
              <a:gdLst>
                <a:gd name="T0" fmla="*/ 0 w 64"/>
                <a:gd name="T1" fmla="*/ 0 h 16"/>
                <a:gd name="T2" fmla="*/ 0 w 64"/>
                <a:gd name="T3" fmla="*/ 16 h 16"/>
                <a:gd name="T4" fmla="*/ 16 w 64"/>
                <a:gd name="T5" fmla="*/ 16 h 16"/>
                <a:gd name="T6" fmla="*/ 40 w 64"/>
                <a:gd name="T7" fmla="*/ 16 h 16"/>
                <a:gd name="T8" fmla="*/ 64 w 64"/>
                <a:gd name="T9" fmla="*/ 0 h 16"/>
                <a:gd name="T10" fmla="*/ 40 w 64"/>
                <a:gd name="T11" fmla="*/ 0 h 16"/>
                <a:gd name="T12" fmla="*/ 24 w 64"/>
                <a:gd name="T13" fmla="*/ 8 h 16"/>
                <a:gd name="T14" fmla="*/ 16 w 64"/>
                <a:gd name="T15" fmla="*/ 0 h 16"/>
                <a:gd name="T16" fmla="*/ 0 w 64"/>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6">
                  <a:moveTo>
                    <a:pt x="0" y="0"/>
                  </a:moveTo>
                  <a:lnTo>
                    <a:pt x="0" y="16"/>
                  </a:lnTo>
                  <a:lnTo>
                    <a:pt x="16" y="16"/>
                  </a:lnTo>
                  <a:lnTo>
                    <a:pt x="40" y="16"/>
                  </a:lnTo>
                  <a:lnTo>
                    <a:pt x="64" y="0"/>
                  </a:lnTo>
                  <a:lnTo>
                    <a:pt x="40" y="0"/>
                  </a:lnTo>
                  <a:lnTo>
                    <a:pt x="24" y="8"/>
                  </a:lnTo>
                  <a:lnTo>
                    <a:pt x="16"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97" name="Freeform 228">
              <a:extLst>
                <a:ext uri="{FF2B5EF4-FFF2-40B4-BE49-F238E27FC236}">
                  <a16:creationId xmlns:a16="http://schemas.microsoft.com/office/drawing/2014/main" id="{6440DDA8-6BB5-8D3A-0822-5099E930A89E}"/>
                </a:ext>
              </a:extLst>
            </p:cNvPr>
            <p:cNvSpPr>
              <a:spLocks/>
            </p:cNvSpPr>
            <p:nvPr/>
          </p:nvSpPr>
          <p:spPr bwMode="auto">
            <a:xfrm>
              <a:off x="2023008" y="760317"/>
              <a:ext cx="130727" cy="64933"/>
            </a:xfrm>
            <a:custGeom>
              <a:avLst/>
              <a:gdLst>
                <a:gd name="T0" fmla="*/ 0 w 64"/>
                <a:gd name="T1" fmla="*/ 16 h 32"/>
                <a:gd name="T2" fmla="*/ 0 w 64"/>
                <a:gd name="T3" fmla="*/ 24 h 32"/>
                <a:gd name="T4" fmla="*/ 8 w 64"/>
                <a:gd name="T5" fmla="*/ 24 h 32"/>
                <a:gd name="T6" fmla="*/ 16 w 64"/>
                <a:gd name="T7" fmla="*/ 32 h 32"/>
                <a:gd name="T8" fmla="*/ 48 w 64"/>
                <a:gd name="T9" fmla="*/ 24 h 32"/>
                <a:gd name="T10" fmla="*/ 56 w 64"/>
                <a:gd name="T11" fmla="*/ 8 h 32"/>
                <a:gd name="T12" fmla="*/ 48 w 64"/>
                <a:gd name="T13" fmla="*/ 8 h 32"/>
                <a:gd name="T14" fmla="*/ 64 w 64"/>
                <a:gd name="T15" fmla="*/ 0 h 32"/>
                <a:gd name="T16" fmla="*/ 24 w 64"/>
                <a:gd name="T17" fmla="*/ 0 h 32"/>
                <a:gd name="T18" fmla="*/ 24 w 64"/>
                <a:gd name="T19" fmla="*/ 8 h 32"/>
                <a:gd name="T20" fmla="*/ 0 w 64"/>
                <a:gd name="T2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32">
                  <a:moveTo>
                    <a:pt x="0" y="16"/>
                  </a:moveTo>
                  <a:lnTo>
                    <a:pt x="0" y="24"/>
                  </a:lnTo>
                  <a:lnTo>
                    <a:pt x="8" y="24"/>
                  </a:lnTo>
                  <a:lnTo>
                    <a:pt x="16" y="32"/>
                  </a:lnTo>
                  <a:lnTo>
                    <a:pt x="48" y="24"/>
                  </a:lnTo>
                  <a:lnTo>
                    <a:pt x="56" y="8"/>
                  </a:lnTo>
                  <a:lnTo>
                    <a:pt x="48" y="8"/>
                  </a:lnTo>
                  <a:lnTo>
                    <a:pt x="64" y="0"/>
                  </a:lnTo>
                  <a:lnTo>
                    <a:pt x="24" y="0"/>
                  </a:lnTo>
                  <a:lnTo>
                    <a:pt x="24" y="8"/>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98" name="Line 229">
              <a:extLst>
                <a:ext uri="{FF2B5EF4-FFF2-40B4-BE49-F238E27FC236}">
                  <a16:creationId xmlns:a16="http://schemas.microsoft.com/office/drawing/2014/main" id="{766E5F78-CCBC-77FB-85BB-36DFBE237C0A}"/>
                </a:ext>
              </a:extLst>
            </p:cNvPr>
            <p:cNvSpPr>
              <a:spLocks noChangeShapeType="1"/>
            </p:cNvSpPr>
            <p:nvPr/>
          </p:nvSpPr>
          <p:spPr bwMode="auto">
            <a:xfrm>
              <a:off x="2056066" y="743704"/>
              <a:ext cx="16528" cy="1510"/>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99" name="Line 230">
              <a:extLst>
                <a:ext uri="{FF2B5EF4-FFF2-40B4-BE49-F238E27FC236}">
                  <a16:creationId xmlns:a16="http://schemas.microsoft.com/office/drawing/2014/main" id="{E0EEAAD1-1EFE-5265-6F0B-B42CCCEE59B6}"/>
                </a:ext>
              </a:extLst>
            </p:cNvPr>
            <p:cNvSpPr>
              <a:spLocks noChangeShapeType="1"/>
            </p:cNvSpPr>
            <p:nvPr/>
          </p:nvSpPr>
          <p:spPr bwMode="auto">
            <a:xfrm>
              <a:off x="1989951" y="677260"/>
              <a:ext cx="99173" cy="302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00" name="Freeform 231">
              <a:extLst>
                <a:ext uri="{FF2B5EF4-FFF2-40B4-BE49-F238E27FC236}">
                  <a16:creationId xmlns:a16="http://schemas.microsoft.com/office/drawing/2014/main" id="{0840E749-F096-588F-D10B-6DCC2A4505EB}"/>
                </a:ext>
              </a:extLst>
            </p:cNvPr>
            <p:cNvSpPr>
              <a:spLocks/>
            </p:cNvSpPr>
            <p:nvPr/>
          </p:nvSpPr>
          <p:spPr bwMode="auto">
            <a:xfrm>
              <a:off x="1956895" y="660652"/>
              <a:ext cx="16528" cy="16611"/>
            </a:xfrm>
            <a:custGeom>
              <a:avLst/>
              <a:gdLst>
                <a:gd name="T0" fmla="*/ 0 w 8"/>
                <a:gd name="T1" fmla="*/ 0 h 8"/>
                <a:gd name="T2" fmla="*/ 8 w 8"/>
                <a:gd name="T3" fmla="*/ 8 h 8"/>
                <a:gd name="T4" fmla="*/ 8 w 8"/>
                <a:gd name="T5" fmla="*/ 0 h 8"/>
                <a:gd name="T6" fmla="*/ 0 w 8"/>
                <a:gd name="T7" fmla="*/ 0 h 8"/>
              </a:gdLst>
              <a:ahLst/>
              <a:cxnLst>
                <a:cxn ang="0">
                  <a:pos x="T0" y="T1"/>
                </a:cxn>
                <a:cxn ang="0">
                  <a:pos x="T2" y="T3"/>
                </a:cxn>
                <a:cxn ang="0">
                  <a:pos x="T4" y="T5"/>
                </a:cxn>
                <a:cxn ang="0">
                  <a:pos x="T6" y="T7"/>
                </a:cxn>
              </a:cxnLst>
              <a:rect l="0" t="0" r="r" b="b"/>
              <a:pathLst>
                <a:path w="8" h="8">
                  <a:moveTo>
                    <a:pt x="0" y="0"/>
                  </a:moveTo>
                  <a:lnTo>
                    <a:pt x="8" y="8"/>
                  </a:lnTo>
                  <a:lnTo>
                    <a:pt x="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01" name="Freeform 232">
              <a:extLst>
                <a:ext uri="{FF2B5EF4-FFF2-40B4-BE49-F238E27FC236}">
                  <a16:creationId xmlns:a16="http://schemas.microsoft.com/office/drawing/2014/main" id="{05580EC6-679D-A022-9D57-238F5E668DD6}"/>
                </a:ext>
              </a:extLst>
            </p:cNvPr>
            <p:cNvSpPr>
              <a:spLocks/>
            </p:cNvSpPr>
            <p:nvPr/>
          </p:nvSpPr>
          <p:spPr bwMode="auto">
            <a:xfrm>
              <a:off x="1973437" y="660652"/>
              <a:ext cx="82644" cy="16611"/>
            </a:xfrm>
            <a:custGeom>
              <a:avLst/>
              <a:gdLst>
                <a:gd name="T0" fmla="*/ 0 w 40"/>
                <a:gd name="T1" fmla="*/ 8 h 8"/>
                <a:gd name="T2" fmla="*/ 8 w 40"/>
                <a:gd name="T3" fmla="*/ 8 h 8"/>
                <a:gd name="T4" fmla="*/ 40 w 40"/>
                <a:gd name="T5" fmla="*/ 0 h 8"/>
                <a:gd name="T6" fmla="*/ 0 w 40"/>
                <a:gd name="T7" fmla="*/ 8 h 8"/>
              </a:gdLst>
              <a:ahLst/>
              <a:cxnLst>
                <a:cxn ang="0">
                  <a:pos x="T0" y="T1"/>
                </a:cxn>
                <a:cxn ang="0">
                  <a:pos x="T2" y="T3"/>
                </a:cxn>
                <a:cxn ang="0">
                  <a:pos x="T4" y="T5"/>
                </a:cxn>
                <a:cxn ang="0">
                  <a:pos x="T6" y="T7"/>
                </a:cxn>
              </a:cxnLst>
              <a:rect l="0" t="0" r="r" b="b"/>
              <a:pathLst>
                <a:path w="40" h="8">
                  <a:moveTo>
                    <a:pt x="0" y="8"/>
                  </a:moveTo>
                  <a:lnTo>
                    <a:pt x="8" y="8"/>
                  </a:lnTo>
                  <a:lnTo>
                    <a:pt x="40"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02" name="Freeform 233">
              <a:extLst>
                <a:ext uri="{FF2B5EF4-FFF2-40B4-BE49-F238E27FC236}">
                  <a16:creationId xmlns:a16="http://schemas.microsoft.com/office/drawing/2014/main" id="{1443779C-A744-6A05-7D54-DCC461F518EE}"/>
                </a:ext>
              </a:extLst>
            </p:cNvPr>
            <p:cNvSpPr>
              <a:spLocks/>
            </p:cNvSpPr>
            <p:nvPr/>
          </p:nvSpPr>
          <p:spPr bwMode="auto">
            <a:xfrm>
              <a:off x="1794612" y="710490"/>
              <a:ext cx="48086" cy="16612"/>
            </a:xfrm>
            <a:custGeom>
              <a:avLst/>
              <a:gdLst>
                <a:gd name="T0" fmla="*/ 0 w 24"/>
                <a:gd name="T1" fmla="*/ 8 h 8"/>
                <a:gd name="T2" fmla="*/ 8 w 24"/>
                <a:gd name="T3" fmla="*/ 8 h 8"/>
                <a:gd name="T4" fmla="*/ 24 w 24"/>
                <a:gd name="T5" fmla="*/ 0 h 8"/>
                <a:gd name="T6" fmla="*/ 0 w 24"/>
                <a:gd name="T7" fmla="*/ 8 h 8"/>
              </a:gdLst>
              <a:ahLst/>
              <a:cxnLst>
                <a:cxn ang="0">
                  <a:pos x="T0" y="T1"/>
                </a:cxn>
                <a:cxn ang="0">
                  <a:pos x="T2" y="T3"/>
                </a:cxn>
                <a:cxn ang="0">
                  <a:pos x="T4" y="T5"/>
                </a:cxn>
                <a:cxn ang="0">
                  <a:pos x="T6" y="T7"/>
                </a:cxn>
              </a:cxnLst>
              <a:rect l="0" t="0" r="r" b="b"/>
              <a:pathLst>
                <a:path w="24" h="8">
                  <a:moveTo>
                    <a:pt x="0" y="8"/>
                  </a:moveTo>
                  <a:lnTo>
                    <a:pt x="8" y="8"/>
                  </a:lnTo>
                  <a:lnTo>
                    <a:pt x="24"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03" name="Freeform 234">
              <a:extLst>
                <a:ext uri="{FF2B5EF4-FFF2-40B4-BE49-F238E27FC236}">
                  <a16:creationId xmlns:a16="http://schemas.microsoft.com/office/drawing/2014/main" id="{90414798-F4E1-D0C8-D50F-3F24CD999BE0}"/>
                </a:ext>
              </a:extLst>
            </p:cNvPr>
            <p:cNvSpPr>
              <a:spLocks/>
            </p:cNvSpPr>
            <p:nvPr/>
          </p:nvSpPr>
          <p:spPr bwMode="auto">
            <a:xfrm>
              <a:off x="1745027" y="677274"/>
              <a:ext cx="180312" cy="33223"/>
            </a:xfrm>
            <a:custGeom>
              <a:avLst/>
              <a:gdLst>
                <a:gd name="T0" fmla="*/ 0 w 88"/>
                <a:gd name="T1" fmla="*/ 16 h 16"/>
                <a:gd name="T2" fmla="*/ 24 w 88"/>
                <a:gd name="T3" fmla="*/ 16 h 16"/>
                <a:gd name="T4" fmla="*/ 48 w 88"/>
                <a:gd name="T5" fmla="*/ 8 h 16"/>
                <a:gd name="T6" fmla="*/ 56 w 88"/>
                <a:gd name="T7" fmla="*/ 16 h 16"/>
                <a:gd name="T8" fmla="*/ 88 w 88"/>
                <a:gd name="T9" fmla="*/ 0 h 16"/>
                <a:gd name="T10" fmla="*/ 56 w 88"/>
                <a:gd name="T11" fmla="*/ 0 h 16"/>
                <a:gd name="T12" fmla="*/ 0 w 88"/>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88" h="16">
                  <a:moveTo>
                    <a:pt x="0" y="16"/>
                  </a:moveTo>
                  <a:lnTo>
                    <a:pt x="24" y="16"/>
                  </a:lnTo>
                  <a:lnTo>
                    <a:pt x="48" y="8"/>
                  </a:lnTo>
                  <a:lnTo>
                    <a:pt x="56" y="16"/>
                  </a:lnTo>
                  <a:lnTo>
                    <a:pt x="88" y="0"/>
                  </a:lnTo>
                  <a:lnTo>
                    <a:pt x="56" y="0"/>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04" name="Freeform 235">
              <a:extLst>
                <a:ext uri="{FF2B5EF4-FFF2-40B4-BE49-F238E27FC236}">
                  <a16:creationId xmlns:a16="http://schemas.microsoft.com/office/drawing/2014/main" id="{11584B54-5990-96F7-5185-2491DE0345AC}"/>
                </a:ext>
              </a:extLst>
            </p:cNvPr>
            <p:cNvSpPr>
              <a:spLocks/>
            </p:cNvSpPr>
            <p:nvPr/>
          </p:nvSpPr>
          <p:spPr bwMode="auto">
            <a:xfrm>
              <a:off x="1809641" y="693880"/>
              <a:ext cx="246427" cy="49833"/>
            </a:xfrm>
            <a:custGeom>
              <a:avLst/>
              <a:gdLst>
                <a:gd name="T0" fmla="*/ 0 w 120"/>
                <a:gd name="T1" fmla="*/ 16 h 24"/>
                <a:gd name="T2" fmla="*/ 24 w 120"/>
                <a:gd name="T3" fmla="*/ 16 h 24"/>
                <a:gd name="T4" fmla="*/ 32 w 120"/>
                <a:gd name="T5" fmla="*/ 16 h 24"/>
                <a:gd name="T6" fmla="*/ 40 w 120"/>
                <a:gd name="T7" fmla="*/ 24 h 24"/>
                <a:gd name="T8" fmla="*/ 24 w 120"/>
                <a:gd name="T9" fmla="*/ 24 h 24"/>
                <a:gd name="T10" fmla="*/ 32 w 120"/>
                <a:gd name="T11" fmla="*/ 24 h 24"/>
                <a:gd name="T12" fmla="*/ 104 w 120"/>
                <a:gd name="T13" fmla="*/ 16 h 24"/>
                <a:gd name="T14" fmla="*/ 120 w 120"/>
                <a:gd name="T15" fmla="*/ 8 h 24"/>
                <a:gd name="T16" fmla="*/ 104 w 120"/>
                <a:gd name="T17" fmla="*/ 8 h 24"/>
                <a:gd name="T18" fmla="*/ 104 w 120"/>
                <a:gd name="T19" fmla="*/ 0 h 24"/>
                <a:gd name="T20" fmla="*/ 80 w 120"/>
                <a:gd name="T21" fmla="*/ 8 h 24"/>
                <a:gd name="T22" fmla="*/ 88 w 120"/>
                <a:gd name="T23" fmla="*/ 8 h 24"/>
                <a:gd name="T24" fmla="*/ 80 w 120"/>
                <a:gd name="T25" fmla="*/ 8 h 24"/>
                <a:gd name="T26" fmla="*/ 80 w 120"/>
                <a:gd name="T27" fmla="*/ 16 h 24"/>
                <a:gd name="T28" fmla="*/ 64 w 120"/>
                <a:gd name="T29" fmla="*/ 16 h 24"/>
                <a:gd name="T30" fmla="*/ 64 w 120"/>
                <a:gd name="T31" fmla="*/ 8 h 24"/>
                <a:gd name="T32" fmla="*/ 40 w 120"/>
                <a:gd name="T33" fmla="*/ 0 h 24"/>
                <a:gd name="T34" fmla="*/ 0 w 120"/>
                <a:gd name="T35"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24">
                  <a:moveTo>
                    <a:pt x="0" y="16"/>
                  </a:moveTo>
                  <a:lnTo>
                    <a:pt x="24" y="16"/>
                  </a:lnTo>
                  <a:lnTo>
                    <a:pt x="32" y="16"/>
                  </a:lnTo>
                  <a:lnTo>
                    <a:pt x="40" y="24"/>
                  </a:lnTo>
                  <a:lnTo>
                    <a:pt x="24" y="24"/>
                  </a:lnTo>
                  <a:lnTo>
                    <a:pt x="32" y="24"/>
                  </a:lnTo>
                  <a:lnTo>
                    <a:pt x="104" y="16"/>
                  </a:lnTo>
                  <a:lnTo>
                    <a:pt x="120" y="8"/>
                  </a:lnTo>
                  <a:lnTo>
                    <a:pt x="104" y="8"/>
                  </a:lnTo>
                  <a:lnTo>
                    <a:pt x="104" y="0"/>
                  </a:lnTo>
                  <a:lnTo>
                    <a:pt x="80" y="8"/>
                  </a:lnTo>
                  <a:lnTo>
                    <a:pt x="88" y="8"/>
                  </a:lnTo>
                  <a:lnTo>
                    <a:pt x="80" y="8"/>
                  </a:lnTo>
                  <a:lnTo>
                    <a:pt x="80" y="16"/>
                  </a:lnTo>
                  <a:lnTo>
                    <a:pt x="64" y="16"/>
                  </a:lnTo>
                  <a:lnTo>
                    <a:pt x="64" y="8"/>
                  </a:lnTo>
                  <a:lnTo>
                    <a:pt x="40" y="0"/>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05" name="Freeform 236">
              <a:extLst>
                <a:ext uri="{FF2B5EF4-FFF2-40B4-BE49-F238E27FC236}">
                  <a16:creationId xmlns:a16="http://schemas.microsoft.com/office/drawing/2014/main" id="{0F3842E1-7243-10E3-FAAA-423253C5F847}"/>
                </a:ext>
              </a:extLst>
            </p:cNvPr>
            <p:cNvSpPr>
              <a:spLocks/>
            </p:cNvSpPr>
            <p:nvPr/>
          </p:nvSpPr>
          <p:spPr bwMode="auto">
            <a:xfrm>
              <a:off x="1662385" y="760316"/>
              <a:ext cx="344096" cy="131379"/>
            </a:xfrm>
            <a:custGeom>
              <a:avLst/>
              <a:gdLst>
                <a:gd name="T0" fmla="*/ 8 w 168"/>
                <a:gd name="T1" fmla="*/ 32 h 64"/>
                <a:gd name="T2" fmla="*/ 16 w 168"/>
                <a:gd name="T3" fmla="*/ 32 h 64"/>
                <a:gd name="T4" fmla="*/ 8 w 168"/>
                <a:gd name="T5" fmla="*/ 32 h 64"/>
                <a:gd name="T6" fmla="*/ 8 w 168"/>
                <a:gd name="T7" fmla="*/ 40 h 64"/>
                <a:gd name="T8" fmla="*/ 48 w 168"/>
                <a:gd name="T9" fmla="*/ 40 h 64"/>
                <a:gd name="T10" fmla="*/ 8 w 168"/>
                <a:gd name="T11" fmla="*/ 48 h 64"/>
                <a:gd name="T12" fmla="*/ 0 w 168"/>
                <a:gd name="T13" fmla="*/ 56 h 64"/>
                <a:gd name="T14" fmla="*/ 24 w 168"/>
                <a:gd name="T15" fmla="*/ 56 h 64"/>
                <a:gd name="T16" fmla="*/ 16 w 168"/>
                <a:gd name="T17" fmla="*/ 64 h 64"/>
                <a:gd name="T18" fmla="*/ 96 w 168"/>
                <a:gd name="T19" fmla="*/ 56 h 64"/>
                <a:gd name="T20" fmla="*/ 112 w 168"/>
                <a:gd name="T21" fmla="*/ 64 h 64"/>
                <a:gd name="T22" fmla="*/ 128 w 168"/>
                <a:gd name="T23" fmla="*/ 64 h 64"/>
                <a:gd name="T24" fmla="*/ 160 w 168"/>
                <a:gd name="T25" fmla="*/ 48 h 64"/>
                <a:gd name="T26" fmla="*/ 136 w 168"/>
                <a:gd name="T27" fmla="*/ 40 h 64"/>
                <a:gd name="T28" fmla="*/ 136 w 168"/>
                <a:gd name="T29" fmla="*/ 32 h 64"/>
                <a:gd name="T30" fmla="*/ 144 w 168"/>
                <a:gd name="T31" fmla="*/ 32 h 64"/>
                <a:gd name="T32" fmla="*/ 144 w 168"/>
                <a:gd name="T33" fmla="*/ 16 h 64"/>
                <a:gd name="T34" fmla="*/ 168 w 168"/>
                <a:gd name="T35" fmla="*/ 8 h 64"/>
                <a:gd name="T36" fmla="*/ 152 w 168"/>
                <a:gd name="T37" fmla="*/ 0 h 64"/>
                <a:gd name="T38" fmla="*/ 128 w 168"/>
                <a:gd name="T39" fmla="*/ 16 h 64"/>
                <a:gd name="T40" fmla="*/ 96 w 168"/>
                <a:gd name="T41" fmla="*/ 8 h 64"/>
                <a:gd name="T42" fmla="*/ 80 w 168"/>
                <a:gd name="T43" fmla="*/ 16 h 64"/>
                <a:gd name="T44" fmla="*/ 80 w 168"/>
                <a:gd name="T45" fmla="*/ 8 h 64"/>
                <a:gd name="T46" fmla="*/ 72 w 168"/>
                <a:gd name="T47" fmla="*/ 8 h 64"/>
                <a:gd name="T48" fmla="*/ 32 w 168"/>
                <a:gd name="T49" fmla="*/ 16 h 64"/>
                <a:gd name="T50" fmla="*/ 8 w 168"/>
                <a:gd name="T51"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8" h="64">
                  <a:moveTo>
                    <a:pt x="8" y="32"/>
                  </a:moveTo>
                  <a:lnTo>
                    <a:pt x="16" y="32"/>
                  </a:lnTo>
                  <a:lnTo>
                    <a:pt x="8" y="32"/>
                  </a:lnTo>
                  <a:lnTo>
                    <a:pt x="8" y="40"/>
                  </a:lnTo>
                  <a:lnTo>
                    <a:pt x="48" y="40"/>
                  </a:lnTo>
                  <a:lnTo>
                    <a:pt x="8" y="48"/>
                  </a:lnTo>
                  <a:lnTo>
                    <a:pt x="0" y="56"/>
                  </a:lnTo>
                  <a:lnTo>
                    <a:pt x="24" y="56"/>
                  </a:lnTo>
                  <a:lnTo>
                    <a:pt x="16" y="64"/>
                  </a:lnTo>
                  <a:lnTo>
                    <a:pt x="96" y="56"/>
                  </a:lnTo>
                  <a:lnTo>
                    <a:pt x="112" y="64"/>
                  </a:lnTo>
                  <a:lnTo>
                    <a:pt x="128" y="64"/>
                  </a:lnTo>
                  <a:lnTo>
                    <a:pt x="160" y="48"/>
                  </a:lnTo>
                  <a:lnTo>
                    <a:pt x="136" y="40"/>
                  </a:lnTo>
                  <a:lnTo>
                    <a:pt x="136" y="32"/>
                  </a:lnTo>
                  <a:lnTo>
                    <a:pt x="144" y="32"/>
                  </a:lnTo>
                  <a:lnTo>
                    <a:pt x="144" y="16"/>
                  </a:lnTo>
                  <a:lnTo>
                    <a:pt x="168" y="8"/>
                  </a:lnTo>
                  <a:lnTo>
                    <a:pt x="152" y="0"/>
                  </a:lnTo>
                  <a:lnTo>
                    <a:pt x="128" y="16"/>
                  </a:lnTo>
                  <a:lnTo>
                    <a:pt x="96" y="8"/>
                  </a:lnTo>
                  <a:lnTo>
                    <a:pt x="80" y="16"/>
                  </a:lnTo>
                  <a:lnTo>
                    <a:pt x="80" y="8"/>
                  </a:lnTo>
                  <a:lnTo>
                    <a:pt x="72" y="8"/>
                  </a:lnTo>
                  <a:lnTo>
                    <a:pt x="32" y="16"/>
                  </a:lnTo>
                  <a:lnTo>
                    <a:pt x="8"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06" name="Freeform 237">
              <a:extLst>
                <a:ext uri="{FF2B5EF4-FFF2-40B4-BE49-F238E27FC236}">
                  <a16:creationId xmlns:a16="http://schemas.microsoft.com/office/drawing/2014/main" id="{9BB86FBD-7953-60FB-F2DC-90AA27D02470}"/>
                </a:ext>
              </a:extLst>
            </p:cNvPr>
            <p:cNvSpPr>
              <a:spLocks/>
            </p:cNvSpPr>
            <p:nvPr/>
          </p:nvSpPr>
          <p:spPr bwMode="auto">
            <a:xfrm>
              <a:off x="1564716" y="743717"/>
              <a:ext cx="244924" cy="81547"/>
            </a:xfrm>
            <a:custGeom>
              <a:avLst/>
              <a:gdLst>
                <a:gd name="T0" fmla="*/ 0 w 120"/>
                <a:gd name="T1" fmla="*/ 32 h 40"/>
                <a:gd name="T2" fmla="*/ 8 w 120"/>
                <a:gd name="T3" fmla="*/ 32 h 40"/>
                <a:gd name="T4" fmla="*/ 8 w 120"/>
                <a:gd name="T5" fmla="*/ 40 h 40"/>
                <a:gd name="T6" fmla="*/ 32 w 120"/>
                <a:gd name="T7" fmla="*/ 40 h 40"/>
                <a:gd name="T8" fmla="*/ 64 w 120"/>
                <a:gd name="T9" fmla="*/ 24 h 40"/>
                <a:gd name="T10" fmla="*/ 120 w 120"/>
                <a:gd name="T11" fmla="*/ 16 h 40"/>
                <a:gd name="T12" fmla="*/ 112 w 120"/>
                <a:gd name="T13" fmla="*/ 8 h 40"/>
                <a:gd name="T14" fmla="*/ 80 w 120"/>
                <a:gd name="T15" fmla="*/ 0 h 40"/>
                <a:gd name="T16" fmla="*/ 40 w 120"/>
                <a:gd name="T17" fmla="*/ 8 h 40"/>
                <a:gd name="T18" fmla="*/ 40 w 120"/>
                <a:gd name="T19" fmla="*/ 16 h 40"/>
                <a:gd name="T20" fmla="*/ 0 w 120"/>
                <a:gd name="T2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40">
                  <a:moveTo>
                    <a:pt x="0" y="32"/>
                  </a:moveTo>
                  <a:lnTo>
                    <a:pt x="8" y="32"/>
                  </a:lnTo>
                  <a:lnTo>
                    <a:pt x="8" y="40"/>
                  </a:lnTo>
                  <a:lnTo>
                    <a:pt x="32" y="40"/>
                  </a:lnTo>
                  <a:lnTo>
                    <a:pt x="64" y="24"/>
                  </a:lnTo>
                  <a:lnTo>
                    <a:pt x="120" y="16"/>
                  </a:lnTo>
                  <a:lnTo>
                    <a:pt x="112" y="8"/>
                  </a:lnTo>
                  <a:lnTo>
                    <a:pt x="80" y="0"/>
                  </a:lnTo>
                  <a:lnTo>
                    <a:pt x="40" y="8"/>
                  </a:lnTo>
                  <a:lnTo>
                    <a:pt x="40" y="16"/>
                  </a:lnTo>
                  <a:lnTo>
                    <a:pt x="0"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07" name="Freeform 239">
              <a:extLst>
                <a:ext uri="{FF2B5EF4-FFF2-40B4-BE49-F238E27FC236}">
                  <a16:creationId xmlns:a16="http://schemas.microsoft.com/office/drawing/2014/main" id="{DFC97369-572E-C6F5-F7D0-F0C066245331}"/>
                </a:ext>
              </a:extLst>
            </p:cNvPr>
            <p:cNvSpPr>
              <a:spLocks/>
            </p:cNvSpPr>
            <p:nvPr/>
          </p:nvSpPr>
          <p:spPr bwMode="auto">
            <a:xfrm>
              <a:off x="7916219" y="1023084"/>
              <a:ext cx="82643" cy="16611"/>
            </a:xfrm>
            <a:custGeom>
              <a:avLst/>
              <a:gdLst>
                <a:gd name="T0" fmla="*/ 0 w 40"/>
                <a:gd name="T1" fmla="*/ 0 h 8"/>
                <a:gd name="T2" fmla="*/ 8 w 40"/>
                <a:gd name="T3" fmla="*/ 8 h 8"/>
                <a:gd name="T4" fmla="*/ 32 w 40"/>
                <a:gd name="T5" fmla="*/ 8 h 8"/>
                <a:gd name="T6" fmla="*/ 40 w 40"/>
                <a:gd name="T7" fmla="*/ 8 h 8"/>
              </a:gdLst>
              <a:ahLst/>
              <a:cxnLst>
                <a:cxn ang="0">
                  <a:pos x="T0" y="T1"/>
                </a:cxn>
                <a:cxn ang="0">
                  <a:pos x="T2" y="T3"/>
                </a:cxn>
                <a:cxn ang="0">
                  <a:pos x="T4" y="T5"/>
                </a:cxn>
                <a:cxn ang="0">
                  <a:pos x="T6" y="T7"/>
                </a:cxn>
              </a:cxnLst>
              <a:rect l="0" t="0" r="r" b="b"/>
              <a:pathLst>
                <a:path w="40" h="8">
                  <a:moveTo>
                    <a:pt x="0" y="0"/>
                  </a:moveTo>
                  <a:lnTo>
                    <a:pt x="8" y="8"/>
                  </a:lnTo>
                  <a:lnTo>
                    <a:pt x="32" y="8"/>
                  </a:lnTo>
                  <a:lnTo>
                    <a:pt x="40" y="8"/>
                  </a:lnTo>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08" name="Line 241">
              <a:extLst>
                <a:ext uri="{FF2B5EF4-FFF2-40B4-BE49-F238E27FC236}">
                  <a16:creationId xmlns:a16="http://schemas.microsoft.com/office/drawing/2014/main" id="{6E7B82C0-A565-1CB1-DFE9-B2C6C2C27F4B}"/>
                </a:ext>
              </a:extLst>
            </p:cNvPr>
            <p:cNvSpPr>
              <a:spLocks noChangeShapeType="1"/>
            </p:cNvSpPr>
            <p:nvPr/>
          </p:nvSpPr>
          <p:spPr bwMode="auto">
            <a:xfrm>
              <a:off x="7916219" y="1039685"/>
              <a:ext cx="66114" cy="16612"/>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09" name="Freeform 242">
              <a:extLst>
                <a:ext uri="{FF2B5EF4-FFF2-40B4-BE49-F238E27FC236}">
                  <a16:creationId xmlns:a16="http://schemas.microsoft.com/office/drawing/2014/main" id="{10174A33-B733-4A30-A883-5286A5B6ADE5}"/>
                </a:ext>
              </a:extLst>
            </p:cNvPr>
            <p:cNvSpPr>
              <a:spLocks/>
            </p:cNvSpPr>
            <p:nvPr/>
          </p:nvSpPr>
          <p:spPr bwMode="auto">
            <a:xfrm>
              <a:off x="287501" y="1122742"/>
              <a:ext cx="49585" cy="16611"/>
            </a:xfrm>
            <a:custGeom>
              <a:avLst/>
              <a:gdLst>
                <a:gd name="T0" fmla="*/ 0 w 24"/>
                <a:gd name="T1" fmla="*/ 0 h 8"/>
                <a:gd name="T2" fmla="*/ 8 w 24"/>
                <a:gd name="T3" fmla="*/ 8 h 8"/>
                <a:gd name="T4" fmla="*/ 24 w 24"/>
                <a:gd name="T5" fmla="*/ 0 h 8"/>
                <a:gd name="T6" fmla="*/ 0 w 24"/>
                <a:gd name="T7" fmla="*/ 0 h 8"/>
              </a:gdLst>
              <a:ahLst/>
              <a:cxnLst>
                <a:cxn ang="0">
                  <a:pos x="T0" y="T1"/>
                </a:cxn>
                <a:cxn ang="0">
                  <a:pos x="T2" y="T3"/>
                </a:cxn>
                <a:cxn ang="0">
                  <a:pos x="T4" y="T5"/>
                </a:cxn>
                <a:cxn ang="0">
                  <a:pos x="T6" y="T7"/>
                </a:cxn>
              </a:cxnLst>
              <a:rect l="0" t="0" r="r" b="b"/>
              <a:pathLst>
                <a:path w="24" h="8">
                  <a:moveTo>
                    <a:pt x="0" y="0"/>
                  </a:moveTo>
                  <a:lnTo>
                    <a:pt x="8" y="8"/>
                  </a:lnTo>
                  <a:lnTo>
                    <a:pt x="24"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10" name="Freeform 243">
              <a:extLst>
                <a:ext uri="{FF2B5EF4-FFF2-40B4-BE49-F238E27FC236}">
                  <a16:creationId xmlns:a16="http://schemas.microsoft.com/office/drawing/2014/main" id="{35CB7E46-0712-2F7B-A3B9-B8073076030E}"/>
                </a:ext>
              </a:extLst>
            </p:cNvPr>
            <p:cNvSpPr>
              <a:spLocks/>
            </p:cNvSpPr>
            <p:nvPr/>
          </p:nvSpPr>
          <p:spPr bwMode="auto">
            <a:xfrm>
              <a:off x="467813" y="1171063"/>
              <a:ext cx="81140" cy="49833"/>
            </a:xfrm>
            <a:custGeom>
              <a:avLst/>
              <a:gdLst>
                <a:gd name="T0" fmla="*/ 0 w 40"/>
                <a:gd name="T1" fmla="*/ 24 h 24"/>
                <a:gd name="T2" fmla="*/ 32 w 40"/>
                <a:gd name="T3" fmla="*/ 16 h 24"/>
                <a:gd name="T4" fmla="*/ 32 w 40"/>
                <a:gd name="T5" fmla="*/ 8 h 24"/>
                <a:gd name="T6" fmla="*/ 40 w 40"/>
                <a:gd name="T7" fmla="*/ 8 h 24"/>
                <a:gd name="T8" fmla="*/ 40 w 40"/>
                <a:gd name="T9" fmla="*/ 0 h 24"/>
                <a:gd name="T10" fmla="*/ 0 w 40"/>
                <a:gd name="T11" fmla="*/ 24 h 24"/>
              </a:gdLst>
              <a:ahLst/>
              <a:cxnLst>
                <a:cxn ang="0">
                  <a:pos x="T0" y="T1"/>
                </a:cxn>
                <a:cxn ang="0">
                  <a:pos x="T2" y="T3"/>
                </a:cxn>
                <a:cxn ang="0">
                  <a:pos x="T4" y="T5"/>
                </a:cxn>
                <a:cxn ang="0">
                  <a:pos x="T6" y="T7"/>
                </a:cxn>
                <a:cxn ang="0">
                  <a:pos x="T8" y="T9"/>
                </a:cxn>
                <a:cxn ang="0">
                  <a:pos x="T10" y="T11"/>
                </a:cxn>
              </a:cxnLst>
              <a:rect l="0" t="0" r="r" b="b"/>
              <a:pathLst>
                <a:path w="40" h="24">
                  <a:moveTo>
                    <a:pt x="0" y="24"/>
                  </a:moveTo>
                  <a:lnTo>
                    <a:pt x="32" y="16"/>
                  </a:lnTo>
                  <a:lnTo>
                    <a:pt x="32" y="8"/>
                  </a:lnTo>
                  <a:lnTo>
                    <a:pt x="40" y="8"/>
                  </a:lnTo>
                  <a:lnTo>
                    <a:pt x="40" y="0"/>
                  </a:lnTo>
                  <a:lnTo>
                    <a:pt x="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11" name="Freeform 244">
              <a:extLst>
                <a:ext uri="{FF2B5EF4-FFF2-40B4-BE49-F238E27FC236}">
                  <a16:creationId xmlns:a16="http://schemas.microsoft.com/office/drawing/2014/main" id="{BBA2833B-E282-1986-098D-BEC0726EDBBD}"/>
                </a:ext>
              </a:extLst>
            </p:cNvPr>
            <p:cNvSpPr>
              <a:spLocks/>
            </p:cNvSpPr>
            <p:nvPr/>
          </p:nvSpPr>
          <p:spPr bwMode="auto">
            <a:xfrm>
              <a:off x="844967" y="1303954"/>
              <a:ext cx="48086" cy="64933"/>
            </a:xfrm>
            <a:custGeom>
              <a:avLst/>
              <a:gdLst>
                <a:gd name="T0" fmla="*/ 8 w 24"/>
                <a:gd name="T1" fmla="*/ 0 h 32"/>
                <a:gd name="T2" fmla="*/ 0 w 24"/>
                <a:gd name="T3" fmla="*/ 8 h 32"/>
                <a:gd name="T4" fmla="*/ 0 w 24"/>
                <a:gd name="T5" fmla="*/ 24 h 32"/>
                <a:gd name="T6" fmla="*/ 8 w 24"/>
                <a:gd name="T7" fmla="*/ 32 h 32"/>
                <a:gd name="T8" fmla="*/ 8 w 24"/>
                <a:gd name="T9" fmla="*/ 24 h 32"/>
                <a:gd name="T10" fmla="*/ 24 w 24"/>
                <a:gd name="T11" fmla="*/ 0 h 32"/>
                <a:gd name="T12" fmla="*/ 8 w 24"/>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8" y="0"/>
                  </a:moveTo>
                  <a:lnTo>
                    <a:pt x="0" y="8"/>
                  </a:lnTo>
                  <a:lnTo>
                    <a:pt x="0" y="24"/>
                  </a:lnTo>
                  <a:lnTo>
                    <a:pt x="8" y="32"/>
                  </a:lnTo>
                  <a:lnTo>
                    <a:pt x="8" y="24"/>
                  </a:lnTo>
                  <a:lnTo>
                    <a:pt x="24" y="0"/>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12" name="Freeform 245">
              <a:extLst>
                <a:ext uri="{FF2B5EF4-FFF2-40B4-BE49-F238E27FC236}">
                  <a16:creationId xmlns:a16="http://schemas.microsoft.com/office/drawing/2014/main" id="{77A914EE-EB26-FBC2-82B5-3B6655F5C3EF}"/>
                </a:ext>
              </a:extLst>
            </p:cNvPr>
            <p:cNvSpPr>
              <a:spLocks/>
            </p:cNvSpPr>
            <p:nvPr/>
          </p:nvSpPr>
          <p:spPr bwMode="auto">
            <a:xfrm>
              <a:off x="893053" y="1402111"/>
              <a:ext cx="66114" cy="83056"/>
            </a:xfrm>
            <a:custGeom>
              <a:avLst/>
              <a:gdLst>
                <a:gd name="T0" fmla="*/ 0 w 32"/>
                <a:gd name="T1" fmla="*/ 0 h 40"/>
                <a:gd name="T2" fmla="*/ 0 w 32"/>
                <a:gd name="T3" fmla="*/ 8 h 40"/>
                <a:gd name="T4" fmla="*/ 8 w 32"/>
                <a:gd name="T5" fmla="*/ 16 h 40"/>
                <a:gd name="T6" fmla="*/ 8 w 32"/>
                <a:gd name="T7" fmla="*/ 24 h 40"/>
                <a:gd name="T8" fmla="*/ 16 w 32"/>
                <a:gd name="T9" fmla="*/ 24 h 40"/>
                <a:gd name="T10" fmla="*/ 16 w 32"/>
                <a:gd name="T11" fmla="*/ 32 h 40"/>
                <a:gd name="T12" fmla="*/ 24 w 32"/>
                <a:gd name="T13" fmla="*/ 40 h 40"/>
                <a:gd name="T14" fmla="*/ 32 w 32"/>
                <a:gd name="T15" fmla="*/ 32 h 40"/>
                <a:gd name="T16" fmla="*/ 24 w 32"/>
                <a:gd name="T17" fmla="*/ 8 h 40"/>
                <a:gd name="T18" fmla="*/ 0 w 32"/>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0">
                  <a:moveTo>
                    <a:pt x="0" y="0"/>
                  </a:moveTo>
                  <a:lnTo>
                    <a:pt x="0" y="8"/>
                  </a:lnTo>
                  <a:lnTo>
                    <a:pt x="8" y="16"/>
                  </a:lnTo>
                  <a:lnTo>
                    <a:pt x="8" y="24"/>
                  </a:lnTo>
                  <a:lnTo>
                    <a:pt x="16" y="24"/>
                  </a:lnTo>
                  <a:lnTo>
                    <a:pt x="16" y="32"/>
                  </a:lnTo>
                  <a:lnTo>
                    <a:pt x="24" y="40"/>
                  </a:lnTo>
                  <a:lnTo>
                    <a:pt x="32" y="32"/>
                  </a:lnTo>
                  <a:lnTo>
                    <a:pt x="24" y="8"/>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13" name="Freeform 246">
              <a:extLst>
                <a:ext uri="{FF2B5EF4-FFF2-40B4-BE49-F238E27FC236}">
                  <a16:creationId xmlns:a16="http://schemas.microsoft.com/office/drawing/2014/main" id="{949DD880-9533-1A5A-442F-4DF1F32DD90B}"/>
                </a:ext>
              </a:extLst>
            </p:cNvPr>
            <p:cNvSpPr>
              <a:spLocks/>
            </p:cNvSpPr>
            <p:nvPr/>
          </p:nvSpPr>
          <p:spPr bwMode="auto">
            <a:xfrm>
              <a:off x="2711215" y="545895"/>
              <a:ext cx="1096900" cy="593471"/>
            </a:xfrm>
            <a:custGeom>
              <a:avLst/>
              <a:gdLst>
                <a:gd name="T0" fmla="*/ 16 w 536"/>
                <a:gd name="T1" fmla="*/ 56 h 288"/>
                <a:gd name="T2" fmla="*/ 32 w 536"/>
                <a:gd name="T3" fmla="*/ 64 h 288"/>
                <a:gd name="T4" fmla="*/ 16 w 536"/>
                <a:gd name="T5" fmla="*/ 72 h 288"/>
                <a:gd name="T6" fmla="*/ 16 w 536"/>
                <a:gd name="T7" fmla="*/ 80 h 288"/>
                <a:gd name="T8" fmla="*/ 104 w 536"/>
                <a:gd name="T9" fmla="*/ 80 h 288"/>
                <a:gd name="T10" fmla="*/ 104 w 536"/>
                <a:gd name="T11" fmla="*/ 96 h 288"/>
                <a:gd name="T12" fmla="*/ 104 w 536"/>
                <a:gd name="T13" fmla="*/ 112 h 288"/>
                <a:gd name="T14" fmla="*/ 96 w 536"/>
                <a:gd name="T15" fmla="*/ 128 h 288"/>
                <a:gd name="T16" fmla="*/ 104 w 536"/>
                <a:gd name="T17" fmla="*/ 136 h 288"/>
                <a:gd name="T18" fmla="*/ 112 w 536"/>
                <a:gd name="T19" fmla="*/ 136 h 288"/>
                <a:gd name="T20" fmla="*/ 96 w 536"/>
                <a:gd name="T21" fmla="*/ 144 h 288"/>
                <a:gd name="T22" fmla="*/ 96 w 536"/>
                <a:gd name="T23" fmla="*/ 160 h 288"/>
                <a:gd name="T24" fmla="*/ 120 w 536"/>
                <a:gd name="T25" fmla="*/ 160 h 288"/>
                <a:gd name="T26" fmla="*/ 96 w 536"/>
                <a:gd name="T27" fmla="*/ 168 h 288"/>
                <a:gd name="T28" fmla="*/ 72 w 536"/>
                <a:gd name="T29" fmla="*/ 208 h 288"/>
                <a:gd name="T30" fmla="*/ 72 w 536"/>
                <a:gd name="T31" fmla="*/ 224 h 288"/>
                <a:gd name="T32" fmla="*/ 80 w 536"/>
                <a:gd name="T33" fmla="*/ 240 h 288"/>
                <a:gd name="T34" fmla="*/ 96 w 536"/>
                <a:gd name="T35" fmla="*/ 272 h 288"/>
                <a:gd name="T36" fmla="*/ 128 w 536"/>
                <a:gd name="T37" fmla="*/ 288 h 288"/>
                <a:gd name="T38" fmla="*/ 160 w 536"/>
                <a:gd name="T39" fmla="*/ 256 h 288"/>
                <a:gd name="T40" fmla="*/ 184 w 536"/>
                <a:gd name="T41" fmla="*/ 240 h 288"/>
                <a:gd name="T42" fmla="*/ 192 w 536"/>
                <a:gd name="T43" fmla="*/ 216 h 288"/>
                <a:gd name="T44" fmla="*/ 208 w 536"/>
                <a:gd name="T45" fmla="*/ 208 h 288"/>
                <a:gd name="T46" fmla="*/ 296 w 536"/>
                <a:gd name="T47" fmla="*/ 176 h 288"/>
                <a:gd name="T48" fmla="*/ 392 w 536"/>
                <a:gd name="T49" fmla="*/ 152 h 288"/>
                <a:gd name="T50" fmla="*/ 376 w 536"/>
                <a:gd name="T51" fmla="*/ 144 h 288"/>
                <a:gd name="T52" fmla="*/ 376 w 536"/>
                <a:gd name="T53" fmla="*/ 144 h 288"/>
                <a:gd name="T54" fmla="*/ 384 w 536"/>
                <a:gd name="T55" fmla="*/ 136 h 288"/>
                <a:gd name="T56" fmla="*/ 408 w 536"/>
                <a:gd name="T57" fmla="*/ 144 h 288"/>
                <a:gd name="T58" fmla="*/ 384 w 536"/>
                <a:gd name="T59" fmla="*/ 120 h 288"/>
                <a:gd name="T60" fmla="*/ 416 w 536"/>
                <a:gd name="T61" fmla="*/ 120 h 288"/>
                <a:gd name="T62" fmla="*/ 432 w 536"/>
                <a:gd name="T63" fmla="*/ 112 h 288"/>
                <a:gd name="T64" fmla="*/ 424 w 536"/>
                <a:gd name="T65" fmla="*/ 104 h 288"/>
                <a:gd name="T66" fmla="*/ 448 w 536"/>
                <a:gd name="T67" fmla="*/ 96 h 288"/>
                <a:gd name="T68" fmla="*/ 448 w 536"/>
                <a:gd name="T69" fmla="*/ 80 h 288"/>
                <a:gd name="T70" fmla="*/ 432 w 536"/>
                <a:gd name="T71" fmla="*/ 72 h 288"/>
                <a:gd name="T72" fmla="*/ 464 w 536"/>
                <a:gd name="T73" fmla="*/ 64 h 288"/>
                <a:gd name="T74" fmla="*/ 464 w 536"/>
                <a:gd name="T75" fmla="*/ 56 h 288"/>
                <a:gd name="T76" fmla="*/ 496 w 536"/>
                <a:gd name="T77" fmla="*/ 32 h 288"/>
                <a:gd name="T78" fmla="*/ 496 w 536"/>
                <a:gd name="T79" fmla="*/ 16 h 288"/>
                <a:gd name="T80" fmla="*/ 456 w 536"/>
                <a:gd name="T81" fmla="*/ 16 h 288"/>
                <a:gd name="T82" fmla="*/ 472 w 536"/>
                <a:gd name="T83" fmla="*/ 8 h 288"/>
                <a:gd name="T84" fmla="*/ 288 w 536"/>
                <a:gd name="T85" fmla="*/ 8 h 288"/>
                <a:gd name="T86" fmla="*/ 192 w 536"/>
                <a:gd name="T87" fmla="*/ 16 h 288"/>
                <a:gd name="T88" fmla="*/ 136 w 536"/>
                <a:gd name="T89" fmla="*/ 24 h 288"/>
                <a:gd name="T90" fmla="*/ 112 w 536"/>
                <a:gd name="T91" fmla="*/ 24 h 288"/>
                <a:gd name="T92" fmla="*/ 88 w 536"/>
                <a:gd name="T93" fmla="*/ 32 h 288"/>
                <a:gd name="T94" fmla="*/ 72 w 536"/>
                <a:gd name="T95" fmla="*/ 48 h 288"/>
                <a:gd name="T96" fmla="*/ 0 w 536"/>
                <a:gd name="T97" fmla="*/ 5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6" h="288">
                  <a:moveTo>
                    <a:pt x="0" y="56"/>
                  </a:moveTo>
                  <a:lnTo>
                    <a:pt x="16" y="56"/>
                  </a:lnTo>
                  <a:lnTo>
                    <a:pt x="16" y="64"/>
                  </a:lnTo>
                  <a:lnTo>
                    <a:pt x="32" y="64"/>
                  </a:lnTo>
                  <a:lnTo>
                    <a:pt x="0" y="72"/>
                  </a:lnTo>
                  <a:lnTo>
                    <a:pt x="16" y="72"/>
                  </a:lnTo>
                  <a:lnTo>
                    <a:pt x="8" y="72"/>
                  </a:lnTo>
                  <a:lnTo>
                    <a:pt x="16" y="80"/>
                  </a:lnTo>
                  <a:lnTo>
                    <a:pt x="72" y="80"/>
                  </a:lnTo>
                  <a:lnTo>
                    <a:pt x="104" y="80"/>
                  </a:lnTo>
                  <a:lnTo>
                    <a:pt x="96" y="88"/>
                  </a:lnTo>
                  <a:lnTo>
                    <a:pt x="104" y="96"/>
                  </a:lnTo>
                  <a:lnTo>
                    <a:pt x="104" y="104"/>
                  </a:lnTo>
                  <a:lnTo>
                    <a:pt x="104" y="112"/>
                  </a:lnTo>
                  <a:lnTo>
                    <a:pt x="96" y="120"/>
                  </a:lnTo>
                  <a:lnTo>
                    <a:pt x="96" y="128"/>
                  </a:lnTo>
                  <a:lnTo>
                    <a:pt x="88" y="128"/>
                  </a:lnTo>
                  <a:lnTo>
                    <a:pt x="104" y="136"/>
                  </a:lnTo>
                  <a:lnTo>
                    <a:pt x="112" y="128"/>
                  </a:lnTo>
                  <a:lnTo>
                    <a:pt x="112" y="136"/>
                  </a:lnTo>
                  <a:lnTo>
                    <a:pt x="128" y="144"/>
                  </a:lnTo>
                  <a:lnTo>
                    <a:pt x="96" y="144"/>
                  </a:lnTo>
                  <a:lnTo>
                    <a:pt x="80" y="160"/>
                  </a:lnTo>
                  <a:lnTo>
                    <a:pt x="96" y="160"/>
                  </a:lnTo>
                  <a:lnTo>
                    <a:pt x="120" y="152"/>
                  </a:lnTo>
                  <a:lnTo>
                    <a:pt x="120" y="160"/>
                  </a:lnTo>
                  <a:lnTo>
                    <a:pt x="112" y="168"/>
                  </a:lnTo>
                  <a:lnTo>
                    <a:pt x="96" y="168"/>
                  </a:lnTo>
                  <a:lnTo>
                    <a:pt x="88" y="176"/>
                  </a:lnTo>
                  <a:lnTo>
                    <a:pt x="72" y="208"/>
                  </a:lnTo>
                  <a:lnTo>
                    <a:pt x="80" y="208"/>
                  </a:lnTo>
                  <a:lnTo>
                    <a:pt x="72" y="224"/>
                  </a:lnTo>
                  <a:lnTo>
                    <a:pt x="80" y="232"/>
                  </a:lnTo>
                  <a:lnTo>
                    <a:pt x="80" y="240"/>
                  </a:lnTo>
                  <a:lnTo>
                    <a:pt x="88" y="264"/>
                  </a:lnTo>
                  <a:lnTo>
                    <a:pt x="96" y="272"/>
                  </a:lnTo>
                  <a:lnTo>
                    <a:pt x="112" y="280"/>
                  </a:lnTo>
                  <a:lnTo>
                    <a:pt x="128" y="288"/>
                  </a:lnTo>
                  <a:lnTo>
                    <a:pt x="136" y="288"/>
                  </a:lnTo>
                  <a:lnTo>
                    <a:pt x="160" y="256"/>
                  </a:lnTo>
                  <a:lnTo>
                    <a:pt x="160" y="248"/>
                  </a:lnTo>
                  <a:lnTo>
                    <a:pt x="184" y="240"/>
                  </a:lnTo>
                  <a:lnTo>
                    <a:pt x="192" y="224"/>
                  </a:lnTo>
                  <a:lnTo>
                    <a:pt x="192" y="216"/>
                  </a:lnTo>
                  <a:lnTo>
                    <a:pt x="200" y="216"/>
                  </a:lnTo>
                  <a:lnTo>
                    <a:pt x="208" y="208"/>
                  </a:lnTo>
                  <a:lnTo>
                    <a:pt x="248" y="208"/>
                  </a:lnTo>
                  <a:lnTo>
                    <a:pt x="296" y="176"/>
                  </a:lnTo>
                  <a:lnTo>
                    <a:pt x="352" y="168"/>
                  </a:lnTo>
                  <a:lnTo>
                    <a:pt x="392" y="152"/>
                  </a:lnTo>
                  <a:lnTo>
                    <a:pt x="400" y="152"/>
                  </a:lnTo>
                  <a:lnTo>
                    <a:pt x="376" y="144"/>
                  </a:lnTo>
                  <a:lnTo>
                    <a:pt x="360" y="152"/>
                  </a:lnTo>
                  <a:lnTo>
                    <a:pt x="376" y="144"/>
                  </a:lnTo>
                  <a:lnTo>
                    <a:pt x="376" y="136"/>
                  </a:lnTo>
                  <a:lnTo>
                    <a:pt x="384" y="136"/>
                  </a:lnTo>
                  <a:lnTo>
                    <a:pt x="384" y="144"/>
                  </a:lnTo>
                  <a:lnTo>
                    <a:pt x="408" y="144"/>
                  </a:lnTo>
                  <a:lnTo>
                    <a:pt x="408" y="136"/>
                  </a:lnTo>
                  <a:lnTo>
                    <a:pt x="384" y="120"/>
                  </a:lnTo>
                  <a:lnTo>
                    <a:pt x="408" y="128"/>
                  </a:lnTo>
                  <a:lnTo>
                    <a:pt x="416" y="120"/>
                  </a:lnTo>
                  <a:lnTo>
                    <a:pt x="408" y="112"/>
                  </a:lnTo>
                  <a:lnTo>
                    <a:pt x="432" y="112"/>
                  </a:lnTo>
                  <a:lnTo>
                    <a:pt x="432" y="104"/>
                  </a:lnTo>
                  <a:lnTo>
                    <a:pt x="424" y="104"/>
                  </a:lnTo>
                  <a:lnTo>
                    <a:pt x="440" y="104"/>
                  </a:lnTo>
                  <a:lnTo>
                    <a:pt x="448" y="96"/>
                  </a:lnTo>
                  <a:lnTo>
                    <a:pt x="440" y="96"/>
                  </a:lnTo>
                  <a:lnTo>
                    <a:pt x="448" y="80"/>
                  </a:lnTo>
                  <a:lnTo>
                    <a:pt x="432" y="80"/>
                  </a:lnTo>
                  <a:lnTo>
                    <a:pt x="432" y="72"/>
                  </a:lnTo>
                  <a:lnTo>
                    <a:pt x="464" y="72"/>
                  </a:lnTo>
                  <a:lnTo>
                    <a:pt x="464" y="64"/>
                  </a:lnTo>
                  <a:lnTo>
                    <a:pt x="456" y="56"/>
                  </a:lnTo>
                  <a:lnTo>
                    <a:pt x="464" y="56"/>
                  </a:lnTo>
                  <a:lnTo>
                    <a:pt x="464" y="48"/>
                  </a:lnTo>
                  <a:lnTo>
                    <a:pt x="496" y="32"/>
                  </a:lnTo>
                  <a:lnTo>
                    <a:pt x="536" y="24"/>
                  </a:lnTo>
                  <a:lnTo>
                    <a:pt x="496" y="16"/>
                  </a:lnTo>
                  <a:lnTo>
                    <a:pt x="424" y="24"/>
                  </a:lnTo>
                  <a:lnTo>
                    <a:pt x="456" y="16"/>
                  </a:lnTo>
                  <a:lnTo>
                    <a:pt x="424" y="16"/>
                  </a:lnTo>
                  <a:lnTo>
                    <a:pt x="472" y="8"/>
                  </a:lnTo>
                  <a:lnTo>
                    <a:pt x="416" y="0"/>
                  </a:lnTo>
                  <a:lnTo>
                    <a:pt x="288" y="8"/>
                  </a:lnTo>
                  <a:lnTo>
                    <a:pt x="216" y="16"/>
                  </a:lnTo>
                  <a:lnTo>
                    <a:pt x="192" y="16"/>
                  </a:lnTo>
                  <a:lnTo>
                    <a:pt x="128" y="16"/>
                  </a:lnTo>
                  <a:lnTo>
                    <a:pt x="136" y="24"/>
                  </a:lnTo>
                  <a:lnTo>
                    <a:pt x="128" y="24"/>
                  </a:lnTo>
                  <a:lnTo>
                    <a:pt x="112" y="24"/>
                  </a:lnTo>
                  <a:lnTo>
                    <a:pt x="64" y="32"/>
                  </a:lnTo>
                  <a:lnTo>
                    <a:pt x="88" y="32"/>
                  </a:lnTo>
                  <a:lnTo>
                    <a:pt x="88" y="40"/>
                  </a:lnTo>
                  <a:lnTo>
                    <a:pt x="72" y="48"/>
                  </a:lnTo>
                  <a:lnTo>
                    <a:pt x="8" y="48"/>
                  </a:lnTo>
                  <a:lnTo>
                    <a:pt x="0" y="5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rgbClr val="00B050"/>
                </a:solidFill>
                <a:latin typeface="Frutiger for ZKB Light" panose="020B0303030504020204" pitchFamily="34" charset="0"/>
              </a:endParaRPr>
            </a:p>
          </p:txBody>
        </p:sp>
        <p:sp>
          <p:nvSpPr>
            <p:cNvPr id="214" name="Freeform 247">
              <a:extLst>
                <a:ext uri="{FF2B5EF4-FFF2-40B4-BE49-F238E27FC236}">
                  <a16:creationId xmlns:a16="http://schemas.microsoft.com/office/drawing/2014/main" id="{6FAA0847-F8B7-5141-70FE-DA8F2BE37DEB}"/>
                </a:ext>
              </a:extLst>
            </p:cNvPr>
            <p:cNvSpPr>
              <a:spLocks/>
            </p:cNvSpPr>
            <p:nvPr/>
          </p:nvSpPr>
          <p:spPr bwMode="auto">
            <a:xfrm>
              <a:off x="3459499" y="958153"/>
              <a:ext cx="229897" cy="81547"/>
            </a:xfrm>
            <a:custGeom>
              <a:avLst/>
              <a:gdLst>
                <a:gd name="T0" fmla="*/ 0 w 112"/>
                <a:gd name="T1" fmla="*/ 8 h 40"/>
                <a:gd name="T2" fmla="*/ 24 w 112"/>
                <a:gd name="T3" fmla="*/ 16 h 40"/>
                <a:gd name="T4" fmla="*/ 0 w 112"/>
                <a:gd name="T5" fmla="*/ 24 h 40"/>
                <a:gd name="T6" fmla="*/ 16 w 112"/>
                <a:gd name="T7" fmla="*/ 24 h 40"/>
                <a:gd name="T8" fmla="*/ 24 w 112"/>
                <a:gd name="T9" fmla="*/ 24 h 40"/>
                <a:gd name="T10" fmla="*/ 8 w 112"/>
                <a:gd name="T11" fmla="*/ 32 h 40"/>
                <a:gd name="T12" fmla="*/ 48 w 112"/>
                <a:gd name="T13" fmla="*/ 40 h 40"/>
                <a:gd name="T14" fmla="*/ 96 w 112"/>
                <a:gd name="T15" fmla="*/ 24 h 40"/>
                <a:gd name="T16" fmla="*/ 104 w 112"/>
                <a:gd name="T17" fmla="*/ 16 h 40"/>
                <a:gd name="T18" fmla="*/ 112 w 112"/>
                <a:gd name="T19" fmla="*/ 8 h 40"/>
                <a:gd name="T20" fmla="*/ 104 w 112"/>
                <a:gd name="T21" fmla="*/ 8 h 40"/>
                <a:gd name="T22" fmla="*/ 104 w 112"/>
                <a:gd name="T23" fmla="*/ 0 h 40"/>
                <a:gd name="T24" fmla="*/ 88 w 112"/>
                <a:gd name="T25" fmla="*/ 0 h 40"/>
                <a:gd name="T26" fmla="*/ 72 w 112"/>
                <a:gd name="T27" fmla="*/ 8 h 40"/>
                <a:gd name="T28" fmla="*/ 48 w 112"/>
                <a:gd name="T29" fmla="*/ 8 h 40"/>
                <a:gd name="T30" fmla="*/ 48 w 112"/>
                <a:gd name="T31" fmla="*/ 0 h 40"/>
                <a:gd name="T32" fmla="*/ 40 w 112"/>
                <a:gd name="T33" fmla="*/ 8 h 40"/>
                <a:gd name="T34" fmla="*/ 32 w 112"/>
                <a:gd name="T35" fmla="*/ 16 h 40"/>
                <a:gd name="T36" fmla="*/ 32 w 112"/>
                <a:gd name="T37" fmla="*/ 8 h 40"/>
                <a:gd name="T38" fmla="*/ 16 w 112"/>
                <a:gd name="T39" fmla="*/ 0 h 40"/>
                <a:gd name="T40" fmla="*/ 0 w 112"/>
                <a:gd name="T41"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2" h="40">
                  <a:moveTo>
                    <a:pt x="0" y="8"/>
                  </a:moveTo>
                  <a:lnTo>
                    <a:pt x="24" y="16"/>
                  </a:lnTo>
                  <a:lnTo>
                    <a:pt x="0" y="24"/>
                  </a:lnTo>
                  <a:lnTo>
                    <a:pt x="16" y="24"/>
                  </a:lnTo>
                  <a:lnTo>
                    <a:pt x="24" y="24"/>
                  </a:lnTo>
                  <a:lnTo>
                    <a:pt x="8" y="32"/>
                  </a:lnTo>
                  <a:lnTo>
                    <a:pt x="48" y="40"/>
                  </a:lnTo>
                  <a:lnTo>
                    <a:pt x="96" y="24"/>
                  </a:lnTo>
                  <a:lnTo>
                    <a:pt x="104" y="16"/>
                  </a:lnTo>
                  <a:lnTo>
                    <a:pt x="112" y="8"/>
                  </a:lnTo>
                  <a:lnTo>
                    <a:pt x="104" y="8"/>
                  </a:lnTo>
                  <a:lnTo>
                    <a:pt x="104" y="0"/>
                  </a:lnTo>
                  <a:lnTo>
                    <a:pt x="88" y="0"/>
                  </a:lnTo>
                  <a:lnTo>
                    <a:pt x="72" y="8"/>
                  </a:lnTo>
                  <a:lnTo>
                    <a:pt x="48" y="8"/>
                  </a:lnTo>
                  <a:lnTo>
                    <a:pt x="48" y="0"/>
                  </a:lnTo>
                  <a:lnTo>
                    <a:pt x="40" y="8"/>
                  </a:lnTo>
                  <a:lnTo>
                    <a:pt x="32" y="16"/>
                  </a:lnTo>
                  <a:lnTo>
                    <a:pt x="32" y="8"/>
                  </a:lnTo>
                  <a:lnTo>
                    <a:pt x="16"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15" name="Line 248">
              <a:extLst>
                <a:ext uri="{FF2B5EF4-FFF2-40B4-BE49-F238E27FC236}">
                  <a16:creationId xmlns:a16="http://schemas.microsoft.com/office/drawing/2014/main" id="{E11CF4DD-D998-D8C6-B07D-FB3A693027D0}"/>
                </a:ext>
              </a:extLst>
            </p:cNvPr>
            <p:cNvSpPr>
              <a:spLocks noChangeShapeType="1"/>
            </p:cNvSpPr>
            <p:nvPr/>
          </p:nvSpPr>
          <p:spPr bwMode="auto">
            <a:xfrm flipV="1">
              <a:off x="3791573" y="841861"/>
              <a:ext cx="16530" cy="1661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16" name="Line 249">
              <a:extLst>
                <a:ext uri="{FF2B5EF4-FFF2-40B4-BE49-F238E27FC236}">
                  <a16:creationId xmlns:a16="http://schemas.microsoft.com/office/drawing/2014/main" id="{9C95FB45-BD29-4796-80A6-002209ACF413}"/>
                </a:ext>
              </a:extLst>
            </p:cNvPr>
            <p:cNvSpPr>
              <a:spLocks noChangeShapeType="1"/>
            </p:cNvSpPr>
            <p:nvPr/>
          </p:nvSpPr>
          <p:spPr bwMode="auto">
            <a:xfrm>
              <a:off x="3627789" y="743704"/>
              <a:ext cx="16528" cy="1510"/>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17" name="Freeform 250">
              <a:extLst>
                <a:ext uri="{FF2B5EF4-FFF2-40B4-BE49-F238E27FC236}">
                  <a16:creationId xmlns:a16="http://schemas.microsoft.com/office/drawing/2014/main" id="{E6686AAC-2B1C-0F5E-F050-46A2B363F5E5}"/>
                </a:ext>
              </a:extLst>
            </p:cNvPr>
            <p:cNvSpPr>
              <a:spLocks/>
            </p:cNvSpPr>
            <p:nvPr/>
          </p:nvSpPr>
          <p:spPr bwMode="auto">
            <a:xfrm>
              <a:off x="5052260" y="3362223"/>
              <a:ext cx="195338" cy="410749"/>
            </a:xfrm>
            <a:custGeom>
              <a:avLst/>
              <a:gdLst>
                <a:gd name="T0" fmla="*/ 0 w 96"/>
                <a:gd name="T1" fmla="*/ 144 h 200"/>
                <a:gd name="T2" fmla="*/ 0 w 96"/>
                <a:gd name="T3" fmla="*/ 184 h 200"/>
                <a:gd name="T4" fmla="*/ 8 w 96"/>
                <a:gd name="T5" fmla="*/ 200 h 200"/>
                <a:gd name="T6" fmla="*/ 16 w 96"/>
                <a:gd name="T7" fmla="*/ 200 h 200"/>
                <a:gd name="T8" fmla="*/ 40 w 96"/>
                <a:gd name="T9" fmla="*/ 192 h 200"/>
                <a:gd name="T10" fmla="*/ 48 w 96"/>
                <a:gd name="T11" fmla="*/ 192 h 200"/>
                <a:gd name="T12" fmla="*/ 80 w 96"/>
                <a:gd name="T13" fmla="*/ 96 h 200"/>
                <a:gd name="T14" fmla="*/ 88 w 96"/>
                <a:gd name="T15" fmla="*/ 48 h 200"/>
                <a:gd name="T16" fmla="*/ 88 w 96"/>
                <a:gd name="T17" fmla="*/ 56 h 200"/>
                <a:gd name="T18" fmla="*/ 96 w 96"/>
                <a:gd name="T19" fmla="*/ 48 h 200"/>
                <a:gd name="T20" fmla="*/ 88 w 96"/>
                <a:gd name="T21" fmla="*/ 8 h 200"/>
                <a:gd name="T22" fmla="*/ 80 w 96"/>
                <a:gd name="T23" fmla="*/ 0 h 200"/>
                <a:gd name="T24" fmla="*/ 72 w 96"/>
                <a:gd name="T25" fmla="*/ 16 h 200"/>
                <a:gd name="T26" fmla="*/ 64 w 96"/>
                <a:gd name="T27" fmla="*/ 24 h 200"/>
                <a:gd name="T28" fmla="*/ 64 w 96"/>
                <a:gd name="T29" fmla="*/ 40 h 200"/>
                <a:gd name="T30" fmla="*/ 16 w 96"/>
                <a:gd name="T31" fmla="*/ 56 h 200"/>
                <a:gd name="T32" fmla="*/ 8 w 96"/>
                <a:gd name="T33" fmla="*/ 80 h 200"/>
                <a:gd name="T34" fmla="*/ 16 w 96"/>
                <a:gd name="T35" fmla="*/ 120 h 200"/>
                <a:gd name="T36" fmla="*/ 0 w 96"/>
                <a:gd name="T37" fmla="*/ 14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200">
                  <a:moveTo>
                    <a:pt x="0" y="144"/>
                  </a:moveTo>
                  <a:lnTo>
                    <a:pt x="0" y="184"/>
                  </a:lnTo>
                  <a:lnTo>
                    <a:pt x="8" y="200"/>
                  </a:lnTo>
                  <a:lnTo>
                    <a:pt x="16" y="200"/>
                  </a:lnTo>
                  <a:lnTo>
                    <a:pt x="40" y="192"/>
                  </a:lnTo>
                  <a:lnTo>
                    <a:pt x="48" y="192"/>
                  </a:lnTo>
                  <a:lnTo>
                    <a:pt x="80" y="96"/>
                  </a:lnTo>
                  <a:lnTo>
                    <a:pt x="88" y="48"/>
                  </a:lnTo>
                  <a:lnTo>
                    <a:pt x="88" y="56"/>
                  </a:lnTo>
                  <a:lnTo>
                    <a:pt x="96" y="48"/>
                  </a:lnTo>
                  <a:lnTo>
                    <a:pt x="88" y="8"/>
                  </a:lnTo>
                  <a:lnTo>
                    <a:pt x="80" y="0"/>
                  </a:lnTo>
                  <a:lnTo>
                    <a:pt x="72" y="16"/>
                  </a:lnTo>
                  <a:lnTo>
                    <a:pt x="64" y="24"/>
                  </a:lnTo>
                  <a:lnTo>
                    <a:pt x="64" y="40"/>
                  </a:lnTo>
                  <a:lnTo>
                    <a:pt x="16" y="56"/>
                  </a:lnTo>
                  <a:lnTo>
                    <a:pt x="8" y="80"/>
                  </a:lnTo>
                  <a:lnTo>
                    <a:pt x="16" y="120"/>
                  </a:lnTo>
                  <a:lnTo>
                    <a:pt x="0" y="14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18" name="Freeform 251">
              <a:extLst>
                <a:ext uri="{FF2B5EF4-FFF2-40B4-BE49-F238E27FC236}">
                  <a16:creationId xmlns:a16="http://schemas.microsoft.com/office/drawing/2014/main" id="{FE11AED8-4136-3DF4-1369-0136273CE7A2}"/>
                </a:ext>
              </a:extLst>
            </p:cNvPr>
            <p:cNvSpPr>
              <a:spLocks/>
            </p:cNvSpPr>
            <p:nvPr/>
          </p:nvSpPr>
          <p:spPr bwMode="auto">
            <a:xfrm>
              <a:off x="5330242" y="2587541"/>
              <a:ext cx="33058" cy="16611"/>
            </a:xfrm>
            <a:custGeom>
              <a:avLst/>
              <a:gdLst>
                <a:gd name="T0" fmla="*/ 0 w 16"/>
                <a:gd name="T1" fmla="*/ 0 h 8"/>
                <a:gd name="T2" fmla="*/ 8 w 16"/>
                <a:gd name="T3" fmla="*/ 8 h 8"/>
                <a:gd name="T4" fmla="*/ 16 w 16"/>
                <a:gd name="T5" fmla="*/ 0 h 8"/>
                <a:gd name="T6" fmla="*/ 8 w 16"/>
                <a:gd name="T7" fmla="*/ 0 h 8"/>
                <a:gd name="T8" fmla="*/ 0 w 16"/>
                <a:gd name="T9" fmla="*/ 0 h 8"/>
              </a:gdLst>
              <a:ahLst/>
              <a:cxnLst>
                <a:cxn ang="0">
                  <a:pos x="T0" y="T1"/>
                </a:cxn>
                <a:cxn ang="0">
                  <a:pos x="T2" y="T3"/>
                </a:cxn>
                <a:cxn ang="0">
                  <a:pos x="T4" y="T5"/>
                </a:cxn>
                <a:cxn ang="0">
                  <a:pos x="T6" y="T7"/>
                </a:cxn>
                <a:cxn ang="0">
                  <a:pos x="T8" y="T9"/>
                </a:cxn>
              </a:cxnLst>
              <a:rect l="0" t="0" r="r" b="b"/>
              <a:pathLst>
                <a:path w="16" h="8">
                  <a:moveTo>
                    <a:pt x="0" y="0"/>
                  </a:moveTo>
                  <a:lnTo>
                    <a:pt x="8" y="8"/>
                  </a:lnTo>
                  <a:lnTo>
                    <a:pt x="16" y="0"/>
                  </a:lnTo>
                  <a:lnTo>
                    <a:pt x="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19" name="Line 252">
              <a:extLst>
                <a:ext uri="{FF2B5EF4-FFF2-40B4-BE49-F238E27FC236}">
                  <a16:creationId xmlns:a16="http://schemas.microsoft.com/office/drawing/2014/main" id="{F3018A6B-299F-7D5E-33C3-33E8EEC5F735}"/>
                </a:ext>
              </a:extLst>
            </p:cNvPr>
            <p:cNvSpPr>
              <a:spLocks noChangeShapeType="1"/>
            </p:cNvSpPr>
            <p:nvPr/>
          </p:nvSpPr>
          <p:spPr bwMode="auto">
            <a:xfrm>
              <a:off x="6410615" y="2587555"/>
              <a:ext cx="1502" cy="33223"/>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20" name="Line 253">
              <a:extLst>
                <a:ext uri="{FF2B5EF4-FFF2-40B4-BE49-F238E27FC236}">
                  <a16:creationId xmlns:a16="http://schemas.microsoft.com/office/drawing/2014/main" id="{E7A2FBE3-C3AB-04C3-C9ED-3A4BDDDEBB61}"/>
                </a:ext>
              </a:extLst>
            </p:cNvPr>
            <p:cNvSpPr>
              <a:spLocks noChangeShapeType="1"/>
            </p:cNvSpPr>
            <p:nvPr/>
          </p:nvSpPr>
          <p:spPr bwMode="auto">
            <a:xfrm>
              <a:off x="6508284" y="2916743"/>
              <a:ext cx="16530" cy="302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21" name="Freeform 254">
              <a:extLst>
                <a:ext uri="{FF2B5EF4-FFF2-40B4-BE49-F238E27FC236}">
                  <a16:creationId xmlns:a16="http://schemas.microsoft.com/office/drawing/2014/main" id="{7683B1EF-6F51-0968-548A-4F7D8724086C}"/>
                </a:ext>
              </a:extLst>
            </p:cNvPr>
            <p:cNvSpPr>
              <a:spLocks/>
            </p:cNvSpPr>
            <p:nvPr/>
          </p:nvSpPr>
          <p:spPr bwMode="auto">
            <a:xfrm>
              <a:off x="6541336" y="2933366"/>
              <a:ext cx="16530" cy="33223"/>
            </a:xfrm>
            <a:custGeom>
              <a:avLst/>
              <a:gdLst>
                <a:gd name="T0" fmla="*/ 0 w 8"/>
                <a:gd name="T1" fmla="*/ 0 h 16"/>
                <a:gd name="T2" fmla="*/ 8 w 8"/>
                <a:gd name="T3" fmla="*/ 16 h 16"/>
                <a:gd name="T4" fmla="*/ 8 w 8"/>
                <a:gd name="T5" fmla="*/ 8 h 16"/>
                <a:gd name="T6" fmla="*/ 0 w 8"/>
                <a:gd name="T7" fmla="*/ 0 h 16"/>
              </a:gdLst>
              <a:ahLst/>
              <a:cxnLst>
                <a:cxn ang="0">
                  <a:pos x="T0" y="T1"/>
                </a:cxn>
                <a:cxn ang="0">
                  <a:pos x="T2" y="T3"/>
                </a:cxn>
                <a:cxn ang="0">
                  <a:pos x="T4" y="T5"/>
                </a:cxn>
                <a:cxn ang="0">
                  <a:pos x="T6" y="T7"/>
                </a:cxn>
              </a:cxnLst>
              <a:rect l="0" t="0" r="r" b="b"/>
              <a:pathLst>
                <a:path w="8" h="16">
                  <a:moveTo>
                    <a:pt x="0" y="0"/>
                  </a:moveTo>
                  <a:lnTo>
                    <a:pt x="8" y="16"/>
                  </a:lnTo>
                  <a:lnTo>
                    <a:pt x="8" y="8"/>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22" name="Freeform 255">
              <a:extLst>
                <a:ext uri="{FF2B5EF4-FFF2-40B4-BE49-F238E27FC236}">
                  <a16:creationId xmlns:a16="http://schemas.microsoft.com/office/drawing/2014/main" id="{3F38EE56-88DD-92FA-D682-AA596356F4A7}"/>
                </a:ext>
              </a:extLst>
            </p:cNvPr>
            <p:cNvSpPr>
              <a:spLocks/>
            </p:cNvSpPr>
            <p:nvPr/>
          </p:nvSpPr>
          <p:spPr bwMode="auto">
            <a:xfrm>
              <a:off x="6590922" y="3016412"/>
              <a:ext cx="16528" cy="16611"/>
            </a:xfrm>
            <a:custGeom>
              <a:avLst/>
              <a:gdLst>
                <a:gd name="T0" fmla="*/ 0 w 8"/>
                <a:gd name="T1" fmla="*/ 0 h 8"/>
                <a:gd name="T2" fmla="*/ 0 w 8"/>
                <a:gd name="T3" fmla="*/ 8 h 8"/>
                <a:gd name="T4" fmla="*/ 8 w 8"/>
                <a:gd name="T5" fmla="*/ 8 h 8"/>
                <a:gd name="T6" fmla="*/ 0 w 8"/>
                <a:gd name="T7" fmla="*/ 0 h 8"/>
              </a:gdLst>
              <a:ahLst/>
              <a:cxnLst>
                <a:cxn ang="0">
                  <a:pos x="T0" y="T1"/>
                </a:cxn>
                <a:cxn ang="0">
                  <a:pos x="T2" y="T3"/>
                </a:cxn>
                <a:cxn ang="0">
                  <a:pos x="T4" y="T5"/>
                </a:cxn>
                <a:cxn ang="0">
                  <a:pos x="T6" y="T7"/>
                </a:cxn>
              </a:cxnLst>
              <a:rect l="0" t="0" r="r" b="b"/>
              <a:pathLst>
                <a:path w="8" h="8">
                  <a:moveTo>
                    <a:pt x="0" y="0"/>
                  </a:moveTo>
                  <a:lnTo>
                    <a:pt x="0" y="8"/>
                  </a:lnTo>
                  <a:lnTo>
                    <a:pt x="8" y="8"/>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23" name="Freeform 256">
              <a:extLst>
                <a:ext uri="{FF2B5EF4-FFF2-40B4-BE49-F238E27FC236}">
                  <a16:creationId xmlns:a16="http://schemas.microsoft.com/office/drawing/2014/main" id="{BBF91FF5-F3C3-18D3-FBB9-22FE557AC3F9}"/>
                </a:ext>
              </a:extLst>
            </p:cNvPr>
            <p:cNvSpPr>
              <a:spLocks/>
            </p:cNvSpPr>
            <p:nvPr/>
          </p:nvSpPr>
          <p:spPr bwMode="auto">
            <a:xfrm>
              <a:off x="6049985" y="2670597"/>
              <a:ext cx="66114" cy="114767"/>
            </a:xfrm>
            <a:custGeom>
              <a:avLst/>
              <a:gdLst>
                <a:gd name="T0" fmla="*/ 0 w 32"/>
                <a:gd name="T1" fmla="*/ 32 h 56"/>
                <a:gd name="T2" fmla="*/ 8 w 32"/>
                <a:gd name="T3" fmla="*/ 56 h 56"/>
                <a:gd name="T4" fmla="*/ 24 w 32"/>
                <a:gd name="T5" fmla="*/ 56 h 56"/>
                <a:gd name="T6" fmla="*/ 32 w 32"/>
                <a:gd name="T7" fmla="*/ 56 h 56"/>
                <a:gd name="T8" fmla="*/ 32 w 32"/>
                <a:gd name="T9" fmla="*/ 32 h 56"/>
                <a:gd name="T10" fmla="*/ 16 w 32"/>
                <a:gd name="T11" fmla="*/ 8 h 56"/>
                <a:gd name="T12" fmla="*/ 8 w 32"/>
                <a:gd name="T13" fmla="*/ 0 h 56"/>
                <a:gd name="T14" fmla="*/ 8 w 32"/>
                <a:gd name="T15" fmla="*/ 8 h 56"/>
                <a:gd name="T16" fmla="*/ 0 w 32"/>
                <a:gd name="T17"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6">
                  <a:moveTo>
                    <a:pt x="0" y="32"/>
                  </a:moveTo>
                  <a:lnTo>
                    <a:pt x="8" y="56"/>
                  </a:lnTo>
                  <a:lnTo>
                    <a:pt x="24" y="56"/>
                  </a:lnTo>
                  <a:lnTo>
                    <a:pt x="32" y="56"/>
                  </a:lnTo>
                  <a:lnTo>
                    <a:pt x="32" y="32"/>
                  </a:lnTo>
                  <a:lnTo>
                    <a:pt x="16" y="8"/>
                  </a:lnTo>
                  <a:lnTo>
                    <a:pt x="8" y="0"/>
                  </a:lnTo>
                  <a:lnTo>
                    <a:pt x="8" y="8"/>
                  </a:lnTo>
                  <a:lnTo>
                    <a:pt x="0"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24" name="Freeform 257">
              <a:extLst>
                <a:ext uri="{FF2B5EF4-FFF2-40B4-BE49-F238E27FC236}">
                  <a16:creationId xmlns:a16="http://schemas.microsoft.com/office/drawing/2014/main" id="{F4259576-573E-6E8C-A575-A8A47D636DF7}"/>
                </a:ext>
              </a:extLst>
            </p:cNvPr>
            <p:cNvSpPr>
              <a:spLocks/>
            </p:cNvSpPr>
            <p:nvPr/>
          </p:nvSpPr>
          <p:spPr bwMode="auto">
            <a:xfrm>
              <a:off x="6804292" y="2358005"/>
              <a:ext cx="64612" cy="48322"/>
            </a:xfrm>
            <a:custGeom>
              <a:avLst/>
              <a:gdLst>
                <a:gd name="T0" fmla="*/ 0 w 32"/>
                <a:gd name="T1" fmla="*/ 8 h 24"/>
                <a:gd name="T2" fmla="*/ 8 w 32"/>
                <a:gd name="T3" fmla="*/ 24 h 24"/>
                <a:gd name="T4" fmla="*/ 16 w 32"/>
                <a:gd name="T5" fmla="*/ 24 h 24"/>
                <a:gd name="T6" fmla="*/ 32 w 32"/>
                <a:gd name="T7" fmla="*/ 16 h 24"/>
                <a:gd name="T8" fmla="*/ 32 w 32"/>
                <a:gd name="T9" fmla="*/ 0 h 24"/>
                <a:gd name="T10" fmla="*/ 16 w 32"/>
                <a:gd name="T11" fmla="*/ 0 h 24"/>
                <a:gd name="T12" fmla="*/ 0 w 32"/>
                <a:gd name="T13" fmla="*/ 8 h 24"/>
              </a:gdLst>
              <a:ahLst/>
              <a:cxnLst>
                <a:cxn ang="0">
                  <a:pos x="T0" y="T1"/>
                </a:cxn>
                <a:cxn ang="0">
                  <a:pos x="T2" y="T3"/>
                </a:cxn>
                <a:cxn ang="0">
                  <a:pos x="T4" y="T5"/>
                </a:cxn>
                <a:cxn ang="0">
                  <a:pos x="T6" y="T7"/>
                </a:cxn>
                <a:cxn ang="0">
                  <a:pos x="T8" y="T9"/>
                </a:cxn>
                <a:cxn ang="0">
                  <a:pos x="T10" y="T11"/>
                </a:cxn>
                <a:cxn ang="0">
                  <a:pos x="T12" y="T13"/>
                </a:cxn>
              </a:cxnLst>
              <a:rect l="0" t="0" r="r" b="b"/>
              <a:pathLst>
                <a:path w="32" h="24">
                  <a:moveTo>
                    <a:pt x="0" y="8"/>
                  </a:moveTo>
                  <a:lnTo>
                    <a:pt x="8" y="24"/>
                  </a:lnTo>
                  <a:lnTo>
                    <a:pt x="16" y="24"/>
                  </a:lnTo>
                  <a:lnTo>
                    <a:pt x="32" y="16"/>
                  </a:lnTo>
                  <a:lnTo>
                    <a:pt x="32" y="0"/>
                  </a:lnTo>
                  <a:lnTo>
                    <a:pt x="16"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25" name="Freeform 258">
              <a:extLst>
                <a:ext uri="{FF2B5EF4-FFF2-40B4-BE49-F238E27FC236}">
                  <a16:creationId xmlns:a16="http://schemas.microsoft.com/office/drawing/2014/main" id="{11E9A69C-31AA-FB51-3FFE-5AFA29B49EFB}"/>
                </a:ext>
              </a:extLst>
            </p:cNvPr>
            <p:cNvSpPr>
              <a:spLocks/>
            </p:cNvSpPr>
            <p:nvPr/>
          </p:nvSpPr>
          <p:spPr bwMode="auto">
            <a:xfrm>
              <a:off x="7098817" y="2191895"/>
              <a:ext cx="31555" cy="99668"/>
            </a:xfrm>
            <a:custGeom>
              <a:avLst/>
              <a:gdLst>
                <a:gd name="T0" fmla="*/ 0 w 16"/>
                <a:gd name="T1" fmla="*/ 24 h 48"/>
                <a:gd name="T2" fmla="*/ 8 w 16"/>
                <a:gd name="T3" fmla="*/ 40 h 48"/>
                <a:gd name="T4" fmla="*/ 16 w 16"/>
                <a:gd name="T5" fmla="*/ 48 h 48"/>
                <a:gd name="T6" fmla="*/ 16 w 16"/>
                <a:gd name="T7" fmla="*/ 0 h 48"/>
                <a:gd name="T8" fmla="*/ 8 w 16"/>
                <a:gd name="T9" fmla="*/ 8 h 48"/>
                <a:gd name="T10" fmla="*/ 0 w 16"/>
                <a:gd name="T11" fmla="*/ 24 h 48"/>
              </a:gdLst>
              <a:ahLst/>
              <a:cxnLst>
                <a:cxn ang="0">
                  <a:pos x="T0" y="T1"/>
                </a:cxn>
                <a:cxn ang="0">
                  <a:pos x="T2" y="T3"/>
                </a:cxn>
                <a:cxn ang="0">
                  <a:pos x="T4" y="T5"/>
                </a:cxn>
                <a:cxn ang="0">
                  <a:pos x="T6" y="T7"/>
                </a:cxn>
                <a:cxn ang="0">
                  <a:pos x="T8" y="T9"/>
                </a:cxn>
                <a:cxn ang="0">
                  <a:pos x="T10" y="T11"/>
                </a:cxn>
              </a:cxnLst>
              <a:rect l="0" t="0" r="r" b="b"/>
              <a:pathLst>
                <a:path w="16" h="48">
                  <a:moveTo>
                    <a:pt x="0" y="24"/>
                  </a:moveTo>
                  <a:lnTo>
                    <a:pt x="8" y="40"/>
                  </a:lnTo>
                  <a:lnTo>
                    <a:pt x="16" y="48"/>
                  </a:lnTo>
                  <a:lnTo>
                    <a:pt x="16" y="0"/>
                  </a:lnTo>
                  <a:lnTo>
                    <a:pt x="8" y="8"/>
                  </a:lnTo>
                  <a:lnTo>
                    <a:pt x="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26" name="Freeform 259">
              <a:extLst>
                <a:ext uri="{FF2B5EF4-FFF2-40B4-BE49-F238E27FC236}">
                  <a16:creationId xmlns:a16="http://schemas.microsoft.com/office/drawing/2014/main" id="{FCE41F32-6CC7-B60B-110C-886BFE94FABD}"/>
                </a:ext>
              </a:extLst>
            </p:cNvPr>
            <p:cNvSpPr>
              <a:spLocks/>
            </p:cNvSpPr>
            <p:nvPr/>
          </p:nvSpPr>
          <p:spPr bwMode="auto">
            <a:xfrm>
              <a:off x="7262586" y="1929135"/>
              <a:ext cx="64612" cy="83056"/>
            </a:xfrm>
            <a:custGeom>
              <a:avLst/>
              <a:gdLst>
                <a:gd name="T0" fmla="*/ 0 w 32"/>
                <a:gd name="T1" fmla="*/ 8 h 40"/>
                <a:gd name="T2" fmla="*/ 8 w 32"/>
                <a:gd name="T3" fmla="*/ 16 h 40"/>
                <a:gd name="T4" fmla="*/ 8 w 32"/>
                <a:gd name="T5" fmla="*/ 8 h 40"/>
                <a:gd name="T6" fmla="*/ 16 w 32"/>
                <a:gd name="T7" fmla="*/ 16 h 40"/>
                <a:gd name="T8" fmla="*/ 16 w 32"/>
                <a:gd name="T9" fmla="*/ 40 h 40"/>
                <a:gd name="T10" fmla="*/ 24 w 32"/>
                <a:gd name="T11" fmla="*/ 40 h 40"/>
                <a:gd name="T12" fmla="*/ 32 w 32"/>
                <a:gd name="T13" fmla="*/ 32 h 40"/>
                <a:gd name="T14" fmla="*/ 32 w 32"/>
                <a:gd name="T15" fmla="*/ 16 h 40"/>
                <a:gd name="T16" fmla="*/ 24 w 32"/>
                <a:gd name="T17" fmla="*/ 0 h 40"/>
                <a:gd name="T18" fmla="*/ 8 w 32"/>
                <a:gd name="T19" fmla="*/ 0 h 40"/>
                <a:gd name="T20" fmla="*/ 0 w 32"/>
                <a:gd name="T21"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0">
                  <a:moveTo>
                    <a:pt x="0" y="8"/>
                  </a:moveTo>
                  <a:lnTo>
                    <a:pt x="8" y="16"/>
                  </a:lnTo>
                  <a:lnTo>
                    <a:pt x="8" y="8"/>
                  </a:lnTo>
                  <a:lnTo>
                    <a:pt x="16" y="16"/>
                  </a:lnTo>
                  <a:lnTo>
                    <a:pt x="16" y="40"/>
                  </a:lnTo>
                  <a:lnTo>
                    <a:pt x="24" y="40"/>
                  </a:lnTo>
                  <a:lnTo>
                    <a:pt x="32" y="32"/>
                  </a:lnTo>
                  <a:lnTo>
                    <a:pt x="32" y="16"/>
                  </a:lnTo>
                  <a:lnTo>
                    <a:pt x="24" y="0"/>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27" name="Freeform 260">
              <a:extLst>
                <a:ext uri="{FF2B5EF4-FFF2-40B4-BE49-F238E27FC236}">
                  <a16:creationId xmlns:a16="http://schemas.microsoft.com/office/drawing/2014/main" id="{AD3D4940-E348-B8E0-3A26-C5FCAD64861B}"/>
                </a:ext>
              </a:extLst>
            </p:cNvPr>
            <p:cNvSpPr>
              <a:spLocks/>
            </p:cNvSpPr>
            <p:nvPr/>
          </p:nvSpPr>
          <p:spPr bwMode="auto">
            <a:xfrm>
              <a:off x="7327198" y="1912525"/>
              <a:ext cx="66114" cy="49834"/>
            </a:xfrm>
            <a:custGeom>
              <a:avLst/>
              <a:gdLst>
                <a:gd name="T0" fmla="*/ 0 w 32"/>
                <a:gd name="T1" fmla="*/ 16 h 24"/>
                <a:gd name="T2" fmla="*/ 16 w 32"/>
                <a:gd name="T3" fmla="*/ 24 h 24"/>
                <a:gd name="T4" fmla="*/ 16 w 32"/>
                <a:gd name="T5" fmla="*/ 16 h 24"/>
                <a:gd name="T6" fmla="*/ 16 w 32"/>
                <a:gd name="T7" fmla="*/ 8 h 24"/>
                <a:gd name="T8" fmla="*/ 24 w 32"/>
                <a:gd name="T9" fmla="*/ 16 h 24"/>
                <a:gd name="T10" fmla="*/ 32 w 32"/>
                <a:gd name="T11" fmla="*/ 8 h 24"/>
                <a:gd name="T12" fmla="*/ 24 w 32"/>
                <a:gd name="T13" fmla="*/ 0 h 24"/>
                <a:gd name="T14" fmla="*/ 16 w 32"/>
                <a:gd name="T15" fmla="*/ 0 h 24"/>
                <a:gd name="T16" fmla="*/ 16 w 32"/>
                <a:gd name="T17" fmla="*/ 8 h 24"/>
                <a:gd name="T18" fmla="*/ 8 w 32"/>
                <a:gd name="T19" fmla="*/ 0 h 24"/>
                <a:gd name="T20" fmla="*/ 0 w 32"/>
                <a:gd name="T21"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4">
                  <a:moveTo>
                    <a:pt x="0" y="16"/>
                  </a:moveTo>
                  <a:lnTo>
                    <a:pt x="16" y="24"/>
                  </a:lnTo>
                  <a:lnTo>
                    <a:pt x="16" y="16"/>
                  </a:lnTo>
                  <a:lnTo>
                    <a:pt x="16" y="8"/>
                  </a:lnTo>
                  <a:lnTo>
                    <a:pt x="24" y="16"/>
                  </a:lnTo>
                  <a:lnTo>
                    <a:pt x="32" y="8"/>
                  </a:lnTo>
                  <a:lnTo>
                    <a:pt x="24" y="0"/>
                  </a:lnTo>
                  <a:lnTo>
                    <a:pt x="16" y="0"/>
                  </a:lnTo>
                  <a:lnTo>
                    <a:pt x="16" y="8"/>
                  </a:lnTo>
                  <a:lnTo>
                    <a:pt x="8" y="0"/>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28" name="Freeform 261">
              <a:extLst>
                <a:ext uri="{FF2B5EF4-FFF2-40B4-BE49-F238E27FC236}">
                  <a16:creationId xmlns:a16="http://schemas.microsoft.com/office/drawing/2014/main" id="{CA241D29-8426-7069-94AA-D6A96244F450}"/>
                </a:ext>
              </a:extLst>
            </p:cNvPr>
            <p:cNvSpPr>
              <a:spLocks/>
            </p:cNvSpPr>
            <p:nvPr/>
          </p:nvSpPr>
          <p:spPr bwMode="auto">
            <a:xfrm>
              <a:off x="7279116" y="1681480"/>
              <a:ext cx="244923" cy="264267"/>
            </a:xfrm>
            <a:custGeom>
              <a:avLst/>
              <a:gdLst>
                <a:gd name="T0" fmla="*/ 0 w 120"/>
                <a:gd name="T1" fmla="*/ 112 h 128"/>
                <a:gd name="T2" fmla="*/ 8 w 120"/>
                <a:gd name="T3" fmla="*/ 120 h 128"/>
                <a:gd name="T4" fmla="*/ 16 w 120"/>
                <a:gd name="T5" fmla="*/ 120 h 128"/>
                <a:gd name="T6" fmla="*/ 24 w 120"/>
                <a:gd name="T7" fmla="*/ 112 h 128"/>
                <a:gd name="T8" fmla="*/ 48 w 120"/>
                <a:gd name="T9" fmla="*/ 104 h 128"/>
                <a:gd name="T10" fmla="*/ 56 w 120"/>
                <a:gd name="T11" fmla="*/ 104 h 128"/>
                <a:gd name="T12" fmla="*/ 56 w 120"/>
                <a:gd name="T13" fmla="*/ 120 h 128"/>
                <a:gd name="T14" fmla="*/ 72 w 120"/>
                <a:gd name="T15" fmla="*/ 128 h 128"/>
                <a:gd name="T16" fmla="*/ 80 w 120"/>
                <a:gd name="T17" fmla="*/ 112 h 128"/>
                <a:gd name="T18" fmla="*/ 72 w 120"/>
                <a:gd name="T19" fmla="*/ 104 h 128"/>
                <a:gd name="T20" fmla="*/ 80 w 120"/>
                <a:gd name="T21" fmla="*/ 104 h 128"/>
                <a:gd name="T22" fmla="*/ 88 w 120"/>
                <a:gd name="T23" fmla="*/ 104 h 128"/>
                <a:gd name="T24" fmla="*/ 96 w 120"/>
                <a:gd name="T25" fmla="*/ 96 h 128"/>
                <a:gd name="T26" fmla="*/ 104 w 120"/>
                <a:gd name="T27" fmla="*/ 104 h 128"/>
                <a:gd name="T28" fmla="*/ 104 w 120"/>
                <a:gd name="T29" fmla="*/ 96 h 128"/>
                <a:gd name="T30" fmla="*/ 112 w 120"/>
                <a:gd name="T31" fmla="*/ 104 h 128"/>
                <a:gd name="T32" fmla="*/ 120 w 120"/>
                <a:gd name="T33" fmla="*/ 96 h 128"/>
                <a:gd name="T34" fmla="*/ 120 w 120"/>
                <a:gd name="T35" fmla="*/ 88 h 128"/>
                <a:gd name="T36" fmla="*/ 104 w 120"/>
                <a:gd name="T37" fmla="*/ 56 h 128"/>
                <a:gd name="T38" fmla="*/ 104 w 120"/>
                <a:gd name="T39" fmla="*/ 48 h 128"/>
                <a:gd name="T40" fmla="*/ 112 w 120"/>
                <a:gd name="T41" fmla="*/ 48 h 128"/>
                <a:gd name="T42" fmla="*/ 104 w 120"/>
                <a:gd name="T43" fmla="*/ 40 h 128"/>
                <a:gd name="T44" fmla="*/ 80 w 120"/>
                <a:gd name="T45" fmla="*/ 8 h 128"/>
                <a:gd name="T46" fmla="*/ 72 w 120"/>
                <a:gd name="T47" fmla="*/ 0 h 128"/>
                <a:gd name="T48" fmla="*/ 80 w 120"/>
                <a:gd name="T49" fmla="*/ 8 h 128"/>
                <a:gd name="T50" fmla="*/ 72 w 120"/>
                <a:gd name="T51" fmla="*/ 8 h 128"/>
                <a:gd name="T52" fmla="*/ 80 w 120"/>
                <a:gd name="T53" fmla="*/ 40 h 128"/>
                <a:gd name="T54" fmla="*/ 80 w 120"/>
                <a:gd name="T55" fmla="*/ 64 h 128"/>
                <a:gd name="T56" fmla="*/ 64 w 120"/>
                <a:gd name="T57" fmla="*/ 72 h 128"/>
                <a:gd name="T58" fmla="*/ 64 w 120"/>
                <a:gd name="T59" fmla="*/ 64 h 128"/>
                <a:gd name="T60" fmla="*/ 56 w 120"/>
                <a:gd name="T61" fmla="*/ 64 h 128"/>
                <a:gd name="T62" fmla="*/ 56 w 120"/>
                <a:gd name="T63" fmla="*/ 88 h 128"/>
                <a:gd name="T64" fmla="*/ 56 w 120"/>
                <a:gd name="T65" fmla="*/ 96 h 128"/>
                <a:gd name="T66" fmla="*/ 48 w 120"/>
                <a:gd name="T67" fmla="*/ 88 h 128"/>
                <a:gd name="T68" fmla="*/ 16 w 120"/>
                <a:gd name="T69" fmla="*/ 96 h 128"/>
                <a:gd name="T70" fmla="*/ 0 w 120"/>
                <a:gd name="T71" fmla="*/ 11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28">
                  <a:moveTo>
                    <a:pt x="0" y="112"/>
                  </a:moveTo>
                  <a:lnTo>
                    <a:pt x="8" y="120"/>
                  </a:lnTo>
                  <a:lnTo>
                    <a:pt x="16" y="120"/>
                  </a:lnTo>
                  <a:lnTo>
                    <a:pt x="24" y="112"/>
                  </a:lnTo>
                  <a:lnTo>
                    <a:pt x="48" y="104"/>
                  </a:lnTo>
                  <a:lnTo>
                    <a:pt x="56" y="104"/>
                  </a:lnTo>
                  <a:lnTo>
                    <a:pt x="56" y="120"/>
                  </a:lnTo>
                  <a:lnTo>
                    <a:pt x="72" y="128"/>
                  </a:lnTo>
                  <a:lnTo>
                    <a:pt x="80" y="112"/>
                  </a:lnTo>
                  <a:lnTo>
                    <a:pt x="72" y="104"/>
                  </a:lnTo>
                  <a:lnTo>
                    <a:pt x="80" y="104"/>
                  </a:lnTo>
                  <a:lnTo>
                    <a:pt x="88" y="104"/>
                  </a:lnTo>
                  <a:lnTo>
                    <a:pt x="96" y="96"/>
                  </a:lnTo>
                  <a:lnTo>
                    <a:pt x="104" y="104"/>
                  </a:lnTo>
                  <a:lnTo>
                    <a:pt x="104" y="96"/>
                  </a:lnTo>
                  <a:lnTo>
                    <a:pt x="112" y="104"/>
                  </a:lnTo>
                  <a:lnTo>
                    <a:pt x="120" y="96"/>
                  </a:lnTo>
                  <a:lnTo>
                    <a:pt x="120" y="88"/>
                  </a:lnTo>
                  <a:lnTo>
                    <a:pt x="104" y="56"/>
                  </a:lnTo>
                  <a:lnTo>
                    <a:pt x="104" y="48"/>
                  </a:lnTo>
                  <a:lnTo>
                    <a:pt x="112" y="48"/>
                  </a:lnTo>
                  <a:lnTo>
                    <a:pt x="104" y="40"/>
                  </a:lnTo>
                  <a:lnTo>
                    <a:pt x="80" y="8"/>
                  </a:lnTo>
                  <a:lnTo>
                    <a:pt x="72" y="0"/>
                  </a:lnTo>
                  <a:lnTo>
                    <a:pt x="80" y="8"/>
                  </a:lnTo>
                  <a:lnTo>
                    <a:pt x="72" y="8"/>
                  </a:lnTo>
                  <a:lnTo>
                    <a:pt x="80" y="40"/>
                  </a:lnTo>
                  <a:lnTo>
                    <a:pt x="80" y="64"/>
                  </a:lnTo>
                  <a:lnTo>
                    <a:pt x="64" y="72"/>
                  </a:lnTo>
                  <a:lnTo>
                    <a:pt x="64" y="64"/>
                  </a:lnTo>
                  <a:lnTo>
                    <a:pt x="56" y="64"/>
                  </a:lnTo>
                  <a:lnTo>
                    <a:pt x="56" y="88"/>
                  </a:lnTo>
                  <a:lnTo>
                    <a:pt x="56" y="96"/>
                  </a:lnTo>
                  <a:lnTo>
                    <a:pt x="48" y="88"/>
                  </a:lnTo>
                  <a:lnTo>
                    <a:pt x="16" y="96"/>
                  </a:lnTo>
                  <a:lnTo>
                    <a:pt x="0" y="11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29" name="Freeform 262">
              <a:extLst>
                <a:ext uri="{FF2B5EF4-FFF2-40B4-BE49-F238E27FC236}">
                  <a16:creationId xmlns:a16="http://schemas.microsoft.com/office/drawing/2014/main" id="{E147AC38-9A9B-2CC9-0BD0-DC9B9E5DE65B}"/>
                </a:ext>
              </a:extLst>
            </p:cNvPr>
            <p:cNvSpPr>
              <a:spLocks/>
            </p:cNvSpPr>
            <p:nvPr/>
          </p:nvSpPr>
          <p:spPr bwMode="auto">
            <a:xfrm>
              <a:off x="7376783" y="1566712"/>
              <a:ext cx="147255" cy="131379"/>
            </a:xfrm>
            <a:custGeom>
              <a:avLst/>
              <a:gdLst>
                <a:gd name="T0" fmla="*/ 8 w 72"/>
                <a:gd name="T1" fmla="*/ 40 h 64"/>
                <a:gd name="T2" fmla="*/ 16 w 72"/>
                <a:gd name="T3" fmla="*/ 64 h 64"/>
                <a:gd name="T4" fmla="*/ 24 w 72"/>
                <a:gd name="T5" fmla="*/ 56 h 64"/>
                <a:gd name="T6" fmla="*/ 16 w 72"/>
                <a:gd name="T7" fmla="*/ 40 h 64"/>
                <a:gd name="T8" fmla="*/ 24 w 72"/>
                <a:gd name="T9" fmla="*/ 48 h 64"/>
                <a:gd name="T10" fmla="*/ 32 w 72"/>
                <a:gd name="T11" fmla="*/ 40 h 64"/>
                <a:gd name="T12" fmla="*/ 48 w 72"/>
                <a:gd name="T13" fmla="*/ 48 h 64"/>
                <a:gd name="T14" fmla="*/ 56 w 72"/>
                <a:gd name="T15" fmla="*/ 40 h 64"/>
                <a:gd name="T16" fmla="*/ 64 w 72"/>
                <a:gd name="T17" fmla="*/ 40 h 64"/>
                <a:gd name="T18" fmla="*/ 72 w 72"/>
                <a:gd name="T19" fmla="*/ 32 h 64"/>
                <a:gd name="T20" fmla="*/ 64 w 72"/>
                <a:gd name="T21" fmla="*/ 32 h 64"/>
                <a:gd name="T22" fmla="*/ 56 w 72"/>
                <a:gd name="T23" fmla="*/ 24 h 64"/>
                <a:gd name="T24" fmla="*/ 56 w 72"/>
                <a:gd name="T25" fmla="*/ 16 h 64"/>
                <a:gd name="T26" fmla="*/ 48 w 72"/>
                <a:gd name="T27" fmla="*/ 24 h 64"/>
                <a:gd name="T28" fmla="*/ 40 w 72"/>
                <a:gd name="T29" fmla="*/ 16 h 64"/>
                <a:gd name="T30" fmla="*/ 0 w 72"/>
                <a:gd name="T31" fmla="*/ 0 h 64"/>
                <a:gd name="T32" fmla="*/ 8 w 72"/>
                <a:gd name="T33" fmla="*/ 8 h 64"/>
                <a:gd name="T34" fmla="*/ 16 w 72"/>
                <a:gd name="T35" fmla="*/ 32 h 64"/>
                <a:gd name="T36" fmla="*/ 8 w 72"/>
                <a:gd name="T37" fmla="*/ 32 h 64"/>
                <a:gd name="T38" fmla="*/ 8 w 72"/>
                <a:gd name="T39" fmla="*/ 4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64">
                  <a:moveTo>
                    <a:pt x="8" y="40"/>
                  </a:moveTo>
                  <a:lnTo>
                    <a:pt x="16" y="64"/>
                  </a:lnTo>
                  <a:lnTo>
                    <a:pt x="24" y="56"/>
                  </a:lnTo>
                  <a:lnTo>
                    <a:pt x="16" y="40"/>
                  </a:lnTo>
                  <a:lnTo>
                    <a:pt x="24" y="48"/>
                  </a:lnTo>
                  <a:lnTo>
                    <a:pt x="32" y="40"/>
                  </a:lnTo>
                  <a:lnTo>
                    <a:pt x="48" y="48"/>
                  </a:lnTo>
                  <a:lnTo>
                    <a:pt x="56" y="40"/>
                  </a:lnTo>
                  <a:lnTo>
                    <a:pt x="64" y="40"/>
                  </a:lnTo>
                  <a:lnTo>
                    <a:pt x="72" y="32"/>
                  </a:lnTo>
                  <a:lnTo>
                    <a:pt x="64" y="32"/>
                  </a:lnTo>
                  <a:lnTo>
                    <a:pt x="56" y="24"/>
                  </a:lnTo>
                  <a:lnTo>
                    <a:pt x="56" y="16"/>
                  </a:lnTo>
                  <a:lnTo>
                    <a:pt x="48" y="24"/>
                  </a:lnTo>
                  <a:lnTo>
                    <a:pt x="40" y="16"/>
                  </a:lnTo>
                  <a:lnTo>
                    <a:pt x="0" y="0"/>
                  </a:lnTo>
                  <a:lnTo>
                    <a:pt x="8" y="8"/>
                  </a:lnTo>
                  <a:lnTo>
                    <a:pt x="16" y="32"/>
                  </a:lnTo>
                  <a:lnTo>
                    <a:pt x="8" y="32"/>
                  </a:lnTo>
                  <a:lnTo>
                    <a:pt x="8" y="4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30" name="Line 263">
              <a:extLst>
                <a:ext uri="{FF2B5EF4-FFF2-40B4-BE49-F238E27FC236}">
                  <a16:creationId xmlns:a16="http://schemas.microsoft.com/office/drawing/2014/main" id="{BDEDE3F4-6A31-D242-6132-A253BE4C73AC}"/>
                </a:ext>
              </a:extLst>
            </p:cNvPr>
            <p:cNvSpPr>
              <a:spLocks noChangeShapeType="1"/>
            </p:cNvSpPr>
            <p:nvPr/>
          </p:nvSpPr>
          <p:spPr bwMode="auto">
            <a:xfrm flipV="1">
              <a:off x="7279129" y="2160181"/>
              <a:ext cx="15026" cy="16612"/>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31" name="Line 264">
              <a:extLst>
                <a:ext uri="{FF2B5EF4-FFF2-40B4-BE49-F238E27FC236}">
                  <a16:creationId xmlns:a16="http://schemas.microsoft.com/office/drawing/2014/main" id="{9C8747F1-B02F-C2C1-2682-6452C8145B3B}"/>
                </a:ext>
              </a:extLst>
            </p:cNvPr>
            <p:cNvSpPr>
              <a:spLocks noChangeShapeType="1"/>
            </p:cNvSpPr>
            <p:nvPr/>
          </p:nvSpPr>
          <p:spPr bwMode="auto">
            <a:xfrm flipV="1">
              <a:off x="7310675" y="2110348"/>
              <a:ext cx="3005" cy="1661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32" name="Line 265">
              <a:extLst>
                <a:ext uri="{FF2B5EF4-FFF2-40B4-BE49-F238E27FC236}">
                  <a16:creationId xmlns:a16="http://schemas.microsoft.com/office/drawing/2014/main" id="{FCFC6CC7-BB9A-79DC-92C0-1C19ECDD6364}"/>
                </a:ext>
              </a:extLst>
            </p:cNvPr>
            <p:cNvSpPr>
              <a:spLocks noChangeShapeType="1"/>
            </p:cNvSpPr>
            <p:nvPr/>
          </p:nvSpPr>
          <p:spPr bwMode="auto">
            <a:xfrm flipV="1">
              <a:off x="7507513" y="1616545"/>
              <a:ext cx="1502" cy="16612"/>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33" name="Freeform 266">
              <a:extLst>
                <a:ext uri="{FF2B5EF4-FFF2-40B4-BE49-F238E27FC236}">
                  <a16:creationId xmlns:a16="http://schemas.microsoft.com/office/drawing/2014/main" id="{DF7A2883-C8FB-44FD-717B-4ED77E49D058}"/>
                </a:ext>
              </a:extLst>
            </p:cNvPr>
            <p:cNvSpPr>
              <a:spLocks/>
            </p:cNvSpPr>
            <p:nvPr/>
          </p:nvSpPr>
          <p:spPr bwMode="auto">
            <a:xfrm>
              <a:off x="7524039" y="1566725"/>
              <a:ext cx="33058" cy="33223"/>
            </a:xfrm>
            <a:custGeom>
              <a:avLst/>
              <a:gdLst>
                <a:gd name="T0" fmla="*/ 0 w 16"/>
                <a:gd name="T1" fmla="*/ 16 h 16"/>
                <a:gd name="T2" fmla="*/ 16 w 16"/>
                <a:gd name="T3" fmla="*/ 0 h 16"/>
                <a:gd name="T4" fmla="*/ 8 w 16"/>
                <a:gd name="T5" fmla="*/ 0 h 16"/>
                <a:gd name="T6" fmla="*/ 0 w 16"/>
                <a:gd name="T7" fmla="*/ 16 h 16"/>
              </a:gdLst>
              <a:ahLst/>
              <a:cxnLst>
                <a:cxn ang="0">
                  <a:pos x="T0" y="T1"/>
                </a:cxn>
                <a:cxn ang="0">
                  <a:pos x="T2" y="T3"/>
                </a:cxn>
                <a:cxn ang="0">
                  <a:pos x="T4" y="T5"/>
                </a:cxn>
                <a:cxn ang="0">
                  <a:pos x="T6" y="T7"/>
                </a:cxn>
              </a:cxnLst>
              <a:rect l="0" t="0" r="r" b="b"/>
              <a:pathLst>
                <a:path w="16" h="16">
                  <a:moveTo>
                    <a:pt x="0" y="16"/>
                  </a:moveTo>
                  <a:lnTo>
                    <a:pt x="16" y="0"/>
                  </a:lnTo>
                  <a:lnTo>
                    <a:pt x="8" y="0"/>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34" name="Line 267">
              <a:extLst>
                <a:ext uri="{FF2B5EF4-FFF2-40B4-BE49-F238E27FC236}">
                  <a16:creationId xmlns:a16="http://schemas.microsoft.com/office/drawing/2014/main" id="{8E3370BB-A2B4-55DA-EB70-253246765C04}"/>
                </a:ext>
              </a:extLst>
            </p:cNvPr>
            <p:cNvSpPr>
              <a:spLocks noChangeShapeType="1"/>
            </p:cNvSpPr>
            <p:nvPr/>
          </p:nvSpPr>
          <p:spPr bwMode="auto">
            <a:xfrm flipV="1">
              <a:off x="7573627" y="1550114"/>
              <a:ext cx="1502" cy="33223"/>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35" name="Line 268">
              <a:extLst>
                <a:ext uri="{FF2B5EF4-FFF2-40B4-BE49-F238E27FC236}">
                  <a16:creationId xmlns:a16="http://schemas.microsoft.com/office/drawing/2014/main" id="{26CD7BD0-2BB9-684F-021F-CD3812E7D9F3}"/>
                </a:ext>
              </a:extLst>
            </p:cNvPr>
            <p:cNvSpPr>
              <a:spLocks noChangeShapeType="1"/>
            </p:cNvSpPr>
            <p:nvPr/>
          </p:nvSpPr>
          <p:spPr bwMode="auto">
            <a:xfrm>
              <a:off x="7590167" y="1533492"/>
              <a:ext cx="15026" cy="302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36" name="Freeform 269">
              <a:extLst>
                <a:ext uri="{FF2B5EF4-FFF2-40B4-BE49-F238E27FC236}">
                  <a16:creationId xmlns:a16="http://schemas.microsoft.com/office/drawing/2014/main" id="{585182A4-1243-7243-96FB-8C8CC92AC80C}"/>
                </a:ext>
              </a:extLst>
            </p:cNvPr>
            <p:cNvSpPr>
              <a:spLocks/>
            </p:cNvSpPr>
            <p:nvPr/>
          </p:nvSpPr>
          <p:spPr bwMode="auto">
            <a:xfrm>
              <a:off x="7605181" y="1402123"/>
              <a:ext cx="16530" cy="33223"/>
            </a:xfrm>
            <a:custGeom>
              <a:avLst/>
              <a:gdLst>
                <a:gd name="T0" fmla="*/ 0 w 8"/>
                <a:gd name="T1" fmla="*/ 8 h 16"/>
                <a:gd name="T2" fmla="*/ 0 w 8"/>
                <a:gd name="T3" fmla="*/ 16 h 16"/>
                <a:gd name="T4" fmla="*/ 8 w 8"/>
                <a:gd name="T5" fmla="*/ 8 h 16"/>
                <a:gd name="T6" fmla="*/ 0 w 8"/>
                <a:gd name="T7" fmla="*/ 0 h 16"/>
                <a:gd name="T8" fmla="*/ 0 w 8"/>
                <a:gd name="T9" fmla="*/ 8 h 16"/>
              </a:gdLst>
              <a:ahLst/>
              <a:cxnLst>
                <a:cxn ang="0">
                  <a:pos x="T0" y="T1"/>
                </a:cxn>
                <a:cxn ang="0">
                  <a:pos x="T2" y="T3"/>
                </a:cxn>
                <a:cxn ang="0">
                  <a:pos x="T4" y="T5"/>
                </a:cxn>
                <a:cxn ang="0">
                  <a:pos x="T6" y="T7"/>
                </a:cxn>
                <a:cxn ang="0">
                  <a:pos x="T8" y="T9"/>
                </a:cxn>
              </a:cxnLst>
              <a:rect l="0" t="0" r="r" b="b"/>
              <a:pathLst>
                <a:path w="8" h="16">
                  <a:moveTo>
                    <a:pt x="0" y="8"/>
                  </a:moveTo>
                  <a:lnTo>
                    <a:pt x="0" y="16"/>
                  </a:lnTo>
                  <a:lnTo>
                    <a:pt x="8" y="8"/>
                  </a:lnTo>
                  <a:lnTo>
                    <a:pt x="0"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37" name="Freeform 270">
              <a:extLst>
                <a:ext uri="{FF2B5EF4-FFF2-40B4-BE49-F238E27FC236}">
                  <a16:creationId xmlns:a16="http://schemas.microsoft.com/office/drawing/2014/main" id="{80A617FE-BBF7-3370-D592-5FEDC9D31F63}"/>
                </a:ext>
              </a:extLst>
            </p:cNvPr>
            <p:cNvSpPr>
              <a:spLocks/>
            </p:cNvSpPr>
            <p:nvPr/>
          </p:nvSpPr>
          <p:spPr bwMode="auto">
            <a:xfrm>
              <a:off x="7557096" y="1154452"/>
              <a:ext cx="16530" cy="16612"/>
            </a:xfrm>
            <a:custGeom>
              <a:avLst/>
              <a:gdLst>
                <a:gd name="T0" fmla="*/ 0 w 8"/>
                <a:gd name="T1" fmla="*/ 8 h 8"/>
                <a:gd name="T2" fmla="*/ 8 w 8"/>
                <a:gd name="T3" fmla="*/ 8 h 8"/>
                <a:gd name="T4" fmla="*/ 0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8" y="8"/>
                  </a:lnTo>
                  <a:lnTo>
                    <a:pt x="0"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38" name="Freeform 271">
              <a:extLst>
                <a:ext uri="{FF2B5EF4-FFF2-40B4-BE49-F238E27FC236}">
                  <a16:creationId xmlns:a16="http://schemas.microsoft.com/office/drawing/2014/main" id="{E6BBABD9-F3CC-EC67-FF07-4168D93F59C1}"/>
                </a:ext>
              </a:extLst>
            </p:cNvPr>
            <p:cNvSpPr>
              <a:spLocks/>
            </p:cNvSpPr>
            <p:nvPr/>
          </p:nvSpPr>
          <p:spPr bwMode="auto">
            <a:xfrm>
              <a:off x="7441397" y="825257"/>
              <a:ext cx="66114" cy="16612"/>
            </a:xfrm>
            <a:custGeom>
              <a:avLst/>
              <a:gdLst>
                <a:gd name="T0" fmla="*/ 8 w 32"/>
                <a:gd name="T1" fmla="*/ 8 h 8"/>
                <a:gd name="T2" fmla="*/ 32 w 32"/>
                <a:gd name="T3" fmla="*/ 0 h 8"/>
                <a:gd name="T4" fmla="*/ 0 w 32"/>
                <a:gd name="T5" fmla="*/ 0 h 8"/>
              </a:gdLst>
              <a:ahLst/>
              <a:cxnLst>
                <a:cxn ang="0">
                  <a:pos x="T0" y="T1"/>
                </a:cxn>
                <a:cxn ang="0">
                  <a:pos x="T2" y="T3"/>
                </a:cxn>
                <a:cxn ang="0">
                  <a:pos x="T4" y="T5"/>
                </a:cxn>
              </a:cxnLst>
              <a:rect l="0" t="0" r="r" b="b"/>
              <a:pathLst>
                <a:path w="32" h="8">
                  <a:moveTo>
                    <a:pt x="8" y="8"/>
                  </a:moveTo>
                  <a:lnTo>
                    <a:pt x="32" y="0"/>
                  </a:lnTo>
                  <a:lnTo>
                    <a:pt x="0" y="0"/>
                  </a:lnTo>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39" name="Freeform 272">
              <a:extLst>
                <a:ext uri="{FF2B5EF4-FFF2-40B4-BE49-F238E27FC236}">
                  <a16:creationId xmlns:a16="http://schemas.microsoft.com/office/drawing/2014/main" id="{F6C918CB-3F8A-1DFE-C4FB-CCD8D89127DE}"/>
                </a:ext>
              </a:extLst>
            </p:cNvPr>
            <p:cNvSpPr>
              <a:spLocks/>
            </p:cNvSpPr>
            <p:nvPr/>
          </p:nvSpPr>
          <p:spPr bwMode="auto">
            <a:xfrm>
              <a:off x="6623983" y="760316"/>
              <a:ext cx="64612" cy="16611"/>
            </a:xfrm>
            <a:custGeom>
              <a:avLst/>
              <a:gdLst>
                <a:gd name="T0" fmla="*/ 0 w 32"/>
                <a:gd name="T1" fmla="*/ 8 h 8"/>
                <a:gd name="T2" fmla="*/ 32 w 32"/>
                <a:gd name="T3" fmla="*/ 8 h 8"/>
                <a:gd name="T4" fmla="*/ 8 w 32"/>
                <a:gd name="T5" fmla="*/ 0 h 8"/>
                <a:gd name="T6" fmla="*/ 0 w 32"/>
                <a:gd name="T7" fmla="*/ 0 h 8"/>
                <a:gd name="T8" fmla="*/ 0 w 32"/>
                <a:gd name="T9" fmla="*/ 8 h 8"/>
              </a:gdLst>
              <a:ahLst/>
              <a:cxnLst>
                <a:cxn ang="0">
                  <a:pos x="T0" y="T1"/>
                </a:cxn>
                <a:cxn ang="0">
                  <a:pos x="T2" y="T3"/>
                </a:cxn>
                <a:cxn ang="0">
                  <a:pos x="T4" y="T5"/>
                </a:cxn>
                <a:cxn ang="0">
                  <a:pos x="T6" y="T7"/>
                </a:cxn>
                <a:cxn ang="0">
                  <a:pos x="T8" y="T9"/>
                </a:cxn>
              </a:cxnLst>
              <a:rect l="0" t="0" r="r" b="b"/>
              <a:pathLst>
                <a:path w="32" h="8">
                  <a:moveTo>
                    <a:pt x="0" y="8"/>
                  </a:moveTo>
                  <a:lnTo>
                    <a:pt x="32" y="8"/>
                  </a:lnTo>
                  <a:lnTo>
                    <a:pt x="8" y="0"/>
                  </a:lnTo>
                  <a:lnTo>
                    <a:pt x="0"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40" name="Line 273">
              <a:extLst>
                <a:ext uri="{FF2B5EF4-FFF2-40B4-BE49-F238E27FC236}">
                  <a16:creationId xmlns:a16="http://schemas.microsoft.com/office/drawing/2014/main" id="{5AC10335-38D3-2E87-81CB-98532A0B5B5D}"/>
                </a:ext>
              </a:extLst>
            </p:cNvPr>
            <p:cNvSpPr>
              <a:spLocks noChangeShapeType="1"/>
            </p:cNvSpPr>
            <p:nvPr/>
          </p:nvSpPr>
          <p:spPr bwMode="auto">
            <a:xfrm>
              <a:off x="7441397" y="841861"/>
              <a:ext cx="16528" cy="1661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41" name="Line 274">
              <a:extLst>
                <a:ext uri="{FF2B5EF4-FFF2-40B4-BE49-F238E27FC236}">
                  <a16:creationId xmlns:a16="http://schemas.microsoft.com/office/drawing/2014/main" id="{4F5F1B9E-7386-3DC9-59A5-08F4FC9E7924}"/>
                </a:ext>
              </a:extLst>
            </p:cNvPr>
            <p:cNvSpPr>
              <a:spLocks noChangeShapeType="1"/>
            </p:cNvSpPr>
            <p:nvPr/>
          </p:nvSpPr>
          <p:spPr bwMode="auto">
            <a:xfrm>
              <a:off x="6590922" y="776926"/>
              <a:ext cx="16528" cy="1510"/>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42" name="Freeform 275">
              <a:extLst>
                <a:ext uri="{FF2B5EF4-FFF2-40B4-BE49-F238E27FC236}">
                  <a16:creationId xmlns:a16="http://schemas.microsoft.com/office/drawing/2014/main" id="{0755AD67-EC51-B017-FF46-ED3886556DF3}"/>
                </a:ext>
              </a:extLst>
            </p:cNvPr>
            <p:cNvSpPr>
              <a:spLocks/>
            </p:cNvSpPr>
            <p:nvPr/>
          </p:nvSpPr>
          <p:spPr bwMode="auto">
            <a:xfrm>
              <a:off x="6657050" y="727092"/>
              <a:ext cx="97670" cy="16611"/>
            </a:xfrm>
            <a:custGeom>
              <a:avLst/>
              <a:gdLst>
                <a:gd name="T0" fmla="*/ 0 w 48"/>
                <a:gd name="T1" fmla="*/ 0 h 8"/>
                <a:gd name="T2" fmla="*/ 48 w 48"/>
                <a:gd name="T3" fmla="*/ 8 h 8"/>
                <a:gd name="T4" fmla="*/ 48 w 48"/>
                <a:gd name="T5" fmla="*/ 0 h 8"/>
                <a:gd name="T6" fmla="*/ 0 w 48"/>
                <a:gd name="T7" fmla="*/ 0 h 8"/>
              </a:gdLst>
              <a:ahLst/>
              <a:cxnLst>
                <a:cxn ang="0">
                  <a:pos x="T0" y="T1"/>
                </a:cxn>
                <a:cxn ang="0">
                  <a:pos x="T2" y="T3"/>
                </a:cxn>
                <a:cxn ang="0">
                  <a:pos x="T4" y="T5"/>
                </a:cxn>
                <a:cxn ang="0">
                  <a:pos x="T6" y="T7"/>
                </a:cxn>
              </a:cxnLst>
              <a:rect l="0" t="0" r="r" b="b"/>
              <a:pathLst>
                <a:path w="48" h="8">
                  <a:moveTo>
                    <a:pt x="0" y="0"/>
                  </a:moveTo>
                  <a:lnTo>
                    <a:pt x="48" y="8"/>
                  </a:lnTo>
                  <a:lnTo>
                    <a:pt x="4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43" name="Freeform 276">
              <a:extLst>
                <a:ext uri="{FF2B5EF4-FFF2-40B4-BE49-F238E27FC236}">
                  <a16:creationId xmlns:a16="http://schemas.microsoft.com/office/drawing/2014/main" id="{D15CCFE5-C364-E802-8EC4-8BF8BE4858D0}"/>
                </a:ext>
              </a:extLst>
            </p:cNvPr>
            <p:cNvSpPr>
              <a:spLocks/>
            </p:cNvSpPr>
            <p:nvPr/>
          </p:nvSpPr>
          <p:spPr bwMode="auto">
            <a:xfrm>
              <a:off x="6476730" y="710489"/>
              <a:ext cx="163783" cy="33223"/>
            </a:xfrm>
            <a:custGeom>
              <a:avLst/>
              <a:gdLst>
                <a:gd name="T0" fmla="*/ 8 w 80"/>
                <a:gd name="T1" fmla="*/ 8 h 16"/>
                <a:gd name="T2" fmla="*/ 40 w 80"/>
                <a:gd name="T3" fmla="*/ 16 h 16"/>
                <a:gd name="T4" fmla="*/ 72 w 80"/>
                <a:gd name="T5" fmla="*/ 16 h 16"/>
                <a:gd name="T6" fmla="*/ 80 w 80"/>
                <a:gd name="T7" fmla="*/ 8 h 16"/>
                <a:gd name="T8" fmla="*/ 40 w 80"/>
                <a:gd name="T9" fmla="*/ 0 h 16"/>
                <a:gd name="T10" fmla="*/ 8 w 80"/>
                <a:gd name="T11" fmla="*/ 0 h 16"/>
                <a:gd name="T12" fmla="*/ 0 w 80"/>
                <a:gd name="T13" fmla="*/ 0 h 16"/>
                <a:gd name="T14" fmla="*/ 8 w 80"/>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6">
                  <a:moveTo>
                    <a:pt x="8" y="8"/>
                  </a:moveTo>
                  <a:lnTo>
                    <a:pt x="40" y="16"/>
                  </a:lnTo>
                  <a:lnTo>
                    <a:pt x="72" y="16"/>
                  </a:lnTo>
                  <a:lnTo>
                    <a:pt x="80" y="8"/>
                  </a:lnTo>
                  <a:lnTo>
                    <a:pt x="40" y="0"/>
                  </a:lnTo>
                  <a:lnTo>
                    <a:pt x="8" y="0"/>
                  </a:lnTo>
                  <a:lnTo>
                    <a:pt x="0" y="0"/>
                  </a:lnTo>
                  <a:lnTo>
                    <a:pt x="8"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44" name="Freeform 277">
              <a:extLst>
                <a:ext uri="{FF2B5EF4-FFF2-40B4-BE49-F238E27FC236}">
                  <a16:creationId xmlns:a16="http://schemas.microsoft.com/office/drawing/2014/main" id="{4107FCB8-0AF2-C00B-C100-7CFEAEECE9BB}"/>
                </a:ext>
              </a:extLst>
            </p:cNvPr>
            <p:cNvSpPr>
              <a:spLocks/>
            </p:cNvSpPr>
            <p:nvPr/>
          </p:nvSpPr>
          <p:spPr bwMode="auto">
            <a:xfrm>
              <a:off x="5738961" y="628937"/>
              <a:ext cx="82644" cy="31713"/>
            </a:xfrm>
            <a:custGeom>
              <a:avLst/>
              <a:gdLst>
                <a:gd name="T0" fmla="*/ 0 w 40"/>
                <a:gd name="T1" fmla="*/ 16 h 16"/>
                <a:gd name="T2" fmla="*/ 40 w 40"/>
                <a:gd name="T3" fmla="*/ 16 h 16"/>
                <a:gd name="T4" fmla="*/ 32 w 40"/>
                <a:gd name="T5" fmla="*/ 8 h 16"/>
                <a:gd name="T6" fmla="*/ 8 w 40"/>
                <a:gd name="T7" fmla="*/ 0 h 16"/>
                <a:gd name="T8" fmla="*/ 0 w 40"/>
                <a:gd name="T9" fmla="*/ 0 h 16"/>
                <a:gd name="T10" fmla="*/ 0 w 40"/>
                <a:gd name="T11" fmla="*/ 16 h 16"/>
              </a:gdLst>
              <a:ahLst/>
              <a:cxnLst>
                <a:cxn ang="0">
                  <a:pos x="T0" y="T1"/>
                </a:cxn>
                <a:cxn ang="0">
                  <a:pos x="T2" y="T3"/>
                </a:cxn>
                <a:cxn ang="0">
                  <a:pos x="T4" y="T5"/>
                </a:cxn>
                <a:cxn ang="0">
                  <a:pos x="T6" y="T7"/>
                </a:cxn>
                <a:cxn ang="0">
                  <a:pos x="T8" y="T9"/>
                </a:cxn>
                <a:cxn ang="0">
                  <a:pos x="T10" y="T11"/>
                </a:cxn>
              </a:cxnLst>
              <a:rect l="0" t="0" r="r" b="b"/>
              <a:pathLst>
                <a:path w="40" h="16">
                  <a:moveTo>
                    <a:pt x="0" y="16"/>
                  </a:moveTo>
                  <a:lnTo>
                    <a:pt x="40" y="16"/>
                  </a:lnTo>
                  <a:lnTo>
                    <a:pt x="32" y="8"/>
                  </a:lnTo>
                  <a:lnTo>
                    <a:pt x="8" y="0"/>
                  </a:lnTo>
                  <a:lnTo>
                    <a:pt x="0" y="0"/>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45" name="Freeform 278">
              <a:extLst>
                <a:ext uri="{FF2B5EF4-FFF2-40B4-BE49-F238E27FC236}">
                  <a16:creationId xmlns:a16="http://schemas.microsoft.com/office/drawing/2014/main" id="{3CE82328-F63C-021E-5F48-0B5B7E347E53}"/>
                </a:ext>
              </a:extLst>
            </p:cNvPr>
            <p:cNvSpPr>
              <a:spLocks/>
            </p:cNvSpPr>
            <p:nvPr/>
          </p:nvSpPr>
          <p:spPr bwMode="auto">
            <a:xfrm>
              <a:off x="5543607" y="595714"/>
              <a:ext cx="178810" cy="48322"/>
            </a:xfrm>
            <a:custGeom>
              <a:avLst/>
              <a:gdLst>
                <a:gd name="T0" fmla="*/ 0 w 88"/>
                <a:gd name="T1" fmla="*/ 8 h 24"/>
                <a:gd name="T2" fmla="*/ 40 w 88"/>
                <a:gd name="T3" fmla="*/ 24 h 24"/>
                <a:gd name="T4" fmla="*/ 88 w 88"/>
                <a:gd name="T5" fmla="*/ 24 h 24"/>
                <a:gd name="T6" fmla="*/ 80 w 88"/>
                <a:gd name="T7" fmla="*/ 16 h 24"/>
                <a:gd name="T8" fmla="*/ 24 w 88"/>
                <a:gd name="T9" fmla="*/ 0 h 24"/>
                <a:gd name="T10" fmla="*/ 8 w 88"/>
                <a:gd name="T11" fmla="*/ 0 h 24"/>
                <a:gd name="T12" fmla="*/ 8 w 88"/>
                <a:gd name="T13" fmla="*/ 8 h 24"/>
                <a:gd name="T14" fmla="*/ 0 w 88"/>
                <a:gd name="T15" fmla="*/ 8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24">
                  <a:moveTo>
                    <a:pt x="0" y="8"/>
                  </a:moveTo>
                  <a:lnTo>
                    <a:pt x="40" y="24"/>
                  </a:lnTo>
                  <a:lnTo>
                    <a:pt x="88" y="24"/>
                  </a:lnTo>
                  <a:lnTo>
                    <a:pt x="80" y="16"/>
                  </a:lnTo>
                  <a:lnTo>
                    <a:pt x="24" y="0"/>
                  </a:lnTo>
                  <a:lnTo>
                    <a:pt x="8" y="0"/>
                  </a:lnTo>
                  <a:lnTo>
                    <a:pt x="8" y="8"/>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46" name="Freeform 279">
              <a:extLst>
                <a:ext uri="{FF2B5EF4-FFF2-40B4-BE49-F238E27FC236}">
                  <a16:creationId xmlns:a16="http://schemas.microsoft.com/office/drawing/2014/main" id="{A580A8B3-2FC9-B889-7391-B9A62C0E83D8}"/>
                </a:ext>
              </a:extLst>
            </p:cNvPr>
            <p:cNvSpPr>
              <a:spLocks/>
            </p:cNvSpPr>
            <p:nvPr/>
          </p:nvSpPr>
          <p:spPr bwMode="auto">
            <a:xfrm>
              <a:off x="4953100" y="693886"/>
              <a:ext cx="279483" cy="147989"/>
            </a:xfrm>
            <a:custGeom>
              <a:avLst/>
              <a:gdLst>
                <a:gd name="T0" fmla="*/ 8 w 136"/>
                <a:gd name="T1" fmla="*/ 64 h 72"/>
                <a:gd name="T2" fmla="*/ 32 w 136"/>
                <a:gd name="T3" fmla="*/ 72 h 72"/>
                <a:gd name="T4" fmla="*/ 64 w 136"/>
                <a:gd name="T5" fmla="*/ 72 h 72"/>
                <a:gd name="T6" fmla="*/ 48 w 136"/>
                <a:gd name="T7" fmla="*/ 64 h 72"/>
                <a:gd name="T8" fmla="*/ 40 w 136"/>
                <a:gd name="T9" fmla="*/ 48 h 72"/>
                <a:gd name="T10" fmla="*/ 72 w 136"/>
                <a:gd name="T11" fmla="*/ 16 h 72"/>
                <a:gd name="T12" fmla="*/ 136 w 136"/>
                <a:gd name="T13" fmla="*/ 8 h 72"/>
                <a:gd name="T14" fmla="*/ 128 w 136"/>
                <a:gd name="T15" fmla="*/ 0 h 72"/>
                <a:gd name="T16" fmla="*/ 120 w 136"/>
                <a:gd name="T17" fmla="*/ 0 h 72"/>
                <a:gd name="T18" fmla="*/ 104 w 136"/>
                <a:gd name="T19" fmla="*/ 0 h 72"/>
                <a:gd name="T20" fmla="*/ 64 w 136"/>
                <a:gd name="T21" fmla="*/ 8 h 72"/>
                <a:gd name="T22" fmla="*/ 24 w 136"/>
                <a:gd name="T23" fmla="*/ 16 h 72"/>
                <a:gd name="T24" fmla="*/ 24 w 136"/>
                <a:gd name="T25" fmla="*/ 32 h 72"/>
                <a:gd name="T26" fmla="*/ 16 w 136"/>
                <a:gd name="T27" fmla="*/ 32 h 72"/>
                <a:gd name="T28" fmla="*/ 24 w 136"/>
                <a:gd name="T29" fmla="*/ 40 h 72"/>
                <a:gd name="T30" fmla="*/ 8 w 136"/>
                <a:gd name="T31" fmla="*/ 48 h 72"/>
                <a:gd name="T32" fmla="*/ 16 w 136"/>
                <a:gd name="T33" fmla="*/ 48 h 72"/>
                <a:gd name="T34" fmla="*/ 0 w 136"/>
                <a:gd name="T35" fmla="*/ 56 h 72"/>
                <a:gd name="T36" fmla="*/ 8 w 136"/>
                <a:gd name="T37"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6" h="72">
                  <a:moveTo>
                    <a:pt x="8" y="64"/>
                  </a:moveTo>
                  <a:lnTo>
                    <a:pt x="32" y="72"/>
                  </a:lnTo>
                  <a:lnTo>
                    <a:pt x="64" y="72"/>
                  </a:lnTo>
                  <a:lnTo>
                    <a:pt x="48" y="64"/>
                  </a:lnTo>
                  <a:lnTo>
                    <a:pt x="40" y="48"/>
                  </a:lnTo>
                  <a:lnTo>
                    <a:pt x="72" y="16"/>
                  </a:lnTo>
                  <a:lnTo>
                    <a:pt x="136" y="8"/>
                  </a:lnTo>
                  <a:lnTo>
                    <a:pt x="128" y="0"/>
                  </a:lnTo>
                  <a:lnTo>
                    <a:pt x="120" y="0"/>
                  </a:lnTo>
                  <a:lnTo>
                    <a:pt x="104" y="0"/>
                  </a:lnTo>
                  <a:lnTo>
                    <a:pt x="64" y="8"/>
                  </a:lnTo>
                  <a:lnTo>
                    <a:pt x="24" y="16"/>
                  </a:lnTo>
                  <a:lnTo>
                    <a:pt x="24" y="32"/>
                  </a:lnTo>
                  <a:lnTo>
                    <a:pt x="16" y="32"/>
                  </a:lnTo>
                  <a:lnTo>
                    <a:pt x="24" y="40"/>
                  </a:lnTo>
                  <a:lnTo>
                    <a:pt x="8" y="48"/>
                  </a:lnTo>
                  <a:lnTo>
                    <a:pt x="16" y="48"/>
                  </a:lnTo>
                  <a:lnTo>
                    <a:pt x="0" y="56"/>
                  </a:lnTo>
                  <a:lnTo>
                    <a:pt x="8" y="6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47" name="Freeform 280">
              <a:extLst>
                <a:ext uri="{FF2B5EF4-FFF2-40B4-BE49-F238E27FC236}">
                  <a16:creationId xmlns:a16="http://schemas.microsoft.com/office/drawing/2014/main" id="{70D3BDA7-5F71-667D-B6D6-6C4F96551F33}"/>
                </a:ext>
              </a:extLst>
            </p:cNvPr>
            <p:cNvSpPr>
              <a:spLocks/>
            </p:cNvSpPr>
            <p:nvPr/>
          </p:nvSpPr>
          <p:spPr bwMode="auto">
            <a:xfrm>
              <a:off x="4921534" y="875083"/>
              <a:ext cx="48086" cy="16611"/>
            </a:xfrm>
            <a:custGeom>
              <a:avLst/>
              <a:gdLst>
                <a:gd name="T0" fmla="*/ 8 w 24"/>
                <a:gd name="T1" fmla="*/ 8 h 8"/>
                <a:gd name="T2" fmla="*/ 16 w 24"/>
                <a:gd name="T3" fmla="*/ 8 h 8"/>
                <a:gd name="T4" fmla="*/ 24 w 24"/>
                <a:gd name="T5" fmla="*/ 0 h 8"/>
                <a:gd name="T6" fmla="*/ 8 w 24"/>
                <a:gd name="T7" fmla="*/ 0 h 8"/>
                <a:gd name="T8" fmla="*/ 0 w 24"/>
                <a:gd name="T9" fmla="*/ 0 h 8"/>
                <a:gd name="T10" fmla="*/ 8 w 24"/>
                <a:gd name="T11" fmla="*/ 8 h 8"/>
              </a:gdLst>
              <a:ahLst/>
              <a:cxnLst>
                <a:cxn ang="0">
                  <a:pos x="T0" y="T1"/>
                </a:cxn>
                <a:cxn ang="0">
                  <a:pos x="T2" y="T3"/>
                </a:cxn>
                <a:cxn ang="0">
                  <a:pos x="T4" y="T5"/>
                </a:cxn>
                <a:cxn ang="0">
                  <a:pos x="T6" y="T7"/>
                </a:cxn>
                <a:cxn ang="0">
                  <a:pos x="T8" y="T9"/>
                </a:cxn>
                <a:cxn ang="0">
                  <a:pos x="T10" y="T11"/>
                </a:cxn>
              </a:cxnLst>
              <a:rect l="0" t="0" r="r" b="b"/>
              <a:pathLst>
                <a:path w="24" h="8">
                  <a:moveTo>
                    <a:pt x="8" y="8"/>
                  </a:moveTo>
                  <a:lnTo>
                    <a:pt x="16" y="8"/>
                  </a:lnTo>
                  <a:lnTo>
                    <a:pt x="24" y="0"/>
                  </a:lnTo>
                  <a:lnTo>
                    <a:pt x="8" y="0"/>
                  </a:lnTo>
                  <a:lnTo>
                    <a:pt x="0" y="0"/>
                  </a:lnTo>
                  <a:lnTo>
                    <a:pt x="8"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48" name="Freeform 281">
              <a:extLst>
                <a:ext uri="{FF2B5EF4-FFF2-40B4-BE49-F238E27FC236}">
                  <a16:creationId xmlns:a16="http://schemas.microsoft.com/office/drawing/2014/main" id="{5C0FDD42-E111-5D39-A432-452307119717}"/>
                </a:ext>
              </a:extLst>
            </p:cNvPr>
            <p:cNvSpPr>
              <a:spLocks/>
            </p:cNvSpPr>
            <p:nvPr/>
          </p:nvSpPr>
          <p:spPr bwMode="auto">
            <a:xfrm>
              <a:off x="4953088" y="595722"/>
              <a:ext cx="132230" cy="16612"/>
            </a:xfrm>
            <a:custGeom>
              <a:avLst/>
              <a:gdLst>
                <a:gd name="T0" fmla="*/ 0 w 64"/>
                <a:gd name="T1" fmla="*/ 8 h 8"/>
                <a:gd name="T2" fmla="*/ 40 w 64"/>
                <a:gd name="T3" fmla="*/ 8 h 8"/>
                <a:gd name="T4" fmla="*/ 48 w 64"/>
                <a:gd name="T5" fmla="*/ 8 h 8"/>
                <a:gd name="T6" fmla="*/ 40 w 64"/>
                <a:gd name="T7" fmla="*/ 0 h 8"/>
                <a:gd name="T8" fmla="*/ 64 w 64"/>
                <a:gd name="T9" fmla="*/ 0 h 8"/>
                <a:gd name="T10" fmla="*/ 56 w 64"/>
                <a:gd name="T11" fmla="*/ 0 h 8"/>
                <a:gd name="T12" fmla="*/ 0 w 6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0" y="8"/>
                  </a:moveTo>
                  <a:lnTo>
                    <a:pt x="40" y="8"/>
                  </a:lnTo>
                  <a:lnTo>
                    <a:pt x="48" y="8"/>
                  </a:lnTo>
                  <a:lnTo>
                    <a:pt x="40" y="0"/>
                  </a:lnTo>
                  <a:lnTo>
                    <a:pt x="64" y="0"/>
                  </a:lnTo>
                  <a:lnTo>
                    <a:pt x="56"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49" name="Freeform 282">
              <a:extLst>
                <a:ext uri="{FF2B5EF4-FFF2-40B4-BE49-F238E27FC236}">
                  <a16:creationId xmlns:a16="http://schemas.microsoft.com/office/drawing/2014/main" id="{C2D76E60-6A35-E3A7-FC58-974FC2FBBFC4}"/>
                </a:ext>
              </a:extLst>
            </p:cNvPr>
            <p:cNvSpPr>
              <a:spLocks/>
            </p:cNvSpPr>
            <p:nvPr/>
          </p:nvSpPr>
          <p:spPr bwMode="auto">
            <a:xfrm>
              <a:off x="4905006" y="579104"/>
              <a:ext cx="81140" cy="16611"/>
            </a:xfrm>
            <a:custGeom>
              <a:avLst/>
              <a:gdLst>
                <a:gd name="T0" fmla="*/ 0 w 40"/>
                <a:gd name="T1" fmla="*/ 8 h 8"/>
                <a:gd name="T2" fmla="*/ 40 w 40"/>
                <a:gd name="T3" fmla="*/ 8 h 8"/>
                <a:gd name="T4" fmla="*/ 32 w 40"/>
                <a:gd name="T5" fmla="*/ 8 h 8"/>
                <a:gd name="T6" fmla="*/ 32 w 40"/>
                <a:gd name="T7" fmla="*/ 0 h 8"/>
                <a:gd name="T8" fmla="*/ 16 w 40"/>
                <a:gd name="T9" fmla="*/ 8 h 8"/>
                <a:gd name="T10" fmla="*/ 0 w 40"/>
                <a:gd name="T11" fmla="*/ 8 h 8"/>
              </a:gdLst>
              <a:ahLst/>
              <a:cxnLst>
                <a:cxn ang="0">
                  <a:pos x="T0" y="T1"/>
                </a:cxn>
                <a:cxn ang="0">
                  <a:pos x="T2" y="T3"/>
                </a:cxn>
                <a:cxn ang="0">
                  <a:pos x="T4" y="T5"/>
                </a:cxn>
                <a:cxn ang="0">
                  <a:pos x="T6" y="T7"/>
                </a:cxn>
                <a:cxn ang="0">
                  <a:pos x="T8" y="T9"/>
                </a:cxn>
                <a:cxn ang="0">
                  <a:pos x="T10" y="T11"/>
                </a:cxn>
              </a:cxnLst>
              <a:rect l="0" t="0" r="r" b="b"/>
              <a:pathLst>
                <a:path w="40" h="8">
                  <a:moveTo>
                    <a:pt x="0" y="8"/>
                  </a:moveTo>
                  <a:lnTo>
                    <a:pt x="40" y="8"/>
                  </a:lnTo>
                  <a:lnTo>
                    <a:pt x="32" y="8"/>
                  </a:lnTo>
                  <a:lnTo>
                    <a:pt x="32" y="0"/>
                  </a:lnTo>
                  <a:lnTo>
                    <a:pt x="16" y="8"/>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50" name="Freeform 283">
              <a:extLst>
                <a:ext uri="{FF2B5EF4-FFF2-40B4-BE49-F238E27FC236}">
                  <a16:creationId xmlns:a16="http://schemas.microsoft.com/office/drawing/2014/main" id="{C9168853-24AA-0EF4-206A-44F7841FCA28}"/>
                </a:ext>
              </a:extLst>
            </p:cNvPr>
            <p:cNvSpPr>
              <a:spLocks/>
            </p:cNvSpPr>
            <p:nvPr/>
          </p:nvSpPr>
          <p:spPr bwMode="auto">
            <a:xfrm>
              <a:off x="4741217" y="595722"/>
              <a:ext cx="114199" cy="16612"/>
            </a:xfrm>
            <a:custGeom>
              <a:avLst/>
              <a:gdLst>
                <a:gd name="T0" fmla="*/ 0 w 56"/>
                <a:gd name="T1" fmla="*/ 8 h 8"/>
                <a:gd name="T2" fmla="*/ 40 w 56"/>
                <a:gd name="T3" fmla="*/ 8 h 8"/>
                <a:gd name="T4" fmla="*/ 48 w 56"/>
                <a:gd name="T5" fmla="*/ 8 h 8"/>
                <a:gd name="T6" fmla="*/ 56 w 56"/>
                <a:gd name="T7" fmla="*/ 8 h 8"/>
                <a:gd name="T8" fmla="*/ 24 w 56"/>
                <a:gd name="T9" fmla="*/ 0 h 8"/>
                <a:gd name="T10" fmla="*/ 0 w 56"/>
                <a:gd name="T11" fmla="*/ 8 h 8"/>
              </a:gdLst>
              <a:ahLst/>
              <a:cxnLst>
                <a:cxn ang="0">
                  <a:pos x="T0" y="T1"/>
                </a:cxn>
                <a:cxn ang="0">
                  <a:pos x="T2" y="T3"/>
                </a:cxn>
                <a:cxn ang="0">
                  <a:pos x="T4" y="T5"/>
                </a:cxn>
                <a:cxn ang="0">
                  <a:pos x="T6" y="T7"/>
                </a:cxn>
                <a:cxn ang="0">
                  <a:pos x="T8" y="T9"/>
                </a:cxn>
                <a:cxn ang="0">
                  <a:pos x="T10" y="T11"/>
                </a:cxn>
              </a:cxnLst>
              <a:rect l="0" t="0" r="r" b="b"/>
              <a:pathLst>
                <a:path w="56" h="8">
                  <a:moveTo>
                    <a:pt x="0" y="8"/>
                  </a:moveTo>
                  <a:lnTo>
                    <a:pt x="40" y="8"/>
                  </a:lnTo>
                  <a:lnTo>
                    <a:pt x="48" y="8"/>
                  </a:lnTo>
                  <a:lnTo>
                    <a:pt x="56" y="8"/>
                  </a:lnTo>
                  <a:lnTo>
                    <a:pt x="24"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51" name="Freeform 284">
              <a:extLst>
                <a:ext uri="{FF2B5EF4-FFF2-40B4-BE49-F238E27FC236}">
                  <a16:creationId xmlns:a16="http://schemas.microsoft.com/office/drawing/2014/main" id="{538B1FB5-F2A4-DF62-9B15-F6DD6242E8F8}"/>
                </a:ext>
              </a:extLst>
            </p:cNvPr>
            <p:cNvSpPr>
              <a:spLocks/>
            </p:cNvSpPr>
            <p:nvPr/>
          </p:nvSpPr>
          <p:spPr bwMode="auto">
            <a:xfrm>
              <a:off x="4183757" y="612339"/>
              <a:ext cx="277982" cy="81547"/>
            </a:xfrm>
            <a:custGeom>
              <a:avLst/>
              <a:gdLst>
                <a:gd name="T0" fmla="*/ 0 w 136"/>
                <a:gd name="T1" fmla="*/ 8 h 40"/>
                <a:gd name="T2" fmla="*/ 8 w 136"/>
                <a:gd name="T3" fmla="*/ 16 h 40"/>
                <a:gd name="T4" fmla="*/ 16 w 136"/>
                <a:gd name="T5" fmla="*/ 24 h 40"/>
                <a:gd name="T6" fmla="*/ 32 w 136"/>
                <a:gd name="T7" fmla="*/ 24 h 40"/>
                <a:gd name="T8" fmla="*/ 24 w 136"/>
                <a:gd name="T9" fmla="*/ 24 h 40"/>
                <a:gd name="T10" fmla="*/ 24 w 136"/>
                <a:gd name="T11" fmla="*/ 32 h 40"/>
                <a:gd name="T12" fmla="*/ 48 w 136"/>
                <a:gd name="T13" fmla="*/ 40 h 40"/>
                <a:gd name="T14" fmla="*/ 64 w 136"/>
                <a:gd name="T15" fmla="*/ 24 h 40"/>
                <a:gd name="T16" fmla="*/ 80 w 136"/>
                <a:gd name="T17" fmla="*/ 16 h 40"/>
                <a:gd name="T18" fmla="*/ 88 w 136"/>
                <a:gd name="T19" fmla="*/ 24 h 40"/>
                <a:gd name="T20" fmla="*/ 88 w 136"/>
                <a:gd name="T21" fmla="*/ 32 h 40"/>
                <a:gd name="T22" fmla="*/ 104 w 136"/>
                <a:gd name="T23" fmla="*/ 32 h 40"/>
                <a:gd name="T24" fmla="*/ 120 w 136"/>
                <a:gd name="T25" fmla="*/ 32 h 40"/>
                <a:gd name="T26" fmla="*/ 64 w 136"/>
                <a:gd name="T27" fmla="*/ 16 h 40"/>
                <a:gd name="T28" fmla="*/ 64 w 136"/>
                <a:gd name="T29" fmla="*/ 8 h 40"/>
                <a:gd name="T30" fmla="*/ 104 w 136"/>
                <a:gd name="T31" fmla="*/ 16 h 40"/>
                <a:gd name="T32" fmla="*/ 136 w 136"/>
                <a:gd name="T33" fmla="*/ 8 h 40"/>
                <a:gd name="T34" fmla="*/ 128 w 136"/>
                <a:gd name="T35" fmla="*/ 0 h 40"/>
                <a:gd name="T36" fmla="*/ 72 w 136"/>
                <a:gd name="T37" fmla="*/ 0 h 40"/>
                <a:gd name="T38" fmla="*/ 40 w 136"/>
                <a:gd name="T39" fmla="*/ 8 h 40"/>
                <a:gd name="T40" fmla="*/ 0 w 136"/>
                <a:gd name="T41"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6" h="40">
                  <a:moveTo>
                    <a:pt x="0" y="8"/>
                  </a:moveTo>
                  <a:lnTo>
                    <a:pt x="8" y="16"/>
                  </a:lnTo>
                  <a:lnTo>
                    <a:pt x="16" y="24"/>
                  </a:lnTo>
                  <a:lnTo>
                    <a:pt x="32" y="24"/>
                  </a:lnTo>
                  <a:lnTo>
                    <a:pt x="24" y="24"/>
                  </a:lnTo>
                  <a:lnTo>
                    <a:pt x="24" y="32"/>
                  </a:lnTo>
                  <a:lnTo>
                    <a:pt x="48" y="40"/>
                  </a:lnTo>
                  <a:lnTo>
                    <a:pt x="64" y="24"/>
                  </a:lnTo>
                  <a:lnTo>
                    <a:pt x="80" y="16"/>
                  </a:lnTo>
                  <a:lnTo>
                    <a:pt x="88" y="24"/>
                  </a:lnTo>
                  <a:lnTo>
                    <a:pt x="88" y="32"/>
                  </a:lnTo>
                  <a:lnTo>
                    <a:pt x="104" y="32"/>
                  </a:lnTo>
                  <a:lnTo>
                    <a:pt x="120" y="32"/>
                  </a:lnTo>
                  <a:lnTo>
                    <a:pt x="64" y="16"/>
                  </a:lnTo>
                  <a:lnTo>
                    <a:pt x="64" y="8"/>
                  </a:lnTo>
                  <a:lnTo>
                    <a:pt x="104" y="16"/>
                  </a:lnTo>
                  <a:lnTo>
                    <a:pt x="136" y="8"/>
                  </a:lnTo>
                  <a:lnTo>
                    <a:pt x="128" y="0"/>
                  </a:lnTo>
                  <a:lnTo>
                    <a:pt x="72" y="0"/>
                  </a:lnTo>
                  <a:lnTo>
                    <a:pt x="40" y="8"/>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52" name="Line 285">
              <a:extLst>
                <a:ext uri="{FF2B5EF4-FFF2-40B4-BE49-F238E27FC236}">
                  <a16:creationId xmlns:a16="http://schemas.microsoft.com/office/drawing/2014/main" id="{F526CE07-7E05-1315-C49A-0FD29C5C1415}"/>
                </a:ext>
              </a:extLst>
            </p:cNvPr>
            <p:cNvSpPr>
              <a:spLocks noChangeShapeType="1"/>
            </p:cNvSpPr>
            <p:nvPr/>
          </p:nvSpPr>
          <p:spPr bwMode="auto">
            <a:xfrm>
              <a:off x="4888475" y="628937"/>
              <a:ext cx="33058" cy="1510"/>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53" name="Line 286">
              <a:extLst>
                <a:ext uri="{FF2B5EF4-FFF2-40B4-BE49-F238E27FC236}">
                  <a16:creationId xmlns:a16="http://schemas.microsoft.com/office/drawing/2014/main" id="{FA0A3B2F-D74C-7D4D-8617-F38563217419}"/>
                </a:ext>
              </a:extLst>
            </p:cNvPr>
            <p:cNvSpPr>
              <a:spLocks noChangeShapeType="1"/>
            </p:cNvSpPr>
            <p:nvPr/>
          </p:nvSpPr>
          <p:spPr bwMode="auto">
            <a:xfrm>
              <a:off x="3791573" y="1089530"/>
              <a:ext cx="16530" cy="1509"/>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54" name="Freeform 288">
              <a:extLst>
                <a:ext uri="{FF2B5EF4-FFF2-40B4-BE49-F238E27FC236}">
                  <a16:creationId xmlns:a16="http://schemas.microsoft.com/office/drawing/2014/main" id="{16A3DEC6-476B-2F52-7E92-431F96D44476}"/>
                </a:ext>
              </a:extLst>
            </p:cNvPr>
            <p:cNvSpPr>
              <a:spLocks/>
            </p:cNvSpPr>
            <p:nvPr/>
          </p:nvSpPr>
          <p:spPr bwMode="auto">
            <a:xfrm>
              <a:off x="3775045" y="1171076"/>
              <a:ext cx="33058" cy="33223"/>
            </a:xfrm>
            <a:custGeom>
              <a:avLst/>
              <a:gdLst>
                <a:gd name="T0" fmla="*/ 0 w 16"/>
                <a:gd name="T1" fmla="*/ 16 h 16"/>
                <a:gd name="T2" fmla="*/ 8 w 16"/>
                <a:gd name="T3" fmla="*/ 16 h 16"/>
                <a:gd name="T4" fmla="*/ 16 w 16"/>
                <a:gd name="T5" fmla="*/ 0 h 16"/>
                <a:gd name="T6" fmla="*/ 0 w 16"/>
                <a:gd name="T7" fmla="*/ 8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8" y="16"/>
                  </a:lnTo>
                  <a:lnTo>
                    <a:pt x="16" y="0"/>
                  </a:lnTo>
                  <a:lnTo>
                    <a:pt x="0" y="8"/>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55" name="Freeform 289">
              <a:extLst>
                <a:ext uri="{FF2B5EF4-FFF2-40B4-BE49-F238E27FC236}">
                  <a16:creationId xmlns:a16="http://schemas.microsoft.com/office/drawing/2014/main" id="{F3F59271-EED7-0183-73E3-2BBCABED6A15}"/>
                </a:ext>
              </a:extLst>
            </p:cNvPr>
            <p:cNvSpPr>
              <a:spLocks/>
            </p:cNvSpPr>
            <p:nvPr/>
          </p:nvSpPr>
          <p:spPr bwMode="auto">
            <a:xfrm>
              <a:off x="4347537" y="1187687"/>
              <a:ext cx="16530" cy="33223"/>
            </a:xfrm>
            <a:custGeom>
              <a:avLst/>
              <a:gdLst>
                <a:gd name="T0" fmla="*/ 0 w 8"/>
                <a:gd name="T1" fmla="*/ 8 h 16"/>
                <a:gd name="T2" fmla="*/ 0 w 8"/>
                <a:gd name="T3" fmla="*/ 16 h 16"/>
                <a:gd name="T4" fmla="*/ 0 w 8"/>
                <a:gd name="T5" fmla="*/ 8 h 16"/>
                <a:gd name="T6" fmla="*/ 8 w 8"/>
                <a:gd name="T7" fmla="*/ 0 h 16"/>
                <a:gd name="T8" fmla="*/ 0 w 8"/>
                <a:gd name="T9" fmla="*/ 8 h 16"/>
              </a:gdLst>
              <a:ahLst/>
              <a:cxnLst>
                <a:cxn ang="0">
                  <a:pos x="T0" y="T1"/>
                </a:cxn>
                <a:cxn ang="0">
                  <a:pos x="T2" y="T3"/>
                </a:cxn>
                <a:cxn ang="0">
                  <a:pos x="T4" y="T5"/>
                </a:cxn>
                <a:cxn ang="0">
                  <a:pos x="T6" y="T7"/>
                </a:cxn>
                <a:cxn ang="0">
                  <a:pos x="T8" y="T9"/>
                </a:cxn>
              </a:cxnLst>
              <a:rect l="0" t="0" r="r" b="b"/>
              <a:pathLst>
                <a:path w="8" h="16">
                  <a:moveTo>
                    <a:pt x="0" y="8"/>
                  </a:moveTo>
                  <a:lnTo>
                    <a:pt x="0" y="16"/>
                  </a:lnTo>
                  <a:lnTo>
                    <a:pt x="0" y="8"/>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56" name="Freeform 292">
              <a:extLst>
                <a:ext uri="{FF2B5EF4-FFF2-40B4-BE49-F238E27FC236}">
                  <a16:creationId xmlns:a16="http://schemas.microsoft.com/office/drawing/2014/main" id="{7B50CC79-2439-5A4D-5079-7DE04C2A85BC}"/>
                </a:ext>
              </a:extLst>
            </p:cNvPr>
            <p:cNvSpPr>
              <a:spLocks/>
            </p:cNvSpPr>
            <p:nvPr/>
          </p:nvSpPr>
          <p:spPr bwMode="auto">
            <a:xfrm>
              <a:off x="3791573" y="1171065"/>
              <a:ext cx="180312" cy="247657"/>
            </a:xfrm>
            <a:custGeom>
              <a:avLst/>
              <a:gdLst>
                <a:gd name="T0" fmla="*/ 0 w 88"/>
                <a:gd name="T1" fmla="*/ 120 h 120"/>
                <a:gd name="T2" fmla="*/ 8 w 88"/>
                <a:gd name="T3" fmla="*/ 120 h 120"/>
                <a:gd name="T4" fmla="*/ 24 w 88"/>
                <a:gd name="T5" fmla="*/ 120 h 120"/>
                <a:gd name="T6" fmla="*/ 32 w 88"/>
                <a:gd name="T7" fmla="*/ 112 h 120"/>
                <a:gd name="T8" fmla="*/ 40 w 88"/>
                <a:gd name="T9" fmla="*/ 120 h 120"/>
                <a:gd name="T10" fmla="*/ 72 w 88"/>
                <a:gd name="T11" fmla="*/ 112 h 120"/>
                <a:gd name="T12" fmla="*/ 80 w 88"/>
                <a:gd name="T13" fmla="*/ 104 h 120"/>
                <a:gd name="T14" fmla="*/ 72 w 88"/>
                <a:gd name="T15" fmla="*/ 104 h 120"/>
                <a:gd name="T16" fmla="*/ 88 w 88"/>
                <a:gd name="T17" fmla="*/ 88 h 120"/>
                <a:gd name="T18" fmla="*/ 80 w 88"/>
                <a:gd name="T19" fmla="*/ 80 h 120"/>
                <a:gd name="T20" fmla="*/ 64 w 88"/>
                <a:gd name="T21" fmla="*/ 80 h 120"/>
                <a:gd name="T22" fmla="*/ 72 w 88"/>
                <a:gd name="T23" fmla="*/ 80 h 120"/>
                <a:gd name="T24" fmla="*/ 64 w 88"/>
                <a:gd name="T25" fmla="*/ 64 h 120"/>
                <a:gd name="T26" fmla="*/ 56 w 88"/>
                <a:gd name="T27" fmla="*/ 56 h 120"/>
                <a:gd name="T28" fmla="*/ 48 w 88"/>
                <a:gd name="T29" fmla="*/ 40 h 120"/>
                <a:gd name="T30" fmla="*/ 32 w 88"/>
                <a:gd name="T31" fmla="*/ 40 h 120"/>
                <a:gd name="T32" fmla="*/ 48 w 88"/>
                <a:gd name="T33" fmla="*/ 16 h 120"/>
                <a:gd name="T34" fmla="*/ 24 w 88"/>
                <a:gd name="T35" fmla="*/ 16 h 120"/>
                <a:gd name="T36" fmla="*/ 40 w 88"/>
                <a:gd name="T37" fmla="*/ 8 h 120"/>
                <a:gd name="T38" fmla="*/ 40 w 88"/>
                <a:gd name="T39" fmla="*/ 0 h 120"/>
                <a:gd name="T40" fmla="*/ 16 w 88"/>
                <a:gd name="T41" fmla="*/ 0 h 120"/>
                <a:gd name="T42" fmla="*/ 8 w 88"/>
                <a:gd name="T43" fmla="*/ 16 h 120"/>
                <a:gd name="T44" fmla="*/ 8 w 88"/>
                <a:gd name="T45" fmla="*/ 24 h 120"/>
                <a:gd name="T46" fmla="*/ 0 w 88"/>
                <a:gd name="T47" fmla="*/ 32 h 120"/>
                <a:gd name="T48" fmla="*/ 8 w 88"/>
                <a:gd name="T49" fmla="*/ 32 h 120"/>
                <a:gd name="T50" fmla="*/ 8 w 88"/>
                <a:gd name="T51" fmla="*/ 40 h 120"/>
                <a:gd name="T52" fmla="*/ 0 w 88"/>
                <a:gd name="T53" fmla="*/ 40 h 120"/>
                <a:gd name="T54" fmla="*/ 8 w 88"/>
                <a:gd name="T55" fmla="*/ 40 h 120"/>
                <a:gd name="T56" fmla="*/ 8 w 88"/>
                <a:gd name="T57" fmla="*/ 48 h 120"/>
                <a:gd name="T58" fmla="*/ 16 w 88"/>
                <a:gd name="T59" fmla="*/ 40 h 120"/>
                <a:gd name="T60" fmla="*/ 16 w 88"/>
                <a:gd name="T61" fmla="*/ 48 h 120"/>
                <a:gd name="T62" fmla="*/ 8 w 88"/>
                <a:gd name="T63" fmla="*/ 56 h 120"/>
                <a:gd name="T64" fmla="*/ 16 w 88"/>
                <a:gd name="T65" fmla="*/ 56 h 120"/>
                <a:gd name="T66" fmla="*/ 32 w 88"/>
                <a:gd name="T67" fmla="*/ 56 h 120"/>
                <a:gd name="T68" fmla="*/ 24 w 88"/>
                <a:gd name="T69" fmla="*/ 56 h 120"/>
                <a:gd name="T70" fmla="*/ 40 w 88"/>
                <a:gd name="T71" fmla="*/ 64 h 120"/>
                <a:gd name="T72" fmla="*/ 32 w 88"/>
                <a:gd name="T73" fmla="*/ 80 h 120"/>
                <a:gd name="T74" fmla="*/ 16 w 88"/>
                <a:gd name="T75" fmla="*/ 80 h 120"/>
                <a:gd name="T76" fmla="*/ 16 w 88"/>
                <a:gd name="T77" fmla="*/ 88 h 120"/>
                <a:gd name="T78" fmla="*/ 8 w 88"/>
                <a:gd name="T79" fmla="*/ 96 h 120"/>
                <a:gd name="T80" fmla="*/ 8 w 88"/>
                <a:gd name="T81" fmla="*/ 104 h 120"/>
                <a:gd name="T82" fmla="*/ 24 w 88"/>
                <a:gd name="T83" fmla="*/ 104 h 120"/>
                <a:gd name="T84" fmla="*/ 32 w 88"/>
                <a:gd name="T85" fmla="*/ 104 h 120"/>
                <a:gd name="T86" fmla="*/ 16 w 88"/>
                <a:gd name="T87" fmla="*/ 104 h 120"/>
                <a:gd name="T88" fmla="*/ 0 w 88"/>
                <a:gd name="T8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20">
                  <a:moveTo>
                    <a:pt x="0" y="120"/>
                  </a:moveTo>
                  <a:lnTo>
                    <a:pt x="8" y="120"/>
                  </a:lnTo>
                  <a:lnTo>
                    <a:pt x="24" y="120"/>
                  </a:lnTo>
                  <a:lnTo>
                    <a:pt x="32" y="112"/>
                  </a:lnTo>
                  <a:lnTo>
                    <a:pt x="40" y="120"/>
                  </a:lnTo>
                  <a:lnTo>
                    <a:pt x="72" y="112"/>
                  </a:lnTo>
                  <a:lnTo>
                    <a:pt x="80" y="104"/>
                  </a:lnTo>
                  <a:lnTo>
                    <a:pt x="72" y="104"/>
                  </a:lnTo>
                  <a:lnTo>
                    <a:pt x="88" y="88"/>
                  </a:lnTo>
                  <a:lnTo>
                    <a:pt x="80" y="80"/>
                  </a:lnTo>
                  <a:lnTo>
                    <a:pt x="64" y="80"/>
                  </a:lnTo>
                  <a:lnTo>
                    <a:pt x="72" y="80"/>
                  </a:lnTo>
                  <a:lnTo>
                    <a:pt x="64" y="64"/>
                  </a:lnTo>
                  <a:lnTo>
                    <a:pt x="56" y="56"/>
                  </a:lnTo>
                  <a:lnTo>
                    <a:pt x="48" y="40"/>
                  </a:lnTo>
                  <a:lnTo>
                    <a:pt x="32" y="40"/>
                  </a:lnTo>
                  <a:lnTo>
                    <a:pt x="48" y="16"/>
                  </a:lnTo>
                  <a:lnTo>
                    <a:pt x="24" y="16"/>
                  </a:lnTo>
                  <a:lnTo>
                    <a:pt x="40" y="8"/>
                  </a:lnTo>
                  <a:lnTo>
                    <a:pt x="40" y="0"/>
                  </a:lnTo>
                  <a:lnTo>
                    <a:pt x="16" y="0"/>
                  </a:lnTo>
                  <a:lnTo>
                    <a:pt x="8" y="16"/>
                  </a:lnTo>
                  <a:lnTo>
                    <a:pt x="8" y="24"/>
                  </a:lnTo>
                  <a:lnTo>
                    <a:pt x="0" y="32"/>
                  </a:lnTo>
                  <a:lnTo>
                    <a:pt x="8" y="32"/>
                  </a:lnTo>
                  <a:lnTo>
                    <a:pt x="8" y="40"/>
                  </a:lnTo>
                  <a:lnTo>
                    <a:pt x="0" y="40"/>
                  </a:lnTo>
                  <a:lnTo>
                    <a:pt x="8" y="40"/>
                  </a:lnTo>
                  <a:lnTo>
                    <a:pt x="8" y="48"/>
                  </a:lnTo>
                  <a:lnTo>
                    <a:pt x="16" y="40"/>
                  </a:lnTo>
                  <a:lnTo>
                    <a:pt x="16" y="48"/>
                  </a:lnTo>
                  <a:lnTo>
                    <a:pt x="8" y="56"/>
                  </a:lnTo>
                  <a:lnTo>
                    <a:pt x="16" y="56"/>
                  </a:lnTo>
                  <a:lnTo>
                    <a:pt x="32" y="56"/>
                  </a:lnTo>
                  <a:lnTo>
                    <a:pt x="24" y="56"/>
                  </a:lnTo>
                  <a:lnTo>
                    <a:pt x="40" y="64"/>
                  </a:lnTo>
                  <a:lnTo>
                    <a:pt x="32" y="80"/>
                  </a:lnTo>
                  <a:lnTo>
                    <a:pt x="16" y="80"/>
                  </a:lnTo>
                  <a:lnTo>
                    <a:pt x="16" y="88"/>
                  </a:lnTo>
                  <a:lnTo>
                    <a:pt x="8" y="96"/>
                  </a:lnTo>
                  <a:lnTo>
                    <a:pt x="8" y="104"/>
                  </a:lnTo>
                  <a:lnTo>
                    <a:pt x="24" y="104"/>
                  </a:lnTo>
                  <a:lnTo>
                    <a:pt x="32" y="104"/>
                  </a:lnTo>
                  <a:lnTo>
                    <a:pt x="16" y="104"/>
                  </a:lnTo>
                  <a:lnTo>
                    <a:pt x="0" y="12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57" name="Freeform 293">
              <a:extLst>
                <a:ext uri="{FF2B5EF4-FFF2-40B4-BE49-F238E27FC236}">
                  <a16:creationId xmlns:a16="http://schemas.microsoft.com/office/drawing/2014/main" id="{44F16320-4F3C-A217-1688-54D10DA90616}"/>
                </a:ext>
              </a:extLst>
            </p:cNvPr>
            <p:cNvSpPr>
              <a:spLocks/>
            </p:cNvSpPr>
            <p:nvPr/>
          </p:nvSpPr>
          <p:spPr bwMode="auto">
            <a:xfrm>
              <a:off x="4119141" y="1649766"/>
              <a:ext cx="16530" cy="48322"/>
            </a:xfrm>
            <a:custGeom>
              <a:avLst/>
              <a:gdLst>
                <a:gd name="T0" fmla="*/ 0 w 8"/>
                <a:gd name="T1" fmla="*/ 0 h 24"/>
                <a:gd name="T2" fmla="*/ 0 w 8"/>
                <a:gd name="T3" fmla="*/ 16 h 24"/>
                <a:gd name="T4" fmla="*/ 8 w 8"/>
                <a:gd name="T5" fmla="*/ 24 h 24"/>
                <a:gd name="T6" fmla="*/ 8 w 8"/>
                <a:gd name="T7" fmla="*/ 0 h 24"/>
                <a:gd name="T8" fmla="*/ 0 w 8"/>
                <a:gd name="T9" fmla="*/ 0 h 24"/>
              </a:gdLst>
              <a:ahLst/>
              <a:cxnLst>
                <a:cxn ang="0">
                  <a:pos x="T0" y="T1"/>
                </a:cxn>
                <a:cxn ang="0">
                  <a:pos x="T2" y="T3"/>
                </a:cxn>
                <a:cxn ang="0">
                  <a:pos x="T4" y="T5"/>
                </a:cxn>
                <a:cxn ang="0">
                  <a:pos x="T6" y="T7"/>
                </a:cxn>
                <a:cxn ang="0">
                  <a:pos x="T8" y="T9"/>
                </a:cxn>
              </a:cxnLst>
              <a:rect l="0" t="0" r="r" b="b"/>
              <a:pathLst>
                <a:path w="8" h="24">
                  <a:moveTo>
                    <a:pt x="0" y="0"/>
                  </a:moveTo>
                  <a:lnTo>
                    <a:pt x="0" y="16"/>
                  </a:lnTo>
                  <a:lnTo>
                    <a:pt x="8" y="24"/>
                  </a:lnTo>
                  <a:lnTo>
                    <a:pt x="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58" name="Freeform 294">
              <a:extLst>
                <a:ext uri="{FF2B5EF4-FFF2-40B4-BE49-F238E27FC236}">
                  <a16:creationId xmlns:a16="http://schemas.microsoft.com/office/drawing/2014/main" id="{99104667-1DE1-84D2-7CF9-CEB5C0254809}"/>
                </a:ext>
              </a:extLst>
            </p:cNvPr>
            <p:cNvSpPr>
              <a:spLocks/>
            </p:cNvSpPr>
            <p:nvPr/>
          </p:nvSpPr>
          <p:spPr bwMode="auto">
            <a:xfrm>
              <a:off x="4102613" y="1698089"/>
              <a:ext cx="48086" cy="66444"/>
            </a:xfrm>
            <a:custGeom>
              <a:avLst/>
              <a:gdLst>
                <a:gd name="T0" fmla="*/ 0 w 24"/>
                <a:gd name="T1" fmla="*/ 0 h 32"/>
                <a:gd name="T2" fmla="*/ 8 w 24"/>
                <a:gd name="T3" fmla="*/ 32 h 32"/>
                <a:gd name="T4" fmla="*/ 24 w 24"/>
                <a:gd name="T5" fmla="*/ 32 h 32"/>
                <a:gd name="T6" fmla="*/ 24 w 24"/>
                <a:gd name="T7" fmla="*/ 8 h 32"/>
                <a:gd name="T8" fmla="*/ 16 w 24"/>
                <a:gd name="T9" fmla="*/ 0 h 32"/>
                <a:gd name="T10" fmla="*/ 0 w 24"/>
                <a:gd name="T11" fmla="*/ 0 h 32"/>
              </a:gdLst>
              <a:ahLst/>
              <a:cxnLst>
                <a:cxn ang="0">
                  <a:pos x="T0" y="T1"/>
                </a:cxn>
                <a:cxn ang="0">
                  <a:pos x="T2" y="T3"/>
                </a:cxn>
                <a:cxn ang="0">
                  <a:pos x="T4" y="T5"/>
                </a:cxn>
                <a:cxn ang="0">
                  <a:pos x="T6" y="T7"/>
                </a:cxn>
                <a:cxn ang="0">
                  <a:pos x="T8" y="T9"/>
                </a:cxn>
                <a:cxn ang="0">
                  <a:pos x="T10" y="T11"/>
                </a:cxn>
              </a:cxnLst>
              <a:rect l="0" t="0" r="r" b="b"/>
              <a:pathLst>
                <a:path w="24" h="32">
                  <a:moveTo>
                    <a:pt x="0" y="0"/>
                  </a:moveTo>
                  <a:lnTo>
                    <a:pt x="8" y="32"/>
                  </a:lnTo>
                  <a:lnTo>
                    <a:pt x="24" y="32"/>
                  </a:lnTo>
                  <a:lnTo>
                    <a:pt x="24" y="8"/>
                  </a:lnTo>
                  <a:lnTo>
                    <a:pt x="16"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59" name="Freeform 296">
              <a:extLst>
                <a:ext uri="{FF2B5EF4-FFF2-40B4-BE49-F238E27FC236}">
                  <a16:creationId xmlns:a16="http://schemas.microsoft.com/office/drawing/2014/main" id="{D4DA5A65-A23B-0590-CF82-C48E13E65709}"/>
                </a:ext>
              </a:extLst>
            </p:cNvPr>
            <p:cNvSpPr>
              <a:spLocks/>
            </p:cNvSpPr>
            <p:nvPr/>
          </p:nvSpPr>
          <p:spPr bwMode="auto">
            <a:xfrm>
              <a:off x="4446709" y="1781152"/>
              <a:ext cx="48086" cy="64933"/>
            </a:xfrm>
            <a:custGeom>
              <a:avLst/>
              <a:gdLst>
                <a:gd name="T0" fmla="*/ 0 w 24"/>
                <a:gd name="T1" fmla="*/ 8 h 32"/>
                <a:gd name="T2" fmla="*/ 0 w 24"/>
                <a:gd name="T3" fmla="*/ 16 h 32"/>
                <a:gd name="T4" fmla="*/ 8 w 24"/>
                <a:gd name="T5" fmla="*/ 24 h 32"/>
                <a:gd name="T6" fmla="*/ 16 w 24"/>
                <a:gd name="T7" fmla="*/ 32 h 32"/>
                <a:gd name="T8" fmla="*/ 16 w 24"/>
                <a:gd name="T9" fmla="*/ 24 h 32"/>
                <a:gd name="T10" fmla="*/ 24 w 24"/>
                <a:gd name="T11" fmla="*/ 32 h 32"/>
                <a:gd name="T12" fmla="*/ 16 w 24"/>
                <a:gd name="T13" fmla="*/ 16 h 32"/>
                <a:gd name="T14" fmla="*/ 24 w 24"/>
                <a:gd name="T15" fmla="*/ 16 h 32"/>
                <a:gd name="T16" fmla="*/ 16 w 24"/>
                <a:gd name="T17" fmla="*/ 8 h 32"/>
                <a:gd name="T18" fmla="*/ 8 w 24"/>
                <a:gd name="T19" fmla="*/ 0 h 32"/>
                <a:gd name="T20" fmla="*/ 0 w 24"/>
                <a:gd name="T21"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2">
                  <a:moveTo>
                    <a:pt x="0" y="8"/>
                  </a:moveTo>
                  <a:lnTo>
                    <a:pt x="0" y="16"/>
                  </a:lnTo>
                  <a:lnTo>
                    <a:pt x="8" y="24"/>
                  </a:lnTo>
                  <a:lnTo>
                    <a:pt x="16" y="32"/>
                  </a:lnTo>
                  <a:lnTo>
                    <a:pt x="16" y="24"/>
                  </a:lnTo>
                  <a:lnTo>
                    <a:pt x="24" y="32"/>
                  </a:lnTo>
                  <a:lnTo>
                    <a:pt x="16" y="16"/>
                  </a:lnTo>
                  <a:lnTo>
                    <a:pt x="24" y="16"/>
                  </a:lnTo>
                  <a:lnTo>
                    <a:pt x="16" y="8"/>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60" name="Freeform 297">
              <a:extLst>
                <a:ext uri="{FF2B5EF4-FFF2-40B4-BE49-F238E27FC236}">
                  <a16:creationId xmlns:a16="http://schemas.microsoft.com/office/drawing/2014/main" id="{5FD237CF-EDDA-B38A-21BF-55F9EB0E2FCD}"/>
                </a:ext>
              </a:extLst>
            </p:cNvPr>
            <p:cNvSpPr>
              <a:spLocks/>
            </p:cNvSpPr>
            <p:nvPr/>
          </p:nvSpPr>
          <p:spPr bwMode="auto">
            <a:xfrm>
              <a:off x="4511320" y="1862705"/>
              <a:ext cx="66114" cy="33223"/>
            </a:xfrm>
            <a:custGeom>
              <a:avLst/>
              <a:gdLst>
                <a:gd name="T0" fmla="*/ 0 w 32"/>
                <a:gd name="T1" fmla="*/ 8 h 16"/>
                <a:gd name="T2" fmla="*/ 16 w 32"/>
                <a:gd name="T3" fmla="*/ 16 h 16"/>
                <a:gd name="T4" fmla="*/ 32 w 32"/>
                <a:gd name="T5" fmla="*/ 16 h 16"/>
                <a:gd name="T6" fmla="*/ 32 w 32"/>
                <a:gd name="T7" fmla="*/ 8 h 16"/>
                <a:gd name="T8" fmla="*/ 24 w 32"/>
                <a:gd name="T9" fmla="*/ 8 h 16"/>
                <a:gd name="T10" fmla="*/ 0 w 32"/>
                <a:gd name="T11" fmla="*/ 0 h 16"/>
                <a:gd name="T12" fmla="*/ 0 w 32"/>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32" h="16">
                  <a:moveTo>
                    <a:pt x="0" y="8"/>
                  </a:moveTo>
                  <a:lnTo>
                    <a:pt x="16" y="16"/>
                  </a:lnTo>
                  <a:lnTo>
                    <a:pt x="32" y="16"/>
                  </a:lnTo>
                  <a:lnTo>
                    <a:pt x="32" y="8"/>
                  </a:lnTo>
                  <a:lnTo>
                    <a:pt x="24" y="8"/>
                  </a:lnTo>
                  <a:lnTo>
                    <a:pt x="0"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61" name="Freeform 298">
              <a:extLst>
                <a:ext uri="{FF2B5EF4-FFF2-40B4-BE49-F238E27FC236}">
                  <a16:creationId xmlns:a16="http://schemas.microsoft.com/office/drawing/2014/main" id="{DC993E9C-380E-8972-6F8E-569EF2635098}"/>
                </a:ext>
              </a:extLst>
            </p:cNvPr>
            <p:cNvSpPr>
              <a:spLocks/>
            </p:cNvSpPr>
            <p:nvPr/>
          </p:nvSpPr>
          <p:spPr bwMode="auto">
            <a:xfrm>
              <a:off x="4724689" y="1862705"/>
              <a:ext cx="64612" cy="33223"/>
            </a:xfrm>
            <a:custGeom>
              <a:avLst/>
              <a:gdLst>
                <a:gd name="T0" fmla="*/ 0 w 32"/>
                <a:gd name="T1" fmla="*/ 16 h 16"/>
                <a:gd name="T2" fmla="*/ 8 w 32"/>
                <a:gd name="T3" fmla="*/ 16 h 16"/>
                <a:gd name="T4" fmla="*/ 16 w 32"/>
                <a:gd name="T5" fmla="*/ 16 h 16"/>
                <a:gd name="T6" fmla="*/ 24 w 32"/>
                <a:gd name="T7" fmla="*/ 16 h 16"/>
                <a:gd name="T8" fmla="*/ 24 w 32"/>
                <a:gd name="T9" fmla="*/ 8 h 16"/>
                <a:gd name="T10" fmla="*/ 32 w 32"/>
                <a:gd name="T11" fmla="*/ 0 h 16"/>
                <a:gd name="T12" fmla="*/ 0 w 32"/>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32" h="16">
                  <a:moveTo>
                    <a:pt x="0" y="16"/>
                  </a:moveTo>
                  <a:lnTo>
                    <a:pt x="8" y="16"/>
                  </a:lnTo>
                  <a:lnTo>
                    <a:pt x="16" y="16"/>
                  </a:lnTo>
                  <a:lnTo>
                    <a:pt x="24" y="16"/>
                  </a:lnTo>
                  <a:lnTo>
                    <a:pt x="24" y="8"/>
                  </a:lnTo>
                  <a:lnTo>
                    <a:pt x="32" y="0"/>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62" name="Freeform 299">
              <a:extLst>
                <a:ext uri="{FF2B5EF4-FFF2-40B4-BE49-F238E27FC236}">
                  <a16:creationId xmlns:a16="http://schemas.microsoft.com/office/drawing/2014/main" id="{ECBF78F0-00B9-1FD6-9C59-C67C7B0B5B8A}"/>
                </a:ext>
              </a:extLst>
            </p:cNvPr>
            <p:cNvSpPr>
              <a:spLocks/>
            </p:cNvSpPr>
            <p:nvPr/>
          </p:nvSpPr>
          <p:spPr bwMode="auto">
            <a:xfrm>
              <a:off x="3955357" y="1731323"/>
              <a:ext cx="33058" cy="33223"/>
            </a:xfrm>
            <a:custGeom>
              <a:avLst/>
              <a:gdLst>
                <a:gd name="T0" fmla="*/ 0 w 16"/>
                <a:gd name="T1" fmla="*/ 8 h 16"/>
                <a:gd name="T2" fmla="*/ 16 w 16"/>
                <a:gd name="T3" fmla="*/ 16 h 16"/>
                <a:gd name="T4" fmla="*/ 16 w 16"/>
                <a:gd name="T5" fmla="*/ 8 h 16"/>
                <a:gd name="T6" fmla="*/ 8 w 16"/>
                <a:gd name="T7" fmla="*/ 0 h 16"/>
                <a:gd name="T8" fmla="*/ 0 w 16"/>
                <a:gd name="T9" fmla="*/ 8 h 16"/>
              </a:gdLst>
              <a:ahLst/>
              <a:cxnLst>
                <a:cxn ang="0">
                  <a:pos x="T0" y="T1"/>
                </a:cxn>
                <a:cxn ang="0">
                  <a:pos x="T2" y="T3"/>
                </a:cxn>
                <a:cxn ang="0">
                  <a:pos x="T4" y="T5"/>
                </a:cxn>
                <a:cxn ang="0">
                  <a:pos x="T6" y="T7"/>
                </a:cxn>
                <a:cxn ang="0">
                  <a:pos x="T8" y="T9"/>
                </a:cxn>
              </a:cxnLst>
              <a:rect l="0" t="0" r="r" b="b"/>
              <a:pathLst>
                <a:path w="16" h="16">
                  <a:moveTo>
                    <a:pt x="0" y="8"/>
                  </a:moveTo>
                  <a:lnTo>
                    <a:pt x="16" y="16"/>
                  </a:lnTo>
                  <a:lnTo>
                    <a:pt x="16" y="8"/>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63" name="Freeform 300">
              <a:extLst>
                <a:ext uri="{FF2B5EF4-FFF2-40B4-BE49-F238E27FC236}">
                  <a16:creationId xmlns:a16="http://schemas.microsoft.com/office/drawing/2014/main" id="{203E5DB9-1107-E51E-99B9-5B61F57A53E7}"/>
                </a:ext>
              </a:extLst>
            </p:cNvPr>
            <p:cNvSpPr>
              <a:spLocks/>
            </p:cNvSpPr>
            <p:nvPr/>
          </p:nvSpPr>
          <p:spPr bwMode="auto">
            <a:xfrm>
              <a:off x="3447476" y="2093741"/>
              <a:ext cx="16528" cy="16612"/>
            </a:xfrm>
            <a:custGeom>
              <a:avLst/>
              <a:gdLst>
                <a:gd name="T0" fmla="*/ 0 w 8"/>
                <a:gd name="T1" fmla="*/ 0 h 8"/>
                <a:gd name="T2" fmla="*/ 0 w 8"/>
                <a:gd name="T3" fmla="*/ 8 h 8"/>
                <a:gd name="T4" fmla="*/ 8 w 8"/>
                <a:gd name="T5" fmla="*/ 0 h 8"/>
                <a:gd name="T6" fmla="*/ 0 w 8"/>
                <a:gd name="T7" fmla="*/ 0 h 8"/>
              </a:gdLst>
              <a:ahLst/>
              <a:cxnLst>
                <a:cxn ang="0">
                  <a:pos x="T0" y="T1"/>
                </a:cxn>
                <a:cxn ang="0">
                  <a:pos x="T2" y="T3"/>
                </a:cxn>
                <a:cxn ang="0">
                  <a:pos x="T4" y="T5"/>
                </a:cxn>
                <a:cxn ang="0">
                  <a:pos x="T6" y="T7"/>
                </a:cxn>
              </a:cxnLst>
              <a:rect l="0" t="0" r="r" b="b"/>
              <a:pathLst>
                <a:path w="8" h="8">
                  <a:moveTo>
                    <a:pt x="0" y="0"/>
                  </a:moveTo>
                  <a:lnTo>
                    <a:pt x="0" y="8"/>
                  </a:lnTo>
                  <a:lnTo>
                    <a:pt x="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64" name="Freeform 301">
              <a:extLst>
                <a:ext uri="{FF2B5EF4-FFF2-40B4-BE49-F238E27FC236}">
                  <a16:creationId xmlns:a16="http://schemas.microsoft.com/office/drawing/2014/main" id="{2E12928B-775E-C6BF-7D43-E442ABA61E9B}"/>
                </a:ext>
              </a:extLst>
            </p:cNvPr>
            <p:cNvSpPr>
              <a:spLocks/>
            </p:cNvSpPr>
            <p:nvPr/>
          </p:nvSpPr>
          <p:spPr bwMode="auto">
            <a:xfrm>
              <a:off x="3513606" y="2077139"/>
              <a:ext cx="31555" cy="33223"/>
            </a:xfrm>
            <a:custGeom>
              <a:avLst/>
              <a:gdLst>
                <a:gd name="T0" fmla="*/ 0 w 16"/>
                <a:gd name="T1" fmla="*/ 16 h 16"/>
                <a:gd name="T2" fmla="*/ 8 w 16"/>
                <a:gd name="T3" fmla="*/ 8 h 16"/>
                <a:gd name="T4" fmla="*/ 8 w 16"/>
                <a:gd name="T5" fmla="*/ 0 h 16"/>
                <a:gd name="T6" fmla="*/ 16 w 16"/>
                <a:gd name="T7" fmla="*/ 0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8" y="8"/>
                  </a:lnTo>
                  <a:lnTo>
                    <a:pt x="8" y="0"/>
                  </a:lnTo>
                  <a:lnTo>
                    <a:pt x="16" y="0"/>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65" name="Freeform 302">
              <a:extLst>
                <a:ext uri="{FF2B5EF4-FFF2-40B4-BE49-F238E27FC236}">
                  <a16:creationId xmlns:a16="http://schemas.microsoft.com/office/drawing/2014/main" id="{DA26295E-6A63-67E7-1020-27464DE8CB46}"/>
                </a:ext>
              </a:extLst>
            </p:cNvPr>
            <p:cNvSpPr>
              <a:spLocks/>
            </p:cNvSpPr>
            <p:nvPr/>
          </p:nvSpPr>
          <p:spPr bwMode="auto">
            <a:xfrm>
              <a:off x="6885433" y="3312391"/>
              <a:ext cx="1063844" cy="889451"/>
            </a:xfrm>
            <a:custGeom>
              <a:avLst/>
              <a:gdLst>
                <a:gd name="T0" fmla="*/ 8 w 520"/>
                <a:gd name="T1" fmla="*/ 368 h 432"/>
                <a:gd name="T2" fmla="*/ 64 w 520"/>
                <a:gd name="T3" fmla="*/ 352 h 432"/>
                <a:gd name="T4" fmla="*/ 112 w 520"/>
                <a:gd name="T5" fmla="*/ 336 h 432"/>
                <a:gd name="T6" fmla="*/ 216 w 520"/>
                <a:gd name="T7" fmla="*/ 320 h 432"/>
                <a:gd name="T8" fmla="*/ 248 w 520"/>
                <a:gd name="T9" fmla="*/ 344 h 432"/>
                <a:gd name="T10" fmla="*/ 288 w 520"/>
                <a:gd name="T11" fmla="*/ 336 h 432"/>
                <a:gd name="T12" fmla="*/ 264 w 520"/>
                <a:gd name="T13" fmla="*/ 376 h 432"/>
                <a:gd name="T14" fmla="*/ 288 w 520"/>
                <a:gd name="T15" fmla="*/ 360 h 432"/>
                <a:gd name="T16" fmla="*/ 280 w 520"/>
                <a:gd name="T17" fmla="*/ 376 h 432"/>
                <a:gd name="T18" fmla="*/ 288 w 520"/>
                <a:gd name="T19" fmla="*/ 384 h 432"/>
                <a:gd name="T20" fmla="*/ 288 w 520"/>
                <a:gd name="T21" fmla="*/ 400 h 432"/>
                <a:gd name="T22" fmla="*/ 312 w 520"/>
                <a:gd name="T23" fmla="*/ 424 h 432"/>
                <a:gd name="T24" fmla="*/ 344 w 520"/>
                <a:gd name="T25" fmla="*/ 408 h 432"/>
                <a:gd name="T26" fmla="*/ 352 w 520"/>
                <a:gd name="T27" fmla="*/ 416 h 432"/>
                <a:gd name="T28" fmla="*/ 352 w 520"/>
                <a:gd name="T29" fmla="*/ 432 h 432"/>
                <a:gd name="T30" fmla="*/ 408 w 520"/>
                <a:gd name="T31" fmla="*/ 408 h 432"/>
                <a:gd name="T32" fmla="*/ 496 w 520"/>
                <a:gd name="T33" fmla="*/ 312 h 432"/>
                <a:gd name="T34" fmla="*/ 520 w 520"/>
                <a:gd name="T35" fmla="*/ 232 h 432"/>
                <a:gd name="T36" fmla="*/ 504 w 520"/>
                <a:gd name="T37" fmla="*/ 192 h 432"/>
                <a:gd name="T38" fmla="*/ 496 w 520"/>
                <a:gd name="T39" fmla="*/ 176 h 432"/>
                <a:gd name="T40" fmla="*/ 472 w 520"/>
                <a:gd name="T41" fmla="*/ 136 h 432"/>
                <a:gd name="T42" fmla="*/ 464 w 520"/>
                <a:gd name="T43" fmla="*/ 104 h 432"/>
                <a:gd name="T44" fmla="*/ 456 w 520"/>
                <a:gd name="T45" fmla="*/ 64 h 432"/>
                <a:gd name="T46" fmla="*/ 440 w 520"/>
                <a:gd name="T47" fmla="*/ 56 h 432"/>
                <a:gd name="T48" fmla="*/ 424 w 520"/>
                <a:gd name="T49" fmla="*/ 0 h 432"/>
                <a:gd name="T50" fmla="*/ 408 w 520"/>
                <a:gd name="T51" fmla="*/ 80 h 432"/>
                <a:gd name="T52" fmla="*/ 384 w 520"/>
                <a:gd name="T53" fmla="*/ 104 h 432"/>
                <a:gd name="T54" fmla="*/ 368 w 520"/>
                <a:gd name="T55" fmla="*/ 96 h 432"/>
                <a:gd name="T56" fmla="*/ 336 w 520"/>
                <a:gd name="T57" fmla="*/ 80 h 432"/>
                <a:gd name="T58" fmla="*/ 328 w 520"/>
                <a:gd name="T59" fmla="*/ 64 h 432"/>
                <a:gd name="T60" fmla="*/ 336 w 520"/>
                <a:gd name="T61" fmla="*/ 40 h 432"/>
                <a:gd name="T62" fmla="*/ 352 w 520"/>
                <a:gd name="T63" fmla="*/ 24 h 432"/>
                <a:gd name="T64" fmla="*/ 336 w 520"/>
                <a:gd name="T65" fmla="*/ 32 h 432"/>
                <a:gd name="T66" fmla="*/ 328 w 520"/>
                <a:gd name="T67" fmla="*/ 24 h 432"/>
                <a:gd name="T68" fmla="*/ 296 w 520"/>
                <a:gd name="T69" fmla="*/ 16 h 432"/>
                <a:gd name="T70" fmla="*/ 272 w 520"/>
                <a:gd name="T71" fmla="*/ 24 h 432"/>
                <a:gd name="T72" fmla="*/ 264 w 520"/>
                <a:gd name="T73" fmla="*/ 48 h 432"/>
                <a:gd name="T74" fmla="*/ 248 w 520"/>
                <a:gd name="T75" fmla="*/ 56 h 432"/>
                <a:gd name="T76" fmla="*/ 248 w 520"/>
                <a:gd name="T77" fmla="*/ 72 h 432"/>
                <a:gd name="T78" fmla="*/ 232 w 520"/>
                <a:gd name="T79" fmla="*/ 72 h 432"/>
                <a:gd name="T80" fmla="*/ 224 w 520"/>
                <a:gd name="T81" fmla="*/ 48 h 432"/>
                <a:gd name="T82" fmla="*/ 200 w 520"/>
                <a:gd name="T83" fmla="*/ 64 h 432"/>
                <a:gd name="T84" fmla="*/ 176 w 520"/>
                <a:gd name="T85" fmla="*/ 88 h 432"/>
                <a:gd name="T86" fmla="*/ 168 w 520"/>
                <a:gd name="T87" fmla="*/ 88 h 432"/>
                <a:gd name="T88" fmla="*/ 160 w 520"/>
                <a:gd name="T89" fmla="*/ 104 h 432"/>
                <a:gd name="T90" fmla="*/ 144 w 520"/>
                <a:gd name="T91" fmla="*/ 104 h 432"/>
                <a:gd name="T92" fmla="*/ 120 w 520"/>
                <a:gd name="T93" fmla="*/ 136 h 432"/>
                <a:gd name="T94" fmla="*/ 32 w 520"/>
                <a:gd name="T95" fmla="*/ 176 h 432"/>
                <a:gd name="T96" fmla="*/ 24 w 520"/>
                <a:gd name="T97" fmla="*/ 184 h 432"/>
                <a:gd name="T98" fmla="*/ 16 w 520"/>
                <a:gd name="T99" fmla="*/ 200 h 432"/>
                <a:gd name="T100" fmla="*/ 8 w 520"/>
                <a:gd name="T101" fmla="*/ 224 h 432"/>
                <a:gd name="T102" fmla="*/ 8 w 520"/>
                <a:gd name="T103" fmla="*/ 232 h 432"/>
                <a:gd name="T104" fmla="*/ 16 w 520"/>
                <a:gd name="T105" fmla="*/ 320 h 432"/>
                <a:gd name="T106" fmla="*/ 0 w 520"/>
                <a:gd name="T107" fmla="*/ 34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0" h="432">
                  <a:moveTo>
                    <a:pt x="0" y="360"/>
                  </a:moveTo>
                  <a:lnTo>
                    <a:pt x="8" y="368"/>
                  </a:lnTo>
                  <a:lnTo>
                    <a:pt x="32" y="368"/>
                  </a:lnTo>
                  <a:lnTo>
                    <a:pt x="64" y="352"/>
                  </a:lnTo>
                  <a:lnTo>
                    <a:pt x="104" y="352"/>
                  </a:lnTo>
                  <a:lnTo>
                    <a:pt x="112" y="336"/>
                  </a:lnTo>
                  <a:lnTo>
                    <a:pt x="144" y="328"/>
                  </a:lnTo>
                  <a:lnTo>
                    <a:pt x="216" y="320"/>
                  </a:lnTo>
                  <a:lnTo>
                    <a:pt x="248" y="336"/>
                  </a:lnTo>
                  <a:lnTo>
                    <a:pt x="248" y="344"/>
                  </a:lnTo>
                  <a:lnTo>
                    <a:pt x="248" y="368"/>
                  </a:lnTo>
                  <a:lnTo>
                    <a:pt x="288" y="336"/>
                  </a:lnTo>
                  <a:lnTo>
                    <a:pt x="288" y="344"/>
                  </a:lnTo>
                  <a:lnTo>
                    <a:pt x="264" y="376"/>
                  </a:lnTo>
                  <a:lnTo>
                    <a:pt x="272" y="368"/>
                  </a:lnTo>
                  <a:lnTo>
                    <a:pt x="288" y="360"/>
                  </a:lnTo>
                  <a:lnTo>
                    <a:pt x="288" y="368"/>
                  </a:lnTo>
                  <a:lnTo>
                    <a:pt x="280" y="376"/>
                  </a:lnTo>
                  <a:lnTo>
                    <a:pt x="288" y="376"/>
                  </a:lnTo>
                  <a:lnTo>
                    <a:pt x="288" y="384"/>
                  </a:lnTo>
                  <a:lnTo>
                    <a:pt x="296" y="392"/>
                  </a:lnTo>
                  <a:lnTo>
                    <a:pt x="288" y="400"/>
                  </a:lnTo>
                  <a:lnTo>
                    <a:pt x="296" y="424"/>
                  </a:lnTo>
                  <a:lnTo>
                    <a:pt x="312" y="424"/>
                  </a:lnTo>
                  <a:lnTo>
                    <a:pt x="320" y="424"/>
                  </a:lnTo>
                  <a:lnTo>
                    <a:pt x="344" y="408"/>
                  </a:lnTo>
                  <a:lnTo>
                    <a:pt x="344" y="424"/>
                  </a:lnTo>
                  <a:lnTo>
                    <a:pt x="352" y="416"/>
                  </a:lnTo>
                  <a:lnTo>
                    <a:pt x="352" y="424"/>
                  </a:lnTo>
                  <a:lnTo>
                    <a:pt x="352" y="432"/>
                  </a:lnTo>
                  <a:lnTo>
                    <a:pt x="384" y="416"/>
                  </a:lnTo>
                  <a:lnTo>
                    <a:pt x="408" y="408"/>
                  </a:lnTo>
                  <a:lnTo>
                    <a:pt x="432" y="384"/>
                  </a:lnTo>
                  <a:lnTo>
                    <a:pt x="496" y="312"/>
                  </a:lnTo>
                  <a:lnTo>
                    <a:pt x="520" y="272"/>
                  </a:lnTo>
                  <a:lnTo>
                    <a:pt x="520" y="232"/>
                  </a:lnTo>
                  <a:lnTo>
                    <a:pt x="512" y="200"/>
                  </a:lnTo>
                  <a:lnTo>
                    <a:pt x="504" y="192"/>
                  </a:lnTo>
                  <a:lnTo>
                    <a:pt x="504" y="184"/>
                  </a:lnTo>
                  <a:lnTo>
                    <a:pt x="496" y="176"/>
                  </a:lnTo>
                  <a:lnTo>
                    <a:pt x="488" y="144"/>
                  </a:lnTo>
                  <a:lnTo>
                    <a:pt x="472" y="136"/>
                  </a:lnTo>
                  <a:lnTo>
                    <a:pt x="464" y="128"/>
                  </a:lnTo>
                  <a:lnTo>
                    <a:pt x="464" y="104"/>
                  </a:lnTo>
                  <a:lnTo>
                    <a:pt x="456" y="88"/>
                  </a:lnTo>
                  <a:lnTo>
                    <a:pt x="456" y="64"/>
                  </a:lnTo>
                  <a:lnTo>
                    <a:pt x="448" y="56"/>
                  </a:lnTo>
                  <a:lnTo>
                    <a:pt x="440" y="56"/>
                  </a:lnTo>
                  <a:lnTo>
                    <a:pt x="432" y="8"/>
                  </a:lnTo>
                  <a:lnTo>
                    <a:pt x="424" y="0"/>
                  </a:lnTo>
                  <a:lnTo>
                    <a:pt x="424" y="8"/>
                  </a:lnTo>
                  <a:lnTo>
                    <a:pt x="408" y="80"/>
                  </a:lnTo>
                  <a:lnTo>
                    <a:pt x="392" y="104"/>
                  </a:lnTo>
                  <a:lnTo>
                    <a:pt x="384" y="104"/>
                  </a:lnTo>
                  <a:lnTo>
                    <a:pt x="376" y="112"/>
                  </a:lnTo>
                  <a:lnTo>
                    <a:pt x="368" y="96"/>
                  </a:lnTo>
                  <a:lnTo>
                    <a:pt x="352" y="80"/>
                  </a:lnTo>
                  <a:lnTo>
                    <a:pt x="336" y="80"/>
                  </a:lnTo>
                  <a:lnTo>
                    <a:pt x="336" y="72"/>
                  </a:lnTo>
                  <a:lnTo>
                    <a:pt x="328" y="64"/>
                  </a:lnTo>
                  <a:lnTo>
                    <a:pt x="336" y="56"/>
                  </a:lnTo>
                  <a:lnTo>
                    <a:pt x="336" y="40"/>
                  </a:lnTo>
                  <a:lnTo>
                    <a:pt x="344" y="40"/>
                  </a:lnTo>
                  <a:lnTo>
                    <a:pt x="352" y="24"/>
                  </a:lnTo>
                  <a:lnTo>
                    <a:pt x="344" y="24"/>
                  </a:lnTo>
                  <a:lnTo>
                    <a:pt x="336" y="32"/>
                  </a:lnTo>
                  <a:lnTo>
                    <a:pt x="336" y="24"/>
                  </a:lnTo>
                  <a:lnTo>
                    <a:pt x="328" y="24"/>
                  </a:lnTo>
                  <a:lnTo>
                    <a:pt x="296" y="8"/>
                  </a:lnTo>
                  <a:lnTo>
                    <a:pt x="296" y="16"/>
                  </a:lnTo>
                  <a:lnTo>
                    <a:pt x="288" y="24"/>
                  </a:lnTo>
                  <a:lnTo>
                    <a:pt x="272" y="24"/>
                  </a:lnTo>
                  <a:lnTo>
                    <a:pt x="264" y="32"/>
                  </a:lnTo>
                  <a:lnTo>
                    <a:pt x="264" y="48"/>
                  </a:lnTo>
                  <a:lnTo>
                    <a:pt x="256" y="48"/>
                  </a:lnTo>
                  <a:lnTo>
                    <a:pt x="248" y="56"/>
                  </a:lnTo>
                  <a:lnTo>
                    <a:pt x="256" y="64"/>
                  </a:lnTo>
                  <a:lnTo>
                    <a:pt x="248" y="72"/>
                  </a:lnTo>
                  <a:lnTo>
                    <a:pt x="240" y="64"/>
                  </a:lnTo>
                  <a:lnTo>
                    <a:pt x="232" y="72"/>
                  </a:lnTo>
                  <a:lnTo>
                    <a:pt x="224" y="56"/>
                  </a:lnTo>
                  <a:lnTo>
                    <a:pt x="224" y="48"/>
                  </a:lnTo>
                  <a:lnTo>
                    <a:pt x="216" y="48"/>
                  </a:lnTo>
                  <a:lnTo>
                    <a:pt x="200" y="64"/>
                  </a:lnTo>
                  <a:lnTo>
                    <a:pt x="192" y="64"/>
                  </a:lnTo>
                  <a:lnTo>
                    <a:pt x="176" y="88"/>
                  </a:lnTo>
                  <a:lnTo>
                    <a:pt x="168" y="80"/>
                  </a:lnTo>
                  <a:lnTo>
                    <a:pt x="168" y="88"/>
                  </a:lnTo>
                  <a:lnTo>
                    <a:pt x="168" y="96"/>
                  </a:lnTo>
                  <a:lnTo>
                    <a:pt x="160" y="104"/>
                  </a:lnTo>
                  <a:lnTo>
                    <a:pt x="160" y="88"/>
                  </a:lnTo>
                  <a:lnTo>
                    <a:pt x="144" y="104"/>
                  </a:lnTo>
                  <a:lnTo>
                    <a:pt x="144" y="112"/>
                  </a:lnTo>
                  <a:lnTo>
                    <a:pt x="120" y="136"/>
                  </a:lnTo>
                  <a:lnTo>
                    <a:pt x="56" y="152"/>
                  </a:lnTo>
                  <a:lnTo>
                    <a:pt x="32" y="176"/>
                  </a:lnTo>
                  <a:lnTo>
                    <a:pt x="32" y="168"/>
                  </a:lnTo>
                  <a:lnTo>
                    <a:pt x="24" y="184"/>
                  </a:lnTo>
                  <a:lnTo>
                    <a:pt x="24" y="192"/>
                  </a:lnTo>
                  <a:lnTo>
                    <a:pt x="16" y="200"/>
                  </a:lnTo>
                  <a:lnTo>
                    <a:pt x="16" y="240"/>
                  </a:lnTo>
                  <a:lnTo>
                    <a:pt x="8" y="224"/>
                  </a:lnTo>
                  <a:lnTo>
                    <a:pt x="8" y="240"/>
                  </a:lnTo>
                  <a:lnTo>
                    <a:pt x="8" y="232"/>
                  </a:lnTo>
                  <a:lnTo>
                    <a:pt x="16" y="280"/>
                  </a:lnTo>
                  <a:lnTo>
                    <a:pt x="16" y="320"/>
                  </a:lnTo>
                  <a:lnTo>
                    <a:pt x="8" y="344"/>
                  </a:lnTo>
                  <a:lnTo>
                    <a:pt x="0" y="344"/>
                  </a:lnTo>
                  <a:lnTo>
                    <a:pt x="0" y="36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66" name="Freeform 303">
              <a:extLst>
                <a:ext uri="{FF2B5EF4-FFF2-40B4-BE49-F238E27FC236}">
                  <a16:creationId xmlns:a16="http://schemas.microsoft.com/office/drawing/2014/main" id="{23845FF1-5BFB-1200-2B4C-47C7FAB6CA4C}"/>
                </a:ext>
              </a:extLst>
            </p:cNvPr>
            <p:cNvSpPr>
              <a:spLocks/>
            </p:cNvSpPr>
            <p:nvPr/>
          </p:nvSpPr>
          <p:spPr bwMode="auto">
            <a:xfrm>
              <a:off x="7409841" y="4087088"/>
              <a:ext cx="31556" cy="15101"/>
            </a:xfrm>
            <a:custGeom>
              <a:avLst/>
              <a:gdLst>
                <a:gd name="T0" fmla="*/ 0 w 16"/>
                <a:gd name="T1" fmla="*/ 8 h 8"/>
                <a:gd name="T2" fmla="*/ 8 w 16"/>
                <a:gd name="T3" fmla="*/ 8 h 8"/>
                <a:gd name="T4" fmla="*/ 16 w 16"/>
                <a:gd name="T5" fmla="*/ 8 h 8"/>
                <a:gd name="T6" fmla="*/ 16 w 16"/>
                <a:gd name="T7" fmla="*/ 0 h 8"/>
                <a:gd name="T8" fmla="*/ 0 w 16"/>
                <a:gd name="T9" fmla="*/ 8 h 8"/>
              </a:gdLst>
              <a:ahLst/>
              <a:cxnLst>
                <a:cxn ang="0">
                  <a:pos x="T0" y="T1"/>
                </a:cxn>
                <a:cxn ang="0">
                  <a:pos x="T2" y="T3"/>
                </a:cxn>
                <a:cxn ang="0">
                  <a:pos x="T4" y="T5"/>
                </a:cxn>
                <a:cxn ang="0">
                  <a:pos x="T6" y="T7"/>
                </a:cxn>
                <a:cxn ang="0">
                  <a:pos x="T8" y="T9"/>
                </a:cxn>
              </a:cxnLst>
              <a:rect l="0" t="0" r="r" b="b"/>
              <a:pathLst>
                <a:path w="16" h="8">
                  <a:moveTo>
                    <a:pt x="0" y="8"/>
                  </a:moveTo>
                  <a:lnTo>
                    <a:pt x="8" y="8"/>
                  </a:lnTo>
                  <a:lnTo>
                    <a:pt x="16" y="8"/>
                  </a:lnTo>
                  <a:lnTo>
                    <a:pt x="16"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67" name="Freeform 304">
              <a:extLst>
                <a:ext uri="{FF2B5EF4-FFF2-40B4-BE49-F238E27FC236}">
                  <a16:creationId xmlns:a16="http://schemas.microsoft.com/office/drawing/2014/main" id="{1A6D06A0-02F2-5E8A-9C35-8490A9DB098D}"/>
                </a:ext>
              </a:extLst>
            </p:cNvPr>
            <p:cNvSpPr>
              <a:spLocks/>
            </p:cNvSpPr>
            <p:nvPr/>
          </p:nvSpPr>
          <p:spPr bwMode="auto">
            <a:xfrm>
              <a:off x="7524038" y="4251689"/>
              <a:ext cx="97670" cy="81547"/>
            </a:xfrm>
            <a:custGeom>
              <a:avLst/>
              <a:gdLst>
                <a:gd name="T0" fmla="*/ 8 w 48"/>
                <a:gd name="T1" fmla="*/ 0 h 40"/>
                <a:gd name="T2" fmla="*/ 0 w 48"/>
                <a:gd name="T3" fmla="*/ 32 h 40"/>
                <a:gd name="T4" fmla="*/ 0 w 48"/>
                <a:gd name="T5" fmla="*/ 40 h 40"/>
                <a:gd name="T6" fmla="*/ 8 w 48"/>
                <a:gd name="T7" fmla="*/ 40 h 40"/>
                <a:gd name="T8" fmla="*/ 24 w 48"/>
                <a:gd name="T9" fmla="*/ 32 h 40"/>
                <a:gd name="T10" fmla="*/ 48 w 48"/>
                <a:gd name="T11" fmla="*/ 0 h 40"/>
                <a:gd name="T12" fmla="*/ 24 w 48"/>
                <a:gd name="T13" fmla="*/ 8 h 40"/>
                <a:gd name="T14" fmla="*/ 8 w 48"/>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0">
                  <a:moveTo>
                    <a:pt x="8" y="0"/>
                  </a:moveTo>
                  <a:lnTo>
                    <a:pt x="0" y="32"/>
                  </a:lnTo>
                  <a:lnTo>
                    <a:pt x="0" y="40"/>
                  </a:lnTo>
                  <a:lnTo>
                    <a:pt x="8" y="40"/>
                  </a:lnTo>
                  <a:lnTo>
                    <a:pt x="24" y="32"/>
                  </a:lnTo>
                  <a:lnTo>
                    <a:pt x="48" y="0"/>
                  </a:lnTo>
                  <a:lnTo>
                    <a:pt x="24" y="8"/>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68" name="Freeform 305">
              <a:extLst>
                <a:ext uri="{FF2B5EF4-FFF2-40B4-BE49-F238E27FC236}">
                  <a16:creationId xmlns:a16="http://schemas.microsoft.com/office/drawing/2014/main" id="{A6729F9C-6073-9DF0-8902-451EAC8B1860}"/>
                </a:ext>
              </a:extLst>
            </p:cNvPr>
            <p:cNvSpPr>
              <a:spLocks/>
            </p:cNvSpPr>
            <p:nvPr/>
          </p:nvSpPr>
          <p:spPr bwMode="auto">
            <a:xfrm>
              <a:off x="6493253" y="2801975"/>
              <a:ext cx="294509" cy="362426"/>
            </a:xfrm>
            <a:custGeom>
              <a:avLst/>
              <a:gdLst>
                <a:gd name="T0" fmla="*/ 0 w 144"/>
                <a:gd name="T1" fmla="*/ 0 h 176"/>
                <a:gd name="T2" fmla="*/ 0 w 144"/>
                <a:gd name="T3" fmla="*/ 16 h 176"/>
                <a:gd name="T4" fmla="*/ 16 w 144"/>
                <a:gd name="T5" fmla="*/ 32 h 176"/>
                <a:gd name="T6" fmla="*/ 32 w 144"/>
                <a:gd name="T7" fmla="*/ 48 h 176"/>
                <a:gd name="T8" fmla="*/ 48 w 144"/>
                <a:gd name="T9" fmla="*/ 56 h 176"/>
                <a:gd name="T10" fmla="*/ 48 w 144"/>
                <a:gd name="T11" fmla="*/ 80 h 176"/>
                <a:gd name="T12" fmla="*/ 64 w 144"/>
                <a:gd name="T13" fmla="*/ 96 h 176"/>
                <a:gd name="T14" fmla="*/ 72 w 144"/>
                <a:gd name="T15" fmla="*/ 120 h 176"/>
                <a:gd name="T16" fmla="*/ 80 w 144"/>
                <a:gd name="T17" fmla="*/ 136 h 176"/>
                <a:gd name="T18" fmla="*/ 120 w 144"/>
                <a:gd name="T19" fmla="*/ 168 h 176"/>
                <a:gd name="T20" fmla="*/ 120 w 144"/>
                <a:gd name="T21" fmla="*/ 176 h 176"/>
                <a:gd name="T22" fmla="*/ 128 w 144"/>
                <a:gd name="T23" fmla="*/ 168 h 176"/>
                <a:gd name="T24" fmla="*/ 136 w 144"/>
                <a:gd name="T25" fmla="*/ 176 h 176"/>
                <a:gd name="T26" fmla="*/ 144 w 144"/>
                <a:gd name="T27" fmla="*/ 136 h 176"/>
                <a:gd name="T28" fmla="*/ 136 w 144"/>
                <a:gd name="T29" fmla="*/ 120 h 176"/>
                <a:gd name="T30" fmla="*/ 128 w 144"/>
                <a:gd name="T31" fmla="*/ 120 h 176"/>
                <a:gd name="T32" fmla="*/ 120 w 144"/>
                <a:gd name="T33" fmla="*/ 104 h 176"/>
                <a:gd name="T34" fmla="*/ 112 w 144"/>
                <a:gd name="T35" fmla="*/ 104 h 176"/>
                <a:gd name="T36" fmla="*/ 104 w 144"/>
                <a:gd name="T37" fmla="*/ 96 h 176"/>
                <a:gd name="T38" fmla="*/ 112 w 144"/>
                <a:gd name="T39" fmla="*/ 88 h 176"/>
                <a:gd name="T40" fmla="*/ 104 w 144"/>
                <a:gd name="T41" fmla="*/ 80 h 176"/>
                <a:gd name="T42" fmla="*/ 104 w 144"/>
                <a:gd name="T43" fmla="*/ 72 h 176"/>
                <a:gd name="T44" fmla="*/ 80 w 144"/>
                <a:gd name="T45" fmla="*/ 56 h 176"/>
                <a:gd name="T46" fmla="*/ 72 w 144"/>
                <a:gd name="T47" fmla="*/ 56 h 176"/>
                <a:gd name="T48" fmla="*/ 24 w 144"/>
                <a:gd name="T49" fmla="*/ 8 h 176"/>
                <a:gd name="T50" fmla="*/ 0 w 144"/>
                <a:gd name="T5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176">
                  <a:moveTo>
                    <a:pt x="0" y="0"/>
                  </a:moveTo>
                  <a:lnTo>
                    <a:pt x="0" y="16"/>
                  </a:lnTo>
                  <a:lnTo>
                    <a:pt x="16" y="32"/>
                  </a:lnTo>
                  <a:lnTo>
                    <a:pt x="32" y="48"/>
                  </a:lnTo>
                  <a:lnTo>
                    <a:pt x="48" y="56"/>
                  </a:lnTo>
                  <a:lnTo>
                    <a:pt x="48" y="80"/>
                  </a:lnTo>
                  <a:lnTo>
                    <a:pt x="64" y="96"/>
                  </a:lnTo>
                  <a:lnTo>
                    <a:pt x="72" y="120"/>
                  </a:lnTo>
                  <a:lnTo>
                    <a:pt x="80" y="136"/>
                  </a:lnTo>
                  <a:lnTo>
                    <a:pt x="120" y="168"/>
                  </a:lnTo>
                  <a:lnTo>
                    <a:pt x="120" y="176"/>
                  </a:lnTo>
                  <a:lnTo>
                    <a:pt x="128" y="168"/>
                  </a:lnTo>
                  <a:lnTo>
                    <a:pt x="136" y="176"/>
                  </a:lnTo>
                  <a:lnTo>
                    <a:pt x="144" y="136"/>
                  </a:lnTo>
                  <a:lnTo>
                    <a:pt x="136" y="120"/>
                  </a:lnTo>
                  <a:lnTo>
                    <a:pt x="128" y="120"/>
                  </a:lnTo>
                  <a:lnTo>
                    <a:pt x="120" y="104"/>
                  </a:lnTo>
                  <a:lnTo>
                    <a:pt x="112" y="104"/>
                  </a:lnTo>
                  <a:lnTo>
                    <a:pt x="104" y="96"/>
                  </a:lnTo>
                  <a:lnTo>
                    <a:pt x="112" y="88"/>
                  </a:lnTo>
                  <a:lnTo>
                    <a:pt x="104" y="80"/>
                  </a:lnTo>
                  <a:lnTo>
                    <a:pt x="104" y="72"/>
                  </a:lnTo>
                  <a:lnTo>
                    <a:pt x="80" y="56"/>
                  </a:lnTo>
                  <a:lnTo>
                    <a:pt x="72" y="56"/>
                  </a:lnTo>
                  <a:lnTo>
                    <a:pt x="24" y="8"/>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69" name="Freeform 306">
              <a:extLst>
                <a:ext uri="{FF2B5EF4-FFF2-40B4-BE49-F238E27FC236}">
                  <a16:creationId xmlns:a16="http://schemas.microsoft.com/office/drawing/2014/main" id="{2F19E6AD-E06C-703A-8A8E-39CFBBE3D248}"/>
                </a:ext>
              </a:extLst>
            </p:cNvPr>
            <p:cNvSpPr>
              <a:spLocks/>
            </p:cNvSpPr>
            <p:nvPr/>
          </p:nvSpPr>
          <p:spPr bwMode="auto">
            <a:xfrm>
              <a:off x="6754709" y="3164413"/>
              <a:ext cx="244924" cy="81547"/>
            </a:xfrm>
            <a:custGeom>
              <a:avLst/>
              <a:gdLst>
                <a:gd name="T0" fmla="*/ 0 w 120"/>
                <a:gd name="T1" fmla="*/ 8 h 40"/>
                <a:gd name="T2" fmla="*/ 40 w 120"/>
                <a:gd name="T3" fmla="*/ 24 h 40"/>
                <a:gd name="T4" fmla="*/ 56 w 120"/>
                <a:gd name="T5" fmla="*/ 24 h 40"/>
                <a:gd name="T6" fmla="*/ 96 w 120"/>
                <a:gd name="T7" fmla="*/ 40 h 40"/>
                <a:gd name="T8" fmla="*/ 104 w 120"/>
                <a:gd name="T9" fmla="*/ 32 h 40"/>
                <a:gd name="T10" fmla="*/ 120 w 120"/>
                <a:gd name="T11" fmla="*/ 40 h 40"/>
                <a:gd name="T12" fmla="*/ 120 w 120"/>
                <a:gd name="T13" fmla="*/ 24 h 40"/>
                <a:gd name="T14" fmla="*/ 104 w 120"/>
                <a:gd name="T15" fmla="*/ 24 h 40"/>
                <a:gd name="T16" fmla="*/ 96 w 120"/>
                <a:gd name="T17" fmla="*/ 16 h 40"/>
                <a:gd name="T18" fmla="*/ 72 w 120"/>
                <a:gd name="T19" fmla="*/ 8 h 40"/>
                <a:gd name="T20" fmla="*/ 72 w 120"/>
                <a:gd name="T21" fmla="*/ 16 h 40"/>
                <a:gd name="T22" fmla="*/ 48 w 120"/>
                <a:gd name="T23" fmla="*/ 16 h 40"/>
                <a:gd name="T24" fmla="*/ 32 w 120"/>
                <a:gd name="T25" fmla="*/ 0 h 40"/>
                <a:gd name="T26" fmla="*/ 16 w 120"/>
                <a:gd name="T27" fmla="*/ 0 h 40"/>
                <a:gd name="T28" fmla="*/ 0 w 120"/>
                <a:gd name="T2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40">
                  <a:moveTo>
                    <a:pt x="0" y="8"/>
                  </a:moveTo>
                  <a:lnTo>
                    <a:pt x="40" y="24"/>
                  </a:lnTo>
                  <a:lnTo>
                    <a:pt x="56" y="24"/>
                  </a:lnTo>
                  <a:lnTo>
                    <a:pt x="96" y="40"/>
                  </a:lnTo>
                  <a:lnTo>
                    <a:pt x="104" y="32"/>
                  </a:lnTo>
                  <a:lnTo>
                    <a:pt x="120" y="40"/>
                  </a:lnTo>
                  <a:lnTo>
                    <a:pt x="120" y="24"/>
                  </a:lnTo>
                  <a:lnTo>
                    <a:pt x="104" y="24"/>
                  </a:lnTo>
                  <a:lnTo>
                    <a:pt x="96" y="16"/>
                  </a:lnTo>
                  <a:lnTo>
                    <a:pt x="72" y="8"/>
                  </a:lnTo>
                  <a:lnTo>
                    <a:pt x="72" y="16"/>
                  </a:lnTo>
                  <a:lnTo>
                    <a:pt x="48" y="16"/>
                  </a:lnTo>
                  <a:lnTo>
                    <a:pt x="32" y="0"/>
                  </a:lnTo>
                  <a:lnTo>
                    <a:pt x="16"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70" name="Freeform 307">
              <a:extLst>
                <a:ext uri="{FF2B5EF4-FFF2-40B4-BE49-F238E27FC236}">
                  <a16:creationId xmlns:a16="http://schemas.microsoft.com/office/drawing/2014/main" id="{E968A8D8-AED2-DAFC-8A75-55900C3538C4}"/>
                </a:ext>
              </a:extLst>
            </p:cNvPr>
            <p:cNvSpPr>
              <a:spLocks/>
            </p:cNvSpPr>
            <p:nvPr/>
          </p:nvSpPr>
          <p:spPr bwMode="auto">
            <a:xfrm>
              <a:off x="6999632" y="3229336"/>
              <a:ext cx="33058" cy="16612"/>
            </a:xfrm>
            <a:custGeom>
              <a:avLst/>
              <a:gdLst>
                <a:gd name="T0" fmla="*/ 0 w 16"/>
                <a:gd name="T1" fmla="*/ 0 h 8"/>
                <a:gd name="T2" fmla="*/ 8 w 16"/>
                <a:gd name="T3" fmla="*/ 8 h 8"/>
                <a:gd name="T4" fmla="*/ 16 w 16"/>
                <a:gd name="T5" fmla="*/ 0 h 8"/>
                <a:gd name="T6" fmla="*/ 0 w 16"/>
                <a:gd name="T7" fmla="*/ 0 h 8"/>
              </a:gdLst>
              <a:ahLst/>
              <a:cxnLst>
                <a:cxn ang="0">
                  <a:pos x="T0" y="T1"/>
                </a:cxn>
                <a:cxn ang="0">
                  <a:pos x="T2" y="T3"/>
                </a:cxn>
                <a:cxn ang="0">
                  <a:pos x="T4" y="T5"/>
                </a:cxn>
                <a:cxn ang="0">
                  <a:pos x="T6" y="T7"/>
                </a:cxn>
              </a:cxnLst>
              <a:rect l="0" t="0" r="r" b="b"/>
              <a:pathLst>
                <a:path w="16" h="8">
                  <a:moveTo>
                    <a:pt x="0" y="0"/>
                  </a:moveTo>
                  <a:lnTo>
                    <a:pt x="8" y="8"/>
                  </a:lnTo>
                  <a:lnTo>
                    <a:pt x="16"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71" name="Freeform 308">
              <a:extLst>
                <a:ext uri="{FF2B5EF4-FFF2-40B4-BE49-F238E27FC236}">
                  <a16:creationId xmlns:a16="http://schemas.microsoft.com/office/drawing/2014/main" id="{56B7D58F-28E7-1402-8CB4-854F4608D2D3}"/>
                </a:ext>
              </a:extLst>
            </p:cNvPr>
            <p:cNvSpPr>
              <a:spLocks/>
            </p:cNvSpPr>
            <p:nvPr/>
          </p:nvSpPr>
          <p:spPr bwMode="auto">
            <a:xfrm>
              <a:off x="7049216" y="3229348"/>
              <a:ext cx="213369" cy="33223"/>
            </a:xfrm>
            <a:custGeom>
              <a:avLst/>
              <a:gdLst>
                <a:gd name="T0" fmla="*/ 0 w 104"/>
                <a:gd name="T1" fmla="*/ 16 h 16"/>
                <a:gd name="T2" fmla="*/ 16 w 104"/>
                <a:gd name="T3" fmla="*/ 16 h 16"/>
                <a:gd name="T4" fmla="*/ 48 w 104"/>
                <a:gd name="T5" fmla="*/ 8 h 16"/>
                <a:gd name="T6" fmla="*/ 80 w 104"/>
                <a:gd name="T7" fmla="*/ 16 h 16"/>
                <a:gd name="T8" fmla="*/ 104 w 104"/>
                <a:gd name="T9" fmla="*/ 8 h 16"/>
                <a:gd name="T10" fmla="*/ 88 w 104"/>
                <a:gd name="T11" fmla="*/ 0 h 16"/>
                <a:gd name="T12" fmla="*/ 80 w 104"/>
                <a:gd name="T13" fmla="*/ 8 h 16"/>
                <a:gd name="T14" fmla="*/ 56 w 104"/>
                <a:gd name="T15" fmla="*/ 0 h 16"/>
                <a:gd name="T16" fmla="*/ 48 w 104"/>
                <a:gd name="T17" fmla="*/ 8 h 16"/>
                <a:gd name="T18" fmla="*/ 24 w 104"/>
                <a:gd name="T19" fmla="*/ 0 h 16"/>
                <a:gd name="T20" fmla="*/ 24 w 104"/>
                <a:gd name="T21" fmla="*/ 8 h 16"/>
                <a:gd name="T22" fmla="*/ 8 w 104"/>
                <a:gd name="T23" fmla="*/ 0 h 16"/>
                <a:gd name="T24" fmla="*/ 0 w 104"/>
                <a:gd name="T25" fmla="*/ 8 h 16"/>
                <a:gd name="T26" fmla="*/ 0 w 104"/>
                <a:gd name="T2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16">
                  <a:moveTo>
                    <a:pt x="0" y="16"/>
                  </a:moveTo>
                  <a:lnTo>
                    <a:pt x="16" y="16"/>
                  </a:lnTo>
                  <a:lnTo>
                    <a:pt x="48" y="8"/>
                  </a:lnTo>
                  <a:lnTo>
                    <a:pt x="80" y="16"/>
                  </a:lnTo>
                  <a:lnTo>
                    <a:pt x="104" y="8"/>
                  </a:lnTo>
                  <a:lnTo>
                    <a:pt x="88" y="0"/>
                  </a:lnTo>
                  <a:lnTo>
                    <a:pt x="80" y="8"/>
                  </a:lnTo>
                  <a:lnTo>
                    <a:pt x="56" y="0"/>
                  </a:lnTo>
                  <a:lnTo>
                    <a:pt x="48" y="8"/>
                  </a:lnTo>
                  <a:lnTo>
                    <a:pt x="24" y="0"/>
                  </a:lnTo>
                  <a:lnTo>
                    <a:pt x="24" y="8"/>
                  </a:lnTo>
                  <a:lnTo>
                    <a:pt x="8" y="0"/>
                  </a:lnTo>
                  <a:lnTo>
                    <a:pt x="0" y="8"/>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72" name="Freeform 309">
              <a:extLst>
                <a:ext uri="{FF2B5EF4-FFF2-40B4-BE49-F238E27FC236}">
                  <a16:creationId xmlns:a16="http://schemas.microsoft.com/office/drawing/2014/main" id="{9AA905F6-5CDB-6912-F702-D4F7AFA63AB7}"/>
                </a:ext>
              </a:extLst>
            </p:cNvPr>
            <p:cNvSpPr>
              <a:spLocks/>
            </p:cNvSpPr>
            <p:nvPr/>
          </p:nvSpPr>
          <p:spPr bwMode="auto">
            <a:xfrm>
              <a:off x="7279129" y="3229336"/>
              <a:ext cx="15026" cy="16612"/>
            </a:xfrm>
            <a:custGeom>
              <a:avLst/>
              <a:gdLst>
                <a:gd name="T0" fmla="*/ 0 w 8"/>
                <a:gd name="T1" fmla="*/ 8 h 8"/>
                <a:gd name="T2" fmla="*/ 8 w 8"/>
                <a:gd name="T3" fmla="*/ 0 h 8"/>
                <a:gd name="T4" fmla="*/ 0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8" y="0"/>
                  </a:lnTo>
                  <a:lnTo>
                    <a:pt x="0"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73" name="Freeform 310">
              <a:extLst>
                <a:ext uri="{FF2B5EF4-FFF2-40B4-BE49-F238E27FC236}">
                  <a16:creationId xmlns:a16="http://schemas.microsoft.com/office/drawing/2014/main" id="{7BF74E72-457C-0D6C-C2BA-24209866B35F}"/>
                </a:ext>
              </a:extLst>
            </p:cNvPr>
            <p:cNvSpPr>
              <a:spLocks/>
            </p:cNvSpPr>
            <p:nvPr/>
          </p:nvSpPr>
          <p:spPr bwMode="auto">
            <a:xfrm>
              <a:off x="7310674" y="3214246"/>
              <a:ext cx="33058" cy="15101"/>
            </a:xfrm>
            <a:custGeom>
              <a:avLst/>
              <a:gdLst>
                <a:gd name="T0" fmla="*/ 0 w 16"/>
                <a:gd name="T1" fmla="*/ 8 h 8"/>
                <a:gd name="T2" fmla="*/ 8 w 16"/>
                <a:gd name="T3" fmla="*/ 8 h 8"/>
                <a:gd name="T4" fmla="*/ 16 w 16"/>
                <a:gd name="T5" fmla="*/ 0 h 8"/>
                <a:gd name="T6" fmla="*/ 8 w 16"/>
                <a:gd name="T7" fmla="*/ 0 h 8"/>
                <a:gd name="T8" fmla="*/ 0 w 16"/>
                <a:gd name="T9" fmla="*/ 8 h 8"/>
              </a:gdLst>
              <a:ahLst/>
              <a:cxnLst>
                <a:cxn ang="0">
                  <a:pos x="T0" y="T1"/>
                </a:cxn>
                <a:cxn ang="0">
                  <a:pos x="T2" y="T3"/>
                </a:cxn>
                <a:cxn ang="0">
                  <a:pos x="T4" y="T5"/>
                </a:cxn>
                <a:cxn ang="0">
                  <a:pos x="T6" y="T7"/>
                </a:cxn>
                <a:cxn ang="0">
                  <a:pos x="T8" y="T9"/>
                </a:cxn>
              </a:cxnLst>
              <a:rect l="0" t="0" r="r" b="b"/>
              <a:pathLst>
                <a:path w="16" h="8">
                  <a:moveTo>
                    <a:pt x="0" y="8"/>
                  </a:moveTo>
                  <a:lnTo>
                    <a:pt x="8" y="8"/>
                  </a:lnTo>
                  <a:lnTo>
                    <a:pt x="16" y="0"/>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74" name="Freeform 311">
              <a:extLst>
                <a:ext uri="{FF2B5EF4-FFF2-40B4-BE49-F238E27FC236}">
                  <a16:creationId xmlns:a16="http://schemas.microsoft.com/office/drawing/2014/main" id="{FC3B05E4-324E-8A50-3D76-95483E8E96DB}"/>
                </a:ext>
              </a:extLst>
            </p:cNvPr>
            <p:cNvSpPr>
              <a:spLocks/>
            </p:cNvSpPr>
            <p:nvPr/>
          </p:nvSpPr>
          <p:spPr bwMode="auto">
            <a:xfrm>
              <a:off x="7130362" y="3279168"/>
              <a:ext cx="49585" cy="16611"/>
            </a:xfrm>
            <a:custGeom>
              <a:avLst/>
              <a:gdLst>
                <a:gd name="T0" fmla="*/ 0 w 24"/>
                <a:gd name="T1" fmla="*/ 0 h 8"/>
                <a:gd name="T2" fmla="*/ 16 w 24"/>
                <a:gd name="T3" fmla="*/ 8 h 8"/>
                <a:gd name="T4" fmla="*/ 24 w 24"/>
                <a:gd name="T5" fmla="*/ 8 h 8"/>
                <a:gd name="T6" fmla="*/ 8 w 24"/>
                <a:gd name="T7" fmla="*/ 0 h 8"/>
                <a:gd name="T8" fmla="*/ 0 w 24"/>
                <a:gd name="T9" fmla="*/ 0 h 8"/>
              </a:gdLst>
              <a:ahLst/>
              <a:cxnLst>
                <a:cxn ang="0">
                  <a:pos x="T0" y="T1"/>
                </a:cxn>
                <a:cxn ang="0">
                  <a:pos x="T2" y="T3"/>
                </a:cxn>
                <a:cxn ang="0">
                  <a:pos x="T4" y="T5"/>
                </a:cxn>
                <a:cxn ang="0">
                  <a:pos x="T6" y="T7"/>
                </a:cxn>
                <a:cxn ang="0">
                  <a:pos x="T8" y="T9"/>
                </a:cxn>
              </a:cxnLst>
              <a:rect l="0" t="0" r="r" b="b"/>
              <a:pathLst>
                <a:path w="24" h="8">
                  <a:moveTo>
                    <a:pt x="0" y="0"/>
                  </a:moveTo>
                  <a:lnTo>
                    <a:pt x="16" y="8"/>
                  </a:lnTo>
                  <a:lnTo>
                    <a:pt x="24" y="8"/>
                  </a:lnTo>
                  <a:lnTo>
                    <a:pt x="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75" name="Freeform 312">
              <a:extLst>
                <a:ext uri="{FF2B5EF4-FFF2-40B4-BE49-F238E27FC236}">
                  <a16:creationId xmlns:a16="http://schemas.microsoft.com/office/drawing/2014/main" id="{F9725BD8-5E64-939A-607F-A682D13A34B5}"/>
                </a:ext>
              </a:extLst>
            </p:cNvPr>
            <p:cNvSpPr>
              <a:spLocks/>
            </p:cNvSpPr>
            <p:nvPr/>
          </p:nvSpPr>
          <p:spPr bwMode="auto">
            <a:xfrm>
              <a:off x="7457926" y="3197634"/>
              <a:ext cx="16530" cy="31711"/>
            </a:xfrm>
            <a:custGeom>
              <a:avLst/>
              <a:gdLst>
                <a:gd name="T0" fmla="*/ 0 w 8"/>
                <a:gd name="T1" fmla="*/ 16 h 16"/>
                <a:gd name="T2" fmla="*/ 8 w 8"/>
                <a:gd name="T3" fmla="*/ 8 h 16"/>
                <a:gd name="T4" fmla="*/ 8 w 8"/>
                <a:gd name="T5" fmla="*/ 0 h 16"/>
                <a:gd name="T6" fmla="*/ 0 w 8"/>
                <a:gd name="T7" fmla="*/ 16 h 16"/>
              </a:gdLst>
              <a:ahLst/>
              <a:cxnLst>
                <a:cxn ang="0">
                  <a:pos x="T0" y="T1"/>
                </a:cxn>
                <a:cxn ang="0">
                  <a:pos x="T2" y="T3"/>
                </a:cxn>
                <a:cxn ang="0">
                  <a:pos x="T4" y="T5"/>
                </a:cxn>
                <a:cxn ang="0">
                  <a:pos x="T6" y="T7"/>
                </a:cxn>
              </a:cxnLst>
              <a:rect l="0" t="0" r="r" b="b"/>
              <a:pathLst>
                <a:path w="8" h="16">
                  <a:moveTo>
                    <a:pt x="0" y="16"/>
                  </a:moveTo>
                  <a:lnTo>
                    <a:pt x="8" y="8"/>
                  </a:lnTo>
                  <a:lnTo>
                    <a:pt x="8" y="0"/>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76" name="Freeform 313">
              <a:extLst>
                <a:ext uri="{FF2B5EF4-FFF2-40B4-BE49-F238E27FC236}">
                  <a16:creationId xmlns:a16="http://schemas.microsoft.com/office/drawing/2014/main" id="{85DCD002-2977-BAAA-A075-131D3E53FE12}"/>
                </a:ext>
              </a:extLst>
            </p:cNvPr>
            <p:cNvSpPr>
              <a:spLocks/>
            </p:cNvSpPr>
            <p:nvPr/>
          </p:nvSpPr>
          <p:spPr bwMode="auto">
            <a:xfrm>
              <a:off x="7540567" y="3147789"/>
              <a:ext cx="16528" cy="49834"/>
            </a:xfrm>
            <a:custGeom>
              <a:avLst/>
              <a:gdLst>
                <a:gd name="T0" fmla="*/ 0 w 8"/>
                <a:gd name="T1" fmla="*/ 24 h 24"/>
                <a:gd name="T2" fmla="*/ 8 w 8"/>
                <a:gd name="T3" fmla="*/ 8 h 24"/>
                <a:gd name="T4" fmla="*/ 8 w 8"/>
                <a:gd name="T5" fmla="*/ 0 h 24"/>
                <a:gd name="T6" fmla="*/ 0 w 8"/>
                <a:gd name="T7" fmla="*/ 24 h 24"/>
              </a:gdLst>
              <a:ahLst/>
              <a:cxnLst>
                <a:cxn ang="0">
                  <a:pos x="T0" y="T1"/>
                </a:cxn>
                <a:cxn ang="0">
                  <a:pos x="T2" y="T3"/>
                </a:cxn>
                <a:cxn ang="0">
                  <a:pos x="T4" y="T5"/>
                </a:cxn>
                <a:cxn ang="0">
                  <a:pos x="T6" y="T7"/>
                </a:cxn>
              </a:cxnLst>
              <a:rect l="0" t="0" r="r" b="b"/>
              <a:pathLst>
                <a:path w="8" h="24">
                  <a:moveTo>
                    <a:pt x="0" y="24"/>
                  </a:moveTo>
                  <a:lnTo>
                    <a:pt x="8" y="8"/>
                  </a:lnTo>
                  <a:lnTo>
                    <a:pt x="8" y="0"/>
                  </a:lnTo>
                  <a:lnTo>
                    <a:pt x="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77" name="Freeform 314">
              <a:extLst>
                <a:ext uri="{FF2B5EF4-FFF2-40B4-BE49-F238E27FC236}">
                  <a16:creationId xmlns:a16="http://schemas.microsoft.com/office/drawing/2014/main" id="{899E65A4-5D3E-5B58-4471-479985B3CA0D}"/>
                </a:ext>
              </a:extLst>
            </p:cNvPr>
            <p:cNvSpPr>
              <a:spLocks/>
            </p:cNvSpPr>
            <p:nvPr/>
          </p:nvSpPr>
          <p:spPr bwMode="auto">
            <a:xfrm>
              <a:off x="6754705" y="3033022"/>
              <a:ext cx="49585" cy="48322"/>
            </a:xfrm>
            <a:custGeom>
              <a:avLst/>
              <a:gdLst>
                <a:gd name="T0" fmla="*/ 0 w 24"/>
                <a:gd name="T1" fmla="*/ 0 h 24"/>
                <a:gd name="T2" fmla="*/ 8 w 24"/>
                <a:gd name="T3" fmla="*/ 8 h 24"/>
                <a:gd name="T4" fmla="*/ 8 w 24"/>
                <a:gd name="T5" fmla="*/ 16 h 24"/>
                <a:gd name="T6" fmla="*/ 24 w 24"/>
                <a:gd name="T7" fmla="*/ 24 h 24"/>
                <a:gd name="T8" fmla="*/ 24 w 24"/>
                <a:gd name="T9" fmla="*/ 16 h 24"/>
                <a:gd name="T10" fmla="*/ 16 w 24"/>
                <a:gd name="T11" fmla="*/ 8 h 24"/>
                <a:gd name="T12" fmla="*/ 16 w 24"/>
                <a:gd name="T13" fmla="*/ 0 h 24"/>
                <a:gd name="T14" fmla="*/ 0 w 24"/>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4">
                  <a:moveTo>
                    <a:pt x="0" y="0"/>
                  </a:moveTo>
                  <a:lnTo>
                    <a:pt x="8" y="8"/>
                  </a:lnTo>
                  <a:lnTo>
                    <a:pt x="8" y="16"/>
                  </a:lnTo>
                  <a:lnTo>
                    <a:pt x="24" y="24"/>
                  </a:lnTo>
                  <a:lnTo>
                    <a:pt x="24" y="16"/>
                  </a:lnTo>
                  <a:lnTo>
                    <a:pt x="16" y="8"/>
                  </a:lnTo>
                  <a:lnTo>
                    <a:pt x="16"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78" name="Freeform 315">
              <a:extLst>
                <a:ext uri="{FF2B5EF4-FFF2-40B4-BE49-F238E27FC236}">
                  <a16:creationId xmlns:a16="http://schemas.microsoft.com/office/drawing/2014/main" id="{80719AFE-2339-D7F7-ABBE-B9576A4131B3}"/>
                </a:ext>
              </a:extLst>
            </p:cNvPr>
            <p:cNvSpPr>
              <a:spLocks/>
            </p:cNvSpPr>
            <p:nvPr/>
          </p:nvSpPr>
          <p:spPr bwMode="auto">
            <a:xfrm>
              <a:off x="6819318" y="3064742"/>
              <a:ext cx="16528" cy="16611"/>
            </a:xfrm>
            <a:custGeom>
              <a:avLst/>
              <a:gdLst>
                <a:gd name="T0" fmla="*/ 0 w 8"/>
                <a:gd name="T1" fmla="*/ 8 h 8"/>
                <a:gd name="T2" fmla="*/ 8 w 8"/>
                <a:gd name="T3" fmla="*/ 8 h 8"/>
                <a:gd name="T4" fmla="*/ 8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8" y="8"/>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79" name="Line 316">
              <a:extLst>
                <a:ext uri="{FF2B5EF4-FFF2-40B4-BE49-F238E27FC236}">
                  <a16:creationId xmlns:a16="http://schemas.microsoft.com/office/drawing/2014/main" id="{115C3A54-71BE-233D-05A4-67EEB1B4C088}"/>
                </a:ext>
              </a:extLst>
            </p:cNvPr>
            <p:cNvSpPr>
              <a:spLocks noChangeShapeType="1"/>
            </p:cNvSpPr>
            <p:nvPr/>
          </p:nvSpPr>
          <p:spPr bwMode="auto">
            <a:xfrm>
              <a:off x="3872715" y="1171071"/>
              <a:ext cx="3005" cy="1661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80" name="Line 317">
              <a:extLst>
                <a:ext uri="{FF2B5EF4-FFF2-40B4-BE49-F238E27FC236}">
                  <a16:creationId xmlns:a16="http://schemas.microsoft.com/office/drawing/2014/main" id="{83D583DC-5D63-B16E-3313-A5656C2D40D7}"/>
                </a:ext>
              </a:extLst>
            </p:cNvPr>
            <p:cNvSpPr>
              <a:spLocks noChangeShapeType="1"/>
            </p:cNvSpPr>
            <p:nvPr/>
          </p:nvSpPr>
          <p:spPr bwMode="auto">
            <a:xfrm>
              <a:off x="6968075" y="3214234"/>
              <a:ext cx="31556" cy="1510"/>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81" name="Freeform 318">
              <a:extLst>
                <a:ext uri="{FF2B5EF4-FFF2-40B4-BE49-F238E27FC236}">
                  <a16:creationId xmlns:a16="http://schemas.microsoft.com/office/drawing/2014/main" id="{D46098DC-44B2-A334-CD8C-37B87FF4FB9C}"/>
                </a:ext>
              </a:extLst>
            </p:cNvPr>
            <p:cNvSpPr>
              <a:spLocks/>
            </p:cNvSpPr>
            <p:nvPr/>
          </p:nvSpPr>
          <p:spPr bwMode="auto">
            <a:xfrm>
              <a:off x="7130357" y="2933355"/>
              <a:ext cx="180312" cy="231046"/>
            </a:xfrm>
            <a:custGeom>
              <a:avLst/>
              <a:gdLst>
                <a:gd name="T0" fmla="*/ 0 w 88"/>
                <a:gd name="T1" fmla="*/ 64 h 112"/>
                <a:gd name="T2" fmla="*/ 0 w 88"/>
                <a:gd name="T3" fmla="*/ 72 h 112"/>
                <a:gd name="T4" fmla="*/ 8 w 88"/>
                <a:gd name="T5" fmla="*/ 72 h 112"/>
                <a:gd name="T6" fmla="*/ 8 w 88"/>
                <a:gd name="T7" fmla="*/ 80 h 112"/>
                <a:gd name="T8" fmla="*/ 8 w 88"/>
                <a:gd name="T9" fmla="*/ 104 h 112"/>
                <a:gd name="T10" fmla="*/ 16 w 88"/>
                <a:gd name="T11" fmla="*/ 104 h 112"/>
                <a:gd name="T12" fmla="*/ 16 w 88"/>
                <a:gd name="T13" fmla="*/ 72 h 112"/>
                <a:gd name="T14" fmla="*/ 24 w 88"/>
                <a:gd name="T15" fmla="*/ 64 h 112"/>
                <a:gd name="T16" fmla="*/ 32 w 88"/>
                <a:gd name="T17" fmla="*/ 64 h 112"/>
                <a:gd name="T18" fmla="*/ 24 w 88"/>
                <a:gd name="T19" fmla="*/ 72 h 112"/>
                <a:gd name="T20" fmla="*/ 40 w 88"/>
                <a:gd name="T21" fmla="*/ 88 h 112"/>
                <a:gd name="T22" fmla="*/ 40 w 88"/>
                <a:gd name="T23" fmla="*/ 96 h 112"/>
                <a:gd name="T24" fmla="*/ 48 w 88"/>
                <a:gd name="T25" fmla="*/ 96 h 112"/>
                <a:gd name="T26" fmla="*/ 48 w 88"/>
                <a:gd name="T27" fmla="*/ 104 h 112"/>
                <a:gd name="T28" fmla="*/ 48 w 88"/>
                <a:gd name="T29" fmla="*/ 112 h 112"/>
                <a:gd name="T30" fmla="*/ 56 w 88"/>
                <a:gd name="T31" fmla="*/ 104 h 112"/>
                <a:gd name="T32" fmla="*/ 56 w 88"/>
                <a:gd name="T33" fmla="*/ 96 h 112"/>
                <a:gd name="T34" fmla="*/ 40 w 88"/>
                <a:gd name="T35" fmla="*/ 72 h 112"/>
                <a:gd name="T36" fmla="*/ 48 w 88"/>
                <a:gd name="T37" fmla="*/ 72 h 112"/>
                <a:gd name="T38" fmla="*/ 40 w 88"/>
                <a:gd name="T39" fmla="*/ 48 h 112"/>
                <a:gd name="T40" fmla="*/ 56 w 88"/>
                <a:gd name="T41" fmla="*/ 40 h 112"/>
                <a:gd name="T42" fmla="*/ 64 w 88"/>
                <a:gd name="T43" fmla="*/ 40 h 112"/>
                <a:gd name="T44" fmla="*/ 56 w 88"/>
                <a:gd name="T45" fmla="*/ 32 h 112"/>
                <a:gd name="T46" fmla="*/ 24 w 88"/>
                <a:gd name="T47" fmla="*/ 40 h 112"/>
                <a:gd name="T48" fmla="*/ 16 w 88"/>
                <a:gd name="T49" fmla="*/ 32 h 112"/>
                <a:gd name="T50" fmla="*/ 16 w 88"/>
                <a:gd name="T51" fmla="*/ 24 h 112"/>
                <a:gd name="T52" fmla="*/ 24 w 88"/>
                <a:gd name="T53" fmla="*/ 16 h 112"/>
                <a:gd name="T54" fmla="*/ 64 w 88"/>
                <a:gd name="T55" fmla="*/ 16 h 112"/>
                <a:gd name="T56" fmla="*/ 80 w 88"/>
                <a:gd name="T57" fmla="*/ 16 h 112"/>
                <a:gd name="T58" fmla="*/ 88 w 88"/>
                <a:gd name="T59" fmla="*/ 0 h 112"/>
                <a:gd name="T60" fmla="*/ 80 w 88"/>
                <a:gd name="T61" fmla="*/ 0 h 112"/>
                <a:gd name="T62" fmla="*/ 72 w 88"/>
                <a:gd name="T63" fmla="*/ 8 h 112"/>
                <a:gd name="T64" fmla="*/ 56 w 88"/>
                <a:gd name="T65" fmla="*/ 8 h 112"/>
                <a:gd name="T66" fmla="*/ 32 w 88"/>
                <a:gd name="T67" fmla="*/ 0 h 112"/>
                <a:gd name="T68" fmla="*/ 24 w 88"/>
                <a:gd name="T69" fmla="*/ 8 h 112"/>
                <a:gd name="T70" fmla="*/ 16 w 88"/>
                <a:gd name="T71" fmla="*/ 8 h 112"/>
                <a:gd name="T72" fmla="*/ 16 w 88"/>
                <a:gd name="T73" fmla="*/ 32 h 112"/>
                <a:gd name="T74" fmla="*/ 0 w 88"/>
                <a:gd name="T75" fmla="*/ 6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12">
                  <a:moveTo>
                    <a:pt x="0" y="64"/>
                  </a:moveTo>
                  <a:lnTo>
                    <a:pt x="0" y="72"/>
                  </a:lnTo>
                  <a:lnTo>
                    <a:pt x="8" y="72"/>
                  </a:lnTo>
                  <a:lnTo>
                    <a:pt x="8" y="80"/>
                  </a:lnTo>
                  <a:lnTo>
                    <a:pt x="8" y="104"/>
                  </a:lnTo>
                  <a:lnTo>
                    <a:pt x="16" y="104"/>
                  </a:lnTo>
                  <a:lnTo>
                    <a:pt x="16" y="72"/>
                  </a:lnTo>
                  <a:lnTo>
                    <a:pt x="24" y="64"/>
                  </a:lnTo>
                  <a:lnTo>
                    <a:pt x="32" y="64"/>
                  </a:lnTo>
                  <a:lnTo>
                    <a:pt x="24" y="72"/>
                  </a:lnTo>
                  <a:lnTo>
                    <a:pt x="40" y="88"/>
                  </a:lnTo>
                  <a:lnTo>
                    <a:pt x="40" y="96"/>
                  </a:lnTo>
                  <a:lnTo>
                    <a:pt x="48" y="96"/>
                  </a:lnTo>
                  <a:lnTo>
                    <a:pt x="48" y="104"/>
                  </a:lnTo>
                  <a:lnTo>
                    <a:pt x="48" y="112"/>
                  </a:lnTo>
                  <a:lnTo>
                    <a:pt x="56" y="104"/>
                  </a:lnTo>
                  <a:lnTo>
                    <a:pt x="56" y="96"/>
                  </a:lnTo>
                  <a:lnTo>
                    <a:pt x="40" y="72"/>
                  </a:lnTo>
                  <a:lnTo>
                    <a:pt x="48" y="72"/>
                  </a:lnTo>
                  <a:lnTo>
                    <a:pt x="40" y="48"/>
                  </a:lnTo>
                  <a:lnTo>
                    <a:pt x="56" y="40"/>
                  </a:lnTo>
                  <a:lnTo>
                    <a:pt x="64" y="40"/>
                  </a:lnTo>
                  <a:lnTo>
                    <a:pt x="56" y="32"/>
                  </a:lnTo>
                  <a:lnTo>
                    <a:pt x="24" y="40"/>
                  </a:lnTo>
                  <a:lnTo>
                    <a:pt x="16" y="32"/>
                  </a:lnTo>
                  <a:lnTo>
                    <a:pt x="16" y="24"/>
                  </a:lnTo>
                  <a:lnTo>
                    <a:pt x="24" y="16"/>
                  </a:lnTo>
                  <a:lnTo>
                    <a:pt x="64" y="16"/>
                  </a:lnTo>
                  <a:lnTo>
                    <a:pt x="80" y="16"/>
                  </a:lnTo>
                  <a:lnTo>
                    <a:pt x="88" y="0"/>
                  </a:lnTo>
                  <a:lnTo>
                    <a:pt x="80" y="0"/>
                  </a:lnTo>
                  <a:lnTo>
                    <a:pt x="72" y="8"/>
                  </a:lnTo>
                  <a:lnTo>
                    <a:pt x="56" y="8"/>
                  </a:lnTo>
                  <a:lnTo>
                    <a:pt x="32" y="0"/>
                  </a:lnTo>
                  <a:lnTo>
                    <a:pt x="24" y="8"/>
                  </a:lnTo>
                  <a:lnTo>
                    <a:pt x="16" y="8"/>
                  </a:lnTo>
                  <a:lnTo>
                    <a:pt x="16" y="32"/>
                  </a:lnTo>
                  <a:lnTo>
                    <a:pt x="0" y="6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82" name="Freeform 319">
              <a:extLst>
                <a:ext uri="{FF2B5EF4-FFF2-40B4-BE49-F238E27FC236}">
                  <a16:creationId xmlns:a16="http://schemas.microsoft.com/office/drawing/2014/main" id="{85786E3E-7CE6-01DE-B425-EE5CC7D65F3E}"/>
                </a:ext>
              </a:extLst>
            </p:cNvPr>
            <p:cNvSpPr>
              <a:spLocks/>
            </p:cNvSpPr>
            <p:nvPr/>
          </p:nvSpPr>
          <p:spPr bwMode="auto">
            <a:xfrm>
              <a:off x="7360255" y="2916744"/>
              <a:ext cx="49585" cy="99668"/>
            </a:xfrm>
            <a:custGeom>
              <a:avLst/>
              <a:gdLst>
                <a:gd name="T0" fmla="*/ 0 w 24"/>
                <a:gd name="T1" fmla="*/ 16 h 48"/>
                <a:gd name="T2" fmla="*/ 8 w 24"/>
                <a:gd name="T3" fmla="*/ 32 h 48"/>
                <a:gd name="T4" fmla="*/ 16 w 24"/>
                <a:gd name="T5" fmla="*/ 48 h 48"/>
                <a:gd name="T6" fmla="*/ 8 w 24"/>
                <a:gd name="T7" fmla="*/ 32 h 48"/>
                <a:gd name="T8" fmla="*/ 8 w 24"/>
                <a:gd name="T9" fmla="*/ 24 h 48"/>
                <a:gd name="T10" fmla="*/ 16 w 24"/>
                <a:gd name="T11" fmla="*/ 24 h 48"/>
                <a:gd name="T12" fmla="*/ 16 w 24"/>
                <a:gd name="T13" fmla="*/ 16 h 48"/>
                <a:gd name="T14" fmla="*/ 24 w 24"/>
                <a:gd name="T15" fmla="*/ 16 h 48"/>
                <a:gd name="T16" fmla="*/ 24 w 24"/>
                <a:gd name="T17" fmla="*/ 8 h 48"/>
                <a:gd name="T18" fmla="*/ 16 w 24"/>
                <a:gd name="T19" fmla="*/ 8 h 48"/>
                <a:gd name="T20" fmla="*/ 8 w 24"/>
                <a:gd name="T21" fmla="*/ 0 h 48"/>
                <a:gd name="T22" fmla="*/ 0 w 24"/>
                <a:gd name="T23"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48">
                  <a:moveTo>
                    <a:pt x="0" y="16"/>
                  </a:moveTo>
                  <a:lnTo>
                    <a:pt x="8" y="32"/>
                  </a:lnTo>
                  <a:lnTo>
                    <a:pt x="16" y="48"/>
                  </a:lnTo>
                  <a:lnTo>
                    <a:pt x="8" y="32"/>
                  </a:lnTo>
                  <a:lnTo>
                    <a:pt x="8" y="24"/>
                  </a:lnTo>
                  <a:lnTo>
                    <a:pt x="16" y="24"/>
                  </a:lnTo>
                  <a:lnTo>
                    <a:pt x="16" y="16"/>
                  </a:lnTo>
                  <a:lnTo>
                    <a:pt x="24" y="16"/>
                  </a:lnTo>
                  <a:lnTo>
                    <a:pt x="24" y="8"/>
                  </a:lnTo>
                  <a:lnTo>
                    <a:pt x="16" y="8"/>
                  </a:lnTo>
                  <a:lnTo>
                    <a:pt x="8" y="0"/>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83" name="Freeform 320">
              <a:extLst>
                <a:ext uri="{FF2B5EF4-FFF2-40B4-BE49-F238E27FC236}">
                  <a16:creationId xmlns:a16="http://schemas.microsoft.com/office/drawing/2014/main" id="{C0A9091A-DE5C-38B8-BD23-396049F175A2}"/>
                </a:ext>
              </a:extLst>
            </p:cNvPr>
            <p:cNvSpPr>
              <a:spLocks/>
            </p:cNvSpPr>
            <p:nvPr/>
          </p:nvSpPr>
          <p:spPr bwMode="auto">
            <a:xfrm>
              <a:off x="7327198" y="3081344"/>
              <a:ext cx="33058" cy="16612"/>
            </a:xfrm>
            <a:custGeom>
              <a:avLst/>
              <a:gdLst>
                <a:gd name="T0" fmla="*/ 0 w 16"/>
                <a:gd name="T1" fmla="*/ 0 h 8"/>
                <a:gd name="T2" fmla="*/ 8 w 16"/>
                <a:gd name="T3" fmla="*/ 8 h 8"/>
                <a:gd name="T4" fmla="*/ 16 w 16"/>
                <a:gd name="T5" fmla="*/ 8 h 8"/>
                <a:gd name="T6" fmla="*/ 16 w 16"/>
                <a:gd name="T7" fmla="*/ 0 h 8"/>
                <a:gd name="T8" fmla="*/ 0 w 16"/>
                <a:gd name="T9" fmla="*/ 0 h 8"/>
              </a:gdLst>
              <a:ahLst/>
              <a:cxnLst>
                <a:cxn ang="0">
                  <a:pos x="T0" y="T1"/>
                </a:cxn>
                <a:cxn ang="0">
                  <a:pos x="T2" y="T3"/>
                </a:cxn>
                <a:cxn ang="0">
                  <a:pos x="T4" y="T5"/>
                </a:cxn>
                <a:cxn ang="0">
                  <a:pos x="T6" y="T7"/>
                </a:cxn>
                <a:cxn ang="0">
                  <a:pos x="T8" y="T9"/>
                </a:cxn>
              </a:cxnLst>
              <a:rect l="0" t="0" r="r" b="b"/>
              <a:pathLst>
                <a:path w="16" h="8">
                  <a:moveTo>
                    <a:pt x="0" y="0"/>
                  </a:moveTo>
                  <a:lnTo>
                    <a:pt x="8" y="8"/>
                  </a:lnTo>
                  <a:lnTo>
                    <a:pt x="16" y="8"/>
                  </a:lnTo>
                  <a:lnTo>
                    <a:pt x="16"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84" name="Freeform 321">
              <a:extLst>
                <a:ext uri="{FF2B5EF4-FFF2-40B4-BE49-F238E27FC236}">
                  <a16:creationId xmlns:a16="http://schemas.microsoft.com/office/drawing/2014/main" id="{D659745A-BE03-ED21-BF37-1475DDA53563}"/>
                </a:ext>
              </a:extLst>
            </p:cNvPr>
            <p:cNvSpPr>
              <a:spLocks/>
            </p:cNvSpPr>
            <p:nvPr/>
          </p:nvSpPr>
          <p:spPr bwMode="auto">
            <a:xfrm>
              <a:off x="7376788" y="3064747"/>
              <a:ext cx="81140" cy="33223"/>
            </a:xfrm>
            <a:custGeom>
              <a:avLst/>
              <a:gdLst>
                <a:gd name="T0" fmla="*/ 0 w 40"/>
                <a:gd name="T1" fmla="*/ 8 h 16"/>
                <a:gd name="T2" fmla="*/ 40 w 40"/>
                <a:gd name="T3" fmla="*/ 16 h 16"/>
                <a:gd name="T4" fmla="*/ 32 w 40"/>
                <a:gd name="T5" fmla="*/ 8 h 16"/>
                <a:gd name="T6" fmla="*/ 24 w 40"/>
                <a:gd name="T7" fmla="*/ 0 h 16"/>
                <a:gd name="T8" fmla="*/ 8 w 40"/>
                <a:gd name="T9" fmla="*/ 0 h 16"/>
                <a:gd name="T10" fmla="*/ 0 w 40"/>
                <a:gd name="T11" fmla="*/ 8 h 16"/>
              </a:gdLst>
              <a:ahLst/>
              <a:cxnLst>
                <a:cxn ang="0">
                  <a:pos x="T0" y="T1"/>
                </a:cxn>
                <a:cxn ang="0">
                  <a:pos x="T2" y="T3"/>
                </a:cxn>
                <a:cxn ang="0">
                  <a:pos x="T4" y="T5"/>
                </a:cxn>
                <a:cxn ang="0">
                  <a:pos x="T6" y="T7"/>
                </a:cxn>
                <a:cxn ang="0">
                  <a:pos x="T8" y="T9"/>
                </a:cxn>
                <a:cxn ang="0">
                  <a:pos x="T10" y="T11"/>
                </a:cxn>
              </a:cxnLst>
              <a:rect l="0" t="0" r="r" b="b"/>
              <a:pathLst>
                <a:path w="40" h="16">
                  <a:moveTo>
                    <a:pt x="0" y="8"/>
                  </a:moveTo>
                  <a:lnTo>
                    <a:pt x="40" y="16"/>
                  </a:lnTo>
                  <a:lnTo>
                    <a:pt x="32" y="8"/>
                  </a:lnTo>
                  <a:lnTo>
                    <a:pt x="24" y="0"/>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85" name="Freeform 322">
              <a:extLst>
                <a:ext uri="{FF2B5EF4-FFF2-40B4-BE49-F238E27FC236}">
                  <a16:creationId xmlns:a16="http://schemas.microsoft.com/office/drawing/2014/main" id="{73C4300D-E07D-CAE7-BEE4-F07C18BE8696}"/>
                </a:ext>
              </a:extLst>
            </p:cNvPr>
            <p:cNvSpPr>
              <a:spLocks/>
            </p:cNvSpPr>
            <p:nvPr/>
          </p:nvSpPr>
          <p:spPr bwMode="auto">
            <a:xfrm>
              <a:off x="7360257" y="3016412"/>
              <a:ext cx="33058" cy="16611"/>
            </a:xfrm>
            <a:custGeom>
              <a:avLst/>
              <a:gdLst>
                <a:gd name="T0" fmla="*/ 0 w 16"/>
                <a:gd name="T1" fmla="*/ 8 h 8"/>
                <a:gd name="T2" fmla="*/ 16 w 16"/>
                <a:gd name="T3" fmla="*/ 8 h 8"/>
                <a:gd name="T4" fmla="*/ 8 w 16"/>
                <a:gd name="T5" fmla="*/ 0 h 8"/>
                <a:gd name="T6" fmla="*/ 0 w 16"/>
                <a:gd name="T7" fmla="*/ 8 h 8"/>
              </a:gdLst>
              <a:ahLst/>
              <a:cxnLst>
                <a:cxn ang="0">
                  <a:pos x="T0" y="T1"/>
                </a:cxn>
                <a:cxn ang="0">
                  <a:pos x="T2" y="T3"/>
                </a:cxn>
                <a:cxn ang="0">
                  <a:pos x="T4" y="T5"/>
                </a:cxn>
                <a:cxn ang="0">
                  <a:pos x="T6" y="T7"/>
                </a:cxn>
              </a:cxnLst>
              <a:rect l="0" t="0" r="r" b="b"/>
              <a:pathLst>
                <a:path w="16" h="8">
                  <a:moveTo>
                    <a:pt x="0" y="8"/>
                  </a:moveTo>
                  <a:lnTo>
                    <a:pt x="16" y="8"/>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86" name="Freeform 323">
              <a:extLst>
                <a:ext uri="{FF2B5EF4-FFF2-40B4-BE49-F238E27FC236}">
                  <a16:creationId xmlns:a16="http://schemas.microsoft.com/office/drawing/2014/main" id="{95D9997A-5C40-7CE4-82E3-03979DCF3ECE}"/>
                </a:ext>
              </a:extLst>
            </p:cNvPr>
            <p:cNvSpPr>
              <a:spLocks/>
            </p:cNvSpPr>
            <p:nvPr/>
          </p:nvSpPr>
          <p:spPr bwMode="auto">
            <a:xfrm>
              <a:off x="7441397" y="2983191"/>
              <a:ext cx="33058" cy="16611"/>
            </a:xfrm>
            <a:custGeom>
              <a:avLst/>
              <a:gdLst>
                <a:gd name="T0" fmla="*/ 0 w 16"/>
                <a:gd name="T1" fmla="*/ 0 h 8"/>
                <a:gd name="T2" fmla="*/ 8 w 16"/>
                <a:gd name="T3" fmla="*/ 8 h 8"/>
                <a:gd name="T4" fmla="*/ 16 w 16"/>
                <a:gd name="T5" fmla="*/ 0 h 8"/>
                <a:gd name="T6" fmla="*/ 8 w 16"/>
                <a:gd name="T7" fmla="*/ 0 h 8"/>
                <a:gd name="T8" fmla="*/ 0 w 16"/>
                <a:gd name="T9" fmla="*/ 0 h 8"/>
              </a:gdLst>
              <a:ahLst/>
              <a:cxnLst>
                <a:cxn ang="0">
                  <a:pos x="T0" y="T1"/>
                </a:cxn>
                <a:cxn ang="0">
                  <a:pos x="T2" y="T3"/>
                </a:cxn>
                <a:cxn ang="0">
                  <a:pos x="T4" y="T5"/>
                </a:cxn>
                <a:cxn ang="0">
                  <a:pos x="T6" y="T7"/>
                </a:cxn>
                <a:cxn ang="0">
                  <a:pos x="T8" y="T9"/>
                </a:cxn>
              </a:cxnLst>
              <a:rect l="0" t="0" r="r" b="b"/>
              <a:pathLst>
                <a:path w="16" h="8">
                  <a:moveTo>
                    <a:pt x="0" y="0"/>
                  </a:moveTo>
                  <a:lnTo>
                    <a:pt x="8" y="8"/>
                  </a:lnTo>
                  <a:lnTo>
                    <a:pt x="16" y="0"/>
                  </a:lnTo>
                  <a:lnTo>
                    <a:pt x="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87" name="Freeform 324">
              <a:extLst>
                <a:ext uri="{FF2B5EF4-FFF2-40B4-BE49-F238E27FC236}">
                  <a16:creationId xmlns:a16="http://schemas.microsoft.com/office/drawing/2014/main" id="{01DBF9C3-9E84-166E-2901-F373EA4CE465}"/>
                </a:ext>
              </a:extLst>
            </p:cNvPr>
            <p:cNvSpPr>
              <a:spLocks/>
            </p:cNvSpPr>
            <p:nvPr/>
          </p:nvSpPr>
          <p:spPr bwMode="auto">
            <a:xfrm>
              <a:off x="7590167" y="2999800"/>
              <a:ext cx="15026" cy="16612"/>
            </a:xfrm>
            <a:custGeom>
              <a:avLst/>
              <a:gdLst>
                <a:gd name="T0" fmla="*/ 0 w 8"/>
                <a:gd name="T1" fmla="*/ 0 h 8"/>
                <a:gd name="T2" fmla="*/ 8 w 8"/>
                <a:gd name="T3" fmla="*/ 8 h 8"/>
                <a:gd name="T4" fmla="*/ 8 w 8"/>
                <a:gd name="T5" fmla="*/ 0 h 8"/>
                <a:gd name="T6" fmla="*/ 0 w 8"/>
                <a:gd name="T7" fmla="*/ 0 h 8"/>
              </a:gdLst>
              <a:ahLst/>
              <a:cxnLst>
                <a:cxn ang="0">
                  <a:pos x="T0" y="T1"/>
                </a:cxn>
                <a:cxn ang="0">
                  <a:pos x="T2" y="T3"/>
                </a:cxn>
                <a:cxn ang="0">
                  <a:pos x="T4" y="T5"/>
                </a:cxn>
                <a:cxn ang="0">
                  <a:pos x="T6" y="T7"/>
                </a:cxn>
              </a:cxnLst>
              <a:rect l="0" t="0" r="r" b="b"/>
              <a:pathLst>
                <a:path w="8" h="8">
                  <a:moveTo>
                    <a:pt x="0" y="0"/>
                  </a:moveTo>
                  <a:lnTo>
                    <a:pt x="8" y="8"/>
                  </a:lnTo>
                  <a:lnTo>
                    <a:pt x="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88" name="Freeform 325">
              <a:extLst>
                <a:ext uri="{FF2B5EF4-FFF2-40B4-BE49-F238E27FC236}">
                  <a16:creationId xmlns:a16="http://schemas.microsoft.com/office/drawing/2014/main" id="{ABDFBEE1-33E6-ADB6-F524-0AD453BD8751}"/>
                </a:ext>
              </a:extLst>
            </p:cNvPr>
            <p:cNvSpPr>
              <a:spLocks/>
            </p:cNvSpPr>
            <p:nvPr/>
          </p:nvSpPr>
          <p:spPr bwMode="auto">
            <a:xfrm>
              <a:off x="7130361" y="2406329"/>
              <a:ext cx="132230" cy="164600"/>
            </a:xfrm>
            <a:custGeom>
              <a:avLst/>
              <a:gdLst>
                <a:gd name="T0" fmla="*/ 0 w 64"/>
                <a:gd name="T1" fmla="*/ 32 h 80"/>
                <a:gd name="T2" fmla="*/ 0 w 64"/>
                <a:gd name="T3" fmla="*/ 56 h 80"/>
                <a:gd name="T4" fmla="*/ 16 w 64"/>
                <a:gd name="T5" fmla="*/ 56 h 80"/>
                <a:gd name="T6" fmla="*/ 16 w 64"/>
                <a:gd name="T7" fmla="*/ 72 h 80"/>
                <a:gd name="T8" fmla="*/ 24 w 64"/>
                <a:gd name="T9" fmla="*/ 72 h 80"/>
                <a:gd name="T10" fmla="*/ 40 w 64"/>
                <a:gd name="T11" fmla="*/ 80 h 80"/>
                <a:gd name="T12" fmla="*/ 40 w 64"/>
                <a:gd name="T13" fmla="*/ 72 h 80"/>
                <a:gd name="T14" fmla="*/ 48 w 64"/>
                <a:gd name="T15" fmla="*/ 80 h 80"/>
                <a:gd name="T16" fmla="*/ 64 w 64"/>
                <a:gd name="T17" fmla="*/ 80 h 80"/>
                <a:gd name="T18" fmla="*/ 56 w 64"/>
                <a:gd name="T19" fmla="*/ 72 h 80"/>
                <a:gd name="T20" fmla="*/ 40 w 64"/>
                <a:gd name="T21" fmla="*/ 64 h 80"/>
                <a:gd name="T22" fmla="*/ 32 w 64"/>
                <a:gd name="T23" fmla="*/ 72 h 80"/>
                <a:gd name="T24" fmla="*/ 32 w 64"/>
                <a:gd name="T25" fmla="*/ 64 h 80"/>
                <a:gd name="T26" fmla="*/ 24 w 64"/>
                <a:gd name="T27" fmla="*/ 48 h 80"/>
                <a:gd name="T28" fmla="*/ 32 w 64"/>
                <a:gd name="T29" fmla="*/ 24 h 80"/>
                <a:gd name="T30" fmla="*/ 24 w 64"/>
                <a:gd name="T31" fmla="*/ 16 h 80"/>
                <a:gd name="T32" fmla="*/ 24 w 64"/>
                <a:gd name="T33" fmla="*/ 0 h 80"/>
                <a:gd name="T34" fmla="*/ 0 w 64"/>
                <a:gd name="T35" fmla="*/ 0 h 80"/>
                <a:gd name="T36" fmla="*/ 8 w 64"/>
                <a:gd name="T37" fmla="*/ 32 h 80"/>
                <a:gd name="T38" fmla="*/ 0 w 64"/>
                <a:gd name="T3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 h="80">
                  <a:moveTo>
                    <a:pt x="0" y="32"/>
                  </a:moveTo>
                  <a:lnTo>
                    <a:pt x="0" y="56"/>
                  </a:lnTo>
                  <a:lnTo>
                    <a:pt x="16" y="56"/>
                  </a:lnTo>
                  <a:lnTo>
                    <a:pt x="16" y="72"/>
                  </a:lnTo>
                  <a:lnTo>
                    <a:pt x="24" y="72"/>
                  </a:lnTo>
                  <a:lnTo>
                    <a:pt x="40" y="80"/>
                  </a:lnTo>
                  <a:lnTo>
                    <a:pt x="40" y="72"/>
                  </a:lnTo>
                  <a:lnTo>
                    <a:pt x="48" y="80"/>
                  </a:lnTo>
                  <a:lnTo>
                    <a:pt x="64" y="80"/>
                  </a:lnTo>
                  <a:lnTo>
                    <a:pt x="56" y="72"/>
                  </a:lnTo>
                  <a:lnTo>
                    <a:pt x="40" y="64"/>
                  </a:lnTo>
                  <a:lnTo>
                    <a:pt x="32" y="72"/>
                  </a:lnTo>
                  <a:lnTo>
                    <a:pt x="32" y="64"/>
                  </a:lnTo>
                  <a:lnTo>
                    <a:pt x="24" y="48"/>
                  </a:lnTo>
                  <a:lnTo>
                    <a:pt x="32" y="24"/>
                  </a:lnTo>
                  <a:lnTo>
                    <a:pt x="24" y="16"/>
                  </a:lnTo>
                  <a:lnTo>
                    <a:pt x="24" y="0"/>
                  </a:lnTo>
                  <a:lnTo>
                    <a:pt x="0" y="0"/>
                  </a:lnTo>
                  <a:lnTo>
                    <a:pt x="8" y="32"/>
                  </a:lnTo>
                  <a:lnTo>
                    <a:pt x="0"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89" name="Freeform 326">
              <a:extLst>
                <a:ext uri="{FF2B5EF4-FFF2-40B4-BE49-F238E27FC236}">
                  <a16:creationId xmlns:a16="http://schemas.microsoft.com/office/drawing/2014/main" id="{56A9489D-172A-83BE-6491-32FD53E975C7}"/>
                </a:ext>
              </a:extLst>
            </p:cNvPr>
            <p:cNvSpPr>
              <a:spLocks/>
            </p:cNvSpPr>
            <p:nvPr/>
          </p:nvSpPr>
          <p:spPr bwMode="auto">
            <a:xfrm>
              <a:off x="7082273" y="2637388"/>
              <a:ext cx="64612" cy="81547"/>
            </a:xfrm>
            <a:custGeom>
              <a:avLst/>
              <a:gdLst>
                <a:gd name="T0" fmla="*/ 0 w 32"/>
                <a:gd name="T1" fmla="*/ 40 h 40"/>
                <a:gd name="T2" fmla="*/ 32 w 32"/>
                <a:gd name="T3" fmla="*/ 8 h 40"/>
                <a:gd name="T4" fmla="*/ 24 w 32"/>
                <a:gd name="T5" fmla="*/ 0 h 40"/>
                <a:gd name="T6" fmla="*/ 24 w 32"/>
                <a:gd name="T7" fmla="*/ 8 h 40"/>
                <a:gd name="T8" fmla="*/ 0 w 32"/>
                <a:gd name="T9" fmla="*/ 40 h 40"/>
              </a:gdLst>
              <a:ahLst/>
              <a:cxnLst>
                <a:cxn ang="0">
                  <a:pos x="T0" y="T1"/>
                </a:cxn>
                <a:cxn ang="0">
                  <a:pos x="T2" y="T3"/>
                </a:cxn>
                <a:cxn ang="0">
                  <a:pos x="T4" y="T5"/>
                </a:cxn>
                <a:cxn ang="0">
                  <a:pos x="T6" y="T7"/>
                </a:cxn>
                <a:cxn ang="0">
                  <a:pos x="T8" y="T9"/>
                </a:cxn>
              </a:cxnLst>
              <a:rect l="0" t="0" r="r" b="b"/>
              <a:pathLst>
                <a:path w="32" h="40">
                  <a:moveTo>
                    <a:pt x="0" y="40"/>
                  </a:moveTo>
                  <a:lnTo>
                    <a:pt x="32" y="8"/>
                  </a:lnTo>
                  <a:lnTo>
                    <a:pt x="24" y="0"/>
                  </a:lnTo>
                  <a:lnTo>
                    <a:pt x="24" y="8"/>
                  </a:lnTo>
                  <a:lnTo>
                    <a:pt x="0" y="4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90" name="Freeform 327">
              <a:extLst>
                <a:ext uri="{FF2B5EF4-FFF2-40B4-BE49-F238E27FC236}">
                  <a16:creationId xmlns:a16="http://schemas.microsoft.com/office/drawing/2014/main" id="{BC9EE704-CCC6-89DD-DCB2-2FB516796894}"/>
                </a:ext>
              </a:extLst>
            </p:cNvPr>
            <p:cNvSpPr>
              <a:spLocks/>
            </p:cNvSpPr>
            <p:nvPr/>
          </p:nvSpPr>
          <p:spPr bwMode="auto">
            <a:xfrm>
              <a:off x="7146886" y="2554320"/>
              <a:ext cx="33058" cy="49833"/>
            </a:xfrm>
            <a:custGeom>
              <a:avLst/>
              <a:gdLst>
                <a:gd name="T0" fmla="*/ 0 w 16"/>
                <a:gd name="T1" fmla="*/ 0 h 24"/>
                <a:gd name="T2" fmla="*/ 16 w 16"/>
                <a:gd name="T3" fmla="*/ 24 h 24"/>
                <a:gd name="T4" fmla="*/ 16 w 16"/>
                <a:gd name="T5" fmla="*/ 16 h 24"/>
                <a:gd name="T6" fmla="*/ 16 w 16"/>
                <a:gd name="T7" fmla="*/ 8 h 24"/>
                <a:gd name="T8" fmla="*/ 0 w 16"/>
                <a:gd name="T9" fmla="*/ 0 h 24"/>
              </a:gdLst>
              <a:ahLst/>
              <a:cxnLst>
                <a:cxn ang="0">
                  <a:pos x="T0" y="T1"/>
                </a:cxn>
                <a:cxn ang="0">
                  <a:pos x="T2" y="T3"/>
                </a:cxn>
                <a:cxn ang="0">
                  <a:pos x="T4" y="T5"/>
                </a:cxn>
                <a:cxn ang="0">
                  <a:pos x="T6" y="T7"/>
                </a:cxn>
                <a:cxn ang="0">
                  <a:pos x="T8" y="T9"/>
                </a:cxn>
              </a:cxnLst>
              <a:rect l="0" t="0" r="r" b="b"/>
              <a:pathLst>
                <a:path w="16" h="24">
                  <a:moveTo>
                    <a:pt x="0" y="0"/>
                  </a:moveTo>
                  <a:lnTo>
                    <a:pt x="16" y="24"/>
                  </a:lnTo>
                  <a:lnTo>
                    <a:pt x="16" y="16"/>
                  </a:lnTo>
                  <a:lnTo>
                    <a:pt x="16" y="8"/>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91" name="Freeform 328">
              <a:extLst>
                <a:ext uri="{FF2B5EF4-FFF2-40B4-BE49-F238E27FC236}">
                  <a16:creationId xmlns:a16="http://schemas.microsoft.com/office/drawing/2014/main" id="{6F5DDAD7-6C35-42D1-94EC-2887DFE06A7B}"/>
                </a:ext>
              </a:extLst>
            </p:cNvPr>
            <p:cNvSpPr>
              <a:spLocks/>
            </p:cNvSpPr>
            <p:nvPr/>
          </p:nvSpPr>
          <p:spPr bwMode="auto">
            <a:xfrm>
              <a:off x="7262586" y="2587541"/>
              <a:ext cx="31556" cy="83056"/>
            </a:xfrm>
            <a:custGeom>
              <a:avLst/>
              <a:gdLst>
                <a:gd name="T0" fmla="*/ 0 w 16"/>
                <a:gd name="T1" fmla="*/ 0 h 40"/>
                <a:gd name="T2" fmla="*/ 8 w 16"/>
                <a:gd name="T3" fmla="*/ 16 h 40"/>
                <a:gd name="T4" fmla="*/ 0 w 16"/>
                <a:gd name="T5" fmla="*/ 16 h 40"/>
                <a:gd name="T6" fmla="*/ 0 w 16"/>
                <a:gd name="T7" fmla="*/ 24 h 40"/>
                <a:gd name="T8" fmla="*/ 8 w 16"/>
                <a:gd name="T9" fmla="*/ 24 h 40"/>
                <a:gd name="T10" fmla="*/ 8 w 16"/>
                <a:gd name="T11" fmla="*/ 40 h 40"/>
                <a:gd name="T12" fmla="*/ 16 w 16"/>
                <a:gd name="T13" fmla="*/ 32 h 40"/>
                <a:gd name="T14" fmla="*/ 8 w 16"/>
                <a:gd name="T15" fmla="*/ 24 h 40"/>
                <a:gd name="T16" fmla="*/ 16 w 16"/>
                <a:gd name="T17" fmla="*/ 24 h 40"/>
                <a:gd name="T18" fmla="*/ 16 w 16"/>
                <a:gd name="T19" fmla="*/ 8 h 40"/>
                <a:gd name="T20" fmla="*/ 16 w 16"/>
                <a:gd name="T21" fmla="*/ 0 h 40"/>
                <a:gd name="T22" fmla="*/ 0 w 16"/>
                <a:gd name="T2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40">
                  <a:moveTo>
                    <a:pt x="0" y="0"/>
                  </a:moveTo>
                  <a:lnTo>
                    <a:pt x="8" y="16"/>
                  </a:lnTo>
                  <a:lnTo>
                    <a:pt x="0" y="16"/>
                  </a:lnTo>
                  <a:lnTo>
                    <a:pt x="0" y="24"/>
                  </a:lnTo>
                  <a:lnTo>
                    <a:pt x="8" y="24"/>
                  </a:lnTo>
                  <a:lnTo>
                    <a:pt x="8" y="40"/>
                  </a:lnTo>
                  <a:lnTo>
                    <a:pt x="16" y="32"/>
                  </a:lnTo>
                  <a:lnTo>
                    <a:pt x="8" y="24"/>
                  </a:lnTo>
                  <a:lnTo>
                    <a:pt x="16" y="24"/>
                  </a:lnTo>
                  <a:lnTo>
                    <a:pt x="16" y="8"/>
                  </a:lnTo>
                  <a:lnTo>
                    <a:pt x="16"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92" name="Freeform 329">
              <a:extLst>
                <a:ext uri="{FF2B5EF4-FFF2-40B4-BE49-F238E27FC236}">
                  <a16:creationId xmlns:a16="http://schemas.microsoft.com/office/drawing/2014/main" id="{CC1885FC-8BA9-F708-AB08-60EB629614AA}"/>
                </a:ext>
              </a:extLst>
            </p:cNvPr>
            <p:cNvSpPr>
              <a:spLocks/>
            </p:cNvSpPr>
            <p:nvPr/>
          </p:nvSpPr>
          <p:spPr bwMode="auto">
            <a:xfrm>
              <a:off x="7196487" y="2604156"/>
              <a:ext cx="82644" cy="99668"/>
            </a:xfrm>
            <a:custGeom>
              <a:avLst/>
              <a:gdLst>
                <a:gd name="T0" fmla="*/ 0 w 40"/>
                <a:gd name="T1" fmla="*/ 24 h 48"/>
                <a:gd name="T2" fmla="*/ 16 w 40"/>
                <a:gd name="T3" fmla="*/ 24 h 48"/>
                <a:gd name="T4" fmla="*/ 16 w 40"/>
                <a:gd name="T5" fmla="*/ 32 h 48"/>
                <a:gd name="T6" fmla="*/ 8 w 40"/>
                <a:gd name="T7" fmla="*/ 32 h 48"/>
                <a:gd name="T8" fmla="*/ 16 w 40"/>
                <a:gd name="T9" fmla="*/ 48 h 48"/>
                <a:gd name="T10" fmla="*/ 24 w 40"/>
                <a:gd name="T11" fmla="*/ 40 h 48"/>
                <a:gd name="T12" fmla="*/ 24 w 40"/>
                <a:gd name="T13" fmla="*/ 32 h 48"/>
                <a:gd name="T14" fmla="*/ 24 w 40"/>
                <a:gd name="T15" fmla="*/ 40 h 48"/>
                <a:gd name="T16" fmla="*/ 32 w 40"/>
                <a:gd name="T17" fmla="*/ 32 h 48"/>
                <a:gd name="T18" fmla="*/ 32 w 40"/>
                <a:gd name="T19" fmla="*/ 40 h 48"/>
                <a:gd name="T20" fmla="*/ 40 w 40"/>
                <a:gd name="T21" fmla="*/ 40 h 48"/>
                <a:gd name="T22" fmla="*/ 40 w 40"/>
                <a:gd name="T23" fmla="*/ 32 h 48"/>
                <a:gd name="T24" fmla="*/ 32 w 40"/>
                <a:gd name="T25" fmla="*/ 32 h 48"/>
                <a:gd name="T26" fmla="*/ 32 w 40"/>
                <a:gd name="T27" fmla="*/ 16 h 48"/>
                <a:gd name="T28" fmla="*/ 24 w 40"/>
                <a:gd name="T29" fmla="*/ 24 h 48"/>
                <a:gd name="T30" fmla="*/ 16 w 40"/>
                <a:gd name="T31" fmla="*/ 8 h 48"/>
                <a:gd name="T32" fmla="*/ 8 w 40"/>
                <a:gd name="T33" fmla="*/ 8 h 48"/>
                <a:gd name="T34" fmla="*/ 0 w 40"/>
                <a:gd name="T35" fmla="*/ 0 h 48"/>
                <a:gd name="T36" fmla="*/ 0 w 40"/>
                <a:gd name="T37"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48">
                  <a:moveTo>
                    <a:pt x="0" y="24"/>
                  </a:moveTo>
                  <a:lnTo>
                    <a:pt x="16" y="24"/>
                  </a:lnTo>
                  <a:lnTo>
                    <a:pt x="16" y="32"/>
                  </a:lnTo>
                  <a:lnTo>
                    <a:pt x="8" y="32"/>
                  </a:lnTo>
                  <a:lnTo>
                    <a:pt x="16" y="48"/>
                  </a:lnTo>
                  <a:lnTo>
                    <a:pt x="24" y="40"/>
                  </a:lnTo>
                  <a:lnTo>
                    <a:pt x="24" y="32"/>
                  </a:lnTo>
                  <a:lnTo>
                    <a:pt x="24" y="40"/>
                  </a:lnTo>
                  <a:lnTo>
                    <a:pt x="32" y="32"/>
                  </a:lnTo>
                  <a:lnTo>
                    <a:pt x="32" y="40"/>
                  </a:lnTo>
                  <a:lnTo>
                    <a:pt x="40" y="40"/>
                  </a:lnTo>
                  <a:lnTo>
                    <a:pt x="40" y="32"/>
                  </a:lnTo>
                  <a:lnTo>
                    <a:pt x="32" y="32"/>
                  </a:lnTo>
                  <a:lnTo>
                    <a:pt x="32" y="16"/>
                  </a:lnTo>
                  <a:lnTo>
                    <a:pt x="24" y="24"/>
                  </a:lnTo>
                  <a:lnTo>
                    <a:pt x="16" y="8"/>
                  </a:lnTo>
                  <a:lnTo>
                    <a:pt x="8" y="8"/>
                  </a:lnTo>
                  <a:lnTo>
                    <a:pt x="0" y="0"/>
                  </a:lnTo>
                  <a:lnTo>
                    <a:pt x="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93" name="Freeform 330">
              <a:extLst>
                <a:ext uri="{FF2B5EF4-FFF2-40B4-BE49-F238E27FC236}">
                  <a16:creationId xmlns:a16="http://schemas.microsoft.com/office/drawing/2014/main" id="{4703979D-5874-FF35-B169-E15EB95A1A93}"/>
                </a:ext>
              </a:extLst>
            </p:cNvPr>
            <p:cNvSpPr>
              <a:spLocks/>
            </p:cNvSpPr>
            <p:nvPr/>
          </p:nvSpPr>
          <p:spPr bwMode="auto">
            <a:xfrm>
              <a:off x="7213003" y="2670599"/>
              <a:ext cx="130727" cy="131379"/>
            </a:xfrm>
            <a:custGeom>
              <a:avLst/>
              <a:gdLst>
                <a:gd name="T0" fmla="*/ 0 w 64"/>
                <a:gd name="T1" fmla="*/ 40 h 64"/>
                <a:gd name="T2" fmla="*/ 0 w 64"/>
                <a:gd name="T3" fmla="*/ 48 h 64"/>
                <a:gd name="T4" fmla="*/ 8 w 64"/>
                <a:gd name="T5" fmla="*/ 32 h 64"/>
                <a:gd name="T6" fmla="*/ 8 w 64"/>
                <a:gd name="T7" fmla="*/ 40 h 64"/>
                <a:gd name="T8" fmla="*/ 24 w 64"/>
                <a:gd name="T9" fmla="*/ 32 h 64"/>
                <a:gd name="T10" fmla="*/ 32 w 64"/>
                <a:gd name="T11" fmla="*/ 40 h 64"/>
                <a:gd name="T12" fmla="*/ 24 w 64"/>
                <a:gd name="T13" fmla="*/ 56 h 64"/>
                <a:gd name="T14" fmla="*/ 48 w 64"/>
                <a:gd name="T15" fmla="*/ 64 h 64"/>
                <a:gd name="T16" fmla="*/ 48 w 64"/>
                <a:gd name="T17" fmla="*/ 56 h 64"/>
                <a:gd name="T18" fmla="*/ 48 w 64"/>
                <a:gd name="T19" fmla="*/ 48 h 64"/>
                <a:gd name="T20" fmla="*/ 48 w 64"/>
                <a:gd name="T21" fmla="*/ 40 h 64"/>
                <a:gd name="T22" fmla="*/ 56 w 64"/>
                <a:gd name="T23" fmla="*/ 56 h 64"/>
                <a:gd name="T24" fmla="*/ 64 w 64"/>
                <a:gd name="T25" fmla="*/ 40 h 64"/>
                <a:gd name="T26" fmla="*/ 56 w 64"/>
                <a:gd name="T27" fmla="*/ 16 h 64"/>
                <a:gd name="T28" fmla="*/ 40 w 64"/>
                <a:gd name="T29" fmla="*/ 0 h 64"/>
                <a:gd name="T30" fmla="*/ 48 w 64"/>
                <a:gd name="T31" fmla="*/ 16 h 64"/>
                <a:gd name="T32" fmla="*/ 40 w 64"/>
                <a:gd name="T33" fmla="*/ 16 h 64"/>
                <a:gd name="T34" fmla="*/ 32 w 64"/>
                <a:gd name="T35" fmla="*/ 16 h 64"/>
                <a:gd name="T36" fmla="*/ 32 w 64"/>
                <a:gd name="T37" fmla="*/ 24 h 64"/>
                <a:gd name="T38" fmla="*/ 24 w 64"/>
                <a:gd name="T39" fmla="*/ 32 h 64"/>
                <a:gd name="T40" fmla="*/ 24 w 64"/>
                <a:gd name="T41" fmla="*/ 24 h 64"/>
                <a:gd name="T42" fmla="*/ 16 w 64"/>
                <a:gd name="T43" fmla="*/ 24 h 64"/>
                <a:gd name="T44" fmla="*/ 0 w 64"/>
                <a:gd name="T45" fmla="*/ 32 h 64"/>
                <a:gd name="T46" fmla="*/ 0 w 64"/>
                <a:gd name="T47" fmla="*/ 4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64">
                  <a:moveTo>
                    <a:pt x="0" y="40"/>
                  </a:moveTo>
                  <a:lnTo>
                    <a:pt x="0" y="48"/>
                  </a:lnTo>
                  <a:lnTo>
                    <a:pt x="8" y="32"/>
                  </a:lnTo>
                  <a:lnTo>
                    <a:pt x="8" y="40"/>
                  </a:lnTo>
                  <a:lnTo>
                    <a:pt x="24" y="32"/>
                  </a:lnTo>
                  <a:lnTo>
                    <a:pt x="32" y="40"/>
                  </a:lnTo>
                  <a:lnTo>
                    <a:pt x="24" y="56"/>
                  </a:lnTo>
                  <a:lnTo>
                    <a:pt x="48" y="64"/>
                  </a:lnTo>
                  <a:lnTo>
                    <a:pt x="48" y="56"/>
                  </a:lnTo>
                  <a:lnTo>
                    <a:pt x="48" y="48"/>
                  </a:lnTo>
                  <a:lnTo>
                    <a:pt x="48" y="40"/>
                  </a:lnTo>
                  <a:lnTo>
                    <a:pt x="56" y="56"/>
                  </a:lnTo>
                  <a:lnTo>
                    <a:pt x="64" y="40"/>
                  </a:lnTo>
                  <a:lnTo>
                    <a:pt x="56" y="16"/>
                  </a:lnTo>
                  <a:lnTo>
                    <a:pt x="40" y="0"/>
                  </a:lnTo>
                  <a:lnTo>
                    <a:pt x="48" y="16"/>
                  </a:lnTo>
                  <a:lnTo>
                    <a:pt x="40" y="16"/>
                  </a:lnTo>
                  <a:lnTo>
                    <a:pt x="32" y="16"/>
                  </a:lnTo>
                  <a:lnTo>
                    <a:pt x="32" y="24"/>
                  </a:lnTo>
                  <a:lnTo>
                    <a:pt x="24" y="32"/>
                  </a:lnTo>
                  <a:lnTo>
                    <a:pt x="24" y="24"/>
                  </a:lnTo>
                  <a:lnTo>
                    <a:pt x="16" y="24"/>
                  </a:lnTo>
                  <a:lnTo>
                    <a:pt x="0" y="32"/>
                  </a:lnTo>
                  <a:lnTo>
                    <a:pt x="0" y="4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94" name="Freeform 331">
              <a:extLst>
                <a:ext uri="{FF2B5EF4-FFF2-40B4-BE49-F238E27FC236}">
                  <a16:creationId xmlns:a16="http://schemas.microsoft.com/office/drawing/2014/main" id="{98DC4CD2-23EB-FB00-EE1E-365DFB4870D7}"/>
                </a:ext>
              </a:extLst>
            </p:cNvPr>
            <p:cNvSpPr>
              <a:spLocks/>
            </p:cNvSpPr>
            <p:nvPr/>
          </p:nvSpPr>
          <p:spPr bwMode="auto">
            <a:xfrm>
              <a:off x="7932749" y="3114568"/>
              <a:ext cx="115701" cy="66444"/>
            </a:xfrm>
            <a:custGeom>
              <a:avLst/>
              <a:gdLst>
                <a:gd name="T0" fmla="*/ 0 w 56"/>
                <a:gd name="T1" fmla="*/ 16 h 32"/>
                <a:gd name="T2" fmla="*/ 8 w 56"/>
                <a:gd name="T3" fmla="*/ 32 h 32"/>
                <a:gd name="T4" fmla="*/ 32 w 56"/>
                <a:gd name="T5" fmla="*/ 32 h 32"/>
                <a:gd name="T6" fmla="*/ 48 w 56"/>
                <a:gd name="T7" fmla="*/ 16 h 32"/>
                <a:gd name="T8" fmla="*/ 56 w 56"/>
                <a:gd name="T9" fmla="*/ 8 h 32"/>
                <a:gd name="T10" fmla="*/ 56 w 56"/>
                <a:gd name="T11" fmla="*/ 0 h 32"/>
                <a:gd name="T12" fmla="*/ 48 w 56"/>
                <a:gd name="T13" fmla="*/ 0 h 32"/>
                <a:gd name="T14" fmla="*/ 48 w 56"/>
                <a:gd name="T15" fmla="*/ 8 h 32"/>
                <a:gd name="T16" fmla="*/ 40 w 56"/>
                <a:gd name="T17" fmla="*/ 8 h 32"/>
                <a:gd name="T18" fmla="*/ 32 w 56"/>
                <a:gd name="T19" fmla="*/ 16 h 32"/>
                <a:gd name="T20" fmla="*/ 0 w 56"/>
                <a:gd name="T2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32">
                  <a:moveTo>
                    <a:pt x="0" y="16"/>
                  </a:moveTo>
                  <a:lnTo>
                    <a:pt x="8" y="32"/>
                  </a:lnTo>
                  <a:lnTo>
                    <a:pt x="32" y="32"/>
                  </a:lnTo>
                  <a:lnTo>
                    <a:pt x="48" y="16"/>
                  </a:lnTo>
                  <a:lnTo>
                    <a:pt x="56" y="8"/>
                  </a:lnTo>
                  <a:lnTo>
                    <a:pt x="56" y="0"/>
                  </a:lnTo>
                  <a:lnTo>
                    <a:pt x="48" y="0"/>
                  </a:lnTo>
                  <a:lnTo>
                    <a:pt x="48" y="8"/>
                  </a:lnTo>
                  <a:lnTo>
                    <a:pt x="40" y="8"/>
                  </a:lnTo>
                  <a:lnTo>
                    <a:pt x="32" y="16"/>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95" name="Freeform 332">
              <a:extLst>
                <a:ext uri="{FF2B5EF4-FFF2-40B4-BE49-F238E27FC236}">
                  <a16:creationId xmlns:a16="http://schemas.microsoft.com/office/drawing/2014/main" id="{4EB2D919-1AC8-E3CE-DA69-2B00C3463BBB}"/>
                </a:ext>
              </a:extLst>
            </p:cNvPr>
            <p:cNvSpPr>
              <a:spLocks/>
            </p:cNvSpPr>
            <p:nvPr/>
          </p:nvSpPr>
          <p:spPr bwMode="auto">
            <a:xfrm>
              <a:off x="8015395" y="3064734"/>
              <a:ext cx="49585" cy="66444"/>
            </a:xfrm>
            <a:custGeom>
              <a:avLst/>
              <a:gdLst>
                <a:gd name="T0" fmla="*/ 0 w 24"/>
                <a:gd name="T1" fmla="*/ 0 h 32"/>
                <a:gd name="T2" fmla="*/ 16 w 24"/>
                <a:gd name="T3" fmla="*/ 16 h 32"/>
                <a:gd name="T4" fmla="*/ 24 w 24"/>
                <a:gd name="T5" fmla="*/ 32 h 32"/>
                <a:gd name="T6" fmla="*/ 24 w 24"/>
                <a:gd name="T7" fmla="*/ 16 h 32"/>
                <a:gd name="T8" fmla="*/ 8 w 24"/>
                <a:gd name="T9" fmla="*/ 0 h 32"/>
                <a:gd name="T10" fmla="*/ 0 w 24"/>
                <a:gd name="T11" fmla="*/ 0 h 32"/>
              </a:gdLst>
              <a:ahLst/>
              <a:cxnLst>
                <a:cxn ang="0">
                  <a:pos x="T0" y="T1"/>
                </a:cxn>
                <a:cxn ang="0">
                  <a:pos x="T2" y="T3"/>
                </a:cxn>
                <a:cxn ang="0">
                  <a:pos x="T4" y="T5"/>
                </a:cxn>
                <a:cxn ang="0">
                  <a:pos x="T6" y="T7"/>
                </a:cxn>
                <a:cxn ang="0">
                  <a:pos x="T8" y="T9"/>
                </a:cxn>
                <a:cxn ang="0">
                  <a:pos x="T10" y="T11"/>
                </a:cxn>
              </a:cxnLst>
              <a:rect l="0" t="0" r="r" b="b"/>
              <a:pathLst>
                <a:path w="24" h="32">
                  <a:moveTo>
                    <a:pt x="0" y="0"/>
                  </a:moveTo>
                  <a:lnTo>
                    <a:pt x="16" y="16"/>
                  </a:lnTo>
                  <a:lnTo>
                    <a:pt x="24" y="32"/>
                  </a:lnTo>
                  <a:lnTo>
                    <a:pt x="24" y="16"/>
                  </a:lnTo>
                  <a:lnTo>
                    <a:pt x="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96" name="Freeform 333">
              <a:extLst>
                <a:ext uri="{FF2B5EF4-FFF2-40B4-BE49-F238E27FC236}">
                  <a16:creationId xmlns:a16="http://schemas.microsoft.com/office/drawing/2014/main" id="{8669E2F7-2399-D497-E824-F23250309ED2}"/>
                </a:ext>
              </a:extLst>
            </p:cNvPr>
            <p:cNvSpPr>
              <a:spLocks/>
            </p:cNvSpPr>
            <p:nvPr/>
          </p:nvSpPr>
          <p:spPr bwMode="auto">
            <a:xfrm>
              <a:off x="8113060" y="3147789"/>
              <a:ext cx="33058" cy="49834"/>
            </a:xfrm>
            <a:custGeom>
              <a:avLst/>
              <a:gdLst>
                <a:gd name="T0" fmla="*/ 0 w 16"/>
                <a:gd name="T1" fmla="*/ 0 h 24"/>
                <a:gd name="T2" fmla="*/ 8 w 16"/>
                <a:gd name="T3" fmla="*/ 24 h 24"/>
                <a:gd name="T4" fmla="*/ 16 w 16"/>
                <a:gd name="T5" fmla="*/ 16 h 24"/>
                <a:gd name="T6" fmla="*/ 0 w 16"/>
                <a:gd name="T7" fmla="*/ 0 h 24"/>
              </a:gdLst>
              <a:ahLst/>
              <a:cxnLst>
                <a:cxn ang="0">
                  <a:pos x="T0" y="T1"/>
                </a:cxn>
                <a:cxn ang="0">
                  <a:pos x="T2" y="T3"/>
                </a:cxn>
                <a:cxn ang="0">
                  <a:pos x="T4" y="T5"/>
                </a:cxn>
                <a:cxn ang="0">
                  <a:pos x="T6" y="T7"/>
                </a:cxn>
              </a:cxnLst>
              <a:rect l="0" t="0" r="r" b="b"/>
              <a:pathLst>
                <a:path w="16" h="24">
                  <a:moveTo>
                    <a:pt x="0" y="0"/>
                  </a:moveTo>
                  <a:lnTo>
                    <a:pt x="8" y="24"/>
                  </a:lnTo>
                  <a:lnTo>
                    <a:pt x="16" y="16"/>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97" name="Freeform 334">
              <a:extLst>
                <a:ext uri="{FF2B5EF4-FFF2-40B4-BE49-F238E27FC236}">
                  <a16:creationId xmlns:a16="http://schemas.microsoft.com/office/drawing/2014/main" id="{D5E312B0-A2EB-91B5-39DB-7663070150B5}"/>
                </a:ext>
              </a:extLst>
            </p:cNvPr>
            <p:cNvSpPr>
              <a:spLocks/>
            </p:cNvSpPr>
            <p:nvPr/>
          </p:nvSpPr>
          <p:spPr bwMode="auto">
            <a:xfrm>
              <a:off x="2120679" y="1237509"/>
              <a:ext cx="33058" cy="16611"/>
            </a:xfrm>
            <a:custGeom>
              <a:avLst/>
              <a:gdLst>
                <a:gd name="T0" fmla="*/ 0 w 16"/>
                <a:gd name="T1" fmla="*/ 0 h 8"/>
                <a:gd name="T2" fmla="*/ 8 w 16"/>
                <a:gd name="T3" fmla="*/ 0 h 8"/>
                <a:gd name="T4" fmla="*/ 0 w 16"/>
                <a:gd name="T5" fmla="*/ 8 h 8"/>
                <a:gd name="T6" fmla="*/ 8 w 16"/>
                <a:gd name="T7" fmla="*/ 0 h 8"/>
                <a:gd name="T8" fmla="*/ 8 w 16"/>
                <a:gd name="T9" fmla="*/ 8 h 8"/>
                <a:gd name="T10" fmla="*/ 16 w 16"/>
                <a:gd name="T11" fmla="*/ 0 h 8"/>
                <a:gd name="T12" fmla="*/ 0 w 1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6" h="8">
                  <a:moveTo>
                    <a:pt x="0" y="0"/>
                  </a:moveTo>
                  <a:lnTo>
                    <a:pt x="8" y="0"/>
                  </a:lnTo>
                  <a:lnTo>
                    <a:pt x="0" y="8"/>
                  </a:lnTo>
                  <a:lnTo>
                    <a:pt x="8" y="0"/>
                  </a:lnTo>
                  <a:lnTo>
                    <a:pt x="8" y="8"/>
                  </a:lnTo>
                  <a:lnTo>
                    <a:pt x="16"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98" name="Freeform 335">
              <a:extLst>
                <a:ext uri="{FF2B5EF4-FFF2-40B4-BE49-F238E27FC236}">
                  <a16:creationId xmlns:a16="http://schemas.microsoft.com/office/drawing/2014/main" id="{9AADFFF5-911B-C5BA-F45D-973EFE2E05DC}"/>
                </a:ext>
              </a:extLst>
            </p:cNvPr>
            <p:cNvSpPr>
              <a:spLocks/>
            </p:cNvSpPr>
            <p:nvPr/>
          </p:nvSpPr>
          <p:spPr bwMode="auto">
            <a:xfrm>
              <a:off x="2023009" y="1335665"/>
              <a:ext cx="16528" cy="16612"/>
            </a:xfrm>
            <a:custGeom>
              <a:avLst/>
              <a:gdLst>
                <a:gd name="T0" fmla="*/ 0 w 8"/>
                <a:gd name="T1" fmla="*/ 0 h 8"/>
                <a:gd name="T2" fmla="*/ 8 w 8"/>
                <a:gd name="T3" fmla="*/ 8 h 8"/>
                <a:gd name="T4" fmla="*/ 8 w 8"/>
                <a:gd name="T5" fmla="*/ 0 h 8"/>
                <a:gd name="T6" fmla="*/ 0 w 8"/>
                <a:gd name="T7" fmla="*/ 0 h 8"/>
              </a:gdLst>
              <a:ahLst/>
              <a:cxnLst>
                <a:cxn ang="0">
                  <a:pos x="T0" y="T1"/>
                </a:cxn>
                <a:cxn ang="0">
                  <a:pos x="T2" y="T3"/>
                </a:cxn>
                <a:cxn ang="0">
                  <a:pos x="T4" y="T5"/>
                </a:cxn>
                <a:cxn ang="0">
                  <a:pos x="T6" y="T7"/>
                </a:cxn>
              </a:cxnLst>
              <a:rect l="0" t="0" r="r" b="b"/>
              <a:pathLst>
                <a:path w="8" h="8">
                  <a:moveTo>
                    <a:pt x="0" y="0"/>
                  </a:moveTo>
                  <a:lnTo>
                    <a:pt x="8" y="8"/>
                  </a:lnTo>
                  <a:lnTo>
                    <a:pt x="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99" name="Freeform 336">
              <a:extLst>
                <a:ext uri="{FF2B5EF4-FFF2-40B4-BE49-F238E27FC236}">
                  <a16:creationId xmlns:a16="http://schemas.microsoft.com/office/drawing/2014/main" id="{EFB3332C-CB79-7BC8-99B2-F16ABA74B92D}"/>
                </a:ext>
              </a:extLst>
            </p:cNvPr>
            <p:cNvSpPr>
              <a:spLocks/>
            </p:cNvSpPr>
            <p:nvPr/>
          </p:nvSpPr>
          <p:spPr bwMode="auto">
            <a:xfrm>
              <a:off x="7196471" y="1303953"/>
              <a:ext cx="213369" cy="246148"/>
            </a:xfrm>
            <a:custGeom>
              <a:avLst/>
              <a:gdLst>
                <a:gd name="T0" fmla="*/ 8 w 104"/>
                <a:gd name="T1" fmla="*/ 16 h 120"/>
                <a:gd name="T2" fmla="*/ 72 w 104"/>
                <a:gd name="T3" fmla="*/ 88 h 120"/>
                <a:gd name="T4" fmla="*/ 80 w 104"/>
                <a:gd name="T5" fmla="*/ 112 h 120"/>
                <a:gd name="T6" fmla="*/ 88 w 104"/>
                <a:gd name="T7" fmla="*/ 120 h 120"/>
                <a:gd name="T8" fmla="*/ 88 w 104"/>
                <a:gd name="T9" fmla="*/ 112 h 120"/>
                <a:gd name="T10" fmla="*/ 104 w 104"/>
                <a:gd name="T11" fmla="*/ 112 h 120"/>
                <a:gd name="T12" fmla="*/ 72 w 104"/>
                <a:gd name="T13" fmla="*/ 88 h 120"/>
                <a:gd name="T14" fmla="*/ 72 w 104"/>
                <a:gd name="T15" fmla="*/ 72 h 120"/>
                <a:gd name="T16" fmla="*/ 88 w 104"/>
                <a:gd name="T17" fmla="*/ 72 h 120"/>
                <a:gd name="T18" fmla="*/ 16 w 104"/>
                <a:gd name="T19" fmla="*/ 0 h 120"/>
                <a:gd name="T20" fmla="*/ 0 w 104"/>
                <a:gd name="T21" fmla="*/ 0 h 120"/>
                <a:gd name="T22" fmla="*/ 8 w 104"/>
                <a:gd name="T23" fmla="*/ 8 h 120"/>
                <a:gd name="T24" fmla="*/ 8 w 104"/>
                <a:gd name="T25" fmla="*/ 1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20">
                  <a:moveTo>
                    <a:pt x="8" y="16"/>
                  </a:moveTo>
                  <a:lnTo>
                    <a:pt x="72" y="88"/>
                  </a:lnTo>
                  <a:lnTo>
                    <a:pt x="80" y="112"/>
                  </a:lnTo>
                  <a:lnTo>
                    <a:pt x="88" y="120"/>
                  </a:lnTo>
                  <a:lnTo>
                    <a:pt x="88" y="112"/>
                  </a:lnTo>
                  <a:lnTo>
                    <a:pt x="104" y="112"/>
                  </a:lnTo>
                  <a:lnTo>
                    <a:pt x="72" y="88"/>
                  </a:lnTo>
                  <a:lnTo>
                    <a:pt x="72" y="72"/>
                  </a:lnTo>
                  <a:lnTo>
                    <a:pt x="88" y="72"/>
                  </a:lnTo>
                  <a:lnTo>
                    <a:pt x="16" y="0"/>
                  </a:lnTo>
                  <a:lnTo>
                    <a:pt x="0" y="0"/>
                  </a:lnTo>
                  <a:lnTo>
                    <a:pt x="8" y="8"/>
                  </a:lnTo>
                  <a:lnTo>
                    <a:pt x="8"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00" name="Freeform 337">
              <a:extLst>
                <a:ext uri="{FF2B5EF4-FFF2-40B4-BE49-F238E27FC236}">
                  <a16:creationId xmlns:a16="http://schemas.microsoft.com/office/drawing/2014/main" id="{45FF9157-9707-6632-18B1-44BCD7D3DCED}"/>
                </a:ext>
              </a:extLst>
            </p:cNvPr>
            <p:cNvSpPr>
              <a:spLocks/>
            </p:cNvSpPr>
            <p:nvPr/>
          </p:nvSpPr>
          <p:spPr bwMode="auto">
            <a:xfrm>
              <a:off x="4610505" y="1846081"/>
              <a:ext cx="15026" cy="16612"/>
            </a:xfrm>
            <a:custGeom>
              <a:avLst/>
              <a:gdLst>
                <a:gd name="T0" fmla="*/ 0 w 8"/>
                <a:gd name="T1" fmla="*/ 0 h 8"/>
                <a:gd name="T2" fmla="*/ 0 w 8"/>
                <a:gd name="T3" fmla="*/ 8 h 8"/>
                <a:gd name="T4" fmla="*/ 8 w 8"/>
                <a:gd name="T5" fmla="*/ 0 h 8"/>
                <a:gd name="T6" fmla="*/ 0 w 8"/>
                <a:gd name="T7" fmla="*/ 0 h 8"/>
              </a:gdLst>
              <a:ahLst/>
              <a:cxnLst>
                <a:cxn ang="0">
                  <a:pos x="T0" y="T1"/>
                </a:cxn>
                <a:cxn ang="0">
                  <a:pos x="T2" y="T3"/>
                </a:cxn>
                <a:cxn ang="0">
                  <a:pos x="T4" y="T5"/>
                </a:cxn>
                <a:cxn ang="0">
                  <a:pos x="T6" y="T7"/>
                </a:cxn>
              </a:cxnLst>
              <a:rect l="0" t="0" r="r" b="b"/>
              <a:pathLst>
                <a:path w="8" h="8">
                  <a:moveTo>
                    <a:pt x="0" y="0"/>
                  </a:moveTo>
                  <a:lnTo>
                    <a:pt x="0" y="8"/>
                  </a:lnTo>
                  <a:lnTo>
                    <a:pt x="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01" name="Line 338">
              <a:extLst>
                <a:ext uri="{FF2B5EF4-FFF2-40B4-BE49-F238E27FC236}">
                  <a16:creationId xmlns:a16="http://schemas.microsoft.com/office/drawing/2014/main" id="{7D99B51A-F60B-7840-C089-2418EA1E1366}"/>
                </a:ext>
              </a:extLst>
            </p:cNvPr>
            <p:cNvSpPr>
              <a:spLocks noChangeShapeType="1"/>
            </p:cNvSpPr>
            <p:nvPr/>
          </p:nvSpPr>
          <p:spPr bwMode="auto">
            <a:xfrm>
              <a:off x="7294141" y="3049646"/>
              <a:ext cx="16528" cy="1509"/>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02" name="Line 339">
              <a:extLst>
                <a:ext uri="{FF2B5EF4-FFF2-40B4-BE49-F238E27FC236}">
                  <a16:creationId xmlns:a16="http://schemas.microsoft.com/office/drawing/2014/main" id="{02129A97-6D7E-0BA6-185F-23DD2D11718E}"/>
                </a:ext>
              </a:extLst>
            </p:cNvPr>
            <p:cNvSpPr>
              <a:spLocks noChangeShapeType="1"/>
            </p:cNvSpPr>
            <p:nvPr/>
          </p:nvSpPr>
          <p:spPr bwMode="auto">
            <a:xfrm flipV="1">
              <a:off x="4119142" y="2883520"/>
              <a:ext cx="1502" cy="1661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03" name="Freeform 340">
              <a:extLst>
                <a:ext uri="{FF2B5EF4-FFF2-40B4-BE49-F238E27FC236}">
                  <a16:creationId xmlns:a16="http://schemas.microsoft.com/office/drawing/2014/main" id="{436CF01A-CA12-B091-42DA-459E81B512E9}"/>
                </a:ext>
              </a:extLst>
            </p:cNvPr>
            <p:cNvSpPr>
              <a:spLocks/>
            </p:cNvSpPr>
            <p:nvPr/>
          </p:nvSpPr>
          <p:spPr bwMode="auto">
            <a:xfrm>
              <a:off x="7426385" y="3329015"/>
              <a:ext cx="31555" cy="33223"/>
            </a:xfrm>
            <a:custGeom>
              <a:avLst/>
              <a:gdLst>
                <a:gd name="T0" fmla="*/ 0 w 16"/>
                <a:gd name="T1" fmla="*/ 8 h 16"/>
                <a:gd name="T2" fmla="*/ 8 w 16"/>
                <a:gd name="T3" fmla="*/ 16 h 16"/>
                <a:gd name="T4" fmla="*/ 16 w 16"/>
                <a:gd name="T5" fmla="*/ 8 h 16"/>
                <a:gd name="T6" fmla="*/ 16 w 16"/>
                <a:gd name="T7" fmla="*/ 0 h 16"/>
                <a:gd name="T8" fmla="*/ 0 w 16"/>
                <a:gd name="T9" fmla="*/ 0 h 16"/>
                <a:gd name="T10" fmla="*/ 0 w 16"/>
                <a:gd name="T11" fmla="*/ 8 h 16"/>
              </a:gdLst>
              <a:ahLst/>
              <a:cxnLst>
                <a:cxn ang="0">
                  <a:pos x="T0" y="T1"/>
                </a:cxn>
                <a:cxn ang="0">
                  <a:pos x="T2" y="T3"/>
                </a:cxn>
                <a:cxn ang="0">
                  <a:pos x="T4" y="T5"/>
                </a:cxn>
                <a:cxn ang="0">
                  <a:pos x="T6" y="T7"/>
                </a:cxn>
                <a:cxn ang="0">
                  <a:pos x="T8" y="T9"/>
                </a:cxn>
                <a:cxn ang="0">
                  <a:pos x="T10" y="T11"/>
                </a:cxn>
              </a:cxnLst>
              <a:rect l="0" t="0" r="r" b="b"/>
              <a:pathLst>
                <a:path w="16" h="16">
                  <a:moveTo>
                    <a:pt x="0" y="8"/>
                  </a:moveTo>
                  <a:lnTo>
                    <a:pt x="8" y="16"/>
                  </a:lnTo>
                  <a:lnTo>
                    <a:pt x="16" y="8"/>
                  </a:lnTo>
                  <a:lnTo>
                    <a:pt x="16" y="0"/>
                  </a:lnTo>
                  <a:lnTo>
                    <a:pt x="0"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04" name="Freeform 341">
              <a:extLst>
                <a:ext uri="{FF2B5EF4-FFF2-40B4-BE49-F238E27FC236}">
                  <a16:creationId xmlns:a16="http://schemas.microsoft.com/office/drawing/2014/main" id="{2FD08EBE-A604-BC1A-4CD9-1AD68A610434}"/>
                </a:ext>
              </a:extLst>
            </p:cNvPr>
            <p:cNvSpPr>
              <a:spLocks/>
            </p:cNvSpPr>
            <p:nvPr/>
          </p:nvSpPr>
          <p:spPr bwMode="auto">
            <a:xfrm>
              <a:off x="7246058" y="3245956"/>
              <a:ext cx="114199" cy="49833"/>
            </a:xfrm>
            <a:custGeom>
              <a:avLst/>
              <a:gdLst>
                <a:gd name="T0" fmla="*/ 0 w 56"/>
                <a:gd name="T1" fmla="*/ 24 h 24"/>
                <a:gd name="T2" fmla="*/ 16 w 56"/>
                <a:gd name="T3" fmla="*/ 24 h 24"/>
                <a:gd name="T4" fmla="*/ 24 w 56"/>
                <a:gd name="T5" fmla="*/ 8 h 24"/>
                <a:gd name="T6" fmla="*/ 56 w 56"/>
                <a:gd name="T7" fmla="*/ 0 h 24"/>
                <a:gd name="T8" fmla="*/ 24 w 56"/>
                <a:gd name="T9" fmla="*/ 0 h 24"/>
                <a:gd name="T10" fmla="*/ 8 w 56"/>
                <a:gd name="T11" fmla="*/ 16 h 24"/>
                <a:gd name="T12" fmla="*/ 0 w 5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56" h="24">
                  <a:moveTo>
                    <a:pt x="0" y="24"/>
                  </a:moveTo>
                  <a:lnTo>
                    <a:pt x="16" y="24"/>
                  </a:lnTo>
                  <a:lnTo>
                    <a:pt x="24" y="8"/>
                  </a:lnTo>
                  <a:lnTo>
                    <a:pt x="56" y="0"/>
                  </a:lnTo>
                  <a:lnTo>
                    <a:pt x="24" y="0"/>
                  </a:lnTo>
                  <a:lnTo>
                    <a:pt x="8" y="16"/>
                  </a:lnTo>
                  <a:lnTo>
                    <a:pt x="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05" name="Freeform 342">
              <a:extLst>
                <a:ext uri="{FF2B5EF4-FFF2-40B4-BE49-F238E27FC236}">
                  <a16:creationId xmlns:a16="http://schemas.microsoft.com/office/drawing/2014/main" id="{220A3363-8F34-BE35-7BC8-A2C48908AC7E}"/>
                </a:ext>
              </a:extLst>
            </p:cNvPr>
            <p:cNvSpPr>
              <a:spLocks/>
            </p:cNvSpPr>
            <p:nvPr/>
          </p:nvSpPr>
          <p:spPr bwMode="auto">
            <a:xfrm>
              <a:off x="1892283" y="1550102"/>
              <a:ext cx="33058" cy="16612"/>
            </a:xfrm>
            <a:custGeom>
              <a:avLst/>
              <a:gdLst>
                <a:gd name="T0" fmla="*/ 0 w 16"/>
                <a:gd name="T1" fmla="*/ 0 h 8"/>
                <a:gd name="T2" fmla="*/ 8 w 16"/>
                <a:gd name="T3" fmla="*/ 8 h 8"/>
                <a:gd name="T4" fmla="*/ 16 w 16"/>
                <a:gd name="T5" fmla="*/ 0 h 8"/>
                <a:gd name="T6" fmla="*/ 0 w 16"/>
                <a:gd name="T7" fmla="*/ 0 h 8"/>
              </a:gdLst>
              <a:ahLst/>
              <a:cxnLst>
                <a:cxn ang="0">
                  <a:pos x="T0" y="T1"/>
                </a:cxn>
                <a:cxn ang="0">
                  <a:pos x="T2" y="T3"/>
                </a:cxn>
                <a:cxn ang="0">
                  <a:pos x="T4" y="T5"/>
                </a:cxn>
                <a:cxn ang="0">
                  <a:pos x="T6" y="T7"/>
                </a:cxn>
              </a:cxnLst>
              <a:rect l="0" t="0" r="r" b="b"/>
              <a:pathLst>
                <a:path w="16" h="8">
                  <a:moveTo>
                    <a:pt x="0" y="0"/>
                  </a:moveTo>
                  <a:lnTo>
                    <a:pt x="8" y="8"/>
                  </a:lnTo>
                  <a:lnTo>
                    <a:pt x="16"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06" name="Freeform 343">
              <a:extLst>
                <a:ext uri="{FF2B5EF4-FFF2-40B4-BE49-F238E27FC236}">
                  <a16:creationId xmlns:a16="http://schemas.microsoft.com/office/drawing/2014/main" id="{2564DD97-FBF3-8A49-7181-4AF7B8CC2582}"/>
                </a:ext>
              </a:extLst>
            </p:cNvPr>
            <p:cNvSpPr>
              <a:spLocks/>
            </p:cNvSpPr>
            <p:nvPr/>
          </p:nvSpPr>
          <p:spPr bwMode="auto">
            <a:xfrm>
              <a:off x="7065745" y="1270730"/>
              <a:ext cx="16528" cy="16611"/>
            </a:xfrm>
            <a:custGeom>
              <a:avLst/>
              <a:gdLst>
                <a:gd name="T0" fmla="*/ 0 w 8"/>
                <a:gd name="T1" fmla="*/ 8 h 8"/>
                <a:gd name="T2" fmla="*/ 8 w 8"/>
                <a:gd name="T3" fmla="*/ 8 h 8"/>
                <a:gd name="T4" fmla="*/ 0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8" y="8"/>
                  </a:lnTo>
                  <a:lnTo>
                    <a:pt x="0"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07" name="Freeform 344">
              <a:extLst>
                <a:ext uri="{FF2B5EF4-FFF2-40B4-BE49-F238E27FC236}">
                  <a16:creationId xmlns:a16="http://schemas.microsoft.com/office/drawing/2014/main" id="{113136DA-7966-2C10-2DA8-35E4308F9546}"/>
                </a:ext>
              </a:extLst>
            </p:cNvPr>
            <p:cNvSpPr>
              <a:spLocks/>
            </p:cNvSpPr>
            <p:nvPr/>
          </p:nvSpPr>
          <p:spPr bwMode="auto">
            <a:xfrm>
              <a:off x="4183753" y="1254129"/>
              <a:ext cx="33058" cy="16612"/>
            </a:xfrm>
            <a:custGeom>
              <a:avLst/>
              <a:gdLst>
                <a:gd name="T0" fmla="*/ 0 w 16"/>
                <a:gd name="T1" fmla="*/ 0 h 8"/>
                <a:gd name="T2" fmla="*/ 0 w 16"/>
                <a:gd name="T3" fmla="*/ 8 h 8"/>
                <a:gd name="T4" fmla="*/ 8 w 16"/>
                <a:gd name="T5" fmla="*/ 8 h 8"/>
                <a:gd name="T6" fmla="*/ 16 w 16"/>
                <a:gd name="T7" fmla="*/ 8 h 8"/>
                <a:gd name="T8" fmla="*/ 8 w 16"/>
                <a:gd name="T9" fmla="*/ 8 h 8"/>
                <a:gd name="T10" fmla="*/ 16 w 16"/>
                <a:gd name="T11" fmla="*/ 0 h 8"/>
                <a:gd name="T12" fmla="*/ 0 w 1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6" h="8">
                  <a:moveTo>
                    <a:pt x="0" y="0"/>
                  </a:moveTo>
                  <a:lnTo>
                    <a:pt x="0" y="8"/>
                  </a:lnTo>
                  <a:lnTo>
                    <a:pt x="8" y="8"/>
                  </a:lnTo>
                  <a:lnTo>
                    <a:pt x="16" y="8"/>
                  </a:lnTo>
                  <a:lnTo>
                    <a:pt x="8" y="8"/>
                  </a:lnTo>
                  <a:lnTo>
                    <a:pt x="16"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08" name="Line 345">
              <a:extLst>
                <a:ext uri="{FF2B5EF4-FFF2-40B4-BE49-F238E27FC236}">
                  <a16:creationId xmlns:a16="http://schemas.microsoft.com/office/drawing/2014/main" id="{994ACB52-69A2-1A3C-9CFB-3CE746031044}"/>
                </a:ext>
              </a:extLst>
            </p:cNvPr>
            <p:cNvSpPr>
              <a:spLocks noChangeShapeType="1"/>
            </p:cNvSpPr>
            <p:nvPr/>
          </p:nvSpPr>
          <p:spPr bwMode="auto">
            <a:xfrm flipV="1">
              <a:off x="4167227" y="1270730"/>
              <a:ext cx="3005" cy="1661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09" name="Line 346">
              <a:extLst>
                <a:ext uri="{FF2B5EF4-FFF2-40B4-BE49-F238E27FC236}">
                  <a16:creationId xmlns:a16="http://schemas.microsoft.com/office/drawing/2014/main" id="{3BA92FB5-563C-DDFD-8B2B-E8936FB898A1}"/>
                </a:ext>
              </a:extLst>
            </p:cNvPr>
            <p:cNvSpPr>
              <a:spLocks noChangeShapeType="1"/>
            </p:cNvSpPr>
            <p:nvPr/>
          </p:nvSpPr>
          <p:spPr bwMode="auto">
            <a:xfrm>
              <a:off x="4183751" y="1303968"/>
              <a:ext cx="16528" cy="1509"/>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10" name="Freeform 347">
              <a:extLst>
                <a:ext uri="{FF2B5EF4-FFF2-40B4-BE49-F238E27FC236}">
                  <a16:creationId xmlns:a16="http://schemas.microsoft.com/office/drawing/2014/main" id="{D4C3D88C-90AB-495F-0797-F3B88F6A0058}"/>
                </a:ext>
              </a:extLst>
            </p:cNvPr>
            <p:cNvSpPr>
              <a:spLocks/>
            </p:cNvSpPr>
            <p:nvPr/>
          </p:nvSpPr>
          <p:spPr bwMode="auto">
            <a:xfrm>
              <a:off x="4610489" y="3872646"/>
              <a:ext cx="48086" cy="64934"/>
            </a:xfrm>
            <a:custGeom>
              <a:avLst/>
              <a:gdLst>
                <a:gd name="T0" fmla="*/ 24 w 24"/>
                <a:gd name="T1" fmla="*/ 8 h 32"/>
                <a:gd name="T2" fmla="*/ 24 w 24"/>
                <a:gd name="T3" fmla="*/ 16 h 32"/>
                <a:gd name="T4" fmla="*/ 8 w 24"/>
                <a:gd name="T5" fmla="*/ 32 h 32"/>
                <a:gd name="T6" fmla="*/ 0 w 24"/>
                <a:gd name="T7" fmla="*/ 16 h 32"/>
                <a:gd name="T8" fmla="*/ 16 w 24"/>
                <a:gd name="T9" fmla="*/ 0 h 32"/>
                <a:gd name="T10" fmla="*/ 24 w 24"/>
                <a:gd name="T11" fmla="*/ 0 h 32"/>
                <a:gd name="T12" fmla="*/ 24 w 24"/>
                <a:gd name="T13" fmla="*/ 8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24" y="8"/>
                  </a:moveTo>
                  <a:lnTo>
                    <a:pt x="24" y="16"/>
                  </a:lnTo>
                  <a:lnTo>
                    <a:pt x="8" y="32"/>
                  </a:lnTo>
                  <a:lnTo>
                    <a:pt x="0" y="16"/>
                  </a:lnTo>
                  <a:lnTo>
                    <a:pt x="16" y="0"/>
                  </a:lnTo>
                  <a:lnTo>
                    <a:pt x="24" y="0"/>
                  </a:lnTo>
                  <a:lnTo>
                    <a:pt x="24"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11" name="Rectangle 348">
              <a:extLst>
                <a:ext uri="{FF2B5EF4-FFF2-40B4-BE49-F238E27FC236}">
                  <a16:creationId xmlns:a16="http://schemas.microsoft.com/office/drawing/2014/main" id="{C647DD37-D873-8097-BC08-B8556DAC5356}"/>
                </a:ext>
              </a:extLst>
            </p:cNvPr>
            <p:cNvSpPr>
              <a:spLocks noChangeArrowheads="1"/>
            </p:cNvSpPr>
            <p:nvPr/>
          </p:nvSpPr>
          <p:spPr bwMode="auto">
            <a:xfrm>
              <a:off x="6935021" y="2274950"/>
              <a:ext cx="16530" cy="16612"/>
            </a:xfrm>
            <a:prstGeom prst="rect">
              <a:avLst/>
            </a:prstGeom>
            <a:grpFill/>
            <a:ln w="6350">
              <a:solidFill>
                <a:schemeClr val="lt1"/>
              </a:solidFill>
              <a:miter lim="800000"/>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12" name="Line 349">
              <a:extLst>
                <a:ext uri="{FF2B5EF4-FFF2-40B4-BE49-F238E27FC236}">
                  <a16:creationId xmlns:a16="http://schemas.microsoft.com/office/drawing/2014/main" id="{75318F20-4902-1CE4-0829-483452578B04}"/>
                </a:ext>
              </a:extLst>
            </p:cNvPr>
            <p:cNvSpPr>
              <a:spLocks noChangeShapeType="1"/>
            </p:cNvSpPr>
            <p:nvPr/>
          </p:nvSpPr>
          <p:spPr bwMode="auto">
            <a:xfrm flipV="1">
              <a:off x="1941882" y="1879303"/>
              <a:ext cx="15026" cy="16612"/>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13" name="Line 350">
              <a:extLst>
                <a:ext uri="{FF2B5EF4-FFF2-40B4-BE49-F238E27FC236}">
                  <a16:creationId xmlns:a16="http://schemas.microsoft.com/office/drawing/2014/main" id="{AB05FCCB-51F6-FEF4-1A2B-8650AE694E09}"/>
                </a:ext>
              </a:extLst>
            </p:cNvPr>
            <p:cNvSpPr>
              <a:spLocks noChangeShapeType="1"/>
            </p:cNvSpPr>
            <p:nvPr/>
          </p:nvSpPr>
          <p:spPr bwMode="auto">
            <a:xfrm>
              <a:off x="6935021" y="2291575"/>
              <a:ext cx="16530" cy="1509"/>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14" name="Freeform 351">
              <a:extLst>
                <a:ext uri="{FF2B5EF4-FFF2-40B4-BE49-F238E27FC236}">
                  <a16:creationId xmlns:a16="http://schemas.microsoft.com/office/drawing/2014/main" id="{9C2B8B0B-3965-B48F-B46F-F0A77DA1134F}"/>
                </a:ext>
              </a:extLst>
            </p:cNvPr>
            <p:cNvSpPr>
              <a:spLocks/>
            </p:cNvSpPr>
            <p:nvPr/>
          </p:nvSpPr>
          <p:spPr bwMode="auto">
            <a:xfrm>
              <a:off x="3677375" y="1270731"/>
              <a:ext cx="114199" cy="114767"/>
            </a:xfrm>
            <a:custGeom>
              <a:avLst/>
              <a:gdLst>
                <a:gd name="T0" fmla="*/ 32 w 56"/>
                <a:gd name="T1" fmla="*/ 8 h 56"/>
                <a:gd name="T2" fmla="*/ 40 w 56"/>
                <a:gd name="T3" fmla="*/ 16 h 56"/>
                <a:gd name="T4" fmla="*/ 56 w 56"/>
                <a:gd name="T5" fmla="*/ 16 h 56"/>
                <a:gd name="T6" fmla="*/ 56 w 56"/>
                <a:gd name="T7" fmla="*/ 32 h 56"/>
                <a:gd name="T8" fmla="*/ 48 w 56"/>
                <a:gd name="T9" fmla="*/ 48 h 56"/>
                <a:gd name="T10" fmla="*/ 8 w 56"/>
                <a:gd name="T11" fmla="*/ 56 h 56"/>
                <a:gd name="T12" fmla="*/ 0 w 56"/>
                <a:gd name="T13" fmla="*/ 48 h 56"/>
                <a:gd name="T14" fmla="*/ 8 w 56"/>
                <a:gd name="T15" fmla="*/ 48 h 56"/>
                <a:gd name="T16" fmla="*/ 24 w 56"/>
                <a:gd name="T17" fmla="*/ 32 h 56"/>
                <a:gd name="T18" fmla="*/ 8 w 56"/>
                <a:gd name="T19" fmla="*/ 24 h 56"/>
                <a:gd name="T20" fmla="*/ 16 w 56"/>
                <a:gd name="T21" fmla="*/ 24 h 56"/>
                <a:gd name="T22" fmla="*/ 8 w 56"/>
                <a:gd name="T23" fmla="*/ 16 h 56"/>
                <a:gd name="T24" fmla="*/ 16 w 56"/>
                <a:gd name="T25" fmla="*/ 16 h 56"/>
                <a:gd name="T26" fmla="*/ 24 w 56"/>
                <a:gd name="T27" fmla="*/ 16 h 56"/>
                <a:gd name="T28" fmla="*/ 32 w 56"/>
                <a:gd name="T29" fmla="*/ 8 h 56"/>
                <a:gd name="T30" fmla="*/ 24 w 56"/>
                <a:gd name="T31" fmla="*/ 8 h 56"/>
                <a:gd name="T32" fmla="*/ 32 w 56"/>
                <a:gd name="T33" fmla="*/ 0 h 56"/>
                <a:gd name="T34" fmla="*/ 40 w 56"/>
                <a:gd name="T35" fmla="*/ 0 h 56"/>
                <a:gd name="T36" fmla="*/ 32 w 56"/>
                <a:gd name="T37"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56">
                  <a:moveTo>
                    <a:pt x="32" y="8"/>
                  </a:moveTo>
                  <a:lnTo>
                    <a:pt x="40" y="16"/>
                  </a:lnTo>
                  <a:lnTo>
                    <a:pt x="56" y="16"/>
                  </a:lnTo>
                  <a:lnTo>
                    <a:pt x="56" y="32"/>
                  </a:lnTo>
                  <a:lnTo>
                    <a:pt x="48" y="48"/>
                  </a:lnTo>
                  <a:lnTo>
                    <a:pt x="8" y="56"/>
                  </a:lnTo>
                  <a:lnTo>
                    <a:pt x="0" y="48"/>
                  </a:lnTo>
                  <a:lnTo>
                    <a:pt x="8" y="48"/>
                  </a:lnTo>
                  <a:lnTo>
                    <a:pt x="24" y="32"/>
                  </a:lnTo>
                  <a:lnTo>
                    <a:pt x="8" y="24"/>
                  </a:lnTo>
                  <a:lnTo>
                    <a:pt x="16" y="24"/>
                  </a:lnTo>
                  <a:lnTo>
                    <a:pt x="8" y="16"/>
                  </a:lnTo>
                  <a:lnTo>
                    <a:pt x="16" y="16"/>
                  </a:lnTo>
                  <a:lnTo>
                    <a:pt x="24" y="16"/>
                  </a:lnTo>
                  <a:lnTo>
                    <a:pt x="32" y="8"/>
                  </a:lnTo>
                  <a:lnTo>
                    <a:pt x="24" y="8"/>
                  </a:lnTo>
                  <a:lnTo>
                    <a:pt x="32" y="0"/>
                  </a:lnTo>
                  <a:lnTo>
                    <a:pt x="40" y="0"/>
                  </a:lnTo>
                  <a:lnTo>
                    <a:pt x="32"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15" name="Freeform 352">
              <a:extLst>
                <a:ext uri="{FF2B5EF4-FFF2-40B4-BE49-F238E27FC236}">
                  <a16:creationId xmlns:a16="http://schemas.microsoft.com/office/drawing/2014/main" id="{96EC498B-F684-FB51-E17C-FB0A0E57E17F}"/>
                </a:ext>
              </a:extLst>
            </p:cNvPr>
            <p:cNvSpPr>
              <a:spLocks/>
            </p:cNvSpPr>
            <p:nvPr/>
          </p:nvSpPr>
          <p:spPr bwMode="auto">
            <a:xfrm>
              <a:off x="4003443" y="1320576"/>
              <a:ext cx="99173" cy="81547"/>
            </a:xfrm>
            <a:custGeom>
              <a:avLst/>
              <a:gdLst>
                <a:gd name="T0" fmla="*/ 0 w 48"/>
                <a:gd name="T1" fmla="*/ 32 h 40"/>
                <a:gd name="T2" fmla="*/ 16 w 48"/>
                <a:gd name="T3" fmla="*/ 8 h 40"/>
                <a:gd name="T4" fmla="*/ 16 w 48"/>
                <a:gd name="T5" fmla="*/ 16 h 40"/>
                <a:gd name="T6" fmla="*/ 24 w 48"/>
                <a:gd name="T7" fmla="*/ 16 h 40"/>
                <a:gd name="T8" fmla="*/ 32 w 48"/>
                <a:gd name="T9" fmla="*/ 16 h 40"/>
                <a:gd name="T10" fmla="*/ 24 w 48"/>
                <a:gd name="T11" fmla="*/ 8 h 40"/>
                <a:gd name="T12" fmla="*/ 48 w 48"/>
                <a:gd name="T13" fmla="*/ 0 h 40"/>
                <a:gd name="T14" fmla="*/ 40 w 48"/>
                <a:gd name="T15" fmla="*/ 16 h 40"/>
                <a:gd name="T16" fmla="*/ 32 w 48"/>
                <a:gd name="T17" fmla="*/ 24 h 40"/>
                <a:gd name="T18" fmla="*/ 32 w 48"/>
                <a:gd name="T19" fmla="*/ 40 h 40"/>
                <a:gd name="T20" fmla="*/ 16 w 48"/>
                <a:gd name="T21" fmla="*/ 32 h 40"/>
                <a:gd name="T22" fmla="*/ 0 w 48"/>
                <a:gd name="T23"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0" y="32"/>
                  </a:moveTo>
                  <a:lnTo>
                    <a:pt x="16" y="8"/>
                  </a:lnTo>
                  <a:lnTo>
                    <a:pt x="16" y="16"/>
                  </a:lnTo>
                  <a:lnTo>
                    <a:pt x="24" y="16"/>
                  </a:lnTo>
                  <a:lnTo>
                    <a:pt x="32" y="16"/>
                  </a:lnTo>
                  <a:lnTo>
                    <a:pt x="24" y="8"/>
                  </a:lnTo>
                  <a:lnTo>
                    <a:pt x="48" y="0"/>
                  </a:lnTo>
                  <a:lnTo>
                    <a:pt x="40" y="16"/>
                  </a:lnTo>
                  <a:lnTo>
                    <a:pt x="32" y="24"/>
                  </a:lnTo>
                  <a:lnTo>
                    <a:pt x="32" y="40"/>
                  </a:lnTo>
                  <a:lnTo>
                    <a:pt x="16" y="32"/>
                  </a:lnTo>
                  <a:lnTo>
                    <a:pt x="0"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16" name="Freeform 353">
              <a:extLst>
                <a:ext uri="{FF2B5EF4-FFF2-40B4-BE49-F238E27FC236}">
                  <a16:creationId xmlns:a16="http://schemas.microsoft.com/office/drawing/2014/main" id="{2677A584-CDF6-C38B-FB72-8AFDDCA97DFA}"/>
                </a:ext>
              </a:extLst>
            </p:cNvPr>
            <p:cNvSpPr>
              <a:spLocks/>
            </p:cNvSpPr>
            <p:nvPr/>
          </p:nvSpPr>
          <p:spPr bwMode="auto">
            <a:xfrm>
              <a:off x="4314482" y="1435338"/>
              <a:ext cx="132230" cy="64934"/>
            </a:xfrm>
            <a:custGeom>
              <a:avLst/>
              <a:gdLst>
                <a:gd name="T0" fmla="*/ 0 w 64"/>
                <a:gd name="T1" fmla="*/ 16 h 32"/>
                <a:gd name="T2" fmla="*/ 8 w 64"/>
                <a:gd name="T3" fmla="*/ 24 h 32"/>
                <a:gd name="T4" fmla="*/ 24 w 64"/>
                <a:gd name="T5" fmla="*/ 32 h 32"/>
                <a:gd name="T6" fmla="*/ 48 w 64"/>
                <a:gd name="T7" fmla="*/ 16 h 32"/>
                <a:gd name="T8" fmla="*/ 64 w 64"/>
                <a:gd name="T9" fmla="*/ 16 h 32"/>
                <a:gd name="T10" fmla="*/ 64 w 64"/>
                <a:gd name="T11" fmla="*/ 8 h 32"/>
                <a:gd name="T12" fmla="*/ 56 w 64"/>
                <a:gd name="T13" fmla="*/ 8 h 32"/>
                <a:gd name="T14" fmla="*/ 40 w 64"/>
                <a:gd name="T15" fmla="*/ 8 h 32"/>
                <a:gd name="T16" fmla="*/ 16 w 64"/>
                <a:gd name="T17" fmla="*/ 0 h 32"/>
                <a:gd name="T18" fmla="*/ 0 w 64"/>
                <a:gd name="T19"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32">
                  <a:moveTo>
                    <a:pt x="0" y="16"/>
                  </a:moveTo>
                  <a:lnTo>
                    <a:pt x="8" y="24"/>
                  </a:lnTo>
                  <a:lnTo>
                    <a:pt x="24" y="32"/>
                  </a:lnTo>
                  <a:lnTo>
                    <a:pt x="48" y="16"/>
                  </a:lnTo>
                  <a:lnTo>
                    <a:pt x="64" y="16"/>
                  </a:lnTo>
                  <a:lnTo>
                    <a:pt x="64" y="8"/>
                  </a:lnTo>
                  <a:lnTo>
                    <a:pt x="56" y="8"/>
                  </a:lnTo>
                  <a:lnTo>
                    <a:pt x="40" y="8"/>
                  </a:lnTo>
                  <a:lnTo>
                    <a:pt x="16" y="0"/>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17" name="Freeform 354">
              <a:extLst>
                <a:ext uri="{FF2B5EF4-FFF2-40B4-BE49-F238E27FC236}">
                  <a16:creationId xmlns:a16="http://schemas.microsoft.com/office/drawing/2014/main" id="{7F5195A7-E09D-7F83-BFB4-A7496BEE6BFD}"/>
                </a:ext>
              </a:extLst>
            </p:cNvPr>
            <p:cNvSpPr>
              <a:spLocks/>
            </p:cNvSpPr>
            <p:nvPr/>
          </p:nvSpPr>
          <p:spPr bwMode="auto">
            <a:xfrm>
              <a:off x="4200283" y="1385499"/>
              <a:ext cx="147255" cy="83056"/>
            </a:xfrm>
            <a:custGeom>
              <a:avLst/>
              <a:gdLst>
                <a:gd name="T0" fmla="*/ 72 w 72"/>
                <a:gd name="T1" fmla="*/ 24 h 40"/>
                <a:gd name="T2" fmla="*/ 56 w 72"/>
                <a:gd name="T3" fmla="*/ 16 h 40"/>
                <a:gd name="T4" fmla="*/ 48 w 72"/>
                <a:gd name="T5" fmla="*/ 8 h 40"/>
                <a:gd name="T6" fmla="*/ 32 w 72"/>
                <a:gd name="T7" fmla="*/ 8 h 40"/>
                <a:gd name="T8" fmla="*/ 32 w 72"/>
                <a:gd name="T9" fmla="*/ 0 h 40"/>
                <a:gd name="T10" fmla="*/ 0 w 72"/>
                <a:gd name="T11" fmla="*/ 16 h 40"/>
                <a:gd name="T12" fmla="*/ 8 w 72"/>
                <a:gd name="T13" fmla="*/ 24 h 40"/>
                <a:gd name="T14" fmla="*/ 24 w 72"/>
                <a:gd name="T15" fmla="*/ 40 h 40"/>
                <a:gd name="T16" fmla="*/ 32 w 72"/>
                <a:gd name="T17" fmla="*/ 40 h 40"/>
                <a:gd name="T18" fmla="*/ 40 w 72"/>
                <a:gd name="T19" fmla="*/ 32 h 40"/>
                <a:gd name="T20" fmla="*/ 56 w 72"/>
                <a:gd name="T21" fmla="*/ 40 h 40"/>
                <a:gd name="T22" fmla="*/ 72 w 72"/>
                <a:gd name="T23"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40">
                  <a:moveTo>
                    <a:pt x="72" y="24"/>
                  </a:moveTo>
                  <a:lnTo>
                    <a:pt x="56" y="16"/>
                  </a:lnTo>
                  <a:lnTo>
                    <a:pt x="48" y="8"/>
                  </a:lnTo>
                  <a:lnTo>
                    <a:pt x="32" y="8"/>
                  </a:lnTo>
                  <a:lnTo>
                    <a:pt x="32" y="0"/>
                  </a:lnTo>
                  <a:lnTo>
                    <a:pt x="0" y="16"/>
                  </a:lnTo>
                  <a:lnTo>
                    <a:pt x="8" y="24"/>
                  </a:lnTo>
                  <a:lnTo>
                    <a:pt x="24" y="40"/>
                  </a:lnTo>
                  <a:lnTo>
                    <a:pt x="32" y="40"/>
                  </a:lnTo>
                  <a:lnTo>
                    <a:pt x="40" y="32"/>
                  </a:lnTo>
                  <a:lnTo>
                    <a:pt x="56" y="40"/>
                  </a:lnTo>
                  <a:lnTo>
                    <a:pt x="72"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18" name="Freeform 11">
              <a:extLst>
                <a:ext uri="{FF2B5EF4-FFF2-40B4-BE49-F238E27FC236}">
                  <a16:creationId xmlns:a16="http://schemas.microsoft.com/office/drawing/2014/main" id="{0F062EA8-144A-B1AE-4C1F-9B113790E95D}"/>
                </a:ext>
              </a:extLst>
            </p:cNvPr>
            <p:cNvSpPr>
              <a:spLocks noEditPoints="1"/>
            </p:cNvSpPr>
            <p:nvPr/>
          </p:nvSpPr>
          <p:spPr bwMode="auto">
            <a:xfrm>
              <a:off x="8080283" y="4135527"/>
              <a:ext cx="258740" cy="345569"/>
            </a:xfrm>
            <a:custGeom>
              <a:avLst/>
              <a:gdLst/>
              <a:ahLst/>
              <a:cxnLst>
                <a:cxn ang="0">
                  <a:pos x="47" y="68"/>
                </a:cxn>
                <a:cxn ang="0">
                  <a:pos x="53" y="68"/>
                </a:cxn>
                <a:cxn ang="0">
                  <a:pos x="53" y="70"/>
                </a:cxn>
                <a:cxn ang="0">
                  <a:pos x="56" y="74"/>
                </a:cxn>
                <a:cxn ang="0">
                  <a:pos x="62" y="76"/>
                </a:cxn>
                <a:cxn ang="0">
                  <a:pos x="62" y="82"/>
                </a:cxn>
                <a:cxn ang="0">
                  <a:pos x="53" y="95"/>
                </a:cxn>
                <a:cxn ang="0">
                  <a:pos x="53" y="101"/>
                </a:cxn>
                <a:cxn ang="0">
                  <a:pos x="51" y="104"/>
                </a:cxn>
                <a:cxn ang="0">
                  <a:pos x="39" y="113"/>
                </a:cxn>
                <a:cxn ang="0">
                  <a:pos x="36" y="126"/>
                </a:cxn>
                <a:cxn ang="0">
                  <a:pos x="30" y="132"/>
                </a:cxn>
                <a:cxn ang="0">
                  <a:pos x="18" y="135"/>
                </a:cxn>
                <a:cxn ang="0">
                  <a:pos x="13" y="132"/>
                </a:cxn>
                <a:cxn ang="0">
                  <a:pos x="9" y="130"/>
                </a:cxn>
                <a:cxn ang="0">
                  <a:pos x="1" y="129"/>
                </a:cxn>
                <a:cxn ang="0">
                  <a:pos x="4" y="124"/>
                </a:cxn>
                <a:cxn ang="0">
                  <a:pos x="9" y="115"/>
                </a:cxn>
                <a:cxn ang="0">
                  <a:pos x="19" y="105"/>
                </a:cxn>
                <a:cxn ang="0">
                  <a:pos x="24" y="101"/>
                </a:cxn>
                <a:cxn ang="0">
                  <a:pos x="35" y="95"/>
                </a:cxn>
                <a:cxn ang="0">
                  <a:pos x="44" y="79"/>
                </a:cxn>
                <a:cxn ang="0">
                  <a:pos x="47" y="68"/>
                </a:cxn>
                <a:cxn ang="0">
                  <a:pos x="74" y="78"/>
                </a:cxn>
                <a:cxn ang="0">
                  <a:pos x="85" y="56"/>
                </a:cxn>
                <a:cxn ang="0">
                  <a:pos x="91" y="53"/>
                </a:cxn>
                <a:cxn ang="0">
                  <a:pos x="94" y="47"/>
                </a:cxn>
                <a:cxn ang="0">
                  <a:pos x="97" y="37"/>
                </a:cxn>
                <a:cxn ang="0">
                  <a:pos x="91" y="36"/>
                </a:cxn>
                <a:cxn ang="0">
                  <a:pos x="80" y="36"/>
                </a:cxn>
                <a:cxn ang="0">
                  <a:pos x="74" y="23"/>
                </a:cxn>
                <a:cxn ang="0">
                  <a:pos x="74" y="28"/>
                </a:cxn>
                <a:cxn ang="0">
                  <a:pos x="68" y="22"/>
                </a:cxn>
                <a:cxn ang="0">
                  <a:pos x="65" y="16"/>
                </a:cxn>
                <a:cxn ang="0">
                  <a:pos x="63" y="9"/>
                </a:cxn>
                <a:cxn ang="0">
                  <a:pos x="57" y="5"/>
                </a:cxn>
                <a:cxn ang="0">
                  <a:pos x="51" y="0"/>
                </a:cxn>
                <a:cxn ang="0">
                  <a:pos x="53" y="5"/>
                </a:cxn>
                <a:cxn ang="0">
                  <a:pos x="56" y="9"/>
                </a:cxn>
                <a:cxn ang="0">
                  <a:pos x="62" y="20"/>
                </a:cxn>
                <a:cxn ang="0">
                  <a:pos x="63" y="23"/>
                </a:cxn>
                <a:cxn ang="0">
                  <a:pos x="66" y="31"/>
                </a:cxn>
                <a:cxn ang="0">
                  <a:pos x="66" y="43"/>
                </a:cxn>
                <a:cxn ang="0">
                  <a:pos x="59" y="53"/>
                </a:cxn>
                <a:cxn ang="0">
                  <a:pos x="68" y="60"/>
                </a:cxn>
                <a:cxn ang="0">
                  <a:pos x="68" y="73"/>
                </a:cxn>
                <a:cxn ang="0">
                  <a:pos x="68" y="76"/>
                </a:cxn>
                <a:cxn ang="0">
                  <a:pos x="74" y="78"/>
                </a:cxn>
              </a:cxnLst>
              <a:rect l="0" t="0" r="r" b="b"/>
              <a:pathLst>
                <a:path w="98" h="137">
                  <a:moveTo>
                    <a:pt x="47" y="68"/>
                  </a:moveTo>
                  <a:cubicBezTo>
                    <a:pt x="51" y="64"/>
                    <a:pt x="54" y="67"/>
                    <a:pt x="53" y="68"/>
                  </a:cubicBezTo>
                  <a:cubicBezTo>
                    <a:pt x="50" y="68"/>
                    <a:pt x="51" y="70"/>
                    <a:pt x="53" y="70"/>
                  </a:cubicBezTo>
                  <a:cubicBezTo>
                    <a:pt x="54" y="70"/>
                    <a:pt x="51" y="79"/>
                    <a:pt x="56" y="74"/>
                  </a:cubicBezTo>
                  <a:cubicBezTo>
                    <a:pt x="62" y="70"/>
                    <a:pt x="65" y="71"/>
                    <a:pt x="62" y="76"/>
                  </a:cubicBezTo>
                  <a:cubicBezTo>
                    <a:pt x="60" y="79"/>
                    <a:pt x="66" y="78"/>
                    <a:pt x="62" y="82"/>
                  </a:cubicBezTo>
                  <a:cubicBezTo>
                    <a:pt x="57" y="88"/>
                    <a:pt x="56" y="95"/>
                    <a:pt x="53" y="95"/>
                  </a:cubicBezTo>
                  <a:cubicBezTo>
                    <a:pt x="51" y="95"/>
                    <a:pt x="50" y="101"/>
                    <a:pt x="53" y="101"/>
                  </a:cubicBezTo>
                  <a:cubicBezTo>
                    <a:pt x="56" y="102"/>
                    <a:pt x="54" y="105"/>
                    <a:pt x="51" y="104"/>
                  </a:cubicBezTo>
                  <a:cubicBezTo>
                    <a:pt x="50" y="104"/>
                    <a:pt x="39" y="105"/>
                    <a:pt x="39" y="113"/>
                  </a:cubicBezTo>
                  <a:cubicBezTo>
                    <a:pt x="39" y="120"/>
                    <a:pt x="33" y="123"/>
                    <a:pt x="36" y="126"/>
                  </a:cubicBezTo>
                  <a:cubicBezTo>
                    <a:pt x="38" y="129"/>
                    <a:pt x="33" y="126"/>
                    <a:pt x="30" y="132"/>
                  </a:cubicBezTo>
                  <a:cubicBezTo>
                    <a:pt x="25" y="137"/>
                    <a:pt x="22" y="137"/>
                    <a:pt x="18" y="135"/>
                  </a:cubicBezTo>
                  <a:cubicBezTo>
                    <a:pt x="13" y="135"/>
                    <a:pt x="16" y="132"/>
                    <a:pt x="13" y="132"/>
                  </a:cubicBezTo>
                  <a:cubicBezTo>
                    <a:pt x="10" y="133"/>
                    <a:pt x="12" y="129"/>
                    <a:pt x="9" y="130"/>
                  </a:cubicBezTo>
                  <a:cubicBezTo>
                    <a:pt x="6" y="133"/>
                    <a:pt x="3" y="132"/>
                    <a:pt x="1" y="129"/>
                  </a:cubicBezTo>
                  <a:cubicBezTo>
                    <a:pt x="0" y="126"/>
                    <a:pt x="6" y="127"/>
                    <a:pt x="4" y="124"/>
                  </a:cubicBezTo>
                  <a:cubicBezTo>
                    <a:pt x="3" y="121"/>
                    <a:pt x="6" y="118"/>
                    <a:pt x="9" y="115"/>
                  </a:cubicBezTo>
                  <a:cubicBezTo>
                    <a:pt x="13" y="112"/>
                    <a:pt x="15" y="105"/>
                    <a:pt x="19" y="105"/>
                  </a:cubicBezTo>
                  <a:cubicBezTo>
                    <a:pt x="22" y="105"/>
                    <a:pt x="22" y="102"/>
                    <a:pt x="24" y="101"/>
                  </a:cubicBezTo>
                  <a:cubicBezTo>
                    <a:pt x="27" y="101"/>
                    <a:pt x="30" y="96"/>
                    <a:pt x="35" y="95"/>
                  </a:cubicBezTo>
                  <a:cubicBezTo>
                    <a:pt x="38" y="92"/>
                    <a:pt x="39" y="81"/>
                    <a:pt x="44" y="79"/>
                  </a:cubicBezTo>
                  <a:cubicBezTo>
                    <a:pt x="48" y="78"/>
                    <a:pt x="44" y="71"/>
                    <a:pt x="47" y="68"/>
                  </a:cubicBezTo>
                  <a:close/>
                  <a:moveTo>
                    <a:pt x="74" y="78"/>
                  </a:moveTo>
                  <a:cubicBezTo>
                    <a:pt x="76" y="76"/>
                    <a:pt x="88" y="59"/>
                    <a:pt x="85" y="56"/>
                  </a:cubicBezTo>
                  <a:cubicBezTo>
                    <a:pt x="83" y="54"/>
                    <a:pt x="86" y="48"/>
                    <a:pt x="91" y="53"/>
                  </a:cubicBezTo>
                  <a:cubicBezTo>
                    <a:pt x="95" y="56"/>
                    <a:pt x="89" y="47"/>
                    <a:pt x="94" y="47"/>
                  </a:cubicBezTo>
                  <a:cubicBezTo>
                    <a:pt x="97" y="45"/>
                    <a:pt x="95" y="39"/>
                    <a:pt x="97" y="37"/>
                  </a:cubicBezTo>
                  <a:cubicBezTo>
                    <a:pt x="98" y="34"/>
                    <a:pt x="92" y="33"/>
                    <a:pt x="91" y="36"/>
                  </a:cubicBezTo>
                  <a:cubicBezTo>
                    <a:pt x="89" y="40"/>
                    <a:pt x="85" y="39"/>
                    <a:pt x="80" y="36"/>
                  </a:cubicBezTo>
                  <a:cubicBezTo>
                    <a:pt x="76" y="33"/>
                    <a:pt x="77" y="26"/>
                    <a:pt x="74" y="23"/>
                  </a:cubicBezTo>
                  <a:cubicBezTo>
                    <a:pt x="71" y="19"/>
                    <a:pt x="71" y="23"/>
                    <a:pt x="74" y="28"/>
                  </a:cubicBezTo>
                  <a:cubicBezTo>
                    <a:pt x="76" y="33"/>
                    <a:pt x="66" y="26"/>
                    <a:pt x="68" y="22"/>
                  </a:cubicBezTo>
                  <a:cubicBezTo>
                    <a:pt x="68" y="19"/>
                    <a:pt x="65" y="19"/>
                    <a:pt x="65" y="16"/>
                  </a:cubicBezTo>
                  <a:cubicBezTo>
                    <a:pt x="65" y="12"/>
                    <a:pt x="65" y="12"/>
                    <a:pt x="63" y="9"/>
                  </a:cubicBezTo>
                  <a:cubicBezTo>
                    <a:pt x="62" y="6"/>
                    <a:pt x="60" y="6"/>
                    <a:pt x="57" y="5"/>
                  </a:cubicBezTo>
                  <a:cubicBezTo>
                    <a:pt x="54" y="5"/>
                    <a:pt x="56" y="0"/>
                    <a:pt x="51" y="0"/>
                  </a:cubicBezTo>
                  <a:cubicBezTo>
                    <a:pt x="48" y="0"/>
                    <a:pt x="50" y="0"/>
                    <a:pt x="53" y="5"/>
                  </a:cubicBezTo>
                  <a:cubicBezTo>
                    <a:pt x="56" y="8"/>
                    <a:pt x="53" y="6"/>
                    <a:pt x="56" y="9"/>
                  </a:cubicBezTo>
                  <a:cubicBezTo>
                    <a:pt x="57" y="14"/>
                    <a:pt x="60" y="23"/>
                    <a:pt x="62" y="20"/>
                  </a:cubicBezTo>
                  <a:cubicBezTo>
                    <a:pt x="63" y="17"/>
                    <a:pt x="65" y="25"/>
                    <a:pt x="63" y="23"/>
                  </a:cubicBezTo>
                  <a:cubicBezTo>
                    <a:pt x="62" y="22"/>
                    <a:pt x="62" y="23"/>
                    <a:pt x="66" y="31"/>
                  </a:cubicBezTo>
                  <a:cubicBezTo>
                    <a:pt x="70" y="39"/>
                    <a:pt x="66" y="39"/>
                    <a:pt x="66" y="43"/>
                  </a:cubicBezTo>
                  <a:cubicBezTo>
                    <a:pt x="66" y="50"/>
                    <a:pt x="60" y="50"/>
                    <a:pt x="59" y="53"/>
                  </a:cubicBezTo>
                  <a:cubicBezTo>
                    <a:pt x="59" y="56"/>
                    <a:pt x="65" y="59"/>
                    <a:pt x="68" y="60"/>
                  </a:cubicBezTo>
                  <a:cubicBezTo>
                    <a:pt x="73" y="62"/>
                    <a:pt x="70" y="71"/>
                    <a:pt x="68" y="73"/>
                  </a:cubicBezTo>
                  <a:cubicBezTo>
                    <a:pt x="66" y="74"/>
                    <a:pt x="63" y="74"/>
                    <a:pt x="68" y="76"/>
                  </a:cubicBezTo>
                  <a:cubicBezTo>
                    <a:pt x="71" y="76"/>
                    <a:pt x="70" y="81"/>
                    <a:pt x="74" y="78"/>
                  </a:cubicBezTo>
                  <a:close/>
                </a:path>
              </a:pathLst>
            </a:custGeom>
            <a:grpFill/>
            <a:ln w="6350" cmpd="sng">
              <a:solidFill>
                <a:schemeClr val="lt1"/>
              </a:solidFill>
              <a:round/>
              <a:headEnd/>
              <a:tailEnd/>
            </a:ln>
          </p:spPr>
          <p:txBody>
            <a:bodyPr/>
            <a:lstStyle/>
            <a:p>
              <a:pPr eaLnBrk="1" hangingPunct="1">
                <a:spcBef>
                  <a:spcPct val="20000"/>
                </a:spcBef>
                <a:defRPr/>
              </a:pPr>
              <a:endParaRPr lang="de-CH" sz="1600" dirty="0">
                <a:latin typeface="Frutiger for ZKB Light" panose="020B0303030504020204" pitchFamily="34" charset="0"/>
              </a:endParaRPr>
            </a:p>
          </p:txBody>
        </p:sp>
        <p:sp>
          <p:nvSpPr>
            <p:cNvPr id="319" name="Freeform 170">
              <a:extLst>
                <a:ext uri="{FF2B5EF4-FFF2-40B4-BE49-F238E27FC236}">
                  <a16:creationId xmlns:a16="http://schemas.microsoft.com/office/drawing/2014/main" id="{73060C9E-BBBC-0D88-CAE5-1571513EEB01}"/>
                </a:ext>
              </a:extLst>
            </p:cNvPr>
            <p:cNvSpPr>
              <a:spLocks noEditPoints="1"/>
            </p:cNvSpPr>
            <p:nvPr/>
          </p:nvSpPr>
          <p:spPr bwMode="auto">
            <a:xfrm>
              <a:off x="4070907" y="1526351"/>
              <a:ext cx="260102" cy="297501"/>
            </a:xfrm>
            <a:custGeom>
              <a:avLst/>
              <a:gdLst/>
              <a:ahLst/>
              <a:cxnLst>
                <a:cxn ang="0">
                  <a:pos x="54" y="15"/>
                </a:cxn>
                <a:cxn ang="0">
                  <a:pos x="47" y="22"/>
                </a:cxn>
                <a:cxn ang="0">
                  <a:pos x="50" y="36"/>
                </a:cxn>
                <a:cxn ang="0">
                  <a:pos x="67" y="57"/>
                </a:cxn>
                <a:cxn ang="0">
                  <a:pos x="87" y="68"/>
                </a:cxn>
                <a:cxn ang="0">
                  <a:pos x="96" y="79"/>
                </a:cxn>
                <a:cxn ang="0">
                  <a:pos x="90" y="76"/>
                </a:cxn>
                <a:cxn ang="0">
                  <a:pos x="81" y="81"/>
                </a:cxn>
                <a:cxn ang="0">
                  <a:pos x="84" y="92"/>
                </a:cxn>
                <a:cxn ang="0">
                  <a:pos x="75" y="102"/>
                </a:cxn>
                <a:cxn ang="0">
                  <a:pos x="76" y="95"/>
                </a:cxn>
                <a:cxn ang="0">
                  <a:pos x="70" y="79"/>
                </a:cxn>
                <a:cxn ang="0">
                  <a:pos x="63" y="71"/>
                </a:cxn>
                <a:cxn ang="0">
                  <a:pos x="47" y="61"/>
                </a:cxn>
                <a:cxn ang="0">
                  <a:pos x="38" y="53"/>
                </a:cxn>
                <a:cxn ang="0">
                  <a:pos x="32" y="42"/>
                </a:cxn>
                <a:cxn ang="0">
                  <a:pos x="19" y="31"/>
                </a:cxn>
                <a:cxn ang="0">
                  <a:pos x="11" y="33"/>
                </a:cxn>
                <a:cxn ang="0">
                  <a:pos x="5" y="25"/>
                </a:cxn>
                <a:cxn ang="0">
                  <a:pos x="5" y="14"/>
                </a:cxn>
                <a:cxn ang="0">
                  <a:pos x="14" y="12"/>
                </a:cxn>
                <a:cxn ang="0">
                  <a:pos x="17" y="8"/>
                </a:cxn>
                <a:cxn ang="0">
                  <a:pos x="22" y="14"/>
                </a:cxn>
                <a:cxn ang="0">
                  <a:pos x="25" y="6"/>
                </a:cxn>
                <a:cxn ang="0">
                  <a:pos x="31" y="9"/>
                </a:cxn>
                <a:cxn ang="0">
                  <a:pos x="34" y="6"/>
                </a:cxn>
                <a:cxn ang="0">
                  <a:pos x="37" y="3"/>
                </a:cxn>
                <a:cxn ang="0">
                  <a:pos x="44" y="0"/>
                </a:cxn>
                <a:cxn ang="0">
                  <a:pos x="47" y="3"/>
                </a:cxn>
                <a:cxn ang="0">
                  <a:pos x="57" y="9"/>
                </a:cxn>
                <a:cxn ang="0">
                  <a:pos x="58" y="14"/>
                </a:cxn>
                <a:cxn ang="0">
                  <a:pos x="57" y="15"/>
                </a:cxn>
                <a:cxn ang="0">
                  <a:pos x="61" y="112"/>
                </a:cxn>
                <a:cxn ang="0">
                  <a:pos x="70" y="115"/>
                </a:cxn>
                <a:cxn ang="0">
                  <a:pos x="73" y="99"/>
                </a:cxn>
                <a:cxn ang="0">
                  <a:pos x="57" y="101"/>
                </a:cxn>
                <a:cxn ang="0">
                  <a:pos x="49" y="104"/>
                </a:cxn>
                <a:cxn ang="0">
                  <a:pos x="17" y="79"/>
                </a:cxn>
                <a:cxn ang="0">
                  <a:pos x="20" y="92"/>
                </a:cxn>
                <a:cxn ang="0">
                  <a:pos x="28" y="84"/>
                </a:cxn>
                <a:cxn ang="0">
                  <a:pos x="26" y="68"/>
                </a:cxn>
                <a:cxn ang="0">
                  <a:pos x="14" y="71"/>
                </a:cxn>
              </a:cxnLst>
              <a:rect l="0" t="0" r="r" b="b"/>
              <a:pathLst>
                <a:path w="98" h="118">
                  <a:moveTo>
                    <a:pt x="57" y="15"/>
                  </a:moveTo>
                  <a:cubicBezTo>
                    <a:pt x="55" y="17"/>
                    <a:pt x="57" y="14"/>
                    <a:pt x="54" y="15"/>
                  </a:cubicBezTo>
                  <a:cubicBezTo>
                    <a:pt x="50" y="17"/>
                    <a:pt x="50" y="20"/>
                    <a:pt x="49" y="19"/>
                  </a:cubicBezTo>
                  <a:cubicBezTo>
                    <a:pt x="47" y="17"/>
                    <a:pt x="46" y="20"/>
                    <a:pt x="47" y="22"/>
                  </a:cubicBezTo>
                  <a:cubicBezTo>
                    <a:pt x="49" y="23"/>
                    <a:pt x="50" y="25"/>
                    <a:pt x="49" y="26"/>
                  </a:cubicBezTo>
                  <a:cubicBezTo>
                    <a:pt x="46" y="26"/>
                    <a:pt x="47" y="33"/>
                    <a:pt x="50" y="36"/>
                  </a:cubicBezTo>
                  <a:cubicBezTo>
                    <a:pt x="54" y="37"/>
                    <a:pt x="55" y="40"/>
                    <a:pt x="57" y="40"/>
                  </a:cubicBezTo>
                  <a:cubicBezTo>
                    <a:pt x="60" y="40"/>
                    <a:pt x="58" y="48"/>
                    <a:pt x="67" y="57"/>
                  </a:cubicBezTo>
                  <a:cubicBezTo>
                    <a:pt x="70" y="61"/>
                    <a:pt x="82" y="57"/>
                    <a:pt x="78" y="62"/>
                  </a:cubicBezTo>
                  <a:cubicBezTo>
                    <a:pt x="73" y="65"/>
                    <a:pt x="85" y="67"/>
                    <a:pt x="87" y="68"/>
                  </a:cubicBezTo>
                  <a:cubicBezTo>
                    <a:pt x="87" y="70"/>
                    <a:pt x="89" y="71"/>
                    <a:pt x="92" y="73"/>
                  </a:cubicBezTo>
                  <a:cubicBezTo>
                    <a:pt x="93" y="75"/>
                    <a:pt x="98" y="76"/>
                    <a:pt x="96" y="79"/>
                  </a:cubicBezTo>
                  <a:cubicBezTo>
                    <a:pt x="96" y="82"/>
                    <a:pt x="98" y="82"/>
                    <a:pt x="95" y="82"/>
                  </a:cubicBezTo>
                  <a:cubicBezTo>
                    <a:pt x="92" y="82"/>
                    <a:pt x="93" y="76"/>
                    <a:pt x="90" y="76"/>
                  </a:cubicBezTo>
                  <a:cubicBezTo>
                    <a:pt x="87" y="76"/>
                    <a:pt x="87" y="75"/>
                    <a:pt x="84" y="76"/>
                  </a:cubicBezTo>
                  <a:cubicBezTo>
                    <a:pt x="81" y="78"/>
                    <a:pt x="82" y="79"/>
                    <a:pt x="81" y="81"/>
                  </a:cubicBezTo>
                  <a:cubicBezTo>
                    <a:pt x="79" y="84"/>
                    <a:pt x="81" y="84"/>
                    <a:pt x="82" y="85"/>
                  </a:cubicBezTo>
                  <a:cubicBezTo>
                    <a:pt x="85" y="85"/>
                    <a:pt x="89" y="90"/>
                    <a:pt x="84" y="92"/>
                  </a:cubicBezTo>
                  <a:cubicBezTo>
                    <a:pt x="81" y="95"/>
                    <a:pt x="82" y="96"/>
                    <a:pt x="81" y="99"/>
                  </a:cubicBezTo>
                  <a:cubicBezTo>
                    <a:pt x="78" y="101"/>
                    <a:pt x="78" y="106"/>
                    <a:pt x="75" y="102"/>
                  </a:cubicBezTo>
                  <a:cubicBezTo>
                    <a:pt x="73" y="102"/>
                    <a:pt x="73" y="101"/>
                    <a:pt x="75" y="98"/>
                  </a:cubicBezTo>
                  <a:cubicBezTo>
                    <a:pt x="76" y="96"/>
                    <a:pt x="75" y="96"/>
                    <a:pt x="76" y="95"/>
                  </a:cubicBezTo>
                  <a:cubicBezTo>
                    <a:pt x="78" y="93"/>
                    <a:pt x="78" y="93"/>
                    <a:pt x="76" y="85"/>
                  </a:cubicBezTo>
                  <a:cubicBezTo>
                    <a:pt x="75" y="79"/>
                    <a:pt x="73" y="81"/>
                    <a:pt x="70" y="79"/>
                  </a:cubicBezTo>
                  <a:cubicBezTo>
                    <a:pt x="66" y="76"/>
                    <a:pt x="70" y="73"/>
                    <a:pt x="66" y="73"/>
                  </a:cubicBezTo>
                  <a:cubicBezTo>
                    <a:pt x="63" y="75"/>
                    <a:pt x="66" y="71"/>
                    <a:pt x="63" y="71"/>
                  </a:cubicBezTo>
                  <a:cubicBezTo>
                    <a:pt x="60" y="71"/>
                    <a:pt x="61" y="67"/>
                    <a:pt x="58" y="67"/>
                  </a:cubicBezTo>
                  <a:cubicBezTo>
                    <a:pt x="55" y="67"/>
                    <a:pt x="50" y="65"/>
                    <a:pt x="47" y="61"/>
                  </a:cubicBezTo>
                  <a:cubicBezTo>
                    <a:pt x="44" y="57"/>
                    <a:pt x="44" y="61"/>
                    <a:pt x="43" y="57"/>
                  </a:cubicBezTo>
                  <a:cubicBezTo>
                    <a:pt x="43" y="53"/>
                    <a:pt x="38" y="54"/>
                    <a:pt x="38" y="53"/>
                  </a:cubicBezTo>
                  <a:cubicBezTo>
                    <a:pt x="38" y="51"/>
                    <a:pt x="38" y="51"/>
                    <a:pt x="35" y="48"/>
                  </a:cubicBezTo>
                  <a:cubicBezTo>
                    <a:pt x="32" y="47"/>
                    <a:pt x="35" y="45"/>
                    <a:pt x="32" y="42"/>
                  </a:cubicBezTo>
                  <a:cubicBezTo>
                    <a:pt x="31" y="40"/>
                    <a:pt x="32" y="34"/>
                    <a:pt x="28" y="34"/>
                  </a:cubicBezTo>
                  <a:cubicBezTo>
                    <a:pt x="25" y="36"/>
                    <a:pt x="23" y="29"/>
                    <a:pt x="19" y="31"/>
                  </a:cubicBezTo>
                  <a:cubicBezTo>
                    <a:pt x="15" y="33"/>
                    <a:pt x="19" y="36"/>
                    <a:pt x="9" y="39"/>
                  </a:cubicBezTo>
                  <a:cubicBezTo>
                    <a:pt x="9" y="37"/>
                    <a:pt x="12" y="34"/>
                    <a:pt x="11" y="33"/>
                  </a:cubicBezTo>
                  <a:cubicBezTo>
                    <a:pt x="11" y="33"/>
                    <a:pt x="6" y="36"/>
                    <a:pt x="5" y="31"/>
                  </a:cubicBezTo>
                  <a:cubicBezTo>
                    <a:pt x="3" y="28"/>
                    <a:pt x="9" y="28"/>
                    <a:pt x="5" y="25"/>
                  </a:cubicBezTo>
                  <a:cubicBezTo>
                    <a:pt x="0" y="22"/>
                    <a:pt x="5" y="23"/>
                    <a:pt x="6" y="20"/>
                  </a:cubicBezTo>
                  <a:cubicBezTo>
                    <a:pt x="8" y="19"/>
                    <a:pt x="3" y="17"/>
                    <a:pt x="5" y="14"/>
                  </a:cubicBezTo>
                  <a:cubicBezTo>
                    <a:pt x="6" y="14"/>
                    <a:pt x="6" y="14"/>
                    <a:pt x="9" y="14"/>
                  </a:cubicBezTo>
                  <a:cubicBezTo>
                    <a:pt x="11" y="12"/>
                    <a:pt x="11" y="14"/>
                    <a:pt x="14" y="12"/>
                  </a:cubicBezTo>
                  <a:cubicBezTo>
                    <a:pt x="17" y="9"/>
                    <a:pt x="14" y="9"/>
                    <a:pt x="15" y="9"/>
                  </a:cubicBezTo>
                  <a:cubicBezTo>
                    <a:pt x="15" y="8"/>
                    <a:pt x="17" y="6"/>
                    <a:pt x="17" y="8"/>
                  </a:cubicBezTo>
                  <a:cubicBezTo>
                    <a:pt x="17" y="8"/>
                    <a:pt x="17" y="9"/>
                    <a:pt x="19" y="11"/>
                  </a:cubicBezTo>
                  <a:cubicBezTo>
                    <a:pt x="20" y="12"/>
                    <a:pt x="20" y="15"/>
                    <a:pt x="22" y="14"/>
                  </a:cubicBezTo>
                  <a:cubicBezTo>
                    <a:pt x="23" y="14"/>
                    <a:pt x="20" y="12"/>
                    <a:pt x="23" y="11"/>
                  </a:cubicBezTo>
                  <a:cubicBezTo>
                    <a:pt x="25" y="9"/>
                    <a:pt x="23" y="6"/>
                    <a:pt x="25" y="6"/>
                  </a:cubicBezTo>
                  <a:cubicBezTo>
                    <a:pt x="26" y="6"/>
                    <a:pt x="26" y="9"/>
                    <a:pt x="28" y="9"/>
                  </a:cubicBezTo>
                  <a:cubicBezTo>
                    <a:pt x="29" y="8"/>
                    <a:pt x="29" y="11"/>
                    <a:pt x="31" y="9"/>
                  </a:cubicBezTo>
                  <a:cubicBezTo>
                    <a:pt x="32" y="9"/>
                    <a:pt x="29" y="6"/>
                    <a:pt x="31" y="6"/>
                  </a:cubicBezTo>
                  <a:cubicBezTo>
                    <a:pt x="31" y="5"/>
                    <a:pt x="32" y="8"/>
                    <a:pt x="34" y="6"/>
                  </a:cubicBezTo>
                  <a:cubicBezTo>
                    <a:pt x="34" y="6"/>
                    <a:pt x="32" y="5"/>
                    <a:pt x="34" y="1"/>
                  </a:cubicBezTo>
                  <a:cubicBezTo>
                    <a:pt x="35" y="1"/>
                    <a:pt x="35" y="5"/>
                    <a:pt x="37" y="3"/>
                  </a:cubicBezTo>
                  <a:cubicBezTo>
                    <a:pt x="38" y="3"/>
                    <a:pt x="38" y="1"/>
                    <a:pt x="40" y="1"/>
                  </a:cubicBezTo>
                  <a:cubicBezTo>
                    <a:pt x="41" y="0"/>
                    <a:pt x="41" y="1"/>
                    <a:pt x="44" y="0"/>
                  </a:cubicBezTo>
                  <a:cubicBezTo>
                    <a:pt x="49" y="0"/>
                    <a:pt x="46" y="0"/>
                    <a:pt x="46" y="1"/>
                  </a:cubicBezTo>
                  <a:cubicBezTo>
                    <a:pt x="47" y="1"/>
                    <a:pt x="47" y="1"/>
                    <a:pt x="47" y="3"/>
                  </a:cubicBezTo>
                  <a:cubicBezTo>
                    <a:pt x="47" y="5"/>
                    <a:pt x="50" y="6"/>
                    <a:pt x="58" y="6"/>
                  </a:cubicBezTo>
                  <a:cubicBezTo>
                    <a:pt x="58" y="8"/>
                    <a:pt x="57" y="8"/>
                    <a:pt x="57" y="9"/>
                  </a:cubicBezTo>
                  <a:cubicBezTo>
                    <a:pt x="57" y="11"/>
                    <a:pt x="60" y="9"/>
                    <a:pt x="58" y="11"/>
                  </a:cubicBezTo>
                  <a:cubicBezTo>
                    <a:pt x="57" y="12"/>
                    <a:pt x="57" y="14"/>
                    <a:pt x="58" y="14"/>
                  </a:cubicBezTo>
                  <a:cubicBezTo>
                    <a:pt x="60" y="15"/>
                    <a:pt x="61" y="17"/>
                    <a:pt x="58" y="17"/>
                  </a:cubicBezTo>
                  <a:cubicBezTo>
                    <a:pt x="58" y="17"/>
                    <a:pt x="60" y="15"/>
                    <a:pt x="57" y="15"/>
                  </a:cubicBezTo>
                  <a:close/>
                  <a:moveTo>
                    <a:pt x="54" y="107"/>
                  </a:moveTo>
                  <a:cubicBezTo>
                    <a:pt x="55" y="109"/>
                    <a:pt x="58" y="112"/>
                    <a:pt x="61" y="112"/>
                  </a:cubicBezTo>
                  <a:cubicBezTo>
                    <a:pt x="64" y="112"/>
                    <a:pt x="64" y="115"/>
                    <a:pt x="67" y="115"/>
                  </a:cubicBezTo>
                  <a:cubicBezTo>
                    <a:pt x="70" y="116"/>
                    <a:pt x="70" y="118"/>
                    <a:pt x="70" y="115"/>
                  </a:cubicBezTo>
                  <a:cubicBezTo>
                    <a:pt x="70" y="113"/>
                    <a:pt x="72" y="110"/>
                    <a:pt x="70" y="109"/>
                  </a:cubicBezTo>
                  <a:cubicBezTo>
                    <a:pt x="69" y="109"/>
                    <a:pt x="73" y="101"/>
                    <a:pt x="73" y="99"/>
                  </a:cubicBezTo>
                  <a:cubicBezTo>
                    <a:pt x="75" y="98"/>
                    <a:pt x="70" y="101"/>
                    <a:pt x="69" y="101"/>
                  </a:cubicBezTo>
                  <a:cubicBezTo>
                    <a:pt x="66" y="99"/>
                    <a:pt x="61" y="104"/>
                    <a:pt x="57" y="101"/>
                  </a:cubicBezTo>
                  <a:cubicBezTo>
                    <a:pt x="54" y="96"/>
                    <a:pt x="54" y="104"/>
                    <a:pt x="52" y="101"/>
                  </a:cubicBezTo>
                  <a:cubicBezTo>
                    <a:pt x="50" y="99"/>
                    <a:pt x="49" y="101"/>
                    <a:pt x="49" y="104"/>
                  </a:cubicBezTo>
                  <a:cubicBezTo>
                    <a:pt x="49" y="107"/>
                    <a:pt x="50" y="107"/>
                    <a:pt x="54" y="107"/>
                  </a:cubicBezTo>
                  <a:close/>
                  <a:moveTo>
                    <a:pt x="17" y="79"/>
                  </a:moveTo>
                  <a:cubicBezTo>
                    <a:pt x="17" y="82"/>
                    <a:pt x="19" y="81"/>
                    <a:pt x="17" y="84"/>
                  </a:cubicBezTo>
                  <a:cubicBezTo>
                    <a:pt x="15" y="88"/>
                    <a:pt x="17" y="93"/>
                    <a:pt x="20" y="92"/>
                  </a:cubicBezTo>
                  <a:cubicBezTo>
                    <a:pt x="23" y="92"/>
                    <a:pt x="22" y="88"/>
                    <a:pt x="23" y="90"/>
                  </a:cubicBezTo>
                  <a:cubicBezTo>
                    <a:pt x="26" y="90"/>
                    <a:pt x="26" y="90"/>
                    <a:pt x="28" y="84"/>
                  </a:cubicBezTo>
                  <a:cubicBezTo>
                    <a:pt x="28" y="78"/>
                    <a:pt x="25" y="78"/>
                    <a:pt x="28" y="76"/>
                  </a:cubicBezTo>
                  <a:cubicBezTo>
                    <a:pt x="29" y="75"/>
                    <a:pt x="28" y="70"/>
                    <a:pt x="26" y="68"/>
                  </a:cubicBezTo>
                  <a:cubicBezTo>
                    <a:pt x="25" y="67"/>
                    <a:pt x="25" y="65"/>
                    <a:pt x="20" y="70"/>
                  </a:cubicBezTo>
                  <a:cubicBezTo>
                    <a:pt x="15" y="73"/>
                    <a:pt x="14" y="67"/>
                    <a:pt x="14" y="71"/>
                  </a:cubicBezTo>
                  <a:cubicBezTo>
                    <a:pt x="14" y="75"/>
                    <a:pt x="17" y="75"/>
                    <a:pt x="17" y="79"/>
                  </a:cubicBezTo>
                  <a:close/>
                </a:path>
              </a:pathLst>
            </a:custGeom>
            <a:grpFill/>
            <a:ln w="6350" cmpd="sng">
              <a:solidFill>
                <a:schemeClr val="lt1"/>
              </a:solidFill>
              <a:prstDash val="solid"/>
              <a:round/>
              <a:headEnd/>
              <a:tailEnd/>
            </a:ln>
            <a:effectLst/>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grpSp>
      <p:sp>
        <p:nvSpPr>
          <p:cNvPr id="129031" name="Textfeld 7">
            <a:extLst>
              <a:ext uri="{FF2B5EF4-FFF2-40B4-BE49-F238E27FC236}">
                <a16:creationId xmlns:a16="http://schemas.microsoft.com/office/drawing/2014/main" id="{AAF313C2-01F5-C4E0-2993-34DB0CF9E911}"/>
              </a:ext>
            </a:extLst>
          </p:cNvPr>
          <p:cNvSpPr txBox="1">
            <a:spLocks noChangeArrowheads="1"/>
          </p:cNvSpPr>
          <p:nvPr/>
        </p:nvSpPr>
        <p:spPr bwMode="auto">
          <a:xfrm>
            <a:off x="306388" y="776288"/>
            <a:ext cx="6426200" cy="247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600" dirty="0">
                <a:latin typeface="Frutiger for ZKB Light" panose="020B0303030504020204" pitchFamily="34" charset="0"/>
              </a:rPr>
              <a:t>Gruppiert; kann bearbeitet werden</a:t>
            </a:r>
          </a:p>
        </p:txBody>
      </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0050" name="think-cell data - do not delete" hidden="1">
            <a:extLst>
              <a:ext uri="{FF2B5EF4-FFF2-40B4-BE49-F238E27FC236}">
                <a16:creationId xmlns:a16="http://schemas.microsoft.com/office/drawing/2014/main" id="{27465E30-9C2E-B6FB-377B-A9FAFBEFE67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30050" name="think-cell data - do not delete" hidden="1">
                        <a:extLst>
                          <a:ext uri="{FF2B5EF4-FFF2-40B4-BE49-F238E27FC236}">
                            <a16:creationId xmlns:a16="http://schemas.microsoft.com/office/drawing/2014/main" id="{27465E30-9C2E-B6FB-377B-A9FAFBEFE67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0051" name="Titel 1">
            <a:extLst>
              <a:ext uri="{FF2B5EF4-FFF2-40B4-BE49-F238E27FC236}">
                <a16:creationId xmlns:a16="http://schemas.microsoft.com/office/drawing/2014/main" id="{D69A55F3-0560-1D65-3862-0F0DF6677823}"/>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Projektplan</a:t>
            </a:r>
          </a:p>
        </p:txBody>
      </p:sp>
      <p:sp>
        <p:nvSpPr>
          <p:cNvPr id="130052" name="Foliennummernplatzhalter 7">
            <a:extLst>
              <a:ext uri="{FF2B5EF4-FFF2-40B4-BE49-F238E27FC236}">
                <a16:creationId xmlns:a16="http://schemas.microsoft.com/office/drawing/2014/main" id="{D62FDFA9-87B7-17B7-4C85-DBE5B484C825}"/>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ED2051EE-A48B-472E-A732-80352CAF182D}" type="slidenum">
              <a:rPr lang="de-CH" altLang="de-DE" sz="1100" smtClean="0">
                <a:solidFill>
                  <a:srgbClr val="003CB4"/>
                </a:solidFill>
                <a:latin typeface="Frutiger for ZKB Light" panose="020B0303030504020204" pitchFamily="34" charset="0"/>
              </a:rPr>
              <a:pPr>
                <a:spcBef>
                  <a:spcPct val="0"/>
                </a:spcBef>
                <a:spcAft>
                  <a:spcPct val="0"/>
                </a:spcAft>
              </a:pPr>
              <a:t>98</a:t>
            </a:fld>
            <a:endParaRPr lang="de-CH" altLang="de-DE" sz="1100" dirty="0">
              <a:solidFill>
                <a:srgbClr val="003CB4"/>
              </a:solidFill>
              <a:latin typeface="Frutiger for ZKB Light" panose="020B0303030504020204" pitchFamily="34" charset="0"/>
            </a:endParaRPr>
          </a:p>
        </p:txBody>
      </p:sp>
      <p:sp>
        <p:nvSpPr>
          <p:cNvPr id="130053" name="Fußzeilenplatzhalter 6">
            <a:extLst>
              <a:ext uri="{FF2B5EF4-FFF2-40B4-BE49-F238E27FC236}">
                <a16:creationId xmlns:a16="http://schemas.microsoft.com/office/drawing/2014/main" id="{E93466A7-CB30-6846-D342-69B8752A9544}"/>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grpSp>
        <p:nvGrpSpPr>
          <p:cNvPr id="130054" name="ZKBProjektplan">
            <a:extLst>
              <a:ext uri="{FF2B5EF4-FFF2-40B4-BE49-F238E27FC236}">
                <a16:creationId xmlns:a16="http://schemas.microsoft.com/office/drawing/2014/main" id="{2FE644EA-8853-3D4D-4DE1-F26A3776A834}"/>
              </a:ext>
            </a:extLst>
          </p:cNvPr>
          <p:cNvGrpSpPr>
            <a:grpSpLocks noChangeAspect="1"/>
          </p:cNvGrpSpPr>
          <p:nvPr/>
        </p:nvGrpSpPr>
        <p:grpSpPr bwMode="auto">
          <a:xfrm>
            <a:off x="306388" y="1885950"/>
            <a:ext cx="12242800" cy="4748213"/>
            <a:chOff x="305816" y="1885212"/>
            <a:chExt cx="12335074" cy="4749009"/>
          </a:xfrm>
        </p:grpSpPr>
        <p:sp>
          <p:nvSpPr>
            <p:cNvPr id="130059" name="Rechteck 10">
              <a:extLst>
                <a:ext uri="{FF2B5EF4-FFF2-40B4-BE49-F238E27FC236}">
                  <a16:creationId xmlns:a16="http://schemas.microsoft.com/office/drawing/2014/main" id="{5309F0D9-1C66-294D-3F9E-315A54CE8309}"/>
                </a:ext>
              </a:extLst>
            </p:cNvPr>
            <p:cNvSpPr>
              <a:spLocks noChangeArrowheads="1"/>
            </p:cNvSpPr>
            <p:nvPr/>
          </p:nvSpPr>
          <p:spPr bwMode="auto">
            <a:xfrm>
              <a:off x="1829816" y="2478012"/>
              <a:ext cx="893329" cy="4156209"/>
            </a:xfrm>
            <a:prstGeom prst="rect">
              <a:avLst/>
            </a:prstGeom>
            <a:solidFill>
              <a:srgbClr val="EDF5FF"/>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060" name="Rechteck 13">
              <a:extLst>
                <a:ext uri="{FF2B5EF4-FFF2-40B4-BE49-F238E27FC236}">
                  <a16:creationId xmlns:a16="http://schemas.microsoft.com/office/drawing/2014/main" id="{3097E067-2AC9-5FE3-DCBF-A6EE7D367B28}"/>
                </a:ext>
              </a:extLst>
            </p:cNvPr>
            <p:cNvSpPr>
              <a:spLocks noChangeArrowheads="1"/>
            </p:cNvSpPr>
            <p:nvPr/>
          </p:nvSpPr>
          <p:spPr bwMode="auto">
            <a:xfrm>
              <a:off x="1829816" y="2190012"/>
              <a:ext cx="893329"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Jan</a:t>
              </a:r>
            </a:p>
          </p:txBody>
        </p:sp>
        <p:sp>
          <p:nvSpPr>
            <p:cNvPr id="130061" name="Rechteck 14">
              <a:extLst>
                <a:ext uri="{FF2B5EF4-FFF2-40B4-BE49-F238E27FC236}">
                  <a16:creationId xmlns:a16="http://schemas.microsoft.com/office/drawing/2014/main" id="{BF854163-917B-6AC4-22D5-7C77047DB438}"/>
                </a:ext>
              </a:extLst>
            </p:cNvPr>
            <p:cNvSpPr>
              <a:spLocks noChangeArrowheads="1"/>
            </p:cNvSpPr>
            <p:nvPr/>
          </p:nvSpPr>
          <p:spPr bwMode="auto">
            <a:xfrm>
              <a:off x="2723145" y="2190012"/>
              <a:ext cx="893328"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Feb</a:t>
              </a:r>
            </a:p>
          </p:txBody>
        </p:sp>
        <p:sp>
          <p:nvSpPr>
            <p:cNvPr id="130062" name="Rechteck 15">
              <a:extLst>
                <a:ext uri="{FF2B5EF4-FFF2-40B4-BE49-F238E27FC236}">
                  <a16:creationId xmlns:a16="http://schemas.microsoft.com/office/drawing/2014/main" id="{D7CFA16F-70B8-DDED-6ACE-6A8D108BBAC5}"/>
                </a:ext>
              </a:extLst>
            </p:cNvPr>
            <p:cNvSpPr>
              <a:spLocks noChangeArrowheads="1"/>
            </p:cNvSpPr>
            <p:nvPr/>
          </p:nvSpPr>
          <p:spPr bwMode="auto">
            <a:xfrm>
              <a:off x="3616473" y="2478012"/>
              <a:ext cx="893328" cy="4156209"/>
            </a:xfrm>
            <a:prstGeom prst="rect">
              <a:avLst/>
            </a:prstGeom>
            <a:solidFill>
              <a:srgbClr val="EDF5FF"/>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063" name="Rechteck 16">
              <a:extLst>
                <a:ext uri="{FF2B5EF4-FFF2-40B4-BE49-F238E27FC236}">
                  <a16:creationId xmlns:a16="http://schemas.microsoft.com/office/drawing/2014/main" id="{989D830D-BA1B-6FBB-3DB3-D94B8C7F8C3D}"/>
                </a:ext>
              </a:extLst>
            </p:cNvPr>
            <p:cNvSpPr>
              <a:spLocks noChangeArrowheads="1"/>
            </p:cNvSpPr>
            <p:nvPr/>
          </p:nvSpPr>
          <p:spPr bwMode="auto">
            <a:xfrm>
              <a:off x="3616473" y="2190012"/>
              <a:ext cx="893328"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Mär</a:t>
              </a:r>
            </a:p>
          </p:txBody>
        </p:sp>
        <p:sp>
          <p:nvSpPr>
            <p:cNvPr id="130064" name="Rechteck 17">
              <a:extLst>
                <a:ext uri="{FF2B5EF4-FFF2-40B4-BE49-F238E27FC236}">
                  <a16:creationId xmlns:a16="http://schemas.microsoft.com/office/drawing/2014/main" id="{7550B1F6-C998-6C8E-BC06-375A2FDE7664}"/>
                </a:ext>
              </a:extLst>
            </p:cNvPr>
            <p:cNvSpPr>
              <a:spLocks noChangeArrowheads="1"/>
            </p:cNvSpPr>
            <p:nvPr/>
          </p:nvSpPr>
          <p:spPr bwMode="auto">
            <a:xfrm>
              <a:off x="4509802" y="2190012"/>
              <a:ext cx="893329"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Apr</a:t>
              </a:r>
            </a:p>
          </p:txBody>
        </p:sp>
        <p:sp>
          <p:nvSpPr>
            <p:cNvPr id="130065" name="Rechteck 18">
              <a:extLst>
                <a:ext uri="{FF2B5EF4-FFF2-40B4-BE49-F238E27FC236}">
                  <a16:creationId xmlns:a16="http://schemas.microsoft.com/office/drawing/2014/main" id="{5BE01A9B-B301-2FF7-EE01-32CBC3D0861C}"/>
                </a:ext>
              </a:extLst>
            </p:cNvPr>
            <p:cNvSpPr>
              <a:spLocks noChangeArrowheads="1"/>
            </p:cNvSpPr>
            <p:nvPr/>
          </p:nvSpPr>
          <p:spPr bwMode="auto">
            <a:xfrm>
              <a:off x="5403130" y="2478012"/>
              <a:ext cx="893329" cy="4156209"/>
            </a:xfrm>
            <a:prstGeom prst="rect">
              <a:avLst/>
            </a:prstGeom>
            <a:solidFill>
              <a:srgbClr val="EDF5FF"/>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066" name="Rechteck 19">
              <a:extLst>
                <a:ext uri="{FF2B5EF4-FFF2-40B4-BE49-F238E27FC236}">
                  <a16:creationId xmlns:a16="http://schemas.microsoft.com/office/drawing/2014/main" id="{557974C3-D7AA-AFA6-9DA0-46A1298DC189}"/>
                </a:ext>
              </a:extLst>
            </p:cNvPr>
            <p:cNvSpPr>
              <a:spLocks noChangeArrowheads="1"/>
            </p:cNvSpPr>
            <p:nvPr/>
          </p:nvSpPr>
          <p:spPr bwMode="auto">
            <a:xfrm>
              <a:off x="5403130" y="2190012"/>
              <a:ext cx="893329"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Mai</a:t>
              </a:r>
            </a:p>
          </p:txBody>
        </p:sp>
        <p:sp>
          <p:nvSpPr>
            <p:cNvPr id="130067" name="Rechteck 20">
              <a:extLst>
                <a:ext uri="{FF2B5EF4-FFF2-40B4-BE49-F238E27FC236}">
                  <a16:creationId xmlns:a16="http://schemas.microsoft.com/office/drawing/2014/main" id="{B88ED730-B488-A218-A070-3D06860B296A}"/>
                </a:ext>
              </a:extLst>
            </p:cNvPr>
            <p:cNvSpPr>
              <a:spLocks noChangeArrowheads="1"/>
            </p:cNvSpPr>
            <p:nvPr/>
          </p:nvSpPr>
          <p:spPr bwMode="auto">
            <a:xfrm>
              <a:off x="6296459" y="2190012"/>
              <a:ext cx="893329"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Jun</a:t>
              </a:r>
            </a:p>
          </p:txBody>
        </p:sp>
        <p:sp>
          <p:nvSpPr>
            <p:cNvPr id="130068" name="Rechteck 21">
              <a:extLst>
                <a:ext uri="{FF2B5EF4-FFF2-40B4-BE49-F238E27FC236}">
                  <a16:creationId xmlns:a16="http://schemas.microsoft.com/office/drawing/2014/main" id="{E1D27EB2-7899-FAED-7309-CE4D07F4E8E6}"/>
                </a:ext>
              </a:extLst>
            </p:cNvPr>
            <p:cNvSpPr>
              <a:spLocks noChangeArrowheads="1"/>
            </p:cNvSpPr>
            <p:nvPr/>
          </p:nvSpPr>
          <p:spPr bwMode="auto">
            <a:xfrm>
              <a:off x="7189788" y="2478012"/>
              <a:ext cx="893328" cy="4156209"/>
            </a:xfrm>
            <a:prstGeom prst="rect">
              <a:avLst/>
            </a:prstGeom>
            <a:solidFill>
              <a:srgbClr val="EDF5FF"/>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069" name="Rechteck 22">
              <a:extLst>
                <a:ext uri="{FF2B5EF4-FFF2-40B4-BE49-F238E27FC236}">
                  <a16:creationId xmlns:a16="http://schemas.microsoft.com/office/drawing/2014/main" id="{33702F5A-A781-274B-1173-98181040AD05}"/>
                </a:ext>
              </a:extLst>
            </p:cNvPr>
            <p:cNvSpPr>
              <a:spLocks noChangeArrowheads="1"/>
            </p:cNvSpPr>
            <p:nvPr/>
          </p:nvSpPr>
          <p:spPr bwMode="auto">
            <a:xfrm>
              <a:off x="7189788" y="2190012"/>
              <a:ext cx="893328"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Jul</a:t>
              </a:r>
            </a:p>
          </p:txBody>
        </p:sp>
        <p:sp>
          <p:nvSpPr>
            <p:cNvPr id="130070" name="Rechteck 23">
              <a:extLst>
                <a:ext uri="{FF2B5EF4-FFF2-40B4-BE49-F238E27FC236}">
                  <a16:creationId xmlns:a16="http://schemas.microsoft.com/office/drawing/2014/main" id="{DE1121F6-BD5C-5262-C8B7-73BA1A432B23}"/>
                </a:ext>
              </a:extLst>
            </p:cNvPr>
            <p:cNvSpPr>
              <a:spLocks noChangeArrowheads="1"/>
            </p:cNvSpPr>
            <p:nvPr/>
          </p:nvSpPr>
          <p:spPr bwMode="auto">
            <a:xfrm>
              <a:off x="8083116" y="2190012"/>
              <a:ext cx="893328"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Aug</a:t>
              </a:r>
            </a:p>
          </p:txBody>
        </p:sp>
        <p:sp>
          <p:nvSpPr>
            <p:cNvPr id="130071" name="Rechteck 24">
              <a:extLst>
                <a:ext uri="{FF2B5EF4-FFF2-40B4-BE49-F238E27FC236}">
                  <a16:creationId xmlns:a16="http://schemas.microsoft.com/office/drawing/2014/main" id="{C9E1A0D8-BBD7-7A2D-E970-F69E7FC32868}"/>
                </a:ext>
              </a:extLst>
            </p:cNvPr>
            <p:cNvSpPr>
              <a:spLocks noChangeArrowheads="1"/>
            </p:cNvSpPr>
            <p:nvPr/>
          </p:nvSpPr>
          <p:spPr bwMode="auto">
            <a:xfrm>
              <a:off x="8976445" y="2478012"/>
              <a:ext cx="893329" cy="4156209"/>
            </a:xfrm>
            <a:prstGeom prst="rect">
              <a:avLst/>
            </a:prstGeom>
            <a:solidFill>
              <a:srgbClr val="EDF5FF"/>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072" name="Rechteck 25">
              <a:extLst>
                <a:ext uri="{FF2B5EF4-FFF2-40B4-BE49-F238E27FC236}">
                  <a16:creationId xmlns:a16="http://schemas.microsoft.com/office/drawing/2014/main" id="{AF7CCDCD-4A8B-DBF2-7530-1A3E6AC51F01}"/>
                </a:ext>
              </a:extLst>
            </p:cNvPr>
            <p:cNvSpPr>
              <a:spLocks noChangeArrowheads="1"/>
            </p:cNvSpPr>
            <p:nvPr/>
          </p:nvSpPr>
          <p:spPr bwMode="auto">
            <a:xfrm>
              <a:off x="8976445" y="2190012"/>
              <a:ext cx="893329"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Sep</a:t>
              </a:r>
            </a:p>
          </p:txBody>
        </p:sp>
        <p:sp>
          <p:nvSpPr>
            <p:cNvPr id="130073" name="Rechteck 26">
              <a:extLst>
                <a:ext uri="{FF2B5EF4-FFF2-40B4-BE49-F238E27FC236}">
                  <a16:creationId xmlns:a16="http://schemas.microsoft.com/office/drawing/2014/main" id="{19762627-971C-E3E7-7B63-D2BBCC906F3A}"/>
                </a:ext>
              </a:extLst>
            </p:cNvPr>
            <p:cNvSpPr>
              <a:spLocks noChangeArrowheads="1"/>
            </p:cNvSpPr>
            <p:nvPr/>
          </p:nvSpPr>
          <p:spPr bwMode="auto">
            <a:xfrm>
              <a:off x="9869774" y="2190012"/>
              <a:ext cx="893328"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Okt</a:t>
              </a:r>
            </a:p>
          </p:txBody>
        </p:sp>
        <p:sp>
          <p:nvSpPr>
            <p:cNvPr id="130074" name="Rechteck 27">
              <a:extLst>
                <a:ext uri="{FF2B5EF4-FFF2-40B4-BE49-F238E27FC236}">
                  <a16:creationId xmlns:a16="http://schemas.microsoft.com/office/drawing/2014/main" id="{E532EFCE-21E6-B96B-47D9-8497456DCA32}"/>
                </a:ext>
              </a:extLst>
            </p:cNvPr>
            <p:cNvSpPr>
              <a:spLocks noChangeArrowheads="1"/>
            </p:cNvSpPr>
            <p:nvPr/>
          </p:nvSpPr>
          <p:spPr bwMode="auto">
            <a:xfrm>
              <a:off x="10763102" y="2478012"/>
              <a:ext cx="893328" cy="4156209"/>
            </a:xfrm>
            <a:prstGeom prst="rect">
              <a:avLst/>
            </a:prstGeom>
            <a:solidFill>
              <a:srgbClr val="EDF5FF"/>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075" name="Rechteck 28">
              <a:extLst>
                <a:ext uri="{FF2B5EF4-FFF2-40B4-BE49-F238E27FC236}">
                  <a16:creationId xmlns:a16="http://schemas.microsoft.com/office/drawing/2014/main" id="{CA3210DD-5194-89B8-E4E2-EDF96EF271D1}"/>
                </a:ext>
              </a:extLst>
            </p:cNvPr>
            <p:cNvSpPr>
              <a:spLocks noChangeArrowheads="1"/>
            </p:cNvSpPr>
            <p:nvPr/>
          </p:nvSpPr>
          <p:spPr bwMode="auto">
            <a:xfrm>
              <a:off x="10763102" y="2190012"/>
              <a:ext cx="893328"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Nov</a:t>
              </a:r>
            </a:p>
          </p:txBody>
        </p:sp>
        <p:sp>
          <p:nvSpPr>
            <p:cNvPr id="130076" name="Rechteck 29">
              <a:extLst>
                <a:ext uri="{FF2B5EF4-FFF2-40B4-BE49-F238E27FC236}">
                  <a16:creationId xmlns:a16="http://schemas.microsoft.com/office/drawing/2014/main" id="{CF822545-C582-9C4E-781A-A54BF92B17D5}"/>
                </a:ext>
              </a:extLst>
            </p:cNvPr>
            <p:cNvSpPr>
              <a:spLocks noChangeArrowheads="1"/>
            </p:cNvSpPr>
            <p:nvPr/>
          </p:nvSpPr>
          <p:spPr bwMode="auto">
            <a:xfrm>
              <a:off x="11656430" y="2190012"/>
              <a:ext cx="893329"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Dez</a:t>
              </a:r>
            </a:p>
          </p:txBody>
        </p:sp>
        <p:sp>
          <p:nvSpPr>
            <p:cNvPr id="130077" name="LabelYear2016">
              <a:extLst>
                <a:ext uri="{FF2B5EF4-FFF2-40B4-BE49-F238E27FC236}">
                  <a16:creationId xmlns:a16="http://schemas.microsoft.com/office/drawing/2014/main" id="{58FD86DE-05A7-AF0A-B60A-B6A7FAFF2251}"/>
                </a:ext>
              </a:extLst>
            </p:cNvPr>
            <p:cNvSpPr>
              <a:spLocks noChangeArrowheads="1"/>
            </p:cNvSpPr>
            <p:nvPr/>
          </p:nvSpPr>
          <p:spPr bwMode="auto">
            <a:xfrm>
              <a:off x="1829816" y="1885212"/>
              <a:ext cx="455253"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spAutoFit/>
            </a:bodyP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dirty="0"/>
                <a:t>2016</a:t>
              </a:r>
            </a:p>
          </p:txBody>
        </p:sp>
        <p:cxnSp>
          <p:nvCxnSpPr>
            <p:cNvPr id="32" name="Gerader Verbinder 31">
              <a:extLst>
                <a:ext uri="{FF2B5EF4-FFF2-40B4-BE49-F238E27FC236}">
                  <a16:creationId xmlns:a16="http://schemas.microsoft.com/office/drawing/2014/main" id="{F7781DCD-0ECC-3E19-9CF7-03A30E42265F}"/>
                </a:ext>
              </a:extLst>
            </p:cNvPr>
            <p:cNvCxnSpPr/>
            <p:nvPr/>
          </p:nvCxnSpPr>
          <p:spPr>
            <a:xfrm>
              <a:off x="1830106" y="2190063"/>
              <a:ext cx="10719614"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B9980A02-4DA0-0BED-A188-7B3B64A5FC37}"/>
                </a:ext>
              </a:extLst>
            </p:cNvPr>
            <p:cNvCxnSpPr/>
            <p:nvPr/>
          </p:nvCxnSpPr>
          <p:spPr>
            <a:xfrm>
              <a:off x="1830106" y="2477449"/>
              <a:ext cx="10719614"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080" name="Rechteck 33">
              <a:extLst>
                <a:ext uri="{FF2B5EF4-FFF2-40B4-BE49-F238E27FC236}">
                  <a16:creationId xmlns:a16="http://schemas.microsoft.com/office/drawing/2014/main" id="{C21C639E-96D0-81CD-6459-456603AAE046}"/>
                </a:ext>
              </a:extLst>
            </p:cNvPr>
            <p:cNvSpPr>
              <a:spLocks noChangeArrowheads="1"/>
            </p:cNvSpPr>
            <p:nvPr/>
          </p:nvSpPr>
          <p:spPr bwMode="auto">
            <a:xfrm>
              <a:off x="305816" y="2190012"/>
              <a:ext cx="1447800"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Aktivitäten</a:t>
              </a:r>
            </a:p>
          </p:txBody>
        </p:sp>
        <p:cxnSp>
          <p:nvCxnSpPr>
            <p:cNvPr id="35" name="Gerader Verbinder 34">
              <a:extLst>
                <a:ext uri="{FF2B5EF4-FFF2-40B4-BE49-F238E27FC236}">
                  <a16:creationId xmlns:a16="http://schemas.microsoft.com/office/drawing/2014/main" id="{6A967869-E8B5-DD4E-2E4B-9181E9CAE093}"/>
                </a:ext>
              </a:extLst>
            </p:cNvPr>
            <p:cNvCxnSpPr/>
            <p:nvPr/>
          </p:nvCxnSpPr>
          <p:spPr>
            <a:xfrm>
              <a:off x="305816" y="2477449"/>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082" name="Rechteck 35">
              <a:extLst>
                <a:ext uri="{FF2B5EF4-FFF2-40B4-BE49-F238E27FC236}">
                  <a16:creationId xmlns:a16="http://schemas.microsoft.com/office/drawing/2014/main" id="{FC9073FC-11E9-4484-92DF-4417BED190A7}"/>
                </a:ext>
              </a:extLst>
            </p:cNvPr>
            <p:cNvSpPr>
              <a:spLocks noChangeArrowheads="1"/>
            </p:cNvSpPr>
            <p:nvPr/>
          </p:nvSpPr>
          <p:spPr bwMode="auto">
            <a:xfrm>
              <a:off x="305816" y="2478012"/>
              <a:ext cx="1447800" cy="296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b="1" dirty="0"/>
                <a:t>Phase 1</a:t>
              </a:r>
            </a:p>
          </p:txBody>
        </p:sp>
        <p:cxnSp>
          <p:nvCxnSpPr>
            <p:cNvPr id="37" name="Gerader Verbinder 36">
              <a:extLst>
                <a:ext uri="{FF2B5EF4-FFF2-40B4-BE49-F238E27FC236}">
                  <a16:creationId xmlns:a16="http://schemas.microsoft.com/office/drawing/2014/main" id="{A8032B6E-D13A-95EF-6845-C90D8AF905EA}"/>
                </a:ext>
              </a:extLst>
            </p:cNvPr>
            <p:cNvCxnSpPr/>
            <p:nvPr/>
          </p:nvCxnSpPr>
          <p:spPr>
            <a:xfrm>
              <a:off x="305816" y="2774361"/>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084" name="Raute 37">
              <a:extLst>
                <a:ext uri="{FF2B5EF4-FFF2-40B4-BE49-F238E27FC236}">
                  <a16:creationId xmlns:a16="http://schemas.microsoft.com/office/drawing/2014/main" id="{DE57361A-123A-FE0A-44FC-FDD7DB090F67}"/>
                </a:ext>
              </a:extLst>
            </p:cNvPr>
            <p:cNvSpPr>
              <a:spLocks noChangeArrowheads="1"/>
            </p:cNvSpPr>
            <p:nvPr/>
          </p:nvSpPr>
          <p:spPr bwMode="auto">
            <a:xfrm>
              <a:off x="5321954" y="2550248"/>
              <a:ext cx="152400" cy="152400"/>
            </a:xfrm>
            <a:prstGeom prst="diamond">
              <a:avLst/>
            </a:prstGeom>
            <a:solidFill>
              <a:srgbClr val="2BB3EE"/>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085" name="Rechteck 38">
              <a:extLst>
                <a:ext uri="{FF2B5EF4-FFF2-40B4-BE49-F238E27FC236}">
                  <a16:creationId xmlns:a16="http://schemas.microsoft.com/office/drawing/2014/main" id="{7C82321C-CEEB-1BD0-3A19-CEF99E8F9843}"/>
                </a:ext>
              </a:extLst>
            </p:cNvPr>
            <p:cNvSpPr>
              <a:spLocks noChangeArrowheads="1"/>
            </p:cNvSpPr>
            <p:nvPr/>
          </p:nvSpPr>
          <p:spPr bwMode="auto">
            <a:xfrm>
              <a:off x="5550554" y="2541809"/>
              <a:ext cx="690895" cy="1692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spAutoFit/>
            </a:bodyP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dirty="0"/>
                <a:t>Meilenstein</a:t>
              </a:r>
            </a:p>
          </p:txBody>
        </p:sp>
        <p:sp>
          <p:nvSpPr>
            <p:cNvPr id="130086" name="Rechteck 39">
              <a:extLst>
                <a:ext uri="{FF2B5EF4-FFF2-40B4-BE49-F238E27FC236}">
                  <a16:creationId xmlns:a16="http://schemas.microsoft.com/office/drawing/2014/main" id="{770C6854-DE92-8D41-4D20-5FDF878224F4}"/>
                </a:ext>
              </a:extLst>
            </p:cNvPr>
            <p:cNvSpPr>
              <a:spLocks noChangeArrowheads="1"/>
            </p:cNvSpPr>
            <p:nvPr/>
          </p:nvSpPr>
          <p:spPr bwMode="auto">
            <a:xfrm>
              <a:off x="305816" y="2774884"/>
              <a:ext cx="1447800" cy="296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Phase 1, Punkt 1</a:t>
              </a:r>
            </a:p>
          </p:txBody>
        </p:sp>
        <p:cxnSp>
          <p:nvCxnSpPr>
            <p:cNvPr id="41" name="Gerader Verbinder 40">
              <a:extLst>
                <a:ext uri="{FF2B5EF4-FFF2-40B4-BE49-F238E27FC236}">
                  <a16:creationId xmlns:a16="http://schemas.microsoft.com/office/drawing/2014/main" id="{60239B86-AB9F-CCC9-5878-333AD2362501}"/>
                </a:ext>
              </a:extLst>
            </p:cNvPr>
            <p:cNvCxnSpPr/>
            <p:nvPr/>
          </p:nvCxnSpPr>
          <p:spPr>
            <a:xfrm>
              <a:off x="305816" y="3071274"/>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088" name="Rechteck 41">
              <a:extLst>
                <a:ext uri="{FF2B5EF4-FFF2-40B4-BE49-F238E27FC236}">
                  <a16:creationId xmlns:a16="http://schemas.microsoft.com/office/drawing/2014/main" id="{85EE4928-0219-9802-E450-BD628BD69473}"/>
                </a:ext>
              </a:extLst>
            </p:cNvPr>
            <p:cNvSpPr>
              <a:spLocks noChangeArrowheads="1"/>
            </p:cNvSpPr>
            <p:nvPr/>
          </p:nvSpPr>
          <p:spPr bwMode="auto">
            <a:xfrm>
              <a:off x="1829816" y="2847120"/>
              <a:ext cx="893329" cy="152400"/>
            </a:xfrm>
            <a:prstGeom prst="rect">
              <a:avLst/>
            </a:prstGeom>
            <a:solidFill>
              <a:srgbClr val="003CB4"/>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089" name="Rechteck 42">
              <a:extLst>
                <a:ext uri="{FF2B5EF4-FFF2-40B4-BE49-F238E27FC236}">
                  <a16:creationId xmlns:a16="http://schemas.microsoft.com/office/drawing/2014/main" id="{D7DF0CC9-CE8D-B23F-E850-1D17EEF7C30C}"/>
                </a:ext>
              </a:extLst>
            </p:cNvPr>
            <p:cNvSpPr>
              <a:spLocks noChangeArrowheads="1"/>
            </p:cNvSpPr>
            <p:nvPr/>
          </p:nvSpPr>
          <p:spPr bwMode="auto">
            <a:xfrm>
              <a:off x="305816" y="3071756"/>
              <a:ext cx="1447800" cy="296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Phase 1, Punkt 2</a:t>
              </a:r>
            </a:p>
          </p:txBody>
        </p:sp>
        <p:cxnSp>
          <p:nvCxnSpPr>
            <p:cNvPr id="44" name="Gerader Verbinder 43">
              <a:extLst>
                <a:ext uri="{FF2B5EF4-FFF2-40B4-BE49-F238E27FC236}">
                  <a16:creationId xmlns:a16="http://schemas.microsoft.com/office/drawing/2014/main" id="{D6BE31FF-4C87-F996-CA6E-986EA0771442}"/>
                </a:ext>
              </a:extLst>
            </p:cNvPr>
            <p:cNvCxnSpPr/>
            <p:nvPr/>
          </p:nvCxnSpPr>
          <p:spPr>
            <a:xfrm>
              <a:off x="305816" y="3368186"/>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091" name="Rechteck 44">
              <a:extLst>
                <a:ext uri="{FF2B5EF4-FFF2-40B4-BE49-F238E27FC236}">
                  <a16:creationId xmlns:a16="http://schemas.microsoft.com/office/drawing/2014/main" id="{50812834-1E30-7E71-CACE-6384AABF1E69}"/>
                </a:ext>
              </a:extLst>
            </p:cNvPr>
            <p:cNvSpPr>
              <a:spLocks noChangeArrowheads="1"/>
            </p:cNvSpPr>
            <p:nvPr/>
          </p:nvSpPr>
          <p:spPr bwMode="auto">
            <a:xfrm>
              <a:off x="2246703" y="3143992"/>
              <a:ext cx="1816434" cy="152400"/>
            </a:xfrm>
            <a:prstGeom prst="rect">
              <a:avLst/>
            </a:prstGeom>
            <a:solidFill>
              <a:srgbClr val="003CB4"/>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092" name="Rechteck 45">
              <a:extLst>
                <a:ext uri="{FF2B5EF4-FFF2-40B4-BE49-F238E27FC236}">
                  <a16:creationId xmlns:a16="http://schemas.microsoft.com/office/drawing/2014/main" id="{90AEFA18-898B-5C28-FD73-BD7EC115D173}"/>
                </a:ext>
              </a:extLst>
            </p:cNvPr>
            <p:cNvSpPr>
              <a:spLocks noChangeArrowheads="1"/>
            </p:cNvSpPr>
            <p:nvPr/>
          </p:nvSpPr>
          <p:spPr bwMode="auto">
            <a:xfrm>
              <a:off x="305816" y="3368628"/>
              <a:ext cx="1447800" cy="2968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Phase 1, Punkt 3</a:t>
              </a:r>
            </a:p>
          </p:txBody>
        </p:sp>
        <p:cxnSp>
          <p:nvCxnSpPr>
            <p:cNvPr id="47" name="Gerader Verbinder 46">
              <a:extLst>
                <a:ext uri="{FF2B5EF4-FFF2-40B4-BE49-F238E27FC236}">
                  <a16:creationId xmlns:a16="http://schemas.microsoft.com/office/drawing/2014/main" id="{4D8E97C6-EE98-6D66-E573-B2382870A748}"/>
                </a:ext>
              </a:extLst>
            </p:cNvPr>
            <p:cNvCxnSpPr/>
            <p:nvPr/>
          </p:nvCxnSpPr>
          <p:spPr>
            <a:xfrm>
              <a:off x="305816" y="3665098"/>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094" name="Rechteck 47">
              <a:extLst>
                <a:ext uri="{FF2B5EF4-FFF2-40B4-BE49-F238E27FC236}">
                  <a16:creationId xmlns:a16="http://schemas.microsoft.com/office/drawing/2014/main" id="{5A5BB61E-46F5-343D-3565-C9AB8DF7DD90}"/>
                </a:ext>
              </a:extLst>
            </p:cNvPr>
            <p:cNvSpPr>
              <a:spLocks noChangeArrowheads="1"/>
            </p:cNvSpPr>
            <p:nvPr/>
          </p:nvSpPr>
          <p:spPr bwMode="auto">
            <a:xfrm>
              <a:off x="2633812" y="3440864"/>
              <a:ext cx="2769319" cy="152400"/>
            </a:xfrm>
            <a:prstGeom prst="rect">
              <a:avLst/>
            </a:prstGeom>
            <a:solidFill>
              <a:srgbClr val="003CB4"/>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095" name="Rechteck 48">
              <a:extLst>
                <a:ext uri="{FF2B5EF4-FFF2-40B4-BE49-F238E27FC236}">
                  <a16:creationId xmlns:a16="http://schemas.microsoft.com/office/drawing/2014/main" id="{FFE6C1ED-184D-D62B-D750-29E26797EAE7}"/>
                </a:ext>
              </a:extLst>
            </p:cNvPr>
            <p:cNvSpPr>
              <a:spLocks noChangeArrowheads="1"/>
            </p:cNvSpPr>
            <p:nvPr/>
          </p:nvSpPr>
          <p:spPr bwMode="auto">
            <a:xfrm>
              <a:off x="305816" y="3665500"/>
              <a:ext cx="1447800" cy="296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b="1" dirty="0"/>
                <a:t>Phase 2</a:t>
              </a:r>
            </a:p>
          </p:txBody>
        </p:sp>
        <p:cxnSp>
          <p:nvCxnSpPr>
            <p:cNvPr id="50" name="Gerader Verbinder 49">
              <a:extLst>
                <a:ext uri="{FF2B5EF4-FFF2-40B4-BE49-F238E27FC236}">
                  <a16:creationId xmlns:a16="http://schemas.microsoft.com/office/drawing/2014/main" id="{D7B372B9-810F-05BD-540B-4564EA04729C}"/>
                </a:ext>
              </a:extLst>
            </p:cNvPr>
            <p:cNvCxnSpPr/>
            <p:nvPr/>
          </p:nvCxnSpPr>
          <p:spPr>
            <a:xfrm>
              <a:off x="305816" y="3962010"/>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097" name="Raute 50">
              <a:extLst>
                <a:ext uri="{FF2B5EF4-FFF2-40B4-BE49-F238E27FC236}">
                  <a16:creationId xmlns:a16="http://schemas.microsoft.com/office/drawing/2014/main" id="{836FE0AA-AC62-952D-ACBA-8AC5E4256369}"/>
                </a:ext>
              </a:extLst>
            </p:cNvPr>
            <p:cNvSpPr>
              <a:spLocks noChangeArrowheads="1"/>
            </p:cNvSpPr>
            <p:nvPr/>
          </p:nvSpPr>
          <p:spPr bwMode="auto">
            <a:xfrm>
              <a:off x="8905222" y="3737737"/>
              <a:ext cx="152400" cy="152400"/>
            </a:xfrm>
            <a:prstGeom prst="diamond">
              <a:avLst/>
            </a:prstGeom>
            <a:solidFill>
              <a:srgbClr val="2BB3EE"/>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098" name="Rechteck 51">
              <a:extLst>
                <a:ext uri="{FF2B5EF4-FFF2-40B4-BE49-F238E27FC236}">
                  <a16:creationId xmlns:a16="http://schemas.microsoft.com/office/drawing/2014/main" id="{477628B3-73AF-F9FD-7811-D346F162FEF2}"/>
                </a:ext>
              </a:extLst>
            </p:cNvPr>
            <p:cNvSpPr>
              <a:spLocks noChangeArrowheads="1"/>
            </p:cNvSpPr>
            <p:nvPr/>
          </p:nvSpPr>
          <p:spPr bwMode="auto">
            <a:xfrm>
              <a:off x="9133822" y="3729297"/>
              <a:ext cx="690895" cy="1692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spAutoFit/>
            </a:bodyP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dirty="0"/>
                <a:t>Meilenstein</a:t>
              </a:r>
            </a:p>
          </p:txBody>
        </p:sp>
        <p:sp>
          <p:nvSpPr>
            <p:cNvPr id="130099" name="Rechteck 52">
              <a:extLst>
                <a:ext uri="{FF2B5EF4-FFF2-40B4-BE49-F238E27FC236}">
                  <a16:creationId xmlns:a16="http://schemas.microsoft.com/office/drawing/2014/main" id="{8D8525DD-93A9-CCCA-BC76-6E88F31FE0B0}"/>
                </a:ext>
              </a:extLst>
            </p:cNvPr>
            <p:cNvSpPr>
              <a:spLocks noChangeArrowheads="1"/>
            </p:cNvSpPr>
            <p:nvPr/>
          </p:nvSpPr>
          <p:spPr bwMode="auto">
            <a:xfrm>
              <a:off x="305816" y="3962372"/>
              <a:ext cx="1447800" cy="2968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Phase 2, Punkt 1</a:t>
              </a:r>
            </a:p>
          </p:txBody>
        </p:sp>
        <p:cxnSp>
          <p:nvCxnSpPr>
            <p:cNvPr id="54" name="Gerader Verbinder 53">
              <a:extLst>
                <a:ext uri="{FF2B5EF4-FFF2-40B4-BE49-F238E27FC236}">
                  <a16:creationId xmlns:a16="http://schemas.microsoft.com/office/drawing/2014/main" id="{CAECCDFB-A770-DFC1-98B5-D1ACF7839E86}"/>
                </a:ext>
              </a:extLst>
            </p:cNvPr>
            <p:cNvCxnSpPr/>
            <p:nvPr/>
          </p:nvCxnSpPr>
          <p:spPr>
            <a:xfrm>
              <a:off x="305816" y="4258923"/>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101" name="Rechteck 54">
              <a:extLst>
                <a:ext uri="{FF2B5EF4-FFF2-40B4-BE49-F238E27FC236}">
                  <a16:creationId xmlns:a16="http://schemas.microsoft.com/office/drawing/2014/main" id="{E51A83B1-EC9D-E709-A36F-0E5862524098}"/>
                </a:ext>
              </a:extLst>
            </p:cNvPr>
            <p:cNvSpPr>
              <a:spLocks noChangeArrowheads="1"/>
            </p:cNvSpPr>
            <p:nvPr/>
          </p:nvSpPr>
          <p:spPr bwMode="auto">
            <a:xfrm>
              <a:off x="5403130" y="4034608"/>
              <a:ext cx="1339993" cy="152400"/>
            </a:xfrm>
            <a:prstGeom prst="rect">
              <a:avLst/>
            </a:prstGeom>
            <a:solidFill>
              <a:srgbClr val="3D87F5"/>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102" name="Rechteck 55">
              <a:extLst>
                <a:ext uri="{FF2B5EF4-FFF2-40B4-BE49-F238E27FC236}">
                  <a16:creationId xmlns:a16="http://schemas.microsoft.com/office/drawing/2014/main" id="{57AD9327-368B-8CCF-9ED1-210F2FE6C404}"/>
                </a:ext>
              </a:extLst>
            </p:cNvPr>
            <p:cNvSpPr>
              <a:spLocks noChangeArrowheads="1"/>
            </p:cNvSpPr>
            <p:nvPr/>
          </p:nvSpPr>
          <p:spPr bwMode="auto">
            <a:xfrm>
              <a:off x="305816" y="4259245"/>
              <a:ext cx="1447800" cy="296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Phase 2, Punkt 2</a:t>
              </a:r>
            </a:p>
          </p:txBody>
        </p:sp>
        <p:cxnSp>
          <p:nvCxnSpPr>
            <p:cNvPr id="57" name="Gerader Verbinder 56">
              <a:extLst>
                <a:ext uri="{FF2B5EF4-FFF2-40B4-BE49-F238E27FC236}">
                  <a16:creationId xmlns:a16="http://schemas.microsoft.com/office/drawing/2014/main" id="{40A500FD-ECF4-D81D-E844-22DDD7F03853}"/>
                </a:ext>
              </a:extLst>
            </p:cNvPr>
            <p:cNvCxnSpPr/>
            <p:nvPr/>
          </p:nvCxnSpPr>
          <p:spPr>
            <a:xfrm>
              <a:off x="305816" y="4555835"/>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104" name="Rechteck 57">
              <a:extLst>
                <a:ext uri="{FF2B5EF4-FFF2-40B4-BE49-F238E27FC236}">
                  <a16:creationId xmlns:a16="http://schemas.microsoft.com/office/drawing/2014/main" id="{E628069A-8BE8-81EB-B728-B8FBA409B82E}"/>
                </a:ext>
              </a:extLst>
            </p:cNvPr>
            <p:cNvSpPr>
              <a:spLocks noChangeArrowheads="1"/>
            </p:cNvSpPr>
            <p:nvPr/>
          </p:nvSpPr>
          <p:spPr bwMode="auto">
            <a:xfrm>
              <a:off x="6713346" y="4331481"/>
              <a:ext cx="476442" cy="152400"/>
            </a:xfrm>
            <a:prstGeom prst="rect">
              <a:avLst/>
            </a:prstGeom>
            <a:solidFill>
              <a:srgbClr val="3D87F5"/>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105" name="Rechteck 58">
              <a:extLst>
                <a:ext uri="{FF2B5EF4-FFF2-40B4-BE49-F238E27FC236}">
                  <a16:creationId xmlns:a16="http://schemas.microsoft.com/office/drawing/2014/main" id="{5BF8096C-8AB3-6D74-9193-AF8FC32CC5CB}"/>
                </a:ext>
              </a:extLst>
            </p:cNvPr>
            <p:cNvSpPr>
              <a:spLocks noChangeArrowheads="1"/>
            </p:cNvSpPr>
            <p:nvPr/>
          </p:nvSpPr>
          <p:spPr bwMode="auto">
            <a:xfrm>
              <a:off x="305816" y="4556116"/>
              <a:ext cx="1447800" cy="2968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Phase 2, Punkt 3</a:t>
              </a:r>
            </a:p>
          </p:txBody>
        </p:sp>
        <p:cxnSp>
          <p:nvCxnSpPr>
            <p:cNvPr id="60" name="Gerader Verbinder 59">
              <a:extLst>
                <a:ext uri="{FF2B5EF4-FFF2-40B4-BE49-F238E27FC236}">
                  <a16:creationId xmlns:a16="http://schemas.microsoft.com/office/drawing/2014/main" id="{71AC67F4-A6FD-849C-D697-19AFF33B68E1}"/>
                </a:ext>
              </a:extLst>
            </p:cNvPr>
            <p:cNvCxnSpPr/>
            <p:nvPr/>
          </p:nvCxnSpPr>
          <p:spPr>
            <a:xfrm>
              <a:off x="305816" y="4852747"/>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107" name="Rechteck 60">
              <a:extLst>
                <a:ext uri="{FF2B5EF4-FFF2-40B4-BE49-F238E27FC236}">
                  <a16:creationId xmlns:a16="http://schemas.microsoft.com/office/drawing/2014/main" id="{55D290E6-013C-3E0E-0F61-C7AC51D024E2}"/>
                </a:ext>
              </a:extLst>
            </p:cNvPr>
            <p:cNvSpPr>
              <a:spLocks noChangeArrowheads="1"/>
            </p:cNvSpPr>
            <p:nvPr/>
          </p:nvSpPr>
          <p:spPr bwMode="auto">
            <a:xfrm>
              <a:off x="6713346" y="4628353"/>
              <a:ext cx="923106" cy="152400"/>
            </a:xfrm>
            <a:prstGeom prst="rect">
              <a:avLst/>
            </a:prstGeom>
            <a:solidFill>
              <a:srgbClr val="3D87F5"/>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108" name="Rechteck 61">
              <a:extLst>
                <a:ext uri="{FF2B5EF4-FFF2-40B4-BE49-F238E27FC236}">
                  <a16:creationId xmlns:a16="http://schemas.microsoft.com/office/drawing/2014/main" id="{1CD3DED6-8922-3206-46F1-93185C087313}"/>
                </a:ext>
              </a:extLst>
            </p:cNvPr>
            <p:cNvSpPr>
              <a:spLocks noChangeArrowheads="1"/>
            </p:cNvSpPr>
            <p:nvPr/>
          </p:nvSpPr>
          <p:spPr bwMode="auto">
            <a:xfrm>
              <a:off x="305816" y="4852989"/>
              <a:ext cx="1447800" cy="296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Phase 2, Punkt 4</a:t>
              </a:r>
            </a:p>
          </p:txBody>
        </p:sp>
        <p:cxnSp>
          <p:nvCxnSpPr>
            <p:cNvPr id="63" name="Gerader Verbinder 62">
              <a:extLst>
                <a:ext uri="{FF2B5EF4-FFF2-40B4-BE49-F238E27FC236}">
                  <a16:creationId xmlns:a16="http://schemas.microsoft.com/office/drawing/2014/main" id="{68499F31-6F68-86EF-33A5-D6387EFB8807}"/>
                </a:ext>
              </a:extLst>
            </p:cNvPr>
            <p:cNvCxnSpPr/>
            <p:nvPr/>
          </p:nvCxnSpPr>
          <p:spPr>
            <a:xfrm>
              <a:off x="305816" y="5149659"/>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110" name="Rechteck 63">
              <a:extLst>
                <a:ext uri="{FF2B5EF4-FFF2-40B4-BE49-F238E27FC236}">
                  <a16:creationId xmlns:a16="http://schemas.microsoft.com/office/drawing/2014/main" id="{B9627208-C6A3-5C27-0937-B188D4962639}"/>
                </a:ext>
              </a:extLst>
            </p:cNvPr>
            <p:cNvSpPr>
              <a:spLocks noChangeArrowheads="1"/>
            </p:cNvSpPr>
            <p:nvPr/>
          </p:nvSpPr>
          <p:spPr bwMode="auto">
            <a:xfrm>
              <a:off x="7606674" y="4925225"/>
              <a:ext cx="1369771" cy="152400"/>
            </a:xfrm>
            <a:prstGeom prst="rect">
              <a:avLst/>
            </a:prstGeom>
            <a:solidFill>
              <a:srgbClr val="3D87F5"/>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111" name="Rechteck 64">
              <a:extLst>
                <a:ext uri="{FF2B5EF4-FFF2-40B4-BE49-F238E27FC236}">
                  <a16:creationId xmlns:a16="http://schemas.microsoft.com/office/drawing/2014/main" id="{D2DF185B-F9D4-16ED-3E87-DFDC126AA68E}"/>
                </a:ext>
              </a:extLst>
            </p:cNvPr>
            <p:cNvSpPr>
              <a:spLocks noChangeArrowheads="1"/>
            </p:cNvSpPr>
            <p:nvPr/>
          </p:nvSpPr>
          <p:spPr bwMode="auto">
            <a:xfrm>
              <a:off x="305816" y="5149861"/>
              <a:ext cx="1447800" cy="296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b="1" dirty="0"/>
                <a:t>Phase 3</a:t>
              </a:r>
            </a:p>
          </p:txBody>
        </p:sp>
        <p:cxnSp>
          <p:nvCxnSpPr>
            <p:cNvPr id="66" name="Gerader Verbinder 65">
              <a:extLst>
                <a:ext uri="{FF2B5EF4-FFF2-40B4-BE49-F238E27FC236}">
                  <a16:creationId xmlns:a16="http://schemas.microsoft.com/office/drawing/2014/main" id="{389B6B9F-38D4-EB14-F5DC-FAC6ED628083}"/>
                </a:ext>
              </a:extLst>
            </p:cNvPr>
            <p:cNvCxnSpPr/>
            <p:nvPr/>
          </p:nvCxnSpPr>
          <p:spPr>
            <a:xfrm>
              <a:off x="305816" y="5446572"/>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113" name="Raute 66">
              <a:extLst>
                <a:ext uri="{FF2B5EF4-FFF2-40B4-BE49-F238E27FC236}">
                  <a16:creationId xmlns:a16="http://schemas.microsoft.com/office/drawing/2014/main" id="{49D3F906-C497-97C5-5798-4DB414F1A7E7}"/>
                </a:ext>
              </a:extLst>
            </p:cNvPr>
            <p:cNvSpPr>
              <a:spLocks noChangeArrowheads="1"/>
            </p:cNvSpPr>
            <p:nvPr/>
          </p:nvSpPr>
          <p:spPr bwMode="auto">
            <a:xfrm>
              <a:off x="12488490" y="5222097"/>
              <a:ext cx="152400" cy="152400"/>
            </a:xfrm>
            <a:prstGeom prst="diamond">
              <a:avLst/>
            </a:prstGeom>
            <a:solidFill>
              <a:srgbClr val="2BB3EE"/>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114" name="Rechteck 67">
              <a:extLst>
                <a:ext uri="{FF2B5EF4-FFF2-40B4-BE49-F238E27FC236}">
                  <a16:creationId xmlns:a16="http://schemas.microsoft.com/office/drawing/2014/main" id="{8710E380-980A-CAF4-8475-28A25CEF7228}"/>
                </a:ext>
              </a:extLst>
            </p:cNvPr>
            <p:cNvSpPr>
              <a:spLocks noChangeArrowheads="1"/>
            </p:cNvSpPr>
            <p:nvPr/>
          </p:nvSpPr>
          <p:spPr bwMode="auto">
            <a:xfrm>
              <a:off x="11670595" y="5213658"/>
              <a:ext cx="690895" cy="1692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spAutoFit/>
            </a:bodyP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dirty="0"/>
                <a:t>Meilenstein</a:t>
              </a:r>
            </a:p>
          </p:txBody>
        </p:sp>
        <p:sp>
          <p:nvSpPr>
            <p:cNvPr id="130115" name="Rechteck 68">
              <a:extLst>
                <a:ext uri="{FF2B5EF4-FFF2-40B4-BE49-F238E27FC236}">
                  <a16:creationId xmlns:a16="http://schemas.microsoft.com/office/drawing/2014/main" id="{483AA18A-6731-936F-10E7-C44EA25110AC}"/>
                </a:ext>
              </a:extLst>
            </p:cNvPr>
            <p:cNvSpPr>
              <a:spLocks noChangeArrowheads="1"/>
            </p:cNvSpPr>
            <p:nvPr/>
          </p:nvSpPr>
          <p:spPr bwMode="auto">
            <a:xfrm>
              <a:off x="305816" y="5446733"/>
              <a:ext cx="1447800" cy="296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Phase 3, Punkt 1</a:t>
              </a:r>
            </a:p>
          </p:txBody>
        </p:sp>
        <p:cxnSp>
          <p:nvCxnSpPr>
            <p:cNvPr id="70" name="Gerader Verbinder 69">
              <a:extLst>
                <a:ext uri="{FF2B5EF4-FFF2-40B4-BE49-F238E27FC236}">
                  <a16:creationId xmlns:a16="http://schemas.microsoft.com/office/drawing/2014/main" id="{CF2E4E98-6023-158E-1A6D-0E12562EA91E}"/>
                </a:ext>
              </a:extLst>
            </p:cNvPr>
            <p:cNvCxnSpPr/>
            <p:nvPr/>
          </p:nvCxnSpPr>
          <p:spPr>
            <a:xfrm>
              <a:off x="305816" y="5743484"/>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117" name="Rechteck 70">
              <a:extLst>
                <a:ext uri="{FF2B5EF4-FFF2-40B4-BE49-F238E27FC236}">
                  <a16:creationId xmlns:a16="http://schemas.microsoft.com/office/drawing/2014/main" id="{2F81048E-5331-2ADC-EE5C-50460882FE81}"/>
                </a:ext>
              </a:extLst>
            </p:cNvPr>
            <p:cNvSpPr>
              <a:spLocks noChangeArrowheads="1"/>
            </p:cNvSpPr>
            <p:nvPr/>
          </p:nvSpPr>
          <p:spPr bwMode="auto">
            <a:xfrm>
              <a:off x="8976445" y="5518969"/>
              <a:ext cx="1191105" cy="152400"/>
            </a:xfrm>
            <a:prstGeom prst="rect">
              <a:avLst/>
            </a:prstGeom>
            <a:solidFill>
              <a:srgbClr val="A0CAFD"/>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118" name="Rechteck 71">
              <a:extLst>
                <a:ext uri="{FF2B5EF4-FFF2-40B4-BE49-F238E27FC236}">
                  <a16:creationId xmlns:a16="http://schemas.microsoft.com/office/drawing/2014/main" id="{DA777CD3-E526-0ECD-4FDD-2D8562A24388}"/>
                </a:ext>
              </a:extLst>
            </p:cNvPr>
            <p:cNvSpPr>
              <a:spLocks noChangeArrowheads="1"/>
            </p:cNvSpPr>
            <p:nvPr/>
          </p:nvSpPr>
          <p:spPr bwMode="auto">
            <a:xfrm>
              <a:off x="305816" y="5743605"/>
              <a:ext cx="1447800" cy="296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Phase 3, Punkt 2</a:t>
              </a:r>
            </a:p>
          </p:txBody>
        </p:sp>
        <p:cxnSp>
          <p:nvCxnSpPr>
            <p:cNvPr id="73" name="Gerader Verbinder 72">
              <a:extLst>
                <a:ext uri="{FF2B5EF4-FFF2-40B4-BE49-F238E27FC236}">
                  <a16:creationId xmlns:a16="http://schemas.microsoft.com/office/drawing/2014/main" id="{A4F83FF7-14D3-31CC-105C-95C3E158DF6A}"/>
                </a:ext>
              </a:extLst>
            </p:cNvPr>
            <p:cNvCxnSpPr/>
            <p:nvPr/>
          </p:nvCxnSpPr>
          <p:spPr>
            <a:xfrm>
              <a:off x="305816" y="6040396"/>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120" name="Rechteck 73">
              <a:extLst>
                <a:ext uri="{FF2B5EF4-FFF2-40B4-BE49-F238E27FC236}">
                  <a16:creationId xmlns:a16="http://schemas.microsoft.com/office/drawing/2014/main" id="{DE87FBBD-CF8F-E6D1-135D-219CEB185956}"/>
                </a:ext>
              </a:extLst>
            </p:cNvPr>
            <p:cNvSpPr>
              <a:spLocks noChangeArrowheads="1"/>
            </p:cNvSpPr>
            <p:nvPr/>
          </p:nvSpPr>
          <p:spPr bwMode="auto">
            <a:xfrm>
              <a:off x="9393331" y="5815841"/>
              <a:ext cx="1667547" cy="152400"/>
            </a:xfrm>
            <a:prstGeom prst="rect">
              <a:avLst/>
            </a:prstGeom>
            <a:solidFill>
              <a:srgbClr val="A0CAFD"/>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121" name="Rechteck 143">
              <a:extLst>
                <a:ext uri="{FF2B5EF4-FFF2-40B4-BE49-F238E27FC236}">
                  <a16:creationId xmlns:a16="http://schemas.microsoft.com/office/drawing/2014/main" id="{50550CAE-9B1A-649E-F546-B0EC532231FE}"/>
                </a:ext>
              </a:extLst>
            </p:cNvPr>
            <p:cNvSpPr>
              <a:spLocks noChangeArrowheads="1"/>
            </p:cNvSpPr>
            <p:nvPr/>
          </p:nvSpPr>
          <p:spPr bwMode="auto">
            <a:xfrm>
              <a:off x="305816" y="6040477"/>
              <a:ext cx="1447800" cy="296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Phase 3, Punkt 3</a:t>
              </a:r>
            </a:p>
          </p:txBody>
        </p:sp>
        <p:cxnSp>
          <p:nvCxnSpPr>
            <p:cNvPr id="145" name="Gerader Verbinder 144">
              <a:extLst>
                <a:ext uri="{FF2B5EF4-FFF2-40B4-BE49-F238E27FC236}">
                  <a16:creationId xmlns:a16="http://schemas.microsoft.com/office/drawing/2014/main" id="{D944CC3F-B72A-9586-ED59-D346596D0165}"/>
                </a:ext>
              </a:extLst>
            </p:cNvPr>
            <p:cNvCxnSpPr/>
            <p:nvPr/>
          </p:nvCxnSpPr>
          <p:spPr>
            <a:xfrm>
              <a:off x="305816" y="6337308"/>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123" name="Rechteck 145">
              <a:extLst>
                <a:ext uri="{FF2B5EF4-FFF2-40B4-BE49-F238E27FC236}">
                  <a16:creationId xmlns:a16="http://schemas.microsoft.com/office/drawing/2014/main" id="{82BACFDC-A096-231B-88B3-4AF5C607C913}"/>
                </a:ext>
              </a:extLst>
            </p:cNvPr>
            <p:cNvSpPr>
              <a:spLocks noChangeArrowheads="1"/>
            </p:cNvSpPr>
            <p:nvPr/>
          </p:nvSpPr>
          <p:spPr bwMode="auto">
            <a:xfrm>
              <a:off x="11031100" y="6112713"/>
              <a:ext cx="625330" cy="152400"/>
            </a:xfrm>
            <a:prstGeom prst="rect">
              <a:avLst/>
            </a:prstGeom>
            <a:solidFill>
              <a:srgbClr val="A0CAFD"/>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124" name="Rechteck 146">
              <a:extLst>
                <a:ext uri="{FF2B5EF4-FFF2-40B4-BE49-F238E27FC236}">
                  <a16:creationId xmlns:a16="http://schemas.microsoft.com/office/drawing/2014/main" id="{B3CE17F8-41B9-FC47-95F8-24BE6D068708}"/>
                </a:ext>
              </a:extLst>
            </p:cNvPr>
            <p:cNvSpPr>
              <a:spLocks noChangeArrowheads="1"/>
            </p:cNvSpPr>
            <p:nvPr/>
          </p:nvSpPr>
          <p:spPr bwMode="auto">
            <a:xfrm>
              <a:off x="305816" y="6337349"/>
              <a:ext cx="1447800" cy="296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Phase 3, Punkt 4</a:t>
              </a:r>
            </a:p>
          </p:txBody>
        </p:sp>
        <p:cxnSp>
          <p:nvCxnSpPr>
            <p:cNvPr id="148" name="Gerader Verbinder 147">
              <a:extLst>
                <a:ext uri="{FF2B5EF4-FFF2-40B4-BE49-F238E27FC236}">
                  <a16:creationId xmlns:a16="http://schemas.microsoft.com/office/drawing/2014/main" id="{89D5867C-FE58-9FC3-FEE6-FD2A0BC41BD0}"/>
                </a:ext>
              </a:extLst>
            </p:cNvPr>
            <p:cNvCxnSpPr/>
            <p:nvPr/>
          </p:nvCxnSpPr>
          <p:spPr>
            <a:xfrm>
              <a:off x="305816" y="6634221"/>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126" name="Rechteck 148">
              <a:extLst>
                <a:ext uri="{FF2B5EF4-FFF2-40B4-BE49-F238E27FC236}">
                  <a16:creationId xmlns:a16="http://schemas.microsoft.com/office/drawing/2014/main" id="{76373F48-B33D-0F72-DC65-E1CF1106441E}"/>
                </a:ext>
              </a:extLst>
            </p:cNvPr>
            <p:cNvSpPr>
              <a:spLocks noChangeArrowheads="1"/>
            </p:cNvSpPr>
            <p:nvPr/>
          </p:nvSpPr>
          <p:spPr bwMode="auto">
            <a:xfrm>
              <a:off x="11179989" y="6409585"/>
              <a:ext cx="1369771" cy="152401"/>
            </a:xfrm>
            <a:prstGeom prst="rect">
              <a:avLst/>
            </a:prstGeom>
            <a:solidFill>
              <a:srgbClr val="A0CAFD"/>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grpSp>
      <p:grpSp>
        <p:nvGrpSpPr>
          <p:cNvPr id="130055" name="Gruppieren 12">
            <a:extLst>
              <a:ext uri="{FF2B5EF4-FFF2-40B4-BE49-F238E27FC236}">
                <a16:creationId xmlns:a16="http://schemas.microsoft.com/office/drawing/2014/main" id="{BA8ADC79-F4BB-4D12-EC8D-BEECFDE09929}"/>
              </a:ext>
            </a:extLst>
          </p:cNvPr>
          <p:cNvGrpSpPr>
            <a:grpSpLocks/>
          </p:cNvGrpSpPr>
          <p:nvPr/>
        </p:nvGrpSpPr>
        <p:grpSpPr bwMode="auto">
          <a:xfrm>
            <a:off x="306388" y="950913"/>
            <a:ext cx="9020175" cy="588962"/>
            <a:chOff x="8434386" y="951235"/>
            <a:chExt cx="9020377" cy="588465"/>
          </a:xfrm>
        </p:grpSpPr>
        <p:sp>
          <p:nvSpPr>
            <p:cNvPr id="130056" name="Ellipse 2">
              <a:extLst>
                <a:ext uri="{FF2B5EF4-FFF2-40B4-BE49-F238E27FC236}">
                  <a16:creationId xmlns:a16="http://schemas.microsoft.com/office/drawing/2014/main" id="{82A57861-8C3B-1B1B-E1DD-3E1217DB81FD}"/>
                </a:ext>
              </a:extLst>
            </p:cNvPr>
            <p:cNvSpPr>
              <a:spLocks noChangeArrowheads="1"/>
            </p:cNvSpPr>
            <p:nvPr/>
          </p:nvSpPr>
          <p:spPr bwMode="auto">
            <a:xfrm>
              <a:off x="8434386" y="951235"/>
              <a:ext cx="588465" cy="588465"/>
            </a:xfrm>
            <a:prstGeom prst="ellipse">
              <a:avLst/>
            </a:prstGeom>
            <a:solidFill>
              <a:srgbClr val="D2E6FE"/>
            </a:solidFill>
            <a:ln>
              <a:noFill/>
            </a:ln>
            <a:extLst>
              <a:ext uri="{91240B29-F687-4F45-9708-019B960494DF}">
                <a14:hiddenLine xmlns:a14="http://schemas.microsoft.com/office/drawing/2010/main" w="28575" algn="ctr">
                  <a:solidFill>
                    <a:srgbClr val="003CB4"/>
                  </a:solidFill>
                  <a:round/>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endParaRPr lang="de-CH" altLang="de-DE" dirty="0"/>
            </a:p>
          </p:txBody>
        </p:sp>
        <p:pic>
          <p:nvPicPr>
            <p:cNvPr id="130057" name="Grafik 3">
              <a:extLst>
                <a:ext uri="{FF2B5EF4-FFF2-40B4-BE49-F238E27FC236}">
                  <a16:creationId xmlns:a16="http://schemas.microsoft.com/office/drawing/2014/main" id="{63EC1C8F-2138-3E3D-A196-117B10868B1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534400" y="1051163"/>
              <a:ext cx="388947" cy="388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0058" name="Textfeld 4">
              <a:extLst>
                <a:ext uri="{FF2B5EF4-FFF2-40B4-BE49-F238E27FC236}">
                  <a16:creationId xmlns:a16="http://schemas.microsoft.com/office/drawing/2014/main" id="{4AC68192-6434-DA02-DAF9-1DBCD94A92C8}"/>
                </a:ext>
              </a:extLst>
            </p:cNvPr>
            <p:cNvSpPr txBox="1">
              <a:spLocks noChangeArrowheads="1"/>
            </p:cNvSpPr>
            <p:nvPr/>
          </p:nvSpPr>
          <p:spPr bwMode="auto">
            <a:xfrm>
              <a:off x="9104828" y="1013294"/>
              <a:ext cx="8349935" cy="4643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spAutoFit/>
            </a:bodyP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Tx/>
                <a:buNone/>
              </a:pPr>
              <a:r>
                <a:rPr lang="de-CH" altLang="de-DE" sz="1100" b="1" dirty="0">
                  <a:solidFill>
                    <a:schemeClr val="tx1"/>
                  </a:solidFill>
                </a:rPr>
                <a:t>Den Projektplan findest du in der ZKB-Lasche: «Füge ein ZKB formatiertes Objekt ein» &gt; Musterwerte &gt; ok</a:t>
              </a:r>
            </a:p>
            <a:p>
              <a:pPr eaLnBrk="1" hangingPunct="1">
                <a:buFontTx/>
                <a:buNone/>
              </a:pPr>
              <a:r>
                <a:rPr lang="de-CH" altLang="de-DE" sz="1100" b="1" dirty="0">
                  <a:solidFill>
                    <a:schemeClr val="tx1"/>
                  </a:solidFill>
                </a:rPr>
                <a:t>Zum Bearbeiten Projektplan aktivieren und mit der rechten Maus zum Menüpunkt «Projektplan bearbeiten» </a:t>
              </a:r>
            </a:p>
          </p:txBody>
        </p:sp>
      </p:gr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1074" name="think-cell data - do not delete" hidden="1">
            <a:extLst>
              <a:ext uri="{FF2B5EF4-FFF2-40B4-BE49-F238E27FC236}">
                <a16:creationId xmlns:a16="http://schemas.microsoft.com/office/drawing/2014/main" id="{55ADF05A-AB72-DAA1-6376-E8E6E217B56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31074" name="think-cell data - do not delete" hidden="1">
                        <a:extLst>
                          <a:ext uri="{FF2B5EF4-FFF2-40B4-BE49-F238E27FC236}">
                            <a16:creationId xmlns:a16="http://schemas.microsoft.com/office/drawing/2014/main" id="{55ADF05A-AB72-DAA1-6376-E8E6E217B5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1075" name="Titel 6">
            <a:extLst>
              <a:ext uri="{FF2B5EF4-FFF2-40B4-BE49-F238E27FC236}">
                <a16:creationId xmlns:a16="http://schemas.microsoft.com/office/drawing/2014/main" id="{A4BD967B-2302-2F79-4C58-417BC593F7A8}"/>
              </a:ext>
            </a:extLst>
          </p:cNvPr>
          <p:cNvSpPr>
            <a:spLocks noGrp="1" noChangeArrowheads="1"/>
          </p:cNvSpPr>
          <p:nvPr>
            <p:ph type="title"/>
          </p:nvPr>
        </p:nvSpPr>
        <p:spPr>
          <a:xfrm>
            <a:off x="306388" y="1885950"/>
            <a:ext cx="10180637" cy="4748213"/>
          </a:xfrm>
        </p:spPr>
        <p:txBody>
          <a:bodyPr/>
          <a:lstStyle/>
          <a:p>
            <a:pPr eaLnBrk="1" hangingPunct="1">
              <a:spcBef>
                <a:spcPct val="0"/>
              </a:spcBef>
              <a:spcAft>
                <a:spcPct val="0"/>
              </a:spcAft>
            </a:pPr>
            <a:r>
              <a:rPr lang="de-CH" altLang="de-DE" dirty="0">
                <a:solidFill>
                  <a:schemeClr val="bg1"/>
                </a:solidFill>
              </a:rPr>
              <a:t>Fragen</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QTrIpaZ_U6b0_5Y_TN8f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jIYXAyHSMaPab5e0Dgk7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gfYCddtSkE2T3Was2I__y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gfYCddtSkE2T3Was2I__y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LCOKLouKXUmH4s.QVed3S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dG0IwrHuwk6GJ329N_PSd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JZdKTIstxUiWb2tbxx7s5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LFWWwa9wWkOYNgpdOBfMt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ZPD3pn220WennEZINqAr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l5XIIeJpWkqPharb9OAM3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QfjStRwZlkuXzycANTnQzg"/>
</p:tagLst>
</file>

<file path=ppt/tags/tag14.xml><?xml version="1.0" encoding="utf-8"?>
<p:tagLst xmlns:a="http://schemas.openxmlformats.org/drawingml/2006/main" xmlns:r="http://schemas.openxmlformats.org/officeDocument/2006/relationships" xmlns:p="http://schemas.openxmlformats.org/presentationml/2006/main">
  <p:tag name="VCT_LIBRARY_DO_COPY" val="1"/>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5.xml><?xml version="1.0" encoding="utf-8"?>
<p:tagLst xmlns:a="http://schemas.openxmlformats.org/drawingml/2006/main" xmlns:r="http://schemas.openxmlformats.org/officeDocument/2006/relationships" xmlns:p="http://schemas.openxmlformats.org/presentationml/2006/main">
  <p:tag name="VCT_LIBRARY_DO_COPY" val="1"/>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VCT_LIBRARY_DO_COPY"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45.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46.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47.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51.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52.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53.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56.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57.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58.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59.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63.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64.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65.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66.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67.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68.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ntW6lj8OoyM8RYne1W_gN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ZKB2025">
  <a:themeElements>
    <a:clrScheme name="ZKB2025">
      <a:dk1>
        <a:srgbClr val="003CB4"/>
      </a:dk1>
      <a:lt1>
        <a:sysClr val="window" lastClr="FFFFFF"/>
      </a:lt1>
      <a:dk2>
        <a:srgbClr val="003CB4"/>
      </a:dk2>
      <a:lt2>
        <a:srgbClr val="EDF5FF"/>
      </a:lt2>
      <a:accent1>
        <a:srgbClr val="003CB4"/>
      </a:accent1>
      <a:accent2>
        <a:srgbClr val="D2E6FE"/>
      </a:accent2>
      <a:accent3>
        <a:srgbClr val="A0CAFD"/>
      </a:accent3>
      <a:accent4>
        <a:srgbClr val="82D0F7"/>
      </a:accent4>
      <a:accent5>
        <a:srgbClr val="1264F3"/>
      </a:accent5>
      <a:accent6>
        <a:srgbClr val="2BB3EE"/>
      </a:accent6>
      <a:hlink>
        <a:srgbClr val="003CB4"/>
      </a:hlink>
      <a:folHlink>
        <a:srgbClr val="003CB4"/>
      </a:folHlink>
    </a:clrScheme>
    <a:fontScheme name="ZKB Schriften">
      <a:majorFont>
        <a:latin typeface="Frutiger for ZKB Light"/>
        <a:ea typeface=""/>
        <a:cs typeface=""/>
      </a:majorFont>
      <a:minorFont>
        <a:latin typeface="Frutiger for ZKB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a:spPr>
      <a:bodyPr vert="horz" wrap="square" lIns="0" tIns="0" rIns="0" bIns="0" rtlCol="0" anchor="t" anchorCtr="0">
        <a:noAutofit/>
      </a:bodyPr>
      <a:lstStyle>
        <a:defPPr marL="0" indent="-285750" algn="l" defTabSz="284221" rtl="0" fontAlgn="base">
          <a:lnSpc>
            <a:spcPct val="100000"/>
          </a:lnSpc>
          <a:spcBef>
            <a:spcPts val="0"/>
          </a:spcBef>
          <a:spcAft>
            <a:spcPts val="0"/>
          </a:spcAft>
          <a:buClr>
            <a:srgbClr val="003CB4"/>
          </a:buClr>
          <a:buFont typeface="Frutiger for ZKB Light" panose="020B0303030504020204" pitchFamily="34" charset="0"/>
          <a:buNone/>
          <a:defRPr sz="1600" b="0" smtClean="0">
            <a:solidFill>
              <a:srgbClr val="003CB4"/>
            </a:solidFill>
            <a:latin typeface="Frutiger for ZKB Light" panose="020B0303030504020204" pitchFamily="34" charset="0"/>
          </a:defRPr>
        </a:defPPr>
      </a:lstStyle>
    </a:spDef>
    <a:txDef>
      <a:spPr>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a:spPr>
      <a:bodyPr vert="horz" wrap="square" lIns="0" tIns="0" rIns="0" bIns="0" rtlCol="0" anchor="t" anchorCtr="0">
        <a:noAutofit/>
      </a:bodyPr>
      <a:lstStyle>
        <a:defPPr marL="0" indent="-285750" algn="l" defTabSz="284221" rtl="0" eaLnBrk="1" fontAlgn="base" latinLnBrk="0" hangingPunct="1">
          <a:lnSpc>
            <a:spcPct val="100000"/>
          </a:lnSpc>
          <a:spcBef>
            <a:spcPts val="0"/>
          </a:spcBef>
          <a:spcAft>
            <a:spcPts val="0"/>
          </a:spcAft>
          <a:buClr>
            <a:srgbClr val="003CB4"/>
          </a:buClr>
          <a:buFont typeface="Frutiger for ZKB Light" panose="020B0303030504020204" pitchFamily="34" charset="0"/>
          <a:buNone/>
          <a:defRPr sz="1600" b="0" i="0" u="none" smtClean="0">
            <a:solidFill>
              <a:srgbClr val="003CB4"/>
            </a:solidFill>
            <a:latin typeface="Frutiger for ZKB Light" panose="020B0303030504020204" pitchFamily="34" charset="0"/>
          </a:defRPr>
        </a:defPPr>
      </a:lstStyle>
    </a:txDef>
  </a:objectDefaults>
  <a:extraClrSchemeLst/>
  <a:custClrLst>
    <a:custClr name="Züriblau 50 (RGB=237,245,255)">
      <a:srgbClr val="EDF5FF"/>
    </a:custClr>
    <a:custClr name="Züriblau 100 (RGB=210,230,254)">
      <a:srgbClr val="D2E6FE"/>
    </a:custClr>
    <a:custClr name="Züriblau 200 (RGB=160,202,253)">
      <a:srgbClr val="A0CAFD"/>
    </a:custClr>
    <a:custClr name="Züriblau 300 (RGB=101,166,251)">
      <a:srgbClr val="65A6FB"/>
    </a:custClr>
    <a:custClr name="Züriblau 400 (RGB=61,135,245)">
      <a:srgbClr val="3D87F5"/>
    </a:custClr>
    <a:custClr name="Züriblau 500 (RGB=18,100,243)">
      <a:srgbClr val="1264F3"/>
    </a:custClr>
    <a:custClr name="Züriblau 600 (RGB=0,60,180)">
      <a:srgbClr val="003CB4"/>
    </a:custClr>
    <a:custClr name="Züriblau 700 (RGB=18,41,129)">
      <a:srgbClr val="122981"/>
    </a:custClr>
    <a:custClr name="Züriblau 800 (RGB=8, 15, 94)">
      <a:srgbClr val="080F5E"/>
    </a:custClr>
    <a:custClr name="Weiss">
      <a:srgbClr val="FFFFFF"/>
    </a:custClr>
    <a:custClr name="Lichtblau 200 (RGB=130,208,247)">
      <a:srgbClr val="82D0F7"/>
    </a:custClr>
    <a:custClr name="Lichtblau 300 (RGB=43,179,238)">
      <a:srgbClr val="2BB3EE"/>
    </a:custClr>
    <a:custClr name="Grün 200 (RGB=104,217,177)">
      <a:srgbClr val="68D9B1"/>
    </a:custClr>
    <a:custClr name="Grün 300 (RGB=41,186,136)">
      <a:srgbClr val="29BA88"/>
    </a:custClr>
    <a:custClr name="Violett 200 (RGB=211,190,244)">
      <a:srgbClr val="D3BEF4"/>
    </a:custClr>
    <a:custClr name="Violett 300 (RGB=186,150,233)">
      <a:srgbClr val="BA96E9"/>
    </a:custClr>
    <a:custClr name="Rot 200 (RGB=251,185,182)">
      <a:srgbClr val="FBB9B6"/>
    </a:custClr>
    <a:custClr name="Rot 300 (RGB=248,131,129)">
      <a:srgbClr val="F88381"/>
    </a:custClr>
    <a:custClr name="Weiss">
      <a:srgbClr val="FFFFFF"/>
    </a:custClr>
    <a:custClr name="Weiss">
      <a:srgbClr val="FFFFFF"/>
    </a:custClr>
  </a:custClrLst>
  <a:extLst>
    <a:ext uri="{05A4C25C-085E-4340-85A3-A5531E510DB2}">
      <thm15:themeFamily xmlns:thm15="http://schemas.microsoft.com/office/thememl/2012/main" name="ZKB Muster-Folien_250610.potx  -  Schreibgeschützt" id="{F6D93A44-026C-4B32-AB6E-16E5673FA4B3}" vid="{FF76A0A7-B7F4-4067-9DB5-EE5B6DD8F530}"/>
    </a:ext>
  </a:extLst>
</a:theme>
</file>

<file path=ppt/theme/theme2.xml><?xml version="1.0" encoding="utf-8"?>
<a:theme xmlns:a="http://schemas.openxmlformats.org/drawingml/2006/main" name="Lariss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p:properties xmlns:p="http://schemas.microsoft.com/office/2006/metadata/properties" xmlns:xsi="http://www.w3.org/2001/XMLSchema-instance" xmlns:pc="http://schemas.microsoft.com/office/infopath/2007/PartnerControls">
  <documentManagement/>
</p:properties>
</file>

<file path=customXml/item11.xml><?xml version="1.0" encoding="utf-8"?>
<ZKBProjektPlanInfo>
  <StartDate>01.01.2016</StartDate>
  <EndDate>31.12.2016</EndDate>
  <KalenderType>3</KalenderType>
  <SmallHeight>Falsch</SmallHeight>
  <Aktivitäten>
    <Aktivität1 StartDatum="30.04.2016" EndDatum="01.01.1900" Phase="Meilenstein">Phase 1</Aktivität1>
    <Aktivität2 StartDatum="01.01.2016" EndDatum="31.01.2016" Phase="Phase 4">Phase 1, Punkt 1</Aktivität2>
    <Aktivität3 StartDatum="15.01.2016" EndDatum="15.03.2016" Phase="Phase 4">Phase 1, Punkt 2</Aktivität3>
    <Aktivität4 StartDatum="28.01.2016" EndDatum="30.04.2016" Phase="Phase 4">Phase 1, Punkt 3</Aktivität4>
    <Aktivität5 StartDatum="31.08.2016" EndDatum="01.01.1900" Phase="Meilenstein">Phase 2</Aktivität5>
    <Aktivität6 StartDatum="01.05.2016" EndDatum="15.06.2016" Phase="Phase 5">Phase 2, Punkt 1</Aktivität6>
    <Aktivität7 StartDatum="15.06.2016" EndDatum="30.06.2016" Phase="Phase 5">Phase 2, Punkt 2</Aktivität7>
    <Aktivität8 StartDatum="15.06.2016" EndDatum="15.07.2016" Phase="Phase 5">Phase 2, Punkt 3</Aktivität8>
    <Aktivität9 StartDatum="15.07.2016" EndDatum="31.08.2016" Phase="Phase 5">Phase 2, Punkt 4</Aktivität9>
    <Aktivität10 StartDatum="31.12.2016" EndDatum="01.01.1900" Phase="Meilenstein">Phase 3</Aktivität10>
    <Aktivität11 StartDatum="01.09.2016" EndDatum="10.10.2016" Phase="Phase 6">Phase 3, Punkt 1</Aktivität11>
    <Aktivität12 StartDatum="15.09.2016" EndDatum="10.11.2016" Phase="Phase 6">Phase 3, Punkt 2</Aktivität12>
    <Aktivität13 StartDatum="10.11.2016" EndDatum="30.11.2016" Phase="Phase 6">Phase 3, Punkt 3</Aktivität13>
    <Aktivität14 StartDatum="15.11.2016" EndDatum="31.12.2016" Phase="Phase 6">Phase 3, Punkt 4</Aktivität14>
  </Aktivitäten>
</ZKBProjektPlanInfo>
</file>

<file path=customXml/item12.xml><?xml version="1.0" encoding="utf-8"?>
<ZKBProjektPlanInfo>
  <StartDate>01.01.2016</StartDate>
  <EndDate>31.12.2016</EndDate>
  <KalenderType>3</KalenderType>
  <SmallHeight>Falsch</SmallHeight>
  <Aktivitäten>
    <Aktivität1 StartDatum="30.04.2016" EndDatum="01.01.1900" Phase="Meilenstein">Phase 1</Aktivität1>
    <Aktivität2 StartDatum="01.01.2016" EndDatum="31.01.2016" Phase="Phase 1">Phase 1, Punkt 1</Aktivität2>
    <Aktivität3 StartDatum="15.01.2016" EndDatum="15.03.2016" Phase="Phase 1">Phase 1, Punkt 2</Aktivität3>
    <Aktivität4 StartDatum="28.01.2016" EndDatum="30.04.2016" Phase="Phase 1">Phase 1, Punkt 3</Aktivität4>
    <Aktivität5 StartDatum="31.08.2016" EndDatum="01.01.1900" Phase="Meilenstein">Phase 2</Aktivität5>
    <Aktivität6 StartDatum="01.05.2016" EndDatum="15.06.2016" Phase="Phase 2">Phase 2, Punkt 1</Aktivität6>
    <Aktivität7 StartDatum="15.06.2016" EndDatum="30.06.2016" Phase="Phase 2">Phase 2, Punkt 2</Aktivität7>
    <Aktivität8 StartDatum="15.06.2016" EndDatum="15.07.2016" Phase="Phase 2">Phase 2, Punkt 3</Aktivität8>
    <Aktivität9 StartDatum="15.07.2016" EndDatum="31.08.2016" Phase="Phase 2">Phase 2, Punkt 4</Aktivität9>
    <Aktivität10 StartDatum="31.12.2016" EndDatum="01.01.1900" Phase="Meilenstein">Phase 3</Aktivität10>
    <Aktivität11 StartDatum="01.09.2016" EndDatum="10.10.2016" Phase="Phase 3">Phase 3, Punkt 1</Aktivität11>
    <Aktivität12 StartDatum="15.09.2016" EndDatum="10.11.2016" Phase="Phase 3">Phase 3, Punkt 2</Aktivität12>
    <Aktivität13 StartDatum="10.11.2016" EndDatum="30.11.2016" Phase="Phase 3">Phase 3, Punkt 3</Aktivität13>
    <Aktivität14 StartDatum="15.11.2016" EndDatum="31.12.2016" Phase="Phase 3">Phase 3, Punkt 4</Aktivität14>
  </Aktivitäten>
</ZKBProjektPlanInfo>
</file>

<file path=customXml/item13.xml><?xml version="1.0" encoding="utf-8"?>
<ZKBProjektPlanInfo>
  <StartDate>01.01.2016</StartDate>
  <EndDate>31.12.2016</EndDate>
  <KalenderType>3</KalenderType>
  <SmallHeight>Falsch</SmallHeight>
  <Aktivitäten>
    <Aktivität1 StartDatum="30.04.2016" EndDatum="01.01.1900" Phase="Meilenstein">Phase 1</Aktivität1>
    <Aktivität2 StartDatum="01.01.2016" EndDatum="31.01.2016" Phase="Phase 1">Phase 1, Punkt 1</Aktivität2>
    <Aktivität3 StartDatum="15.01.2016" EndDatum="15.03.2016" Phase="Phase 1">Phase 1, Punkt 2</Aktivität3>
    <Aktivität4 StartDatum="28.01.2016" EndDatum="30.04.2016" Phase="Phase 1">Phase 1, Punkt 3</Aktivität4>
    <Aktivität5 StartDatum="31.08.2016" EndDatum="01.01.1900" Phase="Meilenstein">Phase 2</Aktivität5>
    <Aktivität6 StartDatum="01.05.2016" EndDatum="15.06.2016" Phase="Phase 2">Phase 2, Punkt 1</Aktivität6>
    <Aktivität7 StartDatum="15.06.2016" EndDatum="30.06.2016" Phase="Phase 2">Phase 2, Punkt 2</Aktivität7>
    <Aktivität8 StartDatum="15.06.2016" EndDatum="15.07.2016" Phase="Phase 2">Phase 2, Punkt 3</Aktivität8>
    <Aktivität9 StartDatum="15.07.2016" EndDatum="31.08.2016" Phase="Phase 2">Phase 2, Punkt 4</Aktivität9>
    <Aktivität10 StartDatum="31.12.2016" EndDatum="01.01.1900" Phase="Meilenstein">Phase 3</Aktivität10>
    <Aktivität11 StartDatum="01.09.2016" EndDatum="10.10.2016" Phase="Phase 3">Phase 3, Punkt 1</Aktivität11>
    <Aktivität12 StartDatum="15.09.2016" EndDatum="10.11.2016" Phase="Phase 3">Phase 3, Punkt 2</Aktivität12>
    <Aktivität13 StartDatum="10.11.2016" EndDatum="30.11.2016" Phase="Phase 3">Phase 3, Punkt 3</Aktivität13>
    <Aktivität14 StartDatum="15.11.2016" EndDatum="31.12.2016" Phase="Phase 3">Phase 3, Punkt 4</Aktivität14>
  </Aktivitäten>
</ZKBProjektPlanInfo>
</file>

<file path=customXml/item14.xml><?xml version="1.0" encoding="utf-8"?>
<ZKBProjektPlanInfo>
  <StartDate>01.01.2016</StartDate>
  <EndDate>31.12.2016</EndDate>
  <KalenderType>3</KalenderType>
  <SmallHeight>Falsch</SmallHeight>
  <Aktivitäten>
    <Aktivität1 StartDatum="30.04.2016" EndDatum="01.01.1900" Phase="Meilenstein">Phase 1</Aktivität1>
    <Aktivität2 StartDatum="01.01.2016" EndDatum="31.01.2016" Phase="Phase 1">Phase 1, Punkt 1</Aktivität2>
    <Aktivität3 StartDatum="15.01.2016" EndDatum="15.03.2016" Phase="Phase 2">Phase 1, Punkt 2</Aktivität3>
    <Aktivität4 StartDatum="28.01.2016" EndDatum="30.04.2016" Phase="Phase 3">Phase 1, Punkt 3</Aktivität4>
    <Aktivität5 StartDatum="31.08.2016" EndDatum="01.01.1900" Phase="Meilenstein">Phase 2</Aktivität5>
    <Aktivität6 StartDatum="01.05.2016" EndDatum="15.06.2016" Phase="Phase 4">Phase 2, Punkt 1</Aktivität6>
    <Aktivität7 StartDatum="15.06.2016" EndDatum="30.06.2016" Phase="Phase 5">Phase 2, Punkt 2</Aktivität7>
    <Aktivität8 StartDatum="15.06.2016" EndDatum="15.07.2016" Phase="Phase 6">Phase 2, Punkt 3</Aktivität8>
    <Aktivität9 StartDatum="15.07.2016" EndDatum="31.08.2016" Phase="Phase 2">Phase 2, Punkt 4</Aktivität9>
    <Aktivität10 StartDatum="31.12.2016" EndDatum="01.01.1900" Phase="Meilenstein">Phase 3</Aktivität10>
    <Aktivität11 StartDatum="01.09.2016" EndDatum="10.10.2016" Phase="Phase 3">Phase 3, Punkt 1</Aktivität11>
    <Aktivität12 StartDatum="15.09.2016" EndDatum="10.11.2016" Phase="Phase 3">Phase 3, Punkt 2</Aktivität12>
    <Aktivität13 StartDatum="10.11.2016" EndDatum="30.11.2016" Phase="Phase 3">Phase 3, Punkt 3</Aktivität13>
    <Aktivität14 StartDatum="15.11.2016" EndDatum="31.12.2016" Phase="Phase 3">Phase 3, Punkt 4</Aktivität14>
  </Aktivitäten>
</ZKBProjektPlanInfo>
</file>

<file path=customXml/item15.xml><?xml version="1.0" encoding="utf-8"?>
<ZKBProjektPlanInfo>
  <StartDate>01.01.2016</StartDate>
  <EndDate>31.12.2016</EndDate>
  <KalenderType>3</KalenderType>
  <SmallHeight>Falsch</SmallHeight>
  <Aktivitäten>
    <Aktivität1 StartDatum="30.04.2016" EndDatum="01.01.1900" Phase="Meilenstein">Phase 1</Aktivität1>
    <Aktivität2 StartDatum="01.01.2016" EndDatum="31.01.2016" Phase="Phase 1">Phase 1, Punkt 1</Aktivität2>
    <Aktivität3 StartDatum="15.01.2016" EndDatum="15.03.2016" Phase="Phase 1">Phase 1, Punkt 2</Aktivität3>
    <Aktivität4 StartDatum="28.01.2016" EndDatum="30.04.2016" Phase="Phase 1">Phase 1, Punkt 3</Aktivität4>
    <Aktivität5 StartDatum="31.08.2016" EndDatum="01.01.1900" Phase="Meilenstein">Phase 2</Aktivität5>
    <Aktivität6 StartDatum="01.05.2016" EndDatum="15.06.2016" Phase="Phase 2">Phase 2, Punkt 1</Aktivität6>
    <Aktivität7 StartDatum="15.06.2016" EndDatum="30.06.2016" Phase="Phase 2">Phase 2, Punkt 2</Aktivität7>
    <Aktivität8 StartDatum="15.06.2016" EndDatum="15.07.2016" Phase="Phase 2">Phase 2, Punkt 3</Aktivität8>
    <Aktivität9 StartDatum="15.07.2016" EndDatum="31.08.2016" Phase="Phase 2">Phase 2, Punkt 4</Aktivität9>
    <Aktivität10 StartDatum="31.12.2016" EndDatum="01.01.1900" Phase="Meilenstein">Phase 3</Aktivität10>
    <Aktivität11 StartDatum="01.09.2016" EndDatum="10.10.2016" Phase="Phase 3">Phase 3, Punkt 1</Aktivität11>
    <Aktivität12 StartDatum="15.09.2016" EndDatum="10.11.2016" Phase="Phase 3">Phase 3, Punkt 2</Aktivität12>
    <Aktivität13 StartDatum="10.11.2016" EndDatum="30.11.2016" Phase="Phase 3">Phase 3, Punkt 3</Aktivität13>
    <Aktivität14 StartDatum="15.11.2016" EndDatum="31.12.2016" Phase="Phase 3">Phase 3, Punkt 4</Aktivität14>
  </Aktivitäten>
</ZKBProjektPlanInfo>
</file>

<file path=customXml/item16.xml><?xml version="1.0" encoding="utf-8"?>
<Control xmlns="http://schemas.microsoft.com/VisualStudio/2011/storyboarding/control">
  <Id Name="System.Storyboarding.Backgrounds.DesktopTaskbar" Revision="1" Stencil="System.Storyboarding.Backgrounds" StencilVersion="0.1"/>
</Control>
</file>

<file path=customXml/item17.xml><?xml version="1.0" encoding="utf-8"?>
<ZKBProjektPlanInfo>
  <StartDate>01.01.2016</StartDate>
  <EndDate>31.12.2030</EndDate>
  <KalenderType>4</KalenderType>
  <SmallHeight>Falsch</SmallHeight>
  <Aktivitäten>
    <Aktivität1 StartDatum="01.05.2016" EndDatum="01.01.1900" Phase="Meilenstein">Phase 1</Aktivität1>
    <Aktivität2 StartDatum="01.05.2016" EndDatum="31.10.2016" Phase="Phase 1">Phase 1, Punkt 1</Aktivität2>
    <Aktivität3 StartDatum="01.05.2016" EndDatum="15.03.2017" Phase="Phase 2">Phase 1, Punkt 2</Aktivität3>
    <Aktivität4 StartDatum="01.11.2016" EndDatum="01.08.2022" Phase="Phase 3">Phase 1, Punkt 3</Aktivität4>
    <Aktivität5 StartDatum="31.08.2022" EndDatum="01.01.1900" Phase="Meilenstein">Phase 2</Aktivität5>
    <Aktivität6 StartDatum="01.09.2022" EndDatum="03.03.2023" Phase="Phase 4">Phase 2, Punkt 1</Aktivität6>
    <Aktivität7 StartDatum="03.03.2023" EndDatum="30.06.2023" Phase="Phase 5">Phase 2, Punkt 2</Aktivität7>
    <Aktivität8 StartDatum="03.03.2023" EndDatum="20.11.2024" Phase="Phase 6">Phase 2, Punkt 3</Aktivität8>
    <Aktivität9 StartDatum="20.11.2024" EndDatum="30.09.2026" Phase="Phase 7">Phase 2, Punkt 4</Aktivität9>
    <Aktivität10 StartDatum="30.09.2026" EndDatum="01.01.1900" Phase="Meilenstein">Phase 3</Aktivität10>
    <Aktivität11 StartDatum="01.10.2026" EndDatum="05.05.2028" Phase="Phase 8">Phase 3, Punkt 1</Aktivität11>
    <Aktivität12 StartDatum="05.05.2028" EndDatum="08.10.2028" Phase="Phase 8">Phase 3, Punkt 2</Aktivität12>
    <Aktivität13 StartDatum="08.10.2028" EndDatum="03.02.2029" Phase="Phase 9">Phase 3, Punkt 3</Aktivität13>
    <Aktivität14 StartDatum="03.02.2029" EndDatum="01.09.2030" Phase="Phase 9">Phase 3, Punkt 4</Aktivität14>
  </Aktivitäten>
</ZKBProjektPlanInfo>
</file>

<file path=customXml/item18.xml><?xml version="1.0" encoding="utf-8"?>
<Control xmlns="http://schemas.microsoft.com/VisualStudio/2011/storyboarding/control">
  <Id Name="System.Storyboarding.Common.CheckBoxChecked" Revision="1" Stencil="System.Storyboarding.Common" StencilVersion="0.1"/>
</Control>
</file>

<file path=customXml/item2.xml><?xml version="1.0" encoding="utf-8"?>
<ZKBProjektPlanInfo>
  <StartDate>01.01.2016</StartDate>
  <EndDate>31.12.2016</EndDate>
  <KalenderType>3</KalenderType>
  <SmallHeight>Falsch</SmallHeight>
  <Aktivitäten>
    <Aktivität1 StartDatum="30.04.2016" EndDatum="01.01.1900" Phase="Meilenstein">Phase 1</Aktivität1>
    <Aktivität2 StartDatum="01.01.2016" EndDatum="31.01.2016" Phase="Phase 1">Phase 1, Punkt 1</Aktivität2>
    <Aktivität3 StartDatum="15.01.2016" EndDatum="15.03.2016" Phase="Phase 1">Phase 1, Punkt 2</Aktivität3>
    <Aktivität4 StartDatum="28.01.2016" EndDatum="30.04.2016" Phase="Phase 1">Phase 1, Punkt 3</Aktivität4>
    <Aktivität5 StartDatum="31.08.2016" EndDatum="01.01.1900" Phase="Meilenstein">Phase 2</Aktivität5>
    <Aktivität6 StartDatum="01.05.2016" EndDatum="15.06.2016" Phase="Phase 2">Phase 2, Punkt 1</Aktivität6>
    <Aktivität7 StartDatum="15.06.2016" EndDatum="30.06.2016" Phase="Phase 2">Phase 2, Punkt 2</Aktivität7>
    <Aktivität8 StartDatum="15.06.2016" EndDatum="15.07.2016" Phase="Phase 2">Phase 2, Punkt 3</Aktivität8>
    <Aktivität9 StartDatum="15.07.2016" EndDatum="31.08.2016" Phase="Phase 2">Phase 2, Punkt 4</Aktivität9>
    <Aktivität10 StartDatum="31.12.2016" EndDatum="01.01.1900" Phase="Meilenstein">Phase 3</Aktivität10>
    <Aktivität11 StartDatum="01.09.2016" EndDatum="10.10.2016" Phase="Phase 3">Phase 3, Punkt 1</Aktivität11>
    <Aktivität12 StartDatum="15.09.2016" EndDatum="10.11.2016" Phase="Phase 3">Phase 3, Punkt 2</Aktivität12>
    <Aktivität13 StartDatum="10.11.2016" EndDatum="30.11.2016" Phase="Phase 3">Phase 3, Punkt 3</Aktivität13>
    <Aktivität14 StartDatum="15.11.2016" EndDatum="31.12.2016" Phase="Phase 3">Phase 3, Punkt 4</Aktivität14>
  </Aktivitäten>
</ZKBProjektPlanInfo>
</file>

<file path=customXml/item3.xml><?xml version="1.0" encoding="utf-8"?>
<ZKBProjektPlanInfo>
  <StartDate>28.12.2015</StartDate>
  <EndDate>01.05.2016</EndDate>
  <KalenderType>2</KalenderType>
  <SmallHeight>Falsch</SmallHeight>
  <Aktivitäten>
    <Aktivität1 StartDatum="15.02.2016" EndDatum="01.01.1900" Phase="Meilenstein">Phase 1</Aktivität1>
    <Aktivität2 StartDatum="01.01.2016" EndDatum="15.01.2016" Phase="Phase 1">Phase 1, Punkt 1</Aktivität2>
    <Aktivität3 StartDatum="15.01.2016" EndDatum="31.01.2016" Phase="Phase 1">Phase 1, Punkt 2</Aktivität3>
    <Aktivität4 StartDatum="31.01.2016" EndDatum="15.02.2016" Phase="Phase 1">Phase 1, Punkt 3</Aktivität4>
    <Aktivität5 StartDatum="01.04.2016" EndDatum="01.01.1900" Phase="Meilenstein">Phase 2</Aktivität5>
    <Aktivität6 StartDatum="15.02.2016" EndDatum="16.02.2016" Phase="Phase 2">Phase 2, Punkt 1</Aktivität6>
    <Aktivität7 StartDatum="16.02.2016" EndDatum="28.02.2016" Phase="Phase 2">Phase 2, Punkt 2</Aktivität7>
    <Aktivität8 StartDatum="01.03.2016" EndDatum="15.03.2016" Phase="Phase 2">Phase 2, Punkt 3</Aktivität8>
    <Aktivität9 StartDatum="15.03.2016" EndDatum="01.04.2016" Phase="Phase 2">Phase 2, Punkt 4</Aktivität9>
    <Aktivität10 StartDatum="01.05.2016" EndDatum="01.01.1900" Phase="Meilenstein">Phase 3</Aktivität10>
    <Aktivität11 StartDatum="01.04.2016" EndDatum="10.04.2016" Phase="Phase 3">Phase 3, Punkt 1</Aktivität11>
    <Aktivität12 StartDatum="10.04.2016" EndDatum="15.04.2016" Phase="Phase 3">Phase 3, Punkt 2</Aktivität12>
    <Aktivität13 StartDatum="15.04.2016" EndDatum="22.04.2016" Phase="Phase 3">Phase 3, Punkt 3</Aktivität13>
    <Aktivität14 StartDatum="22.04.2016" EndDatum="01.05.2016" Phase="Phase 3">Phase 3, Punkt 4</Aktivität14>
  </Aktivitäten>
</ZKBProjektPlanInfo>
</file>

<file path=customXml/item4.xml><?xml version="1.0" encoding="utf-8"?>
<ZKBProjektPlanInfo>
  <StartDate>01.01.2016</StartDate>
  <EndDate>31.12.2016</EndDate>
  <KalenderType>3</KalenderType>
  <SmallHeight>Falsch</SmallHeight>
  <Aktivitäten>
    <Aktivität1 StartDatum="30.04.2016" EndDatum="01.01.1900" Phase="Meilenstein">Phase 1</Aktivität1>
    <Aktivität2 StartDatum="01.01.2016" EndDatum="31.01.2016" Phase="Phase 1">Phase 1, Punkt 1</Aktivität2>
    <Aktivität3 StartDatum="15.01.2016" EndDatum="15.03.2016" Phase="Phase 2">Phase 1, Punkt 2</Aktivität3>
    <Aktivität4 StartDatum="28.01.2016" EndDatum="30.04.2016" Phase="Phase 3">Phase 1, Punkt 3</Aktivität4>
    <Aktivität5 StartDatum="31.08.2016" EndDatum="01.01.1900" Phase="Meilenstein">Phase 2</Aktivität5>
    <Aktivität6 StartDatum="01.05.2016" EndDatum="15.06.2016" Phase="Phase 4">Phase 2, Punkt 1</Aktivität6>
    <Aktivität7 StartDatum="15.06.2016" EndDatum="30.06.2016" Phase="Phase 5">Phase 2, Punkt 2</Aktivität7>
    <Aktivität8 StartDatum="15.06.2016" EndDatum="15.07.2016" Phase="Phase 6">Phase 2, Punkt 3</Aktivität8>
    <Aktivität9 StartDatum="15.07.2016" EndDatum="31.08.2016" Phase="Phase 2">Phase 2, Punkt 4</Aktivität9>
    <Aktivität10 StartDatum="31.12.2016" EndDatum="01.01.1900" Phase="Meilenstein">Phase 3</Aktivität10>
    <Aktivität11 StartDatum="01.09.2016" EndDatum="10.10.2016" Phase="Phase 3">Phase 3, Punkt 1</Aktivität11>
    <Aktivität12 StartDatum="15.09.2016" EndDatum="10.11.2016" Phase="Phase 3">Phase 3, Punkt 2</Aktivität12>
    <Aktivität13 StartDatum="10.11.2016" EndDatum="30.11.2016" Phase="Phase 3">Phase 3, Punkt 3</Aktivität13>
    <Aktivität14 StartDatum="15.11.2016" EndDatum="31.12.2016" Phase="Phase 3">Phase 3, Punkt 4</Aktivität14>
  </Aktivitäten>
</ZKBProjektPlanInfo>
</file>

<file path=customXml/item5.xml><?xml version="1.0" encoding="utf-8"?>
<Control xmlns="http://schemas.microsoft.com/VisualStudio/2011/storyboarding/control">
  <Id Name="804f46cf-401a-4a44-adfb-11f5afc523b4" Revision="1" Stencil="System.MyShapes" StencilVersion="1.0"/>
</Control>
</file>

<file path=customXml/item6.xml><?xml version="1.0" encoding="utf-8"?>
<ZKBProjektPlanInfo>
  <StartDate>01.01.2016</StartDate>
  <EndDate>31.12.2016</EndDate>
  <KalenderType>3</KalenderType>
  <SmallHeight>Falsch</SmallHeight>
  <Aktivitäten>
    <Aktivität1 StartDatum="30.04.2016" EndDatum="01.01.1900" Phase="Meilenstein">Phase 1</Aktivität1>
    <Aktivität2 StartDatum="01.01.2016" EndDatum="31.01.2016" Phase="Phase 1">Phase 1, Punkt 1</Aktivität2>
    <Aktivität3 StartDatum="15.01.2016" EndDatum="15.03.2016" Phase="Phase 1">Phase 1, Punkt 2</Aktivität3>
    <Aktivität4 StartDatum="28.01.2016" EndDatum="30.04.2016" Phase="Phase 1">Phase 1, Punkt 3</Aktivität4>
    <Aktivität5 StartDatum="31.08.2016" EndDatum="01.01.1900" Phase="Meilenstein">Phase 2</Aktivität5>
    <Aktivität6 StartDatum="01.05.2016" EndDatum="15.06.2016" Phase="Phase 2">Phase 2, Punkt 1</Aktivität6>
    <Aktivität7 StartDatum="15.06.2016" EndDatum="30.06.2016" Phase="Phase 2">Phase 2, Punkt 2</Aktivität7>
    <Aktivität8 StartDatum="15.06.2016" EndDatum="15.07.2016" Phase="Phase 2">Phase 2, Punkt 3</Aktivität8>
    <Aktivität9 StartDatum="15.07.2016" EndDatum="31.08.2016" Phase="Phase 2">Phase 2, Punkt 4</Aktivität9>
    <Aktivität10 StartDatum="31.12.2016" EndDatum="01.01.1900" Phase="Meilenstein">Phase 3</Aktivität10>
    <Aktivität11 StartDatum="01.09.2016" EndDatum="10.10.2016" Phase="Phase 3">Phase 3, Punkt 1</Aktivität11>
    <Aktivität12 StartDatum="15.09.2016" EndDatum="10.11.2016" Phase="Phase 4">Phase 3, Punkt 2</Aktivität12>
    <Aktivität13 StartDatum="10.11.2016" EndDatum="30.11.2016" Phase="Phase 5">Phase 3, Punkt 3</Aktivität13>
    <Aktivität14 StartDatum="15.11.2016" EndDatum="31.12.2016" Phase="Phase 6">Phase 3, Punkt 4</Aktivität14>
  </Aktivitäten>
</ZKBProjektPlanInfo>
</file>

<file path=customXml/item7.xml><?xml version="1.0" encoding="utf-8"?>
<ZKBProjektPlanInfo>
  <StartDate>01.01.2016</StartDate>
  <EndDate>31.12.2016</EndDate>
  <KalenderType>3</KalenderType>
  <SmallHeight>Falsch</SmallHeight>
  <Aktivitäten>
    <Aktivität1 StartDatum="30.04.2016" EndDatum="01.01.1900" Phase="Meilenstein">Phase 1</Aktivität1>
    <Aktivität2 StartDatum="01.01.2016" EndDatum="31.01.2016" Phase="Phase 1">Phase 1, Punkt 1</Aktivität2>
    <Aktivität3 StartDatum="15.01.2016" EndDatum="15.03.2016" Phase="Phase 2">Phase 1, Punkt 2</Aktivität3>
    <Aktivität4 StartDatum="28.01.2016" EndDatum="30.04.2016" Phase="Phase 3">Phase 1, Punkt 3</Aktivität4>
    <Aktivität5 StartDatum="31.08.2016" EndDatum="01.01.1900" Phase="Meilenstein">Phase 2</Aktivität5>
    <Aktivität6 StartDatum="01.05.2016" EndDatum="15.06.2016" Phase="Phase 4">Phase 2, Punkt 1</Aktivität6>
    <Aktivität7 StartDatum="15.06.2016" EndDatum="30.06.2016" Phase="Phase 5">Phase 2, Punkt 2</Aktivität7>
    <Aktivität8 StartDatum="15.06.2016" EndDatum="15.07.2016" Phase="Phase 6">Phase 2, Punkt 3</Aktivität8>
    <Aktivität9 StartDatum="15.07.2016" EndDatum="31.08.2016" Phase="Phase 1">Phase 2, Punkt 4</Aktivität9>
    <Aktivität10 StartDatum="31.12.2016" EndDatum="01.01.1900" Phase="Meilenstein">Phase 3</Aktivität10>
    <Aktivität11 StartDatum="01.09.2016" EndDatum="10.10.2016" Phase="Phase 2">Phase 3, Punkt 1</Aktivität11>
    <Aktivität12 StartDatum="15.09.2016" EndDatum="10.11.2016" Phase="Phase 3">Phase 3, Punkt 2</Aktivität12>
    <Aktivität13 StartDatum="10.11.2016" EndDatum="30.11.2016" Phase="Phase 4">Phase 3, Punkt 3</Aktivität13>
    <Aktivität14 StartDatum="15.11.2016" EndDatum="31.12.2016" Phase="Phase 5">Phase 3, Punkt 4</Aktivität14>
    <Aktivität15 StartDatum="15.11.2016" EndDatum="31.12.2016" Phase="Phase 6">sdfsdf</Aktivität15>
  </Aktivitäten>
</ZKBProjektPlanInfo>
</file>

<file path=customXml/item8.xml><?xml version="1.0" encoding="utf-8"?>
<ct:contentTypeSchema xmlns:ct="http://schemas.microsoft.com/office/2006/metadata/contentType" xmlns:ma="http://schemas.microsoft.com/office/2006/metadata/properties/metaAttributes" ct:_="" ma:_="" ma:contentTypeName="Dokument" ma:contentTypeID="0x010100E3B26EE0327A644B82B589C1E85BE5D9" ma:contentTypeVersion="4" ma:contentTypeDescription="Ein neues Dokument erstellen." ma:contentTypeScope="" ma:versionID="ff436c16211945b7a4260c2adb1db06d">
  <xsd:schema xmlns:xsd="http://www.w3.org/2001/XMLSchema" xmlns:xs="http://www.w3.org/2001/XMLSchema" xmlns:p="http://schemas.microsoft.com/office/2006/metadata/properties" xmlns:ns2="700a556d-196a-48c8-8763-da5a1e0f418c" targetNamespace="http://schemas.microsoft.com/office/2006/metadata/properties" ma:root="true" ma:fieldsID="f5836ffb50d0aa67a5ea9f7aa3305ebb" ns2:_="">
    <xsd:import namespace="700a556d-196a-48c8-8763-da5a1e0f418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0a556d-196a-48c8-8763-da5a1e0f41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9.xml><?xml version="1.0" encoding="utf-8"?>
<ZKBProjektPlanInfo>
  <StartDate>01.01.2016</StartDate>
  <EndDate>31.12.2016</EndDate>
  <KalenderType>3</KalenderType>
  <SmallHeight>Falsch</SmallHeight>
  <Aktivitäten>
    <Aktivität1 StartDatum="30.04.2016" EndDatum="01.01.1900" Phase="Meilenstein">Phase 1</Aktivität1>
    <Aktivität2 StartDatum="01.01.2016" EndDatum="31.01.2016" Phase="Phase 1">Phase 1, Punkt 1</Aktivität2>
    <Aktivität3 StartDatum="15.01.2016" EndDatum="15.03.2016" Phase="Phase 1">Phase 1, Punkt 2</Aktivität3>
    <Aktivität4 StartDatum="28.01.2016" EndDatum="30.04.2016" Phase="Phase 1">Phase 1, Punkt 3</Aktivität4>
    <Aktivität5 StartDatum="31.08.2016" EndDatum="01.01.1900" Phase="Meilenstein">Phase 2</Aktivität5>
    <Aktivität6 StartDatum="01.05.2016" EndDatum="15.06.2016" Phase="Phase 2">Phase 2, Punkt 1</Aktivität6>
    <Aktivität7 StartDatum="15.06.2016" EndDatum="30.06.2016" Phase="Phase 2">Phase 2, Punkt 2</Aktivität7>
    <Aktivität8 StartDatum="15.06.2016" EndDatum="15.07.2016" Phase="Phase 2">Phase 2, Punkt 3</Aktivität8>
    <Aktivität9 StartDatum="15.07.2016" EndDatum="31.08.2016" Phase="Phase 2">Phase 2, Punkt 4</Aktivität9>
    <Aktivität10 StartDatum="31.12.2016" EndDatum="01.01.1900" Phase="test">Phase 3</Aktivität10>
    <Aktivität11 StartDatum="01.09.2016" EndDatum="10.10.2016" Phase="Phase 3">Phase 3, Punkt 1</Aktivität11>
    <Aktivität12 StartDatum="15.09.2016" EndDatum="10.11.2016" Phase="Phase 4">Phase 3, Punkt 2</Aktivität12>
    <Aktivität13 StartDatum="10.11.2016" EndDatum="30.11.2016" Phase="Phase 5">Phase 3, Punkt 3</Aktivität13>
    <Aktivität14 StartDatum="15.11.2016" EndDatum="31.12.2016" Phase="Phase 6">Phase 3, Punkt 4</Aktivität14>
  </Aktivitäten>
</ZKBProjektPlanInfo>
</file>

<file path=customXml/itemProps1.xml><?xml version="1.0" encoding="utf-8"?>
<ds:datastoreItem xmlns:ds="http://schemas.openxmlformats.org/officeDocument/2006/customXml" ds:itemID="{F1C6B368-E74A-4AB5-B891-F61A45A5BA4B}">
  <ds:schemaRefs>
    <ds:schemaRef ds:uri="http://schemas.microsoft.com/sharepoint/v3/contenttype/forms"/>
  </ds:schemaRefs>
</ds:datastoreItem>
</file>

<file path=customXml/itemProps10.xml><?xml version="1.0" encoding="utf-8"?>
<ds:datastoreItem xmlns:ds="http://schemas.openxmlformats.org/officeDocument/2006/customXml" ds:itemID="{E4697AED-77D1-40E3-96CC-863B1EBEB318}">
  <ds:schemaRefs>
    <ds:schemaRef ds:uri="http://purl.org/dc/elements/1.1/"/>
    <ds:schemaRef ds:uri="http://www.w3.org/XML/1998/namespace"/>
    <ds:schemaRef ds:uri="http://schemas.microsoft.com/office/2006/metadata/properties"/>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700a556d-196a-48c8-8763-da5a1e0f418c"/>
    <ds:schemaRef ds:uri="http://purl.org/dc/dcmitype/"/>
  </ds:schemaRefs>
</ds:datastoreItem>
</file>

<file path=customXml/itemProps11.xml><?xml version="1.0" encoding="utf-8"?>
<ds:datastoreItem xmlns:ds="http://schemas.openxmlformats.org/officeDocument/2006/customXml" ds:itemID="{A5C020FE-E2FF-4F6F-A3D3-11D704338E46}">
  <ds:schemaRefs/>
</ds:datastoreItem>
</file>

<file path=customXml/itemProps12.xml><?xml version="1.0" encoding="utf-8"?>
<ds:datastoreItem xmlns:ds="http://schemas.openxmlformats.org/officeDocument/2006/customXml" ds:itemID="{761DE3B8-216A-4090-8009-D151E0C6F6F7}">
  <ds:schemaRefs/>
</ds:datastoreItem>
</file>

<file path=customXml/itemProps13.xml><?xml version="1.0" encoding="utf-8"?>
<ds:datastoreItem xmlns:ds="http://schemas.openxmlformats.org/officeDocument/2006/customXml" ds:itemID="{BDE1FF21-017E-456E-ACD4-33940EF12161}">
  <ds:schemaRefs/>
</ds:datastoreItem>
</file>

<file path=customXml/itemProps14.xml><?xml version="1.0" encoding="utf-8"?>
<ds:datastoreItem xmlns:ds="http://schemas.openxmlformats.org/officeDocument/2006/customXml" ds:itemID="{AF2ACB4D-08DB-472F-AD86-39A5213405E4}">
  <ds:schemaRefs/>
</ds:datastoreItem>
</file>

<file path=customXml/itemProps15.xml><?xml version="1.0" encoding="utf-8"?>
<ds:datastoreItem xmlns:ds="http://schemas.openxmlformats.org/officeDocument/2006/customXml" ds:itemID="{4101325A-0077-4E39-B70A-DC6DF1B892AE}">
  <ds:schemaRefs/>
</ds:datastoreItem>
</file>

<file path=customXml/itemProps16.xml><?xml version="1.0" encoding="utf-8"?>
<ds:datastoreItem xmlns:ds="http://schemas.openxmlformats.org/officeDocument/2006/customXml" ds:itemID="{0A563F17-A0F6-44E3-AB6D-254A04C18DC1}">
  <ds:schemaRefs>
    <ds:schemaRef ds:uri="http://schemas.microsoft.com/VisualStudio/2011/storyboarding/control"/>
  </ds:schemaRefs>
</ds:datastoreItem>
</file>

<file path=customXml/itemProps17.xml><?xml version="1.0" encoding="utf-8"?>
<ds:datastoreItem xmlns:ds="http://schemas.openxmlformats.org/officeDocument/2006/customXml" ds:itemID="{1426931F-366F-45D0-AF97-85FAF2FB108F}">
  <ds:schemaRefs/>
</ds:datastoreItem>
</file>

<file path=customXml/itemProps18.xml><?xml version="1.0" encoding="utf-8"?>
<ds:datastoreItem xmlns:ds="http://schemas.openxmlformats.org/officeDocument/2006/customXml" ds:itemID="{2BE79182-BE92-4872-8B9D-52CE24770AE7}">
  <ds:schemaRefs>
    <ds:schemaRef ds:uri="http://schemas.microsoft.com/VisualStudio/2011/storyboarding/control"/>
  </ds:schemaRefs>
</ds:datastoreItem>
</file>

<file path=customXml/itemProps2.xml><?xml version="1.0" encoding="utf-8"?>
<ds:datastoreItem xmlns:ds="http://schemas.openxmlformats.org/officeDocument/2006/customXml" ds:itemID="{3AEF0247-1A1D-495E-97CA-1C6FBC31936D}">
  <ds:schemaRefs/>
</ds:datastoreItem>
</file>

<file path=customXml/itemProps3.xml><?xml version="1.0" encoding="utf-8"?>
<ds:datastoreItem xmlns:ds="http://schemas.openxmlformats.org/officeDocument/2006/customXml" ds:itemID="{0DEF2309-D5F8-4A30-8731-94106CBB725F}">
  <ds:schemaRefs/>
</ds:datastoreItem>
</file>

<file path=customXml/itemProps4.xml><?xml version="1.0" encoding="utf-8"?>
<ds:datastoreItem xmlns:ds="http://schemas.openxmlformats.org/officeDocument/2006/customXml" ds:itemID="{34E8BEC2-21FC-4BFF-AA6B-BE782A2DFC0E}">
  <ds:schemaRefs/>
</ds:datastoreItem>
</file>

<file path=customXml/itemProps5.xml><?xml version="1.0" encoding="utf-8"?>
<ds:datastoreItem xmlns:ds="http://schemas.openxmlformats.org/officeDocument/2006/customXml" ds:itemID="{D4D37D59-159D-44CA-ACCC-AC1BAA0CA4F6}">
  <ds:schemaRefs>
    <ds:schemaRef ds:uri="http://schemas.microsoft.com/VisualStudio/2011/storyboarding/control"/>
  </ds:schemaRefs>
</ds:datastoreItem>
</file>

<file path=customXml/itemProps6.xml><?xml version="1.0" encoding="utf-8"?>
<ds:datastoreItem xmlns:ds="http://schemas.openxmlformats.org/officeDocument/2006/customXml" ds:itemID="{A97BC126-63A5-4F40-A41A-09F8F04AFDD7}">
  <ds:schemaRefs/>
</ds:datastoreItem>
</file>

<file path=customXml/itemProps7.xml><?xml version="1.0" encoding="utf-8"?>
<ds:datastoreItem xmlns:ds="http://schemas.openxmlformats.org/officeDocument/2006/customXml" ds:itemID="{786B19C9-7984-4504-8EEF-5D08DDEB4EAD}">
  <ds:schemaRefs/>
</ds:datastoreItem>
</file>

<file path=customXml/itemProps8.xml><?xml version="1.0" encoding="utf-8"?>
<ds:datastoreItem xmlns:ds="http://schemas.openxmlformats.org/officeDocument/2006/customXml" ds:itemID="{3B4E24B9-0F3E-4E45-9A62-6FB241E511E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00a556d-196a-48c8-8763-da5a1e0f418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9.xml><?xml version="1.0" encoding="utf-8"?>
<ds:datastoreItem xmlns:ds="http://schemas.openxmlformats.org/officeDocument/2006/customXml" ds:itemID="{98E8ACD0-52B9-49A9-9433-D9078C93D7C2}">
  <ds:schemaRefs/>
</ds:datastoreItem>
</file>

<file path=docProps/app.xml><?xml version="1.0" encoding="utf-8"?>
<Properties xmlns="http://schemas.openxmlformats.org/officeDocument/2006/extended-properties" xmlns:vt="http://schemas.openxmlformats.org/officeDocument/2006/docPropsVTypes">
  <Template>ZKB Muster-Folien_250610</Template>
  <TotalTime>0</TotalTime>
  <Words>10627</Words>
  <Application>Microsoft Office PowerPoint</Application>
  <PresentationFormat>Custom</PresentationFormat>
  <Paragraphs>1488</Paragraphs>
  <Slides>107</Slides>
  <Notes>1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07</vt:i4>
      </vt:variant>
    </vt:vector>
  </HeadingPairs>
  <TitlesOfParts>
    <vt:vector size="115" baseType="lpstr">
      <vt:lpstr>Aharoni</vt:lpstr>
      <vt:lpstr>Arial</vt:lpstr>
      <vt:lpstr>Calibri</vt:lpstr>
      <vt:lpstr>Frutiger for ZKB Light</vt:lpstr>
      <vt:lpstr>Symbol</vt:lpstr>
      <vt:lpstr>Times New Roman</vt:lpstr>
      <vt:lpstr>ZKB2025</vt:lpstr>
      <vt:lpstr>think-cell Folie</vt:lpstr>
      <vt:lpstr>Lorem ipsum  dolor sit amet, consetetur</vt:lpstr>
      <vt:lpstr>Lorem ipsum  dolor sit amet, consetetur</vt:lpstr>
      <vt:lpstr>Lorem ipsum  dolor sit amet, consetetur</vt:lpstr>
      <vt:lpstr>Agenda</vt:lpstr>
      <vt:lpstr>Agenda</vt:lpstr>
      <vt:lpstr>Agenda</vt:lpstr>
      <vt:lpstr>Programm</vt:lpstr>
      <vt:lpstr>Organigramm</vt:lpstr>
      <vt:lpstr>Organigramm mit Hervorhebung</vt:lpstr>
      <vt:lpstr>Wir sind für Sie da</vt:lpstr>
      <vt:lpstr>Wir sind für Sie da</vt:lpstr>
      <vt:lpstr>Wir sind für Sie da</vt:lpstr>
      <vt:lpstr>Kapiteltrennfolie</vt:lpstr>
      <vt:lpstr>  Kapiteltrennfolie</vt:lpstr>
      <vt:lpstr>Text mit Bild links – 2 Spalten</vt:lpstr>
      <vt:lpstr>Text mit Bild rechts – 2 Spalten</vt:lpstr>
      <vt:lpstr>Text mit mehreren Bildern – 2 Spalten</vt:lpstr>
      <vt:lpstr>Bilder mit Text – 4 Spalten</vt:lpstr>
      <vt:lpstr>Bilder mit Überschrift – 3 Spalten</vt:lpstr>
      <vt:lpstr>Bilder und Text – 3 Spalten</vt:lpstr>
      <vt:lpstr>Textboxen – 1 Spalte</vt:lpstr>
      <vt:lpstr>Textboxen – 2 Spalten</vt:lpstr>
      <vt:lpstr>Textboxen – 3 Spalten</vt:lpstr>
      <vt:lpstr>Textboxen – 4 Spalten</vt:lpstr>
      <vt:lpstr>Text – Themen und Details</vt:lpstr>
      <vt:lpstr>Text – Themen und Details</vt:lpstr>
      <vt:lpstr>Textboxen – 4er Matrix</vt:lpstr>
      <vt:lpstr>Liste nummeriert</vt:lpstr>
      <vt:lpstr>Liste mit Piktogrammen</vt:lpstr>
      <vt:lpstr>Liste mit wichtigen Zahlen und Hervorhebung</vt:lpstr>
      <vt:lpstr>Text mit Piktogrammen – 3 Spalten</vt:lpstr>
      <vt:lpstr>Phasen – nur Text, 3 Spalten</vt:lpstr>
      <vt:lpstr>Phasen mit Linien-Pfeilen – 5 Spalten</vt:lpstr>
      <vt:lpstr>3 Phasen mit Ergebnis</vt:lpstr>
      <vt:lpstr>4 Phasen mit Ergebnis</vt:lpstr>
      <vt:lpstr>5 Phasen mit Ergebnis</vt:lpstr>
      <vt:lpstr>6 Phasen mit Hervorhebung</vt:lpstr>
      <vt:lpstr>Auf ein erfolgreiches Projekt!</vt:lpstr>
      <vt:lpstr>Auf ein erfolgreiches Projekt!  (mit Übergang)</vt:lpstr>
      <vt:lpstr>PowerPoint Presentation</vt:lpstr>
      <vt:lpstr>PowerPoint Presentation</vt:lpstr>
      <vt:lpstr> «Hier kann ein Zitat oder ein Statement stehen.» </vt:lpstr>
      <vt:lpstr>PowerPoint Presentation</vt:lpstr>
      <vt:lpstr>PowerPoint Presentation</vt:lpstr>
      <vt:lpstr>PowerPoint Presentation</vt:lpstr>
      <vt:lpstr>PowerPoint Presentation</vt:lpstr>
      <vt:lpstr>PowerPoint Presentation</vt:lpstr>
      <vt:lpstr>Folientitel (max. zweizeilig)</vt:lpstr>
      <vt:lpstr>Folientitel (max. zweizeilig)</vt:lpstr>
      <vt:lpstr>Folientitel (max. zweizeilig)</vt:lpstr>
      <vt:lpstr>Folientitel (max. zweizeilig)</vt:lpstr>
      <vt:lpstr>Folientitel (max. zweizeilig)</vt:lpstr>
      <vt:lpstr>Folientitel (max. zweizeilig)</vt:lpstr>
      <vt:lpstr>Übersicht Zahlen/Fakten</vt:lpstr>
      <vt:lpstr>Übersicht Zahlen/Fakten</vt:lpstr>
      <vt:lpstr>Prozentkreis 1</vt:lpstr>
      <vt:lpstr>Prozentkreis 2</vt:lpstr>
      <vt:lpstr>Ringdiagramm</vt:lpstr>
      <vt:lpstr>Kombination Säulen- und Liniendiagramm</vt:lpstr>
      <vt:lpstr>Säulendiagramm gestapelt</vt:lpstr>
      <vt:lpstr>Wasserfall Diagramm</vt:lpstr>
      <vt:lpstr>Säulen / Säulen gestapelt mit Vergleichszahlen</vt:lpstr>
      <vt:lpstr>Gruppierte Säulen</vt:lpstr>
      <vt:lpstr>Gruppierte Balken</vt:lpstr>
      <vt:lpstr>Säulen und Liniendiagramm – 2 Spalten mit Überschrift</vt:lpstr>
      <vt:lpstr>Komplexe Diagramme  (Beispiel)</vt:lpstr>
      <vt:lpstr>2 x 2 Matrix mit Text</vt:lpstr>
      <vt:lpstr>Stärken und Schwächen</vt:lpstr>
      <vt:lpstr>Text 2 Spalten mit Pros und Cons</vt:lpstr>
      <vt:lpstr>Text 2 Spalten mit Pros und Cons und Fazit</vt:lpstr>
      <vt:lpstr>Text 2 Spalten mit Ergebnis</vt:lpstr>
      <vt:lpstr>Text 2 Spalten mit Ergebnis</vt:lpstr>
      <vt:lpstr>Text 3 Spalten mit Ergebnis</vt:lpstr>
      <vt:lpstr>Summary</vt:lpstr>
      <vt:lpstr>Texttabelle – 4 Spalten</vt:lpstr>
      <vt:lpstr>Texttabelle</vt:lpstr>
      <vt:lpstr>Tabelle – 4 Spalten + Kommentar</vt:lpstr>
      <vt:lpstr>Texttabellen mit Bewertung – unterschiedliche Möglichkeiten</vt:lpstr>
      <vt:lpstr>Zyklus mit Piktogrammen</vt:lpstr>
      <vt:lpstr>Zyklus mit Piktogrammen und Hervorhebung</vt:lpstr>
      <vt:lpstr>Zyklus – einfacher Kreis, 3-teilig</vt:lpstr>
      <vt:lpstr>Zyklus – einfacher Kreis, 4-teilig</vt:lpstr>
      <vt:lpstr>Zyklus – einfacher Kreis, 5-teilig</vt:lpstr>
      <vt:lpstr>Zyklus – einfacher Kreis, 6-teilig</vt:lpstr>
      <vt:lpstr>Kreislauf – 2-teilig</vt:lpstr>
      <vt:lpstr>Kreislauf – 3-teilig</vt:lpstr>
      <vt:lpstr>Kreislauf – 4-teilig</vt:lpstr>
      <vt:lpstr>Kreislauf – 5-teilig</vt:lpstr>
      <vt:lpstr>Pyramide</vt:lpstr>
      <vt:lpstr>Pyramide</vt:lpstr>
      <vt:lpstr>Pyramide verkehrt</vt:lpstr>
      <vt:lpstr>Trichter</vt:lpstr>
      <vt:lpstr>Trichter-Varianten mit Hervorhebung</vt:lpstr>
      <vt:lpstr>Kanton Zürich</vt:lpstr>
      <vt:lpstr>Schweiz</vt:lpstr>
      <vt:lpstr>Karte Europa </vt:lpstr>
      <vt:lpstr>Weltkarte  </vt:lpstr>
      <vt:lpstr>Projektplan</vt:lpstr>
      <vt:lpstr>Fragen</vt:lpstr>
      <vt:lpstr>Fragen</vt:lpstr>
      <vt:lpstr>Platz für eine abschliessende  Botschaft/Danke</vt:lpstr>
      <vt:lpstr>Platz für eine abschliessende  Botschaft/Danke </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Hilpert Manuel</dc:creator>
  <cp:keywords/>
  <dc:description>V11.56</dc:description>
  <cp:lastModifiedBy>Good Jürg</cp:lastModifiedBy>
  <cp:revision>1</cp:revision>
  <dcterms:created xsi:type="dcterms:W3CDTF">2025-06-10T15:06:07Z</dcterms:created>
  <dcterms:modified xsi:type="dcterms:W3CDTF">2026-01-11T08:22:31Z</dcterms:modified>
  <cp:category>Office, PowerPoint</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pyShapeNamesOnNewSlide">
    <vt:bool>true</vt:bool>
  </property>
  <property fmtid="{D5CDD505-2E9C-101B-9397-08002B2CF9AE}" pid="3" name="PPTitle">
    <vt:lpwstr/>
  </property>
  <property fmtid="{D5CDD505-2E9C-101B-9397-08002B2CF9AE}" pid="4" name="PPSubtitel">
    <vt:lpwstr/>
  </property>
  <property fmtid="{D5CDD505-2E9C-101B-9397-08002B2CF9AE}" pid="5" name="PPAuthor">
    <vt:lpwstr/>
  </property>
  <property fmtid="{D5CDD505-2E9C-101B-9397-08002B2CF9AE}" pid="6" name="PPDatum">
    <vt:lpwstr/>
  </property>
  <property fmtid="{D5CDD505-2E9C-101B-9397-08002B2CF9AE}" pid="7" name="PPFooter">
    <vt:lpwstr/>
  </property>
  <property fmtid="{D5CDD505-2E9C-101B-9397-08002B2CF9AE}" pid="8" name="PPStempelText">
    <vt:lpwstr>Stand: MM/YYYY</vt:lpwstr>
  </property>
  <property fmtid="{D5CDD505-2E9C-101B-9397-08002B2CF9AE}" pid="9" name="TemplateType">
    <vt:lpwstr>redfox</vt:lpwstr>
  </property>
  <property fmtid="{D5CDD505-2E9C-101B-9397-08002B2CF9AE}" pid="10" name="CompanyLayout">
    <vt:lpwstr>ZKB</vt:lpwstr>
  </property>
  <property fmtid="{D5CDD505-2E9C-101B-9397-08002B2CF9AE}" pid="11" name="TemplateLanguage">
    <vt:lpwstr>de</vt:lpwstr>
  </property>
  <property fmtid="{D5CDD505-2E9C-101B-9397-08002B2CF9AE}" pid="12" name="DualCompanyMode">
    <vt:bool>false</vt:bool>
  </property>
  <property fmtid="{D5CDD505-2E9C-101B-9397-08002B2CF9AE}" pid="13" name="test1">
    <vt:lpwstr>a_x000d_b</vt:lpwstr>
  </property>
  <property fmtid="{D5CDD505-2E9C-101B-9397-08002B2CF9AE}" pid="14" name="Tfs.IsStoryboard">
    <vt:bool>true</vt:bool>
  </property>
  <property fmtid="{D5CDD505-2E9C-101B-9397-08002B2CF9AE}" pid="15" name="TemplateMinorVersion">
    <vt:lpwstr>F</vt:lpwstr>
  </property>
  <property fmtid="{D5CDD505-2E9C-101B-9397-08002B2CF9AE}" pid="16" name="PPStempelOpt">
    <vt:i4>1</vt:i4>
  </property>
  <property fmtid="{D5CDD505-2E9C-101B-9397-08002B2CF9AE}" pid="17" name="SpezLogoPath">
    <vt:lpwstr/>
  </property>
  <property fmtid="{D5CDD505-2E9C-101B-9397-08002B2CF9AE}" pid="18" name="MaterialNr">
    <vt:lpwstr/>
  </property>
  <property fmtid="{D5CDD505-2E9C-101B-9397-08002B2CF9AE}" pid="19" name="TemplateLogoVersion">
    <vt:lpwstr/>
  </property>
  <property fmtid="{D5CDD505-2E9C-101B-9397-08002B2CF9AE}" pid="20" name="Tfs.LastKnownPath">
    <vt:lpwstr>\\harde-p003nas\Home\t457\daten\Projekte\Markenwelt\ZKBredfox2016_V11_54.pptm</vt:lpwstr>
  </property>
  <property fmtid="{D5CDD505-2E9C-101B-9397-08002B2CF9AE}" pid="21" name="ContentTypeId">
    <vt:lpwstr>0x010100E3B26EE0327A644B82B589C1E85BE5D9</vt:lpwstr>
  </property>
  <property fmtid="{D5CDD505-2E9C-101B-9397-08002B2CF9AE}" pid="22" name="TemplateVersion">
    <vt:i4>13</vt:i4>
  </property>
</Properties>
</file>

<file path=userCustomization/customUI.xml><?xml version="1.0" encoding="utf-8"?>
<mso:customUI xmlns:mso="http://schemas.microsoft.com/office/2006/01/customui">
  <mso:ribbon>
    <mso:qat>
      <mso:documentControls>
        <mso:control idQ="mso:ShapesInsertGallery" visible="true"/>
      </mso:documentControls>
    </mso:qat>
  </mso:ribbon>
</mso:customUI>
</file>